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1.xml" ContentType="application/vnd.openxmlformats-officedocument.presentationml.notesSlide+xml"/>
  <Override PartName="/ppt/charts/chart257.xml" ContentType="application/vnd.openxmlformats-officedocument.drawingml.chart+xml"/>
  <Override PartName="/ppt/tags/tag337.xml" ContentType="application/vnd.openxmlformats-officedocument.presentationml.tags+xml"/>
  <Override PartName="/ppt/notesSlides/notesSlide2.xml" ContentType="application/vnd.openxmlformats-officedocument.presentationml.notesSlide+xml"/>
  <Override PartName="/ppt/charts/chart258.xml" ContentType="application/vnd.openxmlformats-officedocument.drawingml.chart+xml"/>
  <Override PartName="/ppt/tags/tag338.xml" ContentType="application/vnd.openxmlformats-officedocument.presentationml.tags+xml"/>
  <Override PartName="/ppt/notesSlides/notesSlide3.xml" ContentType="application/vnd.openxmlformats-officedocument.presentationml.notesSlide+xml"/>
  <Override PartName="/ppt/charts/chart259.xml" ContentType="application/vnd.openxmlformats-officedocument.drawingml.chart+xml"/>
  <Override PartName="/ppt/tags/tag339.xml" ContentType="application/vnd.openxmlformats-officedocument.presentationml.tags+xml"/>
  <Override PartName="/ppt/notesSlides/notesSlide4.xml" ContentType="application/vnd.openxmlformats-officedocument.presentationml.notesSlide+xml"/>
  <Override PartName="/ppt/charts/chart260.xml" ContentType="application/vnd.openxmlformats-officedocument.drawingml.chart+xml"/>
  <Override PartName="/ppt/tags/tag340.xml" ContentType="application/vnd.openxmlformats-officedocument.presentationml.tags+xml"/>
  <Override PartName="/ppt/notesSlides/notesSlide5.xml" ContentType="application/vnd.openxmlformats-officedocument.presentationml.notesSlide+xml"/>
  <Override PartName="/ppt/charts/chart261.xml" ContentType="application/vnd.openxmlformats-officedocument.drawingml.chart+xml"/>
  <Override PartName="/ppt/tags/tag341.xml" ContentType="application/vnd.openxmlformats-officedocument.presentationml.tags+xml"/>
  <Override PartName="/ppt/notesSlides/notesSlide6.xml" ContentType="application/vnd.openxmlformats-officedocument.presentationml.notesSlide+xml"/>
  <Override PartName="/ppt/charts/chart262.xml" ContentType="application/vnd.openxmlformats-officedocument.drawingml.chart+xml"/>
  <Override PartName="/ppt/tags/tag342.xml" ContentType="application/vnd.openxmlformats-officedocument.presentationml.tags+xml"/>
  <Override PartName="/ppt/notesSlides/notesSlide7.xml" ContentType="application/vnd.openxmlformats-officedocument.presentationml.notesSlide+xml"/>
  <Override PartName="/ppt/charts/chart263.xml" ContentType="application/vnd.openxmlformats-officedocument.drawingml.chart+xml"/>
  <Override PartName="/ppt/tags/tag343.xml" ContentType="application/vnd.openxmlformats-officedocument.presentationml.tags+xml"/>
  <Override PartName="/ppt/notesSlides/notesSlide8.xml" ContentType="application/vnd.openxmlformats-officedocument.presentationml.notesSlide+xml"/>
  <Override PartName="/ppt/charts/chart264.xml" ContentType="application/vnd.openxmlformats-officedocument.drawingml.chart+xml"/>
  <Override PartName="/ppt/tags/tag344.xml" ContentType="application/vnd.openxmlformats-officedocument.presentationml.tags+xml"/>
  <Override PartName="/ppt/notesSlides/notesSlide9.xml" ContentType="application/vnd.openxmlformats-officedocument.presentationml.notesSlide+xml"/>
  <Override PartName="/ppt/charts/chart265.xml" ContentType="application/vnd.openxmlformats-officedocument.drawingml.chart+xml"/>
  <Override PartName="/ppt/tags/tag345.xml" ContentType="application/vnd.openxmlformats-officedocument.presentationml.tags+xml"/>
  <Override PartName="/ppt/notesSlides/notesSlide10.xml" ContentType="application/vnd.openxmlformats-officedocument.presentationml.notesSlide+xml"/>
  <Override PartName="/ppt/charts/chart266.xml" ContentType="application/vnd.openxmlformats-officedocument.drawingml.chart+xml"/>
  <Override PartName="/ppt/tags/tag346.xml" ContentType="application/vnd.openxmlformats-officedocument.presentationml.tags+xml"/>
  <Override PartName="/ppt/notesSlides/notesSlide11.xml" ContentType="application/vnd.openxmlformats-officedocument.presentationml.notesSlide+xml"/>
  <Override PartName="/ppt/charts/chart267.xml" ContentType="application/vnd.openxmlformats-officedocument.drawingml.chart+xml"/>
  <Override PartName="/ppt/tags/tag347.xml" ContentType="application/vnd.openxmlformats-officedocument.presentationml.tags+xml"/>
  <Override PartName="/ppt/notesSlides/notesSlide12.xml" ContentType="application/vnd.openxmlformats-officedocument.presentationml.notesSlide+xml"/>
  <Override PartName="/ppt/charts/chart268.xml" ContentType="application/vnd.openxmlformats-officedocument.drawingml.chart+xml"/>
  <Override PartName="/ppt/tags/tag348.xml" ContentType="application/vnd.openxmlformats-officedocument.presentationml.tags+xml"/>
  <Override PartName="/ppt/notesSlides/notesSlide13.xml" ContentType="application/vnd.openxmlformats-officedocument.presentationml.notesSlide+xml"/>
  <Override PartName="/ppt/charts/chart269.xml" ContentType="application/vnd.openxmlformats-officedocument.drawingml.chart+xml"/>
  <Override PartName="/ppt/tags/tag349.xml" ContentType="application/vnd.openxmlformats-officedocument.presentationml.tags+xml"/>
  <Override PartName="/ppt/notesSlides/notesSlide14.xml" ContentType="application/vnd.openxmlformats-officedocument.presentationml.notesSlide+xml"/>
  <Override PartName="/ppt/charts/chart270.xml" ContentType="application/vnd.openxmlformats-officedocument.drawingml.chart+xml"/>
  <Override PartName="/ppt/tags/tag350.xml" ContentType="application/vnd.openxmlformats-officedocument.presentationml.tags+xml"/>
  <Override PartName="/ppt/notesSlides/notesSlide15.xml" ContentType="application/vnd.openxmlformats-officedocument.presentationml.notesSlide+xml"/>
  <Override PartName="/ppt/charts/chart271.xml" ContentType="application/vnd.openxmlformats-officedocument.drawingml.chart+xml"/>
  <Override PartName="/ppt/tags/tag351.xml" ContentType="application/vnd.openxmlformats-officedocument.presentationml.tags+xml"/>
  <Override PartName="/ppt/notesSlides/notesSlide16.xml" ContentType="application/vnd.openxmlformats-officedocument.presentationml.notesSlide+xml"/>
  <Override PartName="/ppt/charts/chart272.xml" ContentType="application/vnd.openxmlformats-officedocument.drawingml.chart+xml"/>
  <Override PartName="/ppt/tags/tag352.xml" ContentType="application/vnd.openxmlformats-officedocument.presentationml.tags+xml"/>
  <Override PartName="/ppt/notesSlides/notesSlide17.xml" ContentType="application/vnd.openxmlformats-officedocument.presentationml.notesSlide+xml"/>
  <Override PartName="/ppt/charts/chart273.xml" ContentType="application/vnd.openxmlformats-officedocument.drawingml.chart+xml"/>
  <Override PartName="/ppt/tags/tag353.xml" ContentType="application/vnd.openxmlformats-officedocument.presentationml.tags+xml"/>
  <Override PartName="/ppt/notesSlides/notesSlide18.xml" ContentType="application/vnd.openxmlformats-officedocument.presentationml.notesSlide+xml"/>
  <Override PartName="/ppt/charts/chart274.xml" ContentType="application/vnd.openxmlformats-officedocument.drawingml.chart+xml"/>
  <Override PartName="/ppt/tags/tag354.xml" ContentType="application/vnd.openxmlformats-officedocument.presentationml.tags+xml"/>
  <Override PartName="/ppt/notesSlides/notesSlide19.xml" ContentType="application/vnd.openxmlformats-officedocument.presentationml.notesSlide+xml"/>
  <Override PartName="/ppt/charts/chart275.xml" ContentType="application/vnd.openxmlformats-officedocument.drawingml.chart+xml"/>
  <Override PartName="/ppt/tags/tag355.xml" ContentType="application/vnd.openxmlformats-officedocument.presentationml.tags+xml"/>
  <Override PartName="/ppt/notesSlides/notesSlide20.xml" ContentType="application/vnd.openxmlformats-officedocument.presentationml.notesSlide+xml"/>
  <Override PartName="/ppt/charts/chart276.xml" ContentType="application/vnd.openxmlformats-officedocument.drawingml.chart+xml"/>
  <Override PartName="/ppt/tags/tag356.xml" ContentType="application/vnd.openxmlformats-officedocument.presentationml.tags+xml"/>
  <Override PartName="/ppt/notesSlides/notesSlide21.xml" ContentType="application/vnd.openxmlformats-officedocument.presentationml.notesSlide+xml"/>
  <Override PartName="/ppt/charts/chart277.xml" ContentType="application/vnd.openxmlformats-officedocument.drawingml.chart+xml"/>
  <Override PartName="/ppt/tags/tag357.xml" ContentType="application/vnd.openxmlformats-officedocument.presentationml.tags+xml"/>
  <Override PartName="/ppt/notesSlides/notesSlide22.xml" ContentType="application/vnd.openxmlformats-officedocument.presentationml.notesSlide+xml"/>
  <Override PartName="/ppt/charts/chart278.xml" ContentType="application/vnd.openxmlformats-officedocument.drawingml.chart+xml"/>
  <Override PartName="/ppt/tags/tag358.xml" ContentType="application/vnd.openxmlformats-officedocument.presentationml.tags+xml"/>
  <Override PartName="/ppt/notesSlides/notesSlide23.xml" ContentType="application/vnd.openxmlformats-officedocument.presentationml.notesSlide+xml"/>
  <Override PartName="/ppt/charts/chart279.xml" ContentType="application/vnd.openxmlformats-officedocument.drawingml.chart+xml"/>
  <Override PartName="/ppt/tags/tag359.xml" ContentType="application/vnd.openxmlformats-officedocument.presentationml.tags+xml"/>
  <Override PartName="/ppt/notesSlides/notesSlide24.xml" ContentType="application/vnd.openxmlformats-officedocument.presentationml.notesSlide+xml"/>
  <Override PartName="/ppt/charts/chart280.xml" ContentType="application/vnd.openxmlformats-officedocument.drawingml.chart+xml"/>
  <Override PartName="/ppt/tags/tag360.xml" ContentType="application/vnd.openxmlformats-officedocument.presentationml.tags+xml"/>
  <Override PartName="/ppt/notesSlides/notesSlide25.xml" ContentType="application/vnd.openxmlformats-officedocument.presentationml.notesSlide+xml"/>
  <Override PartName="/ppt/charts/chart281.xml" ContentType="application/vnd.openxmlformats-officedocument.drawingml.chart+xml"/>
  <Override PartName="/ppt/tags/tag361.xml" ContentType="application/vnd.openxmlformats-officedocument.presentationml.tags+xml"/>
  <Override PartName="/ppt/notesSlides/notesSlide26.xml" ContentType="application/vnd.openxmlformats-officedocument.presentationml.notesSlide+xml"/>
  <Override PartName="/ppt/charts/chart282.xml" ContentType="application/vnd.openxmlformats-officedocument.drawingml.chart+xml"/>
  <Override PartName="/ppt/tags/tag362.xml" ContentType="application/vnd.openxmlformats-officedocument.presentationml.tags+xml"/>
  <Override PartName="/ppt/notesSlides/notesSlide27.xml" ContentType="application/vnd.openxmlformats-officedocument.presentationml.notesSlide+xml"/>
  <Override PartName="/ppt/charts/chart283.xml" ContentType="application/vnd.openxmlformats-officedocument.drawingml.chart+xml"/>
  <Override PartName="/ppt/tags/tag363.xml" ContentType="application/vnd.openxmlformats-officedocument.presentationml.tags+xml"/>
  <Override PartName="/ppt/notesSlides/notesSlide28.xml" ContentType="application/vnd.openxmlformats-officedocument.presentationml.notesSlide+xml"/>
  <Override PartName="/ppt/charts/chart284.xml" ContentType="application/vnd.openxmlformats-officedocument.drawingml.chart+xml"/>
  <Override PartName="/ppt/tags/tag364.xml" ContentType="application/vnd.openxmlformats-officedocument.presentationml.tags+xml"/>
  <Override PartName="/ppt/notesSlides/notesSlide29.xml" ContentType="application/vnd.openxmlformats-officedocument.presentationml.notesSlide+xml"/>
  <Override PartName="/ppt/charts/chart285.xml" ContentType="application/vnd.openxmlformats-officedocument.drawingml.chart+xml"/>
  <Override PartName="/ppt/tags/tag365.xml" ContentType="application/vnd.openxmlformats-officedocument.presentationml.tags+xml"/>
  <Override PartName="/ppt/notesSlides/notesSlide30.xml" ContentType="application/vnd.openxmlformats-officedocument.presentationml.notesSlide+xml"/>
  <Override PartName="/ppt/charts/chart286.xml" ContentType="application/vnd.openxmlformats-officedocument.drawingml.chart+xml"/>
  <Override PartName="/ppt/tags/tag366.xml" ContentType="application/vnd.openxmlformats-officedocument.presentationml.tags+xml"/>
  <Override PartName="/ppt/notesSlides/notesSlide31.xml" ContentType="application/vnd.openxmlformats-officedocument.presentationml.notesSlide+xml"/>
  <Override PartName="/ppt/charts/chart287.xml" ContentType="application/vnd.openxmlformats-officedocument.drawingml.chart+xml"/>
  <Override PartName="/ppt/tags/tag367.xml" ContentType="application/vnd.openxmlformats-officedocument.presentationml.tags+xml"/>
  <Override PartName="/ppt/notesSlides/notesSlide32.xml" ContentType="application/vnd.openxmlformats-officedocument.presentationml.notesSlide+xml"/>
  <Override PartName="/ppt/charts/chart288.xml" ContentType="application/vnd.openxmlformats-officedocument.drawingml.chart+xml"/>
  <Override PartName="/ppt/tags/tag368.xml" ContentType="application/vnd.openxmlformats-officedocument.presentationml.tags+xml"/>
  <Override PartName="/ppt/notesSlides/notesSlide33.xml" ContentType="application/vnd.openxmlformats-officedocument.presentationml.notesSlide+xml"/>
  <Override PartName="/ppt/charts/chart289.xml" ContentType="application/vnd.openxmlformats-officedocument.drawingml.chart+xml"/>
  <Override PartName="/ppt/tags/tag369.xml" ContentType="application/vnd.openxmlformats-officedocument.presentationml.tags+xml"/>
  <Override PartName="/ppt/notesSlides/notesSlide34.xml" ContentType="application/vnd.openxmlformats-officedocument.presentationml.notesSlide+xml"/>
  <Override PartName="/ppt/charts/chart290.xml" ContentType="application/vnd.openxmlformats-officedocument.drawingml.chart+xml"/>
  <Override PartName="/ppt/tags/tag370.xml" ContentType="application/vnd.openxmlformats-officedocument.presentationml.tags+xml"/>
  <Override PartName="/ppt/notesSlides/notesSlide35.xml" ContentType="application/vnd.openxmlformats-officedocument.presentationml.notesSlide+xml"/>
  <Override PartName="/ppt/charts/chart291.xml" ContentType="application/vnd.openxmlformats-officedocument.drawingml.chart+xml"/>
  <Override PartName="/ppt/tags/tag371.xml" ContentType="application/vnd.openxmlformats-officedocument.presentationml.tags+xml"/>
  <Override PartName="/ppt/notesSlides/notesSlide36.xml" ContentType="application/vnd.openxmlformats-officedocument.presentationml.notesSlide+xml"/>
  <Override PartName="/ppt/charts/chart292.xml" ContentType="application/vnd.openxmlformats-officedocument.drawingml.chart+xml"/>
  <Override PartName="/ppt/tags/tag372.xml" ContentType="application/vnd.openxmlformats-officedocument.presentationml.tags+xml"/>
  <Override PartName="/ppt/notesSlides/notesSlide37.xml" ContentType="application/vnd.openxmlformats-officedocument.presentationml.notesSlide+xml"/>
  <Override PartName="/ppt/charts/chart293.xml" ContentType="application/vnd.openxmlformats-officedocument.drawingml.chart+xml"/>
  <Override PartName="/ppt/tags/tag373.xml" ContentType="application/vnd.openxmlformats-officedocument.presentationml.tags+xml"/>
  <Override PartName="/ppt/notesSlides/notesSlide38.xml" ContentType="application/vnd.openxmlformats-officedocument.presentationml.notesSlide+xml"/>
  <Override PartName="/ppt/charts/chart294.xml" ContentType="application/vnd.openxmlformats-officedocument.drawingml.chart+xml"/>
  <Override PartName="/ppt/tags/tag374.xml" ContentType="application/vnd.openxmlformats-officedocument.presentationml.tags+xml"/>
  <Override PartName="/ppt/notesSlides/notesSlide39.xml" ContentType="application/vnd.openxmlformats-officedocument.presentationml.notesSlide+xml"/>
  <Override PartName="/ppt/charts/chart295.xml" ContentType="application/vnd.openxmlformats-officedocument.drawingml.chart+xml"/>
  <Override PartName="/ppt/tags/tag375.xml" ContentType="application/vnd.openxmlformats-officedocument.presentationml.tags+xml"/>
  <Override PartName="/ppt/notesSlides/notesSlide40.xml" ContentType="application/vnd.openxmlformats-officedocument.presentationml.notesSlide+xml"/>
  <Override PartName="/ppt/charts/chart296.xml" ContentType="application/vnd.openxmlformats-officedocument.drawingml.chart+xml"/>
  <Override PartName="/ppt/tags/tag376.xml" ContentType="application/vnd.openxmlformats-officedocument.presentationml.tags+xml"/>
  <Override PartName="/ppt/notesSlides/notesSlide41.xml" ContentType="application/vnd.openxmlformats-officedocument.presentationml.notesSlide+xml"/>
  <Override PartName="/ppt/charts/chart297.xml" ContentType="application/vnd.openxmlformats-officedocument.drawingml.chart+xml"/>
  <Override PartName="/ppt/tags/tag377.xml" ContentType="application/vnd.openxmlformats-officedocument.presentationml.tags+xml"/>
  <Override PartName="/ppt/notesSlides/notesSlide42.xml" ContentType="application/vnd.openxmlformats-officedocument.presentationml.notesSlide+xml"/>
  <Override PartName="/ppt/charts/chart298.xml" ContentType="application/vnd.openxmlformats-officedocument.drawingml.chart+xml"/>
  <Override PartName="/ppt/tags/tag378.xml" ContentType="application/vnd.openxmlformats-officedocument.presentationml.tags+xml"/>
  <Override PartName="/ppt/notesSlides/notesSlide43.xml" ContentType="application/vnd.openxmlformats-officedocument.presentationml.notesSlide+xml"/>
  <Override PartName="/ppt/charts/chart299.xml" ContentType="application/vnd.openxmlformats-officedocument.drawingml.chart+xml"/>
  <Override PartName="/ppt/tags/tag379.xml" ContentType="application/vnd.openxmlformats-officedocument.presentationml.tags+xml"/>
  <Override PartName="/ppt/notesSlides/notesSlide44.xml" ContentType="application/vnd.openxmlformats-officedocument.presentationml.notesSlide+xml"/>
  <Override PartName="/ppt/charts/chart300.xml" ContentType="application/vnd.openxmlformats-officedocument.drawingml.chart+xml"/>
  <Override PartName="/ppt/tags/tag380.xml" ContentType="application/vnd.openxmlformats-officedocument.presentationml.tags+xml"/>
  <Override PartName="/ppt/notesSlides/notesSlide45.xml" ContentType="application/vnd.openxmlformats-officedocument.presentationml.notesSlide+xml"/>
  <Override PartName="/ppt/charts/chart301.xml" ContentType="application/vnd.openxmlformats-officedocument.drawingml.chart+xml"/>
  <Override PartName="/ppt/tags/tag381.xml" ContentType="application/vnd.openxmlformats-officedocument.presentationml.tags+xml"/>
  <Override PartName="/ppt/notesSlides/notesSlide46.xml" ContentType="application/vnd.openxmlformats-officedocument.presentationml.notesSlide+xml"/>
  <Override PartName="/ppt/charts/chart302.xml" ContentType="application/vnd.openxmlformats-officedocument.drawingml.chart+xml"/>
  <Override PartName="/ppt/tags/tag382.xml" ContentType="application/vnd.openxmlformats-officedocument.presentationml.tags+xml"/>
  <Override PartName="/ppt/notesSlides/notesSlide47.xml" ContentType="application/vnd.openxmlformats-officedocument.presentationml.notesSlide+xml"/>
  <Override PartName="/ppt/charts/chart303.xml" ContentType="application/vnd.openxmlformats-officedocument.drawingml.chart+xml"/>
  <Override PartName="/ppt/tags/tag383.xml" ContentType="application/vnd.openxmlformats-officedocument.presentationml.tags+xml"/>
  <Override PartName="/ppt/notesSlides/notesSlide48.xml" ContentType="application/vnd.openxmlformats-officedocument.presentationml.notesSlide+xml"/>
  <Override PartName="/ppt/charts/chart304.xml" ContentType="application/vnd.openxmlformats-officedocument.drawingml.chart+xml"/>
  <Override PartName="/ppt/tags/tag384.xml" ContentType="application/vnd.openxmlformats-officedocument.presentationml.tags+xml"/>
  <Override PartName="/ppt/notesSlides/notesSlide49.xml" ContentType="application/vnd.openxmlformats-officedocument.presentationml.notesSlide+xml"/>
  <Override PartName="/ppt/charts/chart305.xml" ContentType="application/vnd.openxmlformats-officedocument.drawingml.chart+xml"/>
  <Override PartName="/ppt/tags/tag385.xml" ContentType="application/vnd.openxmlformats-officedocument.presentationml.tags+xml"/>
  <Override PartName="/ppt/notesSlides/notesSlide50.xml" ContentType="application/vnd.openxmlformats-officedocument.presentationml.notesSlide+xml"/>
  <Override PartName="/ppt/charts/chart306.xml" ContentType="application/vnd.openxmlformats-officedocument.drawingml.chart+xml"/>
  <Override PartName="/ppt/tags/tag386.xml" ContentType="application/vnd.openxmlformats-officedocument.presentationml.tags+xml"/>
  <Override PartName="/ppt/notesSlides/notesSlide51.xml" ContentType="application/vnd.openxmlformats-officedocument.presentationml.notesSlide+xml"/>
  <Override PartName="/ppt/charts/chart307.xml" ContentType="application/vnd.openxmlformats-officedocument.drawingml.chart+xml"/>
  <Override PartName="/ppt/tags/tag387.xml" ContentType="application/vnd.openxmlformats-officedocument.presentationml.tags+xml"/>
  <Override PartName="/ppt/notesSlides/notesSlide52.xml" ContentType="application/vnd.openxmlformats-officedocument.presentationml.notesSlide+xml"/>
  <Override PartName="/ppt/charts/chart308.xml" ContentType="application/vnd.openxmlformats-officedocument.drawingml.chart+xml"/>
  <Override PartName="/ppt/tags/tag388.xml" ContentType="application/vnd.openxmlformats-officedocument.presentationml.tags+xml"/>
  <Override PartName="/ppt/notesSlides/notesSlide53.xml" ContentType="application/vnd.openxmlformats-officedocument.presentationml.notesSlide+xml"/>
  <Override PartName="/ppt/charts/chart309.xml" ContentType="application/vnd.openxmlformats-officedocument.drawingml.chart+xml"/>
  <Override PartName="/ppt/tags/tag389.xml" ContentType="application/vnd.openxmlformats-officedocument.presentationml.tags+xml"/>
  <Override PartName="/ppt/notesSlides/notesSlide54.xml" ContentType="application/vnd.openxmlformats-officedocument.presentationml.notesSlide+xml"/>
  <Override PartName="/ppt/charts/chart310.xml" ContentType="application/vnd.openxmlformats-officedocument.drawingml.chart+xml"/>
  <Override PartName="/ppt/tags/tag390.xml" ContentType="application/vnd.openxmlformats-officedocument.presentationml.tags+xml"/>
  <Override PartName="/ppt/notesSlides/notesSlide55.xml" ContentType="application/vnd.openxmlformats-officedocument.presentationml.notesSlide+xml"/>
  <Override PartName="/ppt/charts/chart311.xml" ContentType="application/vnd.openxmlformats-officedocument.drawingml.chart+xml"/>
  <Override PartName="/ppt/tags/tag391.xml" ContentType="application/vnd.openxmlformats-officedocument.presentationml.tags+xml"/>
  <Override PartName="/ppt/notesSlides/notesSlide56.xml" ContentType="application/vnd.openxmlformats-officedocument.presentationml.notesSlide+xml"/>
  <Override PartName="/ppt/charts/chart312.xml" ContentType="application/vnd.openxmlformats-officedocument.drawingml.chart+xml"/>
  <Override PartName="/ppt/tags/tag392.xml" ContentType="application/vnd.openxmlformats-officedocument.presentationml.tags+xml"/>
  <Override PartName="/ppt/notesSlides/notesSlide57.xml" ContentType="application/vnd.openxmlformats-officedocument.presentationml.notesSlide+xml"/>
  <Override PartName="/ppt/charts/chart313.xml" ContentType="application/vnd.openxmlformats-officedocument.drawingml.chart+xml"/>
  <Override PartName="/ppt/tags/tag393.xml" ContentType="application/vnd.openxmlformats-officedocument.presentationml.tags+xml"/>
  <Override PartName="/ppt/notesSlides/notesSlide58.xml" ContentType="application/vnd.openxmlformats-officedocument.presentationml.notesSlide+xml"/>
  <Override PartName="/ppt/charts/chart314.xml" ContentType="application/vnd.openxmlformats-officedocument.drawingml.chart+xml"/>
  <Override PartName="/ppt/tags/tag394.xml" ContentType="application/vnd.openxmlformats-officedocument.presentationml.tags+xml"/>
  <Override PartName="/ppt/notesSlides/notesSlide59.xml" ContentType="application/vnd.openxmlformats-officedocument.presentationml.notesSlide+xml"/>
  <Override PartName="/ppt/charts/chart315.xml" ContentType="application/vnd.openxmlformats-officedocument.drawingml.chart+xml"/>
  <Override PartName="/ppt/tags/tag395.xml" ContentType="application/vnd.openxmlformats-officedocument.presentationml.tags+xml"/>
  <Override PartName="/ppt/notesSlides/notesSlide60.xml" ContentType="application/vnd.openxmlformats-officedocument.presentationml.notesSlide+xml"/>
  <Override PartName="/ppt/charts/chart316.xml" ContentType="application/vnd.openxmlformats-officedocument.drawingml.chart+xml"/>
  <Override PartName="/ppt/tags/tag396.xml" ContentType="application/vnd.openxmlformats-officedocument.presentationml.tags+xml"/>
  <Override PartName="/ppt/notesSlides/notesSlide61.xml" ContentType="application/vnd.openxmlformats-officedocument.presentationml.notesSlide+xml"/>
  <Override PartName="/ppt/charts/chart317.xml" ContentType="application/vnd.openxmlformats-officedocument.drawingml.chart+xml"/>
  <Override PartName="/ppt/tags/tag397.xml" ContentType="application/vnd.openxmlformats-officedocument.presentationml.tags+xml"/>
  <Override PartName="/ppt/notesSlides/notesSlide62.xml" ContentType="application/vnd.openxmlformats-officedocument.presentationml.notesSlide+xml"/>
  <Override PartName="/ppt/charts/chart318.xml" ContentType="application/vnd.openxmlformats-officedocument.drawingml.chart+xml"/>
  <Override PartName="/ppt/tags/tag398.xml" ContentType="application/vnd.openxmlformats-officedocument.presentationml.tags+xml"/>
  <Override PartName="/ppt/notesSlides/notesSlide63.xml" ContentType="application/vnd.openxmlformats-officedocument.presentationml.notesSlide+xml"/>
  <Override PartName="/ppt/charts/chart319.xml" ContentType="application/vnd.openxmlformats-officedocument.drawingml.chart+xml"/>
  <Override PartName="/ppt/tags/tag399.xml" ContentType="application/vnd.openxmlformats-officedocument.presentationml.tags+xml"/>
  <Override PartName="/ppt/notesSlides/notesSlide64.xml" ContentType="application/vnd.openxmlformats-officedocument.presentationml.notesSlide+xml"/>
  <Override PartName="/ppt/charts/chart320.xml" ContentType="application/vnd.openxmlformats-officedocument.drawingml.chart+xml"/>
  <Override PartName="/ppt/tags/tag400.xml" ContentType="application/vnd.openxmlformats-officedocument.presentationml.tags+xml"/>
  <Override PartName="/ppt/notesSlides/notesSlide65.xml" ContentType="application/vnd.openxmlformats-officedocument.presentationml.notesSlide+xml"/>
  <Override PartName="/ppt/charts/chart321.xml" ContentType="application/vnd.openxmlformats-officedocument.drawingml.chart+xml"/>
  <Override PartName="/ppt/tags/tag401.xml" ContentType="application/vnd.openxmlformats-officedocument.presentationml.tags+xml"/>
  <Override PartName="/ppt/notesSlides/notesSlide66.xml" ContentType="application/vnd.openxmlformats-officedocument.presentationml.notesSlide+xml"/>
  <Override PartName="/ppt/charts/chart322.xml" ContentType="application/vnd.openxmlformats-officedocument.drawingml.chart+xml"/>
  <Override PartName="/ppt/tags/tag402.xml" ContentType="application/vnd.openxmlformats-officedocument.presentationml.tags+xml"/>
  <Override PartName="/ppt/notesSlides/notesSlide67.xml" ContentType="application/vnd.openxmlformats-officedocument.presentationml.notesSlide+xml"/>
  <Override PartName="/ppt/charts/chart323.xml" ContentType="application/vnd.openxmlformats-officedocument.drawingml.chart+xml"/>
  <Override PartName="/ppt/tags/tag403.xml" ContentType="application/vnd.openxmlformats-officedocument.presentationml.tags+xml"/>
  <Override PartName="/ppt/notesSlides/notesSlide68.xml" ContentType="application/vnd.openxmlformats-officedocument.presentationml.notesSlide+xml"/>
  <Override PartName="/ppt/charts/chart324.xml" ContentType="application/vnd.openxmlformats-officedocument.drawingml.chart+xml"/>
  <Override PartName="/ppt/tags/tag404.xml" ContentType="application/vnd.openxmlformats-officedocument.presentationml.tags+xml"/>
  <Override PartName="/ppt/notesSlides/notesSlide69.xml" ContentType="application/vnd.openxmlformats-officedocument.presentationml.notesSlide+xml"/>
  <Override PartName="/ppt/charts/chart325.xml" ContentType="application/vnd.openxmlformats-officedocument.drawingml.chart+xml"/>
  <Override PartName="/ppt/tags/tag405.xml" ContentType="application/vnd.openxmlformats-officedocument.presentationml.tags+xml"/>
  <Override PartName="/ppt/notesSlides/notesSlide70.xml" ContentType="application/vnd.openxmlformats-officedocument.presentationml.notesSlide+xml"/>
  <Override PartName="/ppt/charts/chart326.xml" ContentType="application/vnd.openxmlformats-officedocument.drawingml.chart+xml"/>
  <Override PartName="/ppt/tags/tag406.xml" ContentType="application/vnd.openxmlformats-officedocument.presentationml.tags+xml"/>
  <Override PartName="/ppt/notesSlides/notesSlide71.xml" ContentType="application/vnd.openxmlformats-officedocument.presentationml.notesSlide+xml"/>
  <Override PartName="/ppt/charts/chart327.xml" ContentType="application/vnd.openxmlformats-officedocument.drawingml.chart+xml"/>
  <Override PartName="/ppt/tags/tag407.xml" ContentType="application/vnd.openxmlformats-officedocument.presentationml.tags+xml"/>
  <Override PartName="/ppt/notesSlides/notesSlide72.xml" ContentType="application/vnd.openxmlformats-officedocument.presentationml.notesSlide+xml"/>
  <Override PartName="/ppt/charts/chart328.xml" ContentType="application/vnd.openxmlformats-officedocument.drawingml.chart+xml"/>
  <Override PartName="/ppt/tags/tag408.xml" ContentType="application/vnd.openxmlformats-officedocument.presentationml.tags+xml"/>
  <Override PartName="/ppt/notesSlides/notesSlide73.xml" ContentType="application/vnd.openxmlformats-officedocument.presentationml.notesSlide+xml"/>
  <Override PartName="/ppt/charts/chart329.xml" ContentType="application/vnd.openxmlformats-officedocument.drawingml.chart+xml"/>
  <Override PartName="/ppt/tags/tag409.xml" ContentType="application/vnd.openxmlformats-officedocument.presentationml.tags+xml"/>
  <Override PartName="/ppt/notesSlides/notesSlide74.xml" ContentType="application/vnd.openxmlformats-officedocument.presentationml.notesSlide+xml"/>
  <Override PartName="/ppt/charts/chart330.xml" ContentType="application/vnd.openxmlformats-officedocument.drawingml.chart+xml"/>
  <Override PartName="/ppt/tags/tag410.xml" ContentType="application/vnd.openxmlformats-officedocument.presentationml.tags+xml"/>
  <Override PartName="/ppt/notesSlides/notesSlide75.xml" ContentType="application/vnd.openxmlformats-officedocument.presentationml.notesSlide+xml"/>
  <Override PartName="/ppt/charts/chart331.xml" ContentType="application/vnd.openxmlformats-officedocument.drawingml.chart+xml"/>
  <Override PartName="/ppt/tags/tag411.xml" ContentType="application/vnd.openxmlformats-officedocument.presentationml.tags+xml"/>
  <Override PartName="/ppt/notesSlides/notesSlide76.xml" ContentType="application/vnd.openxmlformats-officedocument.presentationml.notesSlide+xml"/>
  <Override PartName="/ppt/charts/chart332.xml" ContentType="application/vnd.openxmlformats-officedocument.drawingml.chart+xml"/>
  <Override PartName="/ppt/tags/tag412.xml" ContentType="application/vnd.openxmlformats-officedocument.presentationml.tags+xml"/>
  <Override PartName="/ppt/notesSlides/notesSlide77.xml" ContentType="application/vnd.openxmlformats-officedocument.presentationml.notesSlide+xml"/>
  <Override PartName="/ppt/charts/chart333.xml" ContentType="application/vnd.openxmlformats-officedocument.drawingml.chart+xml"/>
  <Override PartName="/ppt/tags/tag413.xml" ContentType="application/vnd.openxmlformats-officedocument.presentationml.tags+xml"/>
  <Override PartName="/ppt/notesSlides/notesSlide78.xml" ContentType="application/vnd.openxmlformats-officedocument.presentationml.notesSlide+xml"/>
  <Override PartName="/ppt/charts/chart334.xml" ContentType="application/vnd.openxmlformats-officedocument.drawingml.chart+xml"/>
  <Override PartName="/ppt/tags/tag414.xml" ContentType="application/vnd.openxmlformats-officedocument.presentationml.tags+xml"/>
  <Override PartName="/ppt/notesSlides/notesSlide79.xml" ContentType="application/vnd.openxmlformats-officedocument.presentationml.notesSlide+xml"/>
  <Override PartName="/ppt/charts/chart335.xml" ContentType="application/vnd.openxmlformats-officedocument.drawingml.chart+xml"/>
  <Override PartName="/ppt/tags/tag415.xml" ContentType="application/vnd.openxmlformats-officedocument.presentationml.tags+xml"/>
  <Override PartName="/ppt/notesSlides/notesSlide80.xml" ContentType="application/vnd.openxmlformats-officedocument.presentationml.notesSlide+xml"/>
  <Override PartName="/ppt/charts/chart336.xml" ContentType="application/vnd.openxmlformats-officedocument.drawingml.chart+xml"/>
  <Override PartName="/ppt/tags/tag416.xml" ContentType="application/vnd.openxmlformats-officedocument.presentationml.tags+xml"/>
  <Override PartName="/ppt/notesSlides/notesSlide81.xml" ContentType="application/vnd.openxmlformats-officedocument.presentationml.notesSlide+xml"/>
  <Override PartName="/ppt/charts/chart337.xml" ContentType="application/vnd.openxmlformats-officedocument.drawingml.chart+xml"/>
  <Override PartName="/ppt/tags/tag417.xml" ContentType="application/vnd.openxmlformats-officedocument.presentationml.tags+xml"/>
  <Override PartName="/ppt/notesSlides/notesSlide82.xml" ContentType="application/vnd.openxmlformats-officedocument.presentationml.notesSlide+xml"/>
  <Override PartName="/ppt/charts/chart338.xml" ContentType="application/vnd.openxmlformats-officedocument.drawingml.chart+xml"/>
  <Override PartName="/ppt/tags/tag418.xml" ContentType="application/vnd.openxmlformats-officedocument.presentationml.tags+xml"/>
  <Override PartName="/ppt/notesSlides/notesSlide83.xml" ContentType="application/vnd.openxmlformats-officedocument.presentationml.notesSlide+xml"/>
  <Override PartName="/ppt/charts/chart339.xml" ContentType="application/vnd.openxmlformats-officedocument.drawingml.chart+xml"/>
  <Override PartName="/ppt/tags/tag419.xml" ContentType="application/vnd.openxmlformats-officedocument.presentationml.tags+xml"/>
  <Override PartName="/ppt/notesSlides/notesSlide84.xml" ContentType="application/vnd.openxmlformats-officedocument.presentationml.notesSlide+xml"/>
  <Override PartName="/ppt/charts/chart340.xml" ContentType="application/vnd.openxmlformats-officedocument.drawingml.chart+xml"/>
  <Override PartName="/ppt/tags/tag420.xml" ContentType="application/vnd.openxmlformats-officedocument.presentationml.tags+xml"/>
  <Override PartName="/ppt/notesSlides/notesSlide85.xml" ContentType="application/vnd.openxmlformats-officedocument.presentationml.notesSlide+xml"/>
  <Override PartName="/ppt/charts/chart341.xml" ContentType="application/vnd.openxmlformats-officedocument.drawingml.chart+xml"/>
  <Override PartName="/ppt/tags/tag421.xml" ContentType="application/vnd.openxmlformats-officedocument.presentationml.tags+xml"/>
  <Override PartName="/ppt/notesSlides/notesSlide86.xml" ContentType="application/vnd.openxmlformats-officedocument.presentationml.notesSlide+xml"/>
  <Override PartName="/ppt/charts/chart342.xml" ContentType="application/vnd.openxmlformats-officedocument.drawingml.chart+xml"/>
  <Override PartName="/ppt/tags/tag422.xml" ContentType="application/vnd.openxmlformats-officedocument.presentationml.tags+xml"/>
  <Override PartName="/ppt/notesSlides/notesSlide87.xml" ContentType="application/vnd.openxmlformats-officedocument.presentationml.notesSlide+xml"/>
  <Override PartName="/ppt/charts/chart343.xml" ContentType="application/vnd.openxmlformats-officedocument.drawingml.chart+xml"/>
  <Override PartName="/ppt/tags/tag423.xml" ContentType="application/vnd.openxmlformats-officedocument.presentationml.tags+xml"/>
  <Override PartName="/ppt/notesSlides/notesSlide88.xml" ContentType="application/vnd.openxmlformats-officedocument.presentationml.notesSlide+xml"/>
  <Override PartName="/ppt/charts/chart344.xml" ContentType="application/vnd.openxmlformats-officedocument.drawingml.chart+xml"/>
  <Override PartName="/ppt/tags/tag424.xml" ContentType="application/vnd.openxmlformats-officedocument.presentationml.tags+xml"/>
  <Override PartName="/ppt/notesSlides/notesSlide89.xml" ContentType="application/vnd.openxmlformats-officedocument.presentationml.notesSlide+xml"/>
  <Override PartName="/ppt/charts/chart345.xml" ContentType="application/vnd.openxmlformats-officedocument.drawingml.chart+xml"/>
  <Override PartName="/ppt/tags/tag425.xml" ContentType="application/vnd.openxmlformats-officedocument.presentationml.tags+xml"/>
  <Override PartName="/ppt/notesSlides/notesSlide90.xml" ContentType="application/vnd.openxmlformats-officedocument.presentationml.notesSlide+xml"/>
  <Override PartName="/ppt/charts/chart346.xml" ContentType="application/vnd.openxmlformats-officedocument.drawingml.chart+xml"/>
  <Override PartName="/ppt/tags/tag426.xml" ContentType="application/vnd.openxmlformats-officedocument.presentationml.tags+xml"/>
  <Override PartName="/ppt/notesSlides/notesSlide91.xml" ContentType="application/vnd.openxmlformats-officedocument.presentationml.notesSlide+xml"/>
  <Override PartName="/ppt/charts/chart347.xml" ContentType="application/vnd.openxmlformats-officedocument.drawingml.chart+xml"/>
  <Override PartName="/ppt/tags/tag427.xml" ContentType="application/vnd.openxmlformats-officedocument.presentationml.tags+xml"/>
  <Override PartName="/ppt/notesSlides/notesSlide92.xml" ContentType="application/vnd.openxmlformats-officedocument.presentationml.notesSlide+xml"/>
  <Override PartName="/ppt/charts/chart348.xml" ContentType="application/vnd.openxmlformats-officedocument.drawingml.chart+xml"/>
  <Override PartName="/ppt/tags/tag428.xml" ContentType="application/vnd.openxmlformats-officedocument.presentationml.tags+xml"/>
  <Override PartName="/ppt/notesSlides/notesSlide93.xml" ContentType="application/vnd.openxmlformats-officedocument.presentationml.notesSlide+xml"/>
  <Override PartName="/ppt/charts/chart349.xml" ContentType="application/vnd.openxmlformats-officedocument.drawingml.chart+xml"/>
  <Override PartName="/ppt/tags/tag429.xml" ContentType="application/vnd.openxmlformats-officedocument.presentationml.tags+xml"/>
  <Override PartName="/ppt/notesSlides/notesSlide94.xml" ContentType="application/vnd.openxmlformats-officedocument.presentationml.notesSlide+xml"/>
  <Override PartName="/ppt/charts/chart350.xml" ContentType="application/vnd.openxmlformats-officedocument.drawingml.chart+xml"/>
  <Override PartName="/ppt/tags/tag430.xml" ContentType="application/vnd.openxmlformats-officedocument.presentationml.tags+xml"/>
  <Override PartName="/ppt/notesSlides/notesSlide95.xml" ContentType="application/vnd.openxmlformats-officedocument.presentationml.notesSlide+xml"/>
  <Override PartName="/ppt/charts/chart351.xml" ContentType="application/vnd.openxmlformats-officedocument.drawingml.chart+xml"/>
  <Override PartName="/ppt/tags/tag431.xml" ContentType="application/vnd.openxmlformats-officedocument.presentationml.tags+xml"/>
  <Override PartName="/ppt/notesSlides/notesSlide96.xml" ContentType="application/vnd.openxmlformats-officedocument.presentationml.notesSlide+xml"/>
  <Override PartName="/ppt/charts/chart352.xml" ContentType="application/vnd.openxmlformats-officedocument.drawingml.chart+xml"/>
  <Override PartName="/ppt/tags/tag432.xml" ContentType="application/vnd.openxmlformats-officedocument.presentationml.tags+xml"/>
  <Override PartName="/ppt/notesSlides/notesSlide97.xml" ContentType="application/vnd.openxmlformats-officedocument.presentationml.notesSlide+xml"/>
  <Override PartName="/ppt/charts/chart353.xml" ContentType="application/vnd.openxmlformats-officedocument.drawingml.chart+xml"/>
  <Override PartName="/ppt/tags/tag433.xml" ContentType="application/vnd.openxmlformats-officedocument.presentationml.tags+xml"/>
  <Override PartName="/ppt/notesSlides/notesSlide98.xml" ContentType="application/vnd.openxmlformats-officedocument.presentationml.notesSlide+xml"/>
  <Override PartName="/ppt/charts/chart354.xml" ContentType="application/vnd.openxmlformats-officedocument.drawingml.chart+xml"/>
  <Override PartName="/ppt/tags/tag434.xml" ContentType="application/vnd.openxmlformats-officedocument.presentationml.tags+xml"/>
  <Override PartName="/ppt/notesSlides/notesSlide99.xml" ContentType="application/vnd.openxmlformats-officedocument.presentationml.notesSlide+xml"/>
  <Override PartName="/ppt/charts/chart355.xml" ContentType="application/vnd.openxmlformats-officedocument.drawingml.chart+xml"/>
  <Override PartName="/ppt/tags/tag435.xml" ContentType="application/vnd.openxmlformats-officedocument.presentationml.tags+xml"/>
  <Override PartName="/ppt/notesSlides/notesSlide100.xml" ContentType="application/vnd.openxmlformats-officedocument.presentationml.notesSlide+xml"/>
  <Override PartName="/ppt/charts/chart356.xml" ContentType="application/vnd.openxmlformats-officedocument.drawingml.chart+xml"/>
  <Override PartName="/ppt/tags/tag436.xml" ContentType="application/vnd.openxmlformats-officedocument.presentationml.tags+xml"/>
  <Override PartName="/ppt/charts/chart357.xml" ContentType="application/vnd.openxmlformats-officedocument.drawingml.chart+xml"/>
  <Override PartName="/ppt/tags/tag437.xml" ContentType="application/vnd.openxmlformats-officedocument.presentationml.tags+xml"/>
  <Override PartName="/ppt/charts/chart358.xml" ContentType="application/vnd.openxmlformats-officedocument.drawingml.chart+xml"/>
  <Override PartName="/ppt/tags/tag438.xml" ContentType="application/vnd.openxmlformats-officedocument.presentationml.tags+xml"/>
  <Override PartName="/ppt/charts/chart359.xml" ContentType="application/vnd.openxmlformats-officedocument.drawingml.chart+xml"/>
  <Override PartName="/ppt/tags/tag439.xml" ContentType="application/vnd.openxmlformats-officedocument.presentationml.tags+xml"/>
  <Override PartName="/ppt/charts/chart360.xml" ContentType="application/vnd.openxmlformats-officedocument.drawingml.chart+xml"/>
  <Override PartName="/ppt/tags/tag440.xml" ContentType="application/vnd.openxmlformats-officedocument.presentationml.tags+xml"/>
  <Override PartName="/ppt/charts/chart361.xml" ContentType="application/vnd.openxmlformats-officedocument.drawingml.chart+xml"/>
  <Override PartName="/ppt/tags/tag441.xml" ContentType="application/vnd.openxmlformats-officedocument.presentationml.tags+xml"/>
  <Override PartName="/ppt/charts/chart362.xml" ContentType="application/vnd.openxmlformats-officedocument.drawingml.chart+xml"/>
  <Override PartName="/ppt/tags/tag442.xml" ContentType="application/vnd.openxmlformats-officedocument.presentationml.tags+xml"/>
  <Override PartName="/ppt/charts/chart363.xml" ContentType="application/vnd.openxmlformats-officedocument.drawingml.chart+xml"/>
  <Override PartName="/ppt/tags/tag443.xml" ContentType="application/vnd.openxmlformats-officedocument.presentationml.tags+xml"/>
  <Override PartName="/ppt/charts/chart364.xml" ContentType="application/vnd.openxmlformats-officedocument.drawingml.chart+xml"/>
  <Override PartName="/ppt/tags/tag444.xml" ContentType="application/vnd.openxmlformats-officedocument.presentationml.tags+xml"/>
  <Override PartName="/ppt/charts/chart365.xml" ContentType="application/vnd.openxmlformats-officedocument.drawingml.chart+xml"/>
  <Override PartName="/ppt/tags/tag445.xml" ContentType="application/vnd.openxmlformats-officedocument.presentationml.tags+xml"/>
  <Override PartName="/ppt/charts/chart366.xml" ContentType="application/vnd.openxmlformats-officedocument.drawingml.chart+xml"/>
  <Override PartName="/ppt/tags/tag446.xml" ContentType="application/vnd.openxmlformats-officedocument.presentationml.tags+xml"/>
  <Override PartName="/ppt/charts/chart367.xml" ContentType="application/vnd.openxmlformats-officedocument.drawingml.chart+xml"/>
  <Override PartName="/ppt/tags/tag447.xml" ContentType="application/vnd.openxmlformats-officedocument.presentationml.tags+xml"/>
  <Override PartName="/ppt/charts/chart368.xml" ContentType="application/vnd.openxmlformats-officedocument.drawingml.chart+xml"/>
  <Override PartName="/ppt/tags/tag448.xml" ContentType="application/vnd.openxmlformats-officedocument.presentationml.tags+xml"/>
  <Override PartName="/ppt/charts/chart369.xml" ContentType="application/vnd.openxmlformats-officedocument.drawingml.chart+xml"/>
  <Override PartName="/ppt/tags/tag449.xml" ContentType="application/vnd.openxmlformats-officedocument.presentationml.tags+xml"/>
  <Override PartName="/ppt/charts/chart370.xml" ContentType="application/vnd.openxmlformats-officedocument.drawingml.chart+xml"/>
  <Override PartName="/ppt/tags/tag450.xml" ContentType="application/vnd.openxmlformats-officedocument.presentationml.tags+xml"/>
  <Override PartName="/ppt/charts/chart371.xml" ContentType="application/vnd.openxmlformats-officedocument.drawingml.chart+xml"/>
  <Override PartName="/ppt/tags/tag451.xml" ContentType="application/vnd.openxmlformats-officedocument.presentationml.tags+xml"/>
  <Override PartName="/ppt/charts/chart372.xml" ContentType="application/vnd.openxmlformats-officedocument.drawingml.chart+xml"/>
  <Override PartName="/ppt/tags/tag452.xml" ContentType="application/vnd.openxmlformats-officedocument.presentationml.tags+xml"/>
  <Override PartName="/ppt/charts/chart373.xml" ContentType="application/vnd.openxmlformats-officedocument.drawingml.chart+xml"/>
  <Override PartName="/ppt/tags/tag453.xml" ContentType="application/vnd.openxmlformats-officedocument.presentationml.tags+xml"/>
  <Override PartName="/ppt/charts/chart374.xml" ContentType="application/vnd.openxmlformats-officedocument.drawingml.chart+xml"/>
  <Override PartName="/ppt/tags/tag454.xml" ContentType="application/vnd.openxmlformats-officedocument.presentationml.tags+xml"/>
  <Override PartName="/ppt/charts/chart375.xml" ContentType="application/vnd.openxmlformats-officedocument.drawingml.chart+xml"/>
  <Override PartName="/ppt/tags/tag455.xml" ContentType="application/vnd.openxmlformats-officedocument.presentationml.tags+xml"/>
  <Override PartName="/ppt/charts/chart376.xml" ContentType="application/vnd.openxmlformats-officedocument.drawingml.chart+xml"/>
  <Override PartName="/ppt/tags/tag456.xml" ContentType="application/vnd.openxmlformats-officedocument.presentationml.tags+xml"/>
  <Override PartName="/ppt/charts/chart377.xml" ContentType="application/vnd.openxmlformats-officedocument.drawingml.chart+xml"/>
  <Override PartName="/ppt/tags/tag457.xml" ContentType="application/vnd.openxmlformats-officedocument.presentationml.tags+xml"/>
  <Override PartName="/ppt/charts/chart378.xml" ContentType="application/vnd.openxmlformats-officedocument.drawingml.chart+xml"/>
  <Override PartName="/ppt/tags/tag458.xml" ContentType="application/vnd.openxmlformats-officedocument.presentationml.tags+xml"/>
  <Override PartName="/ppt/charts/chart379.xml" ContentType="application/vnd.openxmlformats-officedocument.drawingml.chart+xml"/>
  <Override PartName="/ppt/tags/tag459.xml" ContentType="application/vnd.openxmlformats-officedocument.presentationml.tags+xml"/>
  <Override PartName="/ppt/charts/chart380.xml" ContentType="application/vnd.openxmlformats-officedocument.drawingml.chart+xml"/>
  <Override PartName="/ppt/tags/tag460.xml" ContentType="application/vnd.openxmlformats-officedocument.presentationml.tags+xml"/>
  <Override PartName="/ppt/charts/chart381.xml" ContentType="application/vnd.openxmlformats-officedocument.drawingml.chart+xml"/>
  <Override PartName="/ppt/tags/tag461.xml" ContentType="application/vnd.openxmlformats-officedocument.presentationml.tags+xml"/>
  <Override PartName="/ppt/charts/chart382.xml" ContentType="application/vnd.openxmlformats-officedocument.drawingml.chart+xml"/>
  <Override PartName="/ppt/tags/tag462.xml" ContentType="application/vnd.openxmlformats-officedocument.presentationml.tags+xml"/>
  <Override PartName="/ppt/charts/chart383.xml" ContentType="application/vnd.openxmlformats-officedocument.drawingml.chart+xml"/>
  <Override PartName="/ppt/tags/tag463.xml" ContentType="application/vnd.openxmlformats-officedocument.presentationml.tags+xml"/>
  <Override PartName="/ppt/charts/chart384.xml" ContentType="application/vnd.openxmlformats-officedocument.drawingml.chart+xml"/>
  <Override PartName="/ppt/tags/tag464.xml" ContentType="application/vnd.openxmlformats-officedocument.presentationml.tags+xml"/>
  <Override PartName="/ppt/charts/chart385.xml" ContentType="application/vnd.openxmlformats-officedocument.drawingml.chart+xml"/>
  <Override PartName="/ppt/tags/tag465.xml" ContentType="application/vnd.openxmlformats-officedocument.presentationml.tags+xml"/>
  <Override PartName="/ppt/charts/chart386.xml" ContentType="application/vnd.openxmlformats-officedocument.drawingml.chart+xml"/>
  <Override PartName="/ppt/tags/tag466.xml" ContentType="application/vnd.openxmlformats-officedocument.presentationml.tags+xml"/>
  <Override PartName="/ppt/charts/chart387.xml" ContentType="application/vnd.openxmlformats-officedocument.drawingml.chart+xml"/>
  <Override PartName="/ppt/tags/tag467.xml" ContentType="application/vnd.openxmlformats-officedocument.presentationml.tags+xml"/>
  <Override PartName="/ppt/charts/chart388.xml" ContentType="application/vnd.openxmlformats-officedocument.drawingml.chart+xml"/>
  <Override PartName="/ppt/tags/tag468.xml" ContentType="application/vnd.openxmlformats-officedocument.presentationml.tags+xml"/>
  <Override PartName="/ppt/charts/chart389.xml" ContentType="application/vnd.openxmlformats-officedocument.drawingml.chart+xml"/>
  <Override PartName="/ppt/tags/tag469.xml" ContentType="application/vnd.openxmlformats-officedocument.presentationml.tags+xml"/>
  <Override PartName="/ppt/charts/chart390.xml" ContentType="application/vnd.openxmlformats-officedocument.drawingml.chart+xml"/>
  <Override PartName="/ppt/tags/tag470.xml" ContentType="application/vnd.openxmlformats-officedocument.presentationml.tags+xml"/>
  <Override PartName="/ppt/charts/chart391.xml" ContentType="application/vnd.openxmlformats-officedocument.drawingml.chart+xml"/>
  <Override PartName="/ppt/tags/tag471.xml" ContentType="application/vnd.openxmlformats-officedocument.presentationml.tags+xml"/>
  <Override PartName="/ppt/charts/chart392.xml" ContentType="application/vnd.openxmlformats-officedocument.drawingml.chart+xml"/>
  <Override PartName="/ppt/tags/tag472.xml" ContentType="application/vnd.openxmlformats-officedocument.presentationml.tags+xml"/>
  <Override PartName="/ppt/charts/chart393.xml" ContentType="application/vnd.openxmlformats-officedocument.drawingml.chart+xml"/>
  <Override PartName="/ppt/tags/tag473.xml" ContentType="application/vnd.openxmlformats-officedocument.presentationml.tags+xml"/>
  <Override PartName="/ppt/charts/chart394.xml" ContentType="application/vnd.openxmlformats-officedocument.drawingml.chart+xml"/>
  <Override PartName="/ppt/tags/tag474.xml" ContentType="application/vnd.openxmlformats-officedocument.presentationml.tags+xml"/>
  <Override PartName="/ppt/charts/chart395.xml" ContentType="application/vnd.openxmlformats-officedocument.drawingml.chart+xml"/>
  <Override PartName="/ppt/tags/tag475.xml" ContentType="application/vnd.openxmlformats-officedocument.presentationml.tags+xml"/>
  <Override PartName="/ppt/charts/chart396.xml" ContentType="application/vnd.openxmlformats-officedocument.drawingml.chart+xml"/>
  <Override PartName="/ppt/tags/tag476.xml" ContentType="application/vnd.openxmlformats-officedocument.presentationml.tags+xml"/>
  <Override PartName="/ppt/charts/chart397.xml" ContentType="application/vnd.openxmlformats-officedocument.drawingml.chart+xml"/>
  <Override PartName="/ppt/tags/tag477.xml" ContentType="application/vnd.openxmlformats-officedocument.presentationml.tags+xml"/>
  <Override PartName="/ppt/charts/chart398.xml" ContentType="application/vnd.openxmlformats-officedocument.drawingml.chart+xml"/>
  <Override PartName="/ppt/tags/tag478.xml" ContentType="application/vnd.openxmlformats-officedocument.presentationml.tags+xml"/>
  <Override PartName="/ppt/charts/chart399.xml" ContentType="application/vnd.openxmlformats-officedocument.drawingml.chart+xml"/>
  <Override PartName="/ppt/tags/tag479.xml" ContentType="application/vnd.openxmlformats-officedocument.presentationml.tags+xml"/>
  <Override PartName="/ppt/charts/chart400.xml" ContentType="application/vnd.openxmlformats-officedocument.drawingml.chart+xml"/>
  <Override PartName="/ppt/tags/tag480.xml" ContentType="application/vnd.openxmlformats-officedocument.presentationml.tags+xml"/>
  <Override PartName="/ppt/charts/chart401.xml" ContentType="application/vnd.openxmlformats-officedocument.drawingml.chart+xml"/>
  <Override PartName="/ppt/tags/tag481.xml" ContentType="application/vnd.openxmlformats-officedocument.presentationml.tags+xml"/>
  <Override PartName="/ppt/charts/chart402.xml" ContentType="application/vnd.openxmlformats-officedocument.drawingml.chart+xml"/>
  <Override PartName="/ppt/tags/tag482.xml" ContentType="application/vnd.openxmlformats-officedocument.presentationml.tags+xml"/>
  <Override PartName="/ppt/charts/chart403.xml" ContentType="application/vnd.openxmlformats-officedocument.drawingml.chart+xml"/>
  <Override PartName="/ppt/tags/tag483.xml" ContentType="application/vnd.openxmlformats-officedocument.presentationml.tags+xml"/>
  <Override PartName="/ppt/charts/chart404.xml" ContentType="application/vnd.openxmlformats-officedocument.drawingml.chart+xml"/>
  <Override PartName="/ppt/tags/tag484.xml" ContentType="application/vnd.openxmlformats-officedocument.presentationml.tags+xml"/>
  <Override PartName="/ppt/charts/chart405.xml" ContentType="application/vnd.openxmlformats-officedocument.drawingml.chart+xml"/>
  <Override PartName="/ppt/tags/tag485.xml" ContentType="application/vnd.openxmlformats-officedocument.presentationml.tags+xml"/>
  <Override PartName="/ppt/charts/chart406.xml" ContentType="application/vnd.openxmlformats-officedocument.drawingml.chart+xml"/>
  <Override PartName="/ppt/tags/tag486.xml" ContentType="application/vnd.openxmlformats-officedocument.presentationml.tags+xml"/>
  <Override PartName="/ppt/charts/chart407.xml" ContentType="application/vnd.openxmlformats-officedocument.drawingml.chart+xml"/>
  <Override PartName="/ppt/tags/tag487.xml" ContentType="application/vnd.openxmlformats-officedocument.presentationml.tags+xml"/>
  <Override PartName="/ppt/charts/chart408.xml" ContentType="application/vnd.openxmlformats-officedocument.drawingml.chart+xml"/>
  <Override PartName="/ppt/tags/tag488.xml" ContentType="application/vnd.openxmlformats-officedocument.presentationml.tags+xml"/>
  <Override PartName="/ppt/charts/chart409.xml" ContentType="application/vnd.openxmlformats-officedocument.drawingml.chart+xml"/>
  <Override PartName="/ppt/tags/tag489.xml" ContentType="application/vnd.openxmlformats-officedocument.presentationml.tags+xml"/>
  <Override PartName="/ppt/charts/chart410.xml" ContentType="application/vnd.openxmlformats-officedocument.drawingml.chart+xml"/>
  <Override PartName="/ppt/tags/tag490.xml" ContentType="application/vnd.openxmlformats-officedocument.presentationml.tags+xml"/>
  <Override PartName="/ppt/charts/chart411.xml" ContentType="application/vnd.openxmlformats-officedocument.drawingml.chart+xml"/>
  <Override PartName="/ppt/tags/tag491.xml" ContentType="application/vnd.openxmlformats-officedocument.presentationml.tags+xml"/>
  <Override PartName="/ppt/charts/chart412.xml" ContentType="application/vnd.openxmlformats-officedocument.drawingml.chart+xml"/>
  <Override PartName="/ppt/tags/tag492.xml" ContentType="application/vnd.openxmlformats-officedocument.presentationml.tags+xml"/>
  <Override PartName="/ppt/charts/chart413.xml" ContentType="application/vnd.openxmlformats-officedocument.drawingml.chart+xml"/>
  <Override PartName="/ppt/tags/tag493.xml" ContentType="application/vnd.openxmlformats-officedocument.presentationml.tags+xml"/>
  <Override PartName="/ppt/charts/chart414.xml" ContentType="application/vnd.openxmlformats-officedocument.drawingml.chart+xml"/>
  <Override PartName="/ppt/tags/tag494.xml" ContentType="application/vnd.openxmlformats-officedocument.presentationml.tags+xml"/>
  <Override PartName="/ppt/charts/chart415.xml" ContentType="application/vnd.openxmlformats-officedocument.drawingml.chart+xml"/>
  <Override PartName="/ppt/tags/tag495.xml" ContentType="application/vnd.openxmlformats-officedocument.presentationml.tags+xml"/>
  <Override PartName="/ppt/charts/chart416.xml" ContentType="application/vnd.openxmlformats-officedocument.drawingml.chart+xml"/>
  <Override PartName="/ppt/tags/tag496.xml" ContentType="application/vnd.openxmlformats-officedocument.presentationml.tags+xml"/>
  <Override PartName="/ppt/charts/chart417.xml" ContentType="application/vnd.openxmlformats-officedocument.drawingml.chart+xml"/>
  <Override PartName="/ppt/tags/tag497.xml" ContentType="application/vnd.openxmlformats-officedocument.presentationml.tags+xml"/>
  <Override PartName="/ppt/charts/chart418.xml" ContentType="application/vnd.openxmlformats-officedocument.drawingml.chart+xml"/>
  <Override PartName="/ppt/tags/tag498.xml" ContentType="application/vnd.openxmlformats-officedocument.presentationml.tags+xml"/>
  <Override PartName="/ppt/charts/chart419.xml" ContentType="application/vnd.openxmlformats-officedocument.drawingml.chart+xml"/>
  <Override PartName="/ppt/tags/tag499.xml" ContentType="application/vnd.openxmlformats-officedocument.presentationml.tags+xml"/>
  <Override PartName="/ppt/charts/chart420.xml" ContentType="application/vnd.openxmlformats-officedocument.drawingml.chart+xml"/>
  <Override PartName="/ppt/tags/tag500.xml" ContentType="application/vnd.openxmlformats-officedocument.presentationml.tags+xml"/>
  <Override PartName="/ppt/charts/chart421.xml" ContentType="application/vnd.openxmlformats-officedocument.drawingml.chart+xml"/>
  <Override PartName="/ppt/tags/tag501.xml" ContentType="application/vnd.openxmlformats-officedocument.presentationml.tags+xml"/>
  <Override PartName="/ppt/charts/chart422.xml" ContentType="application/vnd.openxmlformats-officedocument.drawingml.chart+xml"/>
  <Override PartName="/ppt/tags/tag502.xml" ContentType="application/vnd.openxmlformats-officedocument.presentationml.tags+xml"/>
  <Override PartName="/ppt/charts/chart423.xml" ContentType="application/vnd.openxmlformats-officedocument.drawingml.chart+xml"/>
  <Override PartName="/ppt/tags/tag503.xml" ContentType="application/vnd.openxmlformats-officedocument.presentationml.tags+xml"/>
  <Override PartName="/ppt/charts/chart424.xml" ContentType="application/vnd.openxmlformats-officedocument.drawingml.chart+xml"/>
  <Override PartName="/ppt/tags/tag504.xml" ContentType="application/vnd.openxmlformats-officedocument.presentationml.tags+xml"/>
  <Override PartName="/ppt/charts/chart425.xml" ContentType="application/vnd.openxmlformats-officedocument.drawingml.chart+xml"/>
  <Override PartName="/ppt/tags/tag505.xml" ContentType="application/vnd.openxmlformats-officedocument.presentationml.tags+xml"/>
  <Override PartName="/ppt/charts/chart426.xml" ContentType="application/vnd.openxmlformats-officedocument.drawingml.chart+xml"/>
  <Override PartName="/ppt/tags/tag506.xml" ContentType="application/vnd.openxmlformats-officedocument.presentationml.tags+xml"/>
  <Override PartName="/ppt/charts/chart427.xml" ContentType="application/vnd.openxmlformats-officedocument.drawingml.chart+xml"/>
  <Override PartName="/ppt/tags/tag507.xml" ContentType="application/vnd.openxmlformats-officedocument.presentationml.tags+xml"/>
  <Override PartName="/ppt/charts/chart428.xml" ContentType="application/vnd.openxmlformats-officedocument.drawingml.chart+xml"/>
  <Override PartName="/ppt/tags/tag508.xml" ContentType="application/vnd.openxmlformats-officedocument.presentationml.tags+xml"/>
  <Override PartName="/ppt/charts/chart429.xml" ContentType="application/vnd.openxmlformats-officedocument.drawingml.chart+xml"/>
  <Override PartName="/ppt/tags/tag509.xml" ContentType="application/vnd.openxmlformats-officedocument.presentationml.tags+xml"/>
  <Override PartName="/ppt/charts/chart430.xml" ContentType="application/vnd.openxmlformats-officedocument.drawingml.chart+xml"/>
  <Override PartName="/ppt/tags/tag510.xml" ContentType="application/vnd.openxmlformats-officedocument.presentationml.tags+xml"/>
  <Override PartName="/ppt/charts/chart431.xml" ContentType="application/vnd.openxmlformats-officedocument.drawingml.chart+xml"/>
  <Override PartName="/ppt/tags/tag511.xml" ContentType="application/vnd.openxmlformats-officedocument.presentationml.tags+xml"/>
  <Override PartName="/ppt/charts/chart432.xml" ContentType="application/vnd.openxmlformats-officedocument.drawingml.chart+xml"/>
  <Override PartName="/ppt/tags/tag512.xml" ContentType="application/vnd.openxmlformats-officedocument.presentationml.tags+xml"/>
  <Override PartName="/ppt/charts/chart433.xml" ContentType="application/vnd.openxmlformats-officedocument.drawingml.chart+xml"/>
  <Override PartName="/ppt/tags/tag513.xml" ContentType="application/vnd.openxmlformats-officedocument.presentationml.tags+xml"/>
  <Override PartName="/ppt/charts/chart434.xml" ContentType="application/vnd.openxmlformats-officedocument.drawingml.chart+xml"/>
  <Override PartName="/ppt/tags/tag514.xml" ContentType="application/vnd.openxmlformats-officedocument.presentationml.tags+xml"/>
  <Override PartName="/ppt/charts/chart435.xml" ContentType="application/vnd.openxmlformats-officedocument.drawingml.chart+xml"/>
  <Override PartName="/ppt/tags/tag515.xml" ContentType="application/vnd.openxmlformats-officedocument.presentationml.tags+xml"/>
  <Override PartName="/ppt/charts/chart436.xml" ContentType="application/vnd.openxmlformats-officedocument.drawingml.chart+xml"/>
  <Override PartName="/ppt/tags/tag516.xml" ContentType="application/vnd.openxmlformats-officedocument.presentationml.tags+xml"/>
  <Override PartName="/ppt/charts/chart437.xml" ContentType="application/vnd.openxmlformats-officedocument.drawingml.chart+xml"/>
  <Override PartName="/ppt/tags/tag517.xml" ContentType="application/vnd.openxmlformats-officedocument.presentationml.tags+xml"/>
  <Override PartName="/ppt/charts/chart438.xml" ContentType="application/vnd.openxmlformats-officedocument.drawingml.chart+xml"/>
  <Override PartName="/ppt/tags/tag518.xml" ContentType="application/vnd.openxmlformats-officedocument.presentationml.tags+xml"/>
  <Override PartName="/ppt/charts/chart439.xml" ContentType="application/vnd.openxmlformats-officedocument.drawingml.chart+xml"/>
  <Override PartName="/ppt/tags/tag519.xml" ContentType="application/vnd.openxmlformats-officedocument.presentationml.tags+xml"/>
  <Override PartName="/ppt/charts/chart440.xml" ContentType="application/vnd.openxmlformats-officedocument.drawingml.chart+xml"/>
  <Override PartName="/ppt/tags/tag520.xml" ContentType="application/vnd.openxmlformats-officedocument.presentationml.tags+xml"/>
  <Override PartName="/ppt/charts/chart441.xml" ContentType="application/vnd.openxmlformats-officedocument.drawingml.chart+xml"/>
  <Override PartName="/ppt/tags/tag521.xml" ContentType="application/vnd.openxmlformats-officedocument.presentationml.tags+xml"/>
  <Override PartName="/ppt/charts/chart442.xml" ContentType="application/vnd.openxmlformats-officedocument.drawingml.chart+xml"/>
  <Override PartName="/ppt/tags/tag522.xml" ContentType="application/vnd.openxmlformats-officedocument.presentationml.tags+xml"/>
  <Override PartName="/ppt/charts/chart443.xml" ContentType="application/vnd.openxmlformats-officedocument.drawingml.chart+xml"/>
  <Override PartName="/ppt/tags/tag523.xml" ContentType="application/vnd.openxmlformats-officedocument.presentationml.tags+xml"/>
  <Override PartName="/ppt/charts/chart444.xml" ContentType="application/vnd.openxmlformats-officedocument.drawingml.chart+xml"/>
  <Override PartName="/ppt/tags/tag524.xml" ContentType="application/vnd.openxmlformats-officedocument.presentationml.tags+xml"/>
  <Override PartName="/ppt/charts/chart445.xml" ContentType="application/vnd.openxmlformats-officedocument.drawingml.chart+xml"/>
  <Override PartName="/ppt/tags/tag525.xml" ContentType="application/vnd.openxmlformats-officedocument.presentationml.tags+xml"/>
  <Override PartName="/ppt/charts/chart446.xml" ContentType="application/vnd.openxmlformats-officedocument.drawingml.chart+xml"/>
  <Override PartName="/ppt/tags/tag526.xml" ContentType="application/vnd.openxmlformats-officedocument.presentationml.tags+xml"/>
  <Override PartName="/ppt/charts/chart447.xml" ContentType="application/vnd.openxmlformats-officedocument.drawingml.chart+xml"/>
  <Override PartName="/ppt/tags/tag527.xml" ContentType="application/vnd.openxmlformats-officedocument.presentationml.tags+xml"/>
  <Override PartName="/ppt/charts/chart448.xml" ContentType="application/vnd.openxmlformats-officedocument.drawingml.chart+xml"/>
  <Override PartName="/ppt/tags/tag528.xml" ContentType="application/vnd.openxmlformats-officedocument.presentationml.tags+xml"/>
  <Override PartName="/ppt/charts/chart449.xml" ContentType="application/vnd.openxmlformats-officedocument.drawingml.chart+xml"/>
  <Override PartName="/ppt/tags/tag529.xml" ContentType="application/vnd.openxmlformats-officedocument.presentationml.tags+xml"/>
  <Override PartName="/ppt/charts/chart450.xml" ContentType="application/vnd.openxmlformats-officedocument.drawingml.chart+xml"/>
  <Override PartName="/ppt/tags/tag530.xml" ContentType="application/vnd.openxmlformats-officedocument.presentationml.tags+xml"/>
  <Override PartName="/ppt/charts/chart451.xml" ContentType="application/vnd.openxmlformats-officedocument.drawingml.chart+xml"/>
  <Override PartName="/ppt/tags/tag531.xml" ContentType="application/vnd.openxmlformats-officedocument.presentationml.tags+xml"/>
  <Override PartName="/ppt/charts/chart452.xml" ContentType="application/vnd.openxmlformats-officedocument.drawingml.chart+xml"/>
  <Override PartName="/ppt/tags/tag532.xml" ContentType="application/vnd.openxmlformats-officedocument.presentationml.tags+xml"/>
  <Override PartName="/ppt/charts/chart453.xml" ContentType="application/vnd.openxmlformats-officedocument.drawingml.chart+xml"/>
  <Override PartName="/ppt/tags/tag533.xml" ContentType="application/vnd.openxmlformats-officedocument.presentationml.tags+xml"/>
  <Override PartName="/ppt/charts/chart454.xml" ContentType="application/vnd.openxmlformats-officedocument.drawingml.chart+xml"/>
  <Override PartName="/ppt/tags/tag534.xml" ContentType="application/vnd.openxmlformats-officedocument.presentationml.tags+xml"/>
  <Override PartName="/ppt/charts/chart455.xml" ContentType="application/vnd.openxmlformats-officedocument.drawingml.chart+xml"/>
  <Override PartName="/ppt/tags/tag535.xml" ContentType="application/vnd.openxmlformats-officedocument.presentationml.tags+xml"/>
  <Override PartName="/ppt/charts/chart456.xml" ContentType="application/vnd.openxmlformats-officedocument.drawingml.chart+xml"/>
  <Override PartName="/ppt/tags/tag536.xml" ContentType="application/vnd.openxmlformats-officedocument.presentationml.tags+xml"/>
  <Override PartName="/ppt/notesSlides/notesSlide101.xml" ContentType="application/vnd.openxmlformats-officedocument.presentationml.notesSlide+xml"/>
  <Override PartName="/ppt/tags/tag537.xml" ContentType="application/vnd.openxmlformats-officedocument.presentationml.tags+xml"/>
  <Override PartName="/ppt/notesSlides/notesSlide102.xml" ContentType="application/vnd.openxmlformats-officedocument.presentationml.notesSlide+xml"/>
  <Override PartName="/ppt/tags/tag538.xml" ContentType="application/vnd.openxmlformats-officedocument.presentationml.tags+xml"/>
  <Override PartName="/ppt/notesSlides/notesSlide103.xml" ContentType="application/vnd.openxmlformats-officedocument.presentationml.notesSlide+xml"/>
  <Override PartName="/ppt/tags/tag539.xml" ContentType="application/vnd.openxmlformats-officedocument.presentationml.tags+xml"/>
  <Override PartName="/ppt/notesSlides/notesSlide104.xml" ContentType="application/vnd.openxmlformats-officedocument.presentationml.notesSlide+xml"/>
  <Override PartName="/ppt/tags/tag540.xml" ContentType="application/vnd.openxmlformats-officedocument.presentationml.tags+xml"/>
  <Override PartName="/ppt/notesSlides/notesSlide105.xml" ContentType="application/vnd.openxmlformats-officedocument.presentationml.notesSlide+xml"/>
  <Override PartName="/ppt/tags/tag541.xml" ContentType="application/vnd.openxmlformats-officedocument.presentationml.tags+xml"/>
  <Override PartName="/ppt/notesSlides/notesSlide106.xml" ContentType="application/vnd.openxmlformats-officedocument.presentationml.notesSlide+xml"/>
  <Override PartName="/ppt/tags/tag542.xml" ContentType="application/vnd.openxmlformats-officedocument.presentationml.tags+xml"/>
  <Override PartName="/ppt/notesSlides/notesSlide107.xml" ContentType="application/vnd.openxmlformats-officedocument.presentationml.notesSlide+xml"/>
  <Override PartName="/ppt/tags/tag543.xml" ContentType="application/vnd.openxmlformats-officedocument.presentationml.tags+xml"/>
  <Override PartName="/ppt/notesSlides/notesSlide108.xml" ContentType="application/vnd.openxmlformats-officedocument.presentationml.notesSlide+xml"/>
  <Override PartName="/ppt/tags/tag544.xml" ContentType="application/vnd.openxmlformats-officedocument.presentationml.tags+xml"/>
  <Override PartName="/ppt/notesSlides/notesSlide109.xml" ContentType="application/vnd.openxmlformats-officedocument.presentationml.notesSlide+xml"/>
  <Override PartName="/ppt/tags/tag545.xml" ContentType="application/vnd.openxmlformats-officedocument.presentationml.tags+xml"/>
  <Override PartName="/ppt/notesSlides/notesSlide110.xml" ContentType="application/vnd.openxmlformats-officedocument.presentationml.notesSlide+xml"/>
  <Override PartName="/ppt/tags/tag546.xml" ContentType="application/vnd.openxmlformats-officedocument.presentationml.tags+xml"/>
  <Override PartName="/ppt/notesSlides/notesSlide111.xml" ContentType="application/vnd.openxmlformats-officedocument.presentationml.notesSlide+xml"/>
  <Override PartName="/ppt/tags/tag547.xml" ContentType="application/vnd.openxmlformats-officedocument.presentationml.tags+xml"/>
  <Override PartName="/ppt/notesSlides/notesSlide112.xml" ContentType="application/vnd.openxmlformats-officedocument.presentationml.notesSlide+xml"/>
  <Override PartName="/ppt/tags/tag548.xml" ContentType="application/vnd.openxmlformats-officedocument.presentationml.tags+xml"/>
  <Override PartName="/ppt/notesSlides/notesSlide113.xml" ContentType="application/vnd.openxmlformats-officedocument.presentationml.notesSlide+xml"/>
  <Override PartName="/ppt/tags/tag549.xml" ContentType="application/vnd.openxmlformats-officedocument.presentationml.tags+xml"/>
  <Override PartName="/ppt/notesSlides/notesSlide114.xml" ContentType="application/vnd.openxmlformats-officedocument.presentationml.notesSlide+xml"/>
  <Override PartName="/ppt/tags/tag550.xml" ContentType="application/vnd.openxmlformats-officedocument.presentationml.tags+xml"/>
  <Override PartName="/ppt/notesSlides/notesSlide115.xml" ContentType="application/vnd.openxmlformats-officedocument.presentationml.notesSlide+xml"/>
  <Override PartName="/ppt/tags/tag551.xml" ContentType="application/vnd.openxmlformats-officedocument.presentationml.tags+xml"/>
  <Override PartName="/ppt/notesSlides/notesSlide116.xml" ContentType="application/vnd.openxmlformats-officedocument.presentationml.notesSlide+xml"/>
  <Override PartName="/ppt/tags/tag552.xml" ContentType="application/vnd.openxmlformats-officedocument.presentationml.tags+xml"/>
  <Override PartName="/ppt/notesSlides/notesSlide117.xml" ContentType="application/vnd.openxmlformats-officedocument.presentationml.notesSlide+xml"/>
  <Override PartName="/ppt/tags/tag553.xml" ContentType="application/vnd.openxmlformats-officedocument.presentationml.tags+xml"/>
  <Override PartName="/ppt/notesSlides/notesSlide118.xml" ContentType="application/vnd.openxmlformats-officedocument.presentationml.notesSlide+xml"/>
  <Override PartName="/ppt/tags/tag554.xml" ContentType="application/vnd.openxmlformats-officedocument.presentationml.tags+xml"/>
  <Override PartName="/ppt/notesSlides/notesSlide119.xml" ContentType="application/vnd.openxmlformats-officedocument.presentationml.notesSlide+xml"/>
  <Override PartName="/ppt/tags/tag555.xml" ContentType="application/vnd.openxmlformats-officedocument.presentationml.tags+xml"/>
  <Override PartName="/ppt/notesSlides/notesSlide120.xml" ContentType="application/vnd.openxmlformats-officedocument.presentationml.notesSlide+xml"/>
  <Override PartName="/ppt/tags/tag556.xml" ContentType="application/vnd.openxmlformats-officedocument.presentationml.tags+xml"/>
  <Override PartName="/ppt/notesSlides/notesSlide121.xml" ContentType="application/vnd.openxmlformats-officedocument.presentationml.notesSlide+xml"/>
  <Override PartName="/ppt/tags/tag557.xml" ContentType="application/vnd.openxmlformats-officedocument.presentationml.tags+xml"/>
  <Override PartName="/ppt/notesSlides/notesSlide122.xml" ContentType="application/vnd.openxmlformats-officedocument.presentationml.notesSlide+xml"/>
  <Override PartName="/ppt/tags/tag558.xml" ContentType="application/vnd.openxmlformats-officedocument.presentationml.tags+xml"/>
  <Override PartName="/ppt/notesSlides/notesSlide123.xml" ContentType="application/vnd.openxmlformats-officedocument.presentationml.notesSlide+xml"/>
  <Override PartName="/ppt/tags/tag559.xml" ContentType="application/vnd.openxmlformats-officedocument.presentationml.tags+xml"/>
  <Override PartName="/ppt/notesSlides/notesSlide124.xml" ContentType="application/vnd.openxmlformats-officedocument.presentationml.notesSlide+xml"/>
  <Override PartName="/ppt/tags/tag560.xml" ContentType="application/vnd.openxmlformats-officedocument.presentationml.tags+xml"/>
  <Override PartName="/ppt/notesSlides/notesSlide125.xml" ContentType="application/vnd.openxmlformats-officedocument.presentationml.notesSlide+xml"/>
  <Override PartName="/ppt/tags/tag561.xml" ContentType="application/vnd.openxmlformats-officedocument.presentationml.tags+xml"/>
  <Override PartName="/ppt/notesSlides/notesSlide126.xml" ContentType="application/vnd.openxmlformats-officedocument.presentationml.notesSlide+xml"/>
  <Override PartName="/ppt/tags/tag562.xml" ContentType="application/vnd.openxmlformats-officedocument.presentationml.tags+xml"/>
  <Override PartName="/ppt/notesSlides/notesSlide127.xml" ContentType="application/vnd.openxmlformats-officedocument.presentationml.notesSlide+xml"/>
  <Override PartName="/ppt/tags/tag563.xml" ContentType="application/vnd.openxmlformats-officedocument.presentationml.tags+xml"/>
  <Override PartName="/ppt/notesSlides/notesSlide128.xml" ContentType="application/vnd.openxmlformats-officedocument.presentationml.notesSlide+xml"/>
  <Override PartName="/ppt/tags/tag564.xml" ContentType="application/vnd.openxmlformats-officedocument.presentationml.tags+xml"/>
  <Override PartName="/ppt/notesSlides/notesSlide129.xml" ContentType="application/vnd.openxmlformats-officedocument.presentationml.notesSlide+xml"/>
  <Override PartName="/ppt/tags/tag565.xml" ContentType="application/vnd.openxmlformats-officedocument.presentationml.tags+xml"/>
  <Override PartName="/ppt/notesSlides/notesSlide130.xml" ContentType="application/vnd.openxmlformats-officedocument.presentationml.notesSlide+xml"/>
  <Override PartName="/ppt/tags/tag566.xml" ContentType="application/vnd.openxmlformats-officedocument.presentationml.tags+xml"/>
  <Override PartName="/ppt/notesSlides/notesSlide131.xml" ContentType="application/vnd.openxmlformats-officedocument.presentationml.notesSlide+xml"/>
  <Override PartName="/ppt/tags/tag567.xml" ContentType="application/vnd.openxmlformats-officedocument.presentationml.tags+xml"/>
  <Override PartName="/ppt/notesSlides/notesSlide132.xml" ContentType="application/vnd.openxmlformats-officedocument.presentationml.notesSlide+xml"/>
  <Override PartName="/ppt/tags/tag568.xml" ContentType="application/vnd.openxmlformats-officedocument.presentationml.tags+xml"/>
  <Override PartName="/ppt/notesSlides/notesSlide133.xml" ContentType="application/vnd.openxmlformats-officedocument.presentationml.notesSlide+xml"/>
  <Override PartName="/ppt/tags/tag569.xml" ContentType="application/vnd.openxmlformats-officedocument.presentationml.tags+xml"/>
  <Override PartName="/ppt/notesSlides/notesSlide134.xml" ContentType="application/vnd.openxmlformats-officedocument.presentationml.notesSlide+xml"/>
  <Override PartName="/ppt/tags/tag570.xml" ContentType="application/vnd.openxmlformats-officedocument.presentationml.tags+xml"/>
  <Override PartName="/ppt/notesSlides/notesSlide135.xml" ContentType="application/vnd.openxmlformats-officedocument.presentationml.notesSlide+xml"/>
  <Override PartName="/ppt/tags/tag571.xml" ContentType="application/vnd.openxmlformats-officedocument.presentationml.tags+xml"/>
  <Override PartName="/ppt/notesSlides/notesSlide136.xml" ContentType="application/vnd.openxmlformats-officedocument.presentationml.notesSlide+xml"/>
  <Override PartName="/ppt/tags/tag572.xml" ContentType="application/vnd.openxmlformats-officedocument.presentationml.tags+xml"/>
  <Override PartName="/ppt/notesSlides/notesSlide137.xml" ContentType="application/vnd.openxmlformats-officedocument.presentationml.notesSlide+xml"/>
  <Override PartName="/ppt/tags/tag573.xml" ContentType="application/vnd.openxmlformats-officedocument.presentationml.tags+xml"/>
  <Override PartName="/ppt/notesSlides/notesSlide138.xml" ContentType="application/vnd.openxmlformats-officedocument.presentationml.notesSlide+xml"/>
  <Override PartName="/ppt/tags/tag574.xml" ContentType="application/vnd.openxmlformats-officedocument.presentationml.tags+xml"/>
  <Override PartName="/ppt/notesSlides/notesSlide139.xml" ContentType="application/vnd.openxmlformats-officedocument.presentationml.notesSlide+xml"/>
  <Override PartName="/ppt/tags/tag575.xml" ContentType="application/vnd.openxmlformats-officedocument.presentationml.tags+xml"/>
  <Override PartName="/ppt/notesSlides/notesSlide140.xml" ContentType="application/vnd.openxmlformats-officedocument.presentationml.notesSlide+xml"/>
  <Override PartName="/ppt/tags/tag576.xml" ContentType="application/vnd.openxmlformats-officedocument.presentationml.tags+xml"/>
  <Override PartName="/ppt/notesSlides/notesSlide141.xml" ContentType="application/vnd.openxmlformats-officedocument.presentationml.notesSlide+xml"/>
  <Override PartName="/ppt/tags/tag577.xml" ContentType="application/vnd.openxmlformats-officedocument.presentationml.tags+xml"/>
  <Override PartName="/ppt/notesSlides/notesSlide142.xml" ContentType="application/vnd.openxmlformats-officedocument.presentationml.notesSlide+xml"/>
  <Override PartName="/ppt/tags/tag578.xml" ContentType="application/vnd.openxmlformats-officedocument.presentationml.tags+xml"/>
  <Override PartName="/ppt/notesSlides/notesSlide143.xml" ContentType="application/vnd.openxmlformats-officedocument.presentationml.notesSlide+xml"/>
  <Override PartName="/ppt/tags/tag579.xml" ContentType="application/vnd.openxmlformats-officedocument.presentationml.tags+xml"/>
  <Override PartName="/ppt/notesSlides/notesSlide144.xml" ContentType="application/vnd.openxmlformats-officedocument.presentationml.notesSlide+xml"/>
  <Override PartName="/ppt/tags/tag580.xml" ContentType="application/vnd.openxmlformats-officedocument.presentationml.tags+xml"/>
  <Override PartName="/ppt/notesSlides/notesSlide145.xml" ContentType="application/vnd.openxmlformats-officedocument.presentationml.notesSlide+xml"/>
  <Override PartName="/ppt/tags/tag581.xml" ContentType="application/vnd.openxmlformats-officedocument.presentationml.tags+xml"/>
  <Override PartName="/ppt/notesSlides/notesSlide146.xml" ContentType="application/vnd.openxmlformats-officedocument.presentationml.notesSlide+xml"/>
  <Override PartName="/ppt/tags/tag582.xml" ContentType="application/vnd.openxmlformats-officedocument.presentationml.tags+xml"/>
  <Override PartName="/ppt/notesSlides/notesSlide147.xml" ContentType="application/vnd.openxmlformats-officedocument.presentationml.notesSlide+xml"/>
  <Override PartName="/ppt/tags/tag583.xml" ContentType="application/vnd.openxmlformats-officedocument.presentationml.tags+xml"/>
  <Override PartName="/ppt/notesSlides/notesSlide148.xml" ContentType="application/vnd.openxmlformats-officedocument.presentationml.notesSlide+xml"/>
  <Override PartName="/ppt/tags/tag584.xml" ContentType="application/vnd.openxmlformats-officedocument.presentationml.tags+xml"/>
  <Override PartName="/ppt/notesSlides/notesSlide149.xml" ContentType="application/vnd.openxmlformats-officedocument.presentationml.notesSlide+xml"/>
  <Override PartName="/ppt/tags/tag585.xml" ContentType="application/vnd.openxmlformats-officedocument.presentationml.tags+xml"/>
  <Override PartName="/ppt/notesSlides/notesSlide150.xml" ContentType="application/vnd.openxmlformats-officedocument.presentationml.notesSlide+xml"/>
  <Override PartName="/ppt/tags/tag586.xml" ContentType="application/vnd.openxmlformats-officedocument.presentationml.tags+xml"/>
  <Override PartName="/ppt/notesSlides/notesSlide151.xml" ContentType="application/vnd.openxmlformats-officedocument.presentationml.notesSlide+xml"/>
  <Override PartName="/ppt/tags/tag587.xml" ContentType="application/vnd.openxmlformats-officedocument.presentationml.tags+xml"/>
  <Override PartName="/ppt/notesSlides/notesSlide152.xml" ContentType="application/vnd.openxmlformats-officedocument.presentationml.notesSlide+xml"/>
  <Override PartName="/ppt/tags/tag588.xml" ContentType="application/vnd.openxmlformats-officedocument.presentationml.tags+xml"/>
  <Override PartName="/ppt/notesSlides/notesSlide153.xml" ContentType="application/vnd.openxmlformats-officedocument.presentationml.notesSlide+xml"/>
  <Override PartName="/ppt/tags/tag589.xml" ContentType="application/vnd.openxmlformats-officedocument.presentationml.tags+xml"/>
  <Override PartName="/ppt/notesSlides/notesSlide154.xml" ContentType="application/vnd.openxmlformats-officedocument.presentationml.notesSlide+xml"/>
  <Override PartName="/ppt/tags/tag590.xml" ContentType="application/vnd.openxmlformats-officedocument.presentationml.tags+xml"/>
  <Override PartName="/ppt/notesSlides/notesSlide155.xml" ContentType="application/vnd.openxmlformats-officedocument.presentationml.notesSlide+xml"/>
  <Override PartName="/ppt/tags/tag591.xml" ContentType="application/vnd.openxmlformats-officedocument.presentationml.tags+xml"/>
  <Override PartName="/ppt/notesSlides/notesSlide156.xml" ContentType="application/vnd.openxmlformats-officedocument.presentationml.notesSlide+xml"/>
  <Override PartName="/ppt/tags/tag592.xml" ContentType="application/vnd.openxmlformats-officedocument.presentationml.tags+xml"/>
  <Override PartName="/ppt/notesSlides/notesSlide157.xml" ContentType="application/vnd.openxmlformats-officedocument.presentationml.notesSlide+xml"/>
  <Override PartName="/ppt/tags/tag593.xml" ContentType="application/vnd.openxmlformats-officedocument.presentationml.tags+xml"/>
  <Override PartName="/ppt/notesSlides/notesSlide158.xml" ContentType="application/vnd.openxmlformats-officedocument.presentationml.notesSlide+xml"/>
  <Override PartName="/ppt/tags/tag594.xml" ContentType="application/vnd.openxmlformats-officedocument.presentationml.tags+xml"/>
  <Override PartName="/ppt/notesSlides/notesSlide159.xml" ContentType="application/vnd.openxmlformats-officedocument.presentationml.notesSlide+xml"/>
  <Override PartName="/ppt/tags/tag595.xml" ContentType="application/vnd.openxmlformats-officedocument.presentationml.tags+xml"/>
  <Override PartName="/ppt/notesSlides/notesSlide160.xml" ContentType="application/vnd.openxmlformats-officedocument.presentationml.notesSlide+xml"/>
  <Override PartName="/ppt/tags/tag596.xml" ContentType="application/vnd.openxmlformats-officedocument.presentationml.tags+xml"/>
  <Override PartName="/ppt/notesSlides/notesSlide161.xml" ContentType="application/vnd.openxmlformats-officedocument.presentationml.notesSlide+xml"/>
  <Override PartName="/ppt/tags/tag597.xml" ContentType="application/vnd.openxmlformats-officedocument.presentationml.tags+xml"/>
  <Override PartName="/ppt/notesSlides/notesSlide162.xml" ContentType="application/vnd.openxmlformats-officedocument.presentationml.notesSlide+xml"/>
  <Override PartName="/ppt/tags/tag598.xml" ContentType="application/vnd.openxmlformats-officedocument.presentationml.tags+xml"/>
  <Override PartName="/ppt/notesSlides/notesSlide163.xml" ContentType="application/vnd.openxmlformats-officedocument.presentationml.notesSlide+xml"/>
  <Override PartName="/ppt/tags/tag599.xml" ContentType="application/vnd.openxmlformats-officedocument.presentationml.tags+xml"/>
  <Override PartName="/ppt/notesSlides/notesSlide16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577"/>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3A428205-11F1-408E-B282-6B3A82A6F067}">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Lst>
        </p14:section>
        <p14:section name="Cumulative Product Shares" id="{876B928C-84D4-493C-9F8E-00A426D026EE}">
          <p14:sldIdLst>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Lst>
        </p14:section>
        <p14:section name="Manuf Cumulative Product Share" id="{337D566D-B336-4826-B43C-442F540DD4CB}">
          <p14:sldIdLst>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Lst>
        </p14:section>
        <p14:section name="Top 20 cumulative share" id="{5C6AE12B-103A-4407-A9E1-9E1C89D78E57}">
          <p14:sldIdLst>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Lst>
        </p14:section>
        <p14:section name="SKU Productivity Analysis with TM%" id="{63D6EDAB-0F67-4620-92B3-ED90354F2030}">
          <p14:sldIdLst>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Lst>
        </p14:section>
        <p14:section name="SKU Productivity Analysis with WD" id="{33FE5736-3187-4771-8D9A-EE633DACB1AD}">
          <p14:sldIdLst>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Lst>
        </p14:section>
        <p14:section name="Sectors Fair Share" id="{5DE87468-0EF7-4390-A79B-741FC862CF6C}">
          <p14:sldIdLst>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Lst>
        </p14:section>
        <p14:section name="Segments Fair Share" id="{D20D2CC9-E7A6-462C-A0C7-03CF42A5BA0B}">
          <p14:sldIdLst>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6" d="100"/>
          <a:sy n="106" d="100"/>
        </p:scale>
        <p:origin x="60" y="300"/>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424" Type="http://schemas.openxmlformats.org/officeDocument/2006/relationships/slide" Target="slides/slide420.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228" Type="http://schemas.openxmlformats.org/officeDocument/2006/relationships/slide" Target="slides/slide224.xml"/><Relationship Id="rId435" Type="http://schemas.openxmlformats.org/officeDocument/2006/relationships/slide" Target="slides/slide431.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390" Type="http://schemas.openxmlformats.org/officeDocument/2006/relationships/slide" Target="slides/slide386.xml"/><Relationship Id="rId404" Type="http://schemas.openxmlformats.org/officeDocument/2006/relationships/slide" Target="slides/slide400.xml"/><Relationship Id="rId446" Type="http://schemas.openxmlformats.org/officeDocument/2006/relationships/slide" Target="slides/slide442.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488" Type="http://schemas.openxmlformats.org/officeDocument/2006/relationships/slide" Target="slides/slide484.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513" Type="http://schemas.openxmlformats.org/officeDocument/2006/relationships/slide" Target="slides/slide509.xml"/><Relationship Id="rId555" Type="http://schemas.openxmlformats.org/officeDocument/2006/relationships/slide" Target="slides/slide551.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457" Type="http://schemas.openxmlformats.org/officeDocument/2006/relationships/slide" Target="slides/slide453.xml"/><Relationship Id="rId261" Type="http://schemas.openxmlformats.org/officeDocument/2006/relationships/slide" Target="slides/slide257.xml"/><Relationship Id="rId499" Type="http://schemas.openxmlformats.org/officeDocument/2006/relationships/slide" Target="slides/slide495.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524" Type="http://schemas.openxmlformats.org/officeDocument/2006/relationships/slide" Target="slides/slide520.xml"/><Relationship Id="rId566" Type="http://schemas.openxmlformats.org/officeDocument/2006/relationships/slide" Target="slides/slide562.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426" Type="http://schemas.openxmlformats.org/officeDocument/2006/relationships/slide" Target="slides/slide422.xml"/><Relationship Id="rId230" Type="http://schemas.openxmlformats.org/officeDocument/2006/relationships/slide" Target="slides/slide226.xml"/><Relationship Id="rId468" Type="http://schemas.openxmlformats.org/officeDocument/2006/relationships/slide" Target="slides/slide464.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535" Type="http://schemas.openxmlformats.org/officeDocument/2006/relationships/slide" Target="slides/slide531.xml"/><Relationship Id="rId577" Type="http://schemas.openxmlformats.org/officeDocument/2006/relationships/notesMaster" Target="notesMasters/notesMaster1.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37" Type="http://schemas.openxmlformats.org/officeDocument/2006/relationships/slide" Target="slides/slide433.xml"/><Relationship Id="rId479" Type="http://schemas.openxmlformats.org/officeDocument/2006/relationships/slide" Target="slides/slide475.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490" Type="http://schemas.openxmlformats.org/officeDocument/2006/relationships/slide" Target="slides/slide486.xml"/><Relationship Id="rId504" Type="http://schemas.openxmlformats.org/officeDocument/2006/relationships/slide" Target="slides/slide500.xml"/><Relationship Id="rId546" Type="http://schemas.openxmlformats.org/officeDocument/2006/relationships/slide" Target="slides/slide542.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openxmlformats.org/officeDocument/2006/relationships/slide" Target="slides/slide402.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448" Type="http://schemas.openxmlformats.org/officeDocument/2006/relationships/slide" Target="slides/slide444.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557" Type="http://schemas.openxmlformats.org/officeDocument/2006/relationships/slide" Target="slides/slide553.xml"/><Relationship Id="rId196" Type="http://schemas.openxmlformats.org/officeDocument/2006/relationships/slide" Target="slides/slide192.xml"/><Relationship Id="rId417" Type="http://schemas.openxmlformats.org/officeDocument/2006/relationships/slide" Target="slides/slide413.xml"/><Relationship Id="rId459" Type="http://schemas.openxmlformats.org/officeDocument/2006/relationships/slide" Target="slides/slide455.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470" Type="http://schemas.openxmlformats.org/officeDocument/2006/relationships/slide" Target="slides/slide466.xml"/><Relationship Id="rId526" Type="http://schemas.openxmlformats.org/officeDocument/2006/relationships/slide" Target="slides/slide522.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232" Type="http://schemas.openxmlformats.org/officeDocument/2006/relationships/slide" Target="slides/slide228.xml"/><Relationship Id="rId274" Type="http://schemas.openxmlformats.org/officeDocument/2006/relationships/slide" Target="slides/slide270.xml"/><Relationship Id="rId481" Type="http://schemas.openxmlformats.org/officeDocument/2006/relationships/slide" Target="slides/slide477.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537" Type="http://schemas.openxmlformats.org/officeDocument/2006/relationships/slide" Target="slides/slide533.xml"/><Relationship Id="rId579" Type="http://schemas.openxmlformats.org/officeDocument/2006/relationships/viewProps" Target="viewProps.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506" Type="http://schemas.openxmlformats.org/officeDocument/2006/relationships/slide" Target="slides/slide502.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492" Type="http://schemas.openxmlformats.org/officeDocument/2006/relationships/slide" Target="slides/slide488.xml"/><Relationship Id="rId548" Type="http://schemas.openxmlformats.org/officeDocument/2006/relationships/slide" Target="slides/slide544.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461" Type="http://schemas.openxmlformats.org/officeDocument/2006/relationships/slide" Target="slides/slide457.xml"/><Relationship Id="rId517" Type="http://schemas.openxmlformats.org/officeDocument/2006/relationships/slide" Target="slides/slide513.xml"/><Relationship Id="rId559" Type="http://schemas.openxmlformats.org/officeDocument/2006/relationships/slide" Target="slides/slide555.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472" Type="http://schemas.openxmlformats.org/officeDocument/2006/relationships/slide" Target="slides/slide468.xml"/><Relationship Id="rId528" Type="http://schemas.openxmlformats.org/officeDocument/2006/relationships/slide" Target="slides/slide524.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581" Type="http://schemas.openxmlformats.org/officeDocument/2006/relationships/tableStyles" Target="tableStyles.xml"/><Relationship Id="rId71" Type="http://schemas.openxmlformats.org/officeDocument/2006/relationships/slide" Target="slides/slide67.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76" Type="http://schemas.openxmlformats.org/officeDocument/2006/relationships/slide" Target="slides/slide272.xml"/><Relationship Id="rId441" Type="http://schemas.openxmlformats.org/officeDocument/2006/relationships/slide" Target="slides/slide437.xml"/><Relationship Id="rId483" Type="http://schemas.openxmlformats.org/officeDocument/2006/relationships/slide" Target="slides/slide479.xml"/><Relationship Id="rId539" Type="http://schemas.openxmlformats.org/officeDocument/2006/relationships/slide" Target="slides/slide535.xml"/><Relationship Id="rId40" Type="http://schemas.openxmlformats.org/officeDocument/2006/relationships/slide" Target="slides/slide36.xml"/><Relationship Id="rId136" Type="http://schemas.openxmlformats.org/officeDocument/2006/relationships/slide" Target="slides/slide132.xml"/><Relationship Id="rId178" Type="http://schemas.openxmlformats.org/officeDocument/2006/relationships/slide" Target="slides/slide174.xml"/><Relationship Id="rId301" Type="http://schemas.openxmlformats.org/officeDocument/2006/relationships/slide" Target="slides/slide297.xml"/><Relationship Id="rId343" Type="http://schemas.openxmlformats.org/officeDocument/2006/relationships/slide" Target="slides/slide339.xml"/><Relationship Id="rId550" Type="http://schemas.openxmlformats.org/officeDocument/2006/relationships/slide" Target="slides/slide546.xml"/><Relationship Id="rId82" Type="http://schemas.openxmlformats.org/officeDocument/2006/relationships/slide" Target="slides/slide78.xml"/><Relationship Id="rId203" Type="http://schemas.openxmlformats.org/officeDocument/2006/relationships/slide" Target="slides/slide199.xml"/><Relationship Id="rId385" Type="http://schemas.openxmlformats.org/officeDocument/2006/relationships/slide" Target="slides/slide381.xml"/><Relationship Id="rId245" Type="http://schemas.openxmlformats.org/officeDocument/2006/relationships/slide" Target="slides/slide241.xml"/><Relationship Id="rId287" Type="http://schemas.openxmlformats.org/officeDocument/2006/relationships/slide" Target="slides/slide283.xml"/><Relationship Id="rId410" Type="http://schemas.openxmlformats.org/officeDocument/2006/relationships/slide" Target="slides/slide406.xml"/><Relationship Id="rId452" Type="http://schemas.openxmlformats.org/officeDocument/2006/relationships/slide" Target="slides/slide448.xml"/><Relationship Id="rId494" Type="http://schemas.openxmlformats.org/officeDocument/2006/relationships/slide" Target="slides/slide490.xml"/><Relationship Id="rId508" Type="http://schemas.openxmlformats.org/officeDocument/2006/relationships/slide" Target="slides/slide504.xml"/><Relationship Id="rId105" Type="http://schemas.openxmlformats.org/officeDocument/2006/relationships/slide" Target="slides/slide101.xml"/><Relationship Id="rId147" Type="http://schemas.openxmlformats.org/officeDocument/2006/relationships/slide" Target="slides/slide143.xml"/><Relationship Id="rId312" Type="http://schemas.openxmlformats.org/officeDocument/2006/relationships/slide" Target="slides/slide308.xml"/><Relationship Id="rId354" Type="http://schemas.openxmlformats.org/officeDocument/2006/relationships/slide" Target="slides/slide350.xml"/><Relationship Id="rId51" Type="http://schemas.openxmlformats.org/officeDocument/2006/relationships/slide" Target="slides/slide47.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561" Type="http://schemas.openxmlformats.org/officeDocument/2006/relationships/slide" Target="slides/slide557.xml"/><Relationship Id="rId214" Type="http://schemas.openxmlformats.org/officeDocument/2006/relationships/slide" Target="slides/slide210.xml"/><Relationship Id="rId256" Type="http://schemas.openxmlformats.org/officeDocument/2006/relationships/slide" Target="slides/slide252.xml"/><Relationship Id="rId298" Type="http://schemas.openxmlformats.org/officeDocument/2006/relationships/slide" Target="slides/slide294.xml"/><Relationship Id="rId421" Type="http://schemas.openxmlformats.org/officeDocument/2006/relationships/slide" Target="slides/slide417.xml"/><Relationship Id="rId463" Type="http://schemas.openxmlformats.org/officeDocument/2006/relationships/slide" Target="slides/slide459.xml"/><Relationship Id="rId519" Type="http://schemas.openxmlformats.org/officeDocument/2006/relationships/slide" Target="slides/slide515.xml"/><Relationship Id="rId116" Type="http://schemas.openxmlformats.org/officeDocument/2006/relationships/slide" Target="slides/slide112.xml"/><Relationship Id="rId158" Type="http://schemas.openxmlformats.org/officeDocument/2006/relationships/slide" Target="slides/slide154.xml"/><Relationship Id="rId323" Type="http://schemas.openxmlformats.org/officeDocument/2006/relationships/slide" Target="slides/slide319.xml"/><Relationship Id="rId530" Type="http://schemas.openxmlformats.org/officeDocument/2006/relationships/slide" Target="slides/slide526.xml"/><Relationship Id="rId20" Type="http://schemas.openxmlformats.org/officeDocument/2006/relationships/slide" Target="slides/slide16.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267" Type="http://schemas.openxmlformats.org/officeDocument/2006/relationships/slide" Target="slides/slide263.xml"/><Relationship Id="rId432" Type="http://schemas.openxmlformats.org/officeDocument/2006/relationships/slide" Target="slides/slide428.xml"/><Relationship Id="rId474" Type="http://schemas.openxmlformats.org/officeDocument/2006/relationships/slide" Target="slides/slide470.xml"/><Relationship Id="rId127" Type="http://schemas.openxmlformats.org/officeDocument/2006/relationships/slide" Target="slides/slide123.xml"/><Relationship Id="rId31" Type="http://schemas.openxmlformats.org/officeDocument/2006/relationships/slide" Target="slides/slide27.xml"/><Relationship Id="rId73" Type="http://schemas.openxmlformats.org/officeDocument/2006/relationships/slide" Target="slides/slide69.xml"/><Relationship Id="rId169" Type="http://schemas.openxmlformats.org/officeDocument/2006/relationships/slide" Target="slides/slide165.xml"/><Relationship Id="rId334" Type="http://schemas.openxmlformats.org/officeDocument/2006/relationships/slide" Target="slides/slide330.xml"/><Relationship Id="rId376" Type="http://schemas.openxmlformats.org/officeDocument/2006/relationships/slide" Target="slides/slide372.xml"/><Relationship Id="rId541" Type="http://schemas.openxmlformats.org/officeDocument/2006/relationships/slide" Target="slides/slide537.xml"/><Relationship Id="rId4" Type="http://schemas.openxmlformats.org/officeDocument/2006/relationships/slideMaster" Target="slideMasters/slideMaster1.xml"/><Relationship Id="rId180" Type="http://schemas.openxmlformats.org/officeDocument/2006/relationships/slide" Target="slides/slide176.xml"/><Relationship Id="rId236" Type="http://schemas.openxmlformats.org/officeDocument/2006/relationships/slide" Target="slides/slide232.xml"/><Relationship Id="rId278" Type="http://schemas.openxmlformats.org/officeDocument/2006/relationships/slide" Target="slides/slide274.xml"/><Relationship Id="rId401" Type="http://schemas.openxmlformats.org/officeDocument/2006/relationships/slide" Target="slides/slide397.xml"/><Relationship Id="rId443" Type="http://schemas.openxmlformats.org/officeDocument/2006/relationships/slide" Target="slides/slide439.xml"/><Relationship Id="rId303" Type="http://schemas.openxmlformats.org/officeDocument/2006/relationships/slide" Target="slides/slide299.xml"/><Relationship Id="rId485" Type="http://schemas.openxmlformats.org/officeDocument/2006/relationships/slide" Target="slides/slide481.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563" Type="http://schemas.openxmlformats.org/officeDocument/2006/relationships/slide" Target="slides/slide559.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240" Type="http://schemas.openxmlformats.org/officeDocument/2006/relationships/slide" Target="slides/slide236.xml"/><Relationship Id="rId478" Type="http://schemas.openxmlformats.org/officeDocument/2006/relationships/slide" Target="slides/slide474.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251" Type="http://schemas.openxmlformats.org/officeDocument/2006/relationships/slide" Target="slides/slide247.xml"/><Relationship Id="rId489" Type="http://schemas.openxmlformats.org/officeDocument/2006/relationships/slide" Target="slides/slide485.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220" Type="http://schemas.openxmlformats.org/officeDocument/2006/relationships/slide" Target="slides/slide216.xml"/><Relationship Id="rId458" Type="http://schemas.openxmlformats.org/officeDocument/2006/relationships/slide" Target="slides/slide454.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presProps" Target="presProps.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theme" Target="theme/theme1.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582" Type="http://schemas.microsoft.com/office/2015/10/relationships/revisionInfo" Target="revisionInfo.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226" Type="http://schemas.openxmlformats.org/officeDocument/2006/relationships/slide" Target="slides/slide222.xml"/><Relationship Id="rId433" Type="http://schemas.openxmlformats.org/officeDocument/2006/relationships/slide" Target="slides/slide429.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85" Type="http://schemas.openxmlformats.org/officeDocument/2006/relationships/slide" Target="slides/slide81.xml"/><Relationship Id="rId150" Type="http://schemas.openxmlformats.org/officeDocument/2006/relationships/slide" Target="slides/slide146.xml"/><Relationship Id="rId248" Type="http://schemas.openxmlformats.org/officeDocument/2006/relationships/slide" Target="slides/slide244.xml"/><Relationship Id="rId455" Type="http://schemas.openxmlformats.org/officeDocument/2006/relationships/slide" Target="slides/slide45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172" Type="http://schemas.openxmlformats.org/officeDocument/2006/relationships/slide" Target="slides/slide168.xml"/><Relationship Id="rId477" Type="http://schemas.openxmlformats.org/officeDocument/2006/relationships/slide" Target="slides/slide473.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Galbani</c:v>
                </c:pt>
                <c:pt idx="4">
                  <c:v>Soignon</c:v>
                </c:pt>
                <c:pt idx="5">
                  <c:v>Caprice Des Dieux</c:v>
                </c:pt>
                <c:pt idx="6">
                  <c:v>La Vache Qui Rit</c:v>
                </c:pt>
                <c:pt idx="7">
                  <c:v>Kiri</c:v>
                </c:pt>
                <c:pt idx="8">
                  <c:v>Boursin</c:v>
                </c:pt>
                <c:pt idx="9">
                  <c:v>Others</c:v>
                </c:pt>
              </c:strCache>
            </c:strRef>
          </c:cat>
          <c:val>
            <c:numRef>
              <c:f>Sheet1!$B$2:$B$11</c:f>
              <c:numCache>
                <c:formatCode>General</c:formatCode>
                <c:ptCount val="10"/>
                <c:pt idx="0">
                  <c:v>0.33629726605717514</c:v>
                </c:pt>
                <c:pt idx="1">
                  <c:v>3.9901864727342154E-2</c:v>
                </c:pt>
                <c:pt idx="2">
                  <c:v>3.9294973667401478E-2</c:v>
                </c:pt>
                <c:pt idx="3">
                  <c:v>3.7177340449542219E-2</c:v>
                </c:pt>
                <c:pt idx="4">
                  <c:v>3.6864943053391733E-2</c:v>
                </c:pt>
                <c:pt idx="5">
                  <c:v>3.5723106142633312E-2</c:v>
                </c:pt>
                <c:pt idx="6">
                  <c:v>2.8915068219525632E-2</c:v>
                </c:pt>
                <c:pt idx="7">
                  <c:v>2.5014109161964379E-2</c:v>
                </c:pt>
                <c:pt idx="8">
                  <c:v>2.3146682105111414E-2</c:v>
                </c:pt>
                <c:pt idx="9">
                  <c:v>0.3976646464159125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Galbani</c:v>
                </c:pt>
                <c:pt idx="4">
                  <c:v>Soignon</c:v>
                </c:pt>
                <c:pt idx="5">
                  <c:v>Caprice Des Dieux</c:v>
                </c:pt>
                <c:pt idx="6">
                  <c:v>La Vache Qui Rit</c:v>
                </c:pt>
                <c:pt idx="7">
                  <c:v>Kiri</c:v>
                </c:pt>
                <c:pt idx="8">
                  <c:v>Boursin</c:v>
                </c:pt>
                <c:pt idx="9">
                  <c:v>Others</c:v>
                </c:pt>
              </c:strCache>
            </c:strRef>
          </c:cat>
          <c:val>
            <c:numRef>
              <c:f>Sheet1!$C$2:$C$11</c:f>
              <c:numCache>
                <c:formatCode>General</c:formatCode>
                <c:ptCount val="10"/>
                <c:pt idx="0">
                  <c:v>1.7390699453932014E-5</c:v>
                </c:pt>
                <c:pt idx="1">
                  <c:v>4.4607144099335624E-2</c:v>
                </c:pt>
                <c:pt idx="2">
                  <c:v>4.0231644116726313E-2</c:v>
                </c:pt>
                <c:pt idx="3">
                  <c:v>3.3671872282703165E-2</c:v>
                </c:pt>
                <c:pt idx="4">
                  <c:v>3.8162150881708407E-2</c:v>
                </c:pt>
                <c:pt idx="5">
                  <c:v>2.8729435497895684E-2</c:v>
                </c:pt>
                <c:pt idx="6">
                  <c:v>2.4698271364474247E-2</c:v>
                </c:pt>
                <c:pt idx="7">
                  <c:v>2.7724253069458412E-2</c:v>
                </c:pt>
                <c:pt idx="8">
                  <c:v>4.9706097179228484E-2</c:v>
                </c:pt>
                <c:pt idx="9">
                  <c:v>0.7124517408090151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Galbani</c:v>
                </c:pt>
                <c:pt idx="4">
                  <c:v>Soignon</c:v>
                </c:pt>
                <c:pt idx="5">
                  <c:v>Caprice Des Dieux</c:v>
                </c:pt>
                <c:pt idx="6">
                  <c:v>La Vache Qui Rit</c:v>
                </c:pt>
                <c:pt idx="7">
                  <c:v>Kiri</c:v>
                </c:pt>
                <c:pt idx="8">
                  <c:v>Boursin</c:v>
                </c:pt>
                <c:pt idx="9">
                  <c:v>Others</c:v>
                </c:pt>
              </c:strCache>
            </c:strRef>
          </c:cat>
          <c:val>
            <c:numRef>
              <c:f>Sheet1!$D$2:$D$11</c:f>
              <c:numCache>
                <c:formatCode>General</c:formatCode>
                <c:ptCount val="10"/>
                <c:pt idx="0">
                  <c:v>5.1712283176799179E-3</c:v>
                </c:pt>
                <c:pt idx="1">
                  <c:v>111.79212902491058</c:v>
                </c:pt>
                <c:pt idx="2">
                  <c:v>102.38369023288566</c:v>
                </c:pt>
                <c:pt idx="3">
                  <c:v>90.57095498373063</c:v>
                </c:pt>
                <c:pt idx="4">
                  <c:v>103.51881142590651</c:v>
                </c:pt>
                <c:pt idx="5">
                  <c:v>80.422557274796674</c:v>
                </c:pt>
                <c:pt idx="6">
                  <c:v>85.416611079603527</c:v>
                </c:pt>
                <c:pt idx="7">
                  <c:v>110.83446102336111</c:v>
                </c:pt>
                <c:pt idx="8">
                  <c:v>214.74394020494208</c:v>
                </c:pt>
                <c:pt idx="9">
                  <c:v>179.1589338479616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Kiri</c:v>
                </c:pt>
                <c:pt idx="8">
                  <c:v>Boursin</c:v>
                </c:pt>
                <c:pt idx="9">
                  <c:v>Others</c:v>
                </c:pt>
              </c:strCache>
            </c:strRef>
          </c:cat>
          <c:val>
            <c:numRef>
              <c:f>Sheet1!$B$2:$B$11</c:f>
              <c:numCache>
                <c:formatCode>General</c:formatCode>
                <c:ptCount val="10"/>
                <c:pt idx="0">
                  <c:v>0.3386530627117138</c:v>
                </c:pt>
                <c:pt idx="1">
                  <c:v>6.6711962686454018E-2</c:v>
                </c:pt>
                <c:pt idx="2">
                  <c:v>5.6780868038539302E-2</c:v>
                </c:pt>
                <c:pt idx="3">
                  <c:v>4.9568644304667293E-2</c:v>
                </c:pt>
                <c:pt idx="4">
                  <c:v>4.7503804968584987E-2</c:v>
                </c:pt>
                <c:pt idx="5">
                  <c:v>4.2760217379725837E-2</c:v>
                </c:pt>
                <c:pt idx="6">
                  <c:v>3.2536258353921307E-2</c:v>
                </c:pt>
                <c:pt idx="7">
                  <c:v>2.7294800172673491E-2</c:v>
                </c:pt>
                <c:pt idx="8">
                  <c:v>2.4384981500250473E-2</c:v>
                </c:pt>
                <c:pt idx="9">
                  <c:v>0.313805399883469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Kiri</c:v>
                </c:pt>
                <c:pt idx="8">
                  <c:v>Boursin</c:v>
                </c:pt>
                <c:pt idx="9">
                  <c:v>Others</c:v>
                </c:pt>
              </c:strCache>
            </c:strRef>
          </c:cat>
          <c:val>
            <c:numRef>
              <c:f>Sheet1!$C$2:$C$11</c:f>
              <c:numCache>
                <c:formatCode>General</c:formatCode>
                <c:ptCount val="10"/>
                <c:pt idx="0">
                  <c:v>0.25132626574257755</c:v>
                </c:pt>
                <c:pt idx="1">
                  <c:v>4.9489158269168561E-2</c:v>
                </c:pt>
                <c:pt idx="2">
                  <c:v>4.8824932921979695E-2</c:v>
                </c:pt>
                <c:pt idx="3">
                  <c:v>3.5763291061799159E-2</c:v>
                </c:pt>
                <c:pt idx="4">
                  <c:v>5.283213452311239E-2</c:v>
                </c:pt>
                <c:pt idx="5">
                  <c:v>2.9020529807112429E-2</c:v>
                </c:pt>
                <c:pt idx="6">
                  <c:v>3.0309651369090779E-2</c:v>
                </c:pt>
                <c:pt idx="7">
                  <c:v>3.3600188779835491E-2</c:v>
                </c:pt>
                <c:pt idx="8">
                  <c:v>5.4706823167480885E-2</c:v>
                </c:pt>
                <c:pt idx="9">
                  <c:v>0.4141270243578423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Kiri</c:v>
                </c:pt>
                <c:pt idx="8">
                  <c:v>Boursin</c:v>
                </c:pt>
                <c:pt idx="9">
                  <c:v>Others</c:v>
                </c:pt>
              </c:strCache>
            </c:strRef>
          </c:cat>
          <c:val>
            <c:numRef>
              <c:f>Sheet1!$D$2:$D$11</c:f>
              <c:numCache>
                <c:formatCode>General</c:formatCode>
                <c:ptCount val="10"/>
                <c:pt idx="0">
                  <c:v>74.21349263169806</c:v>
                </c:pt>
                <c:pt idx="1">
                  <c:v>74.183334257106821</c:v>
                </c:pt>
                <c:pt idx="2">
                  <c:v>85.988352430329854</c:v>
                </c:pt>
                <c:pt idx="3">
                  <c:v>72.149019936846955</c:v>
                </c:pt>
                <c:pt idx="4">
                  <c:v>111.21663739999588</c:v>
                </c:pt>
                <c:pt idx="5">
                  <c:v>67.868059578368999</c:v>
                </c:pt>
                <c:pt idx="6">
                  <c:v>93.156536438179046</c:v>
                </c:pt>
                <c:pt idx="7">
                  <c:v>123.1010616207944</c:v>
                </c:pt>
                <c:pt idx="8">
                  <c:v>224.34637962271555</c:v>
                </c:pt>
                <c:pt idx="9">
                  <c:v>131.9693748136988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9</c:f>
              <c:strCache>
                <c:ptCount val="138"/>
                <c:pt idx="0">
                  <c:v>Galbani</c:v>
                </c:pt>
                <c:pt idx="1">
                  <c:v>Islos</c:v>
                </c:pt>
                <c:pt idx="2">
                  <c:v>Salakis</c:v>
                </c:pt>
                <c:pt idx="3">
                  <c:v>Casa Azzurr</c:v>
                </c:pt>
                <c:pt idx="4">
                  <c:v>Casa Azzurr</c:v>
                </c:pt>
                <c:pt idx="5">
                  <c:v>Galbani</c:v>
                </c:pt>
                <c:pt idx="6">
                  <c:v>Casa Azzurr</c:v>
                </c:pt>
                <c:pt idx="7">
                  <c:v>Galbani</c:v>
                </c:pt>
                <c:pt idx="8">
                  <c:v>Salakis</c:v>
                </c:pt>
                <c:pt idx="9">
                  <c:v>Casa Azzurr</c:v>
                </c:pt>
                <c:pt idx="10">
                  <c:v>Galbani</c:v>
                </c:pt>
                <c:pt idx="11">
                  <c:v>Galbani</c:v>
                </c:pt>
                <c:pt idx="12">
                  <c:v>Casa Azzurr</c:v>
                </c:pt>
                <c:pt idx="13">
                  <c:v>Salakis</c:v>
                </c:pt>
                <c:pt idx="14">
                  <c:v>Casa Azzurr</c:v>
                </c:pt>
                <c:pt idx="15">
                  <c:v>Casa Azzurr</c:v>
                </c:pt>
                <c:pt idx="16">
                  <c:v>All Others</c:v>
                </c:pt>
                <c:pt idx="17">
                  <c:v>Boursin</c:v>
                </c:pt>
                <c:pt idx="18">
                  <c:v>Galbani</c:v>
                </c:pt>
                <c:pt idx="19">
                  <c:v>All Others</c:v>
                </c:pt>
                <c:pt idx="20">
                  <c:v>All Others</c:v>
                </c:pt>
                <c:pt idx="21">
                  <c:v>Galbani</c:v>
                </c:pt>
                <c:pt idx="22">
                  <c:v>Casa Azzurr</c:v>
                </c:pt>
                <c:pt idx="23">
                  <c:v>All Others</c:v>
                </c:pt>
                <c:pt idx="24">
                  <c:v>All Others</c:v>
                </c:pt>
                <c:pt idx="25">
                  <c:v>Salakis</c:v>
                </c:pt>
                <c:pt idx="26">
                  <c:v>Galbani</c:v>
                </c:pt>
                <c:pt idx="27">
                  <c:v>Casa Azzurr</c:v>
                </c:pt>
                <c:pt idx="28">
                  <c:v>All Others</c:v>
                </c:pt>
                <c:pt idx="29">
                  <c:v>All Others</c:v>
                </c:pt>
                <c:pt idx="30">
                  <c:v>Salakis</c:v>
                </c:pt>
                <c:pt idx="31">
                  <c:v>All Others</c:v>
                </c:pt>
                <c:pt idx="32">
                  <c:v>All Others</c:v>
                </c:pt>
                <c:pt idx="33">
                  <c:v>Galbani</c:v>
                </c:pt>
                <c:pt idx="34">
                  <c:v>All Others</c:v>
                </c:pt>
                <c:pt idx="35">
                  <c:v>Salakis</c:v>
                </c:pt>
                <c:pt idx="36">
                  <c:v>Galbani</c:v>
                </c:pt>
                <c:pt idx="37">
                  <c:v>Islos</c:v>
                </c:pt>
                <c:pt idx="38">
                  <c:v>All Others</c:v>
                </c:pt>
                <c:pt idx="39">
                  <c:v>All Others</c:v>
                </c:pt>
                <c:pt idx="40">
                  <c:v>All Others</c:v>
                </c:pt>
                <c:pt idx="41">
                  <c:v>Casa Azzurr</c:v>
                </c:pt>
                <c:pt idx="42">
                  <c:v>All Others</c:v>
                </c:pt>
                <c:pt idx="43">
                  <c:v>Casa Azzurr</c:v>
                </c:pt>
                <c:pt idx="44">
                  <c:v>All Others</c:v>
                </c:pt>
                <c:pt idx="45">
                  <c:v>All Others</c:v>
                </c:pt>
                <c:pt idx="46">
                  <c:v>Boursin</c:v>
                </c:pt>
                <c:pt idx="47">
                  <c:v>All Others</c:v>
                </c:pt>
                <c:pt idx="48">
                  <c:v>All Others</c:v>
                </c:pt>
                <c:pt idx="49">
                  <c:v>All Others</c:v>
                </c:pt>
                <c:pt idx="50">
                  <c:v>All Others</c:v>
                </c:pt>
                <c:pt idx="51">
                  <c:v>All Others</c:v>
                </c:pt>
                <c:pt idx="52">
                  <c:v>Casa Azzurr</c:v>
                </c:pt>
                <c:pt idx="53">
                  <c:v>Salakis</c:v>
                </c:pt>
                <c:pt idx="54">
                  <c:v>All Others</c:v>
                </c:pt>
                <c:pt idx="55">
                  <c:v>All Others</c:v>
                </c:pt>
                <c:pt idx="56">
                  <c:v>All Others</c:v>
                </c:pt>
                <c:pt idx="57">
                  <c:v>All Others</c:v>
                </c:pt>
                <c:pt idx="58">
                  <c:v>Boursin</c:v>
                </c:pt>
                <c:pt idx="59">
                  <c:v>Boursin</c:v>
                </c:pt>
                <c:pt idx="60">
                  <c:v>Boursin</c:v>
                </c:pt>
                <c:pt idx="61">
                  <c:v>All Others</c:v>
                </c:pt>
                <c:pt idx="62">
                  <c:v>All Others</c:v>
                </c:pt>
                <c:pt idx="63">
                  <c:v>All Others</c:v>
                </c:pt>
                <c:pt idx="64">
                  <c:v>All Others</c:v>
                </c:pt>
                <c:pt idx="65">
                  <c:v>All Others</c:v>
                </c:pt>
                <c:pt idx="66">
                  <c:v>All Others</c:v>
                </c:pt>
                <c:pt idx="67">
                  <c:v>All Others</c:v>
                </c:pt>
                <c:pt idx="68">
                  <c:v>All Others</c:v>
                </c:pt>
                <c:pt idx="69">
                  <c:v>All Others</c:v>
                </c:pt>
                <c:pt idx="70">
                  <c:v>All Others</c:v>
                </c:pt>
                <c:pt idx="71">
                  <c:v>All Others</c:v>
                </c:pt>
                <c:pt idx="72">
                  <c:v>All Others</c:v>
                </c:pt>
                <c:pt idx="73">
                  <c:v>All Others</c:v>
                </c:pt>
                <c:pt idx="74">
                  <c:v>All Others</c:v>
                </c:pt>
                <c:pt idx="75">
                  <c:v>All Others</c:v>
                </c:pt>
                <c:pt idx="76">
                  <c:v>All Others</c:v>
                </c:pt>
                <c:pt idx="77">
                  <c:v>Lactalis: A</c:v>
                </c:pt>
                <c:pt idx="78">
                  <c:v>All Others</c:v>
                </c:pt>
                <c:pt idx="79">
                  <c:v>All Others</c:v>
                </c:pt>
                <c:pt idx="80">
                  <c:v>Salakis</c:v>
                </c:pt>
                <c:pt idx="81">
                  <c:v>All Others</c:v>
                </c:pt>
                <c:pt idx="82">
                  <c:v>All Others</c:v>
                </c:pt>
                <c:pt idx="83">
                  <c:v>All Others</c:v>
                </c:pt>
                <c:pt idx="84">
                  <c:v>All Others</c:v>
                </c:pt>
                <c:pt idx="85">
                  <c:v>All Others</c:v>
                </c:pt>
                <c:pt idx="86">
                  <c:v>All Others</c:v>
                </c:pt>
                <c:pt idx="87">
                  <c:v>All Others</c:v>
                </c:pt>
                <c:pt idx="88">
                  <c:v>All Others</c:v>
                </c:pt>
                <c:pt idx="89">
                  <c:v>Islos</c:v>
                </c:pt>
                <c:pt idx="90">
                  <c:v>All Others</c:v>
                </c:pt>
                <c:pt idx="91">
                  <c:v>All Others</c:v>
                </c:pt>
                <c:pt idx="92">
                  <c:v>All Others</c:v>
                </c:pt>
                <c:pt idx="93">
                  <c:v>All Others</c:v>
                </c:pt>
                <c:pt idx="94">
                  <c:v>All Others</c:v>
                </c:pt>
                <c:pt idx="95">
                  <c:v>All Others</c:v>
                </c:pt>
                <c:pt idx="96">
                  <c:v>Lactalis: A</c:v>
                </c:pt>
                <c:pt idx="97">
                  <c:v>All Others</c:v>
                </c:pt>
                <c:pt idx="98">
                  <c:v>All Others</c:v>
                </c:pt>
                <c:pt idx="99">
                  <c:v>Casa Azzurr</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Islos</c:v>
                </c:pt>
                <c:pt idx="131">
                  <c:v>All Others</c:v>
                </c:pt>
                <c:pt idx="132">
                  <c:v>All Others</c:v>
                </c:pt>
                <c:pt idx="133">
                  <c:v>All Others</c:v>
                </c:pt>
                <c:pt idx="134">
                  <c:v>Boursin</c:v>
                </c:pt>
                <c:pt idx="135">
                  <c:v>All Others</c:v>
                </c:pt>
                <c:pt idx="136">
                  <c:v>All Others</c:v>
                </c:pt>
                <c:pt idx="137">
                  <c:v>All Others</c:v>
                </c:pt>
              </c:strCache>
            </c:strRef>
          </c:cat>
          <c:val>
            <c:numRef>
              <c:f>Sheet1!$B$2:$B$139</c:f>
              <c:numCache>
                <c:formatCode>General</c:formatCode>
                <c:ptCount val="138"/>
                <c:pt idx="0">
                  <c:v>0.99</c:v>
                </c:pt>
                <c:pt idx="1">
                  <c:v>0.95</c:v>
                </c:pt>
                <c:pt idx="2">
                  <c:v>0.99</c:v>
                </c:pt>
                <c:pt idx="3">
                  <c:v>0.93</c:v>
                </c:pt>
                <c:pt idx="4">
                  <c:v>0.92</c:v>
                </c:pt>
                <c:pt idx="5">
                  <c:v>0.98</c:v>
                </c:pt>
                <c:pt idx="6">
                  <c:v>0.77</c:v>
                </c:pt>
                <c:pt idx="7">
                  <c:v>0.84</c:v>
                </c:pt>
                <c:pt idx="8">
                  <c:v>0.93</c:v>
                </c:pt>
                <c:pt idx="9">
                  <c:v>0.82</c:v>
                </c:pt>
                <c:pt idx="10">
                  <c:v>0.63</c:v>
                </c:pt>
                <c:pt idx="11">
                  <c:v>0.91</c:v>
                </c:pt>
                <c:pt idx="12">
                  <c:v>0.82</c:v>
                </c:pt>
                <c:pt idx="13">
                  <c:v>0.81</c:v>
                </c:pt>
                <c:pt idx="14">
                  <c:v>0.94</c:v>
                </c:pt>
                <c:pt idx="15">
                  <c:v>0.69</c:v>
                </c:pt>
                <c:pt idx="16">
                  <c:v>0.77</c:v>
                </c:pt>
                <c:pt idx="17">
                  <c:v>0.99</c:v>
                </c:pt>
                <c:pt idx="18">
                  <c:v>0.9</c:v>
                </c:pt>
                <c:pt idx="19">
                  <c:v>0.72</c:v>
                </c:pt>
                <c:pt idx="20">
                  <c:v>0.87</c:v>
                </c:pt>
                <c:pt idx="21">
                  <c:v>0.79</c:v>
                </c:pt>
                <c:pt idx="22">
                  <c:v>0.54</c:v>
                </c:pt>
                <c:pt idx="23">
                  <c:v>0.75</c:v>
                </c:pt>
                <c:pt idx="24">
                  <c:v>0.71</c:v>
                </c:pt>
                <c:pt idx="25">
                  <c:v>0.8</c:v>
                </c:pt>
                <c:pt idx="26">
                  <c:v>0.67</c:v>
                </c:pt>
                <c:pt idx="27">
                  <c:v>0.53</c:v>
                </c:pt>
                <c:pt idx="28">
                  <c:v>0.78</c:v>
                </c:pt>
                <c:pt idx="29">
                  <c:v>0.48</c:v>
                </c:pt>
                <c:pt idx="30">
                  <c:v>0.59</c:v>
                </c:pt>
                <c:pt idx="31">
                  <c:v>0.41</c:v>
                </c:pt>
                <c:pt idx="32">
                  <c:v>0.64</c:v>
                </c:pt>
                <c:pt idx="33">
                  <c:v>0.93</c:v>
                </c:pt>
                <c:pt idx="34">
                  <c:v>0.73</c:v>
                </c:pt>
                <c:pt idx="35">
                  <c:v>0.52</c:v>
                </c:pt>
                <c:pt idx="36">
                  <c:v>0.45</c:v>
                </c:pt>
                <c:pt idx="37">
                  <c:v>0.86</c:v>
                </c:pt>
                <c:pt idx="38">
                  <c:v>0.67</c:v>
                </c:pt>
                <c:pt idx="39">
                  <c:v>0.8</c:v>
                </c:pt>
                <c:pt idx="40">
                  <c:v>0.67</c:v>
                </c:pt>
                <c:pt idx="41">
                  <c:v>0.81</c:v>
                </c:pt>
                <c:pt idx="42">
                  <c:v>0.56000000000000005</c:v>
                </c:pt>
                <c:pt idx="43">
                  <c:v>0.54</c:v>
                </c:pt>
                <c:pt idx="44">
                  <c:v>0.52</c:v>
                </c:pt>
                <c:pt idx="45">
                  <c:v>0.56000000000000005</c:v>
                </c:pt>
                <c:pt idx="46">
                  <c:v>0.91</c:v>
                </c:pt>
                <c:pt idx="47">
                  <c:v>0.48</c:v>
                </c:pt>
                <c:pt idx="48">
                  <c:v>0.46</c:v>
                </c:pt>
                <c:pt idx="49">
                  <c:v>0.5</c:v>
                </c:pt>
                <c:pt idx="50">
                  <c:v>0.64</c:v>
                </c:pt>
                <c:pt idx="51">
                  <c:v>0.72</c:v>
                </c:pt>
                <c:pt idx="52">
                  <c:v>0.48</c:v>
                </c:pt>
                <c:pt idx="53">
                  <c:v>0.76</c:v>
                </c:pt>
                <c:pt idx="54">
                  <c:v>0.74</c:v>
                </c:pt>
                <c:pt idx="55">
                  <c:v>0.66</c:v>
                </c:pt>
                <c:pt idx="56">
                  <c:v>0.4</c:v>
                </c:pt>
                <c:pt idx="57">
                  <c:v>0.49</c:v>
                </c:pt>
                <c:pt idx="58">
                  <c:v>0.84</c:v>
                </c:pt>
                <c:pt idx="59">
                  <c:v>0.71</c:v>
                </c:pt>
                <c:pt idx="60">
                  <c:v>0.72</c:v>
                </c:pt>
                <c:pt idx="61">
                  <c:v>0.28999999999999998</c:v>
                </c:pt>
                <c:pt idx="62">
                  <c:v>0.61</c:v>
                </c:pt>
                <c:pt idx="63">
                  <c:v>0.24</c:v>
                </c:pt>
                <c:pt idx="64">
                  <c:v>0.28999999999999998</c:v>
                </c:pt>
                <c:pt idx="65">
                  <c:v>0.1</c:v>
                </c:pt>
                <c:pt idx="66">
                  <c:v>0.18</c:v>
                </c:pt>
                <c:pt idx="67">
                  <c:v>0.16</c:v>
                </c:pt>
                <c:pt idx="68">
                  <c:v>0.56000000000000005</c:v>
                </c:pt>
                <c:pt idx="69">
                  <c:v>0.19</c:v>
                </c:pt>
                <c:pt idx="70">
                  <c:v>0.28999999999999998</c:v>
                </c:pt>
                <c:pt idx="71">
                  <c:v>7.0000000000000007E-2</c:v>
                </c:pt>
                <c:pt idx="72">
                  <c:v>0.55000000000000004</c:v>
                </c:pt>
                <c:pt idx="73">
                  <c:v>0.52</c:v>
                </c:pt>
                <c:pt idx="74">
                  <c:v>0.56000000000000005</c:v>
                </c:pt>
                <c:pt idx="75">
                  <c:v>0.35</c:v>
                </c:pt>
                <c:pt idx="76">
                  <c:v>0.3</c:v>
                </c:pt>
                <c:pt idx="77">
                  <c:v>0.16</c:v>
                </c:pt>
                <c:pt idx="78">
                  <c:v>0.17</c:v>
                </c:pt>
                <c:pt idx="79">
                  <c:v>0.11</c:v>
                </c:pt>
                <c:pt idx="80">
                  <c:v>0.37</c:v>
                </c:pt>
                <c:pt idx="81">
                  <c:v>0.09</c:v>
                </c:pt>
                <c:pt idx="82">
                  <c:v>0.22</c:v>
                </c:pt>
                <c:pt idx="83">
                  <c:v>0.41</c:v>
                </c:pt>
                <c:pt idx="84">
                  <c:v>0.3</c:v>
                </c:pt>
                <c:pt idx="85">
                  <c:v>0.48</c:v>
                </c:pt>
                <c:pt idx="86">
                  <c:v>0.09</c:v>
                </c:pt>
                <c:pt idx="87">
                  <c:v>0.13</c:v>
                </c:pt>
                <c:pt idx="88">
                  <c:v>0.08</c:v>
                </c:pt>
                <c:pt idx="89">
                  <c:v>0.32</c:v>
                </c:pt>
                <c:pt idx="90">
                  <c:v>0.6</c:v>
                </c:pt>
                <c:pt idx="91">
                  <c:v>0.06</c:v>
                </c:pt>
                <c:pt idx="92">
                  <c:v>0.06</c:v>
                </c:pt>
                <c:pt idx="93">
                  <c:v>0.04</c:v>
                </c:pt>
                <c:pt idx="94">
                  <c:v>0.13</c:v>
                </c:pt>
                <c:pt idx="95">
                  <c:v>7.0000000000000007E-2</c:v>
                </c:pt>
                <c:pt idx="96">
                  <c:v>0.13</c:v>
                </c:pt>
                <c:pt idx="97">
                  <c:v>0.06</c:v>
                </c:pt>
                <c:pt idx="98">
                  <c:v>0.06</c:v>
                </c:pt>
                <c:pt idx="99">
                  <c:v>0.34</c:v>
                </c:pt>
                <c:pt idx="100">
                  <c:v>0.05</c:v>
                </c:pt>
                <c:pt idx="101">
                  <c:v>0.21</c:v>
                </c:pt>
                <c:pt idx="102">
                  <c:v>0.02</c:v>
                </c:pt>
                <c:pt idx="103">
                  <c:v>0.02</c:v>
                </c:pt>
                <c:pt idx="104">
                  <c:v>0.02</c:v>
                </c:pt>
                <c:pt idx="105">
                  <c:v>0.04</c:v>
                </c:pt>
                <c:pt idx="106">
                  <c:v>0.11</c:v>
                </c:pt>
                <c:pt idx="107">
                  <c:v>0.02</c:v>
                </c:pt>
                <c:pt idx="108">
                  <c:v>0.02</c:v>
                </c:pt>
                <c:pt idx="109">
                  <c:v>0.06</c:v>
                </c:pt>
                <c:pt idx="110">
                  <c:v>0.01</c:v>
                </c:pt>
                <c:pt idx="111">
                  <c:v>0.03</c:v>
                </c:pt>
                <c:pt idx="112">
                  <c:v>0.02</c:v>
                </c:pt>
                <c:pt idx="113">
                  <c:v>0.03</c:v>
                </c:pt>
                <c:pt idx="114">
                  <c:v>0.03</c:v>
                </c:pt>
                <c:pt idx="115">
                  <c:v>0.03</c:v>
                </c:pt>
                <c:pt idx="116">
                  <c:v>0.03</c:v>
                </c:pt>
                <c:pt idx="117">
                  <c:v>0.03</c:v>
                </c:pt>
                <c:pt idx="118">
                  <c:v>0.01</c:v>
                </c:pt>
                <c:pt idx="119">
                  <c:v>0.01</c:v>
                </c:pt>
                <c:pt idx="120">
                  <c:v>0.02</c:v>
                </c:pt>
                <c:pt idx="121">
                  <c:v>0.01</c:v>
                </c:pt>
                <c:pt idx="122">
                  <c:v>0.01</c:v>
                </c:pt>
                <c:pt idx="123">
                  <c:v>0.03</c:v>
                </c:pt>
                <c:pt idx="124">
                  <c:v>0.01</c:v>
                </c:pt>
                <c:pt idx="125">
                  <c:v>0.01</c:v>
                </c:pt>
                <c:pt idx="126">
                  <c:v>0.01</c:v>
                </c:pt>
                <c:pt idx="127">
                  <c:v>0.01</c:v>
                </c:pt>
                <c:pt idx="128">
                  <c:v>0.01</c:v>
                </c:pt>
                <c:pt idx="129">
                  <c:v>0.01</c:v>
                </c:pt>
                <c:pt idx="130">
                  <c:v>0.02</c:v>
                </c:pt>
                <c:pt idx="131">
                  <c:v>0.02</c:v>
                </c:pt>
                <c:pt idx="132">
                  <c:v>0.01</c:v>
                </c:pt>
                <c:pt idx="133">
                  <c:v>0.01</c:v>
                </c:pt>
                <c:pt idx="134">
                  <c:v>0.03</c:v>
                </c:pt>
                <c:pt idx="135">
                  <c:v>0.06</c:v>
                </c:pt>
                <c:pt idx="136">
                  <c:v>0.06</c:v>
                </c:pt>
                <c:pt idx="13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9</c:f>
              <c:strCache>
                <c:ptCount val="138"/>
                <c:pt idx="0">
                  <c:v>Galbani</c:v>
                </c:pt>
                <c:pt idx="1">
                  <c:v>Islos</c:v>
                </c:pt>
                <c:pt idx="2">
                  <c:v>Salakis</c:v>
                </c:pt>
                <c:pt idx="3">
                  <c:v>Casa Azzurr</c:v>
                </c:pt>
                <c:pt idx="4">
                  <c:v>Casa Azzurr</c:v>
                </c:pt>
                <c:pt idx="5">
                  <c:v>Galbani</c:v>
                </c:pt>
                <c:pt idx="6">
                  <c:v>Casa Azzurr</c:v>
                </c:pt>
                <c:pt idx="7">
                  <c:v>Galbani</c:v>
                </c:pt>
                <c:pt idx="8">
                  <c:v>Salakis</c:v>
                </c:pt>
                <c:pt idx="9">
                  <c:v>Casa Azzurr</c:v>
                </c:pt>
                <c:pt idx="10">
                  <c:v>Galbani</c:v>
                </c:pt>
                <c:pt idx="11">
                  <c:v>Galbani</c:v>
                </c:pt>
                <c:pt idx="12">
                  <c:v>Casa Azzurr</c:v>
                </c:pt>
                <c:pt idx="13">
                  <c:v>Salakis</c:v>
                </c:pt>
                <c:pt idx="14">
                  <c:v>Casa Azzurr</c:v>
                </c:pt>
                <c:pt idx="15">
                  <c:v>Casa Azzurr</c:v>
                </c:pt>
                <c:pt idx="16">
                  <c:v>All Others</c:v>
                </c:pt>
                <c:pt idx="17">
                  <c:v>Boursin</c:v>
                </c:pt>
                <c:pt idx="18">
                  <c:v>Galbani</c:v>
                </c:pt>
                <c:pt idx="19">
                  <c:v>All Others</c:v>
                </c:pt>
                <c:pt idx="20">
                  <c:v>All Others</c:v>
                </c:pt>
                <c:pt idx="21">
                  <c:v>Galbani</c:v>
                </c:pt>
                <c:pt idx="22">
                  <c:v>Casa Azzurr</c:v>
                </c:pt>
                <c:pt idx="23">
                  <c:v>All Others</c:v>
                </c:pt>
                <c:pt idx="24">
                  <c:v>All Others</c:v>
                </c:pt>
                <c:pt idx="25">
                  <c:v>Salakis</c:v>
                </c:pt>
                <c:pt idx="26">
                  <c:v>Galbani</c:v>
                </c:pt>
                <c:pt idx="27">
                  <c:v>Casa Azzurr</c:v>
                </c:pt>
                <c:pt idx="28">
                  <c:v>All Others</c:v>
                </c:pt>
                <c:pt idx="29">
                  <c:v>All Others</c:v>
                </c:pt>
                <c:pt idx="30">
                  <c:v>Salakis</c:v>
                </c:pt>
                <c:pt idx="31">
                  <c:v>All Others</c:v>
                </c:pt>
                <c:pt idx="32">
                  <c:v>All Others</c:v>
                </c:pt>
                <c:pt idx="33">
                  <c:v>Galbani</c:v>
                </c:pt>
                <c:pt idx="34">
                  <c:v>All Others</c:v>
                </c:pt>
                <c:pt idx="35">
                  <c:v>Salakis</c:v>
                </c:pt>
                <c:pt idx="36">
                  <c:v>Galbani</c:v>
                </c:pt>
                <c:pt idx="37">
                  <c:v>Islos</c:v>
                </c:pt>
                <c:pt idx="38">
                  <c:v>All Others</c:v>
                </c:pt>
                <c:pt idx="39">
                  <c:v>All Others</c:v>
                </c:pt>
                <c:pt idx="40">
                  <c:v>All Others</c:v>
                </c:pt>
                <c:pt idx="41">
                  <c:v>Casa Azzurr</c:v>
                </c:pt>
                <c:pt idx="42">
                  <c:v>All Others</c:v>
                </c:pt>
                <c:pt idx="43">
                  <c:v>Casa Azzurr</c:v>
                </c:pt>
                <c:pt idx="44">
                  <c:v>All Others</c:v>
                </c:pt>
                <c:pt idx="45">
                  <c:v>All Others</c:v>
                </c:pt>
                <c:pt idx="46">
                  <c:v>Boursin</c:v>
                </c:pt>
                <c:pt idx="47">
                  <c:v>All Others</c:v>
                </c:pt>
                <c:pt idx="48">
                  <c:v>All Others</c:v>
                </c:pt>
                <c:pt idx="49">
                  <c:v>All Others</c:v>
                </c:pt>
                <c:pt idx="50">
                  <c:v>All Others</c:v>
                </c:pt>
                <c:pt idx="51">
                  <c:v>All Others</c:v>
                </c:pt>
                <c:pt idx="52">
                  <c:v>Casa Azzurr</c:v>
                </c:pt>
                <c:pt idx="53">
                  <c:v>Salakis</c:v>
                </c:pt>
                <c:pt idx="54">
                  <c:v>All Others</c:v>
                </c:pt>
                <c:pt idx="55">
                  <c:v>All Others</c:v>
                </c:pt>
                <c:pt idx="56">
                  <c:v>All Others</c:v>
                </c:pt>
                <c:pt idx="57">
                  <c:v>All Others</c:v>
                </c:pt>
                <c:pt idx="58">
                  <c:v>Boursin</c:v>
                </c:pt>
                <c:pt idx="59">
                  <c:v>Boursin</c:v>
                </c:pt>
                <c:pt idx="60">
                  <c:v>Boursin</c:v>
                </c:pt>
                <c:pt idx="61">
                  <c:v>All Others</c:v>
                </c:pt>
                <c:pt idx="62">
                  <c:v>All Others</c:v>
                </c:pt>
                <c:pt idx="63">
                  <c:v>All Others</c:v>
                </c:pt>
                <c:pt idx="64">
                  <c:v>All Others</c:v>
                </c:pt>
                <c:pt idx="65">
                  <c:v>All Others</c:v>
                </c:pt>
                <c:pt idx="66">
                  <c:v>All Others</c:v>
                </c:pt>
                <c:pt idx="67">
                  <c:v>All Others</c:v>
                </c:pt>
                <c:pt idx="68">
                  <c:v>All Others</c:v>
                </c:pt>
                <c:pt idx="69">
                  <c:v>All Others</c:v>
                </c:pt>
                <c:pt idx="70">
                  <c:v>All Others</c:v>
                </c:pt>
                <c:pt idx="71">
                  <c:v>All Others</c:v>
                </c:pt>
                <c:pt idx="72">
                  <c:v>All Others</c:v>
                </c:pt>
                <c:pt idx="73">
                  <c:v>All Others</c:v>
                </c:pt>
                <c:pt idx="74">
                  <c:v>All Others</c:v>
                </c:pt>
                <c:pt idx="75">
                  <c:v>All Others</c:v>
                </c:pt>
                <c:pt idx="76">
                  <c:v>All Others</c:v>
                </c:pt>
                <c:pt idx="77">
                  <c:v>Lactalis: A</c:v>
                </c:pt>
                <c:pt idx="78">
                  <c:v>All Others</c:v>
                </c:pt>
                <c:pt idx="79">
                  <c:v>All Others</c:v>
                </c:pt>
                <c:pt idx="80">
                  <c:v>Salakis</c:v>
                </c:pt>
                <c:pt idx="81">
                  <c:v>All Others</c:v>
                </c:pt>
                <c:pt idx="82">
                  <c:v>All Others</c:v>
                </c:pt>
                <c:pt idx="83">
                  <c:v>All Others</c:v>
                </c:pt>
                <c:pt idx="84">
                  <c:v>All Others</c:v>
                </c:pt>
                <c:pt idx="85">
                  <c:v>All Others</c:v>
                </c:pt>
                <c:pt idx="86">
                  <c:v>All Others</c:v>
                </c:pt>
                <c:pt idx="87">
                  <c:v>All Others</c:v>
                </c:pt>
                <c:pt idx="88">
                  <c:v>All Others</c:v>
                </c:pt>
                <c:pt idx="89">
                  <c:v>Islos</c:v>
                </c:pt>
                <c:pt idx="90">
                  <c:v>All Others</c:v>
                </c:pt>
                <c:pt idx="91">
                  <c:v>All Others</c:v>
                </c:pt>
                <c:pt idx="92">
                  <c:v>All Others</c:v>
                </c:pt>
                <c:pt idx="93">
                  <c:v>All Others</c:v>
                </c:pt>
                <c:pt idx="94">
                  <c:v>All Others</c:v>
                </c:pt>
                <c:pt idx="95">
                  <c:v>All Others</c:v>
                </c:pt>
                <c:pt idx="96">
                  <c:v>Lactalis: A</c:v>
                </c:pt>
                <c:pt idx="97">
                  <c:v>All Others</c:v>
                </c:pt>
                <c:pt idx="98">
                  <c:v>All Others</c:v>
                </c:pt>
                <c:pt idx="99">
                  <c:v>Casa Azzurr</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Islos</c:v>
                </c:pt>
                <c:pt idx="131">
                  <c:v>All Others</c:v>
                </c:pt>
                <c:pt idx="132">
                  <c:v>All Others</c:v>
                </c:pt>
                <c:pt idx="133">
                  <c:v>All Others</c:v>
                </c:pt>
                <c:pt idx="134">
                  <c:v>Boursin</c:v>
                </c:pt>
                <c:pt idx="135">
                  <c:v>All Others</c:v>
                </c:pt>
                <c:pt idx="136">
                  <c:v>All Others</c:v>
                </c:pt>
                <c:pt idx="137">
                  <c:v>All Others</c:v>
                </c:pt>
              </c:strCache>
            </c:strRef>
          </c:cat>
          <c:val>
            <c:numRef>
              <c:f>Sheet1!$C$2:$C$139</c:f>
              <c:numCache>
                <c:formatCode>General</c:formatCode>
                <c:ptCount val="138"/>
                <c:pt idx="0">
                  <c:v>0.41502560681572065</c:v>
                </c:pt>
                <c:pt idx="1">
                  <c:v>0.44249409052564131</c:v>
                </c:pt>
                <c:pt idx="2">
                  <c:v>0.46980797063809809</c:v>
                </c:pt>
                <c:pt idx="3">
                  <c:v>0.49197002920199517</c:v>
                </c:pt>
                <c:pt idx="4">
                  <c:v>0.5276870975479353</c:v>
                </c:pt>
                <c:pt idx="5">
                  <c:v>0.57588952818299843</c:v>
                </c:pt>
                <c:pt idx="6">
                  <c:v>0.58980259418581693</c:v>
                </c:pt>
                <c:pt idx="7">
                  <c:v>0.60314174362399531</c:v>
                </c:pt>
                <c:pt idx="8">
                  <c:v>0.61637952368494475</c:v>
                </c:pt>
                <c:pt idx="9">
                  <c:v>0.6427488533226583</c:v>
                </c:pt>
                <c:pt idx="10">
                  <c:v>0.65560821490362353</c:v>
                </c:pt>
                <c:pt idx="11">
                  <c:v>0.66768463232082698</c:v>
                </c:pt>
                <c:pt idx="12">
                  <c:v>0.67965274563479383</c:v>
                </c:pt>
                <c:pt idx="13">
                  <c:v>0.69083009622136282</c:v>
                </c:pt>
                <c:pt idx="14">
                  <c:v>0.70189118816603946</c:v>
                </c:pt>
                <c:pt idx="15">
                  <c:v>0.71221400374094457</c:v>
                </c:pt>
                <c:pt idx="16">
                  <c:v>0.72233537232407941</c:v>
                </c:pt>
                <c:pt idx="17">
                  <c:v>0.73239534818579388</c:v>
                </c:pt>
                <c:pt idx="18">
                  <c:v>0.74239546104506027</c:v>
                </c:pt>
                <c:pt idx="19">
                  <c:v>0.7612471397654591</c:v>
                </c:pt>
                <c:pt idx="20">
                  <c:v>0.76992900880193471</c:v>
                </c:pt>
                <c:pt idx="21">
                  <c:v>0.77814295380167087</c:v>
                </c:pt>
                <c:pt idx="22">
                  <c:v>0.78587384754371969</c:v>
                </c:pt>
                <c:pt idx="23">
                  <c:v>0.79337293787083751</c:v>
                </c:pt>
                <c:pt idx="24">
                  <c:v>0.80083303736103995</c:v>
                </c:pt>
                <c:pt idx="25">
                  <c:v>0.80784639092383026</c:v>
                </c:pt>
                <c:pt idx="26">
                  <c:v>0.81470850627089564</c:v>
                </c:pt>
                <c:pt idx="27">
                  <c:v>0.82151317217211361</c:v>
                </c:pt>
                <c:pt idx="28">
                  <c:v>0.82831583244179019</c:v>
                </c:pt>
                <c:pt idx="29">
                  <c:v>0.83493088117795677</c:v>
                </c:pt>
                <c:pt idx="30">
                  <c:v>0.84120269497050126</c:v>
                </c:pt>
                <c:pt idx="31">
                  <c:v>0.8533788500646966</c:v>
                </c:pt>
                <c:pt idx="32">
                  <c:v>0.85876869588534122</c:v>
                </c:pt>
                <c:pt idx="33">
                  <c:v>0.86405792019136551</c:v>
                </c:pt>
                <c:pt idx="34">
                  <c:v>0.86929459015225363</c:v>
                </c:pt>
                <c:pt idx="35">
                  <c:v>0.87412302911007578</c:v>
                </c:pt>
                <c:pt idx="36">
                  <c:v>0.87889180902797948</c:v>
                </c:pt>
                <c:pt idx="37">
                  <c:v>0.88326415377578116</c:v>
                </c:pt>
                <c:pt idx="38">
                  <c:v>0.88744283610169372</c:v>
                </c:pt>
                <c:pt idx="39">
                  <c:v>0.89154639222919041</c:v>
                </c:pt>
                <c:pt idx="40">
                  <c:v>0.89560106533708439</c:v>
                </c:pt>
                <c:pt idx="41">
                  <c:v>0.89960892904442702</c:v>
                </c:pt>
                <c:pt idx="42">
                  <c:v>0.90360404509366743</c:v>
                </c:pt>
                <c:pt idx="43">
                  <c:v>0.90756513339421352</c:v>
                </c:pt>
                <c:pt idx="44">
                  <c:v>0.91145218329650191</c:v>
                </c:pt>
                <c:pt idx="45">
                  <c:v>0.91508754343721976</c:v>
                </c:pt>
                <c:pt idx="46">
                  <c:v>0.91858686057067052</c:v>
                </c:pt>
                <c:pt idx="47">
                  <c:v>0.9219134554352747</c:v>
                </c:pt>
                <c:pt idx="48">
                  <c:v>0.92514388196715569</c:v>
                </c:pt>
                <c:pt idx="49">
                  <c:v>0.92800703997067258</c:v>
                </c:pt>
                <c:pt idx="50">
                  <c:v>0.93082498628012023</c:v>
                </c:pt>
                <c:pt idx="51">
                  <c:v>0.93358371546846353</c:v>
                </c:pt>
                <c:pt idx="52">
                  <c:v>0.93623478643491409</c:v>
                </c:pt>
                <c:pt idx="53">
                  <c:v>0.93886926844895435</c:v>
                </c:pt>
                <c:pt idx="54">
                  <c:v>0.94141302113106162</c:v>
                </c:pt>
                <c:pt idx="55">
                  <c:v>0.94394164659222091</c:v>
                </c:pt>
                <c:pt idx="56">
                  <c:v>0.94645327517591049</c:v>
                </c:pt>
                <c:pt idx="57">
                  <c:v>0.94895562346450169</c:v>
                </c:pt>
                <c:pt idx="58">
                  <c:v>0.95110457267674398</c:v>
                </c:pt>
                <c:pt idx="59">
                  <c:v>0.95301379792915442</c:v>
                </c:pt>
                <c:pt idx="60">
                  <c:v>0.95488909741413541</c:v>
                </c:pt>
                <c:pt idx="61">
                  <c:v>0.95673941148923602</c:v>
                </c:pt>
                <c:pt idx="62">
                  <c:v>0.95858496643864521</c:v>
                </c:pt>
                <c:pt idx="63">
                  <c:v>0.96026697743304146</c:v>
                </c:pt>
                <c:pt idx="64">
                  <c:v>0.96188932938751914</c:v>
                </c:pt>
                <c:pt idx="65">
                  <c:v>0.96347224858626734</c:v>
                </c:pt>
                <c:pt idx="66">
                  <c:v>0.96493459193624587</c:v>
                </c:pt>
                <c:pt idx="67">
                  <c:v>0.96639387584827985</c:v>
                </c:pt>
                <c:pt idx="68">
                  <c:v>0.96781192533557248</c:v>
                </c:pt>
                <c:pt idx="69">
                  <c:v>0.96919836063077147</c:v>
                </c:pt>
                <c:pt idx="70">
                  <c:v>0.97184902367216286</c:v>
                </c:pt>
                <c:pt idx="71">
                  <c:v>0.97313388562760328</c:v>
                </c:pt>
                <c:pt idx="72">
                  <c:v>0.97441378449482263</c:v>
                </c:pt>
                <c:pt idx="73">
                  <c:v>0.97561328813161052</c:v>
                </c:pt>
                <c:pt idx="74">
                  <c:v>0.97678729645219398</c:v>
                </c:pt>
                <c:pt idx="75">
                  <c:v>0.97785147095056857</c:v>
                </c:pt>
                <c:pt idx="76">
                  <c:v>0.97878154008570761</c:v>
                </c:pt>
                <c:pt idx="77">
                  <c:v>0.97967489596551227</c:v>
                </c:pt>
                <c:pt idx="78">
                  <c:v>0.98050866079290833</c:v>
                </c:pt>
                <c:pt idx="79">
                  <c:v>0.98133865231350614</c:v>
                </c:pt>
                <c:pt idx="80">
                  <c:v>0.98216531244611982</c:v>
                </c:pt>
                <c:pt idx="81">
                  <c:v>0.98291579257391459</c:v>
                </c:pt>
                <c:pt idx="82">
                  <c:v>0.9836609016884289</c:v>
                </c:pt>
                <c:pt idx="83">
                  <c:v>0.98440043582713321</c:v>
                </c:pt>
                <c:pt idx="84">
                  <c:v>0.98512358497595676</c:v>
                </c:pt>
                <c:pt idx="85">
                  <c:v>0.98582847947837793</c:v>
                </c:pt>
                <c:pt idx="86">
                  <c:v>0.98652943070522614</c:v>
                </c:pt>
                <c:pt idx="87">
                  <c:v>0.98719339672670037</c:v>
                </c:pt>
                <c:pt idx="88">
                  <c:v>0.98785603699173197</c:v>
                </c:pt>
                <c:pt idx="89">
                  <c:v>0.98846469517391999</c:v>
                </c:pt>
                <c:pt idx="90">
                  <c:v>0.98906539881745226</c:v>
                </c:pt>
                <c:pt idx="91">
                  <c:v>0.98966409682944312</c:v>
                </c:pt>
                <c:pt idx="92">
                  <c:v>0.99026106115993207</c:v>
                </c:pt>
                <c:pt idx="93">
                  <c:v>0.99082080232876246</c:v>
                </c:pt>
                <c:pt idx="94">
                  <c:v>0.99136041919466877</c:v>
                </c:pt>
                <c:pt idx="95">
                  <c:v>0.99189537891614843</c:v>
                </c:pt>
                <c:pt idx="96">
                  <c:v>0.99237696844237344</c:v>
                </c:pt>
                <c:pt idx="97">
                  <c:v>0.99284700009191906</c:v>
                </c:pt>
                <c:pt idx="98">
                  <c:v>0.99327967260478633</c:v>
                </c:pt>
                <c:pt idx="99">
                  <c:v>0.99370884376089486</c:v>
                </c:pt>
                <c:pt idx="100">
                  <c:v>0.99411727872649047</c:v>
                </c:pt>
                <c:pt idx="101">
                  <c:v>0.99449246779975542</c:v>
                </c:pt>
                <c:pt idx="102">
                  <c:v>0.99485708481523427</c:v>
                </c:pt>
                <c:pt idx="103">
                  <c:v>0.99518138523735511</c:v>
                </c:pt>
                <c:pt idx="104">
                  <c:v>0.99549711923323125</c:v>
                </c:pt>
                <c:pt idx="105">
                  <c:v>0.9957992897208866</c:v>
                </c:pt>
                <c:pt idx="106">
                  <c:v>0.99603520638016529</c:v>
                </c:pt>
                <c:pt idx="107">
                  <c:v>0.99644221360805341</c:v>
                </c:pt>
                <c:pt idx="108">
                  <c:v>0.99661106058883686</c:v>
                </c:pt>
                <c:pt idx="109">
                  <c:v>0.99677334677491702</c:v>
                </c:pt>
                <c:pt idx="110">
                  <c:v>0.99686543585704757</c:v>
                </c:pt>
                <c:pt idx="111">
                  <c:v>0.99695018228811128</c:v>
                </c:pt>
                <c:pt idx="112">
                  <c:v>0.99703203925000505</c:v>
                </c:pt>
                <c:pt idx="113">
                  <c:v>0.99711015689885552</c:v>
                </c:pt>
                <c:pt idx="114">
                  <c:v>0.99717566286462356</c:v>
                </c:pt>
                <c:pt idx="115">
                  <c:v>0.99724004703647862</c:v>
                </c:pt>
                <c:pt idx="116">
                  <c:v>0.99736123477283722</c:v>
                </c:pt>
                <c:pt idx="117">
                  <c:v>0.99747562375820797</c:v>
                </c:pt>
                <c:pt idx="118">
                  <c:v>0.99763875978816163</c:v>
                </c:pt>
                <c:pt idx="119">
                  <c:v>0.99774478630981722</c:v>
                </c:pt>
                <c:pt idx="120">
                  <c:v>0.99802435095043796</c:v>
                </c:pt>
                <c:pt idx="121">
                  <c:v>0.99823572411865047</c:v>
                </c:pt>
                <c:pt idx="122">
                  <c:v>0.99827658461208746</c:v>
                </c:pt>
                <c:pt idx="123">
                  <c:v>0.99835793166765718</c:v>
                </c:pt>
                <c:pt idx="124">
                  <c:v>0.99867692906400729</c:v>
                </c:pt>
                <c:pt idx="125">
                  <c:v>0.99885801379656891</c:v>
                </c:pt>
                <c:pt idx="126">
                  <c:v>0.9990969219062823</c:v>
                </c:pt>
                <c:pt idx="127">
                  <c:v>0.99912003765964097</c:v>
                </c:pt>
                <c:pt idx="128">
                  <c:v>0.99924530464659211</c:v>
                </c:pt>
                <c:pt idx="129">
                  <c:v>0.99932342229544258</c:v>
                </c:pt>
                <c:pt idx="130">
                  <c:v>0.99935809592548064</c:v>
                </c:pt>
                <c:pt idx="131">
                  <c:v>0.99955277816001797</c:v>
                </c:pt>
                <c:pt idx="132">
                  <c:v>0.99978213402459326</c:v>
                </c:pt>
                <c:pt idx="133">
                  <c:v>0.99981609378577763</c:v>
                </c:pt>
                <c:pt idx="134">
                  <c:v>0.99986793426206011</c:v>
                </c:pt>
                <c:pt idx="135">
                  <c:v>0.99988163374530059</c:v>
                </c:pt>
                <c:pt idx="136">
                  <c:v>0.9998945173784225</c:v>
                </c:pt>
                <c:pt idx="137">
                  <c:v>0.9999233440826109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1</c:f>
              <c:strCache>
                <c:ptCount val="60"/>
                <c:pt idx="0">
                  <c:v>Galbani</c:v>
                </c:pt>
                <c:pt idx="1">
                  <c:v>Salakis</c:v>
                </c:pt>
                <c:pt idx="2">
                  <c:v>Casa Azzurr</c:v>
                </c:pt>
                <c:pt idx="3">
                  <c:v>Salakis</c:v>
                </c:pt>
                <c:pt idx="4">
                  <c:v>Boursin</c:v>
                </c:pt>
                <c:pt idx="5">
                  <c:v>Galbani</c:v>
                </c:pt>
                <c:pt idx="6">
                  <c:v>All Others</c:v>
                </c:pt>
                <c:pt idx="7">
                  <c:v>All Others</c:v>
                </c:pt>
                <c:pt idx="8">
                  <c:v>Islos</c:v>
                </c:pt>
                <c:pt idx="9">
                  <c:v>Casa Azzurr</c:v>
                </c:pt>
                <c:pt idx="10">
                  <c:v>All Others</c:v>
                </c:pt>
                <c:pt idx="11">
                  <c:v>Galbani</c:v>
                </c:pt>
                <c:pt idx="12">
                  <c:v>All Others</c:v>
                </c:pt>
                <c:pt idx="13">
                  <c:v>All Others</c:v>
                </c:pt>
                <c:pt idx="14">
                  <c:v>All Others</c:v>
                </c:pt>
                <c:pt idx="15">
                  <c:v>Salakis</c:v>
                </c:pt>
                <c:pt idx="16">
                  <c:v>All Others</c:v>
                </c:pt>
                <c:pt idx="17">
                  <c:v>All Others</c:v>
                </c:pt>
                <c:pt idx="18">
                  <c:v>Galbani</c:v>
                </c:pt>
                <c:pt idx="19">
                  <c:v>All Others</c:v>
                </c:pt>
                <c:pt idx="20">
                  <c:v>All Others</c:v>
                </c:pt>
                <c:pt idx="21">
                  <c:v>Casa Azzurr</c:v>
                </c:pt>
                <c:pt idx="22">
                  <c:v>Casa Azzurr</c:v>
                </c:pt>
                <c:pt idx="23">
                  <c:v>Galbani</c:v>
                </c:pt>
                <c:pt idx="24">
                  <c:v>All Others</c:v>
                </c:pt>
                <c:pt idx="25">
                  <c:v>All Others</c:v>
                </c:pt>
                <c:pt idx="26">
                  <c:v>Casa Azzurr</c:v>
                </c:pt>
                <c:pt idx="27">
                  <c:v>All Others</c:v>
                </c:pt>
                <c:pt idx="28">
                  <c:v>All Others</c:v>
                </c:pt>
                <c:pt idx="29">
                  <c:v>All Others</c:v>
                </c:pt>
                <c:pt idx="30">
                  <c:v>All Others</c:v>
                </c:pt>
                <c:pt idx="31">
                  <c:v>All Others</c:v>
                </c:pt>
                <c:pt idx="32">
                  <c:v>All Others</c:v>
                </c:pt>
                <c:pt idx="33">
                  <c:v>All Others</c:v>
                </c:pt>
                <c:pt idx="34">
                  <c:v>All Others</c:v>
                </c:pt>
                <c:pt idx="35">
                  <c:v>All Others</c:v>
                </c:pt>
                <c:pt idx="36">
                  <c:v>Galbani</c:v>
                </c:pt>
                <c:pt idx="37">
                  <c:v>All Others</c:v>
                </c:pt>
                <c:pt idx="38">
                  <c:v>All Others</c:v>
                </c:pt>
                <c:pt idx="39">
                  <c:v>All Others</c:v>
                </c:pt>
                <c:pt idx="40">
                  <c:v>All Others</c:v>
                </c:pt>
                <c:pt idx="41">
                  <c:v>All Others</c:v>
                </c:pt>
                <c:pt idx="42">
                  <c:v>All Others</c:v>
                </c:pt>
                <c:pt idx="43">
                  <c:v>All Others</c:v>
                </c:pt>
                <c:pt idx="44">
                  <c:v>All Others</c:v>
                </c:pt>
                <c:pt idx="45">
                  <c:v>All Others</c:v>
                </c:pt>
                <c:pt idx="46">
                  <c:v>All Others</c:v>
                </c:pt>
                <c:pt idx="47">
                  <c:v>All Others</c:v>
                </c:pt>
                <c:pt idx="48">
                  <c:v>All Others</c:v>
                </c:pt>
                <c:pt idx="49">
                  <c:v>All Others</c:v>
                </c:pt>
                <c:pt idx="50">
                  <c:v>All Others</c:v>
                </c:pt>
                <c:pt idx="51">
                  <c:v>All Others</c:v>
                </c:pt>
                <c:pt idx="52">
                  <c:v>Lactalis: A</c:v>
                </c:pt>
                <c:pt idx="53">
                  <c:v>All Others</c:v>
                </c:pt>
                <c:pt idx="54">
                  <c:v>All Others</c:v>
                </c:pt>
                <c:pt idx="55">
                  <c:v>Lactalis: A</c:v>
                </c:pt>
                <c:pt idx="56">
                  <c:v>All Others</c:v>
                </c:pt>
                <c:pt idx="57">
                  <c:v>All Others</c:v>
                </c:pt>
                <c:pt idx="58">
                  <c:v>All Others</c:v>
                </c:pt>
                <c:pt idx="59">
                  <c:v>All Others</c:v>
                </c:pt>
              </c:strCache>
            </c:strRef>
          </c:cat>
          <c:val>
            <c:numRef>
              <c:f>Sheet1!$B$2:$B$61</c:f>
              <c:numCache>
                <c:formatCode>General</c:formatCode>
                <c:ptCount val="60"/>
                <c:pt idx="0">
                  <c:v>0.74</c:v>
                </c:pt>
                <c:pt idx="1">
                  <c:v>0.66</c:v>
                </c:pt>
                <c:pt idx="2">
                  <c:v>0.35</c:v>
                </c:pt>
                <c:pt idx="3">
                  <c:v>0.68</c:v>
                </c:pt>
                <c:pt idx="4">
                  <c:v>0.79</c:v>
                </c:pt>
                <c:pt idx="5">
                  <c:v>0.27</c:v>
                </c:pt>
                <c:pt idx="6">
                  <c:v>0.19</c:v>
                </c:pt>
                <c:pt idx="7">
                  <c:v>0.2</c:v>
                </c:pt>
                <c:pt idx="8">
                  <c:v>0.14000000000000001</c:v>
                </c:pt>
                <c:pt idx="9">
                  <c:v>0.22</c:v>
                </c:pt>
                <c:pt idx="10">
                  <c:v>0.16</c:v>
                </c:pt>
                <c:pt idx="11">
                  <c:v>0.16</c:v>
                </c:pt>
                <c:pt idx="12">
                  <c:v>0.18</c:v>
                </c:pt>
                <c:pt idx="13">
                  <c:v>0.08</c:v>
                </c:pt>
                <c:pt idx="14">
                  <c:v>0.2</c:v>
                </c:pt>
                <c:pt idx="15">
                  <c:v>0.11</c:v>
                </c:pt>
                <c:pt idx="16">
                  <c:v>0.18</c:v>
                </c:pt>
                <c:pt idx="17">
                  <c:v>0.08</c:v>
                </c:pt>
                <c:pt idx="18">
                  <c:v>0.08</c:v>
                </c:pt>
                <c:pt idx="19">
                  <c:v>0.18</c:v>
                </c:pt>
                <c:pt idx="20">
                  <c:v>0.08</c:v>
                </c:pt>
                <c:pt idx="21">
                  <c:v>0.08</c:v>
                </c:pt>
                <c:pt idx="22">
                  <c:v>0.09</c:v>
                </c:pt>
                <c:pt idx="23">
                  <c:v>7.0000000000000007E-2</c:v>
                </c:pt>
                <c:pt idx="24">
                  <c:v>0.08</c:v>
                </c:pt>
                <c:pt idx="25">
                  <c:v>0.1</c:v>
                </c:pt>
                <c:pt idx="26">
                  <c:v>0.06</c:v>
                </c:pt>
                <c:pt idx="27">
                  <c:v>7.0000000000000007E-2</c:v>
                </c:pt>
                <c:pt idx="28">
                  <c:v>0.05</c:v>
                </c:pt>
                <c:pt idx="29">
                  <c:v>0.04</c:v>
                </c:pt>
                <c:pt idx="30">
                  <c:v>0.18</c:v>
                </c:pt>
                <c:pt idx="31">
                  <c:v>0.05</c:v>
                </c:pt>
                <c:pt idx="32">
                  <c:v>0.06</c:v>
                </c:pt>
                <c:pt idx="33">
                  <c:v>0.05</c:v>
                </c:pt>
                <c:pt idx="34">
                  <c:v>0.04</c:v>
                </c:pt>
                <c:pt idx="35">
                  <c:v>0.08</c:v>
                </c:pt>
                <c:pt idx="36">
                  <c:v>0.04</c:v>
                </c:pt>
                <c:pt idx="37">
                  <c:v>0.03</c:v>
                </c:pt>
                <c:pt idx="38">
                  <c:v>0.02</c:v>
                </c:pt>
                <c:pt idx="39">
                  <c:v>0.03</c:v>
                </c:pt>
                <c:pt idx="40">
                  <c:v>0.05</c:v>
                </c:pt>
                <c:pt idx="41">
                  <c:v>0.02</c:v>
                </c:pt>
                <c:pt idx="42">
                  <c:v>0.04</c:v>
                </c:pt>
                <c:pt idx="43">
                  <c:v>0.03</c:v>
                </c:pt>
                <c:pt idx="44">
                  <c:v>0.01</c:v>
                </c:pt>
                <c:pt idx="45">
                  <c:v>0.02</c:v>
                </c:pt>
                <c:pt idx="46">
                  <c:v>0.03</c:v>
                </c:pt>
                <c:pt idx="47">
                  <c:v>0.02</c:v>
                </c:pt>
                <c:pt idx="48">
                  <c:v>0.02</c:v>
                </c:pt>
                <c:pt idx="49">
                  <c:v>0.02</c:v>
                </c:pt>
                <c:pt idx="50">
                  <c:v>0.02</c:v>
                </c:pt>
                <c:pt idx="51">
                  <c:v>0.01</c:v>
                </c:pt>
                <c:pt idx="52">
                  <c:v>0.01</c:v>
                </c:pt>
                <c:pt idx="53">
                  <c:v>0.01</c:v>
                </c:pt>
                <c:pt idx="54">
                  <c:v>0.01</c:v>
                </c:pt>
                <c:pt idx="55">
                  <c:v>0.02</c:v>
                </c:pt>
                <c:pt idx="56">
                  <c:v>0.01</c:v>
                </c:pt>
                <c:pt idx="57">
                  <c:v>0.01</c:v>
                </c:pt>
                <c:pt idx="58">
                  <c:v>0.01</c:v>
                </c:pt>
                <c:pt idx="59">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1</c:f>
              <c:strCache>
                <c:ptCount val="60"/>
                <c:pt idx="0">
                  <c:v>Galbani</c:v>
                </c:pt>
                <c:pt idx="1">
                  <c:v>Salakis</c:v>
                </c:pt>
                <c:pt idx="2">
                  <c:v>Casa Azzurr</c:v>
                </c:pt>
                <c:pt idx="3">
                  <c:v>Salakis</c:v>
                </c:pt>
                <c:pt idx="4">
                  <c:v>Boursin</c:v>
                </c:pt>
                <c:pt idx="5">
                  <c:v>Galbani</c:v>
                </c:pt>
                <c:pt idx="6">
                  <c:v>All Others</c:v>
                </c:pt>
                <c:pt idx="7">
                  <c:v>All Others</c:v>
                </c:pt>
                <c:pt idx="8">
                  <c:v>Islos</c:v>
                </c:pt>
                <c:pt idx="9">
                  <c:v>Casa Azzurr</c:v>
                </c:pt>
                <c:pt idx="10">
                  <c:v>All Others</c:v>
                </c:pt>
                <c:pt idx="11">
                  <c:v>Galbani</c:v>
                </c:pt>
                <c:pt idx="12">
                  <c:v>All Others</c:v>
                </c:pt>
                <c:pt idx="13">
                  <c:v>All Others</c:v>
                </c:pt>
                <c:pt idx="14">
                  <c:v>All Others</c:v>
                </c:pt>
                <c:pt idx="15">
                  <c:v>Salakis</c:v>
                </c:pt>
                <c:pt idx="16">
                  <c:v>All Others</c:v>
                </c:pt>
                <c:pt idx="17">
                  <c:v>All Others</c:v>
                </c:pt>
                <c:pt idx="18">
                  <c:v>Galbani</c:v>
                </c:pt>
                <c:pt idx="19">
                  <c:v>All Others</c:v>
                </c:pt>
                <c:pt idx="20">
                  <c:v>All Others</c:v>
                </c:pt>
                <c:pt idx="21">
                  <c:v>Casa Azzurr</c:v>
                </c:pt>
                <c:pt idx="22">
                  <c:v>Casa Azzurr</c:v>
                </c:pt>
                <c:pt idx="23">
                  <c:v>Galbani</c:v>
                </c:pt>
                <c:pt idx="24">
                  <c:v>All Others</c:v>
                </c:pt>
                <c:pt idx="25">
                  <c:v>All Others</c:v>
                </c:pt>
                <c:pt idx="26">
                  <c:v>Casa Azzurr</c:v>
                </c:pt>
                <c:pt idx="27">
                  <c:v>All Others</c:v>
                </c:pt>
                <c:pt idx="28">
                  <c:v>All Others</c:v>
                </c:pt>
                <c:pt idx="29">
                  <c:v>All Others</c:v>
                </c:pt>
                <c:pt idx="30">
                  <c:v>All Others</c:v>
                </c:pt>
                <c:pt idx="31">
                  <c:v>All Others</c:v>
                </c:pt>
                <c:pt idx="32">
                  <c:v>All Others</c:v>
                </c:pt>
                <c:pt idx="33">
                  <c:v>All Others</c:v>
                </c:pt>
                <c:pt idx="34">
                  <c:v>All Others</c:v>
                </c:pt>
                <c:pt idx="35">
                  <c:v>All Others</c:v>
                </c:pt>
                <c:pt idx="36">
                  <c:v>Galbani</c:v>
                </c:pt>
                <c:pt idx="37">
                  <c:v>All Others</c:v>
                </c:pt>
                <c:pt idx="38">
                  <c:v>All Others</c:v>
                </c:pt>
                <c:pt idx="39">
                  <c:v>All Others</c:v>
                </c:pt>
                <c:pt idx="40">
                  <c:v>All Others</c:v>
                </c:pt>
                <c:pt idx="41">
                  <c:v>All Others</c:v>
                </c:pt>
                <c:pt idx="42">
                  <c:v>All Others</c:v>
                </c:pt>
                <c:pt idx="43">
                  <c:v>All Others</c:v>
                </c:pt>
                <c:pt idx="44">
                  <c:v>All Others</c:v>
                </c:pt>
                <c:pt idx="45">
                  <c:v>All Others</c:v>
                </c:pt>
                <c:pt idx="46">
                  <c:v>All Others</c:v>
                </c:pt>
                <c:pt idx="47">
                  <c:v>All Others</c:v>
                </c:pt>
                <c:pt idx="48">
                  <c:v>All Others</c:v>
                </c:pt>
                <c:pt idx="49">
                  <c:v>All Others</c:v>
                </c:pt>
                <c:pt idx="50">
                  <c:v>All Others</c:v>
                </c:pt>
                <c:pt idx="51">
                  <c:v>All Others</c:v>
                </c:pt>
                <c:pt idx="52">
                  <c:v>Lactalis: A</c:v>
                </c:pt>
                <c:pt idx="53">
                  <c:v>All Others</c:v>
                </c:pt>
                <c:pt idx="54">
                  <c:v>All Others</c:v>
                </c:pt>
                <c:pt idx="55">
                  <c:v>Lactalis: A</c:v>
                </c:pt>
                <c:pt idx="56">
                  <c:v>All Others</c:v>
                </c:pt>
                <c:pt idx="57">
                  <c:v>All Others</c:v>
                </c:pt>
                <c:pt idx="58">
                  <c:v>All Others</c:v>
                </c:pt>
                <c:pt idx="59">
                  <c:v>All Others</c:v>
                </c:pt>
              </c:strCache>
            </c:strRef>
          </c:cat>
          <c:val>
            <c:numRef>
              <c:f>Sheet1!$C$2:$C$61</c:f>
              <c:numCache>
                <c:formatCode>General</c:formatCode>
                <c:ptCount val="60"/>
                <c:pt idx="0">
                  <c:v>0.67707256950215144</c:v>
                </c:pt>
                <c:pt idx="1">
                  <c:v>0.75072889763407002</c:v>
                </c:pt>
                <c:pt idx="2">
                  <c:v>0.81657449046312935</c:v>
                </c:pt>
                <c:pt idx="3">
                  <c:v>0.83178156241394496</c:v>
                </c:pt>
                <c:pt idx="4">
                  <c:v>0.8451598698089472</c:v>
                </c:pt>
                <c:pt idx="5">
                  <c:v>0.85641323164229732</c:v>
                </c:pt>
                <c:pt idx="6">
                  <c:v>0.86652463160857285</c:v>
                </c:pt>
                <c:pt idx="7">
                  <c:v>0.87538228154603703</c:v>
                </c:pt>
                <c:pt idx="8">
                  <c:v>0.88421603320041686</c:v>
                </c:pt>
                <c:pt idx="9">
                  <c:v>0.89235697726751639</c:v>
                </c:pt>
                <c:pt idx="10">
                  <c:v>0.89920401733777977</c:v>
                </c:pt>
                <c:pt idx="11">
                  <c:v>0.90533404825997443</c:v>
                </c:pt>
                <c:pt idx="12">
                  <c:v>0.91051900520060602</c:v>
                </c:pt>
                <c:pt idx="13">
                  <c:v>0.91551659717563538</c:v>
                </c:pt>
                <c:pt idx="14">
                  <c:v>0.92034859952421788</c:v>
                </c:pt>
                <c:pt idx="15">
                  <c:v>0.92875570010444874</c:v>
                </c:pt>
                <c:pt idx="16">
                  <c:v>0.93215125793526099</c:v>
                </c:pt>
                <c:pt idx="17">
                  <c:v>0.93533773611685644</c:v>
                </c:pt>
                <c:pt idx="18">
                  <c:v>0.93849855700468376</c:v>
                </c:pt>
                <c:pt idx="19">
                  <c:v>0.94151289476142352</c:v>
                </c:pt>
                <c:pt idx="20">
                  <c:v>0.94431008568201691</c:v>
                </c:pt>
                <c:pt idx="21">
                  <c:v>0.94942316580677322</c:v>
                </c:pt>
                <c:pt idx="22">
                  <c:v>0.95191404624621045</c:v>
                </c:pt>
                <c:pt idx="23">
                  <c:v>0.95439692015425903</c:v>
                </c:pt>
                <c:pt idx="24">
                  <c:v>0.9568733645749804</c:v>
                </c:pt>
                <c:pt idx="25">
                  <c:v>0.95926895515978472</c:v>
                </c:pt>
                <c:pt idx="26">
                  <c:v>0.9616520507031795</c:v>
                </c:pt>
                <c:pt idx="27">
                  <c:v>0.96395623338796355</c:v>
                </c:pt>
                <c:pt idx="28">
                  <c:v>0.96842503035809802</c:v>
                </c:pt>
                <c:pt idx="29">
                  <c:v>0.97025895063488143</c:v>
                </c:pt>
                <c:pt idx="30">
                  <c:v>0.97203075963786201</c:v>
                </c:pt>
                <c:pt idx="31">
                  <c:v>0.97378503918954473</c:v>
                </c:pt>
                <c:pt idx="32">
                  <c:v>0.97549467626318176</c:v>
                </c:pt>
                <c:pt idx="33">
                  <c:v>0.97663378731983763</c:v>
                </c:pt>
                <c:pt idx="34">
                  <c:v>0.97776240496793121</c:v>
                </c:pt>
                <c:pt idx="35">
                  <c:v>0.97993247825195562</c:v>
                </c:pt>
                <c:pt idx="36">
                  <c:v>0.98182244424845944</c:v>
                </c:pt>
                <c:pt idx="37">
                  <c:v>0.98267501853026751</c:v>
                </c:pt>
                <c:pt idx="38">
                  <c:v>0.98342872428053407</c:v>
                </c:pt>
                <c:pt idx="39">
                  <c:v>0.98412086465686532</c:v>
                </c:pt>
                <c:pt idx="40">
                  <c:v>0.98479996409191961</c:v>
                </c:pt>
                <c:pt idx="41">
                  <c:v>0.98545104066711364</c:v>
                </c:pt>
                <c:pt idx="42">
                  <c:v>0.98608288943586686</c:v>
                </c:pt>
                <c:pt idx="43">
                  <c:v>0.98669884645292438</c:v>
                </c:pt>
                <c:pt idx="44">
                  <c:v>0.98780156418508647</c:v>
                </c:pt>
                <c:pt idx="45">
                  <c:v>0.98834018538759472</c:v>
                </c:pt>
                <c:pt idx="46">
                  <c:v>0.98886261156070321</c:v>
                </c:pt>
                <c:pt idx="47">
                  <c:v>0.98934464114362353</c:v>
                </c:pt>
                <c:pt idx="48">
                  <c:v>0.98980525932063335</c:v>
                </c:pt>
                <c:pt idx="49">
                  <c:v>0.99024100872590581</c:v>
                </c:pt>
                <c:pt idx="50">
                  <c:v>0.99102655863510447</c:v>
                </c:pt>
                <c:pt idx="51">
                  <c:v>0.99141153935270809</c:v>
                </c:pt>
                <c:pt idx="52">
                  <c:v>0.99175873166837891</c:v>
                </c:pt>
                <c:pt idx="53">
                  <c:v>0.9920861502777415</c:v>
                </c:pt>
                <c:pt idx="54">
                  <c:v>0.99241211315412425</c:v>
                </c:pt>
                <c:pt idx="55">
                  <c:v>0.99304632748896948</c:v>
                </c:pt>
                <c:pt idx="56">
                  <c:v>0.99333886916235881</c:v>
                </c:pt>
                <c:pt idx="57">
                  <c:v>0.99390618043567636</c:v>
                </c:pt>
                <c:pt idx="58">
                  <c:v>0.99581306932806968</c:v>
                </c:pt>
                <c:pt idx="59">
                  <c:v>0.9978907035678797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7</c:f>
              <c:strCache>
                <c:ptCount val="146"/>
                <c:pt idx="0">
                  <c:v>Private Lab</c:v>
                </c:pt>
                <c:pt idx="1">
                  <c:v>Private Lab</c:v>
                </c:pt>
                <c:pt idx="2">
                  <c:v>Private Lab</c:v>
                </c:pt>
                <c:pt idx="3">
                  <c:v>Private Lab</c:v>
                </c:pt>
                <c:pt idx="4">
                  <c:v>Galbani</c:v>
                </c:pt>
                <c:pt idx="5">
                  <c:v>Galbani</c:v>
                </c:pt>
                <c:pt idx="6">
                  <c:v>Galbani</c:v>
                </c:pt>
                <c:pt idx="7">
                  <c:v>Salakis</c:v>
                </c:pt>
                <c:pt idx="8">
                  <c:v>Private Lab</c:v>
                </c:pt>
                <c:pt idx="9">
                  <c:v>Private Lab</c:v>
                </c:pt>
                <c:pt idx="10">
                  <c:v>Private Lab</c:v>
                </c:pt>
                <c:pt idx="11">
                  <c:v>Private Lab</c:v>
                </c:pt>
                <c:pt idx="12">
                  <c:v>Salakis</c:v>
                </c:pt>
                <c:pt idx="13">
                  <c:v>Galbani</c:v>
                </c:pt>
                <c:pt idx="14">
                  <c:v>Galbani</c:v>
                </c:pt>
                <c:pt idx="15">
                  <c:v>Islos</c:v>
                </c:pt>
                <c:pt idx="16">
                  <c:v>Private Lab</c:v>
                </c:pt>
                <c:pt idx="17">
                  <c:v>Private Lab</c:v>
                </c:pt>
                <c:pt idx="18">
                  <c:v>All Others</c:v>
                </c:pt>
                <c:pt idx="19">
                  <c:v>Private Lab</c:v>
                </c:pt>
                <c:pt idx="20">
                  <c:v>Galbani</c:v>
                </c:pt>
                <c:pt idx="21">
                  <c:v>Private Lab</c:v>
                </c:pt>
                <c:pt idx="22">
                  <c:v>Casa Azzurr</c:v>
                </c:pt>
                <c:pt idx="23">
                  <c:v>Les Mousque</c:v>
                </c:pt>
                <c:pt idx="24">
                  <c:v>Salakis</c:v>
                </c:pt>
                <c:pt idx="25">
                  <c:v>Salakis</c:v>
                </c:pt>
                <c:pt idx="26">
                  <c:v>Casa Azzurr</c:v>
                </c:pt>
                <c:pt idx="27">
                  <c:v>Private Lab</c:v>
                </c:pt>
                <c:pt idx="28">
                  <c:v>Casa Azzurr</c:v>
                </c:pt>
                <c:pt idx="29">
                  <c:v>Galbani</c:v>
                </c:pt>
                <c:pt idx="30">
                  <c:v>Private Lab</c:v>
                </c:pt>
                <c:pt idx="31">
                  <c:v>Casa Azzurr</c:v>
                </c:pt>
                <c:pt idx="32">
                  <c:v>Casa Azzurr</c:v>
                </c:pt>
                <c:pt idx="33">
                  <c:v>Boursin</c:v>
                </c:pt>
                <c:pt idx="34">
                  <c:v>Private Lab</c:v>
                </c:pt>
                <c:pt idx="35">
                  <c:v>Galbani</c:v>
                </c:pt>
                <c:pt idx="36">
                  <c:v>Salakis</c:v>
                </c:pt>
                <c:pt idx="37">
                  <c:v>Private Lab</c:v>
                </c:pt>
                <c:pt idx="38">
                  <c:v>Private Lab</c:v>
                </c:pt>
                <c:pt idx="39">
                  <c:v>Galbani</c:v>
                </c:pt>
                <c:pt idx="40">
                  <c:v>Casa Azzurr</c:v>
                </c:pt>
                <c:pt idx="41">
                  <c:v>Casa Azzurr</c:v>
                </c:pt>
                <c:pt idx="42">
                  <c:v>Private Lab</c:v>
                </c:pt>
                <c:pt idx="43">
                  <c:v>Private Lab</c:v>
                </c:pt>
                <c:pt idx="44">
                  <c:v>Salakis</c:v>
                </c:pt>
                <c:pt idx="45">
                  <c:v>Galbani</c:v>
                </c:pt>
                <c:pt idx="46">
                  <c:v>Galbani</c:v>
                </c:pt>
                <c:pt idx="47">
                  <c:v>Galbani</c:v>
                </c:pt>
                <c:pt idx="48">
                  <c:v>All Others</c:v>
                </c:pt>
                <c:pt idx="49">
                  <c:v>Boursin</c:v>
                </c:pt>
                <c:pt idx="50">
                  <c:v>Casa Azzurr</c:v>
                </c:pt>
                <c:pt idx="51">
                  <c:v>All Others</c:v>
                </c:pt>
                <c:pt idx="52">
                  <c:v>All Others</c:v>
                </c:pt>
                <c:pt idx="53">
                  <c:v>Islos</c:v>
                </c:pt>
                <c:pt idx="54">
                  <c:v>All Others</c:v>
                </c:pt>
                <c:pt idx="55">
                  <c:v>Casa Azzurr</c:v>
                </c:pt>
                <c:pt idx="56">
                  <c:v>Islos</c:v>
                </c:pt>
                <c:pt idx="57">
                  <c:v>Galbani</c:v>
                </c:pt>
                <c:pt idx="58">
                  <c:v>All Others</c:v>
                </c:pt>
                <c:pt idx="59">
                  <c:v>Lactalis: A</c:v>
                </c:pt>
                <c:pt idx="60">
                  <c:v>Salakis</c:v>
                </c:pt>
                <c:pt idx="61">
                  <c:v>All Others</c:v>
                </c:pt>
                <c:pt idx="62">
                  <c:v>Les Mousque</c:v>
                </c:pt>
                <c:pt idx="63">
                  <c:v>All Others</c:v>
                </c:pt>
                <c:pt idx="64">
                  <c:v>Boursin</c:v>
                </c:pt>
                <c:pt idx="65">
                  <c:v>Galbani</c:v>
                </c:pt>
                <c:pt idx="66">
                  <c:v>All Others</c:v>
                </c:pt>
                <c:pt idx="67">
                  <c:v>Boursin</c:v>
                </c:pt>
                <c:pt idx="68">
                  <c:v>All Others</c:v>
                </c:pt>
                <c:pt idx="69">
                  <c:v>All Others</c:v>
                </c:pt>
                <c:pt idx="70">
                  <c:v>All Others</c:v>
                </c:pt>
                <c:pt idx="71">
                  <c:v>Boursin</c:v>
                </c:pt>
                <c:pt idx="72">
                  <c:v>Salakis</c:v>
                </c:pt>
                <c:pt idx="73">
                  <c:v>All Others</c:v>
                </c:pt>
                <c:pt idx="74">
                  <c:v>All Others</c:v>
                </c:pt>
                <c:pt idx="75">
                  <c:v>All Others</c:v>
                </c:pt>
                <c:pt idx="76">
                  <c:v>Salakis</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All Others</c:v>
                </c:pt>
                <c:pt idx="94">
                  <c:v>All Others</c:v>
                </c:pt>
                <c:pt idx="95">
                  <c:v>All Others</c:v>
                </c:pt>
                <c:pt idx="96">
                  <c:v>Private Lab</c:v>
                </c:pt>
                <c:pt idx="97">
                  <c:v>All Others</c:v>
                </c:pt>
                <c:pt idx="98">
                  <c:v>All Others</c:v>
                </c:pt>
                <c:pt idx="99">
                  <c:v>All Others</c:v>
                </c:pt>
                <c:pt idx="100">
                  <c:v>All Others</c:v>
                </c:pt>
                <c:pt idx="101">
                  <c:v>Casa Azzurr</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Other Suppl</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strCache>
            </c:strRef>
          </c:cat>
          <c:val>
            <c:numRef>
              <c:f>Sheet1!$B$2:$B$147</c:f>
              <c:numCache>
                <c:formatCode>General</c:formatCode>
                <c:ptCount val="146"/>
                <c:pt idx="0">
                  <c:v>1</c:v>
                </c:pt>
                <c:pt idx="1">
                  <c:v>0.99</c:v>
                </c:pt>
                <c:pt idx="2">
                  <c:v>0.98</c:v>
                </c:pt>
                <c:pt idx="3">
                  <c:v>0.97</c:v>
                </c:pt>
                <c:pt idx="4">
                  <c:v>0.99</c:v>
                </c:pt>
                <c:pt idx="5">
                  <c:v>0.97</c:v>
                </c:pt>
                <c:pt idx="6">
                  <c:v>0.97</c:v>
                </c:pt>
                <c:pt idx="7">
                  <c:v>0.98</c:v>
                </c:pt>
                <c:pt idx="8">
                  <c:v>0.99</c:v>
                </c:pt>
                <c:pt idx="9">
                  <c:v>0.99</c:v>
                </c:pt>
                <c:pt idx="10">
                  <c:v>0.99</c:v>
                </c:pt>
                <c:pt idx="11">
                  <c:v>0.99</c:v>
                </c:pt>
                <c:pt idx="12">
                  <c:v>1</c:v>
                </c:pt>
                <c:pt idx="13">
                  <c:v>0.98</c:v>
                </c:pt>
                <c:pt idx="14">
                  <c:v>0.93</c:v>
                </c:pt>
                <c:pt idx="15">
                  <c:v>0.89</c:v>
                </c:pt>
                <c:pt idx="16">
                  <c:v>0.99</c:v>
                </c:pt>
                <c:pt idx="17">
                  <c:v>0.98</c:v>
                </c:pt>
                <c:pt idx="18">
                  <c:v>0.42</c:v>
                </c:pt>
                <c:pt idx="19">
                  <c:v>0.99</c:v>
                </c:pt>
                <c:pt idx="20">
                  <c:v>0.96</c:v>
                </c:pt>
                <c:pt idx="21">
                  <c:v>0.75</c:v>
                </c:pt>
                <c:pt idx="22">
                  <c:v>0.94</c:v>
                </c:pt>
                <c:pt idx="23">
                  <c:v>0.92</c:v>
                </c:pt>
                <c:pt idx="24">
                  <c:v>0.97</c:v>
                </c:pt>
                <c:pt idx="25">
                  <c:v>0.9</c:v>
                </c:pt>
                <c:pt idx="26">
                  <c:v>0.67</c:v>
                </c:pt>
                <c:pt idx="27">
                  <c:v>0.87</c:v>
                </c:pt>
                <c:pt idx="28">
                  <c:v>0.47</c:v>
                </c:pt>
                <c:pt idx="29">
                  <c:v>0.9</c:v>
                </c:pt>
                <c:pt idx="30">
                  <c:v>0.56999999999999995</c:v>
                </c:pt>
                <c:pt idx="31">
                  <c:v>0.61</c:v>
                </c:pt>
                <c:pt idx="32">
                  <c:v>0.68</c:v>
                </c:pt>
                <c:pt idx="33">
                  <c:v>0.98</c:v>
                </c:pt>
                <c:pt idx="34">
                  <c:v>0.94</c:v>
                </c:pt>
                <c:pt idx="35">
                  <c:v>0.87</c:v>
                </c:pt>
                <c:pt idx="36">
                  <c:v>0.95</c:v>
                </c:pt>
                <c:pt idx="37">
                  <c:v>0.97</c:v>
                </c:pt>
                <c:pt idx="38">
                  <c:v>0.77</c:v>
                </c:pt>
                <c:pt idx="39">
                  <c:v>0.44</c:v>
                </c:pt>
                <c:pt idx="40">
                  <c:v>0.33</c:v>
                </c:pt>
                <c:pt idx="41">
                  <c:v>0.4</c:v>
                </c:pt>
                <c:pt idx="42">
                  <c:v>0.89</c:v>
                </c:pt>
                <c:pt idx="43">
                  <c:v>0.45</c:v>
                </c:pt>
                <c:pt idx="44">
                  <c:v>0.5</c:v>
                </c:pt>
                <c:pt idx="45">
                  <c:v>0.33</c:v>
                </c:pt>
                <c:pt idx="46">
                  <c:v>0.52</c:v>
                </c:pt>
                <c:pt idx="47">
                  <c:v>0.28000000000000003</c:v>
                </c:pt>
                <c:pt idx="48">
                  <c:v>0.2</c:v>
                </c:pt>
                <c:pt idx="49">
                  <c:v>0.86</c:v>
                </c:pt>
                <c:pt idx="50">
                  <c:v>0.3</c:v>
                </c:pt>
                <c:pt idx="51">
                  <c:v>0.39</c:v>
                </c:pt>
                <c:pt idx="52">
                  <c:v>0.11</c:v>
                </c:pt>
                <c:pt idx="53">
                  <c:v>0.46</c:v>
                </c:pt>
                <c:pt idx="54">
                  <c:v>0.21</c:v>
                </c:pt>
                <c:pt idx="55">
                  <c:v>0.51</c:v>
                </c:pt>
                <c:pt idx="56">
                  <c:v>0.56000000000000005</c:v>
                </c:pt>
                <c:pt idx="57">
                  <c:v>0.36</c:v>
                </c:pt>
                <c:pt idx="58">
                  <c:v>0.27</c:v>
                </c:pt>
                <c:pt idx="59">
                  <c:v>0.24</c:v>
                </c:pt>
                <c:pt idx="60">
                  <c:v>0.28000000000000003</c:v>
                </c:pt>
                <c:pt idx="61">
                  <c:v>0.31</c:v>
                </c:pt>
                <c:pt idx="62">
                  <c:v>0.56999999999999995</c:v>
                </c:pt>
                <c:pt idx="63">
                  <c:v>0.15</c:v>
                </c:pt>
                <c:pt idx="64">
                  <c:v>0.51</c:v>
                </c:pt>
                <c:pt idx="65">
                  <c:v>0.56000000000000005</c:v>
                </c:pt>
                <c:pt idx="66">
                  <c:v>0.23</c:v>
                </c:pt>
                <c:pt idx="67">
                  <c:v>0.67</c:v>
                </c:pt>
                <c:pt idx="68">
                  <c:v>0.28000000000000003</c:v>
                </c:pt>
                <c:pt idx="69">
                  <c:v>0.13</c:v>
                </c:pt>
                <c:pt idx="70">
                  <c:v>0.15</c:v>
                </c:pt>
                <c:pt idx="71">
                  <c:v>0.4</c:v>
                </c:pt>
                <c:pt idx="72">
                  <c:v>0.24</c:v>
                </c:pt>
                <c:pt idx="73">
                  <c:v>0.05</c:v>
                </c:pt>
                <c:pt idx="74">
                  <c:v>0.44</c:v>
                </c:pt>
                <c:pt idx="75">
                  <c:v>0.06</c:v>
                </c:pt>
                <c:pt idx="76">
                  <c:v>0.23</c:v>
                </c:pt>
                <c:pt idx="77">
                  <c:v>0.16</c:v>
                </c:pt>
                <c:pt idx="78">
                  <c:v>7.0000000000000007E-2</c:v>
                </c:pt>
                <c:pt idx="79">
                  <c:v>0.12</c:v>
                </c:pt>
                <c:pt idx="80">
                  <c:v>0.04</c:v>
                </c:pt>
                <c:pt idx="81">
                  <c:v>0.04</c:v>
                </c:pt>
                <c:pt idx="82">
                  <c:v>0.04</c:v>
                </c:pt>
                <c:pt idx="83">
                  <c:v>0.15</c:v>
                </c:pt>
                <c:pt idx="84">
                  <c:v>0.1</c:v>
                </c:pt>
                <c:pt idx="85">
                  <c:v>0.05</c:v>
                </c:pt>
                <c:pt idx="86">
                  <c:v>0.05</c:v>
                </c:pt>
                <c:pt idx="87">
                  <c:v>7.0000000000000007E-2</c:v>
                </c:pt>
                <c:pt idx="88">
                  <c:v>0.05</c:v>
                </c:pt>
                <c:pt idx="89">
                  <c:v>0.36</c:v>
                </c:pt>
                <c:pt idx="90">
                  <c:v>0.1</c:v>
                </c:pt>
                <c:pt idx="91">
                  <c:v>0.14000000000000001</c:v>
                </c:pt>
                <c:pt idx="92">
                  <c:v>0.01</c:v>
                </c:pt>
                <c:pt idx="93">
                  <c:v>0.08</c:v>
                </c:pt>
                <c:pt idx="94">
                  <c:v>0.03</c:v>
                </c:pt>
                <c:pt idx="95">
                  <c:v>0.05</c:v>
                </c:pt>
                <c:pt idx="96">
                  <c:v>0.16</c:v>
                </c:pt>
                <c:pt idx="97">
                  <c:v>0.14000000000000001</c:v>
                </c:pt>
                <c:pt idx="98">
                  <c:v>7.0000000000000007E-2</c:v>
                </c:pt>
                <c:pt idx="99">
                  <c:v>0.05</c:v>
                </c:pt>
                <c:pt idx="100">
                  <c:v>0.12</c:v>
                </c:pt>
                <c:pt idx="101">
                  <c:v>0.06</c:v>
                </c:pt>
                <c:pt idx="102">
                  <c:v>7.0000000000000007E-2</c:v>
                </c:pt>
                <c:pt idx="103">
                  <c:v>7.0000000000000007E-2</c:v>
                </c:pt>
                <c:pt idx="104">
                  <c:v>0.13</c:v>
                </c:pt>
                <c:pt idx="105">
                  <c:v>0.06</c:v>
                </c:pt>
                <c:pt idx="106">
                  <c:v>0.11</c:v>
                </c:pt>
                <c:pt idx="107">
                  <c:v>0.06</c:v>
                </c:pt>
                <c:pt idx="108">
                  <c:v>0.04</c:v>
                </c:pt>
                <c:pt idx="109">
                  <c:v>0.02</c:v>
                </c:pt>
                <c:pt idx="110">
                  <c:v>0.02</c:v>
                </c:pt>
                <c:pt idx="111">
                  <c:v>7.0000000000000007E-2</c:v>
                </c:pt>
                <c:pt idx="112">
                  <c:v>0.01</c:v>
                </c:pt>
                <c:pt idx="113">
                  <c:v>0.04</c:v>
                </c:pt>
                <c:pt idx="114">
                  <c:v>0.01</c:v>
                </c:pt>
                <c:pt idx="115">
                  <c:v>0.02</c:v>
                </c:pt>
                <c:pt idx="116">
                  <c:v>0.01</c:v>
                </c:pt>
                <c:pt idx="117">
                  <c:v>0.01</c:v>
                </c:pt>
                <c:pt idx="118">
                  <c:v>0.08</c:v>
                </c:pt>
                <c:pt idx="119">
                  <c:v>0.06</c:v>
                </c:pt>
                <c:pt idx="120">
                  <c:v>0.02</c:v>
                </c:pt>
                <c:pt idx="121">
                  <c:v>0.01</c:v>
                </c:pt>
                <c:pt idx="122">
                  <c:v>0.01</c:v>
                </c:pt>
                <c:pt idx="123">
                  <c:v>0.01</c:v>
                </c:pt>
                <c:pt idx="124">
                  <c:v>0.01</c:v>
                </c:pt>
                <c:pt idx="125">
                  <c:v>0.01</c:v>
                </c:pt>
                <c:pt idx="126">
                  <c:v>0.01</c:v>
                </c:pt>
                <c:pt idx="127">
                  <c:v>0.01</c:v>
                </c:pt>
                <c:pt idx="128">
                  <c:v>0.01</c:v>
                </c:pt>
                <c:pt idx="129">
                  <c:v>0.01</c:v>
                </c:pt>
                <c:pt idx="130">
                  <c:v>0.01</c:v>
                </c:pt>
                <c:pt idx="131">
                  <c:v>0.01</c:v>
                </c:pt>
                <c:pt idx="132">
                  <c:v>0.04</c:v>
                </c:pt>
                <c:pt idx="133">
                  <c:v>0.01</c:v>
                </c:pt>
                <c:pt idx="134">
                  <c:v>0.01</c:v>
                </c:pt>
                <c:pt idx="135">
                  <c:v>0.01</c:v>
                </c:pt>
                <c:pt idx="136">
                  <c:v>0.01</c:v>
                </c:pt>
                <c:pt idx="137">
                  <c:v>0.01</c:v>
                </c:pt>
                <c:pt idx="138">
                  <c:v>0.01</c:v>
                </c:pt>
                <c:pt idx="139">
                  <c:v>0.04</c:v>
                </c:pt>
                <c:pt idx="140">
                  <c:v>0.02</c:v>
                </c:pt>
                <c:pt idx="141">
                  <c:v>0.01</c:v>
                </c:pt>
                <c:pt idx="142">
                  <c:v>0.01</c:v>
                </c:pt>
                <c:pt idx="143">
                  <c:v>0.01</c:v>
                </c:pt>
                <c:pt idx="144">
                  <c:v>0.01</c:v>
                </c:pt>
                <c:pt idx="14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7</c:f>
              <c:strCache>
                <c:ptCount val="146"/>
                <c:pt idx="0">
                  <c:v>Private Lab</c:v>
                </c:pt>
                <c:pt idx="1">
                  <c:v>Private Lab</c:v>
                </c:pt>
                <c:pt idx="2">
                  <c:v>Private Lab</c:v>
                </c:pt>
                <c:pt idx="3">
                  <c:v>Private Lab</c:v>
                </c:pt>
                <c:pt idx="4">
                  <c:v>Galbani</c:v>
                </c:pt>
                <c:pt idx="5">
                  <c:v>Galbani</c:v>
                </c:pt>
                <c:pt idx="6">
                  <c:v>Galbani</c:v>
                </c:pt>
                <c:pt idx="7">
                  <c:v>Salakis</c:v>
                </c:pt>
                <c:pt idx="8">
                  <c:v>Private Lab</c:v>
                </c:pt>
                <c:pt idx="9">
                  <c:v>Private Lab</c:v>
                </c:pt>
                <c:pt idx="10">
                  <c:v>Private Lab</c:v>
                </c:pt>
                <c:pt idx="11">
                  <c:v>Private Lab</c:v>
                </c:pt>
                <c:pt idx="12">
                  <c:v>Salakis</c:v>
                </c:pt>
                <c:pt idx="13">
                  <c:v>Galbani</c:v>
                </c:pt>
                <c:pt idx="14">
                  <c:v>Galbani</c:v>
                </c:pt>
                <c:pt idx="15">
                  <c:v>Islos</c:v>
                </c:pt>
                <c:pt idx="16">
                  <c:v>Private Lab</c:v>
                </c:pt>
                <c:pt idx="17">
                  <c:v>Private Lab</c:v>
                </c:pt>
                <c:pt idx="18">
                  <c:v>All Others</c:v>
                </c:pt>
                <c:pt idx="19">
                  <c:v>Private Lab</c:v>
                </c:pt>
                <c:pt idx="20">
                  <c:v>Galbani</c:v>
                </c:pt>
                <c:pt idx="21">
                  <c:v>Private Lab</c:v>
                </c:pt>
                <c:pt idx="22">
                  <c:v>Casa Azzurr</c:v>
                </c:pt>
                <c:pt idx="23">
                  <c:v>Les Mousque</c:v>
                </c:pt>
                <c:pt idx="24">
                  <c:v>Salakis</c:v>
                </c:pt>
                <c:pt idx="25">
                  <c:v>Salakis</c:v>
                </c:pt>
                <c:pt idx="26">
                  <c:v>Casa Azzurr</c:v>
                </c:pt>
                <c:pt idx="27">
                  <c:v>Private Lab</c:v>
                </c:pt>
                <c:pt idx="28">
                  <c:v>Casa Azzurr</c:v>
                </c:pt>
                <c:pt idx="29">
                  <c:v>Galbani</c:v>
                </c:pt>
                <c:pt idx="30">
                  <c:v>Private Lab</c:v>
                </c:pt>
                <c:pt idx="31">
                  <c:v>Casa Azzurr</c:v>
                </c:pt>
                <c:pt idx="32">
                  <c:v>Casa Azzurr</c:v>
                </c:pt>
                <c:pt idx="33">
                  <c:v>Boursin</c:v>
                </c:pt>
                <c:pt idx="34">
                  <c:v>Private Lab</c:v>
                </c:pt>
                <c:pt idx="35">
                  <c:v>Galbani</c:v>
                </c:pt>
                <c:pt idx="36">
                  <c:v>Salakis</c:v>
                </c:pt>
                <c:pt idx="37">
                  <c:v>Private Lab</c:v>
                </c:pt>
                <c:pt idx="38">
                  <c:v>Private Lab</c:v>
                </c:pt>
                <c:pt idx="39">
                  <c:v>Galbani</c:v>
                </c:pt>
                <c:pt idx="40">
                  <c:v>Casa Azzurr</c:v>
                </c:pt>
                <c:pt idx="41">
                  <c:v>Casa Azzurr</c:v>
                </c:pt>
                <c:pt idx="42">
                  <c:v>Private Lab</c:v>
                </c:pt>
                <c:pt idx="43">
                  <c:v>Private Lab</c:v>
                </c:pt>
                <c:pt idx="44">
                  <c:v>Salakis</c:v>
                </c:pt>
                <c:pt idx="45">
                  <c:v>Galbani</c:v>
                </c:pt>
                <c:pt idx="46">
                  <c:v>Galbani</c:v>
                </c:pt>
                <c:pt idx="47">
                  <c:v>Galbani</c:v>
                </c:pt>
                <c:pt idx="48">
                  <c:v>All Others</c:v>
                </c:pt>
                <c:pt idx="49">
                  <c:v>Boursin</c:v>
                </c:pt>
                <c:pt idx="50">
                  <c:v>Casa Azzurr</c:v>
                </c:pt>
                <c:pt idx="51">
                  <c:v>All Others</c:v>
                </c:pt>
                <c:pt idx="52">
                  <c:v>All Others</c:v>
                </c:pt>
                <c:pt idx="53">
                  <c:v>Islos</c:v>
                </c:pt>
                <c:pt idx="54">
                  <c:v>All Others</c:v>
                </c:pt>
                <c:pt idx="55">
                  <c:v>Casa Azzurr</c:v>
                </c:pt>
                <c:pt idx="56">
                  <c:v>Islos</c:v>
                </c:pt>
                <c:pt idx="57">
                  <c:v>Galbani</c:v>
                </c:pt>
                <c:pt idx="58">
                  <c:v>All Others</c:v>
                </c:pt>
                <c:pt idx="59">
                  <c:v>Lactalis: A</c:v>
                </c:pt>
                <c:pt idx="60">
                  <c:v>Salakis</c:v>
                </c:pt>
                <c:pt idx="61">
                  <c:v>All Others</c:v>
                </c:pt>
                <c:pt idx="62">
                  <c:v>Les Mousque</c:v>
                </c:pt>
                <c:pt idx="63">
                  <c:v>All Others</c:v>
                </c:pt>
                <c:pt idx="64">
                  <c:v>Boursin</c:v>
                </c:pt>
                <c:pt idx="65">
                  <c:v>Galbani</c:v>
                </c:pt>
                <c:pt idx="66">
                  <c:v>All Others</c:v>
                </c:pt>
                <c:pt idx="67">
                  <c:v>Boursin</c:v>
                </c:pt>
                <c:pt idx="68">
                  <c:v>All Others</c:v>
                </c:pt>
                <c:pt idx="69">
                  <c:v>All Others</c:v>
                </c:pt>
                <c:pt idx="70">
                  <c:v>All Others</c:v>
                </c:pt>
                <c:pt idx="71">
                  <c:v>Boursin</c:v>
                </c:pt>
                <c:pt idx="72">
                  <c:v>Salakis</c:v>
                </c:pt>
                <c:pt idx="73">
                  <c:v>All Others</c:v>
                </c:pt>
                <c:pt idx="74">
                  <c:v>All Others</c:v>
                </c:pt>
                <c:pt idx="75">
                  <c:v>All Others</c:v>
                </c:pt>
                <c:pt idx="76">
                  <c:v>Salakis</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All Others</c:v>
                </c:pt>
                <c:pt idx="94">
                  <c:v>All Others</c:v>
                </c:pt>
                <c:pt idx="95">
                  <c:v>All Others</c:v>
                </c:pt>
                <c:pt idx="96">
                  <c:v>Private Lab</c:v>
                </c:pt>
                <c:pt idx="97">
                  <c:v>All Others</c:v>
                </c:pt>
                <c:pt idx="98">
                  <c:v>All Others</c:v>
                </c:pt>
                <c:pt idx="99">
                  <c:v>All Others</c:v>
                </c:pt>
                <c:pt idx="100">
                  <c:v>All Others</c:v>
                </c:pt>
                <c:pt idx="101">
                  <c:v>Casa Azzurr</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Other Suppl</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strCache>
            </c:strRef>
          </c:cat>
          <c:val>
            <c:numRef>
              <c:f>Sheet1!$C$2:$C$147</c:f>
              <c:numCache>
                <c:formatCode>General</c:formatCode>
                <c:ptCount val="146"/>
                <c:pt idx="0">
                  <c:v>8.1251741982881001E-2</c:v>
                </c:pt>
                <c:pt idx="1">
                  <c:v>0.153935917329316</c:v>
                </c:pt>
                <c:pt idx="2">
                  <c:v>0.22576839003946322</c:v>
                </c:pt>
                <c:pt idx="3">
                  <c:v>0.26690844168541228</c:v>
                </c:pt>
                <c:pt idx="4">
                  <c:v>0.30626457082566499</c:v>
                </c:pt>
                <c:pt idx="5">
                  <c:v>0.34146629925900918</c:v>
                </c:pt>
                <c:pt idx="6">
                  <c:v>0.37533759839123976</c:v>
                </c:pt>
                <c:pt idx="7">
                  <c:v>0.40879983183561419</c:v>
                </c:pt>
                <c:pt idx="8">
                  <c:v>0.44191923742527062</c:v>
                </c:pt>
                <c:pt idx="9">
                  <c:v>0.47417383462797041</c:v>
                </c:pt>
                <c:pt idx="10">
                  <c:v>0.50160074763417362</c:v>
                </c:pt>
                <c:pt idx="11">
                  <c:v>0.52510984807427497</c:v>
                </c:pt>
                <c:pt idx="12">
                  <c:v>0.54828203780828133</c:v>
                </c:pt>
                <c:pt idx="13">
                  <c:v>0.57073654098700044</c:v>
                </c:pt>
                <c:pt idx="14">
                  <c:v>0.59308536682543778</c:v>
                </c:pt>
                <c:pt idx="15">
                  <c:v>0.61540810341767416</c:v>
                </c:pt>
                <c:pt idx="16">
                  <c:v>0.63593562112957047</c:v>
                </c:pt>
                <c:pt idx="17">
                  <c:v>0.65570359212732665</c:v>
                </c:pt>
                <c:pt idx="18">
                  <c:v>0.67510602026594058</c:v>
                </c:pt>
                <c:pt idx="19">
                  <c:v>0.69428046702538115</c:v>
                </c:pt>
                <c:pt idx="20">
                  <c:v>0.71222715434762374</c:v>
                </c:pt>
                <c:pt idx="21">
                  <c:v>0.7288933902686916</c:v>
                </c:pt>
                <c:pt idx="22">
                  <c:v>0.74321367236899671</c:v>
                </c:pt>
                <c:pt idx="23">
                  <c:v>0.75609532937208757</c:v>
                </c:pt>
                <c:pt idx="24">
                  <c:v>0.76740610567093404</c:v>
                </c:pt>
                <c:pt idx="25">
                  <c:v>0.77852259410631941</c:v>
                </c:pt>
                <c:pt idx="26">
                  <c:v>0.78930537492019481</c:v>
                </c:pt>
                <c:pt idx="27">
                  <c:v>0.79873743208024173</c:v>
                </c:pt>
                <c:pt idx="28">
                  <c:v>0.80793189860735981</c:v>
                </c:pt>
                <c:pt idx="29">
                  <c:v>0.8170391972219132</c:v>
                </c:pt>
                <c:pt idx="30">
                  <c:v>0.82597876178872642</c:v>
                </c:pt>
                <c:pt idx="31">
                  <c:v>0.83488407046619795</c:v>
                </c:pt>
                <c:pt idx="32">
                  <c:v>0.84318402060810804</c:v>
                </c:pt>
                <c:pt idx="33">
                  <c:v>0.85125833666947204</c:v>
                </c:pt>
                <c:pt idx="34">
                  <c:v>0.85913367027012033</c:v>
                </c:pt>
                <c:pt idx="35">
                  <c:v>0.86676691424880425</c:v>
                </c:pt>
                <c:pt idx="36">
                  <c:v>0.87386284690109006</c:v>
                </c:pt>
                <c:pt idx="37">
                  <c:v>0.88084332180214719</c:v>
                </c:pt>
                <c:pt idx="38">
                  <c:v>0.88745991651392298</c:v>
                </c:pt>
                <c:pt idx="39">
                  <c:v>0.89396601703302558</c:v>
                </c:pt>
                <c:pt idx="40">
                  <c:v>0.90030064249720088</c:v>
                </c:pt>
                <c:pt idx="41">
                  <c:v>0.90653448082656785</c:v>
                </c:pt>
                <c:pt idx="42">
                  <c:v>0.91266611386153917</c:v>
                </c:pt>
                <c:pt idx="43">
                  <c:v>0.91820622764243898</c:v>
                </c:pt>
                <c:pt idx="44">
                  <c:v>0.92370259853537851</c:v>
                </c:pt>
                <c:pt idx="45">
                  <c:v>0.92855935500341491</c:v>
                </c:pt>
                <c:pt idx="46">
                  <c:v>0.93223035889927042</c:v>
                </c:pt>
                <c:pt idx="47">
                  <c:v>0.93552826456852722</c:v>
                </c:pt>
                <c:pt idx="48">
                  <c:v>0.93867618763591254</c:v>
                </c:pt>
                <c:pt idx="49">
                  <c:v>0.94163036076243878</c:v>
                </c:pt>
                <c:pt idx="50">
                  <c:v>0.94457394659411498</c:v>
                </c:pt>
                <c:pt idx="51">
                  <c:v>0.94750173706211183</c:v>
                </c:pt>
                <c:pt idx="52">
                  <c:v>0.95042950307908125</c:v>
                </c:pt>
                <c:pt idx="53">
                  <c:v>0.9532046457832235</c:v>
                </c:pt>
                <c:pt idx="54">
                  <c:v>0.95583750795911504</c:v>
                </c:pt>
                <c:pt idx="55">
                  <c:v>0.95838831248716172</c:v>
                </c:pt>
                <c:pt idx="56">
                  <c:v>0.96093195286418975</c:v>
                </c:pt>
                <c:pt idx="57">
                  <c:v>0.96343730293236041</c:v>
                </c:pt>
                <c:pt idx="58">
                  <c:v>0.96544502569155033</c:v>
                </c:pt>
                <c:pt idx="59">
                  <c:v>0.96745211272402865</c:v>
                </c:pt>
                <c:pt idx="60">
                  <c:v>0.9693088748402523</c:v>
                </c:pt>
                <c:pt idx="61">
                  <c:v>0.97102025114774959</c:v>
                </c:pt>
                <c:pt idx="62">
                  <c:v>0.97243151554533969</c:v>
                </c:pt>
                <c:pt idx="63">
                  <c:v>0.97384109282204145</c:v>
                </c:pt>
                <c:pt idx="64">
                  <c:v>0.97522142667001188</c:v>
                </c:pt>
                <c:pt idx="65">
                  <c:v>0.97650909112425999</c:v>
                </c:pt>
                <c:pt idx="66">
                  <c:v>0.97777191333470281</c:v>
                </c:pt>
                <c:pt idx="67">
                  <c:v>0.97888624445594352</c:v>
                </c:pt>
                <c:pt idx="68">
                  <c:v>0.97999081961726464</c:v>
                </c:pt>
                <c:pt idx="69">
                  <c:v>0.98090012887402989</c:v>
                </c:pt>
                <c:pt idx="70">
                  <c:v>0.98177281049179888</c:v>
                </c:pt>
                <c:pt idx="71">
                  <c:v>0.98263392677362305</c:v>
                </c:pt>
                <c:pt idx="72">
                  <c:v>0.9834551634298111</c:v>
                </c:pt>
                <c:pt idx="73">
                  <c:v>0.98424781683500662</c:v>
                </c:pt>
                <c:pt idx="74">
                  <c:v>0.9849133982509739</c:v>
                </c:pt>
                <c:pt idx="75">
                  <c:v>0.98557330702859203</c:v>
                </c:pt>
                <c:pt idx="76">
                  <c:v>0.98621529320314982</c:v>
                </c:pt>
                <c:pt idx="77">
                  <c:v>0.98684796353628068</c:v>
                </c:pt>
                <c:pt idx="78">
                  <c:v>0.98740757419963776</c:v>
                </c:pt>
                <c:pt idx="79">
                  <c:v>0.98791481076237397</c:v>
                </c:pt>
                <c:pt idx="80">
                  <c:v>0.98839828092650905</c:v>
                </c:pt>
                <c:pt idx="81">
                  <c:v>0.98886717827833315</c:v>
                </c:pt>
                <c:pt idx="82">
                  <c:v>0.98932045142366953</c:v>
                </c:pt>
                <c:pt idx="83">
                  <c:v>0.9897645554337432</c:v>
                </c:pt>
                <c:pt idx="84">
                  <c:v>0.99020191096026344</c:v>
                </c:pt>
                <c:pt idx="85">
                  <c:v>0.99063068417617772</c:v>
                </c:pt>
                <c:pt idx="86">
                  <c:v>0.9910428306934822</c:v>
                </c:pt>
                <c:pt idx="87">
                  <c:v>0.99142808108068259</c:v>
                </c:pt>
                <c:pt idx="88">
                  <c:v>0.99180897918501154</c:v>
                </c:pt>
                <c:pt idx="89">
                  <c:v>0.99217936334757251</c:v>
                </c:pt>
                <c:pt idx="90">
                  <c:v>0.99253529695295939</c:v>
                </c:pt>
                <c:pt idx="91">
                  <c:v>0.99288152350048142</c:v>
                </c:pt>
                <c:pt idx="92">
                  <c:v>0.99321158791891362</c:v>
                </c:pt>
                <c:pt idx="93">
                  <c:v>0.99353869376303439</c:v>
                </c:pt>
                <c:pt idx="94">
                  <c:v>0.99385946679106696</c:v>
                </c:pt>
                <c:pt idx="95">
                  <c:v>0.99417921287595012</c:v>
                </c:pt>
                <c:pt idx="96">
                  <c:v>0.99449600038652186</c:v>
                </c:pt>
                <c:pt idx="97">
                  <c:v>0.99480963371456321</c:v>
                </c:pt>
                <c:pt idx="98">
                  <c:v>0.99512082193986784</c:v>
                </c:pt>
                <c:pt idx="99">
                  <c:v>0.99541993135765294</c:v>
                </c:pt>
                <c:pt idx="100">
                  <c:v>0.99571114309359843</c:v>
                </c:pt>
                <c:pt idx="101">
                  <c:v>0.9959981492528367</c:v>
                </c:pt>
                <c:pt idx="102">
                  <c:v>0.99625652325902769</c:v>
                </c:pt>
                <c:pt idx="103">
                  <c:v>0.99648983496216714</c:v>
                </c:pt>
                <c:pt idx="104">
                  <c:v>0.99669759534170776</c:v>
                </c:pt>
                <c:pt idx="105">
                  <c:v>0.9969015658120064</c:v>
                </c:pt>
                <c:pt idx="106">
                  <c:v>0.99709189260903408</c:v>
                </c:pt>
                <c:pt idx="107">
                  <c:v>0.99726979828415907</c:v>
                </c:pt>
                <c:pt idx="108">
                  <c:v>0.99744215357607169</c:v>
                </c:pt>
                <c:pt idx="109">
                  <c:v>0.99761318851250647</c:v>
                </c:pt>
                <c:pt idx="110">
                  <c:v>0.99777913763524884</c:v>
                </c:pt>
                <c:pt idx="111">
                  <c:v>0.99793041614157074</c:v>
                </c:pt>
                <c:pt idx="112">
                  <c:v>0.99807030046913947</c:v>
                </c:pt>
                <c:pt idx="113">
                  <c:v>0.99820514788507053</c:v>
                </c:pt>
                <c:pt idx="114">
                  <c:v>0.99833576527326706</c:v>
                </c:pt>
                <c:pt idx="115">
                  <c:v>0.99845586871969561</c:v>
                </c:pt>
                <c:pt idx="116">
                  <c:v>0.99857367376955164</c:v>
                </c:pt>
                <c:pt idx="117">
                  <c:v>0.99868345888243115</c:v>
                </c:pt>
                <c:pt idx="118">
                  <c:v>0.99879165467853182</c:v>
                </c:pt>
                <c:pt idx="119">
                  <c:v>0.99889474020991265</c:v>
                </c:pt>
                <c:pt idx="120">
                  <c:v>0.9989929110847926</c:v>
                </c:pt>
                <c:pt idx="121">
                  <c:v>0.99907985893811102</c:v>
                </c:pt>
                <c:pt idx="122">
                  <c:v>0.99914709926337131</c:v>
                </c:pt>
                <c:pt idx="123">
                  <c:v>0.99921277472288006</c:v>
                </c:pt>
                <c:pt idx="124">
                  <c:v>0.99927524709780369</c:v>
                </c:pt>
                <c:pt idx="125">
                  <c:v>0.99933366060218431</c:v>
                </c:pt>
                <c:pt idx="126">
                  <c:v>0.99938794188293989</c:v>
                </c:pt>
                <c:pt idx="127">
                  <c:v>0.99943784642979672</c:v>
                </c:pt>
                <c:pt idx="128">
                  <c:v>0.99948613720884727</c:v>
                </c:pt>
                <c:pt idx="129">
                  <c:v>0.9995324963567358</c:v>
                </c:pt>
                <c:pt idx="130">
                  <c:v>0.99957112897997624</c:v>
                </c:pt>
                <c:pt idx="131">
                  <c:v>0.99960790332513683</c:v>
                </c:pt>
                <c:pt idx="132">
                  <c:v>0.99964421310077733</c:v>
                </c:pt>
                <c:pt idx="133">
                  <c:v>0.99967866459833798</c:v>
                </c:pt>
                <c:pt idx="134">
                  <c:v>0.99970864155789041</c:v>
                </c:pt>
                <c:pt idx="135">
                  <c:v>0.99973734706401973</c:v>
                </c:pt>
                <c:pt idx="136">
                  <c:v>0.99976539239241013</c:v>
                </c:pt>
                <c:pt idx="137">
                  <c:v>0.99981473456563752</c:v>
                </c:pt>
                <c:pt idx="138">
                  <c:v>0.99983825645396496</c:v>
                </c:pt>
                <c:pt idx="139">
                  <c:v>0.99986084920325247</c:v>
                </c:pt>
                <c:pt idx="140">
                  <c:v>0.99988165702754206</c:v>
                </c:pt>
                <c:pt idx="141">
                  <c:v>0.99991772229290898</c:v>
                </c:pt>
                <c:pt idx="142">
                  <c:v>0.99994610993568245</c:v>
                </c:pt>
                <c:pt idx="143">
                  <c:v>0.99995899562710511</c:v>
                </c:pt>
                <c:pt idx="144">
                  <c:v>0.99996877603805201</c:v>
                </c:pt>
                <c:pt idx="145">
                  <c:v>0.999993618281857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8</c:f>
              <c:strCache>
                <c:ptCount val="147"/>
                <c:pt idx="0">
                  <c:v>Private Lab</c:v>
                </c:pt>
                <c:pt idx="1">
                  <c:v>Private Lab</c:v>
                </c:pt>
                <c:pt idx="2">
                  <c:v>Private Lab</c:v>
                </c:pt>
                <c:pt idx="3">
                  <c:v>Galbani</c:v>
                </c:pt>
                <c:pt idx="4">
                  <c:v>Private Lab</c:v>
                </c:pt>
                <c:pt idx="5">
                  <c:v>Galbani</c:v>
                </c:pt>
                <c:pt idx="6">
                  <c:v>Galbani</c:v>
                </c:pt>
                <c:pt idx="7">
                  <c:v>Private Lab</c:v>
                </c:pt>
                <c:pt idx="8">
                  <c:v>Salakis</c:v>
                </c:pt>
                <c:pt idx="9">
                  <c:v>Private Lab</c:v>
                </c:pt>
                <c:pt idx="10">
                  <c:v>Private Lab</c:v>
                </c:pt>
                <c:pt idx="11">
                  <c:v>All Others</c:v>
                </c:pt>
                <c:pt idx="12">
                  <c:v>Salakis</c:v>
                </c:pt>
                <c:pt idx="13">
                  <c:v>Galbani</c:v>
                </c:pt>
                <c:pt idx="14">
                  <c:v>Islos</c:v>
                </c:pt>
                <c:pt idx="15">
                  <c:v>Private Lab</c:v>
                </c:pt>
                <c:pt idx="16">
                  <c:v>Galbani</c:v>
                </c:pt>
                <c:pt idx="17">
                  <c:v>Private Lab</c:v>
                </c:pt>
                <c:pt idx="18">
                  <c:v>Private Lab</c:v>
                </c:pt>
                <c:pt idx="19">
                  <c:v>Salakis</c:v>
                </c:pt>
                <c:pt idx="20">
                  <c:v>Casa Azzurr</c:v>
                </c:pt>
                <c:pt idx="21">
                  <c:v>Private Lab</c:v>
                </c:pt>
                <c:pt idx="22">
                  <c:v>Private Lab</c:v>
                </c:pt>
                <c:pt idx="23">
                  <c:v>Galbani</c:v>
                </c:pt>
                <c:pt idx="24">
                  <c:v>Casa Azzurr</c:v>
                </c:pt>
                <c:pt idx="25">
                  <c:v>Salakis</c:v>
                </c:pt>
                <c:pt idx="26">
                  <c:v>Casa Azzurr</c:v>
                </c:pt>
                <c:pt idx="27">
                  <c:v>Casa Azzurr</c:v>
                </c:pt>
                <c:pt idx="28">
                  <c:v>Casa Azzurr</c:v>
                </c:pt>
                <c:pt idx="29">
                  <c:v>Private Lab</c:v>
                </c:pt>
                <c:pt idx="30">
                  <c:v>Les Mousque</c:v>
                </c:pt>
                <c:pt idx="31">
                  <c:v>Galbani</c:v>
                </c:pt>
                <c:pt idx="32">
                  <c:v>Galbani</c:v>
                </c:pt>
                <c:pt idx="33">
                  <c:v>Salakis</c:v>
                </c:pt>
                <c:pt idx="34">
                  <c:v>Casa Azzurr</c:v>
                </c:pt>
                <c:pt idx="35">
                  <c:v>Salakis</c:v>
                </c:pt>
                <c:pt idx="36">
                  <c:v>Galbani</c:v>
                </c:pt>
                <c:pt idx="37">
                  <c:v>All Others</c:v>
                </c:pt>
                <c:pt idx="38">
                  <c:v>Private Lab</c:v>
                </c:pt>
                <c:pt idx="39">
                  <c:v>Boursin</c:v>
                </c:pt>
                <c:pt idx="40">
                  <c:v>Galbani</c:v>
                </c:pt>
                <c:pt idx="41">
                  <c:v>Casa Azzurr</c:v>
                </c:pt>
                <c:pt idx="42">
                  <c:v>Private Lab</c:v>
                </c:pt>
                <c:pt idx="43">
                  <c:v>Private Lab</c:v>
                </c:pt>
                <c:pt idx="44">
                  <c:v>Private Lab</c:v>
                </c:pt>
                <c:pt idx="45">
                  <c:v>Private Lab</c:v>
                </c:pt>
                <c:pt idx="46">
                  <c:v>All Others</c:v>
                </c:pt>
                <c:pt idx="47">
                  <c:v>Casa Azzurr</c:v>
                </c:pt>
                <c:pt idx="48">
                  <c:v>Private Lab</c:v>
                </c:pt>
                <c:pt idx="49">
                  <c:v>Galbani</c:v>
                </c:pt>
                <c:pt idx="50">
                  <c:v>Lactalis: A</c:v>
                </c:pt>
                <c:pt idx="51">
                  <c:v>All Others</c:v>
                </c:pt>
                <c:pt idx="52">
                  <c:v>Islos</c:v>
                </c:pt>
                <c:pt idx="53">
                  <c:v>Galbani</c:v>
                </c:pt>
                <c:pt idx="54">
                  <c:v>Casa Azzurr</c:v>
                </c:pt>
                <c:pt idx="55">
                  <c:v>Boursin</c:v>
                </c:pt>
                <c:pt idx="56">
                  <c:v>Salakis</c:v>
                </c:pt>
                <c:pt idx="57">
                  <c:v>Galbani</c:v>
                </c:pt>
                <c:pt idx="58">
                  <c:v>Islos</c:v>
                </c:pt>
                <c:pt idx="59">
                  <c:v>All Others</c:v>
                </c:pt>
                <c:pt idx="60">
                  <c:v>All Others</c:v>
                </c:pt>
                <c:pt idx="61">
                  <c:v>All Others</c:v>
                </c:pt>
                <c:pt idx="62">
                  <c:v>All Others</c:v>
                </c:pt>
                <c:pt idx="63">
                  <c:v>Boursin</c:v>
                </c:pt>
                <c:pt idx="64">
                  <c:v>Galbani</c:v>
                </c:pt>
                <c:pt idx="65">
                  <c:v>All Others</c:v>
                </c:pt>
                <c:pt idx="66">
                  <c:v>All Others</c:v>
                </c:pt>
                <c:pt idx="67">
                  <c:v>Les Mousque</c:v>
                </c:pt>
                <c:pt idx="68">
                  <c:v>Boursin</c:v>
                </c:pt>
                <c:pt idx="69">
                  <c:v>All Others</c:v>
                </c:pt>
                <c:pt idx="70">
                  <c:v>All Others</c:v>
                </c:pt>
                <c:pt idx="71">
                  <c:v>All Others</c:v>
                </c:pt>
                <c:pt idx="72">
                  <c:v>All Others</c:v>
                </c:pt>
                <c:pt idx="73">
                  <c:v>Boursin</c:v>
                </c:pt>
                <c:pt idx="74">
                  <c:v>All Others</c:v>
                </c:pt>
                <c:pt idx="75">
                  <c:v>All Others</c:v>
                </c:pt>
                <c:pt idx="76">
                  <c:v>Salakis</c:v>
                </c:pt>
                <c:pt idx="77">
                  <c:v>All Others</c:v>
                </c:pt>
                <c:pt idx="78">
                  <c:v>Salakis</c:v>
                </c:pt>
                <c:pt idx="79">
                  <c:v>All Others</c:v>
                </c:pt>
                <c:pt idx="80">
                  <c:v>All Others</c:v>
                </c:pt>
                <c:pt idx="81">
                  <c:v>All Others</c:v>
                </c:pt>
                <c:pt idx="82">
                  <c:v>All Others</c:v>
                </c:pt>
                <c:pt idx="83">
                  <c:v>Private Lab</c:v>
                </c:pt>
                <c:pt idx="84">
                  <c:v>All Others</c:v>
                </c:pt>
                <c:pt idx="85">
                  <c:v>Casa Azzurr</c:v>
                </c:pt>
                <c:pt idx="86">
                  <c:v>All Others</c:v>
                </c:pt>
                <c:pt idx="87">
                  <c:v>All Others</c:v>
                </c:pt>
                <c:pt idx="88">
                  <c:v>All Others</c:v>
                </c:pt>
                <c:pt idx="89">
                  <c:v>All Others</c:v>
                </c:pt>
                <c:pt idx="90">
                  <c:v>All Others</c:v>
                </c:pt>
                <c:pt idx="91">
                  <c:v>All Others</c:v>
                </c:pt>
                <c:pt idx="92">
                  <c:v>All Others</c:v>
                </c:pt>
                <c:pt idx="93">
                  <c:v>All Others</c:v>
                </c:pt>
                <c:pt idx="94">
                  <c:v>All Others</c:v>
                </c:pt>
                <c:pt idx="95">
                  <c:v>All Others</c:v>
                </c:pt>
                <c:pt idx="96">
                  <c:v>All Others</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Other Suppl</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strCache>
            </c:strRef>
          </c:cat>
          <c:val>
            <c:numRef>
              <c:f>Sheet1!$B$2:$B$148</c:f>
              <c:numCache>
                <c:formatCode>General</c:formatCode>
                <c:ptCount val="147"/>
                <c:pt idx="0">
                  <c:v>0.99</c:v>
                </c:pt>
                <c:pt idx="1">
                  <c:v>0.98</c:v>
                </c:pt>
                <c:pt idx="2">
                  <c:v>0.98</c:v>
                </c:pt>
                <c:pt idx="3">
                  <c:v>0.98</c:v>
                </c:pt>
                <c:pt idx="4">
                  <c:v>0.99</c:v>
                </c:pt>
                <c:pt idx="5">
                  <c:v>0.99</c:v>
                </c:pt>
                <c:pt idx="6">
                  <c:v>0.99</c:v>
                </c:pt>
                <c:pt idx="7">
                  <c:v>0.98</c:v>
                </c:pt>
                <c:pt idx="8">
                  <c:v>0.98</c:v>
                </c:pt>
                <c:pt idx="9">
                  <c:v>0.98</c:v>
                </c:pt>
                <c:pt idx="10">
                  <c:v>0.99</c:v>
                </c:pt>
                <c:pt idx="11">
                  <c:v>0.63</c:v>
                </c:pt>
                <c:pt idx="12">
                  <c:v>0.99</c:v>
                </c:pt>
                <c:pt idx="13">
                  <c:v>0.98</c:v>
                </c:pt>
                <c:pt idx="14">
                  <c:v>0.98</c:v>
                </c:pt>
                <c:pt idx="15">
                  <c:v>0.99</c:v>
                </c:pt>
                <c:pt idx="16">
                  <c:v>0.99</c:v>
                </c:pt>
                <c:pt idx="17">
                  <c:v>0.99</c:v>
                </c:pt>
                <c:pt idx="18">
                  <c:v>0.99</c:v>
                </c:pt>
                <c:pt idx="19">
                  <c:v>0.99</c:v>
                </c:pt>
                <c:pt idx="20">
                  <c:v>0.95</c:v>
                </c:pt>
                <c:pt idx="21">
                  <c:v>0.85</c:v>
                </c:pt>
                <c:pt idx="22">
                  <c:v>0.98</c:v>
                </c:pt>
                <c:pt idx="23">
                  <c:v>0.99</c:v>
                </c:pt>
                <c:pt idx="24">
                  <c:v>0.81</c:v>
                </c:pt>
                <c:pt idx="25">
                  <c:v>0.99</c:v>
                </c:pt>
                <c:pt idx="26">
                  <c:v>0.81</c:v>
                </c:pt>
                <c:pt idx="27">
                  <c:v>0.86</c:v>
                </c:pt>
                <c:pt idx="28">
                  <c:v>0.81</c:v>
                </c:pt>
                <c:pt idx="29">
                  <c:v>0.78</c:v>
                </c:pt>
                <c:pt idx="30">
                  <c:v>0.98</c:v>
                </c:pt>
                <c:pt idx="31">
                  <c:v>0.97</c:v>
                </c:pt>
                <c:pt idx="32">
                  <c:v>0.8</c:v>
                </c:pt>
                <c:pt idx="33">
                  <c:v>0.88</c:v>
                </c:pt>
                <c:pt idx="34">
                  <c:v>0.74</c:v>
                </c:pt>
                <c:pt idx="35">
                  <c:v>0.98</c:v>
                </c:pt>
                <c:pt idx="36">
                  <c:v>0.76</c:v>
                </c:pt>
                <c:pt idx="37">
                  <c:v>0.56999999999999995</c:v>
                </c:pt>
                <c:pt idx="38">
                  <c:v>0.96</c:v>
                </c:pt>
                <c:pt idx="39">
                  <c:v>0.99</c:v>
                </c:pt>
                <c:pt idx="40">
                  <c:v>0.98</c:v>
                </c:pt>
                <c:pt idx="41">
                  <c:v>0.53</c:v>
                </c:pt>
                <c:pt idx="42">
                  <c:v>0.98</c:v>
                </c:pt>
                <c:pt idx="43">
                  <c:v>0.99</c:v>
                </c:pt>
                <c:pt idx="44">
                  <c:v>0.99</c:v>
                </c:pt>
                <c:pt idx="45">
                  <c:v>0.87</c:v>
                </c:pt>
                <c:pt idx="46">
                  <c:v>0.28999999999999998</c:v>
                </c:pt>
                <c:pt idx="47">
                  <c:v>0.68</c:v>
                </c:pt>
                <c:pt idx="48">
                  <c:v>0.64</c:v>
                </c:pt>
                <c:pt idx="49">
                  <c:v>0.56000000000000005</c:v>
                </c:pt>
                <c:pt idx="50">
                  <c:v>0.68</c:v>
                </c:pt>
                <c:pt idx="51">
                  <c:v>0.98</c:v>
                </c:pt>
                <c:pt idx="52">
                  <c:v>0.84</c:v>
                </c:pt>
                <c:pt idx="53">
                  <c:v>0.76</c:v>
                </c:pt>
                <c:pt idx="54">
                  <c:v>0.65</c:v>
                </c:pt>
                <c:pt idx="55">
                  <c:v>0.95</c:v>
                </c:pt>
                <c:pt idx="56">
                  <c:v>0.72</c:v>
                </c:pt>
                <c:pt idx="57">
                  <c:v>0.71</c:v>
                </c:pt>
                <c:pt idx="58">
                  <c:v>0.77</c:v>
                </c:pt>
                <c:pt idx="59">
                  <c:v>0.23</c:v>
                </c:pt>
                <c:pt idx="60">
                  <c:v>0.21</c:v>
                </c:pt>
                <c:pt idx="61">
                  <c:v>0.36</c:v>
                </c:pt>
                <c:pt idx="62">
                  <c:v>0.42</c:v>
                </c:pt>
                <c:pt idx="63">
                  <c:v>0.83</c:v>
                </c:pt>
                <c:pt idx="64">
                  <c:v>0.86</c:v>
                </c:pt>
                <c:pt idx="65">
                  <c:v>0.25</c:v>
                </c:pt>
                <c:pt idx="66">
                  <c:v>0.19</c:v>
                </c:pt>
                <c:pt idx="67">
                  <c:v>0.85</c:v>
                </c:pt>
                <c:pt idx="68">
                  <c:v>0.87</c:v>
                </c:pt>
                <c:pt idx="69">
                  <c:v>0.22</c:v>
                </c:pt>
                <c:pt idx="70">
                  <c:v>0.12</c:v>
                </c:pt>
                <c:pt idx="71">
                  <c:v>0.11</c:v>
                </c:pt>
                <c:pt idx="72">
                  <c:v>0.25</c:v>
                </c:pt>
                <c:pt idx="73">
                  <c:v>0.73</c:v>
                </c:pt>
                <c:pt idx="74">
                  <c:v>0.37</c:v>
                </c:pt>
                <c:pt idx="75">
                  <c:v>0.39</c:v>
                </c:pt>
                <c:pt idx="76">
                  <c:v>0.45</c:v>
                </c:pt>
                <c:pt idx="77">
                  <c:v>0.11</c:v>
                </c:pt>
                <c:pt idx="78">
                  <c:v>0.4</c:v>
                </c:pt>
                <c:pt idx="79">
                  <c:v>0.25</c:v>
                </c:pt>
                <c:pt idx="80">
                  <c:v>0.12</c:v>
                </c:pt>
                <c:pt idx="81">
                  <c:v>0.16</c:v>
                </c:pt>
                <c:pt idx="82">
                  <c:v>0.24</c:v>
                </c:pt>
                <c:pt idx="83">
                  <c:v>0.5</c:v>
                </c:pt>
                <c:pt idx="84">
                  <c:v>0.15</c:v>
                </c:pt>
                <c:pt idx="85">
                  <c:v>0.21</c:v>
                </c:pt>
                <c:pt idx="86">
                  <c:v>0.12</c:v>
                </c:pt>
                <c:pt idx="87">
                  <c:v>0.14000000000000001</c:v>
                </c:pt>
                <c:pt idx="88">
                  <c:v>0.18</c:v>
                </c:pt>
                <c:pt idx="89">
                  <c:v>0.06</c:v>
                </c:pt>
                <c:pt idx="90">
                  <c:v>0.15</c:v>
                </c:pt>
                <c:pt idx="91">
                  <c:v>0.5</c:v>
                </c:pt>
                <c:pt idx="92">
                  <c:v>0.03</c:v>
                </c:pt>
                <c:pt idx="93">
                  <c:v>0.05</c:v>
                </c:pt>
                <c:pt idx="94">
                  <c:v>0.14000000000000001</c:v>
                </c:pt>
                <c:pt idx="95">
                  <c:v>0.12</c:v>
                </c:pt>
                <c:pt idx="96">
                  <c:v>0.19</c:v>
                </c:pt>
                <c:pt idx="97">
                  <c:v>0.04</c:v>
                </c:pt>
                <c:pt idx="98">
                  <c:v>0.15</c:v>
                </c:pt>
                <c:pt idx="99">
                  <c:v>0.05</c:v>
                </c:pt>
                <c:pt idx="100">
                  <c:v>0.44</c:v>
                </c:pt>
                <c:pt idx="101">
                  <c:v>0.16</c:v>
                </c:pt>
                <c:pt idx="102">
                  <c:v>0.02</c:v>
                </c:pt>
                <c:pt idx="103">
                  <c:v>0.04</c:v>
                </c:pt>
                <c:pt idx="104">
                  <c:v>0.02</c:v>
                </c:pt>
                <c:pt idx="105">
                  <c:v>0.02</c:v>
                </c:pt>
                <c:pt idx="106">
                  <c:v>0.15</c:v>
                </c:pt>
                <c:pt idx="107">
                  <c:v>0.15</c:v>
                </c:pt>
                <c:pt idx="108">
                  <c:v>0.01</c:v>
                </c:pt>
                <c:pt idx="109">
                  <c:v>0.04</c:v>
                </c:pt>
                <c:pt idx="110">
                  <c:v>0.04</c:v>
                </c:pt>
                <c:pt idx="111">
                  <c:v>0.17</c:v>
                </c:pt>
                <c:pt idx="112">
                  <c:v>0.03</c:v>
                </c:pt>
                <c:pt idx="113">
                  <c:v>0.04</c:v>
                </c:pt>
                <c:pt idx="114">
                  <c:v>0.15</c:v>
                </c:pt>
                <c:pt idx="115">
                  <c:v>0.14000000000000001</c:v>
                </c:pt>
                <c:pt idx="116">
                  <c:v>0.06</c:v>
                </c:pt>
                <c:pt idx="117">
                  <c:v>0.15</c:v>
                </c:pt>
                <c:pt idx="118">
                  <c:v>0.13</c:v>
                </c:pt>
                <c:pt idx="119">
                  <c:v>0.06</c:v>
                </c:pt>
                <c:pt idx="120">
                  <c:v>0.06</c:v>
                </c:pt>
                <c:pt idx="121">
                  <c:v>0.04</c:v>
                </c:pt>
                <c:pt idx="122">
                  <c:v>0.03</c:v>
                </c:pt>
                <c:pt idx="123">
                  <c:v>0.01</c:v>
                </c:pt>
                <c:pt idx="124">
                  <c:v>0.05</c:v>
                </c:pt>
                <c:pt idx="125">
                  <c:v>0.02</c:v>
                </c:pt>
                <c:pt idx="126">
                  <c:v>0.04</c:v>
                </c:pt>
                <c:pt idx="127">
                  <c:v>0.12</c:v>
                </c:pt>
                <c:pt idx="128">
                  <c:v>0.12</c:v>
                </c:pt>
                <c:pt idx="129">
                  <c:v>0.04</c:v>
                </c:pt>
                <c:pt idx="130">
                  <c:v>0.04</c:v>
                </c:pt>
                <c:pt idx="131">
                  <c:v>0.08</c:v>
                </c:pt>
                <c:pt idx="132">
                  <c:v>0.01</c:v>
                </c:pt>
                <c:pt idx="133">
                  <c:v>0.04</c:v>
                </c:pt>
                <c:pt idx="134">
                  <c:v>0.01</c:v>
                </c:pt>
                <c:pt idx="135">
                  <c:v>0.02</c:v>
                </c:pt>
                <c:pt idx="136">
                  <c:v>0.04</c:v>
                </c:pt>
                <c:pt idx="137">
                  <c:v>0.02</c:v>
                </c:pt>
                <c:pt idx="138">
                  <c:v>0.02</c:v>
                </c:pt>
                <c:pt idx="139">
                  <c:v>0.05</c:v>
                </c:pt>
                <c:pt idx="140">
                  <c:v>0.01</c:v>
                </c:pt>
                <c:pt idx="141">
                  <c:v>0.01</c:v>
                </c:pt>
                <c:pt idx="142">
                  <c:v>0.02</c:v>
                </c:pt>
                <c:pt idx="143">
                  <c:v>0.01</c:v>
                </c:pt>
                <c:pt idx="144">
                  <c:v>0.01</c:v>
                </c:pt>
                <c:pt idx="145">
                  <c:v>0.01</c:v>
                </c:pt>
                <c:pt idx="14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8</c:f>
              <c:strCache>
                <c:ptCount val="147"/>
                <c:pt idx="0">
                  <c:v>Private Lab</c:v>
                </c:pt>
                <c:pt idx="1">
                  <c:v>Private Lab</c:v>
                </c:pt>
                <c:pt idx="2">
                  <c:v>Private Lab</c:v>
                </c:pt>
                <c:pt idx="3">
                  <c:v>Galbani</c:v>
                </c:pt>
                <c:pt idx="4">
                  <c:v>Private Lab</c:v>
                </c:pt>
                <c:pt idx="5">
                  <c:v>Galbani</c:v>
                </c:pt>
                <c:pt idx="6">
                  <c:v>Galbani</c:v>
                </c:pt>
                <c:pt idx="7">
                  <c:v>Private Lab</c:v>
                </c:pt>
                <c:pt idx="8">
                  <c:v>Salakis</c:v>
                </c:pt>
                <c:pt idx="9">
                  <c:v>Private Lab</c:v>
                </c:pt>
                <c:pt idx="10">
                  <c:v>Private Lab</c:v>
                </c:pt>
                <c:pt idx="11">
                  <c:v>All Others</c:v>
                </c:pt>
                <c:pt idx="12">
                  <c:v>Salakis</c:v>
                </c:pt>
                <c:pt idx="13">
                  <c:v>Galbani</c:v>
                </c:pt>
                <c:pt idx="14">
                  <c:v>Islos</c:v>
                </c:pt>
                <c:pt idx="15">
                  <c:v>Private Lab</c:v>
                </c:pt>
                <c:pt idx="16">
                  <c:v>Galbani</c:v>
                </c:pt>
                <c:pt idx="17">
                  <c:v>Private Lab</c:v>
                </c:pt>
                <c:pt idx="18">
                  <c:v>Private Lab</c:v>
                </c:pt>
                <c:pt idx="19">
                  <c:v>Salakis</c:v>
                </c:pt>
                <c:pt idx="20">
                  <c:v>Casa Azzurr</c:v>
                </c:pt>
                <c:pt idx="21">
                  <c:v>Private Lab</c:v>
                </c:pt>
                <c:pt idx="22">
                  <c:v>Private Lab</c:v>
                </c:pt>
                <c:pt idx="23">
                  <c:v>Galbani</c:v>
                </c:pt>
                <c:pt idx="24">
                  <c:v>Casa Azzurr</c:v>
                </c:pt>
                <c:pt idx="25">
                  <c:v>Salakis</c:v>
                </c:pt>
                <c:pt idx="26">
                  <c:v>Casa Azzurr</c:v>
                </c:pt>
                <c:pt idx="27">
                  <c:v>Casa Azzurr</c:v>
                </c:pt>
                <c:pt idx="28">
                  <c:v>Casa Azzurr</c:v>
                </c:pt>
                <c:pt idx="29">
                  <c:v>Private Lab</c:v>
                </c:pt>
                <c:pt idx="30">
                  <c:v>Les Mousque</c:v>
                </c:pt>
                <c:pt idx="31">
                  <c:v>Galbani</c:v>
                </c:pt>
                <c:pt idx="32">
                  <c:v>Galbani</c:v>
                </c:pt>
                <c:pt idx="33">
                  <c:v>Salakis</c:v>
                </c:pt>
                <c:pt idx="34">
                  <c:v>Casa Azzurr</c:v>
                </c:pt>
                <c:pt idx="35">
                  <c:v>Salakis</c:v>
                </c:pt>
                <c:pt idx="36">
                  <c:v>Galbani</c:v>
                </c:pt>
                <c:pt idx="37">
                  <c:v>All Others</c:v>
                </c:pt>
                <c:pt idx="38">
                  <c:v>Private Lab</c:v>
                </c:pt>
                <c:pt idx="39">
                  <c:v>Boursin</c:v>
                </c:pt>
                <c:pt idx="40">
                  <c:v>Galbani</c:v>
                </c:pt>
                <c:pt idx="41">
                  <c:v>Casa Azzurr</c:v>
                </c:pt>
                <c:pt idx="42">
                  <c:v>Private Lab</c:v>
                </c:pt>
                <c:pt idx="43">
                  <c:v>Private Lab</c:v>
                </c:pt>
                <c:pt idx="44">
                  <c:v>Private Lab</c:v>
                </c:pt>
                <c:pt idx="45">
                  <c:v>Private Lab</c:v>
                </c:pt>
                <c:pt idx="46">
                  <c:v>All Others</c:v>
                </c:pt>
                <c:pt idx="47">
                  <c:v>Casa Azzurr</c:v>
                </c:pt>
                <c:pt idx="48">
                  <c:v>Private Lab</c:v>
                </c:pt>
                <c:pt idx="49">
                  <c:v>Galbani</c:v>
                </c:pt>
                <c:pt idx="50">
                  <c:v>Lactalis: A</c:v>
                </c:pt>
                <c:pt idx="51">
                  <c:v>All Others</c:v>
                </c:pt>
                <c:pt idx="52">
                  <c:v>Islos</c:v>
                </c:pt>
                <c:pt idx="53">
                  <c:v>Galbani</c:v>
                </c:pt>
                <c:pt idx="54">
                  <c:v>Casa Azzurr</c:v>
                </c:pt>
                <c:pt idx="55">
                  <c:v>Boursin</c:v>
                </c:pt>
                <c:pt idx="56">
                  <c:v>Salakis</c:v>
                </c:pt>
                <c:pt idx="57">
                  <c:v>Galbani</c:v>
                </c:pt>
                <c:pt idx="58">
                  <c:v>Islos</c:v>
                </c:pt>
                <c:pt idx="59">
                  <c:v>All Others</c:v>
                </c:pt>
                <c:pt idx="60">
                  <c:v>All Others</c:v>
                </c:pt>
                <c:pt idx="61">
                  <c:v>All Others</c:v>
                </c:pt>
                <c:pt idx="62">
                  <c:v>All Others</c:v>
                </c:pt>
                <c:pt idx="63">
                  <c:v>Boursin</c:v>
                </c:pt>
                <c:pt idx="64">
                  <c:v>Galbani</c:v>
                </c:pt>
                <c:pt idx="65">
                  <c:v>All Others</c:v>
                </c:pt>
                <c:pt idx="66">
                  <c:v>All Others</c:v>
                </c:pt>
                <c:pt idx="67">
                  <c:v>Les Mousque</c:v>
                </c:pt>
                <c:pt idx="68">
                  <c:v>Boursin</c:v>
                </c:pt>
                <c:pt idx="69">
                  <c:v>All Others</c:v>
                </c:pt>
                <c:pt idx="70">
                  <c:v>All Others</c:v>
                </c:pt>
                <c:pt idx="71">
                  <c:v>All Others</c:v>
                </c:pt>
                <c:pt idx="72">
                  <c:v>All Others</c:v>
                </c:pt>
                <c:pt idx="73">
                  <c:v>Boursin</c:v>
                </c:pt>
                <c:pt idx="74">
                  <c:v>All Others</c:v>
                </c:pt>
                <c:pt idx="75">
                  <c:v>All Others</c:v>
                </c:pt>
                <c:pt idx="76">
                  <c:v>Salakis</c:v>
                </c:pt>
                <c:pt idx="77">
                  <c:v>All Others</c:v>
                </c:pt>
                <c:pt idx="78">
                  <c:v>Salakis</c:v>
                </c:pt>
                <c:pt idx="79">
                  <c:v>All Others</c:v>
                </c:pt>
                <c:pt idx="80">
                  <c:v>All Others</c:v>
                </c:pt>
                <c:pt idx="81">
                  <c:v>All Others</c:v>
                </c:pt>
                <c:pt idx="82">
                  <c:v>All Others</c:v>
                </c:pt>
                <c:pt idx="83">
                  <c:v>Private Lab</c:v>
                </c:pt>
                <c:pt idx="84">
                  <c:v>All Others</c:v>
                </c:pt>
                <c:pt idx="85">
                  <c:v>Casa Azzurr</c:v>
                </c:pt>
                <c:pt idx="86">
                  <c:v>All Others</c:v>
                </c:pt>
                <c:pt idx="87">
                  <c:v>All Others</c:v>
                </c:pt>
                <c:pt idx="88">
                  <c:v>All Others</c:v>
                </c:pt>
                <c:pt idx="89">
                  <c:v>All Others</c:v>
                </c:pt>
                <c:pt idx="90">
                  <c:v>All Others</c:v>
                </c:pt>
                <c:pt idx="91">
                  <c:v>All Others</c:v>
                </c:pt>
                <c:pt idx="92">
                  <c:v>All Others</c:v>
                </c:pt>
                <c:pt idx="93">
                  <c:v>All Others</c:v>
                </c:pt>
                <c:pt idx="94">
                  <c:v>All Others</c:v>
                </c:pt>
                <c:pt idx="95">
                  <c:v>All Others</c:v>
                </c:pt>
                <c:pt idx="96">
                  <c:v>All Others</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Other Suppl</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strCache>
            </c:strRef>
          </c:cat>
          <c:val>
            <c:numRef>
              <c:f>Sheet1!$C$2:$C$148</c:f>
              <c:numCache>
                <c:formatCode>General</c:formatCode>
                <c:ptCount val="147"/>
                <c:pt idx="0">
                  <c:v>7.4783628633600524E-2</c:v>
                </c:pt>
                <c:pt idx="1">
                  <c:v>0.13553370679418222</c:v>
                </c:pt>
                <c:pt idx="2">
                  <c:v>0.1899682713097634</c:v>
                </c:pt>
                <c:pt idx="3">
                  <c:v>0.22798280536524737</c:v>
                </c:pt>
                <c:pt idx="4">
                  <c:v>0.26378277805237005</c:v>
                </c:pt>
                <c:pt idx="5">
                  <c:v>0.29948611583848805</c:v>
                </c:pt>
                <c:pt idx="6">
                  <c:v>0.33300483937047287</c:v>
                </c:pt>
                <c:pt idx="7">
                  <c:v>0.36624682938394215</c:v>
                </c:pt>
                <c:pt idx="8">
                  <c:v>0.39473111026846347</c:v>
                </c:pt>
                <c:pt idx="9">
                  <c:v>0.42092762572762138</c:v>
                </c:pt>
                <c:pt idx="10">
                  <c:v>0.44701793984650728</c:v>
                </c:pt>
                <c:pt idx="11">
                  <c:v>0.47210765987565029</c:v>
                </c:pt>
                <c:pt idx="12">
                  <c:v>0.49645286137051042</c:v>
                </c:pt>
                <c:pt idx="13">
                  <c:v>0.51933204070866534</c:v>
                </c:pt>
                <c:pt idx="14">
                  <c:v>0.5417959811249996</c:v>
                </c:pt>
                <c:pt idx="15">
                  <c:v>0.56395934124667357</c:v>
                </c:pt>
                <c:pt idx="16">
                  <c:v>0.5839952084617237</c:v>
                </c:pt>
                <c:pt idx="17">
                  <c:v>0.60351448795633844</c:v>
                </c:pt>
                <c:pt idx="18">
                  <c:v>0.62192919032569594</c:v>
                </c:pt>
                <c:pt idx="19">
                  <c:v>0.63963167822380362</c:v>
                </c:pt>
                <c:pt idx="20">
                  <c:v>0.65611229613259381</c:v>
                </c:pt>
                <c:pt idx="21">
                  <c:v>0.67240103067984824</c:v>
                </c:pt>
                <c:pt idx="22">
                  <c:v>0.68839084866101063</c:v>
                </c:pt>
                <c:pt idx="23">
                  <c:v>0.7042812588602213</c:v>
                </c:pt>
                <c:pt idx="24">
                  <c:v>0.71786477075553401</c:v>
                </c:pt>
                <c:pt idx="25">
                  <c:v>0.73105356304803415</c:v>
                </c:pt>
                <c:pt idx="26">
                  <c:v>0.74408333061822096</c:v>
                </c:pt>
                <c:pt idx="27">
                  <c:v>0.75645731184443055</c:v>
                </c:pt>
                <c:pt idx="28">
                  <c:v>0.76701436283008573</c:v>
                </c:pt>
                <c:pt idx="29">
                  <c:v>0.77688817595038784</c:v>
                </c:pt>
                <c:pt idx="30">
                  <c:v>0.78673869687073472</c:v>
                </c:pt>
                <c:pt idx="31">
                  <c:v>0.79623553682628545</c:v>
                </c:pt>
                <c:pt idx="32">
                  <c:v>0.80568704017835191</c:v>
                </c:pt>
                <c:pt idx="33">
                  <c:v>0.81496315881051751</c:v>
                </c:pt>
                <c:pt idx="34">
                  <c:v>0.82381530394587921</c:v>
                </c:pt>
                <c:pt idx="35">
                  <c:v>0.83185249937090289</c:v>
                </c:pt>
                <c:pt idx="36">
                  <c:v>0.83976602430568814</c:v>
                </c:pt>
                <c:pt idx="37">
                  <c:v>0.84750180757176752</c:v>
                </c:pt>
                <c:pt idx="38">
                  <c:v>0.85505984916914102</c:v>
                </c:pt>
                <c:pt idx="39">
                  <c:v>0.86257796128087705</c:v>
                </c:pt>
                <c:pt idx="40">
                  <c:v>0.87004657746770819</c:v>
                </c:pt>
                <c:pt idx="41">
                  <c:v>0.87716567201116369</c:v>
                </c:pt>
                <c:pt idx="42">
                  <c:v>0.88395631880644121</c:v>
                </c:pt>
                <c:pt idx="43">
                  <c:v>0.89016396738260151</c:v>
                </c:pt>
                <c:pt idx="44">
                  <c:v>0.89618846717220912</c:v>
                </c:pt>
                <c:pt idx="45">
                  <c:v>0.90181824735900429</c:v>
                </c:pt>
                <c:pt idx="46">
                  <c:v>0.9074349950053483</c:v>
                </c:pt>
                <c:pt idx="47">
                  <c:v>0.9126649257595788</c:v>
                </c:pt>
                <c:pt idx="48">
                  <c:v>0.9177495575521839</c:v>
                </c:pt>
                <c:pt idx="49">
                  <c:v>0.92272230359857554</c:v>
                </c:pt>
                <c:pt idx="50">
                  <c:v>0.92762614355343309</c:v>
                </c:pt>
                <c:pt idx="51">
                  <c:v>0.93195433342368306</c:v>
                </c:pt>
                <c:pt idx="52">
                  <c:v>0.93610214738832742</c:v>
                </c:pt>
                <c:pt idx="53">
                  <c:v>0.93983111768591998</c:v>
                </c:pt>
                <c:pt idx="54">
                  <c:v>0.94347925850390602</c:v>
                </c:pt>
                <c:pt idx="55">
                  <c:v>0.94681725258796456</c:v>
                </c:pt>
                <c:pt idx="56">
                  <c:v>0.95010436430664469</c:v>
                </c:pt>
                <c:pt idx="57">
                  <c:v>0.95331203298619183</c:v>
                </c:pt>
                <c:pt idx="58">
                  <c:v>0.95579958448379021</c:v>
                </c:pt>
                <c:pt idx="59">
                  <c:v>0.95824318581837786</c:v>
                </c:pt>
                <c:pt idx="60">
                  <c:v>0.96044873532366126</c:v>
                </c:pt>
                <c:pt idx="61">
                  <c:v>0.96248583231141138</c:v>
                </c:pt>
                <c:pt idx="62">
                  <c:v>0.96432841170072592</c:v>
                </c:pt>
                <c:pt idx="63">
                  <c:v>0.96610666025206893</c:v>
                </c:pt>
                <c:pt idx="64">
                  <c:v>0.96770564205018517</c:v>
                </c:pt>
                <c:pt idx="65">
                  <c:v>0.96924084758651929</c:v>
                </c:pt>
                <c:pt idx="66">
                  <c:v>0.97064337076953711</c:v>
                </c:pt>
                <c:pt idx="67">
                  <c:v>0.97201164887285885</c:v>
                </c:pt>
                <c:pt idx="68">
                  <c:v>0.97334415681196362</c:v>
                </c:pt>
                <c:pt idx="69">
                  <c:v>0.97459569662741452</c:v>
                </c:pt>
                <c:pt idx="70">
                  <c:v>0.9758089706857962</c:v>
                </c:pt>
                <c:pt idx="71">
                  <c:v>0.97696595526095276</c:v>
                </c:pt>
                <c:pt idx="72">
                  <c:v>0.97804765611839684</c:v>
                </c:pt>
                <c:pt idx="73">
                  <c:v>0.97912478172227835</c:v>
                </c:pt>
                <c:pt idx="74">
                  <c:v>0.98019497512379217</c:v>
                </c:pt>
                <c:pt idx="75">
                  <c:v>0.98122371395514763</c:v>
                </c:pt>
                <c:pt idx="76">
                  <c:v>0.98222777414607432</c:v>
                </c:pt>
                <c:pt idx="77">
                  <c:v>0.98319509366445268</c:v>
                </c:pt>
                <c:pt idx="78">
                  <c:v>0.98399617897005531</c:v>
                </c:pt>
                <c:pt idx="79">
                  <c:v>0.98477078326261369</c:v>
                </c:pt>
                <c:pt idx="80">
                  <c:v>0.9855207089147433</c:v>
                </c:pt>
                <c:pt idx="81">
                  <c:v>0.98626744575378378</c:v>
                </c:pt>
                <c:pt idx="82">
                  <c:v>0.98694569243343211</c:v>
                </c:pt>
                <c:pt idx="83">
                  <c:v>0.98759648759170471</c:v>
                </c:pt>
                <c:pt idx="84">
                  <c:v>0.98818877496199453</c:v>
                </c:pt>
                <c:pt idx="85">
                  <c:v>0.98876331589422328</c:v>
                </c:pt>
                <c:pt idx="86">
                  <c:v>0.9893106825931709</c:v>
                </c:pt>
                <c:pt idx="87">
                  <c:v>0.98985319675046113</c:v>
                </c:pt>
                <c:pt idx="88">
                  <c:v>0.99037186413160683</c:v>
                </c:pt>
                <c:pt idx="89">
                  <c:v>0.99084242202832118</c:v>
                </c:pt>
                <c:pt idx="90">
                  <c:v>0.99129856094411084</c:v>
                </c:pt>
                <c:pt idx="91">
                  <c:v>0.99172336630519886</c:v>
                </c:pt>
                <c:pt idx="92">
                  <c:v>0.99213486183774102</c:v>
                </c:pt>
                <c:pt idx="93">
                  <c:v>0.9925376227953</c:v>
                </c:pt>
                <c:pt idx="94">
                  <c:v>0.99289671087794296</c:v>
                </c:pt>
                <c:pt idx="95">
                  <c:v>0.99323611150586189</c:v>
                </c:pt>
                <c:pt idx="96">
                  <c:v>0.99357301654092844</c:v>
                </c:pt>
                <c:pt idx="97">
                  <c:v>0.99390298937362731</c:v>
                </c:pt>
                <c:pt idx="98">
                  <c:v>0.99423074390156863</c:v>
                </c:pt>
                <c:pt idx="99">
                  <c:v>0.99455614148070492</c:v>
                </c:pt>
                <c:pt idx="100">
                  <c:v>0.99486878380748478</c:v>
                </c:pt>
                <c:pt idx="101">
                  <c:v>0.99515480647717292</c:v>
                </c:pt>
                <c:pt idx="102">
                  <c:v>0.99543389694449347</c:v>
                </c:pt>
                <c:pt idx="103">
                  <c:v>0.99569260673685323</c:v>
                </c:pt>
                <c:pt idx="104">
                  <c:v>0.99594480025898735</c:v>
                </c:pt>
                <c:pt idx="105">
                  <c:v>0.99618978429065919</c:v>
                </c:pt>
                <c:pt idx="106">
                  <c:v>0.99643324323781013</c:v>
                </c:pt>
                <c:pt idx="107">
                  <c:v>0.99667074049092497</c:v>
                </c:pt>
                <c:pt idx="108">
                  <c:v>0.99688702520479489</c:v>
                </c:pt>
                <c:pt idx="109">
                  <c:v>0.99708625670084039</c:v>
                </c:pt>
                <c:pt idx="110">
                  <c:v>0.997276476333808</c:v>
                </c:pt>
                <c:pt idx="111">
                  <c:v>0.99745407935846653</c:v>
                </c:pt>
                <c:pt idx="112">
                  <c:v>0.99763085051884093</c:v>
                </c:pt>
                <c:pt idx="113">
                  <c:v>0.99780068947684775</c:v>
                </c:pt>
                <c:pt idx="114">
                  <c:v>0.99796484402891306</c:v>
                </c:pt>
                <c:pt idx="115">
                  <c:v>0.99812885993693101</c:v>
                </c:pt>
                <c:pt idx="116">
                  <c:v>0.99827817957592968</c:v>
                </c:pt>
                <c:pt idx="117">
                  <c:v>0.99842569684231275</c:v>
                </c:pt>
                <c:pt idx="118">
                  <c:v>0.99855629953491876</c:v>
                </c:pt>
                <c:pt idx="119">
                  <c:v>0.9986753947715945</c:v>
                </c:pt>
                <c:pt idx="120">
                  <c:v>0.99879199441541799</c:v>
                </c:pt>
                <c:pt idx="121">
                  <c:v>0.99890429609377351</c:v>
                </c:pt>
                <c:pt idx="122">
                  <c:v>0.999004397095962</c:v>
                </c:pt>
                <c:pt idx="123">
                  <c:v>0.99910172521720342</c:v>
                </c:pt>
                <c:pt idx="124">
                  <c:v>0.99919489401702433</c:v>
                </c:pt>
                <c:pt idx="125">
                  <c:v>0.99927503027639408</c:v>
                </c:pt>
                <c:pt idx="126">
                  <c:v>0.99942726144038707</c:v>
                </c:pt>
                <c:pt idx="127">
                  <c:v>0.99949769261644217</c:v>
                </c:pt>
                <c:pt idx="128">
                  <c:v>0.99956313260679253</c:v>
                </c:pt>
                <c:pt idx="129">
                  <c:v>0.99962621564833787</c:v>
                </c:pt>
                <c:pt idx="130">
                  <c:v>0.9996833369958471</c:v>
                </c:pt>
                <c:pt idx="131">
                  <c:v>0.9997390719028828</c:v>
                </c:pt>
                <c:pt idx="132">
                  <c:v>0.999774148846863</c:v>
                </c:pt>
                <c:pt idx="133">
                  <c:v>0.99980562104561199</c:v>
                </c:pt>
                <c:pt idx="134">
                  <c:v>0.99983709324436099</c:v>
                </c:pt>
                <c:pt idx="135">
                  <c:v>0.99986842679906263</c:v>
                </c:pt>
                <c:pt idx="136">
                  <c:v>0.99989421459187022</c:v>
                </c:pt>
                <c:pt idx="137">
                  <c:v>0.99991653628349397</c:v>
                </c:pt>
                <c:pt idx="138">
                  <c:v>0.99993677831440742</c:v>
                </c:pt>
                <c:pt idx="139">
                  <c:v>0.99995397017627907</c:v>
                </c:pt>
                <c:pt idx="140">
                  <c:v>0.99996478441197256</c:v>
                </c:pt>
                <c:pt idx="141">
                  <c:v>0.99997532135957135</c:v>
                </c:pt>
                <c:pt idx="142">
                  <c:v>0.9999832240702704</c:v>
                </c:pt>
                <c:pt idx="143">
                  <c:v>0.99998876983216456</c:v>
                </c:pt>
                <c:pt idx="144">
                  <c:v>0.99999279050953782</c:v>
                </c:pt>
                <c:pt idx="145">
                  <c:v>0.99999764305119521</c:v>
                </c:pt>
                <c:pt idx="14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6</c:f>
              <c:strCache>
                <c:ptCount val="125"/>
                <c:pt idx="0">
                  <c:v>Private Lab</c:v>
                </c:pt>
                <c:pt idx="1">
                  <c:v>Private Lab</c:v>
                </c:pt>
                <c:pt idx="2">
                  <c:v>Private Lab</c:v>
                </c:pt>
                <c:pt idx="3">
                  <c:v>Private Lab</c:v>
                </c:pt>
                <c:pt idx="4">
                  <c:v>Galbani</c:v>
                </c:pt>
                <c:pt idx="5">
                  <c:v>Salakis</c:v>
                </c:pt>
                <c:pt idx="6">
                  <c:v>Private Lab</c:v>
                </c:pt>
                <c:pt idx="7">
                  <c:v>Galbani</c:v>
                </c:pt>
                <c:pt idx="8">
                  <c:v>Private Lab</c:v>
                </c:pt>
                <c:pt idx="9">
                  <c:v>Private Lab</c:v>
                </c:pt>
                <c:pt idx="10">
                  <c:v>Private Lab</c:v>
                </c:pt>
                <c:pt idx="11">
                  <c:v>Private Lab</c:v>
                </c:pt>
                <c:pt idx="12">
                  <c:v>Galbani</c:v>
                </c:pt>
                <c:pt idx="13">
                  <c:v>Galbani</c:v>
                </c:pt>
                <c:pt idx="14">
                  <c:v>Galbani</c:v>
                </c:pt>
                <c:pt idx="15">
                  <c:v>Les Mousque</c:v>
                </c:pt>
                <c:pt idx="16">
                  <c:v>Islos</c:v>
                </c:pt>
                <c:pt idx="17">
                  <c:v>Private Lab</c:v>
                </c:pt>
                <c:pt idx="18">
                  <c:v>All Others</c:v>
                </c:pt>
                <c:pt idx="19">
                  <c:v>Galbani</c:v>
                </c:pt>
                <c:pt idx="20">
                  <c:v>Private Lab</c:v>
                </c:pt>
                <c:pt idx="21">
                  <c:v>Salakis</c:v>
                </c:pt>
                <c:pt idx="22">
                  <c:v>Private Lab</c:v>
                </c:pt>
                <c:pt idx="23">
                  <c:v>Private Lab</c:v>
                </c:pt>
                <c:pt idx="24">
                  <c:v>Casa Azzurr</c:v>
                </c:pt>
                <c:pt idx="25">
                  <c:v>Private Lab</c:v>
                </c:pt>
                <c:pt idx="26">
                  <c:v>Private Lab</c:v>
                </c:pt>
                <c:pt idx="27">
                  <c:v>Casa Azzurr</c:v>
                </c:pt>
                <c:pt idx="28">
                  <c:v>Salakis</c:v>
                </c:pt>
                <c:pt idx="29">
                  <c:v>Private Lab</c:v>
                </c:pt>
                <c:pt idx="30">
                  <c:v>Boursin</c:v>
                </c:pt>
                <c:pt idx="31">
                  <c:v>Casa Azzurr</c:v>
                </c:pt>
                <c:pt idx="32">
                  <c:v>Galbani</c:v>
                </c:pt>
                <c:pt idx="33">
                  <c:v>Private Lab</c:v>
                </c:pt>
                <c:pt idx="34">
                  <c:v>Private Lab</c:v>
                </c:pt>
                <c:pt idx="35">
                  <c:v>All Others</c:v>
                </c:pt>
                <c:pt idx="36">
                  <c:v>Salakis</c:v>
                </c:pt>
                <c:pt idx="37">
                  <c:v>Galbani</c:v>
                </c:pt>
                <c:pt idx="38">
                  <c:v>Casa Azzurr</c:v>
                </c:pt>
                <c:pt idx="39">
                  <c:v>Galbani</c:v>
                </c:pt>
                <c:pt idx="40">
                  <c:v>Salakis</c:v>
                </c:pt>
                <c:pt idx="41">
                  <c:v>All Others</c:v>
                </c:pt>
                <c:pt idx="42">
                  <c:v>Private Lab</c:v>
                </c:pt>
                <c:pt idx="43">
                  <c:v>Casa Azzurr</c:v>
                </c:pt>
                <c:pt idx="44">
                  <c:v>Salakis</c:v>
                </c:pt>
                <c:pt idx="45">
                  <c:v>Casa Azzurr</c:v>
                </c:pt>
                <c:pt idx="46">
                  <c:v>Galbani</c:v>
                </c:pt>
                <c:pt idx="47">
                  <c:v>Casa Azzurr</c:v>
                </c:pt>
                <c:pt idx="48">
                  <c:v>All Others</c:v>
                </c:pt>
                <c:pt idx="49">
                  <c:v>All Others</c:v>
                </c:pt>
                <c:pt idx="50">
                  <c:v>Casa Azzurr</c:v>
                </c:pt>
                <c:pt idx="51">
                  <c:v>All Others</c:v>
                </c:pt>
                <c:pt idx="52">
                  <c:v>Galbani</c:v>
                </c:pt>
                <c:pt idx="53">
                  <c:v>Galbani</c:v>
                </c:pt>
                <c:pt idx="54">
                  <c:v>All Others</c:v>
                </c:pt>
                <c:pt idx="55">
                  <c:v>All Others</c:v>
                </c:pt>
                <c:pt idx="56">
                  <c:v>Salakis</c:v>
                </c:pt>
                <c:pt idx="57">
                  <c:v>Islos</c:v>
                </c:pt>
                <c:pt idx="58">
                  <c:v>Casa Azzurr</c:v>
                </c:pt>
                <c:pt idx="59">
                  <c:v>Galbani</c:v>
                </c:pt>
                <c:pt idx="60">
                  <c:v>Boursin</c:v>
                </c:pt>
                <c:pt idx="61">
                  <c:v>All Others</c:v>
                </c:pt>
                <c:pt idx="62">
                  <c:v>All Others</c:v>
                </c:pt>
                <c:pt idx="63">
                  <c:v>All Others</c:v>
                </c:pt>
                <c:pt idx="64">
                  <c:v>All Others</c:v>
                </c:pt>
                <c:pt idx="65">
                  <c:v>Lactalis: A</c:v>
                </c:pt>
                <c:pt idx="66">
                  <c:v>Galbani</c:v>
                </c:pt>
                <c:pt idx="67">
                  <c:v>Islos</c:v>
                </c:pt>
                <c:pt idx="68">
                  <c:v>Les Mousque</c:v>
                </c:pt>
                <c:pt idx="69">
                  <c:v>All Others</c:v>
                </c:pt>
                <c:pt idx="70">
                  <c:v>All Others</c:v>
                </c:pt>
                <c:pt idx="71">
                  <c:v>All Others</c:v>
                </c:pt>
                <c:pt idx="72">
                  <c:v>All Others</c:v>
                </c:pt>
                <c:pt idx="73">
                  <c:v>Casa Azzurr</c:v>
                </c:pt>
                <c:pt idx="74">
                  <c:v>All Others</c:v>
                </c:pt>
                <c:pt idx="75">
                  <c:v>All Others</c:v>
                </c:pt>
                <c:pt idx="76">
                  <c:v>All Others</c:v>
                </c:pt>
                <c:pt idx="77">
                  <c:v>All Others</c:v>
                </c:pt>
                <c:pt idx="78">
                  <c:v>All Others</c:v>
                </c:pt>
                <c:pt idx="79">
                  <c:v>Boursin</c:v>
                </c:pt>
                <c:pt idx="80">
                  <c:v>All Others</c:v>
                </c:pt>
                <c:pt idx="81">
                  <c:v>Boursin</c:v>
                </c:pt>
                <c:pt idx="82">
                  <c:v>All Others</c:v>
                </c:pt>
                <c:pt idx="83">
                  <c:v>All Others</c:v>
                </c:pt>
                <c:pt idx="84">
                  <c:v>All Others</c:v>
                </c:pt>
                <c:pt idx="85">
                  <c:v>Private Lab</c:v>
                </c:pt>
                <c:pt idx="86">
                  <c:v>All Others</c:v>
                </c:pt>
                <c:pt idx="87">
                  <c:v>Boursin</c:v>
                </c:pt>
                <c:pt idx="88">
                  <c:v>All Others</c:v>
                </c:pt>
                <c:pt idx="89">
                  <c:v>Salakis</c:v>
                </c:pt>
                <c:pt idx="90">
                  <c:v>All Others</c:v>
                </c:pt>
                <c:pt idx="91">
                  <c:v>Salakis</c:v>
                </c:pt>
                <c:pt idx="92">
                  <c:v>All Others</c:v>
                </c:pt>
                <c:pt idx="93">
                  <c:v>All Others</c:v>
                </c:pt>
                <c:pt idx="94">
                  <c:v>All Others</c:v>
                </c:pt>
                <c:pt idx="95">
                  <c:v>All Others</c:v>
                </c:pt>
                <c:pt idx="96">
                  <c:v>All Others</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Netto</c:v>
                </c:pt>
                <c:pt idx="124">
                  <c:v>All Others</c:v>
                </c:pt>
              </c:strCache>
            </c:strRef>
          </c:cat>
          <c:val>
            <c:numRef>
              <c:f>Sheet1!$B$2:$B$126</c:f>
              <c:numCache>
                <c:formatCode>General</c:formatCode>
                <c:ptCount val="125"/>
                <c:pt idx="0">
                  <c:v>0.99</c:v>
                </c:pt>
                <c:pt idx="1">
                  <c:v>0.99</c:v>
                </c:pt>
                <c:pt idx="2">
                  <c:v>0.94</c:v>
                </c:pt>
                <c:pt idx="3">
                  <c:v>0.94</c:v>
                </c:pt>
                <c:pt idx="4">
                  <c:v>0.95</c:v>
                </c:pt>
                <c:pt idx="5">
                  <c:v>0.94</c:v>
                </c:pt>
                <c:pt idx="6">
                  <c:v>0.97</c:v>
                </c:pt>
                <c:pt idx="7">
                  <c:v>0.73</c:v>
                </c:pt>
                <c:pt idx="8">
                  <c:v>0.92</c:v>
                </c:pt>
                <c:pt idx="9">
                  <c:v>0.96</c:v>
                </c:pt>
                <c:pt idx="10">
                  <c:v>0.91</c:v>
                </c:pt>
                <c:pt idx="11">
                  <c:v>0.94</c:v>
                </c:pt>
                <c:pt idx="12">
                  <c:v>0.85</c:v>
                </c:pt>
                <c:pt idx="13">
                  <c:v>0.63</c:v>
                </c:pt>
                <c:pt idx="14">
                  <c:v>0.7</c:v>
                </c:pt>
                <c:pt idx="15">
                  <c:v>0.79</c:v>
                </c:pt>
                <c:pt idx="16">
                  <c:v>0.63</c:v>
                </c:pt>
                <c:pt idx="17">
                  <c:v>0.98</c:v>
                </c:pt>
                <c:pt idx="18">
                  <c:v>0.31</c:v>
                </c:pt>
                <c:pt idx="19">
                  <c:v>0.64</c:v>
                </c:pt>
                <c:pt idx="20">
                  <c:v>0.95</c:v>
                </c:pt>
                <c:pt idx="21">
                  <c:v>0.96</c:v>
                </c:pt>
                <c:pt idx="22">
                  <c:v>0.75</c:v>
                </c:pt>
                <c:pt idx="23">
                  <c:v>0.87</c:v>
                </c:pt>
                <c:pt idx="24">
                  <c:v>0.64</c:v>
                </c:pt>
                <c:pt idx="25">
                  <c:v>0.41</c:v>
                </c:pt>
                <c:pt idx="26">
                  <c:v>0.34</c:v>
                </c:pt>
                <c:pt idx="27">
                  <c:v>0.35</c:v>
                </c:pt>
                <c:pt idx="28">
                  <c:v>0.38</c:v>
                </c:pt>
                <c:pt idx="29">
                  <c:v>0.47</c:v>
                </c:pt>
                <c:pt idx="30">
                  <c:v>0.84</c:v>
                </c:pt>
                <c:pt idx="31">
                  <c:v>0.23</c:v>
                </c:pt>
                <c:pt idx="32">
                  <c:v>0.48</c:v>
                </c:pt>
                <c:pt idx="33">
                  <c:v>0.84</c:v>
                </c:pt>
                <c:pt idx="34">
                  <c:v>0.24</c:v>
                </c:pt>
                <c:pt idx="35">
                  <c:v>0.16</c:v>
                </c:pt>
                <c:pt idx="36">
                  <c:v>0.75</c:v>
                </c:pt>
                <c:pt idx="37">
                  <c:v>0.47</c:v>
                </c:pt>
                <c:pt idx="38">
                  <c:v>0.2</c:v>
                </c:pt>
                <c:pt idx="39">
                  <c:v>0.31</c:v>
                </c:pt>
                <c:pt idx="40">
                  <c:v>0.18</c:v>
                </c:pt>
                <c:pt idx="41">
                  <c:v>0.13</c:v>
                </c:pt>
                <c:pt idx="42">
                  <c:v>0.56000000000000005</c:v>
                </c:pt>
                <c:pt idx="43">
                  <c:v>0.16</c:v>
                </c:pt>
                <c:pt idx="44">
                  <c:v>0.69</c:v>
                </c:pt>
                <c:pt idx="45">
                  <c:v>0.22</c:v>
                </c:pt>
                <c:pt idx="46">
                  <c:v>0.22</c:v>
                </c:pt>
                <c:pt idx="47">
                  <c:v>0.16</c:v>
                </c:pt>
                <c:pt idx="48">
                  <c:v>0.16</c:v>
                </c:pt>
                <c:pt idx="49">
                  <c:v>0.16</c:v>
                </c:pt>
                <c:pt idx="50">
                  <c:v>0.11</c:v>
                </c:pt>
                <c:pt idx="51">
                  <c:v>0.08</c:v>
                </c:pt>
                <c:pt idx="52">
                  <c:v>0.14000000000000001</c:v>
                </c:pt>
                <c:pt idx="53">
                  <c:v>0.11</c:v>
                </c:pt>
                <c:pt idx="54">
                  <c:v>0.19</c:v>
                </c:pt>
                <c:pt idx="55">
                  <c:v>0.16</c:v>
                </c:pt>
                <c:pt idx="56">
                  <c:v>0.15</c:v>
                </c:pt>
                <c:pt idx="57">
                  <c:v>0.18</c:v>
                </c:pt>
                <c:pt idx="58">
                  <c:v>0.21</c:v>
                </c:pt>
                <c:pt idx="59">
                  <c:v>0.27</c:v>
                </c:pt>
                <c:pt idx="60">
                  <c:v>0.43</c:v>
                </c:pt>
                <c:pt idx="61">
                  <c:v>0.15</c:v>
                </c:pt>
                <c:pt idx="62">
                  <c:v>0.26</c:v>
                </c:pt>
                <c:pt idx="63">
                  <c:v>7.0000000000000007E-2</c:v>
                </c:pt>
                <c:pt idx="64">
                  <c:v>0.06</c:v>
                </c:pt>
                <c:pt idx="65">
                  <c:v>7.0000000000000007E-2</c:v>
                </c:pt>
                <c:pt idx="66">
                  <c:v>0.08</c:v>
                </c:pt>
                <c:pt idx="67">
                  <c:v>0.18</c:v>
                </c:pt>
                <c:pt idx="68">
                  <c:v>0.21</c:v>
                </c:pt>
                <c:pt idx="69">
                  <c:v>0.11</c:v>
                </c:pt>
                <c:pt idx="70">
                  <c:v>0.14000000000000001</c:v>
                </c:pt>
                <c:pt idx="71">
                  <c:v>0.05</c:v>
                </c:pt>
                <c:pt idx="72">
                  <c:v>0.03</c:v>
                </c:pt>
                <c:pt idx="73">
                  <c:v>0.08</c:v>
                </c:pt>
                <c:pt idx="74">
                  <c:v>0.03</c:v>
                </c:pt>
                <c:pt idx="75">
                  <c:v>7.0000000000000007E-2</c:v>
                </c:pt>
                <c:pt idx="76">
                  <c:v>0.24</c:v>
                </c:pt>
                <c:pt idx="77">
                  <c:v>0.06</c:v>
                </c:pt>
                <c:pt idx="78">
                  <c:v>0.03</c:v>
                </c:pt>
                <c:pt idx="79">
                  <c:v>0.18</c:v>
                </c:pt>
                <c:pt idx="80">
                  <c:v>0.13</c:v>
                </c:pt>
                <c:pt idx="81">
                  <c:v>0.28000000000000003</c:v>
                </c:pt>
                <c:pt idx="82">
                  <c:v>0.09</c:v>
                </c:pt>
                <c:pt idx="83">
                  <c:v>7.0000000000000007E-2</c:v>
                </c:pt>
                <c:pt idx="84">
                  <c:v>7.0000000000000007E-2</c:v>
                </c:pt>
                <c:pt idx="85">
                  <c:v>0.11</c:v>
                </c:pt>
                <c:pt idx="86">
                  <c:v>0.04</c:v>
                </c:pt>
                <c:pt idx="87">
                  <c:v>0.14000000000000001</c:v>
                </c:pt>
                <c:pt idx="88">
                  <c:v>0.01</c:v>
                </c:pt>
                <c:pt idx="89">
                  <c:v>0.08</c:v>
                </c:pt>
                <c:pt idx="90">
                  <c:v>0.04</c:v>
                </c:pt>
                <c:pt idx="91">
                  <c:v>0.08</c:v>
                </c:pt>
                <c:pt idx="92">
                  <c:v>0.03</c:v>
                </c:pt>
                <c:pt idx="93">
                  <c:v>0.02</c:v>
                </c:pt>
                <c:pt idx="94">
                  <c:v>0.09</c:v>
                </c:pt>
                <c:pt idx="95">
                  <c:v>0.04</c:v>
                </c:pt>
                <c:pt idx="96">
                  <c:v>0.04</c:v>
                </c:pt>
                <c:pt idx="97">
                  <c:v>0.06</c:v>
                </c:pt>
                <c:pt idx="98">
                  <c:v>0.02</c:v>
                </c:pt>
                <c:pt idx="99">
                  <c:v>0.01</c:v>
                </c:pt>
                <c:pt idx="100">
                  <c:v>0.01</c:v>
                </c:pt>
                <c:pt idx="101">
                  <c:v>0.01</c:v>
                </c:pt>
                <c:pt idx="102">
                  <c:v>0.04</c:v>
                </c:pt>
                <c:pt idx="103">
                  <c:v>0.02</c:v>
                </c:pt>
                <c:pt idx="104">
                  <c:v>0.01</c:v>
                </c:pt>
                <c:pt idx="105">
                  <c:v>0.02</c:v>
                </c:pt>
                <c:pt idx="106">
                  <c:v>0.01</c:v>
                </c:pt>
                <c:pt idx="107">
                  <c:v>0.01</c:v>
                </c:pt>
                <c:pt idx="108">
                  <c:v>0.02</c:v>
                </c:pt>
                <c:pt idx="109">
                  <c:v>0.01</c:v>
                </c:pt>
                <c:pt idx="110">
                  <c:v>0.02</c:v>
                </c:pt>
                <c:pt idx="111">
                  <c:v>0.01</c:v>
                </c:pt>
                <c:pt idx="112">
                  <c:v>0.01</c:v>
                </c:pt>
                <c:pt idx="113">
                  <c:v>0.01</c:v>
                </c:pt>
                <c:pt idx="114">
                  <c:v>0.01</c:v>
                </c:pt>
                <c:pt idx="115">
                  <c:v>0.01</c:v>
                </c:pt>
                <c:pt idx="116">
                  <c:v>0.03</c:v>
                </c:pt>
                <c:pt idx="117">
                  <c:v>0.01</c:v>
                </c:pt>
                <c:pt idx="118">
                  <c:v>0.01</c:v>
                </c:pt>
                <c:pt idx="119">
                  <c:v>0.01</c:v>
                </c:pt>
                <c:pt idx="120">
                  <c:v>0.01</c:v>
                </c:pt>
                <c:pt idx="121">
                  <c:v>0.01</c:v>
                </c:pt>
                <c:pt idx="122">
                  <c:v>0.01</c:v>
                </c:pt>
                <c:pt idx="123">
                  <c:v>0.01</c:v>
                </c:pt>
                <c:pt idx="12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6</c:f>
              <c:strCache>
                <c:ptCount val="125"/>
                <c:pt idx="0">
                  <c:v>Private Lab</c:v>
                </c:pt>
                <c:pt idx="1">
                  <c:v>Private Lab</c:v>
                </c:pt>
                <c:pt idx="2">
                  <c:v>Private Lab</c:v>
                </c:pt>
                <c:pt idx="3">
                  <c:v>Private Lab</c:v>
                </c:pt>
                <c:pt idx="4">
                  <c:v>Galbani</c:v>
                </c:pt>
                <c:pt idx="5">
                  <c:v>Salakis</c:v>
                </c:pt>
                <c:pt idx="6">
                  <c:v>Private Lab</c:v>
                </c:pt>
                <c:pt idx="7">
                  <c:v>Galbani</c:v>
                </c:pt>
                <c:pt idx="8">
                  <c:v>Private Lab</c:v>
                </c:pt>
                <c:pt idx="9">
                  <c:v>Private Lab</c:v>
                </c:pt>
                <c:pt idx="10">
                  <c:v>Private Lab</c:v>
                </c:pt>
                <c:pt idx="11">
                  <c:v>Private Lab</c:v>
                </c:pt>
                <c:pt idx="12">
                  <c:v>Galbani</c:v>
                </c:pt>
                <c:pt idx="13">
                  <c:v>Galbani</c:v>
                </c:pt>
                <c:pt idx="14">
                  <c:v>Galbani</c:v>
                </c:pt>
                <c:pt idx="15">
                  <c:v>Les Mousque</c:v>
                </c:pt>
                <c:pt idx="16">
                  <c:v>Islos</c:v>
                </c:pt>
                <c:pt idx="17">
                  <c:v>Private Lab</c:v>
                </c:pt>
                <c:pt idx="18">
                  <c:v>All Others</c:v>
                </c:pt>
                <c:pt idx="19">
                  <c:v>Galbani</c:v>
                </c:pt>
                <c:pt idx="20">
                  <c:v>Private Lab</c:v>
                </c:pt>
                <c:pt idx="21">
                  <c:v>Salakis</c:v>
                </c:pt>
                <c:pt idx="22">
                  <c:v>Private Lab</c:v>
                </c:pt>
                <c:pt idx="23">
                  <c:v>Private Lab</c:v>
                </c:pt>
                <c:pt idx="24">
                  <c:v>Casa Azzurr</c:v>
                </c:pt>
                <c:pt idx="25">
                  <c:v>Private Lab</c:v>
                </c:pt>
                <c:pt idx="26">
                  <c:v>Private Lab</c:v>
                </c:pt>
                <c:pt idx="27">
                  <c:v>Casa Azzurr</c:v>
                </c:pt>
                <c:pt idx="28">
                  <c:v>Salakis</c:v>
                </c:pt>
                <c:pt idx="29">
                  <c:v>Private Lab</c:v>
                </c:pt>
                <c:pt idx="30">
                  <c:v>Boursin</c:v>
                </c:pt>
                <c:pt idx="31">
                  <c:v>Casa Azzurr</c:v>
                </c:pt>
                <c:pt idx="32">
                  <c:v>Galbani</c:v>
                </c:pt>
                <c:pt idx="33">
                  <c:v>Private Lab</c:v>
                </c:pt>
                <c:pt idx="34">
                  <c:v>Private Lab</c:v>
                </c:pt>
                <c:pt idx="35">
                  <c:v>All Others</c:v>
                </c:pt>
                <c:pt idx="36">
                  <c:v>Salakis</c:v>
                </c:pt>
                <c:pt idx="37">
                  <c:v>Galbani</c:v>
                </c:pt>
                <c:pt idx="38">
                  <c:v>Casa Azzurr</c:v>
                </c:pt>
                <c:pt idx="39">
                  <c:v>Galbani</c:v>
                </c:pt>
                <c:pt idx="40">
                  <c:v>Salakis</c:v>
                </c:pt>
                <c:pt idx="41">
                  <c:v>All Others</c:v>
                </c:pt>
                <c:pt idx="42">
                  <c:v>Private Lab</c:v>
                </c:pt>
                <c:pt idx="43">
                  <c:v>Casa Azzurr</c:v>
                </c:pt>
                <c:pt idx="44">
                  <c:v>Salakis</c:v>
                </c:pt>
                <c:pt idx="45">
                  <c:v>Casa Azzurr</c:v>
                </c:pt>
                <c:pt idx="46">
                  <c:v>Galbani</c:v>
                </c:pt>
                <c:pt idx="47">
                  <c:v>Casa Azzurr</c:v>
                </c:pt>
                <c:pt idx="48">
                  <c:v>All Others</c:v>
                </c:pt>
                <c:pt idx="49">
                  <c:v>All Others</c:v>
                </c:pt>
                <c:pt idx="50">
                  <c:v>Casa Azzurr</c:v>
                </c:pt>
                <c:pt idx="51">
                  <c:v>All Others</c:v>
                </c:pt>
                <c:pt idx="52">
                  <c:v>Galbani</c:v>
                </c:pt>
                <c:pt idx="53">
                  <c:v>Galbani</c:v>
                </c:pt>
                <c:pt idx="54">
                  <c:v>All Others</c:v>
                </c:pt>
                <c:pt idx="55">
                  <c:v>All Others</c:v>
                </c:pt>
                <c:pt idx="56">
                  <c:v>Salakis</c:v>
                </c:pt>
                <c:pt idx="57">
                  <c:v>Islos</c:v>
                </c:pt>
                <c:pt idx="58">
                  <c:v>Casa Azzurr</c:v>
                </c:pt>
                <c:pt idx="59">
                  <c:v>Galbani</c:v>
                </c:pt>
                <c:pt idx="60">
                  <c:v>Boursin</c:v>
                </c:pt>
                <c:pt idx="61">
                  <c:v>All Others</c:v>
                </c:pt>
                <c:pt idx="62">
                  <c:v>All Others</c:v>
                </c:pt>
                <c:pt idx="63">
                  <c:v>All Others</c:v>
                </c:pt>
                <c:pt idx="64">
                  <c:v>All Others</c:v>
                </c:pt>
                <c:pt idx="65">
                  <c:v>Lactalis: A</c:v>
                </c:pt>
                <c:pt idx="66">
                  <c:v>Galbani</c:v>
                </c:pt>
                <c:pt idx="67">
                  <c:v>Islos</c:v>
                </c:pt>
                <c:pt idx="68">
                  <c:v>Les Mousque</c:v>
                </c:pt>
                <c:pt idx="69">
                  <c:v>All Others</c:v>
                </c:pt>
                <c:pt idx="70">
                  <c:v>All Others</c:v>
                </c:pt>
                <c:pt idx="71">
                  <c:v>All Others</c:v>
                </c:pt>
                <c:pt idx="72">
                  <c:v>All Others</c:v>
                </c:pt>
                <c:pt idx="73">
                  <c:v>Casa Azzurr</c:v>
                </c:pt>
                <c:pt idx="74">
                  <c:v>All Others</c:v>
                </c:pt>
                <c:pt idx="75">
                  <c:v>All Others</c:v>
                </c:pt>
                <c:pt idx="76">
                  <c:v>All Others</c:v>
                </c:pt>
                <c:pt idx="77">
                  <c:v>All Others</c:v>
                </c:pt>
                <c:pt idx="78">
                  <c:v>All Others</c:v>
                </c:pt>
                <c:pt idx="79">
                  <c:v>Boursin</c:v>
                </c:pt>
                <c:pt idx="80">
                  <c:v>All Others</c:v>
                </c:pt>
                <c:pt idx="81">
                  <c:v>Boursin</c:v>
                </c:pt>
                <c:pt idx="82">
                  <c:v>All Others</c:v>
                </c:pt>
                <c:pt idx="83">
                  <c:v>All Others</c:v>
                </c:pt>
                <c:pt idx="84">
                  <c:v>All Others</c:v>
                </c:pt>
                <c:pt idx="85">
                  <c:v>Private Lab</c:v>
                </c:pt>
                <c:pt idx="86">
                  <c:v>All Others</c:v>
                </c:pt>
                <c:pt idx="87">
                  <c:v>Boursin</c:v>
                </c:pt>
                <c:pt idx="88">
                  <c:v>All Others</c:v>
                </c:pt>
                <c:pt idx="89">
                  <c:v>Salakis</c:v>
                </c:pt>
                <c:pt idx="90">
                  <c:v>All Others</c:v>
                </c:pt>
                <c:pt idx="91">
                  <c:v>Salakis</c:v>
                </c:pt>
                <c:pt idx="92">
                  <c:v>All Others</c:v>
                </c:pt>
                <c:pt idx="93">
                  <c:v>All Others</c:v>
                </c:pt>
                <c:pt idx="94">
                  <c:v>All Others</c:v>
                </c:pt>
                <c:pt idx="95">
                  <c:v>All Others</c:v>
                </c:pt>
                <c:pt idx="96">
                  <c:v>All Others</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Netto</c:v>
                </c:pt>
                <c:pt idx="124">
                  <c:v>All Others</c:v>
                </c:pt>
              </c:strCache>
            </c:strRef>
          </c:cat>
          <c:val>
            <c:numRef>
              <c:f>Sheet1!$C$2:$C$126</c:f>
              <c:numCache>
                <c:formatCode>General</c:formatCode>
                <c:ptCount val="125"/>
                <c:pt idx="0">
                  <c:v>9.9341616734408555E-2</c:v>
                </c:pt>
                <c:pt idx="1">
                  <c:v>0.19799899540620325</c:v>
                </c:pt>
                <c:pt idx="2">
                  <c:v>0.28415006427634365</c:v>
                </c:pt>
                <c:pt idx="3">
                  <c:v>0.33976610798002904</c:v>
                </c:pt>
                <c:pt idx="4">
                  <c:v>0.38722887439854026</c:v>
                </c:pt>
                <c:pt idx="5">
                  <c:v>0.42699663638915319</c:v>
                </c:pt>
                <c:pt idx="6">
                  <c:v>0.46118640313759596</c:v>
                </c:pt>
                <c:pt idx="7">
                  <c:v>0.49045032738838823</c:v>
                </c:pt>
                <c:pt idx="8">
                  <c:v>0.51850694827461208</c:v>
                </c:pt>
                <c:pt idx="9">
                  <c:v>0.54444320220926079</c:v>
                </c:pt>
                <c:pt idx="10">
                  <c:v>0.56932200862547877</c:v>
                </c:pt>
                <c:pt idx="11">
                  <c:v>0.59328613475261549</c:v>
                </c:pt>
                <c:pt idx="12">
                  <c:v>0.6169299051456022</c:v>
                </c:pt>
                <c:pt idx="13">
                  <c:v>0.63784828892605105</c:v>
                </c:pt>
                <c:pt idx="14">
                  <c:v>0.65872637951633506</c:v>
                </c:pt>
                <c:pt idx="15">
                  <c:v>0.67896475353190344</c:v>
                </c:pt>
                <c:pt idx="16">
                  <c:v>0.69861626469442295</c:v>
                </c:pt>
                <c:pt idx="17">
                  <c:v>0.7175682413054697</c:v>
                </c:pt>
                <c:pt idx="18">
                  <c:v>0.7363727249426415</c:v>
                </c:pt>
                <c:pt idx="19">
                  <c:v>0.75282241982743348</c:v>
                </c:pt>
                <c:pt idx="20">
                  <c:v>0.76925433098940577</c:v>
                </c:pt>
                <c:pt idx="21">
                  <c:v>0.78553514268825997</c:v>
                </c:pt>
                <c:pt idx="22">
                  <c:v>0.80137795248661869</c:v>
                </c:pt>
                <c:pt idx="23">
                  <c:v>0.81601569743097369</c:v>
                </c:pt>
                <c:pt idx="24">
                  <c:v>0.82805938171592064</c:v>
                </c:pt>
                <c:pt idx="25">
                  <c:v>0.83953411123233646</c:v>
                </c:pt>
                <c:pt idx="26">
                  <c:v>0.84876970837554933</c:v>
                </c:pt>
                <c:pt idx="27">
                  <c:v>0.85586665739757517</c:v>
                </c:pt>
                <c:pt idx="28">
                  <c:v>0.86249016143516422</c:v>
                </c:pt>
                <c:pt idx="29">
                  <c:v>0.86903855100713734</c:v>
                </c:pt>
                <c:pt idx="30">
                  <c:v>0.87544106430731006</c:v>
                </c:pt>
                <c:pt idx="31">
                  <c:v>0.88168041505965478</c:v>
                </c:pt>
                <c:pt idx="32">
                  <c:v>0.88763684294895939</c:v>
                </c:pt>
                <c:pt idx="33">
                  <c:v>0.89355956881809528</c:v>
                </c:pt>
                <c:pt idx="34">
                  <c:v>0.89894878300264136</c:v>
                </c:pt>
                <c:pt idx="35">
                  <c:v>0.90423751293517141</c:v>
                </c:pt>
                <c:pt idx="36">
                  <c:v>0.90932738851253614</c:v>
                </c:pt>
                <c:pt idx="37">
                  <c:v>0.91397466080657797</c:v>
                </c:pt>
                <c:pt idx="38">
                  <c:v>0.91807747758660241</c:v>
                </c:pt>
                <c:pt idx="39">
                  <c:v>0.92213502670854042</c:v>
                </c:pt>
                <c:pt idx="40">
                  <c:v>0.92593452530704623</c:v>
                </c:pt>
                <c:pt idx="41">
                  <c:v>0.92972618911857563</c:v>
                </c:pt>
                <c:pt idx="42">
                  <c:v>0.9333902578279164</c:v>
                </c:pt>
                <c:pt idx="43">
                  <c:v>0.93700159717728837</c:v>
                </c:pt>
                <c:pt idx="44">
                  <c:v>0.93993703069781509</c:v>
                </c:pt>
                <c:pt idx="45">
                  <c:v>0.94252810667647013</c:v>
                </c:pt>
                <c:pt idx="46">
                  <c:v>0.94510761701720747</c:v>
                </c:pt>
                <c:pt idx="47">
                  <c:v>0.94762730938118778</c:v>
                </c:pt>
                <c:pt idx="48">
                  <c:v>0.95004204047202268</c:v>
                </c:pt>
                <c:pt idx="49">
                  <c:v>0.95237556337403773</c:v>
                </c:pt>
                <c:pt idx="50">
                  <c:v>0.95455077383444831</c:v>
                </c:pt>
                <c:pt idx="51">
                  <c:v>0.95672387014599225</c:v>
                </c:pt>
                <c:pt idx="52">
                  <c:v>0.95887793911773611</c:v>
                </c:pt>
                <c:pt idx="53">
                  <c:v>0.96102243223873096</c:v>
                </c:pt>
                <c:pt idx="54">
                  <c:v>0.9629271560059055</c:v>
                </c:pt>
                <c:pt idx="55">
                  <c:v>0.96477964785990333</c:v>
                </c:pt>
                <c:pt idx="56">
                  <c:v>0.96652643227056756</c:v>
                </c:pt>
                <c:pt idx="57">
                  <c:v>0.96825207519256506</c:v>
                </c:pt>
                <c:pt idx="58">
                  <c:v>0.96972762673980495</c:v>
                </c:pt>
                <c:pt idx="59">
                  <c:v>0.97113515243821713</c:v>
                </c:pt>
                <c:pt idx="60">
                  <c:v>0.97251743271192725</c:v>
                </c:pt>
                <c:pt idx="61">
                  <c:v>0.9738799394756491</c:v>
                </c:pt>
                <c:pt idx="62">
                  <c:v>0.97511311007340973</c:v>
                </c:pt>
                <c:pt idx="63">
                  <c:v>0.97634217673513513</c:v>
                </c:pt>
                <c:pt idx="64">
                  <c:v>0.97752871169613098</c:v>
                </c:pt>
                <c:pt idx="65">
                  <c:v>0.97868664346657774</c:v>
                </c:pt>
                <c:pt idx="66">
                  <c:v>0.97984096874778126</c:v>
                </c:pt>
                <c:pt idx="67">
                  <c:v>0.98086570913962756</c:v>
                </c:pt>
                <c:pt idx="68">
                  <c:v>0.98181048495963441</c:v>
                </c:pt>
                <c:pt idx="69">
                  <c:v>0.98275513641794321</c:v>
                </c:pt>
                <c:pt idx="70">
                  <c:v>0.98360116904970663</c:v>
                </c:pt>
                <c:pt idx="71">
                  <c:v>0.98443650657543857</c:v>
                </c:pt>
                <c:pt idx="72">
                  <c:v>0.98524137548515089</c:v>
                </c:pt>
                <c:pt idx="73">
                  <c:v>0.98604276226731802</c:v>
                </c:pt>
                <c:pt idx="74">
                  <c:v>0.9868041045827165</c:v>
                </c:pt>
                <c:pt idx="75">
                  <c:v>0.98755189147302858</c:v>
                </c:pt>
                <c:pt idx="76">
                  <c:v>0.98822891655715617</c:v>
                </c:pt>
                <c:pt idx="77">
                  <c:v>0.98888915281204837</c:v>
                </c:pt>
                <c:pt idx="78">
                  <c:v>0.98953160534412099</c:v>
                </c:pt>
                <c:pt idx="79">
                  <c:v>0.99016846159978178</c:v>
                </c:pt>
                <c:pt idx="80">
                  <c:v>0.99078815594111314</c:v>
                </c:pt>
                <c:pt idx="81">
                  <c:v>0.99136009539039727</c:v>
                </c:pt>
                <c:pt idx="82">
                  <c:v>0.99189584558555188</c:v>
                </c:pt>
                <c:pt idx="83">
                  <c:v>0.99240572854751419</c:v>
                </c:pt>
                <c:pt idx="84">
                  <c:v>0.99288514289345686</c:v>
                </c:pt>
                <c:pt idx="85">
                  <c:v>0.99332190117697194</c:v>
                </c:pt>
                <c:pt idx="86">
                  <c:v>0.9937513221203027</c:v>
                </c:pt>
                <c:pt idx="87">
                  <c:v>0.99412701881008037</c:v>
                </c:pt>
                <c:pt idx="88">
                  <c:v>0.99448853826628147</c:v>
                </c:pt>
                <c:pt idx="89">
                  <c:v>0.99483836772286682</c:v>
                </c:pt>
                <c:pt idx="90">
                  <c:v>0.99516382228663647</c:v>
                </c:pt>
                <c:pt idx="91">
                  <c:v>0.99548156642512764</c:v>
                </c:pt>
                <c:pt idx="92">
                  <c:v>0.99579408737230113</c:v>
                </c:pt>
                <c:pt idx="93">
                  <c:v>0.99610474289400408</c:v>
                </c:pt>
                <c:pt idx="94">
                  <c:v>0.99640122118213048</c:v>
                </c:pt>
                <c:pt idx="95">
                  <c:v>0.99668911851309216</c:v>
                </c:pt>
                <c:pt idx="96">
                  <c:v>0.99697490169518721</c:v>
                </c:pt>
                <c:pt idx="97">
                  <c:v>0.99721715828296831</c:v>
                </c:pt>
                <c:pt idx="98">
                  <c:v>0.99744436710528661</c:v>
                </c:pt>
                <c:pt idx="99">
                  <c:v>0.99765802050251862</c:v>
                </c:pt>
                <c:pt idx="100">
                  <c:v>0.99784493613467218</c:v>
                </c:pt>
                <c:pt idx="101">
                  <c:v>0.9980146898524962</c:v>
                </c:pt>
                <c:pt idx="102">
                  <c:v>0.99817039069844182</c:v>
                </c:pt>
                <c:pt idx="103">
                  <c:v>0.99830731292798347</c:v>
                </c:pt>
                <c:pt idx="104">
                  <c:v>0.9984339131365878</c:v>
                </c:pt>
                <c:pt idx="105">
                  <c:v>0.99856038898349408</c:v>
                </c:pt>
                <c:pt idx="106">
                  <c:v>0.99868288525606308</c:v>
                </c:pt>
                <c:pt idx="107">
                  <c:v>0.99880065578410659</c:v>
                </c:pt>
                <c:pt idx="108">
                  <c:v>0.99898620343758171</c:v>
                </c:pt>
                <c:pt idx="109">
                  <c:v>0.99907425151979379</c:v>
                </c:pt>
                <c:pt idx="110">
                  <c:v>0.99915931492125287</c:v>
                </c:pt>
                <c:pt idx="111">
                  <c:v>0.99922211757876289</c:v>
                </c:pt>
                <c:pt idx="112">
                  <c:v>0.99927994576835133</c:v>
                </c:pt>
                <c:pt idx="113">
                  <c:v>0.99939224438168117</c:v>
                </c:pt>
                <c:pt idx="114">
                  <c:v>0.99944733661391272</c:v>
                </c:pt>
                <c:pt idx="115">
                  <c:v>0.99950068778237167</c:v>
                </c:pt>
                <c:pt idx="116">
                  <c:v>0.99959209363043078</c:v>
                </c:pt>
                <c:pt idx="117">
                  <c:v>0.99963375479927408</c:v>
                </c:pt>
                <c:pt idx="118">
                  <c:v>0.99967230692566633</c:v>
                </c:pt>
                <c:pt idx="119">
                  <c:v>0.99974120330638028</c:v>
                </c:pt>
                <c:pt idx="120">
                  <c:v>0.99977415915636081</c:v>
                </c:pt>
                <c:pt idx="121">
                  <c:v>0.99980549830426679</c:v>
                </c:pt>
                <c:pt idx="122">
                  <c:v>0.99983571819689043</c:v>
                </c:pt>
                <c:pt idx="123">
                  <c:v>0.9998599687280082</c:v>
                </c:pt>
                <c:pt idx="124">
                  <c:v>0.999895784897043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8</c:f>
              <c:strCache>
                <c:ptCount val="97"/>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Apericube Edition Limitee Best Of Foot Fromage Fondu Cube Assortis 1X250Gr 48P</c:v>
                </c:pt>
                <c:pt idx="8">
                  <c:v>Kiri Gouter Fromage Blanc Dips Boite 1X175Gr 5P</c:v>
                </c:pt>
                <c:pt idx="9">
                  <c:v>Mini Babybel Rouge Filet Soft Cheese Enfant 352G</c:v>
                </c:pt>
                <c:pt idx="10">
                  <c:v>Apericube Cocktail Fromage Fondu Cube Assortis 1X250Gr 48P</c:v>
                </c:pt>
                <c:pt idx="11">
                  <c:v>Mini Babybel Rouge Filet Soft Cheese Enfant 484G</c:v>
                </c:pt>
                <c:pt idx="12">
                  <c:v>Boursin Classique Fromage Frais A Tartiner Afh Boite 1X150Gr 1P</c:v>
                </c:pt>
                <c:pt idx="13">
                  <c:v>Kiri Creme Fromage Blanc Frais Carre 1X216Gr 12P</c:v>
                </c:pt>
                <c:pt idx="14">
                  <c:v>Boursin Classique Fromage Frais A Tartiner Afh 1X160Gr 10P</c:v>
                </c:pt>
                <c:pt idx="15">
                  <c:v>Boursin Salade &amp; Aperitif Fromage Frais Des Afh 1X120Gr 1P</c:v>
                </c:pt>
                <c:pt idx="16">
                  <c:v>Apericube Long Drink Fromage Fondu Cube Assortis 1X250Gr 48P</c:v>
                </c:pt>
                <c:pt idx="17">
                  <c:v>Boursin Aperitif Roules Fromage Frais Roule Afh Et Jambon Fume Boite 1X100Gr 20P</c:v>
                </c:pt>
                <c:pt idx="18">
                  <c:v>La Vache Qui Rit Nature Fromage Fondu Boite Ronde 1X512Gr 24+8P</c:v>
                </c:pt>
                <c:pt idx="19">
                  <c:v>La Vache Qui Rit Pik Et Croq' Fromage Fondu Dips Boite 1X175Gr 5P</c:v>
                </c:pt>
                <c:pt idx="20">
                  <c:v>Boursin Classique Fromage Frais A Tartiner Afh Boite 1X250Gr 1P</c:v>
                </c:pt>
                <c:pt idx="21">
                  <c:v>Apericube Tonic Fromage Fondu Cube Assortis 1X250Gr 48P</c:v>
                </c:pt>
                <c:pt idx="22">
                  <c:v>Kiri Gouter Fromage Blanc Dips Boite 1X280Gr 8P</c:v>
                </c:pt>
                <c:pt idx="23">
                  <c:v>Kiri Creme Fromage Blanc Frais Carre 1X432Gr 18+6P</c:v>
                </c:pt>
                <c:pt idx="24">
                  <c:v>Apericube Nature Fromage Fondu Cube 1X125Gr 24P</c:v>
                </c:pt>
                <c:pt idx="25">
                  <c:v>Apericube Soiree Match Aperitif 250G</c:v>
                </c:pt>
                <c:pt idx="26">
                  <c:v>Apericube Edition Limitee Saison Fromage Fondu Cube Assortis 1X250Gr 48P</c:v>
                </c:pt>
                <c:pt idx="27">
                  <c:v>La Vache Qui Rit Nature Fromage Fondu Boite Ronde 1X128Gr 8P</c:v>
                </c:pt>
                <c:pt idx="28">
                  <c:v>Apericube Campagne Fromage Fondu Cube Assortis 1X125Gr 24P</c:v>
                </c:pt>
                <c:pt idx="29">
                  <c:v>Boursin Aperitif Roules Fromage Frais Roule Ciboulette &amp; Echalote Jambon Fume Boite 1X100Gr 20P</c:v>
                </c:pt>
                <c:pt idx="30">
                  <c:v>Boursin Classique Fromage Frais A Tartiner Afh Boite 1X96Gr 6P</c:v>
                </c:pt>
                <c:pt idx="31">
                  <c:v>Apericube Edition Voyage Fromage Fondu Cube Assortis 1X250Gr 48P</c:v>
                </c:pt>
                <c:pt idx="32">
                  <c:v>Apericube Incontournable Fromage Fondu Cube Assortis 1X250Gr 48P</c:v>
                </c:pt>
                <c:pt idx="33">
                  <c:v>Mini Babybel Aros Soft Cheese Enfant 180G</c:v>
                </c:pt>
                <c:pt idx="34">
                  <c:v>Apericube Best Of Des Saveurs Fromage Fondu Cube Assortis 1X125Gr 24P</c:v>
                </c:pt>
                <c:pt idx="35">
                  <c:v>Mini Babybel Rouge Filet St Paulin Ferme 1X396Gr 12+6P</c:v>
                </c:pt>
                <c:pt idx="36">
                  <c:v>Boursin Salade &amp; Aperitif Fromage Frais Des Figue Noix 1X120Gr 1P</c:v>
                </c:pt>
                <c:pt idx="37">
                  <c:v>Boursin Onctueux Fromage Frais A Tartiner Afh 1X125Gr 1P</c:v>
                </c:pt>
                <c:pt idx="38">
                  <c:v>Boursin Salade &amp; Aperitif Fromage Frais Des Ciboulette Echalote 1X120Gr 1P</c:v>
                </c:pt>
                <c:pt idx="39">
                  <c:v>Boursin Classique Fromage Frais A Tartiner Ciboulette &amp; Echalote Boite 1X150Gr 1P</c:v>
                </c:pt>
                <c:pt idx="40">
                  <c:v>Kiri Delicieusement Fouette Fromage Frais A Tartiner 1X125Gr 1P</c:v>
                </c:pt>
                <c:pt idx="41">
                  <c:v>Apericube Vertical Soiree Apero Fromage Fondu Cube Assortis 1X125Gr 24P</c:v>
                </c:pt>
                <c:pt idx="42">
                  <c:v>Apericube Hot Chalenge Aperitif 250G</c:v>
                </c:pt>
                <c:pt idx="43">
                  <c:v>Mini Babybel Aros Soft Cheese Enfant 110G</c:v>
                </c:pt>
                <c:pt idx="44">
                  <c:v>Boursin Classique Fromage Frais A Tartiner Figue Et 3 Noix Boite 1X150Gr 1P</c:v>
                </c:pt>
                <c:pt idx="45">
                  <c:v>Kiri Delicieusement Fouette Fromage Frais A Tartiner 1X210Gr 1P</c:v>
                </c:pt>
                <c:pt idx="46">
                  <c:v>Babybel Mini Rolls St Paulin Ferme Sachet 1X85Gr 5P</c:v>
                </c:pt>
                <c:pt idx="47">
                  <c:v>La Vache Qui Rit Pik Et Croq' Fromage Fondu Dips Boite 1X280Gr 8P</c:v>
                </c:pt>
                <c:pt idx="48">
                  <c:v>Boursin Salade &amp; Aperitif Soft Cheese Salade 120G</c:v>
                </c:pt>
                <c:pt idx="49">
                  <c:v>Boursin Salade &amp; Aperitif Fromage Frais Des Citron Romarin 1X120Gr 1P</c:v>
                </c:pt>
                <c:pt idx="50">
                  <c:v>La Vache Qui Rit Allegee Fromage Fondu Boite Ronde Allege 1X267Gr 16P</c:v>
                </c:pt>
                <c:pt idx="51">
                  <c:v>Apericube Fromages Du Monde Aperitif 250G</c:v>
                </c:pt>
                <c:pt idx="52">
                  <c:v>Kiri Bio Fromage Blanc Frais Carre 1X144Gr 8P</c:v>
                </c:pt>
                <c:pt idx="53">
                  <c:v>Boursin Classique Fromage Frais A Tartiner Poivre Boite 1X150Gr 1P</c:v>
                </c:pt>
                <c:pt idx="54">
                  <c:v>Apericube Carrement Toque Fromage Fondu Cube Assortis 1X250Gr 48P</c:v>
                </c:pt>
                <c:pt idx="55">
                  <c:v>Boursin Aperitif Roules Aperitif 100G</c:v>
                </c:pt>
                <c:pt idx="56">
                  <c:v>Apericube Montagne Aperitif 250G</c:v>
                </c:pt>
                <c:pt idx="57">
                  <c:v>Apericube Vertical Nature Fromage Fondu Cube 1X125Gr 24P</c:v>
                </c:pt>
                <c:pt idx="58">
                  <c:v>Boursin Vegetal Alternative Vegetale 150G</c:v>
                </c:pt>
                <c:pt idx="59">
                  <c:v>Nurishh Les Tranches Vegetales Emmental Vegetal Tranche Boite 1X160Gr 8P</c:v>
                </c:pt>
                <c:pt idx="60">
                  <c:v>Nurishh Les Tranches Vegetales Cheddar Vegetal Tranche Boite 1X160Gr 8P</c:v>
                </c:pt>
                <c:pt idx="61">
                  <c:v>Boursin Classique Fromage Frais A Tartiner Afh 1X256Gr 16P</c:v>
                </c:pt>
                <c:pt idx="62">
                  <c:v>Nurishh Le Rape Vegetal Specialite Vegetale Sachet 1X150Gr 1P</c:v>
                </c:pt>
                <c:pt idx="63">
                  <c:v>Boursin Classique Fromage Frais A Tartiner Afh Boite 1X320Gr 16+4P</c:v>
                </c:pt>
                <c:pt idx="64">
                  <c:v>Nurishh Le Palet Vegetal Specialite Vegetale Ovale Saveur Chevre Boite 1X140Gr 1P</c:v>
                </c:pt>
                <c:pt idx="65">
                  <c:v>Apericube Long Drink Fromage Fondu Cube Assortis 1X125Gr 24P</c:v>
                </c:pt>
                <c:pt idx="66">
                  <c:v>Boursin Classique Fromage Frais A Tartiner Afh Boite 1X80Gr 1P</c:v>
                </c:pt>
                <c:pt idx="67">
                  <c:v>Mini Babybel Aros Soft Cheese Enfant 120G</c:v>
                </c:pt>
                <c:pt idx="68">
                  <c:v>Apericube P'Tits Plaisirs Fromage Fondu Cube 3 Fromages &amp; Jambon Cru Olive Verte 1X78Gr 15P</c:v>
                </c:pt>
                <c:pt idx="69">
                  <c:v>Apericube Jambon Fromage Fondu Cube 1X78Gr 15P</c:v>
                </c:pt>
                <c:pt idx="70">
                  <c:v>Nurishh Le Rape Vegetal Specialite Vegetale Emmental Sachet 1X150Gr 1P</c:v>
                </c:pt>
                <c:pt idx="71">
                  <c:v>Nurishh Le Coeur Fleuri Vegetal Camembert Boite 1X140Gr 1P</c:v>
                </c:pt>
                <c:pt idx="72">
                  <c:v>Boursin Classique Fromage Frais A Tartiner 3 Noix Boite 1X150Gr 1P</c:v>
                </c:pt>
                <c:pt idx="73">
                  <c:v>Nurishh Le Rape Vegetal Mozzarella Vegetale Sachet 1X150Gr 1P</c:v>
                </c:pt>
                <c:pt idx="74">
                  <c:v>Boursin Onctueux Fromage Frais A Tartiner Afh 1X210Gr 1P</c:v>
                </c:pt>
                <c:pt idx="75">
                  <c:v>Mini Babybel Rouge Filet St Paulin Ferme Sachet 1X40Gr 1P</c:v>
                </c:pt>
                <c:pt idx="76">
                  <c:v>Nurishh Des Vegetaux Feta Vegetale Sachet 1X150Gr 1P</c:v>
                </c:pt>
                <c:pt idx="77">
                  <c:v>Boursin Classique Fromage Frais A Tartiner 3 Noix 1X160Gr 10P</c:v>
                </c:pt>
                <c:pt idx="78">
                  <c:v>Nurishh Les Tranches Vegetales Specialite Vegetale Tranche Piment Boite 1X120Gr 6P</c:v>
                </c:pt>
                <c:pt idx="79">
                  <c:v>Kiri Delicieusement Fouette Fromage Frais A Tartiner 1X160Gr 10P</c:v>
                </c:pt>
                <c:pt idx="80">
                  <c:v>Apericube Charcut' Fromages Fromage Fondu Cube Assortis 1X250Gr 48P</c:v>
                </c:pt>
                <c:pt idx="81">
                  <c:v>Apericube Selection Du Fromager Fromage Fondu Cube Assortis 1X250Gr 48P</c:v>
                </c:pt>
                <c:pt idx="82">
                  <c:v>La Vache Qui Rit Pik Et Croq' Fromage Fondu Dips Boite 1X35Gr 1P</c:v>
                </c:pt>
                <c:pt idx="83">
                  <c:v>La Vache Qui Rit Aro Fromage Fondu Boite Ronde Jambon 1X133Gr 8P</c:v>
                </c:pt>
                <c:pt idx="84">
                  <c:v>Apericube Sucre Sale Fromage Fondu Cube Assortis 1X250Gr 48P</c:v>
                </c:pt>
                <c:pt idx="85">
                  <c:v>Apericube Nature Fromage Fondu Cube 1X250Gr 48P</c:v>
                </c:pt>
                <c:pt idx="86">
                  <c:v>La Vache Qui Rit Bio Fromage Fondu Boite Ronde 1X128Gr 8P</c:v>
                </c:pt>
                <c:pt idx="87">
                  <c:v>Kiri Chevre Fromage Blanc Frais Carre 1X144Gr 8P</c:v>
                </c:pt>
                <c:pt idx="88">
                  <c:v>Mini Babybel Aros St Paulin Ferme Raclette Filet 1X132Gr 6P</c:v>
                </c:pt>
                <c:pt idx="89">
                  <c:v>Nurishh Le Tartinable Vegetal Specialite Vegetale A Tartiner 1X130Gr 1P</c:v>
                </c:pt>
                <c:pt idx="90">
                  <c:v>Mini Babybel Rouge Filet St Paulin Ferme 1X110Gr 5P</c:v>
                </c:pt>
                <c:pt idx="91">
                  <c:v>Mini Babybel Aros St Paulin Ferme Assortis Filet 1X180Gr 9P</c:v>
                </c:pt>
                <c:pt idx="92">
                  <c:v>Limiano Queijo Flamengo Autre Sachet 1X450Gr 1P</c:v>
                </c:pt>
                <c:pt idx="93">
                  <c:v>Mini Babybel Aros St Paulin Ferme Emmental Filet 1X120Gr 6P</c:v>
                </c:pt>
                <c:pt idx="94">
                  <c:v>Boursin Salade &amp; Aperitif Fromage Frais Des Noisette Et 3 Noix 1X120Gr 1P</c:v>
                </c:pt>
                <c:pt idx="95">
                  <c:v>Boursin Aperitif Roules Fromage Frais Roule Jambon Fume &amp; Trio De Noix Boite 1X100Gr 20P</c:v>
                </c:pt>
                <c:pt idx="96">
                  <c:v>Boursin Vegetal Specialite Vegetale A Tartiner Afh 1X130Gr 1P</c:v>
                </c:pt>
              </c:strCache>
            </c:strRef>
          </c:cat>
          <c:val>
            <c:numRef>
              <c:f>Sheet1!$B$2:$B$98</c:f>
              <c:numCache>
                <c:formatCode>General</c:formatCode>
                <c:ptCount val="97"/>
                <c:pt idx="0">
                  <c:v>0.98899999999999999</c:v>
                </c:pt>
                <c:pt idx="1">
                  <c:v>0.86199999999999999</c:v>
                </c:pt>
                <c:pt idx="2">
                  <c:v>0.86399999999999999</c:v>
                </c:pt>
                <c:pt idx="3">
                  <c:v>0.80400000000000005</c:v>
                </c:pt>
                <c:pt idx="4">
                  <c:v>0.97799999999999998</c:v>
                </c:pt>
                <c:pt idx="5">
                  <c:v>0.76200000000000001</c:v>
                </c:pt>
                <c:pt idx="6">
                  <c:v>0.98899999999999999</c:v>
                </c:pt>
                <c:pt idx="7">
                  <c:v>0.88500000000000001</c:v>
                </c:pt>
                <c:pt idx="8">
                  <c:v>0.94699999999999995</c:v>
                </c:pt>
                <c:pt idx="9">
                  <c:v>0.80500000000000005</c:v>
                </c:pt>
                <c:pt idx="10">
                  <c:v>0.86399999999999999</c:v>
                </c:pt>
                <c:pt idx="11">
                  <c:v>0.438</c:v>
                </c:pt>
                <c:pt idx="12">
                  <c:v>0.96799999999999997</c:v>
                </c:pt>
                <c:pt idx="13">
                  <c:v>0.82399999999999995</c:v>
                </c:pt>
                <c:pt idx="14">
                  <c:v>0.90300000000000002</c:v>
                </c:pt>
                <c:pt idx="15">
                  <c:v>0.96099999999999997</c:v>
                </c:pt>
                <c:pt idx="16">
                  <c:v>0.80500000000000005</c:v>
                </c:pt>
                <c:pt idx="17">
                  <c:v>0.89900000000000002</c:v>
                </c:pt>
                <c:pt idx="18">
                  <c:v>0.71699999999999997</c:v>
                </c:pt>
                <c:pt idx="19">
                  <c:v>0.90600000000000003</c:v>
                </c:pt>
                <c:pt idx="20">
                  <c:v>0.80100000000000005</c:v>
                </c:pt>
                <c:pt idx="21">
                  <c:v>0.73599999999999999</c:v>
                </c:pt>
                <c:pt idx="22">
                  <c:v>0.72</c:v>
                </c:pt>
                <c:pt idx="23">
                  <c:v>0.71199999999999997</c:v>
                </c:pt>
                <c:pt idx="24">
                  <c:v>0.83499999999999996</c:v>
                </c:pt>
                <c:pt idx="25">
                  <c:v>0.755</c:v>
                </c:pt>
                <c:pt idx="26">
                  <c:v>0.71499999999999997</c:v>
                </c:pt>
                <c:pt idx="27">
                  <c:v>0.67800000000000005</c:v>
                </c:pt>
                <c:pt idx="28">
                  <c:v>0.69299999999999995</c:v>
                </c:pt>
                <c:pt idx="29">
                  <c:v>0.71899999999999997</c:v>
                </c:pt>
                <c:pt idx="30">
                  <c:v>0.80500000000000005</c:v>
                </c:pt>
                <c:pt idx="31">
                  <c:v>0.52700000000000002</c:v>
                </c:pt>
                <c:pt idx="32">
                  <c:v>0.47199999999999998</c:v>
                </c:pt>
                <c:pt idx="33">
                  <c:v>0.69299999999999995</c:v>
                </c:pt>
                <c:pt idx="34">
                  <c:v>0.73599999999999999</c:v>
                </c:pt>
                <c:pt idx="35">
                  <c:v>0.41099999999999998</c:v>
                </c:pt>
                <c:pt idx="36">
                  <c:v>0.79300000000000004</c:v>
                </c:pt>
                <c:pt idx="37">
                  <c:v>0.76300000000000001</c:v>
                </c:pt>
                <c:pt idx="38">
                  <c:v>0.76600000000000001</c:v>
                </c:pt>
                <c:pt idx="39">
                  <c:v>0.78600000000000003</c:v>
                </c:pt>
                <c:pt idx="40">
                  <c:v>0.75</c:v>
                </c:pt>
                <c:pt idx="41">
                  <c:v>9.4E-2</c:v>
                </c:pt>
                <c:pt idx="42">
                  <c:v>0.46800000000000003</c:v>
                </c:pt>
                <c:pt idx="43">
                  <c:v>0.64100000000000001</c:v>
                </c:pt>
                <c:pt idx="44">
                  <c:v>0.67200000000000004</c:v>
                </c:pt>
                <c:pt idx="45">
                  <c:v>0.61199999999999999</c:v>
                </c:pt>
                <c:pt idx="46">
                  <c:v>0.59599999999999997</c:v>
                </c:pt>
                <c:pt idx="47">
                  <c:v>0.42</c:v>
                </c:pt>
                <c:pt idx="48">
                  <c:v>0.69399999999999995</c:v>
                </c:pt>
                <c:pt idx="49">
                  <c:v>0.69399999999999995</c:v>
                </c:pt>
                <c:pt idx="50">
                  <c:v>0.48199999999999998</c:v>
                </c:pt>
                <c:pt idx="51">
                  <c:v>0.34699999999999998</c:v>
                </c:pt>
                <c:pt idx="52">
                  <c:v>0.39200000000000002</c:v>
                </c:pt>
                <c:pt idx="53">
                  <c:v>0.39700000000000002</c:v>
                </c:pt>
                <c:pt idx="54">
                  <c:v>0.47199999999999998</c:v>
                </c:pt>
                <c:pt idx="55">
                  <c:v>0.35</c:v>
                </c:pt>
                <c:pt idx="56">
                  <c:v>0.26700000000000002</c:v>
                </c:pt>
                <c:pt idx="57">
                  <c:v>4.7E-2</c:v>
                </c:pt>
                <c:pt idx="58">
                  <c:v>0.45200000000000001</c:v>
                </c:pt>
                <c:pt idx="59">
                  <c:v>0.41399999999999998</c:v>
                </c:pt>
                <c:pt idx="60">
                  <c:v>0.42699999999999999</c:v>
                </c:pt>
                <c:pt idx="61">
                  <c:v>0.23899999999999999</c:v>
                </c:pt>
                <c:pt idx="62">
                  <c:v>0.42399999999999999</c:v>
                </c:pt>
                <c:pt idx="63">
                  <c:v>0.38400000000000001</c:v>
                </c:pt>
                <c:pt idx="64">
                  <c:v>0.35099999999999998</c:v>
                </c:pt>
                <c:pt idx="65">
                  <c:v>0.65700000000000003</c:v>
                </c:pt>
                <c:pt idx="66">
                  <c:v>0.36599999999999999</c:v>
                </c:pt>
                <c:pt idx="67">
                  <c:v>0.307</c:v>
                </c:pt>
                <c:pt idx="68">
                  <c:v>0.34200000000000003</c:v>
                </c:pt>
                <c:pt idx="69">
                  <c:v>4.2999999999999997E-2</c:v>
                </c:pt>
                <c:pt idx="70">
                  <c:v>0.35099999999999998</c:v>
                </c:pt>
                <c:pt idx="71">
                  <c:v>0.29099999999999998</c:v>
                </c:pt>
                <c:pt idx="72">
                  <c:v>0.34</c:v>
                </c:pt>
                <c:pt idx="73">
                  <c:v>0.30199999999999999</c:v>
                </c:pt>
                <c:pt idx="74">
                  <c:v>0.27400000000000002</c:v>
                </c:pt>
                <c:pt idx="75">
                  <c:v>0.124</c:v>
                </c:pt>
                <c:pt idx="76">
                  <c:v>0.29499999999999998</c:v>
                </c:pt>
                <c:pt idx="77">
                  <c:v>0.24</c:v>
                </c:pt>
                <c:pt idx="78">
                  <c:v>0.25700000000000001</c:v>
                </c:pt>
                <c:pt idx="79">
                  <c:v>0.39500000000000002</c:v>
                </c:pt>
                <c:pt idx="80">
                  <c:v>0.106</c:v>
                </c:pt>
                <c:pt idx="81">
                  <c:v>9.6000000000000002E-2</c:v>
                </c:pt>
                <c:pt idx="82">
                  <c:v>8.0000000000000002E-3</c:v>
                </c:pt>
                <c:pt idx="83">
                  <c:v>2.7E-2</c:v>
                </c:pt>
                <c:pt idx="84">
                  <c:v>0.08</c:v>
                </c:pt>
                <c:pt idx="85">
                  <c:v>0.115</c:v>
                </c:pt>
                <c:pt idx="86">
                  <c:v>0.155</c:v>
                </c:pt>
                <c:pt idx="87">
                  <c:v>7.9000000000000001E-2</c:v>
                </c:pt>
                <c:pt idx="88">
                  <c:v>0.17799999999999999</c:v>
                </c:pt>
                <c:pt idx="89">
                  <c:v>0.157</c:v>
                </c:pt>
                <c:pt idx="90">
                  <c:v>1.7999999999999999E-2</c:v>
                </c:pt>
                <c:pt idx="91">
                  <c:v>3.6999999999999998E-2</c:v>
                </c:pt>
                <c:pt idx="92">
                  <c:v>5.0000000000000001E-3</c:v>
                </c:pt>
                <c:pt idx="93">
                  <c:v>3.2000000000000001E-2</c:v>
                </c:pt>
                <c:pt idx="94">
                  <c:v>1.0999999999999999E-2</c:v>
                </c:pt>
                <c:pt idx="95">
                  <c:v>8.9999999999999993E-3</c:v>
                </c:pt>
                <c:pt idx="96">
                  <c:v>5.000000000000000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invertIfNegative val="1"/>
            <c:bubble3D val="0"/>
            <c:spPr>
              <a:solidFill>
                <a:srgbClr val="7ECAC4"/>
              </a:solidFill>
            </c:spPr>
            <c:extLst>
              <c:ext xmlns:c16="http://schemas.microsoft.com/office/drawing/2014/chart" uri="{C3380CC4-5D6E-409C-BE32-E72D297353CC}">
                <c16:uniqueId val="{0000005B-B3A1-4C35-B360-5E377BC2FB5F}"/>
              </c:ext>
            </c:extLst>
          </c:dPt>
          <c:dPt>
            <c:idx val="45"/>
            <c:invertIfNegative val="1"/>
            <c:bubble3D val="0"/>
            <c:spPr>
              <a:solidFill>
                <a:srgbClr val="AEABAB"/>
              </a:solidFill>
            </c:spPr>
            <c:extLst>
              <c:ext xmlns:c16="http://schemas.microsoft.com/office/drawing/2014/chart" uri="{C3380CC4-5D6E-409C-BE32-E72D297353CC}">
                <c16:uniqueId val="{0000005D-B3A1-4C35-B360-5E377BC2FB5F}"/>
              </c:ext>
            </c:extLst>
          </c:dPt>
          <c:dPt>
            <c:idx val="46"/>
            <c:invertIfNegative val="1"/>
            <c:bubble3D val="0"/>
            <c:spPr>
              <a:solidFill>
                <a:srgbClr val="AEABAB"/>
              </a:solidFill>
            </c:spPr>
            <c:extLst>
              <c:ext xmlns:c16="http://schemas.microsoft.com/office/drawing/2014/chart" uri="{C3380CC4-5D6E-409C-BE32-E72D297353CC}">
                <c16:uniqueId val="{0000005F-B3A1-4C35-B360-5E377BC2FB5F}"/>
              </c:ext>
            </c:extLst>
          </c:dPt>
          <c:dPt>
            <c:idx val="47"/>
            <c:invertIfNegative val="1"/>
            <c:bubble3D val="0"/>
            <c:spPr>
              <a:solidFill>
                <a:srgbClr val="AEABAB"/>
              </a:solidFill>
            </c:spPr>
            <c:extLst>
              <c:ext xmlns:c16="http://schemas.microsoft.com/office/drawing/2014/chart" uri="{C3380CC4-5D6E-409C-BE32-E72D297353CC}">
                <c16:uniqueId val="{00000061-B3A1-4C35-B360-5E377BC2FB5F}"/>
              </c:ext>
            </c:extLst>
          </c:dPt>
          <c:dPt>
            <c:idx val="48"/>
            <c:invertIfNegative val="1"/>
            <c:bubble3D val="0"/>
            <c:spPr>
              <a:solidFill>
                <a:srgbClr val="AEABAB"/>
              </a:solidFill>
            </c:spPr>
            <c:extLst>
              <c:ext xmlns:c16="http://schemas.microsoft.com/office/drawing/2014/chart" uri="{C3380CC4-5D6E-409C-BE32-E72D297353CC}">
                <c16:uniqueId val="{00000063-B3A1-4C35-B360-5E377BC2FB5F}"/>
              </c:ext>
            </c:extLst>
          </c:dPt>
          <c:dPt>
            <c:idx val="49"/>
            <c:invertIfNegative val="1"/>
            <c:bubble3D val="0"/>
            <c:spPr>
              <a:solidFill>
                <a:srgbClr val="AEABAB"/>
              </a:solidFill>
            </c:spPr>
            <c:extLst>
              <c:ext xmlns:c16="http://schemas.microsoft.com/office/drawing/2014/chart" uri="{C3380CC4-5D6E-409C-BE32-E72D297353CC}">
                <c16:uniqueId val="{00000065-B3A1-4C35-B360-5E377BC2FB5F}"/>
              </c:ext>
            </c:extLst>
          </c:dPt>
          <c:dPt>
            <c:idx val="50"/>
            <c:invertIfNegative val="1"/>
            <c:bubble3D val="0"/>
            <c:spPr>
              <a:solidFill>
                <a:srgbClr val="AEABAB"/>
              </a:solidFill>
            </c:spPr>
            <c:extLst>
              <c:ext xmlns:c16="http://schemas.microsoft.com/office/drawing/2014/chart" uri="{C3380CC4-5D6E-409C-BE32-E72D297353CC}">
                <c16:uniqueId val="{00000067-B3A1-4C35-B360-5E377BC2FB5F}"/>
              </c:ext>
            </c:extLst>
          </c:dPt>
          <c:dPt>
            <c:idx val="51"/>
            <c:invertIfNegative val="1"/>
            <c:bubble3D val="0"/>
            <c:spPr>
              <a:solidFill>
                <a:srgbClr val="AEABAB"/>
              </a:solidFill>
            </c:spPr>
            <c:extLst>
              <c:ext xmlns:c16="http://schemas.microsoft.com/office/drawing/2014/chart" uri="{C3380CC4-5D6E-409C-BE32-E72D297353CC}">
                <c16:uniqueId val="{00000069-B3A1-4C35-B360-5E377BC2FB5F}"/>
              </c:ext>
            </c:extLst>
          </c:dPt>
          <c:dPt>
            <c:idx val="52"/>
            <c:invertIfNegative val="1"/>
            <c:bubble3D val="0"/>
            <c:spPr>
              <a:solidFill>
                <a:srgbClr val="AEABAB"/>
              </a:solidFill>
            </c:spPr>
            <c:extLst>
              <c:ext xmlns:c16="http://schemas.microsoft.com/office/drawing/2014/chart" uri="{C3380CC4-5D6E-409C-BE32-E72D297353CC}">
                <c16:uniqueId val="{0000006B-B3A1-4C35-B360-5E377BC2FB5F}"/>
              </c:ext>
            </c:extLst>
          </c:dPt>
          <c:dPt>
            <c:idx val="53"/>
            <c:invertIfNegative val="1"/>
            <c:bubble3D val="0"/>
            <c:spPr>
              <a:solidFill>
                <a:srgbClr val="AEABAB"/>
              </a:solidFill>
            </c:spPr>
            <c:extLst>
              <c:ext xmlns:c16="http://schemas.microsoft.com/office/drawing/2014/chart" uri="{C3380CC4-5D6E-409C-BE32-E72D297353CC}">
                <c16:uniqueId val="{0000006D-B3A1-4C35-B360-5E377BC2FB5F}"/>
              </c:ext>
            </c:extLst>
          </c:dPt>
          <c:dPt>
            <c:idx val="54"/>
            <c:invertIfNegative val="1"/>
            <c:bubble3D val="0"/>
            <c:spPr>
              <a:solidFill>
                <a:srgbClr val="AEABAB"/>
              </a:solidFill>
            </c:spPr>
            <c:extLst>
              <c:ext xmlns:c16="http://schemas.microsoft.com/office/drawing/2014/chart" uri="{C3380CC4-5D6E-409C-BE32-E72D297353CC}">
                <c16:uniqueId val="{0000006F-B3A1-4C35-B360-5E377BC2FB5F}"/>
              </c:ext>
            </c:extLst>
          </c:dPt>
          <c:dPt>
            <c:idx val="55"/>
            <c:invertIfNegative val="1"/>
            <c:bubble3D val="0"/>
            <c:spPr>
              <a:solidFill>
                <a:srgbClr val="AEABAB"/>
              </a:solidFill>
            </c:spPr>
            <c:extLst>
              <c:ext xmlns:c16="http://schemas.microsoft.com/office/drawing/2014/chart" uri="{C3380CC4-5D6E-409C-BE32-E72D297353CC}">
                <c16:uniqueId val="{00000071-B3A1-4C35-B360-5E377BC2FB5F}"/>
              </c:ext>
            </c:extLst>
          </c:dPt>
          <c:dPt>
            <c:idx val="56"/>
            <c:invertIfNegative val="1"/>
            <c:bubble3D val="0"/>
            <c:spPr>
              <a:solidFill>
                <a:srgbClr val="AEABAB"/>
              </a:solidFill>
            </c:spPr>
            <c:extLst>
              <c:ext xmlns:c16="http://schemas.microsoft.com/office/drawing/2014/chart" uri="{C3380CC4-5D6E-409C-BE32-E72D297353CC}">
                <c16:uniqueId val="{00000073-B3A1-4C35-B360-5E377BC2FB5F}"/>
              </c:ext>
            </c:extLst>
          </c:dPt>
          <c:dPt>
            <c:idx val="57"/>
            <c:invertIfNegative val="1"/>
            <c:bubble3D val="0"/>
            <c:spPr>
              <a:solidFill>
                <a:srgbClr val="AEABAB"/>
              </a:solidFill>
            </c:spPr>
            <c:extLst>
              <c:ext xmlns:c16="http://schemas.microsoft.com/office/drawing/2014/chart" uri="{C3380CC4-5D6E-409C-BE32-E72D297353CC}">
                <c16:uniqueId val="{00000075-B3A1-4C35-B360-5E377BC2FB5F}"/>
              </c:ext>
            </c:extLst>
          </c:dPt>
          <c:dPt>
            <c:idx val="58"/>
            <c:invertIfNegative val="1"/>
            <c:bubble3D val="0"/>
            <c:spPr>
              <a:solidFill>
                <a:srgbClr val="AEABAB"/>
              </a:solidFill>
            </c:spPr>
            <c:extLst>
              <c:ext xmlns:c16="http://schemas.microsoft.com/office/drawing/2014/chart" uri="{C3380CC4-5D6E-409C-BE32-E72D297353CC}">
                <c16:uniqueId val="{00000077-B3A1-4C35-B360-5E377BC2FB5F}"/>
              </c:ext>
            </c:extLst>
          </c:dPt>
          <c:dPt>
            <c:idx val="59"/>
            <c:invertIfNegative val="1"/>
            <c:bubble3D val="0"/>
            <c:spPr>
              <a:solidFill>
                <a:srgbClr val="AEABAB"/>
              </a:solidFill>
            </c:spPr>
            <c:extLst>
              <c:ext xmlns:c16="http://schemas.microsoft.com/office/drawing/2014/chart" uri="{C3380CC4-5D6E-409C-BE32-E72D297353CC}">
                <c16:uniqueId val="{00000079-B3A1-4C35-B360-5E377BC2FB5F}"/>
              </c:ext>
            </c:extLst>
          </c:dPt>
          <c:dPt>
            <c:idx val="60"/>
            <c:invertIfNegative val="1"/>
            <c:bubble3D val="0"/>
            <c:spPr>
              <a:solidFill>
                <a:srgbClr val="AEABAB"/>
              </a:solidFill>
            </c:spPr>
            <c:extLst>
              <c:ext xmlns:c16="http://schemas.microsoft.com/office/drawing/2014/chart" uri="{C3380CC4-5D6E-409C-BE32-E72D297353CC}">
                <c16:uniqueId val="{0000007B-B3A1-4C35-B360-5E377BC2FB5F}"/>
              </c:ext>
            </c:extLst>
          </c:dPt>
          <c:dPt>
            <c:idx val="61"/>
            <c:invertIfNegative val="1"/>
            <c:bubble3D val="0"/>
            <c:spPr>
              <a:solidFill>
                <a:srgbClr val="AEABAB"/>
              </a:solidFill>
            </c:spPr>
            <c:extLst>
              <c:ext xmlns:c16="http://schemas.microsoft.com/office/drawing/2014/chart" uri="{C3380CC4-5D6E-409C-BE32-E72D297353CC}">
                <c16:uniqueId val="{0000007D-B3A1-4C35-B360-5E377BC2FB5F}"/>
              </c:ext>
            </c:extLst>
          </c:dPt>
          <c:dPt>
            <c:idx val="62"/>
            <c:invertIfNegative val="1"/>
            <c:bubble3D val="0"/>
            <c:spPr>
              <a:solidFill>
                <a:srgbClr val="AEABAB"/>
              </a:solidFill>
            </c:spPr>
            <c:extLst>
              <c:ext xmlns:c16="http://schemas.microsoft.com/office/drawing/2014/chart" uri="{C3380CC4-5D6E-409C-BE32-E72D297353CC}">
                <c16:uniqueId val="{0000007F-B3A1-4C35-B360-5E377BC2FB5F}"/>
              </c:ext>
            </c:extLst>
          </c:dPt>
          <c:dPt>
            <c:idx val="63"/>
            <c:invertIfNegative val="1"/>
            <c:bubble3D val="0"/>
            <c:spPr>
              <a:solidFill>
                <a:srgbClr val="AEABAB"/>
              </a:solidFill>
            </c:spPr>
            <c:extLst>
              <c:ext xmlns:c16="http://schemas.microsoft.com/office/drawing/2014/chart" uri="{C3380CC4-5D6E-409C-BE32-E72D297353CC}">
                <c16:uniqueId val="{00000081-B3A1-4C35-B360-5E377BC2FB5F}"/>
              </c:ext>
            </c:extLst>
          </c:dPt>
          <c:dPt>
            <c:idx val="64"/>
            <c:invertIfNegative val="1"/>
            <c:bubble3D val="0"/>
            <c:spPr>
              <a:solidFill>
                <a:srgbClr val="AEABAB"/>
              </a:solidFill>
            </c:spPr>
            <c:extLst>
              <c:ext xmlns:c16="http://schemas.microsoft.com/office/drawing/2014/chart" uri="{C3380CC4-5D6E-409C-BE32-E72D297353CC}">
                <c16:uniqueId val="{00000083-B3A1-4C35-B360-5E377BC2FB5F}"/>
              </c:ext>
            </c:extLst>
          </c:dPt>
          <c:dPt>
            <c:idx val="65"/>
            <c:invertIfNegative val="1"/>
            <c:bubble3D val="0"/>
            <c:spPr>
              <a:solidFill>
                <a:srgbClr val="AEABAB"/>
              </a:solidFill>
            </c:spPr>
            <c:extLst>
              <c:ext xmlns:c16="http://schemas.microsoft.com/office/drawing/2014/chart" uri="{C3380CC4-5D6E-409C-BE32-E72D297353CC}">
                <c16:uniqueId val="{00000085-B3A1-4C35-B360-5E377BC2FB5F}"/>
              </c:ext>
            </c:extLst>
          </c:dPt>
          <c:dPt>
            <c:idx val="66"/>
            <c:invertIfNegative val="1"/>
            <c:bubble3D val="0"/>
            <c:spPr>
              <a:solidFill>
                <a:srgbClr val="AEABAB"/>
              </a:solidFill>
            </c:spPr>
            <c:extLst>
              <c:ext xmlns:c16="http://schemas.microsoft.com/office/drawing/2014/chart" uri="{C3380CC4-5D6E-409C-BE32-E72D297353CC}">
                <c16:uniqueId val="{00000087-B3A1-4C35-B360-5E377BC2FB5F}"/>
              </c:ext>
            </c:extLst>
          </c:dPt>
          <c:dPt>
            <c:idx val="67"/>
            <c:invertIfNegative val="1"/>
            <c:bubble3D val="0"/>
            <c:spPr>
              <a:solidFill>
                <a:srgbClr val="AEABAB"/>
              </a:solidFill>
            </c:spPr>
            <c:extLst>
              <c:ext xmlns:c16="http://schemas.microsoft.com/office/drawing/2014/chart" uri="{C3380CC4-5D6E-409C-BE32-E72D297353CC}">
                <c16:uniqueId val="{00000089-B3A1-4C35-B360-5E377BC2FB5F}"/>
              </c:ext>
            </c:extLst>
          </c:dPt>
          <c:dPt>
            <c:idx val="68"/>
            <c:invertIfNegative val="1"/>
            <c:bubble3D val="0"/>
            <c:spPr>
              <a:solidFill>
                <a:srgbClr val="AEABAB"/>
              </a:solidFill>
            </c:spPr>
            <c:extLst>
              <c:ext xmlns:c16="http://schemas.microsoft.com/office/drawing/2014/chart" uri="{C3380CC4-5D6E-409C-BE32-E72D297353CC}">
                <c16:uniqueId val="{0000008B-B3A1-4C35-B360-5E377BC2FB5F}"/>
              </c:ext>
            </c:extLst>
          </c:dPt>
          <c:dPt>
            <c:idx val="69"/>
            <c:invertIfNegative val="1"/>
            <c:bubble3D val="0"/>
            <c:spPr>
              <a:solidFill>
                <a:srgbClr val="AEABAB"/>
              </a:solidFill>
            </c:spPr>
            <c:extLst>
              <c:ext xmlns:c16="http://schemas.microsoft.com/office/drawing/2014/chart" uri="{C3380CC4-5D6E-409C-BE32-E72D297353CC}">
                <c16:uniqueId val="{0000008D-B3A1-4C35-B360-5E377BC2FB5F}"/>
              </c:ext>
            </c:extLst>
          </c:dPt>
          <c:dPt>
            <c:idx val="70"/>
            <c:invertIfNegative val="1"/>
            <c:bubble3D val="0"/>
            <c:spPr>
              <a:solidFill>
                <a:srgbClr val="AEABAB"/>
              </a:solidFill>
            </c:spPr>
            <c:extLst>
              <c:ext xmlns:c16="http://schemas.microsoft.com/office/drawing/2014/chart" uri="{C3380CC4-5D6E-409C-BE32-E72D297353CC}">
                <c16:uniqueId val="{0000008F-B3A1-4C35-B360-5E377BC2FB5F}"/>
              </c:ext>
            </c:extLst>
          </c:dPt>
          <c:dPt>
            <c:idx val="71"/>
            <c:invertIfNegative val="1"/>
            <c:bubble3D val="0"/>
            <c:spPr>
              <a:solidFill>
                <a:srgbClr val="AEABAB"/>
              </a:solidFill>
            </c:spPr>
            <c:extLst>
              <c:ext xmlns:c16="http://schemas.microsoft.com/office/drawing/2014/chart" uri="{C3380CC4-5D6E-409C-BE32-E72D297353CC}">
                <c16:uniqueId val="{00000091-B3A1-4C35-B360-5E377BC2FB5F}"/>
              </c:ext>
            </c:extLst>
          </c:dPt>
          <c:dPt>
            <c:idx val="72"/>
            <c:invertIfNegative val="1"/>
            <c:bubble3D val="0"/>
            <c:spPr>
              <a:solidFill>
                <a:srgbClr val="AEABAB"/>
              </a:solidFill>
            </c:spPr>
            <c:extLst>
              <c:ext xmlns:c16="http://schemas.microsoft.com/office/drawing/2014/chart" uri="{C3380CC4-5D6E-409C-BE32-E72D297353CC}">
                <c16:uniqueId val="{00000093-B3A1-4C35-B360-5E377BC2FB5F}"/>
              </c:ext>
            </c:extLst>
          </c:dPt>
          <c:dPt>
            <c:idx val="73"/>
            <c:invertIfNegative val="1"/>
            <c:bubble3D val="0"/>
            <c:spPr>
              <a:solidFill>
                <a:srgbClr val="AEABAB"/>
              </a:solidFill>
            </c:spPr>
            <c:extLst>
              <c:ext xmlns:c16="http://schemas.microsoft.com/office/drawing/2014/chart" uri="{C3380CC4-5D6E-409C-BE32-E72D297353CC}">
                <c16:uniqueId val="{00000095-B3A1-4C35-B360-5E377BC2FB5F}"/>
              </c:ext>
            </c:extLst>
          </c:dPt>
          <c:dPt>
            <c:idx val="74"/>
            <c:invertIfNegative val="1"/>
            <c:bubble3D val="0"/>
            <c:spPr>
              <a:solidFill>
                <a:srgbClr val="AEABAB"/>
              </a:solidFill>
            </c:spPr>
            <c:extLst>
              <c:ext xmlns:c16="http://schemas.microsoft.com/office/drawing/2014/chart" uri="{C3380CC4-5D6E-409C-BE32-E72D297353CC}">
                <c16:uniqueId val="{00000097-B3A1-4C35-B360-5E377BC2FB5F}"/>
              </c:ext>
            </c:extLst>
          </c:dPt>
          <c:dPt>
            <c:idx val="75"/>
            <c:invertIfNegative val="1"/>
            <c:bubble3D val="0"/>
            <c:spPr>
              <a:solidFill>
                <a:srgbClr val="AEABAB"/>
              </a:solidFill>
            </c:spPr>
            <c:extLst>
              <c:ext xmlns:c16="http://schemas.microsoft.com/office/drawing/2014/chart" uri="{C3380CC4-5D6E-409C-BE32-E72D297353CC}">
                <c16:uniqueId val="{00000099-B3A1-4C35-B360-5E377BC2FB5F}"/>
              </c:ext>
            </c:extLst>
          </c:dPt>
          <c:dPt>
            <c:idx val="76"/>
            <c:invertIfNegative val="1"/>
            <c:bubble3D val="0"/>
            <c:spPr>
              <a:solidFill>
                <a:srgbClr val="AEABAB"/>
              </a:solidFill>
            </c:spPr>
            <c:extLst>
              <c:ext xmlns:c16="http://schemas.microsoft.com/office/drawing/2014/chart" uri="{C3380CC4-5D6E-409C-BE32-E72D297353CC}">
                <c16:uniqueId val="{0000009B-B3A1-4C35-B360-5E377BC2FB5F}"/>
              </c:ext>
            </c:extLst>
          </c:dPt>
          <c:dPt>
            <c:idx val="77"/>
            <c:invertIfNegative val="1"/>
            <c:bubble3D val="0"/>
            <c:spPr>
              <a:solidFill>
                <a:srgbClr val="AEABAB"/>
              </a:solidFill>
            </c:spPr>
            <c:extLst>
              <c:ext xmlns:c16="http://schemas.microsoft.com/office/drawing/2014/chart" uri="{C3380CC4-5D6E-409C-BE32-E72D297353CC}">
                <c16:uniqueId val="{0000009D-B3A1-4C35-B360-5E377BC2FB5F}"/>
              </c:ext>
            </c:extLst>
          </c:dPt>
          <c:dPt>
            <c:idx val="78"/>
            <c:invertIfNegative val="1"/>
            <c:bubble3D val="0"/>
            <c:spPr>
              <a:solidFill>
                <a:srgbClr val="AEABAB"/>
              </a:solidFill>
            </c:spPr>
            <c:extLst>
              <c:ext xmlns:c16="http://schemas.microsoft.com/office/drawing/2014/chart" uri="{C3380CC4-5D6E-409C-BE32-E72D297353CC}">
                <c16:uniqueId val="{0000009F-B3A1-4C35-B360-5E377BC2FB5F}"/>
              </c:ext>
            </c:extLst>
          </c:dPt>
          <c:dPt>
            <c:idx val="79"/>
            <c:invertIfNegative val="1"/>
            <c:bubble3D val="0"/>
            <c:spPr>
              <a:solidFill>
                <a:srgbClr val="AEABAB"/>
              </a:solidFill>
            </c:spPr>
            <c:extLst>
              <c:ext xmlns:c16="http://schemas.microsoft.com/office/drawing/2014/chart" uri="{C3380CC4-5D6E-409C-BE32-E72D297353CC}">
                <c16:uniqueId val="{000000A1-B3A1-4C35-B360-5E377BC2FB5F}"/>
              </c:ext>
            </c:extLst>
          </c:dPt>
          <c:dPt>
            <c:idx val="80"/>
            <c:invertIfNegative val="1"/>
            <c:bubble3D val="0"/>
            <c:spPr>
              <a:solidFill>
                <a:srgbClr val="AEABAB"/>
              </a:solidFill>
            </c:spPr>
            <c:extLst>
              <c:ext xmlns:c16="http://schemas.microsoft.com/office/drawing/2014/chart" uri="{C3380CC4-5D6E-409C-BE32-E72D297353CC}">
                <c16:uniqueId val="{000000A3-B3A1-4C35-B360-5E377BC2FB5F}"/>
              </c:ext>
            </c:extLst>
          </c:dPt>
          <c:dPt>
            <c:idx val="81"/>
            <c:invertIfNegative val="1"/>
            <c:bubble3D val="0"/>
            <c:spPr>
              <a:solidFill>
                <a:srgbClr val="AEABAB"/>
              </a:solidFill>
            </c:spPr>
            <c:extLst>
              <c:ext xmlns:c16="http://schemas.microsoft.com/office/drawing/2014/chart" uri="{C3380CC4-5D6E-409C-BE32-E72D297353CC}">
                <c16:uniqueId val="{000000A5-B3A1-4C35-B360-5E377BC2FB5F}"/>
              </c:ext>
            </c:extLst>
          </c:dPt>
          <c:dPt>
            <c:idx val="82"/>
            <c:invertIfNegative val="1"/>
            <c:bubble3D val="0"/>
            <c:spPr>
              <a:solidFill>
                <a:srgbClr val="AEABAB"/>
              </a:solidFill>
            </c:spPr>
            <c:extLst>
              <c:ext xmlns:c16="http://schemas.microsoft.com/office/drawing/2014/chart" uri="{C3380CC4-5D6E-409C-BE32-E72D297353CC}">
                <c16:uniqueId val="{000000A7-B3A1-4C35-B360-5E377BC2FB5F}"/>
              </c:ext>
            </c:extLst>
          </c:dPt>
          <c:dPt>
            <c:idx val="83"/>
            <c:invertIfNegative val="1"/>
            <c:bubble3D val="0"/>
            <c:spPr>
              <a:solidFill>
                <a:srgbClr val="AEABAB"/>
              </a:solidFill>
            </c:spPr>
            <c:extLst>
              <c:ext xmlns:c16="http://schemas.microsoft.com/office/drawing/2014/chart" uri="{C3380CC4-5D6E-409C-BE32-E72D297353CC}">
                <c16:uniqueId val="{000000A9-B3A1-4C35-B360-5E377BC2FB5F}"/>
              </c:ext>
            </c:extLst>
          </c:dPt>
          <c:dPt>
            <c:idx val="84"/>
            <c:invertIfNegative val="1"/>
            <c:bubble3D val="0"/>
            <c:spPr>
              <a:solidFill>
                <a:srgbClr val="AEABAB"/>
              </a:solidFill>
            </c:spPr>
            <c:extLst>
              <c:ext xmlns:c16="http://schemas.microsoft.com/office/drawing/2014/chart" uri="{C3380CC4-5D6E-409C-BE32-E72D297353CC}">
                <c16:uniqueId val="{000000AB-B3A1-4C35-B360-5E377BC2FB5F}"/>
              </c:ext>
            </c:extLst>
          </c:dPt>
          <c:dPt>
            <c:idx val="85"/>
            <c:invertIfNegative val="1"/>
            <c:bubble3D val="0"/>
            <c:spPr>
              <a:solidFill>
                <a:srgbClr val="AEABAB"/>
              </a:solidFill>
            </c:spPr>
            <c:extLst>
              <c:ext xmlns:c16="http://schemas.microsoft.com/office/drawing/2014/chart" uri="{C3380CC4-5D6E-409C-BE32-E72D297353CC}">
                <c16:uniqueId val="{000000AD-B3A1-4C35-B360-5E377BC2FB5F}"/>
              </c:ext>
            </c:extLst>
          </c:dPt>
          <c:dPt>
            <c:idx val="86"/>
            <c:invertIfNegative val="1"/>
            <c:bubble3D val="0"/>
            <c:spPr>
              <a:solidFill>
                <a:srgbClr val="AEABAB"/>
              </a:solidFill>
            </c:spPr>
            <c:extLst>
              <c:ext xmlns:c16="http://schemas.microsoft.com/office/drawing/2014/chart" uri="{C3380CC4-5D6E-409C-BE32-E72D297353CC}">
                <c16:uniqueId val="{000000AF-B3A1-4C35-B360-5E377BC2FB5F}"/>
              </c:ext>
            </c:extLst>
          </c:dPt>
          <c:dPt>
            <c:idx val="87"/>
            <c:invertIfNegative val="1"/>
            <c:bubble3D val="0"/>
            <c:spPr>
              <a:solidFill>
                <a:srgbClr val="AEABAB"/>
              </a:solidFill>
            </c:spPr>
            <c:extLst>
              <c:ext xmlns:c16="http://schemas.microsoft.com/office/drawing/2014/chart" uri="{C3380CC4-5D6E-409C-BE32-E72D297353CC}">
                <c16:uniqueId val="{000000B1-B3A1-4C35-B360-5E377BC2FB5F}"/>
              </c:ext>
            </c:extLst>
          </c:dPt>
          <c:dPt>
            <c:idx val="88"/>
            <c:invertIfNegative val="1"/>
            <c:bubble3D val="0"/>
            <c:spPr>
              <a:solidFill>
                <a:srgbClr val="AEABAB"/>
              </a:solidFill>
            </c:spPr>
            <c:extLst>
              <c:ext xmlns:c16="http://schemas.microsoft.com/office/drawing/2014/chart" uri="{C3380CC4-5D6E-409C-BE32-E72D297353CC}">
                <c16:uniqueId val="{000000B3-B3A1-4C35-B360-5E377BC2FB5F}"/>
              </c:ext>
            </c:extLst>
          </c:dPt>
          <c:dPt>
            <c:idx val="89"/>
            <c:invertIfNegative val="1"/>
            <c:bubble3D val="0"/>
            <c:spPr>
              <a:solidFill>
                <a:srgbClr val="AEABAB"/>
              </a:solidFill>
            </c:spPr>
            <c:extLst>
              <c:ext xmlns:c16="http://schemas.microsoft.com/office/drawing/2014/chart" uri="{C3380CC4-5D6E-409C-BE32-E72D297353CC}">
                <c16:uniqueId val="{000000B5-B3A1-4C35-B360-5E377BC2FB5F}"/>
              </c:ext>
            </c:extLst>
          </c:dPt>
          <c:dPt>
            <c:idx val="90"/>
            <c:invertIfNegative val="1"/>
            <c:bubble3D val="0"/>
            <c:spPr>
              <a:solidFill>
                <a:srgbClr val="AEABAB"/>
              </a:solidFill>
            </c:spPr>
            <c:extLst>
              <c:ext xmlns:c16="http://schemas.microsoft.com/office/drawing/2014/chart" uri="{C3380CC4-5D6E-409C-BE32-E72D297353CC}">
                <c16:uniqueId val="{000000B7-B3A1-4C35-B360-5E377BC2FB5F}"/>
              </c:ext>
            </c:extLst>
          </c:dPt>
          <c:dPt>
            <c:idx val="91"/>
            <c:invertIfNegative val="1"/>
            <c:bubble3D val="0"/>
            <c:spPr>
              <a:solidFill>
                <a:srgbClr val="AEABAB"/>
              </a:solidFill>
            </c:spPr>
            <c:extLst>
              <c:ext xmlns:c16="http://schemas.microsoft.com/office/drawing/2014/chart" uri="{C3380CC4-5D6E-409C-BE32-E72D297353CC}">
                <c16:uniqueId val="{000000B9-B3A1-4C35-B360-5E377BC2FB5F}"/>
              </c:ext>
            </c:extLst>
          </c:dPt>
          <c:dPt>
            <c:idx val="92"/>
            <c:invertIfNegative val="1"/>
            <c:bubble3D val="0"/>
            <c:spPr>
              <a:solidFill>
                <a:srgbClr val="AEABAB"/>
              </a:solidFill>
            </c:spPr>
            <c:extLst>
              <c:ext xmlns:c16="http://schemas.microsoft.com/office/drawing/2014/chart" uri="{C3380CC4-5D6E-409C-BE32-E72D297353CC}">
                <c16:uniqueId val="{000000BB-B3A1-4C35-B360-5E377BC2FB5F}"/>
              </c:ext>
            </c:extLst>
          </c:dPt>
          <c:dPt>
            <c:idx val="93"/>
            <c:invertIfNegative val="1"/>
            <c:bubble3D val="0"/>
            <c:spPr>
              <a:solidFill>
                <a:srgbClr val="AEABAB"/>
              </a:solidFill>
            </c:spPr>
            <c:extLst>
              <c:ext xmlns:c16="http://schemas.microsoft.com/office/drawing/2014/chart" uri="{C3380CC4-5D6E-409C-BE32-E72D297353CC}">
                <c16:uniqueId val="{000000BD-B3A1-4C35-B360-5E377BC2FB5F}"/>
              </c:ext>
            </c:extLst>
          </c:dPt>
          <c:dPt>
            <c:idx val="94"/>
            <c:invertIfNegative val="1"/>
            <c:bubble3D val="0"/>
            <c:spPr>
              <a:solidFill>
                <a:srgbClr val="AEABAB"/>
              </a:solidFill>
            </c:spPr>
            <c:extLst>
              <c:ext xmlns:c16="http://schemas.microsoft.com/office/drawing/2014/chart" uri="{C3380CC4-5D6E-409C-BE32-E72D297353CC}">
                <c16:uniqueId val="{000000BF-B3A1-4C35-B360-5E377BC2FB5F}"/>
              </c:ext>
            </c:extLst>
          </c:dPt>
          <c:dPt>
            <c:idx val="95"/>
            <c:invertIfNegative val="1"/>
            <c:bubble3D val="0"/>
            <c:spPr>
              <a:solidFill>
                <a:srgbClr val="AEABAB"/>
              </a:solidFill>
            </c:spPr>
            <c:extLst>
              <c:ext xmlns:c16="http://schemas.microsoft.com/office/drawing/2014/chart" uri="{C3380CC4-5D6E-409C-BE32-E72D297353CC}">
                <c16:uniqueId val="{000000C1-B3A1-4C35-B360-5E377BC2FB5F}"/>
              </c:ext>
            </c:extLst>
          </c:dPt>
          <c:dPt>
            <c:idx val="96"/>
            <c:invertIfNegative val="1"/>
            <c:bubble3D val="0"/>
            <c:spPr>
              <a:solidFill>
                <a:srgbClr val="AEABAB"/>
              </a:solidFill>
            </c:spPr>
            <c:extLst>
              <c:ext xmlns:c16="http://schemas.microsoft.com/office/drawing/2014/chart" uri="{C3380CC4-5D6E-409C-BE32-E72D297353CC}">
                <c16:uniqueId val="{000000C3-B3A1-4C35-B360-5E377BC2FB5F}"/>
              </c:ext>
            </c:extLst>
          </c:dPt>
          <c:cat>
            <c:strRef>
              <c:f>Sheet1!$A$2:$A$98</c:f>
              <c:strCache>
                <c:ptCount val="97"/>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Apericube Edition Limitee Best Of Foot Fromage Fondu Cube Assortis 1X250Gr 48P</c:v>
                </c:pt>
                <c:pt idx="8">
                  <c:v>Kiri Gouter Fromage Blanc Dips Boite 1X175Gr 5P</c:v>
                </c:pt>
                <c:pt idx="9">
                  <c:v>Mini Babybel Rouge Filet Soft Cheese Enfant 352G</c:v>
                </c:pt>
                <c:pt idx="10">
                  <c:v>Apericube Cocktail Fromage Fondu Cube Assortis 1X250Gr 48P</c:v>
                </c:pt>
                <c:pt idx="11">
                  <c:v>Mini Babybel Rouge Filet Soft Cheese Enfant 484G</c:v>
                </c:pt>
                <c:pt idx="12">
                  <c:v>Boursin Classique Fromage Frais A Tartiner Afh Boite 1X150Gr 1P</c:v>
                </c:pt>
                <c:pt idx="13">
                  <c:v>Kiri Creme Fromage Blanc Frais Carre 1X216Gr 12P</c:v>
                </c:pt>
                <c:pt idx="14">
                  <c:v>Boursin Classique Fromage Frais A Tartiner Afh 1X160Gr 10P</c:v>
                </c:pt>
                <c:pt idx="15">
                  <c:v>Boursin Salade &amp; Aperitif Fromage Frais Des Afh 1X120Gr 1P</c:v>
                </c:pt>
                <c:pt idx="16">
                  <c:v>Apericube Long Drink Fromage Fondu Cube Assortis 1X250Gr 48P</c:v>
                </c:pt>
                <c:pt idx="17">
                  <c:v>Boursin Aperitif Roules Fromage Frais Roule Afh Et Jambon Fume Boite 1X100Gr 20P</c:v>
                </c:pt>
                <c:pt idx="18">
                  <c:v>La Vache Qui Rit Nature Fromage Fondu Boite Ronde 1X512Gr 24+8P</c:v>
                </c:pt>
                <c:pt idx="19">
                  <c:v>La Vache Qui Rit Pik Et Croq' Fromage Fondu Dips Boite 1X175Gr 5P</c:v>
                </c:pt>
                <c:pt idx="20">
                  <c:v>Boursin Classique Fromage Frais A Tartiner Afh Boite 1X250Gr 1P</c:v>
                </c:pt>
                <c:pt idx="21">
                  <c:v>Apericube Tonic Fromage Fondu Cube Assortis 1X250Gr 48P</c:v>
                </c:pt>
                <c:pt idx="22">
                  <c:v>Kiri Gouter Fromage Blanc Dips Boite 1X280Gr 8P</c:v>
                </c:pt>
                <c:pt idx="23">
                  <c:v>Kiri Creme Fromage Blanc Frais Carre 1X432Gr 18+6P</c:v>
                </c:pt>
                <c:pt idx="24">
                  <c:v>Apericube Nature Fromage Fondu Cube 1X125Gr 24P</c:v>
                </c:pt>
                <c:pt idx="25">
                  <c:v>Apericube Soiree Match Aperitif 250G</c:v>
                </c:pt>
                <c:pt idx="26">
                  <c:v>Apericube Edition Limitee Saison Fromage Fondu Cube Assortis 1X250Gr 48P</c:v>
                </c:pt>
                <c:pt idx="27">
                  <c:v>La Vache Qui Rit Nature Fromage Fondu Boite Ronde 1X128Gr 8P</c:v>
                </c:pt>
                <c:pt idx="28">
                  <c:v>Apericube Campagne Fromage Fondu Cube Assortis 1X125Gr 24P</c:v>
                </c:pt>
                <c:pt idx="29">
                  <c:v>Boursin Aperitif Roules Fromage Frais Roule Ciboulette &amp; Echalote Jambon Fume Boite 1X100Gr 20P</c:v>
                </c:pt>
                <c:pt idx="30">
                  <c:v>Boursin Classique Fromage Frais A Tartiner Afh Boite 1X96Gr 6P</c:v>
                </c:pt>
                <c:pt idx="31">
                  <c:v>Apericube Edition Voyage Fromage Fondu Cube Assortis 1X250Gr 48P</c:v>
                </c:pt>
                <c:pt idx="32">
                  <c:v>Apericube Incontournable Fromage Fondu Cube Assortis 1X250Gr 48P</c:v>
                </c:pt>
                <c:pt idx="33">
                  <c:v>Mini Babybel Aros Soft Cheese Enfant 180G</c:v>
                </c:pt>
                <c:pt idx="34">
                  <c:v>Apericube Best Of Des Saveurs Fromage Fondu Cube Assortis 1X125Gr 24P</c:v>
                </c:pt>
                <c:pt idx="35">
                  <c:v>Mini Babybel Rouge Filet St Paulin Ferme 1X396Gr 12+6P</c:v>
                </c:pt>
                <c:pt idx="36">
                  <c:v>Boursin Salade &amp; Aperitif Fromage Frais Des Figue Noix 1X120Gr 1P</c:v>
                </c:pt>
                <c:pt idx="37">
                  <c:v>Boursin Onctueux Fromage Frais A Tartiner Afh 1X125Gr 1P</c:v>
                </c:pt>
                <c:pt idx="38">
                  <c:v>Boursin Salade &amp; Aperitif Fromage Frais Des Ciboulette Echalote 1X120Gr 1P</c:v>
                </c:pt>
                <c:pt idx="39">
                  <c:v>Boursin Classique Fromage Frais A Tartiner Ciboulette &amp; Echalote Boite 1X150Gr 1P</c:v>
                </c:pt>
                <c:pt idx="40">
                  <c:v>Kiri Delicieusement Fouette Fromage Frais A Tartiner 1X125Gr 1P</c:v>
                </c:pt>
                <c:pt idx="41">
                  <c:v>Apericube Vertical Soiree Apero Fromage Fondu Cube Assortis 1X125Gr 24P</c:v>
                </c:pt>
                <c:pt idx="42">
                  <c:v>Apericube Hot Chalenge Aperitif 250G</c:v>
                </c:pt>
                <c:pt idx="43">
                  <c:v>Mini Babybel Aros Soft Cheese Enfant 110G</c:v>
                </c:pt>
                <c:pt idx="44">
                  <c:v>Boursin Classique Fromage Frais A Tartiner Figue Et 3 Noix Boite 1X150Gr 1P</c:v>
                </c:pt>
                <c:pt idx="45">
                  <c:v>Kiri Delicieusement Fouette Fromage Frais A Tartiner 1X210Gr 1P</c:v>
                </c:pt>
                <c:pt idx="46">
                  <c:v>Babybel Mini Rolls St Paulin Ferme Sachet 1X85Gr 5P</c:v>
                </c:pt>
                <c:pt idx="47">
                  <c:v>La Vache Qui Rit Pik Et Croq' Fromage Fondu Dips Boite 1X280Gr 8P</c:v>
                </c:pt>
                <c:pt idx="48">
                  <c:v>Boursin Salade &amp; Aperitif Soft Cheese Salade 120G</c:v>
                </c:pt>
                <c:pt idx="49">
                  <c:v>Boursin Salade &amp; Aperitif Fromage Frais Des Citron Romarin 1X120Gr 1P</c:v>
                </c:pt>
                <c:pt idx="50">
                  <c:v>La Vache Qui Rit Allegee Fromage Fondu Boite Ronde Allege 1X267Gr 16P</c:v>
                </c:pt>
                <c:pt idx="51">
                  <c:v>Apericube Fromages Du Monde Aperitif 250G</c:v>
                </c:pt>
                <c:pt idx="52">
                  <c:v>Kiri Bio Fromage Blanc Frais Carre 1X144Gr 8P</c:v>
                </c:pt>
                <c:pt idx="53">
                  <c:v>Boursin Classique Fromage Frais A Tartiner Poivre Boite 1X150Gr 1P</c:v>
                </c:pt>
                <c:pt idx="54">
                  <c:v>Apericube Carrement Toque Fromage Fondu Cube Assortis 1X250Gr 48P</c:v>
                </c:pt>
                <c:pt idx="55">
                  <c:v>Boursin Aperitif Roules Aperitif 100G</c:v>
                </c:pt>
                <c:pt idx="56">
                  <c:v>Apericube Montagne Aperitif 250G</c:v>
                </c:pt>
                <c:pt idx="57">
                  <c:v>Apericube Vertical Nature Fromage Fondu Cube 1X125Gr 24P</c:v>
                </c:pt>
                <c:pt idx="58">
                  <c:v>Boursin Vegetal Alternative Vegetale 150G</c:v>
                </c:pt>
                <c:pt idx="59">
                  <c:v>Nurishh Les Tranches Vegetales Emmental Vegetal Tranche Boite 1X160Gr 8P</c:v>
                </c:pt>
                <c:pt idx="60">
                  <c:v>Nurishh Les Tranches Vegetales Cheddar Vegetal Tranche Boite 1X160Gr 8P</c:v>
                </c:pt>
                <c:pt idx="61">
                  <c:v>Boursin Classique Fromage Frais A Tartiner Afh 1X256Gr 16P</c:v>
                </c:pt>
                <c:pt idx="62">
                  <c:v>Nurishh Le Rape Vegetal Specialite Vegetale Sachet 1X150Gr 1P</c:v>
                </c:pt>
                <c:pt idx="63">
                  <c:v>Boursin Classique Fromage Frais A Tartiner Afh Boite 1X320Gr 16+4P</c:v>
                </c:pt>
                <c:pt idx="64">
                  <c:v>Nurishh Le Palet Vegetal Specialite Vegetale Ovale Saveur Chevre Boite 1X140Gr 1P</c:v>
                </c:pt>
                <c:pt idx="65">
                  <c:v>Apericube Long Drink Fromage Fondu Cube Assortis 1X125Gr 24P</c:v>
                </c:pt>
                <c:pt idx="66">
                  <c:v>Boursin Classique Fromage Frais A Tartiner Afh Boite 1X80Gr 1P</c:v>
                </c:pt>
                <c:pt idx="67">
                  <c:v>Mini Babybel Aros Soft Cheese Enfant 120G</c:v>
                </c:pt>
                <c:pt idx="68">
                  <c:v>Apericube P'Tits Plaisirs Fromage Fondu Cube 3 Fromages &amp; Jambon Cru Olive Verte 1X78Gr 15P</c:v>
                </c:pt>
                <c:pt idx="69">
                  <c:v>Apericube Jambon Fromage Fondu Cube 1X78Gr 15P</c:v>
                </c:pt>
                <c:pt idx="70">
                  <c:v>Nurishh Le Rape Vegetal Specialite Vegetale Emmental Sachet 1X150Gr 1P</c:v>
                </c:pt>
                <c:pt idx="71">
                  <c:v>Nurishh Le Coeur Fleuri Vegetal Camembert Boite 1X140Gr 1P</c:v>
                </c:pt>
                <c:pt idx="72">
                  <c:v>Boursin Classique Fromage Frais A Tartiner 3 Noix Boite 1X150Gr 1P</c:v>
                </c:pt>
                <c:pt idx="73">
                  <c:v>Nurishh Le Rape Vegetal Mozzarella Vegetale Sachet 1X150Gr 1P</c:v>
                </c:pt>
                <c:pt idx="74">
                  <c:v>Boursin Onctueux Fromage Frais A Tartiner Afh 1X210Gr 1P</c:v>
                </c:pt>
                <c:pt idx="75">
                  <c:v>Mini Babybel Rouge Filet St Paulin Ferme Sachet 1X40Gr 1P</c:v>
                </c:pt>
                <c:pt idx="76">
                  <c:v>Nurishh Des Vegetaux Feta Vegetale Sachet 1X150Gr 1P</c:v>
                </c:pt>
                <c:pt idx="77">
                  <c:v>Boursin Classique Fromage Frais A Tartiner 3 Noix 1X160Gr 10P</c:v>
                </c:pt>
                <c:pt idx="78">
                  <c:v>Nurishh Les Tranches Vegetales Specialite Vegetale Tranche Piment Boite 1X120Gr 6P</c:v>
                </c:pt>
                <c:pt idx="79">
                  <c:v>Kiri Delicieusement Fouette Fromage Frais A Tartiner 1X160Gr 10P</c:v>
                </c:pt>
                <c:pt idx="80">
                  <c:v>Apericube Charcut' Fromages Fromage Fondu Cube Assortis 1X250Gr 48P</c:v>
                </c:pt>
                <c:pt idx="81">
                  <c:v>Apericube Selection Du Fromager Fromage Fondu Cube Assortis 1X250Gr 48P</c:v>
                </c:pt>
                <c:pt idx="82">
                  <c:v>La Vache Qui Rit Pik Et Croq' Fromage Fondu Dips Boite 1X35Gr 1P</c:v>
                </c:pt>
                <c:pt idx="83">
                  <c:v>La Vache Qui Rit Aro Fromage Fondu Boite Ronde Jambon 1X133Gr 8P</c:v>
                </c:pt>
                <c:pt idx="84">
                  <c:v>Apericube Sucre Sale Fromage Fondu Cube Assortis 1X250Gr 48P</c:v>
                </c:pt>
                <c:pt idx="85">
                  <c:v>Apericube Nature Fromage Fondu Cube 1X250Gr 48P</c:v>
                </c:pt>
                <c:pt idx="86">
                  <c:v>La Vache Qui Rit Bio Fromage Fondu Boite Ronde 1X128Gr 8P</c:v>
                </c:pt>
                <c:pt idx="87">
                  <c:v>Kiri Chevre Fromage Blanc Frais Carre 1X144Gr 8P</c:v>
                </c:pt>
                <c:pt idx="88">
                  <c:v>Mini Babybel Aros St Paulin Ferme Raclette Filet 1X132Gr 6P</c:v>
                </c:pt>
                <c:pt idx="89">
                  <c:v>Nurishh Le Tartinable Vegetal Specialite Vegetale A Tartiner 1X130Gr 1P</c:v>
                </c:pt>
                <c:pt idx="90">
                  <c:v>Mini Babybel Rouge Filet St Paulin Ferme 1X110Gr 5P</c:v>
                </c:pt>
                <c:pt idx="91">
                  <c:v>Mini Babybel Aros St Paulin Ferme Assortis Filet 1X180Gr 9P</c:v>
                </c:pt>
                <c:pt idx="92">
                  <c:v>Limiano Queijo Flamengo Autre Sachet 1X450Gr 1P</c:v>
                </c:pt>
                <c:pt idx="93">
                  <c:v>Mini Babybel Aros St Paulin Ferme Emmental Filet 1X120Gr 6P</c:v>
                </c:pt>
                <c:pt idx="94">
                  <c:v>Boursin Salade &amp; Aperitif Fromage Frais Des Noisette Et 3 Noix 1X120Gr 1P</c:v>
                </c:pt>
                <c:pt idx="95">
                  <c:v>Boursin Aperitif Roules Fromage Frais Roule Jambon Fume &amp; Trio De Noix Boite 1X100Gr 20P</c:v>
                </c:pt>
                <c:pt idx="96">
                  <c:v>Boursin Vegetal Specialite Vegetale A Tartiner Afh 1X130Gr 1P</c:v>
                </c:pt>
              </c:strCache>
            </c:strRef>
          </c:cat>
          <c:val>
            <c:numRef>
              <c:f>Sheet1!$C$2:$C$98</c:f>
              <c:numCache>
                <c:formatCode>General</c:formatCode>
                <c:ptCount val="97"/>
                <c:pt idx="0">
                  <c:v>6.414598152037379E-2</c:v>
                </c:pt>
                <c:pt idx="1">
                  <c:v>0.12726162382119982</c:v>
                </c:pt>
                <c:pt idx="2">
                  <c:v>0.18803884575260454</c:v>
                </c:pt>
                <c:pt idx="3">
                  <c:v>0.24065886019531413</c:v>
                </c:pt>
                <c:pt idx="4">
                  <c:v>0.28934190377266122</c:v>
                </c:pt>
                <c:pt idx="5">
                  <c:v>0.3359292846691655</c:v>
                </c:pt>
                <c:pt idx="6">
                  <c:v>0.37383672954516123</c:v>
                </c:pt>
                <c:pt idx="7">
                  <c:v>0.41106138410000126</c:v>
                </c:pt>
                <c:pt idx="8">
                  <c:v>0.44655853424102843</c:v>
                </c:pt>
                <c:pt idx="9">
                  <c:v>0.4820058084178287</c:v>
                </c:pt>
                <c:pt idx="10">
                  <c:v>0.51376054917829828</c:v>
                </c:pt>
                <c:pt idx="11">
                  <c:v>0.54250079829000375</c:v>
                </c:pt>
                <c:pt idx="12">
                  <c:v>0.56989501012620969</c:v>
                </c:pt>
                <c:pt idx="13">
                  <c:v>0.59669600809773737</c:v>
                </c:pt>
                <c:pt idx="14">
                  <c:v>0.62219851893582634</c:v>
                </c:pt>
                <c:pt idx="15">
                  <c:v>0.64599723582496171</c:v>
                </c:pt>
                <c:pt idx="16">
                  <c:v>0.66947954399026111</c:v>
                </c:pt>
                <c:pt idx="17">
                  <c:v>0.69276092696288472</c:v>
                </c:pt>
                <c:pt idx="18">
                  <c:v>0.71252653900379526</c:v>
                </c:pt>
                <c:pt idx="19">
                  <c:v>0.72968571197373611</c:v>
                </c:pt>
                <c:pt idx="20">
                  <c:v>0.74543521058946816</c:v>
                </c:pt>
                <c:pt idx="21">
                  <c:v>0.7605768297396418</c:v>
                </c:pt>
                <c:pt idx="22">
                  <c:v>0.77532758155358117</c:v>
                </c:pt>
                <c:pt idx="23">
                  <c:v>0.78991649490846816</c:v>
                </c:pt>
                <c:pt idx="24">
                  <c:v>0.80374066501393293</c:v>
                </c:pt>
                <c:pt idx="25">
                  <c:v>0.81708287308166083</c:v>
                </c:pt>
                <c:pt idx="26">
                  <c:v>0.82873101042921249</c:v>
                </c:pt>
                <c:pt idx="27">
                  <c:v>0.84013813445481011</c:v>
                </c:pt>
                <c:pt idx="28">
                  <c:v>0.84873821724761855</c:v>
                </c:pt>
                <c:pt idx="29">
                  <c:v>0.85705761852930806</c:v>
                </c:pt>
                <c:pt idx="30">
                  <c:v>0.86507521208187055</c:v>
                </c:pt>
                <c:pt idx="31">
                  <c:v>0.87293674942771016</c:v>
                </c:pt>
                <c:pt idx="32">
                  <c:v>0.880455357216404</c:v>
                </c:pt>
                <c:pt idx="33">
                  <c:v>0.8878741161673871</c:v>
                </c:pt>
                <c:pt idx="34">
                  <c:v>0.89462504112586549</c:v>
                </c:pt>
                <c:pt idx="35">
                  <c:v>0.90136617824939524</c:v>
                </c:pt>
                <c:pt idx="36">
                  <c:v>0.9072199496104163</c:v>
                </c:pt>
                <c:pt idx="37">
                  <c:v>0.91293956625677775</c:v>
                </c:pt>
                <c:pt idx="38">
                  <c:v>0.91832332772174852</c:v>
                </c:pt>
                <c:pt idx="39">
                  <c:v>0.92367052209377576</c:v>
                </c:pt>
                <c:pt idx="40">
                  <c:v>0.92899881916070404</c:v>
                </c:pt>
                <c:pt idx="41">
                  <c:v>0.9339005862848524</c:v>
                </c:pt>
                <c:pt idx="42">
                  <c:v>0.93841145376968083</c:v>
                </c:pt>
                <c:pt idx="43">
                  <c:v>0.94274581719457673</c:v>
                </c:pt>
                <c:pt idx="44">
                  <c:v>0.94707804861582046</c:v>
                </c:pt>
                <c:pt idx="45">
                  <c:v>0.95138605272283472</c:v>
                </c:pt>
                <c:pt idx="46">
                  <c:v>0.95548069494920218</c:v>
                </c:pt>
                <c:pt idx="47">
                  <c:v>0.95918963833303761</c:v>
                </c:pt>
                <c:pt idx="48">
                  <c:v>0.96257942723075784</c:v>
                </c:pt>
                <c:pt idx="49">
                  <c:v>0.96579642692339396</c:v>
                </c:pt>
                <c:pt idx="50">
                  <c:v>0.96879418557379693</c:v>
                </c:pt>
                <c:pt idx="51">
                  <c:v>0.97173528461198866</c:v>
                </c:pt>
                <c:pt idx="52">
                  <c:v>0.97398713271189696</c:v>
                </c:pt>
                <c:pt idx="53">
                  <c:v>0.97581180480731255</c:v>
                </c:pt>
                <c:pt idx="54">
                  <c:v>0.9775062631645165</c:v>
                </c:pt>
                <c:pt idx="55">
                  <c:v>0.97919878333658217</c:v>
                </c:pt>
                <c:pt idx="56">
                  <c:v>0.98082091508503999</c:v>
                </c:pt>
                <c:pt idx="57">
                  <c:v>0.98216698466362529</c:v>
                </c:pt>
                <c:pt idx="58">
                  <c:v>0.9834713186555647</c:v>
                </c:pt>
                <c:pt idx="59">
                  <c:v>0.98476405583975968</c:v>
                </c:pt>
                <c:pt idx="60">
                  <c:v>0.98588581279166632</c:v>
                </c:pt>
                <c:pt idx="61">
                  <c:v>0.98696841840377825</c:v>
                </c:pt>
                <c:pt idx="62">
                  <c:v>0.98794574825979209</c:v>
                </c:pt>
                <c:pt idx="63">
                  <c:v>0.98886389886291493</c:v>
                </c:pt>
                <c:pt idx="64">
                  <c:v>0.98976890211018265</c:v>
                </c:pt>
                <c:pt idx="65">
                  <c:v>0.99066860765140552</c:v>
                </c:pt>
                <c:pt idx="66">
                  <c:v>0.99154395666605644</c:v>
                </c:pt>
                <c:pt idx="67">
                  <c:v>0.99235738066553703</c:v>
                </c:pt>
                <c:pt idx="68">
                  <c:v>0.99312474046489607</c:v>
                </c:pt>
                <c:pt idx="69">
                  <c:v>0.99382313317641546</c:v>
                </c:pt>
                <c:pt idx="70">
                  <c:v>0.9944071729647721</c:v>
                </c:pt>
                <c:pt idx="71">
                  <c:v>0.99498161873669388</c:v>
                </c:pt>
                <c:pt idx="72">
                  <c:v>0.99550189223399876</c:v>
                </c:pt>
                <c:pt idx="73">
                  <c:v>0.99597545546946931</c:v>
                </c:pt>
                <c:pt idx="74">
                  <c:v>0.9964290230949292</c:v>
                </c:pt>
                <c:pt idx="75">
                  <c:v>0.9968774545297725</c:v>
                </c:pt>
                <c:pt idx="76">
                  <c:v>0.99722416354793797</c:v>
                </c:pt>
                <c:pt idx="77">
                  <c:v>0.9975556255096818</c:v>
                </c:pt>
                <c:pt idx="78">
                  <c:v>0.99785623802464019</c:v>
                </c:pt>
                <c:pt idx="79">
                  <c:v>0.99813265552845476</c:v>
                </c:pt>
                <c:pt idx="80">
                  <c:v>0.998383682806957</c:v>
                </c:pt>
                <c:pt idx="81">
                  <c:v>0.99862275794377264</c:v>
                </c:pt>
                <c:pt idx="82">
                  <c:v>0.99886012101704946</c:v>
                </c:pt>
                <c:pt idx="83">
                  <c:v>0.9990909911701128</c:v>
                </c:pt>
                <c:pt idx="84">
                  <c:v>0.99932147368614843</c:v>
                </c:pt>
                <c:pt idx="85">
                  <c:v>0.99953648302416287</c:v>
                </c:pt>
                <c:pt idx="86">
                  <c:v>0.99967683993126522</c:v>
                </c:pt>
                <c:pt idx="87">
                  <c:v>0.99976098946935532</c:v>
                </c:pt>
                <c:pt idx="88">
                  <c:v>0.99980821658055985</c:v>
                </c:pt>
                <c:pt idx="89">
                  <c:v>0.99984740022344021</c:v>
                </c:pt>
                <c:pt idx="90">
                  <c:v>0.99991591506808097</c:v>
                </c:pt>
                <c:pt idx="91">
                  <c:v>0.9999680845513883</c:v>
                </c:pt>
                <c:pt idx="92">
                  <c:v>0.99997586959502738</c:v>
                </c:pt>
                <c:pt idx="93">
                  <c:v>0.99998326700163875</c:v>
                </c:pt>
                <c:pt idx="94">
                  <c:v>0.99998988913419484</c:v>
                </c:pt>
                <c:pt idx="95">
                  <c:v>0.99999874017965984</c:v>
                </c:pt>
                <c:pt idx="96">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8</c:f>
              <c:strCache>
                <c:ptCount val="97"/>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Apericube Edition Limitee Best Of Foot Fromage Fondu Cube Assortis 1X250Gr 48P</c:v>
                </c:pt>
                <c:pt idx="8">
                  <c:v>Kiri Gouter Fromage Blanc Dips Boite 1X175Gr 5P</c:v>
                </c:pt>
                <c:pt idx="9">
                  <c:v>Mini Babybel Rouge Filet Soft Cheese Enfant 352G</c:v>
                </c:pt>
                <c:pt idx="10">
                  <c:v>Apericube Cocktail Fromage Fondu Cube Assortis 1X250Gr 48P</c:v>
                </c:pt>
                <c:pt idx="11">
                  <c:v>Mini Babybel Rouge Filet Soft Cheese Enfant 484G</c:v>
                </c:pt>
                <c:pt idx="12">
                  <c:v>Boursin Classique Fromage Frais A Tartiner Afh Boite 1X150Gr 1P</c:v>
                </c:pt>
                <c:pt idx="13">
                  <c:v>Kiri Creme Fromage Blanc Frais Carre 1X216Gr 12P</c:v>
                </c:pt>
                <c:pt idx="14">
                  <c:v>Boursin Classique Fromage Frais A Tartiner Afh 1X160Gr 10P</c:v>
                </c:pt>
                <c:pt idx="15">
                  <c:v>Boursin Salade &amp; Aperitif Fromage Frais Des Afh 1X120Gr 1P</c:v>
                </c:pt>
                <c:pt idx="16">
                  <c:v>Apericube Long Drink Fromage Fondu Cube Assortis 1X250Gr 48P</c:v>
                </c:pt>
                <c:pt idx="17">
                  <c:v>Boursin Aperitif Roules Fromage Frais Roule Afh Et Jambon Fume Boite 1X100Gr 20P</c:v>
                </c:pt>
                <c:pt idx="18">
                  <c:v>La Vache Qui Rit Nature Fromage Fondu Boite Ronde 1X512Gr 24+8P</c:v>
                </c:pt>
                <c:pt idx="19">
                  <c:v>La Vache Qui Rit Pik Et Croq' Fromage Fondu Dips Boite 1X175Gr 5P</c:v>
                </c:pt>
                <c:pt idx="20">
                  <c:v>Boursin Classique Fromage Frais A Tartiner Afh Boite 1X250Gr 1P</c:v>
                </c:pt>
                <c:pt idx="21">
                  <c:v>Apericube Tonic Fromage Fondu Cube Assortis 1X250Gr 48P</c:v>
                </c:pt>
                <c:pt idx="22">
                  <c:v>Kiri Gouter Fromage Blanc Dips Boite 1X280Gr 8P</c:v>
                </c:pt>
                <c:pt idx="23">
                  <c:v>Kiri Creme Fromage Blanc Frais Carre 1X432Gr 18+6P</c:v>
                </c:pt>
                <c:pt idx="24">
                  <c:v>Apericube Nature Fromage Fondu Cube 1X125Gr 24P</c:v>
                </c:pt>
                <c:pt idx="25">
                  <c:v>Apericube Soiree Match Aperitif 250G</c:v>
                </c:pt>
                <c:pt idx="26">
                  <c:v>Apericube Edition Limitee Saison Fromage Fondu Cube Assortis 1X250Gr 48P</c:v>
                </c:pt>
                <c:pt idx="27">
                  <c:v>La Vache Qui Rit Nature Fromage Fondu Boite Ronde 1X128Gr 8P</c:v>
                </c:pt>
                <c:pt idx="28">
                  <c:v>Apericube Campagne Fromage Fondu Cube Assortis 1X125Gr 24P</c:v>
                </c:pt>
                <c:pt idx="29">
                  <c:v>Boursin Aperitif Roules Fromage Frais Roule Ciboulette &amp; Echalote Jambon Fume Boite 1X100Gr 20P</c:v>
                </c:pt>
                <c:pt idx="30">
                  <c:v>Boursin Classique Fromage Frais A Tartiner Afh Boite 1X96Gr 6P</c:v>
                </c:pt>
                <c:pt idx="31">
                  <c:v>Apericube Edition Voyage Fromage Fondu Cube Assortis 1X250Gr 48P</c:v>
                </c:pt>
                <c:pt idx="32">
                  <c:v>Apericube Incontournable Fromage Fondu Cube Assortis 1X250Gr 48P</c:v>
                </c:pt>
                <c:pt idx="33">
                  <c:v>Mini Babybel Aros Soft Cheese Enfant 180G</c:v>
                </c:pt>
                <c:pt idx="34">
                  <c:v>Apericube Best Of Des Saveurs Fromage Fondu Cube Assortis 1X125Gr 24P</c:v>
                </c:pt>
                <c:pt idx="35">
                  <c:v>Mini Babybel Rouge Filet St Paulin Ferme 1X396Gr 12+6P</c:v>
                </c:pt>
                <c:pt idx="36">
                  <c:v>Boursin Salade &amp; Aperitif Fromage Frais Des Figue Noix 1X120Gr 1P</c:v>
                </c:pt>
                <c:pt idx="37">
                  <c:v>Boursin Onctueux Fromage Frais A Tartiner Afh 1X125Gr 1P</c:v>
                </c:pt>
                <c:pt idx="38">
                  <c:v>Boursin Salade &amp; Aperitif Fromage Frais Des Ciboulette Echalote 1X120Gr 1P</c:v>
                </c:pt>
                <c:pt idx="39">
                  <c:v>Boursin Classique Fromage Frais A Tartiner Ciboulette &amp; Echalote Boite 1X150Gr 1P</c:v>
                </c:pt>
                <c:pt idx="40">
                  <c:v>Kiri Delicieusement Fouette Fromage Frais A Tartiner 1X125Gr 1P</c:v>
                </c:pt>
                <c:pt idx="41">
                  <c:v>Apericube Vertical Soiree Apero Fromage Fondu Cube Assortis 1X125Gr 24P</c:v>
                </c:pt>
                <c:pt idx="42">
                  <c:v>Apericube Hot Chalenge Aperitif 250G</c:v>
                </c:pt>
                <c:pt idx="43">
                  <c:v>Mini Babybel Aros Soft Cheese Enfant 110G</c:v>
                </c:pt>
                <c:pt idx="44">
                  <c:v>Boursin Classique Fromage Frais A Tartiner Figue Et 3 Noix Boite 1X150Gr 1P</c:v>
                </c:pt>
                <c:pt idx="45">
                  <c:v>Kiri Delicieusement Fouette Fromage Frais A Tartiner 1X210Gr 1P</c:v>
                </c:pt>
                <c:pt idx="46">
                  <c:v>Babybel Mini Rolls St Paulin Ferme Sachet 1X85Gr 5P</c:v>
                </c:pt>
                <c:pt idx="47">
                  <c:v>La Vache Qui Rit Pik Et Croq' Fromage Fondu Dips Boite 1X280Gr 8P</c:v>
                </c:pt>
                <c:pt idx="48">
                  <c:v>Boursin Salade &amp; Aperitif Soft Cheese Salade 120G</c:v>
                </c:pt>
                <c:pt idx="49">
                  <c:v>Boursin Salade &amp; Aperitif Fromage Frais Des Citron Romarin 1X120Gr 1P</c:v>
                </c:pt>
                <c:pt idx="50">
                  <c:v>La Vache Qui Rit Allegee Fromage Fondu Boite Ronde Allege 1X267Gr 16P</c:v>
                </c:pt>
                <c:pt idx="51">
                  <c:v>Apericube Fromages Du Monde Aperitif 250G</c:v>
                </c:pt>
                <c:pt idx="52">
                  <c:v>Kiri Bio Fromage Blanc Frais Carre 1X144Gr 8P</c:v>
                </c:pt>
                <c:pt idx="53">
                  <c:v>Boursin Classique Fromage Frais A Tartiner Poivre Boite 1X150Gr 1P</c:v>
                </c:pt>
                <c:pt idx="54">
                  <c:v>Apericube Carrement Toque Fromage Fondu Cube Assortis 1X250Gr 48P</c:v>
                </c:pt>
                <c:pt idx="55">
                  <c:v>Boursin Aperitif Roules Aperitif 100G</c:v>
                </c:pt>
                <c:pt idx="56">
                  <c:v>Apericube Montagne Aperitif 250G</c:v>
                </c:pt>
                <c:pt idx="57">
                  <c:v>Apericube Vertical Nature Fromage Fondu Cube 1X125Gr 24P</c:v>
                </c:pt>
                <c:pt idx="58">
                  <c:v>Boursin Vegetal Alternative Vegetale 150G</c:v>
                </c:pt>
                <c:pt idx="59">
                  <c:v>Nurishh Les Tranches Vegetales Emmental Vegetal Tranche Boite 1X160Gr 8P</c:v>
                </c:pt>
                <c:pt idx="60">
                  <c:v>Nurishh Les Tranches Vegetales Cheddar Vegetal Tranche Boite 1X160Gr 8P</c:v>
                </c:pt>
                <c:pt idx="61">
                  <c:v>Boursin Classique Fromage Frais A Tartiner Afh 1X256Gr 16P</c:v>
                </c:pt>
                <c:pt idx="62">
                  <c:v>Nurishh Le Rape Vegetal Specialite Vegetale Sachet 1X150Gr 1P</c:v>
                </c:pt>
                <c:pt idx="63">
                  <c:v>Boursin Classique Fromage Frais A Tartiner Afh Boite 1X320Gr 16+4P</c:v>
                </c:pt>
                <c:pt idx="64">
                  <c:v>Nurishh Le Palet Vegetal Specialite Vegetale Ovale Saveur Chevre Boite 1X140Gr 1P</c:v>
                </c:pt>
                <c:pt idx="65">
                  <c:v>Apericube Long Drink Fromage Fondu Cube Assortis 1X125Gr 24P</c:v>
                </c:pt>
                <c:pt idx="66">
                  <c:v>Boursin Classique Fromage Frais A Tartiner Afh Boite 1X80Gr 1P</c:v>
                </c:pt>
                <c:pt idx="67">
                  <c:v>Mini Babybel Aros Soft Cheese Enfant 120G</c:v>
                </c:pt>
                <c:pt idx="68">
                  <c:v>Apericube P'Tits Plaisirs Fromage Fondu Cube 3 Fromages &amp; Jambon Cru Olive Verte 1X78Gr 15P</c:v>
                </c:pt>
                <c:pt idx="69">
                  <c:v>Apericube Jambon Fromage Fondu Cube 1X78Gr 15P</c:v>
                </c:pt>
                <c:pt idx="70">
                  <c:v>Nurishh Le Rape Vegetal Specialite Vegetale Emmental Sachet 1X150Gr 1P</c:v>
                </c:pt>
                <c:pt idx="71">
                  <c:v>Nurishh Le Coeur Fleuri Vegetal Camembert Boite 1X140Gr 1P</c:v>
                </c:pt>
                <c:pt idx="72">
                  <c:v>Boursin Classique Fromage Frais A Tartiner 3 Noix Boite 1X150Gr 1P</c:v>
                </c:pt>
                <c:pt idx="73">
                  <c:v>Nurishh Le Rape Vegetal Mozzarella Vegetale Sachet 1X150Gr 1P</c:v>
                </c:pt>
                <c:pt idx="74">
                  <c:v>Boursin Onctueux Fromage Frais A Tartiner Afh 1X210Gr 1P</c:v>
                </c:pt>
                <c:pt idx="75">
                  <c:v>Mini Babybel Rouge Filet St Paulin Ferme Sachet 1X40Gr 1P</c:v>
                </c:pt>
                <c:pt idx="76">
                  <c:v>Nurishh Des Vegetaux Feta Vegetale Sachet 1X150Gr 1P</c:v>
                </c:pt>
                <c:pt idx="77">
                  <c:v>Boursin Classique Fromage Frais A Tartiner 3 Noix 1X160Gr 10P</c:v>
                </c:pt>
                <c:pt idx="78">
                  <c:v>Nurishh Les Tranches Vegetales Specialite Vegetale Tranche Piment Boite 1X120Gr 6P</c:v>
                </c:pt>
                <c:pt idx="79">
                  <c:v>Kiri Delicieusement Fouette Fromage Frais A Tartiner 1X160Gr 10P</c:v>
                </c:pt>
                <c:pt idx="80">
                  <c:v>Apericube Charcut' Fromages Fromage Fondu Cube Assortis 1X250Gr 48P</c:v>
                </c:pt>
                <c:pt idx="81">
                  <c:v>Apericube Selection Du Fromager Fromage Fondu Cube Assortis 1X250Gr 48P</c:v>
                </c:pt>
                <c:pt idx="82">
                  <c:v>La Vache Qui Rit Pik Et Croq' Fromage Fondu Dips Boite 1X35Gr 1P</c:v>
                </c:pt>
                <c:pt idx="83">
                  <c:v>La Vache Qui Rit Aro Fromage Fondu Boite Ronde Jambon 1X133Gr 8P</c:v>
                </c:pt>
                <c:pt idx="84">
                  <c:v>Apericube Sucre Sale Fromage Fondu Cube Assortis 1X250Gr 48P</c:v>
                </c:pt>
                <c:pt idx="85">
                  <c:v>Apericube Nature Fromage Fondu Cube 1X250Gr 48P</c:v>
                </c:pt>
                <c:pt idx="86">
                  <c:v>La Vache Qui Rit Bio Fromage Fondu Boite Ronde 1X128Gr 8P</c:v>
                </c:pt>
                <c:pt idx="87">
                  <c:v>Kiri Chevre Fromage Blanc Frais Carre 1X144Gr 8P</c:v>
                </c:pt>
                <c:pt idx="88">
                  <c:v>Mini Babybel Aros St Paulin Ferme Raclette Filet 1X132Gr 6P</c:v>
                </c:pt>
                <c:pt idx="89">
                  <c:v>Nurishh Le Tartinable Vegetal Specialite Vegetale A Tartiner 1X130Gr 1P</c:v>
                </c:pt>
                <c:pt idx="90">
                  <c:v>Mini Babybel Rouge Filet St Paulin Ferme 1X110Gr 5P</c:v>
                </c:pt>
                <c:pt idx="91">
                  <c:v>Mini Babybel Aros St Paulin Ferme Assortis Filet 1X180Gr 9P</c:v>
                </c:pt>
                <c:pt idx="92">
                  <c:v>Limiano Queijo Flamengo Autre Sachet 1X450Gr 1P</c:v>
                </c:pt>
                <c:pt idx="93">
                  <c:v>Mini Babybel Aros St Paulin Ferme Emmental Filet 1X120Gr 6P</c:v>
                </c:pt>
                <c:pt idx="94">
                  <c:v>Boursin Salade &amp; Aperitif Fromage Frais Des Noisette Et 3 Noix 1X120Gr 1P</c:v>
                </c:pt>
                <c:pt idx="95">
                  <c:v>Boursin Aperitif Roules Fromage Frais Roule Jambon Fume &amp; Trio De Noix Boite 1X100Gr 20P</c:v>
                </c:pt>
                <c:pt idx="96">
                  <c:v>Boursin Vegetal Specialite Vegetale A Tartiner Afh 1X130Gr 1P</c:v>
                </c:pt>
              </c:strCache>
            </c:strRef>
          </c:cat>
          <c:val>
            <c:numRef>
              <c:f>Sheet1!$D$2:$D$98</c:f>
              <c:numCache>
                <c:formatCode>General</c:formatCode>
                <c:ptCount val="97"/>
                <c:pt idx="0">
                  <c:v>20078.402426693629</c:v>
                </c:pt>
                <c:pt idx="1">
                  <c:v>22666.566125290021</c:v>
                </c:pt>
                <c:pt idx="2">
                  <c:v>21776.25</c:v>
                </c:pt>
                <c:pt idx="3">
                  <c:v>20260.534825870644</c:v>
                </c:pt>
                <c:pt idx="4">
                  <c:v>15409.723926380369</c:v>
                </c:pt>
                <c:pt idx="5">
                  <c:v>18926.456692913383</c:v>
                </c:pt>
                <c:pt idx="6">
                  <c:v>11865.449949443882</c:v>
                </c:pt>
                <c:pt idx="7">
                  <c:v>13020.97175141243</c:v>
                </c:pt>
                <c:pt idx="8">
                  <c:v>11603.780359028513</c:v>
                </c:pt>
                <c:pt idx="9">
                  <c:v>13631.478260869566</c:v>
                </c:pt>
                <c:pt idx="10">
                  <c:v>11377.604166666666</c:v>
                </c:pt>
                <c:pt idx="11">
                  <c:v>20312.922374429225</c:v>
                </c:pt>
                <c:pt idx="12">
                  <c:v>8760.7128099173551</c:v>
                </c:pt>
                <c:pt idx="13">
                  <c:v>10068.847087378641</c:v>
                </c:pt>
                <c:pt idx="14">
                  <c:v>8742.8128460686603</c:v>
                </c:pt>
                <c:pt idx="15">
                  <c:v>7666.3059313215408</c:v>
                </c:pt>
                <c:pt idx="16">
                  <c:v>9030.2732919254649</c:v>
                </c:pt>
                <c:pt idx="17">
                  <c:v>8016.8743047830922</c:v>
                </c:pt>
                <c:pt idx="18">
                  <c:v>8533.8912133891208</c:v>
                </c:pt>
                <c:pt idx="19">
                  <c:v>5863.0573951434872</c:v>
                </c:pt>
                <c:pt idx="20">
                  <c:v>6086.816479400748</c:v>
                </c:pt>
                <c:pt idx="21">
                  <c:v>6368.6956521739139</c:v>
                </c:pt>
                <c:pt idx="22">
                  <c:v>6342.166666666667</c:v>
                </c:pt>
                <c:pt idx="23">
                  <c:v>6343.0617977528091</c:v>
                </c:pt>
                <c:pt idx="24">
                  <c:v>5125.1736526946106</c:v>
                </c:pt>
                <c:pt idx="25">
                  <c:v>5470.622516556291</c:v>
                </c:pt>
                <c:pt idx="26">
                  <c:v>5043.2027972027972</c:v>
                </c:pt>
                <c:pt idx="27">
                  <c:v>5208.3775811209434</c:v>
                </c:pt>
                <c:pt idx="28">
                  <c:v>3841.7171717171718</c:v>
                </c:pt>
                <c:pt idx="29">
                  <c:v>3581.9471488178028</c:v>
                </c:pt>
                <c:pt idx="30">
                  <c:v>3083.217391304348</c:v>
                </c:pt>
                <c:pt idx="31">
                  <c:v>4617.988614800759</c:v>
                </c:pt>
                <c:pt idx="32">
                  <c:v>4931.1864406779669</c:v>
                </c:pt>
                <c:pt idx="33">
                  <c:v>3314.0115440115442</c:v>
                </c:pt>
                <c:pt idx="34">
                  <c:v>2839.497282608696</c:v>
                </c:pt>
                <c:pt idx="35">
                  <c:v>5077.4695863746965</c:v>
                </c:pt>
                <c:pt idx="36">
                  <c:v>2285.1702395964694</c:v>
                </c:pt>
                <c:pt idx="37">
                  <c:v>2320.5897771952818</c:v>
                </c:pt>
                <c:pt idx="38">
                  <c:v>2175.7702349869455</c:v>
                </c:pt>
                <c:pt idx="39">
                  <c:v>2106.0050890585239</c:v>
                </c:pt>
                <c:pt idx="40">
                  <c:v>2199.2933333333335</c:v>
                </c:pt>
                <c:pt idx="41">
                  <c:v>16142.872340425531</c:v>
                </c:pt>
                <c:pt idx="42">
                  <c:v>2983.8034188034185</c:v>
                </c:pt>
                <c:pt idx="43">
                  <c:v>2093.260530421217</c:v>
                </c:pt>
                <c:pt idx="44">
                  <c:v>1995.7142857142856</c:v>
                </c:pt>
                <c:pt idx="45">
                  <c:v>2179.1176470588239</c:v>
                </c:pt>
                <c:pt idx="46">
                  <c:v>2126.7953020134232</c:v>
                </c:pt>
                <c:pt idx="47">
                  <c:v>2733.7380952380954</c:v>
                </c:pt>
                <c:pt idx="48">
                  <c:v>1512.0605187319886</c:v>
                </c:pt>
                <c:pt idx="49">
                  <c:v>1434.9855907780982</c:v>
                </c:pt>
                <c:pt idx="50">
                  <c:v>1925.3319502074692</c:v>
                </c:pt>
                <c:pt idx="51">
                  <c:v>2623.8328530259369</c:v>
                </c:pt>
                <c:pt idx="52">
                  <c:v>1778.3163265306121</c:v>
                </c:pt>
                <c:pt idx="53">
                  <c:v>1422.8211586901762</c:v>
                </c:pt>
                <c:pt idx="54">
                  <c:v>1111.3347457627119</c:v>
                </c:pt>
                <c:pt idx="55">
                  <c:v>1497</c:v>
                </c:pt>
                <c:pt idx="56">
                  <c:v>1880.7490636704117</c:v>
                </c:pt>
                <c:pt idx="57">
                  <c:v>8865.9574468085102</c:v>
                </c:pt>
                <c:pt idx="58">
                  <c:v>893.31858407079642</c:v>
                </c:pt>
                <c:pt idx="59">
                  <c:v>966.64251207729467</c:v>
                </c:pt>
                <c:pt idx="60">
                  <c:v>813.25526932084313</c:v>
                </c:pt>
                <c:pt idx="61">
                  <c:v>1402.2594142259416</c:v>
                </c:pt>
                <c:pt idx="62">
                  <c:v>713.56132075471703</c:v>
                </c:pt>
                <c:pt idx="63">
                  <c:v>740.18229166666674</c:v>
                </c:pt>
                <c:pt idx="64">
                  <c:v>798.17663817663833</c:v>
                </c:pt>
                <c:pt idx="65">
                  <c:v>423.92694063926939</c:v>
                </c:pt>
                <c:pt idx="66">
                  <c:v>740.38251366120221</c:v>
                </c:pt>
                <c:pt idx="67">
                  <c:v>820.228013029316</c:v>
                </c:pt>
                <c:pt idx="68">
                  <c:v>694.59064327485373</c:v>
                </c:pt>
                <c:pt idx="69">
                  <c:v>5027.9069767441861</c:v>
                </c:pt>
                <c:pt idx="70">
                  <c:v>515.09971509971513</c:v>
                </c:pt>
                <c:pt idx="71">
                  <c:v>611.09965635738831</c:v>
                </c:pt>
                <c:pt idx="72">
                  <c:v>473.70588235294116</c:v>
                </c:pt>
                <c:pt idx="73">
                  <c:v>485.43046357615896</c:v>
                </c:pt>
                <c:pt idx="74">
                  <c:v>512.44525547445255</c:v>
                </c:pt>
                <c:pt idx="75">
                  <c:v>1119.516129032258</c:v>
                </c:pt>
                <c:pt idx="76">
                  <c:v>363.83050847457628</c:v>
                </c:pt>
                <c:pt idx="77">
                  <c:v>427.54166666666669</c:v>
                </c:pt>
                <c:pt idx="78">
                  <c:v>362.10116731517513</c:v>
                </c:pt>
                <c:pt idx="79">
                  <c:v>216.63291139240508</c:v>
                </c:pt>
                <c:pt idx="80">
                  <c:v>733.11320754716985</c:v>
                </c:pt>
                <c:pt idx="81">
                  <c:v>770.9375</c:v>
                </c:pt>
                <c:pt idx="82">
                  <c:v>9185</c:v>
                </c:pt>
                <c:pt idx="83">
                  <c:v>2647.037037037037</c:v>
                </c:pt>
                <c:pt idx="84">
                  <c:v>891.875</c:v>
                </c:pt>
                <c:pt idx="85">
                  <c:v>578.78260869565213</c:v>
                </c:pt>
                <c:pt idx="86">
                  <c:v>280.32258064516128</c:v>
                </c:pt>
                <c:pt idx="87">
                  <c:v>329.74683544303798</c:v>
                </c:pt>
                <c:pt idx="88">
                  <c:v>82.13483146067415</c:v>
                </c:pt>
                <c:pt idx="89">
                  <c:v>77.261146496815286</c:v>
                </c:pt>
                <c:pt idx="90">
                  <c:v>553.33333333333337</c:v>
                </c:pt>
                <c:pt idx="91">
                  <c:v>175.67567567567568</c:v>
                </c:pt>
                <c:pt idx="92">
                  <c:v>482</c:v>
                </c:pt>
                <c:pt idx="93">
                  <c:v>71.5625</c:v>
                </c:pt>
                <c:pt idx="94">
                  <c:v>186.36363636363637</c:v>
                </c:pt>
                <c:pt idx="95">
                  <c:v>37.777777777777779</c:v>
                </c:pt>
                <c:pt idx="96">
                  <c:v>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6</c:f>
              <c:strCache>
                <c:ptCount val="7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Kiri Gouter Fromage Blanc Dips Boite 1X280Gr 8P</c:v>
                </c:pt>
                <c:pt idx="10">
                  <c:v>Boursin Classique Fromage Frais A Tartiner Afh Boite 1X250Gr 1P</c:v>
                </c:pt>
                <c:pt idx="11">
                  <c:v>Boursin Classique Fromage Frais A Tartiner Afh 1X160Gr 10P</c:v>
                </c:pt>
                <c:pt idx="12">
                  <c:v>Apericube Long Drink Fromage Fondu Cube Assortis 1X250Gr 48P</c:v>
                </c:pt>
                <c:pt idx="13">
                  <c:v>Kiri Creme Fromage Blanc Frais Carre 1X144Gr 8P</c:v>
                </c:pt>
                <c:pt idx="14">
                  <c:v>Kiri Gouter Fromage Blanc Dips Boite 1X175Gr 5P</c:v>
                </c:pt>
                <c:pt idx="15">
                  <c:v>Apericube Tonic Fromage Fondu Cube Assortis 1X250Gr 48P</c:v>
                </c:pt>
                <c:pt idx="16">
                  <c:v>Port Salut St Paulin 1X320Gr 1P</c:v>
                </c:pt>
                <c:pt idx="17">
                  <c:v>Boursin Aperitif Roules Fromage Frais Roule Afh Et Jambon Fume Boite 1X100Gr 20P</c:v>
                </c:pt>
                <c:pt idx="18">
                  <c:v>Boursin Classique Fromage Frais A Tartiner Afh Boite 1X150Gr 1P</c:v>
                </c:pt>
                <c:pt idx="19">
                  <c:v>Babybel St Paulin 1X200Gr 1P</c:v>
                </c:pt>
                <c:pt idx="20">
                  <c:v>Apericube Edition Voyage Fromage Fondu Cube Assortis 1X250Gr 48P</c:v>
                </c:pt>
                <c:pt idx="21">
                  <c:v>Boursin Salade &amp; Aperitif Fromage Frais Des Afh 1X120Gr 1P</c:v>
                </c:pt>
                <c:pt idx="22">
                  <c:v>Apericube Incontournable Fromage Fondu Cube Assortis 1X250Gr 48P</c:v>
                </c:pt>
                <c:pt idx="23">
                  <c:v>Apericube Nature Fromage Fondu Cube 1X125Gr 24P</c:v>
                </c:pt>
                <c:pt idx="24">
                  <c:v>Apericube Campagne Fromage Fondu Cube Assortis 1X125Gr 24P</c:v>
                </c:pt>
                <c:pt idx="25">
                  <c:v>La Vache Qui Rit Pik Et Croq' Fromage Fondu Dips Boite 1X175Gr 5P</c:v>
                </c:pt>
                <c:pt idx="26">
                  <c:v>Boursin Aperitif Roules Fromage Frais Roule Ciboulette &amp; Echalote Jambon Fume Boite 1X100Gr 20P</c:v>
                </c:pt>
                <c:pt idx="27">
                  <c:v>Apericube Edition Limitee Saison Fromage Fondu Cube Assortis 1X250Gr 48P</c:v>
                </c:pt>
                <c:pt idx="28">
                  <c:v>La Vache Qui Rit Pik Et Croq' Fromage Fondu Dips Boite 1X280Gr 8P</c:v>
                </c:pt>
                <c:pt idx="29">
                  <c:v>Apericube Soiree Match Aperitif 250G</c:v>
                </c:pt>
                <c:pt idx="30">
                  <c:v>Boursin Onctueux Fromage Frais A Tartiner Afh 1X125Gr 1P</c:v>
                </c:pt>
                <c:pt idx="31">
                  <c:v>Kiri Creme Fromage Blanc Frais Carre 1X432Gr 18+6P</c:v>
                </c:pt>
                <c:pt idx="32">
                  <c:v>Boursin Classique Fromage Frais A Tartiner Afh Boite 1X96Gr 6P</c:v>
                </c:pt>
                <c:pt idx="33">
                  <c:v>Boursin Classique Fromage Frais A Tartiner Figue Et 3 Noix Boite 1X150Gr 1P</c:v>
                </c:pt>
                <c:pt idx="34">
                  <c:v>Mini Babybel Aros Soft Cheese Enfant 180G</c:v>
                </c:pt>
                <c:pt idx="35">
                  <c:v>La Vache Qui Rit Allegee Fromage Fondu Boite Ronde Allege 1X267Gr 16P</c:v>
                </c:pt>
                <c:pt idx="36">
                  <c:v>Boursin Classique Fromage Frais A Tartiner Ciboulette &amp; Echalote Boite 1X150Gr 1P</c:v>
                </c:pt>
                <c:pt idx="37">
                  <c:v>Boursin Cuisine Sauce Fromage Afh 1X240Gr 1P</c:v>
                </c:pt>
                <c:pt idx="38">
                  <c:v>Kiri Delicieusement Fouette Fromage Frais A Tartiner 1X125Gr 1P</c:v>
                </c:pt>
                <c:pt idx="39">
                  <c:v>Boursin Aperitif Roules Fromage Frais Roule Basilic &amp; Jambon Fume Tomate Boite 1X100Gr 20P</c:v>
                </c:pt>
                <c:pt idx="40">
                  <c:v>Boursin Classique Fromage Frais A Tartiner Poivre Boite 1X150Gr 1P</c:v>
                </c:pt>
                <c:pt idx="41">
                  <c:v>Boursin Classique Fromage Frais A Tartiner Afh 1X256Gr 16P</c:v>
                </c:pt>
                <c:pt idx="42">
                  <c:v>Babybel Mini Rolls St Paulin Ferme Sachet 1X85Gr 5P</c:v>
                </c:pt>
                <c:pt idx="43">
                  <c:v>Boursin Salade &amp; Aperitif Fromage Frais Des Ciboulette Echalote 1X120Gr 1P</c:v>
                </c:pt>
                <c:pt idx="44">
                  <c:v>Apericube Hot Chalenge Aperitif 250G</c:v>
                </c:pt>
                <c:pt idx="45">
                  <c:v>Boursin Classique Fromage Frais A Tartiner Ciboulette &amp; Echalote 1X160Gr 10P</c:v>
                </c:pt>
                <c:pt idx="46">
                  <c:v>Kiri Bio Fromage Blanc Frais Carre 1X144Gr 8P</c:v>
                </c:pt>
                <c:pt idx="47">
                  <c:v>La Vache Qui Rit Aro Fromage Fondu Boite Ronde Jambon 1X133Gr 8P</c:v>
                </c:pt>
                <c:pt idx="48">
                  <c:v>Mini Babybel Aros Soft Cheese Enfant 110G</c:v>
                </c:pt>
                <c:pt idx="49">
                  <c:v>Boursin Salade &amp; Aperitif Fromage Frais Des Figue Noix 1X120Gr 1P</c:v>
                </c:pt>
                <c:pt idx="50">
                  <c:v>Apericube Fromages Du Monde Aperitif 250G</c:v>
                </c:pt>
                <c:pt idx="51">
                  <c:v>Cousteron St Paulin 1X320Gr 1P</c:v>
                </c:pt>
                <c:pt idx="52">
                  <c:v>Kiri Chevre Fromage Blanc Frais Carre 1X144Gr 8P</c:v>
                </c:pt>
                <c:pt idx="53">
                  <c:v>Apericube Montagne Aperitif 250G</c:v>
                </c:pt>
                <c:pt idx="54">
                  <c:v>Boursin Salade &amp; Aperitif Fromage Frais Des Citron Romarin 1X120Gr 1P</c:v>
                </c:pt>
                <c:pt idx="55">
                  <c:v>Boursin Aperitif Roules Aperitif 100G</c:v>
                </c:pt>
                <c:pt idx="56">
                  <c:v>Boursin Salade &amp; Aperitif Soft Cheese Salade 120G</c:v>
                </c:pt>
                <c:pt idx="57">
                  <c:v>Nurishh Les Tranches Vegetales Cheddar Vegetal Tranche Boite 1X160Gr 8P</c:v>
                </c:pt>
                <c:pt idx="58">
                  <c:v>Nurishh Le Rape Vegetal Specialite Vegetale Sachet 1X150Gr 1P</c:v>
                </c:pt>
                <c:pt idx="59">
                  <c:v>Nurishh Le Rape Vegetal Specialite Vegetale Emmental Sachet 1X150Gr 1P</c:v>
                </c:pt>
                <c:pt idx="60">
                  <c:v>Nurishh Le Coeur Fleuri Vegetal Camembert Boite 1X140Gr 1P</c:v>
                </c:pt>
                <c:pt idx="61">
                  <c:v>Nurishh Des Vegetaux Feta Vegetale Sachet 1X150Gr 1P</c:v>
                </c:pt>
                <c:pt idx="62">
                  <c:v>Nurishh Le Palet Vegetal Specialite Vegetale Ovale Saveur Chevre Boite 1X140Gr 1P</c:v>
                </c:pt>
                <c:pt idx="63">
                  <c:v>Mini Babybel Rouge Filet St Paulin Ferme Sachet 1X40Gr 1P</c:v>
                </c:pt>
                <c:pt idx="64">
                  <c:v>Apericube Saveurs De L'Authentique Fromage Fondu Cube Assortis 1X250Gr 48P</c:v>
                </c:pt>
                <c:pt idx="65">
                  <c:v>Boursin Aperitif Roules Fromage Frais Roule Jambon Fume &amp; Trio De Noix Boite 1X100Gr 20P</c:v>
                </c:pt>
                <c:pt idx="66">
                  <c:v>Limiano Queijo Flamengo Tranche Sachet 1X200Gr 1P</c:v>
                </c:pt>
                <c:pt idx="67">
                  <c:v>Limiano Queijo Flamengo Bloc 1X600Gr 1P</c:v>
                </c:pt>
                <c:pt idx="68">
                  <c:v>Mini Babybel Aros St Paulin Ferme Raclette Filet 1X132Gr 6P</c:v>
                </c:pt>
                <c:pt idx="69">
                  <c:v>La Vache Qui Rit Nature Fromage Fondu Boite Ronde 1X512Gr 24+8P</c:v>
                </c:pt>
                <c:pt idx="70">
                  <c:v>Kiri Delicieusement Fouette Fromage Frais A Tartiner 1X160Gr 10P</c:v>
                </c:pt>
                <c:pt idx="71">
                  <c:v>Apericube Long Drink Fromage Fondu Cube Assortis 1X125Gr 24P</c:v>
                </c:pt>
                <c:pt idx="72">
                  <c:v>Boursin Classique Fromage Frais A Tartiner Afh Boite 1X80Gr 1P</c:v>
                </c:pt>
                <c:pt idx="73">
                  <c:v>Mini Babybel Aros St Paulin Ferme Assortis Filet 1X180Gr 9P</c:v>
                </c:pt>
                <c:pt idx="74">
                  <c:v>Mini Babybel Rouge Filet St Paulin Ferme 1X396Gr 12+6P</c:v>
                </c:pt>
              </c:strCache>
            </c:strRef>
          </c:cat>
          <c:val>
            <c:numRef>
              <c:f>Sheet1!$B$2:$B$76</c:f>
              <c:numCache>
                <c:formatCode>General</c:formatCode>
                <c:ptCount val="75"/>
                <c:pt idx="0">
                  <c:v>0.97699999999999998</c:v>
                </c:pt>
                <c:pt idx="1">
                  <c:v>0.94199999999999995</c:v>
                </c:pt>
                <c:pt idx="2">
                  <c:v>0.996</c:v>
                </c:pt>
                <c:pt idx="3">
                  <c:v>0.93799999999999994</c:v>
                </c:pt>
                <c:pt idx="4">
                  <c:v>0.98899999999999999</c:v>
                </c:pt>
                <c:pt idx="5">
                  <c:v>0.97299999999999998</c:v>
                </c:pt>
                <c:pt idx="6">
                  <c:v>0.94599999999999995</c:v>
                </c:pt>
                <c:pt idx="7">
                  <c:v>0.85299999999999998</c:v>
                </c:pt>
                <c:pt idx="8">
                  <c:v>0.93100000000000005</c:v>
                </c:pt>
                <c:pt idx="9">
                  <c:v>0.92900000000000005</c:v>
                </c:pt>
                <c:pt idx="10">
                  <c:v>0.96099999999999997</c:v>
                </c:pt>
                <c:pt idx="11">
                  <c:v>0.97899999999999998</c:v>
                </c:pt>
                <c:pt idx="12">
                  <c:v>0.89800000000000002</c:v>
                </c:pt>
                <c:pt idx="13">
                  <c:v>0.98199999999999998</c:v>
                </c:pt>
                <c:pt idx="14">
                  <c:v>0.97799999999999998</c:v>
                </c:pt>
                <c:pt idx="15">
                  <c:v>0.89800000000000002</c:v>
                </c:pt>
                <c:pt idx="16">
                  <c:v>0.96499999999999997</c:v>
                </c:pt>
                <c:pt idx="17">
                  <c:v>0.94799999999999995</c:v>
                </c:pt>
                <c:pt idx="18">
                  <c:v>0.99399999999999999</c:v>
                </c:pt>
                <c:pt idx="19">
                  <c:v>0.98299999999999998</c:v>
                </c:pt>
                <c:pt idx="20">
                  <c:v>0.86099999999999999</c:v>
                </c:pt>
                <c:pt idx="21">
                  <c:v>0.96499999999999997</c:v>
                </c:pt>
                <c:pt idx="22">
                  <c:v>0.82899999999999996</c:v>
                </c:pt>
                <c:pt idx="23">
                  <c:v>0.90900000000000003</c:v>
                </c:pt>
                <c:pt idx="24">
                  <c:v>0.89300000000000002</c:v>
                </c:pt>
                <c:pt idx="25">
                  <c:v>0.93400000000000005</c:v>
                </c:pt>
                <c:pt idx="26">
                  <c:v>0.88700000000000001</c:v>
                </c:pt>
                <c:pt idx="27">
                  <c:v>0.84599999999999997</c:v>
                </c:pt>
                <c:pt idx="28">
                  <c:v>0.81100000000000005</c:v>
                </c:pt>
                <c:pt idx="29">
                  <c:v>0.76500000000000001</c:v>
                </c:pt>
                <c:pt idx="30">
                  <c:v>0.95399999999999996</c:v>
                </c:pt>
                <c:pt idx="31">
                  <c:v>0.81599999999999995</c:v>
                </c:pt>
                <c:pt idx="32">
                  <c:v>0.88200000000000001</c:v>
                </c:pt>
                <c:pt idx="33">
                  <c:v>0.93899999999999995</c:v>
                </c:pt>
                <c:pt idx="34">
                  <c:v>0.70799999999999996</c:v>
                </c:pt>
                <c:pt idx="35">
                  <c:v>0.80600000000000005</c:v>
                </c:pt>
                <c:pt idx="36">
                  <c:v>0.94499999999999995</c:v>
                </c:pt>
                <c:pt idx="37">
                  <c:v>0.84299999999999997</c:v>
                </c:pt>
                <c:pt idx="38">
                  <c:v>0.83499999999999996</c:v>
                </c:pt>
                <c:pt idx="39">
                  <c:v>0.8</c:v>
                </c:pt>
                <c:pt idx="40">
                  <c:v>0.84199999999999997</c:v>
                </c:pt>
                <c:pt idx="41">
                  <c:v>0.79500000000000004</c:v>
                </c:pt>
                <c:pt idx="42">
                  <c:v>0.73399999999999999</c:v>
                </c:pt>
                <c:pt idx="43">
                  <c:v>0.82099999999999995</c:v>
                </c:pt>
                <c:pt idx="44">
                  <c:v>0.499</c:v>
                </c:pt>
                <c:pt idx="45">
                  <c:v>0.80200000000000005</c:v>
                </c:pt>
                <c:pt idx="46">
                  <c:v>0.6</c:v>
                </c:pt>
                <c:pt idx="47">
                  <c:v>0.625</c:v>
                </c:pt>
                <c:pt idx="48">
                  <c:v>0.58299999999999996</c:v>
                </c:pt>
                <c:pt idx="49">
                  <c:v>0.51300000000000001</c:v>
                </c:pt>
                <c:pt idx="50">
                  <c:v>0.28199999999999997</c:v>
                </c:pt>
                <c:pt idx="51">
                  <c:v>0.93799999999999994</c:v>
                </c:pt>
                <c:pt idx="52">
                  <c:v>0.54300000000000004</c:v>
                </c:pt>
                <c:pt idx="53">
                  <c:v>0.27</c:v>
                </c:pt>
                <c:pt idx="54">
                  <c:v>0.65</c:v>
                </c:pt>
                <c:pt idx="55">
                  <c:v>0.65800000000000003</c:v>
                </c:pt>
                <c:pt idx="56">
                  <c:v>0.41199999999999998</c:v>
                </c:pt>
                <c:pt idx="57">
                  <c:v>0.27100000000000002</c:v>
                </c:pt>
                <c:pt idx="58">
                  <c:v>0.28399999999999997</c:v>
                </c:pt>
                <c:pt idx="59">
                  <c:v>0.21</c:v>
                </c:pt>
                <c:pt idx="60">
                  <c:v>0.14399999999999999</c:v>
                </c:pt>
                <c:pt idx="61">
                  <c:v>0.17299999999999999</c:v>
                </c:pt>
                <c:pt idx="62">
                  <c:v>0.14199999999999999</c:v>
                </c:pt>
                <c:pt idx="63">
                  <c:v>0.11</c:v>
                </c:pt>
                <c:pt idx="64">
                  <c:v>0.25800000000000001</c:v>
                </c:pt>
                <c:pt idx="65">
                  <c:v>0.29199999999999998</c:v>
                </c:pt>
                <c:pt idx="66">
                  <c:v>0.01</c:v>
                </c:pt>
                <c:pt idx="67">
                  <c:v>0.01</c:v>
                </c:pt>
                <c:pt idx="68">
                  <c:v>0.113</c:v>
                </c:pt>
                <c:pt idx="69">
                  <c:v>1E-3</c:v>
                </c:pt>
                <c:pt idx="70">
                  <c:v>9.4E-2</c:v>
                </c:pt>
                <c:pt idx="71">
                  <c:v>0.04</c:v>
                </c:pt>
                <c:pt idx="72">
                  <c:v>6.5000000000000002E-2</c:v>
                </c:pt>
                <c:pt idx="73">
                  <c:v>1.9E-2</c:v>
                </c:pt>
                <c:pt idx="74">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D52D-4371-9E38-149C1CC7C5E0}"/>
              </c:ext>
            </c:extLst>
          </c:dPt>
          <c:dPt>
            <c:idx val="45"/>
            <c:invertIfNegative val="1"/>
            <c:bubble3D val="0"/>
            <c:spPr>
              <a:solidFill>
                <a:srgbClr val="AEABAB"/>
              </a:solidFill>
            </c:spPr>
            <c:extLst>
              <c:ext xmlns:c16="http://schemas.microsoft.com/office/drawing/2014/chart" uri="{C3380CC4-5D6E-409C-BE32-E72D297353CC}">
                <c16:uniqueId val="{0000005D-D52D-4371-9E38-149C1CC7C5E0}"/>
              </c:ext>
            </c:extLst>
          </c:dPt>
          <c:dPt>
            <c:idx val="46"/>
            <c:invertIfNegative val="1"/>
            <c:bubble3D val="0"/>
            <c:spPr>
              <a:solidFill>
                <a:srgbClr val="AEABAB"/>
              </a:solidFill>
            </c:spPr>
            <c:extLst>
              <c:ext xmlns:c16="http://schemas.microsoft.com/office/drawing/2014/chart" uri="{C3380CC4-5D6E-409C-BE32-E72D297353CC}">
                <c16:uniqueId val="{0000005F-D52D-4371-9E38-149C1CC7C5E0}"/>
              </c:ext>
            </c:extLst>
          </c:dPt>
          <c:dPt>
            <c:idx val="47"/>
            <c:invertIfNegative val="1"/>
            <c:bubble3D val="0"/>
            <c:spPr>
              <a:solidFill>
                <a:srgbClr val="AEABAB"/>
              </a:solidFill>
            </c:spPr>
            <c:extLst>
              <c:ext xmlns:c16="http://schemas.microsoft.com/office/drawing/2014/chart" uri="{C3380CC4-5D6E-409C-BE32-E72D297353CC}">
                <c16:uniqueId val="{00000061-D52D-4371-9E38-149C1CC7C5E0}"/>
              </c:ext>
            </c:extLst>
          </c:dPt>
          <c:dPt>
            <c:idx val="48"/>
            <c:invertIfNegative val="1"/>
            <c:bubble3D val="0"/>
            <c:spPr>
              <a:solidFill>
                <a:srgbClr val="AEABAB"/>
              </a:solidFill>
            </c:spPr>
            <c:extLst>
              <c:ext xmlns:c16="http://schemas.microsoft.com/office/drawing/2014/chart" uri="{C3380CC4-5D6E-409C-BE32-E72D297353CC}">
                <c16:uniqueId val="{00000063-D52D-4371-9E38-149C1CC7C5E0}"/>
              </c:ext>
            </c:extLst>
          </c:dPt>
          <c:dPt>
            <c:idx val="49"/>
            <c:invertIfNegative val="1"/>
            <c:bubble3D val="0"/>
            <c:spPr>
              <a:solidFill>
                <a:srgbClr val="AEABAB"/>
              </a:solidFill>
            </c:spPr>
            <c:extLst>
              <c:ext xmlns:c16="http://schemas.microsoft.com/office/drawing/2014/chart" uri="{C3380CC4-5D6E-409C-BE32-E72D297353CC}">
                <c16:uniqueId val="{00000065-D52D-4371-9E38-149C1CC7C5E0}"/>
              </c:ext>
            </c:extLst>
          </c:dPt>
          <c:dPt>
            <c:idx val="50"/>
            <c:invertIfNegative val="1"/>
            <c:bubble3D val="0"/>
            <c:spPr>
              <a:solidFill>
                <a:srgbClr val="AEABAB"/>
              </a:solidFill>
            </c:spPr>
            <c:extLst>
              <c:ext xmlns:c16="http://schemas.microsoft.com/office/drawing/2014/chart" uri="{C3380CC4-5D6E-409C-BE32-E72D297353CC}">
                <c16:uniqueId val="{00000067-D52D-4371-9E38-149C1CC7C5E0}"/>
              </c:ext>
            </c:extLst>
          </c:dPt>
          <c:dPt>
            <c:idx val="51"/>
            <c:invertIfNegative val="1"/>
            <c:bubble3D val="0"/>
            <c:spPr>
              <a:solidFill>
                <a:srgbClr val="AEABAB"/>
              </a:solidFill>
            </c:spPr>
            <c:extLst>
              <c:ext xmlns:c16="http://schemas.microsoft.com/office/drawing/2014/chart" uri="{C3380CC4-5D6E-409C-BE32-E72D297353CC}">
                <c16:uniqueId val="{00000069-D52D-4371-9E38-149C1CC7C5E0}"/>
              </c:ext>
            </c:extLst>
          </c:dPt>
          <c:dPt>
            <c:idx val="52"/>
            <c:invertIfNegative val="1"/>
            <c:bubble3D val="0"/>
            <c:spPr>
              <a:solidFill>
                <a:srgbClr val="AEABAB"/>
              </a:solidFill>
            </c:spPr>
            <c:extLst>
              <c:ext xmlns:c16="http://schemas.microsoft.com/office/drawing/2014/chart" uri="{C3380CC4-5D6E-409C-BE32-E72D297353CC}">
                <c16:uniqueId val="{0000006B-D52D-4371-9E38-149C1CC7C5E0}"/>
              </c:ext>
            </c:extLst>
          </c:dPt>
          <c:dPt>
            <c:idx val="53"/>
            <c:invertIfNegative val="1"/>
            <c:bubble3D val="0"/>
            <c:spPr>
              <a:solidFill>
                <a:srgbClr val="AEABAB"/>
              </a:solidFill>
            </c:spPr>
            <c:extLst>
              <c:ext xmlns:c16="http://schemas.microsoft.com/office/drawing/2014/chart" uri="{C3380CC4-5D6E-409C-BE32-E72D297353CC}">
                <c16:uniqueId val="{0000006D-D52D-4371-9E38-149C1CC7C5E0}"/>
              </c:ext>
            </c:extLst>
          </c:dPt>
          <c:dPt>
            <c:idx val="54"/>
            <c:invertIfNegative val="1"/>
            <c:bubble3D val="0"/>
            <c:spPr>
              <a:solidFill>
                <a:srgbClr val="AEABAB"/>
              </a:solidFill>
            </c:spPr>
            <c:extLst>
              <c:ext xmlns:c16="http://schemas.microsoft.com/office/drawing/2014/chart" uri="{C3380CC4-5D6E-409C-BE32-E72D297353CC}">
                <c16:uniqueId val="{0000006F-D52D-4371-9E38-149C1CC7C5E0}"/>
              </c:ext>
            </c:extLst>
          </c:dPt>
          <c:dPt>
            <c:idx val="55"/>
            <c:invertIfNegative val="1"/>
            <c:bubble3D val="0"/>
            <c:spPr>
              <a:solidFill>
                <a:srgbClr val="AEABAB"/>
              </a:solidFill>
            </c:spPr>
            <c:extLst>
              <c:ext xmlns:c16="http://schemas.microsoft.com/office/drawing/2014/chart" uri="{C3380CC4-5D6E-409C-BE32-E72D297353CC}">
                <c16:uniqueId val="{00000071-D52D-4371-9E38-149C1CC7C5E0}"/>
              </c:ext>
            </c:extLst>
          </c:dPt>
          <c:dPt>
            <c:idx val="56"/>
            <c:invertIfNegative val="1"/>
            <c:bubble3D val="0"/>
            <c:spPr>
              <a:solidFill>
                <a:srgbClr val="AEABAB"/>
              </a:solidFill>
            </c:spPr>
            <c:extLst>
              <c:ext xmlns:c16="http://schemas.microsoft.com/office/drawing/2014/chart" uri="{C3380CC4-5D6E-409C-BE32-E72D297353CC}">
                <c16:uniqueId val="{00000073-D52D-4371-9E38-149C1CC7C5E0}"/>
              </c:ext>
            </c:extLst>
          </c:dPt>
          <c:dPt>
            <c:idx val="57"/>
            <c:invertIfNegative val="1"/>
            <c:bubble3D val="0"/>
            <c:spPr>
              <a:solidFill>
                <a:srgbClr val="AEABAB"/>
              </a:solidFill>
            </c:spPr>
            <c:extLst>
              <c:ext xmlns:c16="http://schemas.microsoft.com/office/drawing/2014/chart" uri="{C3380CC4-5D6E-409C-BE32-E72D297353CC}">
                <c16:uniqueId val="{00000075-D52D-4371-9E38-149C1CC7C5E0}"/>
              </c:ext>
            </c:extLst>
          </c:dPt>
          <c:dPt>
            <c:idx val="58"/>
            <c:invertIfNegative val="1"/>
            <c:bubble3D val="0"/>
            <c:spPr>
              <a:solidFill>
                <a:srgbClr val="AEABAB"/>
              </a:solidFill>
            </c:spPr>
            <c:extLst>
              <c:ext xmlns:c16="http://schemas.microsoft.com/office/drawing/2014/chart" uri="{C3380CC4-5D6E-409C-BE32-E72D297353CC}">
                <c16:uniqueId val="{00000077-D52D-4371-9E38-149C1CC7C5E0}"/>
              </c:ext>
            </c:extLst>
          </c:dPt>
          <c:dPt>
            <c:idx val="59"/>
            <c:invertIfNegative val="1"/>
            <c:bubble3D val="0"/>
            <c:spPr>
              <a:solidFill>
                <a:srgbClr val="AEABAB"/>
              </a:solidFill>
            </c:spPr>
            <c:extLst>
              <c:ext xmlns:c16="http://schemas.microsoft.com/office/drawing/2014/chart" uri="{C3380CC4-5D6E-409C-BE32-E72D297353CC}">
                <c16:uniqueId val="{00000079-D52D-4371-9E38-149C1CC7C5E0}"/>
              </c:ext>
            </c:extLst>
          </c:dPt>
          <c:dPt>
            <c:idx val="60"/>
            <c:invertIfNegative val="1"/>
            <c:bubble3D val="0"/>
            <c:spPr>
              <a:solidFill>
                <a:srgbClr val="AEABAB"/>
              </a:solidFill>
            </c:spPr>
            <c:extLst>
              <c:ext xmlns:c16="http://schemas.microsoft.com/office/drawing/2014/chart" uri="{C3380CC4-5D6E-409C-BE32-E72D297353CC}">
                <c16:uniqueId val="{0000007B-D52D-4371-9E38-149C1CC7C5E0}"/>
              </c:ext>
            </c:extLst>
          </c:dPt>
          <c:dPt>
            <c:idx val="61"/>
            <c:invertIfNegative val="1"/>
            <c:bubble3D val="0"/>
            <c:spPr>
              <a:solidFill>
                <a:srgbClr val="AEABAB"/>
              </a:solidFill>
            </c:spPr>
            <c:extLst>
              <c:ext xmlns:c16="http://schemas.microsoft.com/office/drawing/2014/chart" uri="{C3380CC4-5D6E-409C-BE32-E72D297353CC}">
                <c16:uniqueId val="{0000007D-D52D-4371-9E38-149C1CC7C5E0}"/>
              </c:ext>
            </c:extLst>
          </c:dPt>
          <c:dPt>
            <c:idx val="62"/>
            <c:invertIfNegative val="1"/>
            <c:bubble3D val="0"/>
            <c:spPr>
              <a:solidFill>
                <a:srgbClr val="AEABAB"/>
              </a:solidFill>
            </c:spPr>
            <c:extLst>
              <c:ext xmlns:c16="http://schemas.microsoft.com/office/drawing/2014/chart" uri="{C3380CC4-5D6E-409C-BE32-E72D297353CC}">
                <c16:uniqueId val="{0000007F-D52D-4371-9E38-149C1CC7C5E0}"/>
              </c:ext>
            </c:extLst>
          </c:dPt>
          <c:dPt>
            <c:idx val="63"/>
            <c:invertIfNegative val="1"/>
            <c:bubble3D val="0"/>
            <c:spPr>
              <a:solidFill>
                <a:srgbClr val="AEABAB"/>
              </a:solidFill>
            </c:spPr>
            <c:extLst>
              <c:ext xmlns:c16="http://schemas.microsoft.com/office/drawing/2014/chart" uri="{C3380CC4-5D6E-409C-BE32-E72D297353CC}">
                <c16:uniqueId val="{00000081-D52D-4371-9E38-149C1CC7C5E0}"/>
              </c:ext>
            </c:extLst>
          </c:dPt>
          <c:dPt>
            <c:idx val="64"/>
            <c:invertIfNegative val="1"/>
            <c:bubble3D val="0"/>
            <c:spPr>
              <a:solidFill>
                <a:srgbClr val="AEABAB"/>
              </a:solidFill>
            </c:spPr>
            <c:extLst>
              <c:ext xmlns:c16="http://schemas.microsoft.com/office/drawing/2014/chart" uri="{C3380CC4-5D6E-409C-BE32-E72D297353CC}">
                <c16:uniqueId val="{00000083-D52D-4371-9E38-149C1CC7C5E0}"/>
              </c:ext>
            </c:extLst>
          </c:dPt>
          <c:dPt>
            <c:idx val="65"/>
            <c:invertIfNegative val="1"/>
            <c:bubble3D val="0"/>
            <c:spPr>
              <a:solidFill>
                <a:srgbClr val="AEABAB"/>
              </a:solidFill>
            </c:spPr>
            <c:extLst>
              <c:ext xmlns:c16="http://schemas.microsoft.com/office/drawing/2014/chart" uri="{C3380CC4-5D6E-409C-BE32-E72D297353CC}">
                <c16:uniqueId val="{00000085-D52D-4371-9E38-149C1CC7C5E0}"/>
              </c:ext>
            </c:extLst>
          </c:dPt>
          <c:dPt>
            <c:idx val="66"/>
            <c:invertIfNegative val="1"/>
            <c:bubble3D val="0"/>
            <c:spPr>
              <a:solidFill>
                <a:srgbClr val="AEABAB"/>
              </a:solidFill>
            </c:spPr>
            <c:extLst>
              <c:ext xmlns:c16="http://schemas.microsoft.com/office/drawing/2014/chart" uri="{C3380CC4-5D6E-409C-BE32-E72D297353CC}">
                <c16:uniqueId val="{00000087-D52D-4371-9E38-149C1CC7C5E0}"/>
              </c:ext>
            </c:extLst>
          </c:dPt>
          <c:dPt>
            <c:idx val="67"/>
            <c:invertIfNegative val="1"/>
            <c:bubble3D val="0"/>
            <c:spPr>
              <a:solidFill>
                <a:srgbClr val="AEABAB"/>
              </a:solidFill>
            </c:spPr>
            <c:extLst>
              <c:ext xmlns:c16="http://schemas.microsoft.com/office/drawing/2014/chart" uri="{C3380CC4-5D6E-409C-BE32-E72D297353CC}">
                <c16:uniqueId val="{00000089-D52D-4371-9E38-149C1CC7C5E0}"/>
              </c:ext>
            </c:extLst>
          </c:dPt>
          <c:dPt>
            <c:idx val="68"/>
            <c:invertIfNegative val="1"/>
            <c:bubble3D val="0"/>
            <c:spPr>
              <a:solidFill>
                <a:srgbClr val="AEABAB"/>
              </a:solidFill>
            </c:spPr>
            <c:extLst>
              <c:ext xmlns:c16="http://schemas.microsoft.com/office/drawing/2014/chart" uri="{C3380CC4-5D6E-409C-BE32-E72D297353CC}">
                <c16:uniqueId val="{0000008B-D52D-4371-9E38-149C1CC7C5E0}"/>
              </c:ext>
            </c:extLst>
          </c:dPt>
          <c:dPt>
            <c:idx val="69"/>
            <c:invertIfNegative val="1"/>
            <c:bubble3D val="0"/>
            <c:spPr>
              <a:solidFill>
                <a:srgbClr val="AEABAB"/>
              </a:solidFill>
            </c:spPr>
            <c:extLst>
              <c:ext xmlns:c16="http://schemas.microsoft.com/office/drawing/2014/chart" uri="{C3380CC4-5D6E-409C-BE32-E72D297353CC}">
                <c16:uniqueId val="{0000008D-D52D-4371-9E38-149C1CC7C5E0}"/>
              </c:ext>
            </c:extLst>
          </c:dPt>
          <c:dPt>
            <c:idx val="70"/>
            <c:invertIfNegative val="1"/>
            <c:bubble3D val="0"/>
            <c:spPr>
              <a:solidFill>
                <a:srgbClr val="AEABAB"/>
              </a:solidFill>
            </c:spPr>
            <c:extLst>
              <c:ext xmlns:c16="http://schemas.microsoft.com/office/drawing/2014/chart" uri="{C3380CC4-5D6E-409C-BE32-E72D297353CC}">
                <c16:uniqueId val="{0000008F-D52D-4371-9E38-149C1CC7C5E0}"/>
              </c:ext>
            </c:extLst>
          </c:dPt>
          <c:dPt>
            <c:idx val="71"/>
            <c:invertIfNegative val="1"/>
            <c:bubble3D val="0"/>
            <c:spPr>
              <a:solidFill>
                <a:srgbClr val="AEABAB"/>
              </a:solidFill>
            </c:spPr>
            <c:extLst>
              <c:ext xmlns:c16="http://schemas.microsoft.com/office/drawing/2014/chart" uri="{C3380CC4-5D6E-409C-BE32-E72D297353CC}">
                <c16:uniqueId val="{00000091-D52D-4371-9E38-149C1CC7C5E0}"/>
              </c:ext>
            </c:extLst>
          </c:dPt>
          <c:dPt>
            <c:idx val="72"/>
            <c:invertIfNegative val="1"/>
            <c:bubble3D val="0"/>
            <c:spPr>
              <a:solidFill>
                <a:srgbClr val="AEABAB"/>
              </a:solidFill>
            </c:spPr>
            <c:extLst>
              <c:ext xmlns:c16="http://schemas.microsoft.com/office/drawing/2014/chart" uri="{C3380CC4-5D6E-409C-BE32-E72D297353CC}">
                <c16:uniqueId val="{00000093-D52D-4371-9E38-149C1CC7C5E0}"/>
              </c:ext>
            </c:extLst>
          </c:dPt>
          <c:dPt>
            <c:idx val="73"/>
            <c:invertIfNegative val="1"/>
            <c:bubble3D val="0"/>
            <c:spPr>
              <a:solidFill>
                <a:srgbClr val="AEABAB"/>
              </a:solidFill>
            </c:spPr>
            <c:extLst>
              <c:ext xmlns:c16="http://schemas.microsoft.com/office/drawing/2014/chart" uri="{C3380CC4-5D6E-409C-BE32-E72D297353CC}">
                <c16:uniqueId val="{00000095-D52D-4371-9E38-149C1CC7C5E0}"/>
              </c:ext>
            </c:extLst>
          </c:dPt>
          <c:dPt>
            <c:idx val="74"/>
            <c:invertIfNegative val="1"/>
            <c:bubble3D val="0"/>
            <c:spPr>
              <a:solidFill>
                <a:srgbClr val="AEABAB"/>
              </a:solidFill>
            </c:spPr>
            <c:extLst>
              <c:ext xmlns:c16="http://schemas.microsoft.com/office/drawing/2014/chart" uri="{C3380CC4-5D6E-409C-BE32-E72D297353CC}">
                <c16:uniqueId val="{00000097-D52D-4371-9E38-149C1CC7C5E0}"/>
              </c:ext>
            </c:extLst>
          </c:dPt>
          <c:cat>
            <c:strRef>
              <c:f>Sheet1!$A$2:$A$76</c:f>
              <c:strCache>
                <c:ptCount val="7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Kiri Gouter Fromage Blanc Dips Boite 1X280Gr 8P</c:v>
                </c:pt>
                <c:pt idx="10">
                  <c:v>Boursin Classique Fromage Frais A Tartiner Afh Boite 1X250Gr 1P</c:v>
                </c:pt>
                <c:pt idx="11">
                  <c:v>Boursin Classique Fromage Frais A Tartiner Afh 1X160Gr 10P</c:v>
                </c:pt>
                <c:pt idx="12">
                  <c:v>Apericube Long Drink Fromage Fondu Cube Assortis 1X250Gr 48P</c:v>
                </c:pt>
                <c:pt idx="13">
                  <c:v>Kiri Creme Fromage Blanc Frais Carre 1X144Gr 8P</c:v>
                </c:pt>
                <c:pt idx="14">
                  <c:v>Kiri Gouter Fromage Blanc Dips Boite 1X175Gr 5P</c:v>
                </c:pt>
                <c:pt idx="15">
                  <c:v>Apericube Tonic Fromage Fondu Cube Assortis 1X250Gr 48P</c:v>
                </c:pt>
                <c:pt idx="16">
                  <c:v>Port Salut St Paulin 1X320Gr 1P</c:v>
                </c:pt>
                <c:pt idx="17">
                  <c:v>Boursin Aperitif Roules Fromage Frais Roule Afh Et Jambon Fume Boite 1X100Gr 20P</c:v>
                </c:pt>
                <c:pt idx="18">
                  <c:v>Boursin Classique Fromage Frais A Tartiner Afh Boite 1X150Gr 1P</c:v>
                </c:pt>
                <c:pt idx="19">
                  <c:v>Babybel St Paulin 1X200Gr 1P</c:v>
                </c:pt>
                <c:pt idx="20">
                  <c:v>Apericube Edition Voyage Fromage Fondu Cube Assortis 1X250Gr 48P</c:v>
                </c:pt>
                <c:pt idx="21">
                  <c:v>Boursin Salade &amp; Aperitif Fromage Frais Des Afh 1X120Gr 1P</c:v>
                </c:pt>
                <c:pt idx="22">
                  <c:v>Apericube Incontournable Fromage Fondu Cube Assortis 1X250Gr 48P</c:v>
                </c:pt>
                <c:pt idx="23">
                  <c:v>Apericube Nature Fromage Fondu Cube 1X125Gr 24P</c:v>
                </c:pt>
                <c:pt idx="24">
                  <c:v>Apericube Campagne Fromage Fondu Cube Assortis 1X125Gr 24P</c:v>
                </c:pt>
                <c:pt idx="25">
                  <c:v>La Vache Qui Rit Pik Et Croq' Fromage Fondu Dips Boite 1X175Gr 5P</c:v>
                </c:pt>
                <c:pt idx="26">
                  <c:v>Boursin Aperitif Roules Fromage Frais Roule Ciboulette &amp; Echalote Jambon Fume Boite 1X100Gr 20P</c:v>
                </c:pt>
                <c:pt idx="27">
                  <c:v>Apericube Edition Limitee Saison Fromage Fondu Cube Assortis 1X250Gr 48P</c:v>
                </c:pt>
                <c:pt idx="28">
                  <c:v>La Vache Qui Rit Pik Et Croq' Fromage Fondu Dips Boite 1X280Gr 8P</c:v>
                </c:pt>
                <c:pt idx="29">
                  <c:v>Apericube Soiree Match Aperitif 250G</c:v>
                </c:pt>
                <c:pt idx="30">
                  <c:v>Boursin Onctueux Fromage Frais A Tartiner Afh 1X125Gr 1P</c:v>
                </c:pt>
                <c:pt idx="31">
                  <c:v>Kiri Creme Fromage Blanc Frais Carre 1X432Gr 18+6P</c:v>
                </c:pt>
                <c:pt idx="32">
                  <c:v>Boursin Classique Fromage Frais A Tartiner Afh Boite 1X96Gr 6P</c:v>
                </c:pt>
                <c:pt idx="33">
                  <c:v>Boursin Classique Fromage Frais A Tartiner Figue Et 3 Noix Boite 1X150Gr 1P</c:v>
                </c:pt>
                <c:pt idx="34">
                  <c:v>Mini Babybel Aros Soft Cheese Enfant 180G</c:v>
                </c:pt>
                <c:pt idx="35">
                  <c:v>La Vache Qui Rit Allegee Fromage Fondu Boite Ronde Allege 1X267Gr 16P</c:v>
                </c:pt>
                <c:pt idx="36">
                  <c:v>Boursin Classique Fromage Frais A Tartiner Ciboulette &amp; Echalote Boite 1X150Gr 1P</c:v>
                </c:pt>
                <c:pt idx="37">
                  <c:v>Boursin Cuisine Sauce Fromage Afh 1X240Gr 1P</c:v>
                </c:pt>
                <c:pt idx="38">
                  <c:v>Kiri Delicieusement Fouette Fromage Frais A Tartiner 1X125Gr 1P</c:v>
                </c:pt>
                <c:pt idx="39">
                  <c:v>Boursin Aperitif Roules Fromage Frais Roule Basilic &amp; Jambon Fume Tomate Boite 1X100Gr 20P</c:v>
                </c:pt>
                <c:pt idx="40">
                  <c:v>Boursin Classique Fromage Frais A Tartiner Poivre Boite 1X150Gr 1P</c:v>
                </c:pt>
                <c:pt idx="41">
                  <c:v>Boursin Classique Fromage Frais A Tartiner Afh 1X256Gr 16P</c:v>
                </c:pt>
                <c:pt idx="42">
                  <c:v>Babybel Mini Rolls St Paulin Ferme Sachet 1X85Gr 5P</c:v>
                </c:pt>
                <c:pt idx="43">
                  <c:v>Boursin Salade &amp; Aperitif Fromage Frais Des Ciboulette Echalote 1X120Gr 1P</c:v>
                </c:pt>
                <c:pt idx="44">
                  <c:v>Apericube Hot Chalenge Aperitif 250G</c:v>
                </c:pt>
                <c:pt idx="45">
                  <c:v>Boursin Classique Fromage Frais A Tartiner Ciboulette &amp; Echalote 1X160Gr 10P</c:v>
                </c:pt>
                <c:pt idx="46">
                  <c:v>Kiri Bio Fromage Blanc Frais Carre 1X144Gr 8P</c:v>
                </c:pt>
                <c:pt idx="47">
                  <c:v>La Vache Qui Rit Aro Fromage Fondu Boite Ronde Jambon 1X133Gr 8P</c:v>
                </c:pt>
                <c:pt idx="48">
                  <c:v>Mini Babybel Aros Soft Cheese Enfant 110G</c:v>
                </c:pt>
                <c:pt idx="49">
                  <c:v>Boursin Salade &amp; Aperitif Fromage Frais Des Figue Noix 1X120Gr 1P</c:v>
                </c:pt>
                <c:pt idx="50">
                  <c:v>Apericube Fromages Du Monde Aperitif 250G</c:v>
                </c:pt>
                <c:pt idx="51">
                  <c:v>Cousteron St Paulin 1X320Gr 1P</c:v>
                </c:pt>
                <c:pt idx="52">
                  <c:v>Kiri Chevre Fromage Blanc Frais Carre 1X144Gr 8P</c:v>
                </c:pt>
                <c:pt idx="53">
                  <c:v>Apericube Montagne Aperitif 250G</c:v>
                </c:pt>
                <c:pt idx="54">
                  <c:v>Boursin Salade &amp; Aperitif Fromage Frais Des Citron Romarin 1X120Gr 1P</c:v>
                </c:pt>
                <c:pt idx="55">
                  <c:v>Boursin Aperitif Roules Aperitif 100G</c:v>
                </c:pt>
                <c:pt idx="56">
                  <c:v>Boursin Salade &amp; Aperitif Soft Cheese Salade 120G</c:v>
                </c:pt>
                <c:pt idx="57">
                  <c:v>Nurishh Les Tranches Vegetales Cheddar Vegetal Tranche Boite 1X160Gr 8P</c:v>
                </c:pt>
                <c:pt idx="58">
                  <c:v>Nurishh Le Rape Vegetal Specialite Vegetale Sachet 1X150Gr 1P</c:v>
                </c:pt>
                <c:pt idx="59">
                  <c:v>Nurishh Le Rape Vegetal Specialite Vegetale Emmental Sachet 1X150Gr 1P</c:v>
                </c:pt>
                <c:pt idx="60">
                  <c:v>Nurishh Le Coeur Fleuri Vegetal Camembert Boite 1X140Gr 1P</c:v>
                </c:pt>
                <c:pt idx="61">
                  <c:v>Nurishh Des Vegetaux Feta Vegetale Sachet 1X150Gr 1P</c:v>
                </c:pt>
                <c:pt idx="62">
                  <c:v>Nurishh Le Palet Vegetal Specialite Vegetale Ovale Saveur Chevre Boite 1X140Gr 1P</c:v>
                </c:pt>
                <c:pt idx="63">
                  <c:v>Mini Babybel Rouge Filet St Paulin Ferme Sachet 1X40Gr 1P</c:v>
                </c:pt>
                <c:pt idx="64">
                  <c:v>Apericube Saveurs De L'Authentique Fromage Fondu Cube Assortis 1X250Gr 48P</c:v>
                </c:pt>
                <c:pt idx="65">
                  <c:v>Boursin Aperitif Roules Fromage Frais Roule Jambon Fume &amp; Trio De Noix Boite 1X100Gr 20P</c:v>
                </c:pt>
                <c:pt idx="66">
                  <c:v>Limiano Queijo Flamengo Tranche Sachet 1X200Gr 1P</c:v>
                </c:pt>
                <c:pt idx="67">
                  <c:v>Limiano Queijo Flamengo Bloc 1X600Gr 1P</c:v>
                </c:pt>
                <c:pt idx="68">
                  <c:v>Mini Babybel Aros St Paulin Ferme Raclette Filet 1X132Gr 6P</c:v>
                </c:pt>
                <c:pt idx="69">
                  <c:v>La Vache Qui Rit Nature Fromage Fondu Boite Ronde 1X512Gr 24+8P</c:v>
                </c:pt>
                <c:pt idx="70">
                  <c:v>Kiri Delicieusement Fouette Fromage Frais A Tartiner 1X160Gr 10P</c:v>
                </c:pt>
                <c:pt idx="71">
                  <c:v>Apericube Long Drink Fromage Fondu Cube Assortis 1X125Gr 24P</c:v>
                </c:pt>
                <c:pt idx="72">
                  <c:v>Boursin Classique Fromage Frais A Tartiner Afh Boite 1X80Gr 1P</c:v>
                </c:pt>
                <c:pt idx="73">
                  <c:v>Mini Babybel Aros St Paulin Ferme Assortis Filet 1X180Gr 9P</c:v>
                </c:pt>
                <c:pt idx="74">
                  <c:v>Mini Babybel Rouge Filet St Paulin Ferme 1X396Gr 12+6P</c:v>
                </c:pt>
              </c:strCache>
            </c:strRef>
          </c:cat>
          <c:val>
            <c:numRef>
              <c:f>Sheet1!$C$2:$C$76</c:f>
              <c:numCache>
                <c:formatCode>General</c:formatCode>
                <c:ptCount val="75"/>
                <c:pt idx="0">
                  <c:v>0.10237058689989463</c:v>
                </c:pt>
                <c:pt idx="1">
                  <c:v>0.16253941944197001</c:v>
                </c:pt>
                <c:pt idx="2">
                  <c:v>0.21603132234348393</c:v>
                </c:pt>
                <c:pt idx="3">
                  <c:v>0.26889823198217</c:v>
                </c:pt>
                <c:pt idx="4">
                  <c:v>0.31927428966411631</c:v>
                </c:pt>
                <c:pt idx="5">
                  <c:v>0.36012853749305246</c:v>
                </c:pt>
                <c:pt idx="6">
                  <c:v>0.39511932753089923</c:v>
                </c:pt>
                <c:pt idx="7">
                  <c:v>0.42815467025819087</c:v>
                </c:pt>
                <c:pt idx="8">
                  <c:v>0.45968002118689677</c:v>
                </c:pt>
                <c:pt idx="9">
                  <c:v>0.4882347433740386</c:v>
                </c:pt>
                <c:pt idx="10">
                  <c:v>0.51400828880370508</c:v>
                </c:pt>
                <c:pt idx="11">
                  <c:v>0.53883215884519597</c:v>
                </c:pt>
                <c:pt idx="12">
                  <c:v>0.56291959964235228</c:v>
                </c:pt>
                <c:pt idx="13">
                  <c:v>0.5865809086693986</c:v>
                </c:pt>
                <c:pt idx="14">
                  <c:v>0.60981312968224466</c:v>
                </c:pt>
                <c:pt idx="15">
                  <c:v>0.63170934467675455</c:v>
                </c:pt>
                <c:pt idx="16">
                  <c:v>0.65342602192040589</c:v>
                </c:pt>
                <c:pt idx="17">
                  <c:v>0.67503382285731173</c:v>
                </c:pt>
                <c:pt idx="18">
                  <c:v>0.69625298585159623</c:v>
                </c:pt>
                <c:pt idx="19">
                  <c:v>0.7125961126327558</c:v>
                </c:pt>
                <c:pt idx="20">
                  <c:v>0.72857810896203801</c:v>
                </c:pt>
                <c:pt idx="21">
                  <c:v>0.74429425963372375</c:v>
                </c:pt>
                <c:pt idx="22">
                  <c:v>0.75996397564213525</c:v>
                </c:pt>
                <c:pt idx="23">
                  <c:v>0.77517143601972194</c:v>
                </c:pt>
                <c:pt idx="24">
                  <c:v>0.78904310668951561</c:v>
                </c:pt>
                <c:pt idx="25">
                  <c:v>0.80225481389199693</c:v>
                </c:pt>
                <c:pt idx="26">
                  <c:v>0.81529275162477188</c:v>
                </c:pt>
                <c:pt idx="27">
                  <c:v>0.82782362139252175</c:v>
                </c:pt>
                <c:pt idx="28">
                  <c:v>0.84004026404451204</c:v>
                </c:pt>
                <c:pt idx="29">
                  <c:v>0.85206060487854562</c:v>
                </c:pt>
                <c:pt idx="30">
                  <c:v>0.86384790715403525</c:v>
                </c:pt>
                <c:pt idx="31">
                  <c:v>0.87259427976141979</c:v>
                </c:pt>
                <c:pt idx="32">
                  <c:v>0.88133391069020783</c:v>
                </c:pt>
                <c:pt idx="33">
                  <c:v>0.88998279934612223</c:v>
                </c:pt>
                <c:pt idx="34">
                  <c:v>0.89808496310409103</c:v>
                </c:pt>
                <c:pt idx="35">
                  <c:v>0.90588584232713532</c:v>
                </c:pt>
                <c:pt idx="36">
                  <c:v>0.91346399379419485</c:v>
                </c:pt>
                <c:pt idx="37">
                  <c:v>0.91972182175730044</c:v>
                </c:pt>
                <c:pt idx="38">
                  <c:v>0.92597200674787961</c:v>
                </c:pt>
                <c:pt idx="39">
                  <c:v>0.93192213296327897</c:v>
                </c:pt>
                <c:pt idx="40">
                  <c:v>0.93778011088727387</c:v>
                </c:pt>
                <c:pt idx="41">
                  <c:v>0.94362965270008381</c:v>
                </c:pt>
                <c:pt idx="42">
                  <c:v>0.94940810044769441</c:v>
                </c:pt>
                <c:pt idx="43">
                  <c:v>0.95503257114030171</c:v>
                </c:pt>
                <c:pt idx="44">
                  <c:v>0.96007848323335532</c:v>
                </c:pt>
                <c:pt idx="45">
                  <c:v>0.96484167744644267</c:v>
                </c:pt>
                <c:pt idx="46">
                  <c:v>0.96927406073545819</c:v>
                </c:pt>
                <c:pt idx="47">
                  <c:v>0.97348580727040668</c:v>
                </c:pt>
                <c:pt idx="48">
                  <c:v>0.97642982981515669</c:v>
                </c:pt>
                <c:pt idx="49">
                  <c:v>0.97911208055087395</c:v>
                </c:pt>
                <c:pt idx="50">
                  <c:v>0.98177453887188815</c:v>
                </c:pt>
                <c:pt idx="51">
                  <c:v>0.98431135681905857</c:v>
                </c:pt>
                <c:pt idx="52">
                  <c:v>0.98665637941792228</c:v>
                </c:pt>
                <c:pt idx="53">
                  <c:v>0.98895042483210449</c:v>
                </c:pt>
                <c:pt idx="54">
                  <c:v>0.99110574308457922</c:v>
                </c:pt>
                <c:pt idx="55">
                  <c:v>0.99284664638803422</c:v>
                </c:pt>
                <c:pt idx="56">
                  <c:v>0.99450531563331479</c:v>
                </c:pt>
                <c:pt idx="57">
                  <c:v>0.99563117595892925</c:v>
                </c:pt>
                <c:pt idx="58">
                  <c:v>0.99656196022633181</c:v>
                </c:pt>
                <c:pt idx="59">
                  <c:v>0.99724824147640057</c:v>
                </c:pt>
                <c:pt idx="60">
                  <c:v>0.99784579935199891</c:v>
                </c:pt>
                <c:pt idx="61">
                  <c:v>0.9984376971017167</c:v>
                </c:pt>
                <c:pt idx="62">
                  <c:v>0.9989813936520574</c:v>
                </c:pt>
                <c:pt idx="63">
                  <c:v>0.99927467469688347</c:v>
                </c:pt>
                <c:pt idx="64">
                  <c:v>0.99956395399666031</c:v>
                </c:pt>
                <c:pt idx="65">
                  <c:v>0.99969849915453257</c:v>
                </c:pt>
                <c:pt idx="66">
                  <c:v>0.99978578045871502</c:v>
                </c:pt>
                <c:pt idx="67">
                  <c:v>0.99984404009835104</c:v>
                </c:pt>
                <c:pt idx="68">
                  <c:v>0.99987893819932117</c:v>
                </c:pt>
                <c:pt idx="69">
                  <c:v>0.99991041138335723</c:v>
                </c:pt>
                <c:pt idx="70">
                  <c:v>0.99993705363192842</c:v>
                </c:pt>
                <c:pt idx="71">
                  <c:v>0.99995890099679197</c:v>
                </c:pt>
                <c:pt idx="72">
                  <c:v>0.99997465561468857</c:v>
                </c:pt>
                <c:pt idx="73">
                  <c:v>0.9999892205245976</c:v>
                </c:pt>
                <c:pt idx="74">
                  <c:v>0.9999956016856220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6</c:f>
              <c:strCache>
                <c:ptCount val="7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Kiri Gouter Fromage Blanc Dips Boite 1X280Gr 8P</c:v>
                </c:pt>
                <c:pt idx="10">
                  <c:v>Boursin Classique Fromage Frais A Tartiner Afh Boite 1X250Gr 1P</c:v>
                </c:pt>
                <c:pt idx="11">
                  <c:v>Boursin Classique Fromage Frais A Tartiner Afh 1X160Gr 10P</c:v>
                </c:pt>
                <c:pt idx="12">
                  <c:v>Apericube Long Drink Fromage Fondu Cube Assortis 1X250Gr 48P</c:v>
                </c:pt>
                <c:pt idx="13">
                  <c:v>Kiri Creme Fromage Blanc Frais Carre 1X144Gr 8P</c:v>
                </c:pt>
                <c:pt idx="14">
                  <c:v>Kiri Gouter Fromage Blanc Dips Boite 1X175Gr 5P</c:v>
                </c:pt>
                <c:pt idx="15">
                  <c:v>Apericube Tonic Fromage Fondu Cube Assortis 1X250Gr 48P</c:v>
                </c:pt>
                <c:pt idx="16">
                  <c:v>Port Salut St Paulin 1X320Gr 1P</c:v>
                </c:pt>
                <c:pt idx="17">
                  <c:v>Boursin Aperitif Roules Fromage Frais Roule Afh Et Jambon Fume Boite 1X100Gr 20P</c:v>
                </c:pt>
                <c:pt idx="18">
                  <c:v>Boursin Classique Fromage Frais A Tartiner Afh Boite 1X150Gr 1P</c:v>
                </c:pt>
                <c:pt idx="19">
                  <c:v>Babybel St Paulin 1X200Gr 1P</c:v>
                </c:pt>
                <c:pt idx="20">
                  <c:v>Apericube Edition Voyage Fromage Fondu Cube Assortis 1X250Gr 48P</c:v>
                </c:pt>
                <c:pt idx="21">
                  <c:v>Boursin Salade &amp; Aperitif Fromage Frais Des Afh 1X120Gr 1P</c:v>
                </c:pt>
                <c:pt idx="22">
                  <c:v>Apericube Incontournable Fromage Fondu Cube Assortis 1X250Gr 48P</c:v>
                </c:pt>
                <c:pt idx="23">
                  <c:v>Apericube Nature Fromage Fondu Cube 1X125Gr 24P</c:v>
                </c:pt>
                <c:pt idx="24">
                  <c:v>Apericube Campagne Fromage Fondu Cube Assortis 1X125Gr 24P</c:v>
                </c:pt>
                <c:pt idx="25">
                  <c:v>La Vache Qui Rit Pik Et Croq' Fromage Fondu Dips Boite 1X175Gr 5P</c:v>
                </c:pt>
                <c:pt idx="26">
                  <c:v>Boursin Aperitif Roules Fromage Frais Roule Ciboulette &amp; Echalote Jambon Fume Boite 1X100Gr 20P</c:v>
                </c:pt>
                <c:pt idx="27">
                  <c:v>Apericube Edition Limitee Saison Fromage Fondu Cube Assortis 1X250Gr 48P</c:v>
                </c:pt>
                <c:pt idx="28">
                  <c:v>La Vache Qui Rit Pik Et Croq' Fromage Fondu Dips Boite 1X280Gr 8P</c:v>
                </c:pt>
                <c:pt idx="29">
                  <c:v>Apericube Soiree Match Aperitif 250G</c:v>
                </c:pt>
                <c:pt idx="30">
                  <c:v>Boursin Onctueux Fromage Frais A Tartiner Afh 1X125Gr 1P</c:v>
                </c:pt>
                <c:pt idx="31">
                  <c:v>Kiri Creme Fromage Blanc Frais Carre 1X432Gr 18+6P</c:v>
                </c:pt>
                <c:pt idx="32">
                  <c:v>Boursin Classique Fromage Frais A Tartiner Afh Boite 1X96Gr 6P</c:v>
                </c:pt>
                <c:pt idx="33">
                  <c:v>Boursin Classique Fromage Frais A Tartiner Figue Et 3 Noix Boite 1X150Gr 1P</c:v>
                </c:pt>
                <c:pt idx="34">
                  <c:v>Mini Babybel Aros Soft Cheese Enfant 180G</c:v>
                </c:pt>
                <c:pt idx="35">
                  <c:v>La Vache Qui Rit Allegee Fromage Fondu Boite Ronde Allege 1X267Gr 16P</c:v>
                </c:pt>
                <c:pt idx="36">
                  <c:v>Boursin Classique Fromage Frais A Tartiner Ciboulette &amp; Echalote Boite 1X150Gr 1P</c:v>
                </c:pt>
                <c:pt idx="37">
                  <c:v>Boursin Cuisine Sauce Fromage Afh 1X240Gr 1P</c:v>
                </c:pt>
                <c:pt idx="38">
                  <c:v>Kiri Delicieusement Fouette Fromage Frais A Tartiner 1X125Gr 1P</c:v>
                </c:pt>
                <c:pt idx="39">
                  <c:v>Boursin Aperitif Roules Fromage Frais Roule Basilic &amp; Jambon Fume Tomate Boite 1X100Gr 20P</c:v>
                </c:pt>
                <c:pt idx="40">
                  <c:v>Boursin Classique Fromage Frais A Tartiner Poivre Boite 1X150Gr 1P</c:v>
                </c:pt>
                <c:pt idx="41">
                  <c:v>Boursin Classique Fromage Frais A Tartiner Afh 1X256Gr 16P</c:v>
                </c:pt>
                <c:pt idx="42">
                  <c:v>Babybel Mini Rolls St Paulin Ferme Sachet 1X85Gr 5P</c:v>
                </c:pt>
                <c:pt idx="43">
                  <c:v>Boursin Salade &amp; Aperitif Fromage Frais Des Ciboulette Echalote 1X120Gr 1P</c:v>
                </c:pt>
                <c:pt idx="44">
                  <c:v>Apericube Hot Chalenge Aperitif 250G</c:v>
                </c:pt>
                <c:pt idx="45">
                  <c:v>Boursin Classique Fromage Frais A Tartiner Ciboulette &amp; Echalote 1X160Gr 10P</c:v>
                </c:pt>
                <c:pt idx="46">
                  <c:v>Kiri Bio Fromage Blanc Frais Carre 1X144Gr 8P</c:v>
                </c:pt>
                <c:pt idx="47">
                  <c:v>La Vache Qui Rit Aro Fromage Fondu Boite Ronde Jambon 1X133Gr 8P</c:v>
                </c:pt>
                <c:pt idx="48">
                  <c:v>Mini Babybel Aros Soft Cheese Enfant 110G</c:v>
                </c:pt>
                <c:pt idx="49">
                  <c:v>Boursin Salade &amp; Aperitif Fromage Frais Des Figue Noix 1X120Gr 1P</c:v>
                </c:pt>
                <c:pt idx="50">
                  <c:v>Apericube Fromages Du Monde Aperitif 250G</c:v>
                </c:pt>
                <c:pt idx="51">
                  <c:v>Cousteron St Paulin 1X320Gr 1P</c:v>
                </c:pt>
                <c:pt idx="52">
                  <c:v>Kiri Chevre Fromage Blanc Frais Carre 1X144Gr 8P</c:v>
                </c:pt>
                <c:pt idx="53">
                  <c:v>Apericube Montagne Aperitif 250G</c:v>
                </c:pt>
                <c:pt idx="54">
                  <c:v>Boursin Salade &amp; Aperitif Fromage Frais Des Citron Romarin 1X120Gr 1P</c:v>
                </c:pt>
                <c:pt idx="55">
                  <c:v>Boursin Aperitif Roules Aperitif 100G</c:v>
                </c:pt>
                <c:pt idx="56">
                  <c:v>Boursin Salade &amp; Aperitif Soft Cheese Salade 120G</c:v>
                </c:pt>
                <c:pt idx="57">
                  <c:v>Nurishh Les Tranches Vegetales Cheddar Vegetal Tranche Boite 1X160Gr 8P</c:v>
                </c:pt>
                <c:pt idx="58">
                  <c:v>Nurishh Le Rape Vegetal Specialite Vegetale Sachet 1X150Gr 1P</c:v>
                </c:pt>
                <c:pt idx="59">
                  <c:v>Nurishh Le Rape Vegetal Specialite Vegetale Emmental Sachet 1X150Gr 1P</c:v>
                </c:pt>
                <c:pt idx="60">
                  <c:v>Nurishh Le Coeur Fleuri Vegetal Camembert Boite 1X140Gr 1P</c:v>
                </c:pt>
                <c:pt idx="61">
                  <c:v>Nurishh Des Vegetaux Feta Vegetale Sachet 1X150Gr 1P</c:v>
                </c:pt>
                <c:pt idx="62">
                  <c:v>Nurishh Le Palet Vegetal Specialite Vegetale Ovale Saveur Chevre Boite 1X140Gr 1P</c:v>
                </c:pt>
                <c:pt idx="63">
                  <c:v>Mini Babybel Rouge Filet St Paulin Ferme Sachet 1X40Gr 1P</c:v>
                </c:pt>
                <c:pt idx="64">
                  <c:v>Apericube Saveurs De L'Authentique Fromage Fondu Cube Assortis 1X250Gr 48P</c:v>
                </c:pt>
                <c:pt idx="65">
                  <c:v>Boursin Aperitif Roules Fromage Frais Roule Jambon Fume &amp; Trio De Noix Boite 1X100Gr 20P</c:v>
                </c:pt>
                <c:pt idx="66">
                  <c:v>Limiano Queijo Flamengo Tranche Sachet 1X200Gr 1P</c:v>
                </c:pt>
                <c:pt idx="67">
                  <c:v>Limiano Queijo Flamengo Bloc 1X600Gr 1P</c:v>
                </c:pt>
                <c:pt idx="68">
                  <c:v>Mini Babybel Aros St Paulin Ferme Raclette Filet 1X132Gr 6P</c:v>
                </c:pt>
                <c:pt idx="69">
                  <c:v>La Vache Qui Rit Nature Fromage Fondu Boite Ronde 1X512Gr 24+8P</c:v>
                </c:pt>
                <c:pt idx="70">
                  <c:v>Kiri Delicieusement Fouette Fromage Frais A Tartiner 1X160Gr 10P</c:v>
                </c:pt>
                <c:pt idx="71">
                  <c:v>Apericube Long Drink Fromage Fondu Cube Assortis 1X125Gr 24P</c:v>
                </c:pt>
                <c:pt idx="72">
                  <c:v>Boursin Classique Fromage Frais A Tartiner Afh Boite 1X80Gr 1P</c:v>
                </c:pt>
                <c:pt idx="73">
                  <c:v>Mini Babybel Aros St Paulin Ferme Assortis Filet 1X180Gr 9P</c:v>
                </c:pt>
                <c:pt idx="74">
                  <c:v>Mini Babybel Rouge Filet St Paulin Ferme 1X396Gr 12+6P</c:v>
                </c:pt>
              </c:strCache>
            </c:strRef>
          </c:cat>
          <c:val>
            <c:numRef>
              <c:f>Sheet1!$D$2:$D$76</c:f>
              <c:numCache>
                <c:formatCode>General</c:formatCode>
                <c:ptCount val="75"/>
                <c:pt idx="0">
                  <c:v>29063.92016376663</c:v>
                </c:pt>
                <c:pt idx="1">
                  <c:v>17717.165605095543</c:v>
                </c:pt>
                <c:pt idx="2">
                  <c:v>14897.118473895584</c:v>
                </c:pt>
                <c:pt idx="3">
                  <c:v>15633.443496801707</c:v>
                </c:pt>
                <c:pt idx="4">
                  <c:v>14128.675429726996</c:v>
                </c:pt>
                <c:pt idx="5">
                  <c:v>11646.567317574512</c:v>
                </c:pt>
                <c:pt idx="6">
                  <c:v>10259.735729386894</c:v>
                </c:pt>
                <c:pt idx="7">
                  <c:v>10742.450175849941</c:v>
                </c:pt>
                <c:pt idx="8">
                  <c:v>9392.5563909774428</c:v>
                </c:pt>
                <c:pt idx="9">
                  <c:v>8525.8127018299238</c:v>
                </c:pt>
                <c:pt idx="10">
                  <c:v>7439.1675338189389</c:v>
                </c:pt>
                <c:pt idx="11">
                  <c:v>7033.319713993872</c:v>
                </c:pt>
                <c:pt idx="12">
                  <c:v>7440.2561247216036</c:v>
                </c:pt>
                <c:pt idx="13">
                  <c:v>6683.4521384928712</c:v>
                </c:pt>
                <c:pt idx="14">
                  <c:v>6589.0899795501027</c:v>
                </c:pt>
                <c:pt idx="15">
                  <c:v>6763.4187082405351</c:v>
                </c:pt>
                <c:pt idx="16">
                  <c:v>6242.2279792746112</c:v>
                </c:pt>
                <c:pt idx="17">
                  <c:v>6322.3101265822788</c:v>
                </c:pt>
                <c:pt idx="18">
                  <c:v>5921.2776659959754</c:v>
                </c:pt>
                <c:pt idx="19">
                  <c:v>4611.6378433367245</c:v>
                </c:pt>
                <c:pt idx="20">
                  <c:v>5148.7456445993039</c:v>
                </c:pt>
                <c:pt idx="21">
                  <c:v>4517.4404145077724</c:v>
                </c:pt>
                <c:pt idx="22">
                  <c:v>5243.0036188178537</c:v>
                </c:pt>
                <c:pt idx="23">
                  <c:v>4640.5170517051702</c:v>
                </c:pt>
                <c:pt idx="24">
                  <c:v>4308.7458006718925</c:v>
                </c:pt>
                <c:pt idx="25">
                  <c:v>3923.6081370449679</c:v>
                </c:pt>
                <c:pt idx="26">
                  <c:v>4077.1702367531002</c:v>
                </c:pt>
                <c:pt idx="27">
                  <c:v>4108.5106382978729</c:v>
                </c:pt>
                <c:pt idx="28">
                  <c:v>4178.3477188655979</c:v>
                </c:pt>
                <c:pt idx="29">
                  <c:v>4358.418300653595</c:v>
                </c:pt>
                <c:pt idx="30">
                  <c:v>3427.2012578616354</c:v>
                </c:pt>
                <c:pt idx="31">
                  <c:v>2973.1127450980393</c:v>
                </c:pt>
                <c:pt idx="32">
                  <c:v>2748.5147392290251</c:v>
                </c:pt>
                <c:pt idx="33">
                  <c:v>2554.8668796592124</c:v>
                </c:pt>
                <c:pt idx="34">
                  <c:v>3174.2514124293784</c:v>
                </c:pt>
                <c:pt idx="35">
                  <c:v>2684.6153846153843</c:v>
                </c:pt>
                <c:pt idx="36">
                  <c:v>2224.3597883597886</c:v>
                </c:pt>
                <c:pt idx="37">
                  <c:v>2059.0628706998814</c:v>
                </c:pt>
                <c:pt idx="38">
                  <c:v>2076.2514970059879</c:v>
                </c:pt>
                <c:pt idx="39">
                  <c:v>2063.0500000000002</c:v>
                </c:pt>
                <c:pt idx="40">
                  <c:v>1929.7862232779096</c:v>
                </c:pt>
                <c:pt idx="41">
                  <c:v>2040.9308176100628</c:v>
                </c:pt>
                <c:pt idx="42">
                  <c:v>2183.6784741144411</c:v>
                </c:pt>
                <c:pt idx="43">
                  <c:v>1900.255785627284</c:v>
                </c:pt>
                <c:pt idx="44">
                  <c:v>2804.8697394789579</c:v>
                </c:pt>
                <c:pt idx="45">
                  <c:v>1647.3940149625935</c:v>
                </c:pt>
                <c:pt idx="46">
                  <c:v>2049.0833333333335</c:v>
                </c:pt>
                <c:pt idx="47">
                  <c:v>1869.2</c:v>
                </c:pt>
                <c:pt idx="48">
                  <c:v>1400.7032590051458</c:v>
                </c:pt>
                <c:pt idx="49">
                  <c:v>1450.2923976608186</c:v>
                </c:pt>
                <c:pt idx="50">
                  <c:v>2618.8297872340431</c:v>
                </c:pt>
                <c:pt idx="51">
                  <c:v>750.17057569296378</c:v>
                </c:pt>
                <c:pt idx="52">
                  <c:v>1197.9005524861877</c:v>
                </c:pt>
                <c:pt idx="53">
                  <c:v>2356.7407407407409</c:v>
                </c:pt>
                <c:pt idx="54">
                  <c:v>919.7538461538461</c:v>
                </c:pt>
                <c:pt idx="55">
                  <c:v>733.87537993920978</c:v>
                </c:pt>
                <c:pt idx="56">
                  <c:v>1116.6990291262136</c:v>
                </c:pt>
                <c:pt idx="57">
                  <c:v>1152.3616236162361</c:v>
                </c:pt>
                <c:pt idx="58">
                  <c:v>909.08450704225356</c:v>
                </c:pt>
                <c:pt idx="59">
                  <c:v>906.47619047619048</c:v>
                </c:pt>
                <c:pt idx="60">
                  <c:v>1151.0416666666667</c:v>
                </c:pt>
                <c:pt idx="61">
                  <c:v>949.01734104046261</c:v>
                </c:pt>
                <c:pt idx="62">
                  <c:v>1062.0422535211269</c:v>
                </c:pt>
                <c:pt idx="63">
                  <c:v>739.5454545454545</c:v>
                </c:pt>
                <c:pt idx="64">
                  <c:v>311.00775193798449</c:v>
                </c:pt>
                <c:pt idx="65">
                  <c:v>127.8082191780822</c:v>
                </c:pt>
                <c:pt idx="66">
                  <c:v>2421</c:v>
                </c:pt>
                <c:pt idx="67">
                  <c:v>1616</c:v>
                </c:pt>
                <c:pt idx="68">
                  <c:v>85.663716814159287</c:v>
                </c:pt>
                <c:pt idx="69">
                  <c:v>8730</c:v>
                </c:pt>
                <c:pt idx="70">
                  <c:v>78.617021276595736</c:v>
                </c:pt>
                <c:pt idx="71">
                  <c:v>151.5</c:v>
                </c:pt>
                <c:pt idx="72">
                  <c:v>67.230769230769226</c:v>
                </c:pt>
                <c:pt idx="73">
                  <c:v>212.63157894736844</c:v>
                </c:pt>
                <c:pt idx="74">
                  <c:v>177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4</c:f>
              <c:strCache>
                <c:ptCount val="93"/>
                <c:pt idx="0">
                  <c:v>La Vache Qui Rit Nature Fromage Fondu Boite Ronde 1X384Gr 24P</c:v>
                </c:pt>
                <c:pt idx="1">
                  <c:v>La Vache Qui Rit Nature Fromage Fondu Boite Ronde 1X512Gr 32P</c:v>
                </c:pt>
                <c:pt idx="2">
                  <c:v>Kiri Creme Fromage Blanc Frais Carre 1X432Gr 24P</c:v>
                </c:pt>
                <c:pt idx="3">
                  <c:v>Mini Babybel Rouge Filet Soft Cheese Enfant 484G</c:v>
                </c:pt>
                <c:pt idx="4">
                  <c:v>Mini Babybel Rouge Filet St Paulin Ferme 1X264Gr 12P</c:v>
                </c:pt>
                <c:pt idx="5">
                  <c:v>Mini Babybel Rouge Filet St Paulin Ferme 1X132Gr 6P</c:v>
                </c:pt>
                <c:pt idx="6">
                  <c:v>Kiri Gouter Fromage Blanc Dips Boite 1X175Gr 5P</c:v>
                </c:pt>
                <c:pt idx="7">
                  <c:v>Mini Babybel Rouge Filet Soft Cheese Enfant 352G</c:v>
                </c:pt>
                <c:pt idx="8">
                  <c:v>Kiri Creme Fromage Blanc Frais Carre 1X216Gr 12P</c:v>
                </c:pt>
                <c:pt idx="9">
                  <c:v>La Vache Qui Rit Nature Fromage Fondu Boite Ronde 1X192Gr 12P</c:v>
                </c:pt>
                <c:pt idx="10">
                  <c:v>Apericube Edition Limitee Best Of Foot Fromage Fondu Cube Assortis 1X250Gr 48P</c:v>
                </c:pt>
                <c:pt idx="11">
                  <c:v>Apericube Cocktail Fromage Fondu Cube Assortis 1X250Gr 48P</c:v>
                </c:pt>
                <c:pt idx="12">
                  <c:v>Boursin Classique Fromage Frais A Tartiner Afh 1X160Gr 10P</c:v>
                </c:pt>
                <c:pt idx="13">
                  <c:v>La Vache Qui Rit Nature Fromage Fondu Boite Ronde 1X512Gr 24+8P</c:v>
                </c:pt>
                <c:pt idx="14">
                  <c:v>Kiri Creme Fromage Blanc Frais Carre 1X432Gr 18+6P</c:v>
                </c:pt>
                <c:pt idx="15">
                  <c:v>Apericube Long Drink Fromage Fondu Cube Assortis 1X250Gr 48P</c:v>
                </c:pt>
                <c:pt idx="16">
                  <c:v>Kiri Creme Fromage Blanc Frais Carre 1X144Gr 8P</c:v>
                </c:pt>
                <c:pt idx="17">
                  <c:v>Kiri Gouter Fromage Blanc Dips Boite 1X280Gr 8P</c:v>
                </c:pt>
                <c:pt idx="18">
                  <c:v>Boursin Classique Fromage Frais A Tartiner Afh Boite 1X250Gr 1P</c:v>
                </c:pt>
                <c:pt idx="19">
                  <c:v>La Vache Qui Rit Pik Et Croq' Fromage Fondu Dips Boite 1X175Gr 5P</c:v>
                </c:pt>
                <c:pt idx="20">
                  <c:v>Boursin Salade &amp; Aperitif Fromage Frais Des Afh 1X120Gr 1P</c:v>
                </c:pt>
                <c:pt idx="21">
                  <c:v>Boursin Classique Fromage Frais A Tartiner Afh Boite 1X150Gr 1P</c:v>
                </c:pt>
                <c:pt idx="22">
                  <c:v>Apericube Incontournable Fromage Fondu Cube Assortis 1X250Gr 48P</c:v>
                </c:pt>
                <c:pt idx="23">
                  <c:v>Boursin Aperitif Roules Fromage Frais Roule Afh Et Jambon Fume Boite 1X100Gr 20P</c:v>
                </c:pt>
                <c:pt idx="24">
                  <c:v>Apericube Tonic Fromage Fondu Cube Assortis 1X250Gr 48P</c:v>
                </c:pt>
                <c:pt idx="25">
                  <c:v>Mini Babybel Rouge Filet St Paulin Ferme 1X396Gr 12+6P</c:v>
                </c:pt>
                <c:pt idx="26">
                  <c:v>Apericube Nature Fromage Fondu Cube 1X125Gr 24P</c:v>
                </c:pt>
                <c:pt idx="27">
                  <c:v>La Vache Qui Rit Nature Fromage Fondu Boite Ronde 1X128Gr 8P</c:v>
                </c:pt>
                <c:pt idx="28">
                  <c:v>Apericube Soiree Match Aperitif 250G</c:v>
                </c:pt>
                <c:pt idx="29">
                  <c:v>Apericube Edition Voyage Fromage Fondu Cube Assortis 1X250Gr 48P</c:v>
                </c:pt>
                <c:pt idx="30">
                  <c:v>Apericube Edition Limitee Saison Fromage Fondu Cube Assortis 1X250Gr 48P</c:v>
                </c:pt>
                <c:pt idx="31">
                  <c:v>Apericube Campagne Fromage Fondu Cube Assortis 1X125Gr 24P</c:v>
                </c:pt>
                <c:pt idx="32">
                  <c:v>Apericube Hot Chalenge Aperitif 250G</c:v>
                </c:pt>
                <c:pt idx="33">
                  <c:v>Mini Babybel Aros Soft Cheese Enfant 180G</c:v>
                </c:pt>
                <c:pt idx="34">
                  <c:v>La Vache Qui Rit Pik Et Croq' Fromage Fondu Dips Boite 1X280Gr 8P</c:v>
                </c:pt>
                <c:pt idx="35">
                  <c:v>Boursin Classique Fromage Frais A Tartiner Afh Boite 1X96Gr 6P</c:v>
                </c:pt>
                <c:pt idx="36">
                  <c:v>Boursin Aperitif Roules Fromage Frais Roule Ciboulette &amp; Echalote Jambon Fume Boite 1X100Gr 20P</c:v>
                </c:pt>
                <c:pt idx="37">
                  <c:v>Boursin Salade &amp; Aperitif Fromage Frais Des Ciboulette Echalote 1X120Gr 1P</c:v>
                </c:pt>
                <c:pt idx="38">
                  <c:v>Kiri Delicieusement Fouette Fromage Frais A Tartiner 1X210Gr 1P</c:v>
                </c:pt>
                <c:pt idx="39">
                  <c:v>Apericube Best Of Des Saveurs Fromage Fondu Cube Assortis 1X125Gr 24P</c:v>
                </c:pt>
                <c:pt idx="40">
                  <c:v>Mini Babybel Aros Soft Cheese Enfant 110G</c:v>
                </c:pt>
                <c:pt idx="41">
                  <c:v>Apericube Fromages Du Monde Aperitif 250G</c:v>
                </c:pt>
                <c:pt idx="42">
                  <c:v>Boursin Salade &amp; Aperitif Fromage Frais Des Figue Noix 1X120Gr 1P</c:v>
                </c:pt>
                <c:pt idx="43">
                  <c:v>Boursin Classique Fromage Frais A Tartiner Figue Et 3 Noix Boite 1X150Gr 1P</c:v>
                </c:pt>
                <c:pt idx="44">
                  <c:v>Boursin Onctueux Fromage Frais A Tartiner Afh 1X125Gr 1P</c:v>
                </c:pt>
                <c:pt idx="45">
                  <c:v>Babybel Mini Rolls St Paulin Ferme Sachet 1X85Gr 5P</c:v>
                </c:pt>
                <c:pt idx="46">
                  <c:v>Boursin Classique Fromage Frais A Tartiner Ciboulette &amp; Echalote Boite 1X150Gr 1P</c:v>
                </c:pt>
                <c:pt idx="47">
                  <c:v>La Vache Qui Rit Allegee Fromage Fondu Boite Ronde Allege 1X267Gr 16P</c:v>
                </c:pt>
                <c:pt idx="48">
                  <c:v>Boursin Classique Fromage Frais A Tartiner Poivre Boite 1X150Gr 1P</c:v>
                </c:pt>
                <c:pt idx="49">
                  <c:v>Kiri Delicieusement Fouette Fromage Frais A Tartiner 1X125Gr 1P</c:v>
                </c:pt>
                <c:pt idx="50">
                  <c:v>Boursin Salade &amp; Aperitif Soft Cheese Salade 120G</c:v>
                </c:pt>
                <c:pt idx="51">
                  <c:v>Apericube Carrement Toque Fromage Fondu Cube Assortis 1X250Gr 48P</c:v>
                </c:pt>
                <c:pt idx="52">
                  <c:v>Boursin Salade &amp; Aperitif Fromage Frais Des Citron Romarin 1X120Gr 1P</c:v>
                </c:pt>
                <c:pt idx="53">
                  <c:v>Apericube Montagne Aperitif 250G</c:v>
                </c:pt>
                <c:pt idx="54">
                  <c:v>Boursin Classique Fromage Frais A Tartiner Afh 1X256Gr 16P</c:v>
                </c:pt>
                <c:pt idx="55">
                  <c:v>Boursin Aperitif Roules Aperitif 100G</c:v>
                </c:pt>
                <c:pt idx="56">
                  <c:v>Kiri Bio Fromage Blanc Frais Carre 1X144Gr 8P</c:v>
                </c:pt>
                <c:pt idx="57">
                  <c:v>Boursin Classique Fromage Frais A Tartiner Afh Boite 1X320Gr 16+4P</c:v>
                </c:pt>
                <c:pt idx="58">
                  <c:v>Boursin Vegetal Alternative Vegetale 150G</c:v>
                </c:pt>
                <c:pt idx="59">
                  <c:v>Mini Babybel Aros Soft Cheese Enfant 120G</c:v>
                </c:pt>
                <c:pt idx="60">
                  <c:v>Apericube P'Tits Plaisirs Fromage Fondu Cube 3 Fromages &amp; Jambon Cru Olive Verte 1X78Gr 15P</c:v>
                </c:pt>
                <c:pt idx="61">
                  <c:v>Boursin Classique Fromage Frais A Tartiner Afh Boite 1X80Gr 1P</c:v>
                </c:pt>
                <c:pt idx="62">
                  <c:v>Nurishh Les Tranches Vegetales Cheddar Vegetal Tranche Boite 1X160Gr 8P</c:v>
                </c:pt>
                <c:pt idx="63">
                  <c:v>Nurishh Le Palet Vegetal Specialite Vegetale Ovale Saveur Chevre Boite 1X140Gr 1P</c:v>
                </c:pt>
                <c:pt idx="64">
                  <c:v>Nurishh Les Tranches Vegetales Emmental Vegetal Tranche Boite 1X160Gr 8P</c:v>
                </c:pt>
                <c:pt idx="65">
                  <c:v>Nurishh Le Rape Vegetal Specialite Vegetale Sachet 1X150Gr 1P</c:v>
                </c:pt>
                <c:pt idx="66">
                  <c:v>Nurishh Le Rape Vegetal Specialite Vegetale Emmental Sachet 1X150Gr 1P</c:v>
                </c:pt>
                <c:pt idx="67">
                  <c:v>Nurishh Le Rape Vegetal Mozzarella Vegetale Sachet 1X150Gr 1P</c:v>
                </c:pt>
                <c:pt idx="68">
                  <c:v>Nurishh Le Coeur Fleuri Vegetal Camembert Boite 1X140Gr 1P</c:v>
                </c:pt>
                <c:pt idx="69">
                  <c:v>Boursin Onctueux Fromage Frais A Tartiner Afh 1X210Gr 1P</c:v>
                </c:pt>
                <c:pt idx="70">
                  <c:v>Boursin Classique Fromage Frais A Tartiner 3 Noix Boite 1X150Gr 1P</c:v>
                </c:pt>
                <c:pt idx="71">
                  <c:v>Apericube Jambon Fromage Fondu Cube 1X78Gr 15P</c:v>
                </c:pt>
                <c:pt idx="72">
                  <c:v>Apericube Long Drink Fromage Fondu Cube Assortis 1X125Gr 24P</c:v>
                </c:pt>
                <c:pt idx="73">
                  <c:v>Nurishh Les Tranches Vegetales Specialite Vegetale Tranche Piment Boite 1X120Gr 6P</c:v>
                </c:pt>
                <c:pt idx="74">
                  <c:v>Nurishh Des Vegetaux Feta Vegetale Sachet 1X150Gr 1P</c:v>
                </c:pt>
                <c:pt idx="75">
                  <c:v>Boursin Classique Fromage Frais A Tartiner 3 Noix 1X160Gr 10P</c:v>
                </c:pt>
                <c:pt idx="76">
                  <c:v>La Vache Qui Rit Aro Fromage Fondu Boite Ronde Jambon 1X133Gr 8P</c:v>
                </c:pt>
                <c:pt idx="77">
                  <c:v>Apericube Nature Fromage Fondu Cube 1X250Gr 48P</c:v>
                </c:pt>
                <c:pt idx="78">
                  <c:v>Kiri Delicieusement Fouette Fromage Frais A Tartiner 1X160Gr 10P</c:v>
                </c:pt>
                <c:pt idx="79">
                  <c:v>Mini Babybel Rouge Filet St Paulin Ferme Sachet 1X40Gr 1P</c:v>
                </c:pt>
                <c:pt idx="80">
                  <c:v>Apericube Charcut' Fromages Fromage Fondu Cube Assortis 1X250Gr 48P</c:v>
                </c:pt>
                <c:pt idx="81">
                  <c:v>Kiri Chevre Fromage Blanc Frais Carre 1X144Gr 8P</c:v>
                </c:pt>
                <c:pt idx="82">
                  <c:v>Apericube Selection Du Fromager Fromage Fondu Cube Assortis 1X250Gr 48P</c:v>
                </c:pt>
                <c:pt idx="83">
                  <c:v>Nurishh Le Tartinable Vegetal Specialite Vegetale A Tartiner 1X130Gr 1P</c:v>
                </c:pt>
                <c:pt idx="84">
                  <c:v>Mini Babybel Aros St Paulin Ferme Raclette Filet 1X132Gr 6P</c:v>
                </c:pt>
                <c:pt idx="85">
                  <c:v>Mini Babybel Rouge Filet St Paulin Ferme 1X110Gr 5P</c:v>
                </c:pt>
                <c:pt idx="86">
                  <c:v>La Vache Qui Rit Bio Fromage Fondu Boite Ronde 1X128Gr 8P</c:v>
                </c:pt>
                <c:pt idx="87">
                  <c:v>Apericube Sucre Sale Fromage Fondu Cube Assortis 1X250Gr 48P</c:v>
                </c:pt>
                <c:pt idx="88">
                  <c:v>Limiano Queijo Flamengo Autre Sachet 1X450Gr 1P</c:v>
                </c:pt>
                <c:pt idx="89">
                  <c:v>Mini Babybel Aros St Paulin Ferme Emmental Filet 1X120Gr 6P</c:v>
                </c:pt>
                <c:pt idx="90">
                  <c:v>Mini Babybel Aros St Paulin Ferme Assortis Filet 1X180Gr 9P</c:v>
                </c:pt>
                <c:pt idx="91">
                  <c:v>Boursin Aperitif Roules Fromage Frais Roule Jambon Fume &amp; Trio De Noix Boite 1X100Gr 20P</c:v>
                </c:pt>
                <c:pt idx="92">
                  <c:v>Boursin Vegetal Specialite Vegetale A Tartiner Afh 1X130Gr 1P</c:v>
                </c:pt>
              </c:strCache>
            </c:strRef>
          </c:cat>
          <c:val>
            <c:numRef>
              <c:f>Sheet1!$B$2:$B$94</c:f>
              <c:numCache>
                <c:formatCode>General</c:formatCode>
                <c:ptCount val="93"/>
                <c:pt idx="0">
                  <c:v>0.98</c:v>
                </c:pt>
                <c:pt idx="1">
                  <c:v>0.98</c:v>
                </c:pt>
                <c:pt idx="2">
                  <c:v>0.98</c:v>
                </c:pt>
                <c:pt idx="3">
                  <c:v>0.97</c:v>
                </c:pt>
                <c:pt idx="4">
                  <c:v>1</c:v>
                </c:pt>
                <c:pt idx="5">
                  <c:v>1</c:v>
                </c:pt>
                <c:pt idx="6">
                  <c:v>1</c:v>
                </c:pt>
                <c:pt idx="7">
                  <c:v>0.99</c:v>
                </c:pt>
                <c:pt idx="8">
                  <c:v>1</c:v>
                </c:pt>
                <c:pt idx="9">
                  <c:v>1</c:v>
                </c:pt>
                <c:pt idx="10">
                  <c:v>1</c:v>
                </c:pt>
                <c:pt idx="11">
                  <c:v>0.99</c:v>
                </c:pt>
                <c:pt idx="12">
                  <c:v>1</c:v>
                </c:pt>
                <c:pt idx="13">
                  <c:v>0.93</c:v>
                </c:pt>
                <c:pt idx="14">
                  <c:v>0.98</c:v>
                </c:pt>
                <c:pt idx="15">
                  <c:v>0.99</c:v>
                </c:pt>
                <c:pt idx="16">
                  <c:v>1</c:v>
                </c:pt>
                <c:pt idx="17">
                  <c:v>0.98</c:v>
                </c:pt>
                <c:pt idx="18">
                  <c:v>1</c:v>
                </c:pt>
                <c:pt idx="19">
                  <c:v>1</c:v>
                </c:pt>
                <c:pt idx="20">
                  <c:v>1</c:v>
                </c:pt>
                <c:pt idx="21">
                  <c:v>1</c:v>
                </c:pt>
                <c:pt idx="22">
                  <c:v>0.97</c:v>
                </c:pt>
                <c:pt idx="23">
                  <c:v>0.99</c:v>
                </c:pt>
                <c:pt idx="24">
                  <c:v>0.93</c:v>
                </c:pt>
                <c:pt idx="25">
                  <c:v>0.91</c:v>
                </c:pt>
                <c:pt idx="26">
                  <c:v>1</c:v>
                </c:pt>
                <c:pt idx="27">
                  <c:v>0.93</c:v>
                </c:pt>
                <c:pt idx="28">
                  <c:v>0.97</c:v>
                </c:pt>
                <c:pt idx="29">
                  <c:v>0.89</c:v>
                </c:pt>
                <c:pt idx="30">
                  <c:v>0.96</c:v>
                </c:pt>
                <c:pt idx="31">
                  <c:v>0.98</c:v>
                </c:pt>
                <c:pt idx="32">
                  <c:v>0.96</c:v>
                </c:pt>
                <c:pt idx="33">
                  <c:v>0.96</c:v>
                </c:pt>
                <c:pt idx="34">
                  <c:v>0.93</c:v>
                </c:pt>
                <c:pt idx="35">
                  <c:v>1</c:v>
                </c:pt>
                <c:pt idx="36">
                  <c:v>0.9</c:v>
                </c:pt>
                <c:pt idx="37">
                  <c:v>0.99</c:v>
                </c:pt>
                <c:pt idx="38">
                  <c:v>0.96</c:v>
                </c:pt>
                <c:pt idx="39">
                  <c:v>0.97</c:v>
                </c:pt>
                <c:pt idx="40">
                  <c:v>0.94</c:v>
                </c:pt>
                <c:pt idx="41">
                  <c:v>0.71</c:v>
                </c:pt>
                <c:pt idx="42">
                  <c:v>0.99</c:v>
                </c:pt>
                <c:pt idx="43">
                  <c:v>0.94</c:v>
                </c:pt>
                <c:pt idx="44">
                  <c:v>0.99</c:v>
                </c:pt>
                <c:pt idx="45">
                  <c:v>0.92</c:v>
                </c:pt>
                <c:pt idx="46">
                  <c:v>0.97</c:v>
                </c:pt>
                <c:pt idx="47">
                  <c:v>0.84</c:v>
                </c:pt>
                <c:pt idx="48">
                  <c:v>0.88</c:v>
                </c:pt>
                <c:pt idx="49">
                  <c:v>0.98</c:v>
                </c:pt>
                <c:pt idx="50">
                  <c:v>0.94</c:v>
                </c:pt>
                <c:pt idx="51">
                  <c:v>0.97</c:v>
                </c:pt>
                <c:pt idx="52">
                  <c:v>0.93</c:v>
                </c:pt>
                <c:pt idx="53">
                  <c:v>0.54</c:v>
                </c:pt>
                <c:pt idx="54">
                  <c:v>0.53</c:v>
                </c:pt>
                <c:pt idx="55">
                  <c:v>0.53</c:v>
                </c:pt>
                <c:pt idx="56">
                  <c:v>0.54</c:v>
                </c:pt>
                <c:pt idx="57">
                  <c:v>0.85</c:v>
                </c:pt>
                <c:pt idx="58">
                  <c:v>0.79</c:v>
                </c:pt>
                <c:pt idx="59">
                  <c:v>0.68</c:v>
                </c:pt>
                <c:pt idx="60">
                  <c:v>0.75</c:v>
                </c:pt>
                <c:pt idx="61">
                  <c:v>0.77</c:v>
                </c:pt>
                <c:pt idx="62">
                  <c:v>0.75</c:v>
                </c:pt>
                <c:pt idx="63">
                  <c:v>0.66</c:v>
                </c:pt>
                <c:pt idx="64">
                  <c:v>0.71</c:v>
                </c:pt>
                <c:pt idx="65">
                  <c:v>0.72</c:v>
                </c:pt>
                <c:pt idx="66">
                  <c:v>0.77</c:v>
                </c:pt>
                <c:pt idx="67">
                  <c:v>0.66</c:v>
                </c:pt>
                <c:pt idx="68">
                  <c:v>0.54</c:v>
                </c:pt>
                <c:pt idx="69">
                  <c:v>0.59</c:v>
                </c:pt>
                <c:pt idx="70">
                  <c:v>0.67</c:v>
                </c:pt>
                <c:pt idx="71">
                  <c:v>7.0000000000000007E-2</c:v>
                </c:pt>
                <c:pt idx="72">
                  <c:v>0.91</c:v>
                </c:pt>
                <c:pt idx="73">
                  <c:v>0.56999999999999995</c:v>
                </c:pt>
                <c:pt idx="74">
                  <c:v>0.56000000000000005</c:v>
                </c:pt>
                <c:pt idx="75">
                  <c:v>0.49</c:v>
                </c:pt>
                <c:pt idx="76">
                  <c:v>0.06</c:v>
                </c:pt>
                <c:pt idx="77">
                  <c:v>0.23</c:v>
                </c:pt>
                <c:pt idx="78">
                  <c:v>0.56000000000000005</c:v>
                </c:pt>
                <c:pt idx="79">
                  <c:v>0.21</c:v>
                </c:pt>
                <c:pt idx="80">
                  <c:v>0.16</c:v>
                </c:pt>
                <c:pt idx="81">
                  <c:v>0.15</c:v>
                </c:pt>
                <c:pt idx="82">
                  <c:v>0.12</c:v>
                </c:pt>
                <c:pt idx="83">
                  <c:v>0.34</c:v>
                </c:pt>
                <c:pt idx="84">
                  <c:v>0.38</c:v>
                </c:pt>
                <c:pt idx="85">
                  <c:v>0.04</c:v>
                </c:pt>
                <c:pt idx="86">
                  <c:v>0.19</c:v>
                </c:pt>
                <c:pt idx="87">
                  <c:v>0.11</c:v>
                </c:pt>
                <c:pt idx="88">
                  <c:v>0.01</c:v>
                </c:pt>
                <c:pt idx="89">
                  <c:v>7.0000000000000007E-2</c:v>
                </c:pt>
                <c:pt idx="90">
                  <c:v>0.04</c:v>
                </c:pt>
                <c:pt idx="91">
                  <c:v>0.02</c:v>
                </c:pt>
                <c:pt idx="9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00A097"/>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invertIfNegative val="1"/>
            <c:bubble3D val="0"/>
            <c:spPr>
              <a:solidFill>
                <a:srgbClr val="7ECAC4"/>
              </a:solidFill>
            </c:spPr>
            <c:extLst>
              <c:ext xmlns:c16="http://schemas.microsoft.com/office/drawing/2014/chart" uri="{C3380CC4-5D6E-409C-BE32-E72D297353CC}">
                <c16:uniqueId val="{0000005B-BEB8-4F9A-90F0-077D5D78DBDE}"/>
              </c:ext>
            </c:extLst>
          </c:dPt>
          <c:dPt>
            <c:idx val="45"/>
            <c:invertIfNegative val="1"/>
            <c:bubble3D val="0"/>
            <c:spPr>
              <a:solidFill>
                <a:srgbClr val="7ECAC4"/>
              </a:solidFill>
            </c:spPr>
            <c:extLst>
              <c:ext xmlns:c16="http://schemas.microsoft.com/office/drawing/2014/chart" uri="{C3380CC4-5D6E-409C-BE32-E72D297353CC}">
                <c16:uniqueId val="{0000005D-BEB8-4F9A-90F0-077D5D78DBDE}"/>
              </c:ext>
            </c:extLst>
          </c:dPt>
          <c:dPt>
            <c:idx val="46"/>
            <c:invertIfNegative val="1"/>
            <c:bubble3D val="0"/>
            <c:spPr>
              <a:solidFill>
                <a:srgbClr val="7ECAC4"/>
              </a:solidFill>
            </c:spPr>
            <c:extLst>
              <c:ext xmlns:c16="http://schemas.microsoft.com/office/drawing/2014/chart" uri="{C3380CC4-5D6E-409C-BE32-E72D297353CC}">
                <c16:uniqueId val="{0000005F-BEB8-4F9A-90F0-077D5D78DBDE}"/>
              </c:ext>
            </c:extLst>
          </c:dPt>
          <c:dPt>
            <c:idx val="47"/>
            <c:invertIfNegative val="1"/>
            <c:bubble3D val="0"/>
            <c:spPr>
              <a:solidFill>
                <a:srgbClr val="7ECAC4"/>
              </a:solidFill>
            </c:spPr>
            <c:extLst>
              <c:ext xmlns:c16="http://schemas.microsoft.com/office/drawing/2014/chart" uri="{C3380CC4-5D6E-409C-BE32-E72D297353CC}">
                <c16:uniqueId val="{00000061-BEB8-4F9A-90F0-077D5D78DBDE}"/>
              </c:ext>
            </c:extLst>
          </c:dPt>
          <c:dPt>
            <c:idx val="48"/>
            <c:invertIfNegative val="1"/>
            <c:bubble3D val="0"/>
            <c:spPr>
              <a:solidFill>
                <a:srgbClr val="AEABAB"/>
              </a:solidFill>
            </c:spPr>
            <c:extLst>
              <c:ext xmlns:c16="http://schemas.microsoft.com/office/drawing/2014/chart" uri="{C3380CC4-5D6E-409C-BE32-E72D297353CC}">
                <c16:uniqueId val="{00000063-BEB8-4F9A-90F0-077D5D78DBDE}"/>
              </c:ext>
            </c:extLst>
          </c:dPt>
          <c:dPt>
            <c:idx val="49"/>
            <c:invertIfNegative val="1"/>
            <c:bubble3D val="0"/>
            <c:spPr>
              <a:solidFill>
                <a:srgbClr val="AEABAB"/>
              </a:solidFill>
            </c:spPr>
            <c:extLst>
              <c:ext xmlns:c16="http://schemas.microsoft.com/office/drawing/2014/chart" uri="{C3380CC4-5D6E-409C-BE32-E72D297353CC}">
                <c16:uniqueId val="{00000065-BEB8-4F9A-90F0-077D5D78DBDE}"/>
              </c:ext>
            </c:extLst>
          </c:dPt>
          <c:dPt>
            <c:idx val="50"/>
            <c:invertIfNegative val="1"/>
            <c:bubble3D val="0"/>
            <c:spPr>
              <a:solidFill>
                <a:srgbClr val="AEABAB"/>
              </a:solidFill>
            </c:spPr>
            <c:extLst>
              <c:ext xmlns:c16="http://schemas.microsoft.com/office/drawing/2014/chart" uri="{C3380CC4-5D6E-409C-BE32-E72D297353CC}">
                <c16:uniqueId val="{00000067-BEB8-4F9A-90F0-077D5D78DBDE}"/>
              </c:ext>
            </c:extLst>
          </c:dPt>
          <c:dPt>
            <c:idx val="51"/>
            <c:invertIfNegative val="1"/>
            <c:bubble3D val="0"/>
            <c:spPr>
              <a:solidFill>
                <a:srgbClr val="AEABAB"/>
              </a:solidFill>
            </c:spPr>
            <c:extLst>
              <c:ext xmlns:c16="http://schemas.microsoft.com/office/drawing/2014/chart" uri="{C3380CC4-5D6E-409C-BE32-E72D297353CC}">
                <c16:uniqueId val="{00000069-BEB8-4F9A-90F0-077D5D78DBDE}"/>
              </c:ext>
            </c:extLst>
          </c:dPt>
          <c:dPt>
            <c:idx val="52"/>
            <c:invertIfNegative val="1"/>
            <c:bubble3D val="0"/>
            <c:spPr>
              <a:solidFill>
                <a:srgbClr val="AEABAB"/>
              </a:solidFill>
            </c:spPr>
            <c:extLst>
              <c:ext xmlns:c16="http://schemas.microsoft.com/office/drawing/2014/chart" uri="{C3380CC4-5D6E-409C-BE32-E72D297353CC}">
                <c16:uniqueId val="{0000006B-BEB8-4F9A-90F0-077D5D78DBDE}"/>
              </c:ext>
            </c:extLst>
          </c:dPt>
          <c:dPt>
            <c:idx val="53"/>
            <c:invertIfNegative val="1"/>
            <c:bubble3D val="0"/>
            <c:spPr>
              <a:solidFill>
                <a:srgbClr val="AEABAB"/>
              </a:solidFill>
            </c:spPr>
            <c:extLst>
              <c:ext xmlns:c16="http://schemas.microsoft.com/office/drawing/2014/chart" uri="{C3380CC4-5D6E-409C-BE32-E72D297353CC}">
                <c16:uniqueId val="{0000006D-BEB8-4F9A-90F0-077D5D78DBDE}"/>
              </c:ext>
            </c:extLst>
          </c:dPt>
          <c:dPt>
            <c:idx val="54"/>
            <c:invertIfNegative val="1"/>
            <c:bubble3D val="0"/>
            <c:spPr>
              <a:solidFill>
                <a:srgbClr val="AEABAB"/>
              </a:solidFill>
            </c:spPr>
            <c:extLst>
              <c:ext xmlns:c16="http://schemas.microsoft.com/office/drawing/2014/chart" uri="{C3380CC4-5D6E-409C-BE32-E72D297353CC}">
                <c16:uniqueId val="{0000006F-BEB8-4F9A-90F0-077D5D78DBDE}"/>
              </c:ext>
            </c:extLst>
          </c:dPt>
          <c:dPt>
            <c:idx val="55"/>
            <c:invertIfNegative val="1"/>
            <c:bubble3D val="0"/>
            <c:spPr>
              <a:solidFill>
                <a:srgbClr val="AEABAB"/>
              </a:solidFill>
            </c:spPr>
            <c:extLst>
              <c:ext xmlns:c16="http://schemas.microsoft.com/office/drawing/2014/chart" uri="{C3380CC4-5D6E-409C-BE32-E72D297353CC}">
                <c16:uniqueId val="{00000071-BEB8-4F9A-90F0-077D5D78DBDE}"/>
              </c:ext>
            </c:extLst>
          </c:dPt>
          <c:dPt>
            <c:idx val="56"/>
            <c:invertIfNegative val="1"/>
            <c:bubble3D val="0"/>
            <c:spPr>
              <a:solidFill>
                <a:srgbClr val="AEABAB"/>
              </a:solidFill>
            </c:spPr>
            <c:extLst>
              <c:ext xmlns:c16="http://schemas.microsoft.com/office/drawing/2014/chart" uri="{C3380CC4-5D6E-409C-BE32-E72D297353CC}">
                <c16:uniqueId val="{00000073-BEB8-4F9A-90F0-077D5D78DBDE}"/>
              </c:ext>
            </c:extLst>
          </c:dPt>
          <c:dPt>
            <c:idx val="57"/>
            <c:invertIfNegative val="1"/>
            <c:bubble3D val="0"/>
            <c:spPr>
              <a:solidFill>
                <a:srgbClr val="AEABAB"/>
              </a:solidFill>
            </c:spPr>
            <c:extLst>
              <c:ext xmlns:c16="http://schemas.microsoft.com/office/drawing/2014/chart" uri="{C3380CC4-5D6E-409C-BE32-E72D297353CC}">
                <c16:uniqueId val="{00000075-BEB8-4F9A-90F0-077D5D78DBDE}"/>
              </c:ext>
            </c:extLst>
          </c:dPt>
          <c:dPt>
            <c:idx val="58"/>
            <c:invertIfNegative val="1"/>
            <c:bubble3D val="0"/>
            <c:spPr>
              <a:solidFill>
                <a:srgbClr val="AEABAB"/>
              </a:solidFill>
            </c:spPr>
            <c:extLst>
              <c:ext xmlns:c16="http://schemas.microsoft.com/office/drawing/2014/chart" uri="{C3380CC4-5D6E-409C-BE32-E72D297353CC}">
                <c16:uniqueId val="{00000077-BEB8-4F9A-90F0-077D5D78DBDE}"/>
              </c:ext>
            </c:extLst>
          </c:dPt>
          <c:dPt>
            <c:idx val="59"/>
            <c:invertIfNegative val="1"/>
            <c:bubble3D val="0"/>
            <c:spPr>
              <a:solidFill>
                <a:srgbClr val="AEABAB"/>
              </a:solidFill>
            </c:spPr>
            <c:extLst>
              <c:ext xmlns:c16="http://schemas.microsoft.com/office/drawing/2014/chart" uri="{C3380CC4-5D6E-409C-BE32-E72D297353CC}">
                <c16:uniqueId val="{00000079-BEB8-4F9A-90F0-077D5D78DBDE}"/>
              </c:ext>
            </c:extLst>
          </c:dPt>
          <c:dPt>
            <c:idx val="60"/>
            <c:invertIfNegative val="1"/>
            <c:bubble3D val="0"/>
            <c:spPr>
              <a:solidFill>
                <a:srgbClr val="AEABAB"/>
              </a:solidFill>
            </c:spPr>
            <c:extLst>
              <c:ext xmlns:c16="http://schemas.microsoft.com/office/drawing/2014/chart" uri="{C3380CC4-5D6E-409C-BE32-E72D297353CC}">
                <c16:uniqueId val="{0000007B-BEB8-4F9A-90F0-077D5D78DBDE}"/>
              </c:ext>
            </c:extLst>
          </c:dPt>
          <c:dPt>
            <c:idx val="61"/>
            <c:invertIfNegative val="1"/>
            <c:bubble3D val="0"/>
            <c:spPr>
              <a:solidFill>
                <a:srgbClr val="AEABAB"/>
              </a:solidFill>
            </c:spPr>
            <c:extLst>
              <c:ext xmlns:c16="http://schemas.microsoft.com/office/drawing/2014/chart" uri="{C3380CC4-5D6E-409C-BE32-E72D297353CC}">
                <c16:uniqueId val="{0000007D-BEB8-4F9A-90F0-077D5D78DBDE}"/>
              </c:ext>
            </c:extLst>
          </c:dPt>
          <c:dPt>
            <c:idx val="62"/>
            <c:invertIfNegative val="1"/>
            <c:bubble3D val="0"/>
            <c:spPr>
              <a:solidFill>
                <a:srgbClr val="AEABAB"/>
              </a:solidFill>
            </c:spPr>
            <c:extLst>
              <c:ext xmlns:c16="http://schemas.microsoft.com/office/drawing/2014/chart" uri="{C3380CC4-5D6E-409C-BE32-E72D297353CC}">
                <c16:uniqueId val="{0000007F-BEB8-4F9A-90F0-077D5D78DBDE}"/>
              </c:ext>
            </c:extLst>
          </c:dPt>
          <c:dPt>
            <c:idx val="63"/>
            <c:invertIfNegative val="1"/>
            <c:bubble3D val="0"/>
            <c:spPr>
              <a:solidFill>
                <a:srgbClr val="AEABAB"/>
              </a:solidFill>
            </c:spPr>
            <c:extLst>
              <c:ext xmlns:c16="http://schemas.microsoft.com/office/drawing/2014/chart" uri="{C3380CC4-5D6E-409C-BE32-E72D297353CC}">
                <c16:uniqueId val="{00000081-BEB8-4F9A-90F0-077D5D78DBDE}"/>
              </c:ext>
            </c:extLst>
          </c:dPt>
          <c:dPt>
            <c:idx val="64"/>
            <c:invertIfNegative val="1"/>
            <c:bubble3D val="0"/>
            <c:spPr>
              <a:solidFill>
                <a:srgbClr val="AEABAB"/>
              </a:solidFill>
            </c:spPr>
            <c:extLst>
              <c:ext xmlns:c16="http://schemas.microsoft.com/office/drawing/2014/chart" uri="{C3380CC4-5D6E-409C-BE32-E72D297353CC}">
                <c16:uniqueId val="{00000083-BEB8-4F9A-90F0-077D5D78DBDE}"/>
              </c:ext>
            </c:extLst>
          </c:dPt>
          <c:dPt>
            <c:idx val="65"/>
            <c:invertIfNegative val="1"/>
            <c:bubble3D val="0"/>
            <c:spPr>
              <a:solidFill>
                <a:srgbClr val="AEABAB"/>
              </a:solidFill>
            </c:spPr>
            <c:extLst>
              <c:ext xmlns:c16="http://schemas.microsoft.com/office/drawing/2014/chart" uri="{C3380CC4-5D6E-409C-BE32-E72D297353CC}">
                <c16:uniqueId val="{00000085-BEB8-4F9A-90F0-077D5D78DBDE}"/>
              </c:ext>
            </c:extLst>
          </c:dPt>
          <c:dPt>
            <c:idx val="66"/>
            <c:invertIfNegative val="1"/>
            <c:bubble3D val="0"/>
            <c:spPr>
              <a:solidFill>
                <a:srgbClr val="AEABAB"/>
              </a:solidFill>
            </c:spPr>
            <c:extLst>
              <c:ext xmlns:c16="http://schemas.microsoft.com/office/drawing/2014/chart" uri="{C3380CC4-5D6E-409C-BE32-E72D297353CC}">
                <c16:uniqueId val="{00000087-BEB8-4F9A-90F0-077D5D78DBDE}"/>
              </c:ext>
            </c:extLst>
          </c:dPt>
          <c:dPt>
            <c:idx val="67"/>
            <c:invertIfNegative val="1"/>
            <c:bubble3D val="0"/>
            <c:spPr>
              <a:solidFill>
                <a:srgbClr val="AEABAB"/>
              </a:solidFill>
            </c:spPr>
            <c:extLst>
              <c:ext xmlns:c16="http://schemas.microsoft.com/office/drawing/2014/chart" uri="{C3380CC4-5D6E-409C-BE32-E72D297353CC}">
                <c16:uniqueId val="{00000089-BEB8-4F9A-90F0-077D5D78DBDE}"/>
              </c:ext>
            </c:extLst>
          </c:dPt>
          <c:dPt>
            <c:idx val="68"/>
            <c:invertIfNegative val="1"/>
            <c:bubble3D val="0"/>
            <c:spPr>
              <a:solidFill>
                <a:srgbClr val="AEABAB"/>
              </a:solidFill>
            </c:spPr>
            <c:extLst>
              <c:ext xmlns:c16="http://schemas.microsoft.com/office/drawing/2014/chart" uri="{C3380CC4-5D6E-409C-BE32-E72D297353CC}">
                <c16:uniqueId val="{0000008B-BEB8-4F9A-90F0-077D5D78DBDE}"/>
              </c:ext>
            </c:extLst>
          </c:dPt>
          <c:dPt>
            <c:idx val="69"/>
            <c:invertIfNegative val="1"/>
            <c:bubble3D val="0"/>
            <c:spPr>
              <a:solidFill>
                <a:srgbClr val="AEABAB"/>
              </a:solidFill>
            </c:spPr>
            <c:extLst>
              <c:ext xmlns:c16="http://schemas.microsoft.com/office/drawing/2014/chart" uri="{C3380CC4-5D6E-409C-BE32-E72D297353CC}">
                <c16:uniqueId val="{0000008D-BEB8-4F9A-90F0-077D5D78DBDE}"/>
              </c:ext>
            </c:extLst>
          </c:dPt>
          <c:dPt>
            <c:idx val="70"/>
            <c:invertIfNegative val="1"/>
            <c:bubble3D val="0"/>
            <c:spPr>
              <a:solidFill>
                <a:srgbClr val="AEABAB"/>
              </a:solidFill>
            </c:spPr>
            <c:extLst>
              <c:ext xmlns:c16="http://schemas.microsoft.com/office/drawing/2014/chart" uri="{C3380CC4-5D6E-409C-BE32-E72D297353CC}">
                <c16:uniqueId val="{0000008F-BEB8-4F9A-90F0-077D5D78DBDE}"/>
              </c:ext>
            </c:extLst>
          </c:dPt>
          <c:dPt>
            <c:idx val="71"/>
            <c:invertIfNegative val="1"/>
            <c:bubble3D val="0"/>
            <c:spPr>
              <a:solidFill>
                <a:srgbClr val="AEABAB"/>
              </a:solidFill>
            </c:spPr>
            <c:extLst>
              <c:ext xmlns:c16="http://schemas.microsoft.com/office/drawing/2014/chart" uri="{C3380CC4-5D6E-409C-BE32-E72D297353CC}">
                <c16:uniqueId val="{00000091-BEB8-4F9A-90F0-077D5D78DBDE}"/>
              </c:ext>
            </c:extLst>
          </c:dPt>
          <c:dPt>
            <c:idx val="72"/>
            <c:invertIfNegative val="1"/>
            <c:bubble3D val="0"/>
            <c:spPr>
              <a:solidFill>
                <a:srgbClr val="AEABAB"/>
              </a:solidFill>
            </c:spPr>
            <c:extLst>
              <c:ext xmlns:c16="http://schemas.microsoft.com/office/drawing/2014/chart" uri="{C3380CC4-5D6E-409C-BE32-E72D297353CC}">
                <c16:uniqueId val="{00000093-BEB8-4F9A-90F0-077D5D78DBDE}"/>
              </c:ext>
            </c:extLst>
          </c:dPt>
          <c:dPt>
            <c:idx val="73"/>
            <c:invertIfNegative val="1"/>
            <c:bubble3D val="0"/>
            <c:spPr>
              <a:solidFill>
                <a:srgbClr val="AEABAB"/>
              </a:solidFill>
            </c:spPr>
            <c:extLst>
              <c:ext xmlns:c16="http://schemas.microsoft.com/office/drawing/2014/chart" uri="{C3380CC4-5D6E-409C-BE32-E72D297353CC}">
                <c16:uniqueId val="{00000095-BEB8-4F9A-90F0-077D5D78DBDE}"/>
              </c:ext>
            </c:extLst>
          </c:dPt>
          <c:dPt>
            <c:idx val="74"/>
            <c:invertIfNegative val="1"/>
            <c:bubble3D val="0"/>
            <c:spPr>
              <a:solidFill>
                <a:srgbClr val="AEABAB"/>
              </a:solidFill>
            </c:spPr>
            <c:extLst>
              <c:ext xmlns:c16="http://schemas.microsoft.com/office/drawing/2014/chart" uri="{C3380CC4-5D6E-409C-BE32-E72D297353CC}">
                <c16:uniqueId val="{00000097-BEB8-4F9A-90F0-077D5D78DBDE}"/>
              </c:ext>
            </c:extLst>
          </c:dPt>
          <c:dPt>
            <c:idx val="75"/>
            <c:invertIfNegative val="1"/>
            <c:bubble3D val="0"/>
            <c:spPr>
              <a:solidFill>
                <a:srgbClr val="AEABAB"/>
              </a:solidFill>
            </c:spPr>
            <c:extLst>
              <c:ext xmlns:c16="http://schemas.microsoft.com/office/drawing/2014/chart" uri="{C3380CC4-5D6E-409C-BE32-E72D297353CC}">
                <c16:uniqueId val="{00000099-BEB8-4F9A-90F0-077D5D78DBDE}"/>
              </c:ext>
            </c:extLst>
          </c:dPt>
          <c:dPt>
            <c:idx val="76"/>
            <c:invertIfNegative val="1"/>
            <c:bubble3D val="0"/>
            <c:spPr>
              <a:solidFill>
                <a:srgbClr val="AEABAB"/>
              </a:solidFill>
            </c:spPr>
            <c:extLst>
              <c:ext xmlns:c16="http://schemas.microsoft.com/office/drawing/2014/chart" uri="{C3380CC4-5D6E-409C-BE32-E72D297353CC}">
                <c16:uniqueId val="{0000009B-BEB8-4F9A-90F0-077D5D78DBDE}"/>
              </c:ext>
            </c:extLst>
          </c:dPt>
          <c:dPt>
            <c:idx val="77"/>
            <c:invertIfNegative val="1"/>
            <c:bubble3D val="0"/>
            <c:spPr>
              <a:solidFill>
                <a:srgbClr val="AEABAB"/>
              </a:solidFill>
            </c:spPr>
            <c:extLst>
              <c:ext xmlns:c16="http://schemas.microsoft.com/office/drawing/2014/chart" uri="{C3380CC4-5D6E-409C-BE32-E72D297353CC}">
                <c16:uniqueId val="{0000009D-BEB8-4F9A-90F0-077D5D78DBDE}"/>
              </c:ext>
            </c:extLst>
          </c:dPt>
          <c:dPt>
            <c:idx val="78"/>
            <c:invertIfNegative val="1"/>
            <c:bubble3D val="0"/>
            <c:spPr>
              <a:solidFill>
                <a:srgbClr val="AEABAB"/>
              </a:solidFill>
            </c:spPr>
            <c:extLst>
              <c:ext xmlns:c16="http://schemas.microsoft.com/office/drawing/2014/chart" uri="{C3380CC4-5D6E-409C-BE32-E72D297353CC}">
                <c16:uniqueId val="{0000009F-BEB8-4F9A-90F0-077D5D78DBDE}"/>
              </c:ext>
            </c:extLst>
          </c:dPt>
          <c:dPt>
            <c:idx val="79"/>
            <c:invertIfNegative val="1"/>
            <c:bubble3D val="0"/>
            <c:spPr>
              <a:solidFill>
                <a:srgbClr val="AEABAB"/>
              </a:solidFill>
            </c:spPr>
            <c:extLst>
              <c:ext xmlns:c16="http://schemas.microsoft.com/office/drawing/2014/chart" uri="{C3380CC4-5D6E-409C-BE32-E72D297353CC}">
                <c16:uniqueId val="{000000A1-BEB8-4F9A-90F0-077D5D78DBDE}"/>
              </c:ext>
            </c:extLst>
          </c:dPt>
          <c:dPt>
            <c:idx val="80"/>
            <c:invertIfNegative val="1"/>
            <c:bubble3D val="0"/>
            <c:spPr>
              <a:solidFill>
                <a:srgbClr val="AEABAB"/>
              </a:solidFill>
            </c:spPr>
            <c:extLst>
              <c:ext xmlns:c16="http://schemas.microsoft.com/office/drawing/2014/chart" uri="{C3380CC4-5D6E-409C-BE32-E72D297353CC}">
                <c16:uniqueId val="{000000A3-BEB8-4F9A-90F0-077D5D78DBDE}"/>
              </c:ext>
            </c:extLst>
          </c:dPt>
          <c:dPt>
            <c:idx val="81"/>
            <c:invertIfNegative val="1"/>
            <c:bubble3D val="0"/>
            <c:spPr>
              <a:solidFill>
                <a:srgbClr val="AEABAB"/>
              </a:solidFill>
            </c:spPr>
            <c:extLst>
              <c:ext xmlns:c16="http://schemas.microsoft.com/office/drawing/2014/chart" uri="{C3380CC4-5D6E-409C-BE32-E72D297353CC}">
                <c16:uniqueId val="{000000A5-BEB8-4F9A-90F0-077D5D78DBDE}"/>
              </c:ext>
            </c:extLst>
          </c:dPt>
          <c:dPt>
            <c:idx val="82"/>
            <c:invertIfNegative val="1"/>
            <c:bubble3D val="0"/>
            <c:spPr>
              <a:solidFill>
                <a:srgbClr val="AEABAB"/>
              </a:solidFill>
            </c:spPr>
            <c:extLst>
              <c:ext xmlns:c16="http://schemas.microsoft.com/office/drawing/2014/chart" uri="{C3380CC4-5D6E-409C-BE32-E72D297353CC}">
                <c16:uniqueId val="{000000A7-BEB8-4F9A-90F0-077D5D78DBDE}"/>
              </c:ext>
            </c:extLst>
          </c:dPt>
          <c:dPt>
            <c:idx val="83"/>
            <c:invertIfNegative val="1"/>
            <c:bubble3D val="0"/>
            <c:spPr>
              <a:solidFill>
                <a:srgbClr val="AEABAB"/>
              </a:solidFill>
            </c:spPr>
            <c:extLst>
              <c:ext xmlns:c16="http://schemas.microsoft.com/office/drawing/2014/chart" uri="{C3380CC4-5D6E-409C-BE32-E72D297353CC}">
                <c16:uniqueId val="{000000A9-BEB8-4F9A-90F0-077D5D78DBDE}"/>
              </c:ext>
            </c:extLst>
          </c:dPt>
          <c:dPt>
            <c:idx val="84"/>
            <c:invertIfNegative val="1"/>
            <c:bubble3D val="0"/>
            <c:spPr>
              <a:solidFill>
                <a:srgbClr val="AEABAB"/>
              </a:solidFill>
            </c:spPr>
            <c:extLst>
              <c:ext xmlns:c16="http://schemas.microsoft.com/office/drawing/2014/chart" uri="{C3380CC4-5D6E-409C-BE32-E72D297353CC}">
                <c16:uniqueId val="{000000AB-BEB8-4F9A-90F0-077D5D78DBDE}"/>
              </c:ext>
            </c:extLst>
          </c:dPt>
          <c:dPt>
            <c:idx val="85"/>
            <c:invertIfNegative val="1"/>
            <c:bubble3D val="0"/>
            <c:spPr>
              <a:solidFill>
                <a:srgbClr val="AEABAB"/>
              </a:solidFill>
            </c:spPr>
            <c:extLst>
              <c:ext xmlns:c16="http://schemas.microsoft.com/office/drawing/2014/chart" uri="{C3380CC4-5D6E-409C-BE32-E72D297353CC}">
                <c16:uniqueId val="{000000AD-BEB8-4F9A-90F0-077D5D78DBDE}"/>
              </c:ext>
            </c:extLst>
          </c:dPt>
          <c:dPt>
            <c:idx val="86"/>
            <c:invertIfNegative val="1"/>
            <c:bubble3D val="0"/>
            <c:spPr>
              <a:solidFill>
                <a:srgbClr val="AEABAB"/>
              </a:solidFill>
            </c:spPr>
            <c:extLst>
              <c:ext xmlns:c16="http://schemas.microsoft.com/office/drawing/2014/chart" uri="{C3380CC4-5D6E-409C-BE32-E72D297353CC}">
                <c16:uniqueId val="{000000AF-BEB8-4F9A-90F0-077D5D78DBDE}"/>
              </c:ext>
            </c:extLst>
          </c:dPt>
          <c:dPt>
            <c:idx val="87"/>
            <c:invertIfNegative val="1"/>
            <c:bubble3D val="0"/>
            <c:spPr>
              <a:solidFill>
                <a:srgbClr val="AEABAB"/>
              </a:solidFill>
            </c:spPr>
            <c:extLst>
              <c:ext xmlns:c16="http://schemas.microsoft.com/office/drawing/2014/chart" uri="{C3380CC4-5D6E-409C-BE32-E72D297353CC}">
                <c16:uniqueId val="{000000B1-BEB8-4F9A-90F0-077D5D78DBDE}"/>
              </c:ext>
            </c:extLst>
          </c:dPt>
          <c:dPt>
            <c:idx val="88"/>
            <c:invertIfNegative val="1"/>
            <c:bubble3D val="0"/>
            <c:spPr>
              <a:solidFill>
                <a:srgbClr val="AEABAB"/>
              </a:solidFill>
            </c:spPr>
            <c:extLst>
              <c:ext xmlns:c16="http://schemas.microsoft.com/office/drawing/2014/chart" uri="{C3380CC4-5D6E-409C-BE32-E72D297353CC}">
                <c16:uniqueId val="{000000B3-BEB8-4F9A-90F0-077D5D78DBDE}"/>
              </c:ext>
            </c:extLst>
          </c:dPt>
          <c:dPt>
            <c:idx val="89"/>
            <c:invertIfNegative val="1"/>
            <c:bubble3D val="0"/>
            <c:spPr>
              <a:solidFill>
                <a:srgbClr val="AEABAB"/>
              </a:solidFill>
            </c:spPr>
            <c:extLst>
              <c:ext xmlns:c16="http://schemas.microsoft.com/office/drawing/2014/chart" uri="{C3380CC4-5D6E-409C-BE32-E72D297353CC}">
                <c16:uniqueId val="{000000B5-BEB8-4F9A-90F0-077D5D78DBDE}"/>
              </c:ext>
            </c:extLst>
          </c:dPt>
          <c:dPt>
            <c:idx val="90"/>
            <c:invertIfNegative val="1"/>
            <c:bubble3D val="0"/>
            <c:spPr>
              <a:solidFill>
                <a:srgbClr val="AEABAB"/>
              </a:solidFill>
            </c:spPr>
            <c:extLst>
              <c:ext xmlns:c16="http://schemas.microsoft.com/office/drawing/2014/chart" uri="{C3380CC4-5D6E-409C-BE32-E72D297353CC}">
                <c16:uniqueId val="{000000B7-BEB8-4F9A-90F0-077D5D78DBDE}"/>
              </c:ext>
            </c:extLst>
          </c:dPt>
          <c:dPt>
            <c:idx val="91"/>
            <c:invertIfNegative val="1"/>
            <c:bubble3D val="0"/>
            <c:spPr>
              <a:solidFill>
                <a:srgbClr val="AEABAB"/>
              </a:solidFill>
            </c:spPr>
            <c:extLst>
              <c:ext xmlns:c16="http://schemas.microsoft.com/office/drawing/2014/chart" uri="{C3380CC4-5D6E-409C-BE32-E72D297353CC}">
                <c16:uniqueId val="{000000B9-BEB8-4F9A-90F0-077D5D78DBDE}"/>
              </c:ext>
            </c:extLst>
          </c:dPt>
          <c:dPt>
            <c:idx val="92"/>
            <c:invertIfNegative val="1"/>
            <c:bubble3D val="0"/>
            <c:spPr>
              <a:solidFill>
                <a:srgbClr val="AEABAB"/>
              </a:solidFill>
            </c:spPr>
            <c:extLst>
              <c:ext xmlns:c16="http://schemas.microsoft.com/office/drawing/2014/chart" uri="{C3380CC4-5D6E-409C-BE32-E72D297353CC}">
                <c16:uniqueId val="{000000BB-BEB8-4F9A-90F0-077D5D78DBDE}"/>
              </c:ext>
            </c:extLst>
          </c:dPt>
          <c:cat>
            <c:strRef>
              <c:f>Sheet1!$A$2:$A$94</c:f>
              <c:strCache>
                <c:ptCount val="93"/>
                <c:pt idx="0">
                  <c:v>La Vache Qui Rit Nature Fromage Fondu Boite Ronde 1X384Gr 24P</c:v>
                </c:pt>
                <c:pt idx="1">
                  <c:v>La Vache Qui Rit Nature Fromage Fondu Boite Ronde 1X512Gr 32P</c:v>
                </c:pt>
                <c:pt idx="2">
                  <c:v>Kiri Creme Fromage Blanc Frais Carre 1X432Gr 24P</c:v>
                </c:pt>
                <c:pt idx="3">
                  <c:v>Mini Babybel Rouge Filet Soft Cheese Enfant 484G</c:v>
                </c:pt>
                <c:pt idx="4">
                  <c:v>Mini Babybel Rouge Filet St Paulin Ferme 1X264Gr 12P</c:v>
                </c:pt>
                <c:pt idx="5">
                  <c:v>Mini Babybel Rouge Filet St Paulin Ferme 1X132Gr 6P</c:v>
                </c:pt>
                <c:pt idx="6">
                  <c:v>Kiri Gouter Fromage Blanc Dips Boite 1X175Gr 5P</c:v>
                </c:pt>
                <c:pt idx="7">
                  <c:v>Mini Babybel Rouge Filet Soft Cheese Enfant 352G</c:v>
                </c:pt>
                <c:pt idx="8">
                  <c:v>Kiri Creme Fromage Blanc Frais Carre 1X216Gr 12P</c:v>
                </c:pt>
                <c:pt idx="9">
                  <c:v>La Vache Qui Rit Nature Fromage Fondu Boite Ronde 1X192Gr 12P</c:v>
                </c:pt>
                <c:pt idx="10">
                  <c:v>Apericube Edition Limitee Best Of Foot Fromage Fondu Cube Assortis 1X250Gr 48P</c:v>
                </c:pt>
                <c:pt idx="11">
                  <c:v>Apericube Cocktail Fromage Fondu Cube Assortis 1X250Gr 48P</c:v>
                </c:pt>
                <c:pt idx="12">
                  <c:v>Boursin Classique Fromage Frais A Tartiner Afh 1X160Gr 10P</c:v>
                </c:pt>
                <c:pt idx="13">
                  <c:v>La Vache Qui Rit Nature Fromage Fondu Boite Ronde 1X512Gr 24+8P</c:v>
                </c:pt>
                <c:pt idx="14">
                  <c:v>Kiri Creme Fromage Blanc Frais Carre 1X432Gr 18+6P</c:v>
                </c:pt>
                <c:pt idx="15">
                  <c:v>Apericube Long Drink Fromage Fondu Cube Assortis 1X250Gr 48P</c:v>
                </c:pt>
                <c:pt idx="16">
                  <c:v>Kiri Creme Fromage Blanc Frais Carre 1X144Gr 8P</c:v>
                </c:pt>
                <c:pt idx="17">
                  <c:v>Kiri Gouter Fromage Blanc Dips Boite 1X280Gr 8P</c:v>
                </c:pt>
                <c:pt idx="18">
                  <c:v>Boursin Classique Fromage Frais A Tartiner Afh Boite 1X250Gr 1P</c:v>
                </c:pt>
                <c:pt idx="19">
                  <c:v>La Vache Qui Rit Pik Et Croq' Fromage Fondu Dips Boite 1X175Gr 5P</c:v>
                </c:pt>
                <c:pt idx="20">
                  <c:v>Boursin Salade &amp; Aperitif Fromage Frais Des Afh 1X120Gr 1P</c:v>
                </c:pt>
                <c:pt idx="21">
                  <c:v>Boursin Classique Fromage Frais A Tartiner Afh Boite 1X150Gr 1P</c:v>
                </c:pt>
                <c:pt idx="22">
                  <c:v>Apericube Incontournable Fromage Fondu Cube Assortis 1X250Gr 48P</c:v>
                </c:pt>
                <c:pt idx="23">
                  <c:v>Boursin Aperitif Roules Fromage Frais Roule Afh Et Jambon Fume Boite 1X100Gr 20P</c:v>
                </c:pt>
                <c:pt idx="24">
                  <c:v>Apericube Tonic Fromage Fondu Cube Assortis 1X250Gr 48P</c:v>
                </c:pt>
                <c:pt idx="25">
                  <c:v>Mini Babybel Rouge Filet St Paulin Ferme 1X396Gr 12+6P</c:v>
                </c:pt>
                <c:pt idx="26">
                  <c:v>Apericube Nature Fromage Fondu Cube 1X125Gr 24P</c:v>
                </c:pt>
                <c:pt idx="27">
                  <c:v>La Vache Qui Rit Nature Fromage Fondu Boite Ronde 1X128Gr 8P</c:v>
                </c:pt>
                <c:pt idx="28">
                  <c:v>Apericube Soiree Match Aperitif 250G</c:v>
                </c:pt>
                <c:pt idx="29">
                  <c:v>Apericube Edition Voyage Fromage Fondu Cube Assortis 1X250Gr 48P</c:v>
                </c:pt>
                <c:pt idx="30">
                  <c:v>Apericube Edition Limitee Saison Fromage Fondu Cube Assortis 1X250Gr 48P</c:v>
                </c:pt>
                <c:pt idx="31">
                  <c:v>Apericube Campagne Fromage Fondu Cube Assortis 1X125Gr 24P</c:v>
                </c:pt>
                <c:pt idx="32">
                  <c:v>Apericube Hot Chalenge Aperitif 250G</c:v>
                </c:pt>
                <c:pt idx="33">
                  <c:v>Mini Babybel Aros Soft Cheese Enfant 180G</c:v>
                </c:pt>
                <c:pt idx="34">
                  <c:v>La Vache Qui Rit Pik Et Croq' Fromage Fondu Dips Boite 1X280Gr 8P</c:v>
                </c:pt>
                <c:pt idx="35">
                  <c:v>Boursin Classique Fromage Frais A Tartiner Afh Boite 1X96Gr 6P</c:v>
                </c:pt>
                <c:pt idx="36">
                  <c:v>Boursin Aperitif Roules Fromage Frais Roule Ciboulette &amp; Echalote Jambon Fume Boite 1X100Gr 20P</c:v>
                </c:pt>
                <c:pt idx="37">
                  <c:v>Boursin Salade &amp; Aperitif Fromage Frais Des Ciboulette Echalote 1X120Gr 1P</c:v>
                </c:pt>
                <c:pt idx="38">
                  <c:v>Kiri Delicieusement Fouette Fromage Frais A Tartiner 1X210Gr 1P</c:v>
                </c:pt>
                <c:pt idx="39">
                  <c:v>Apericube Best Of Des Saveurs Fromage Fondu Cube Assortis 1X125Gr 24P</c:v>
                </c:pt>
                <c:pt idx="40">
                  <c:v>Mini Babybel Aros Soft Cheese Enfant 110G</c:v>
                </c:pt>
                <c:pt idx="41">
                  <c:v>Apericube Fromages Du Monde Aperitif 250G</c:v>
                </c:pt>
                <c:pt idx="42">
                  <c:v>Boursin Salade &amp; Aperitif Fromage Frais Des Figue Noix 1X120Gr 1P</c:v>
                </c:pt>
                <c:pt idx="43">
                  <c:v>Boursin Classique Fromage Frais A Tartiner Figue Et 3 Noix Boite 1X150Gr 1P</c:v>
                </c:pt>
                <c:pt idx="44">
                  <c:v>Boursin Onctueux Fromage Frais A Tartiner Afh 1X125Gr 1P</c:v>
                </c:pt>
                <c:pt idx="45">
                  <c:v>Babybel Mini Rolls St Paulin Ferme Sachet 1X85Gr 5P</c:v>
                </c:pt>
                <c:pt idx="46">
                  <c:v>Boursin Classique Fromage Frais A Tartiner Ciboulette &amp; Echalote Boite 1X150Gr 1P</c:v>
                </c:pt>
                <c:pt idx="47">
                  <c:v>La Vache Qui Rit Allegee Fromage Fondu Boite Ronde Allege 1X267Gr 16P</c:v>
                </c:pt>
                <c:pt idx="48">
                  <c:v>Boursin Classique Fromage Frais A Tartiner Poivre Boite 1X150Gr 1P</c:v>
                </c:pt>
                <c:pt idx="49">
                  <c:v>Kiri Delicieusement Fouette Fromage Frais A Tartiner 1X125Gr 1P</c:v>
                </c:pt>
                <c:pt idx="50">
                  <c:v>Boursin Salade &amp; Aperitif Soft Cheese Salade 120G</c:v>
                </c:pt>
                <c:pt idx="51">
                  <c:v>Apericube Carrement Toque Fromage Fondu Cube Assortis 1X250Gr 48P</c:v>
                </c:pt>
                <c:pt idx="52">
                  <c:v>Boursin Salade &amp; Aperitif Fromage Frais Des Citron Romarin 1X120Gr 1P</c:v>
                </c:pt>
                <c:pt idx="53">
                  <c:v>Apericube Montagne Aperitif 250G</c:v>
                </c:pt>
                <c:pt idx="54">
                  <c:v>Boursin Classique Fromage Frais A Tartiner Afh 1X256Gr 16P</c:v>
                </c:pt>
                <c:pt idx="55">
                  <c:v>Boursin Aperitif Roules Aperitif 100G</c:v>
                </c:pt>
                <c:pt idx="56">
                  <c:v>Kiri Bio Fromage Blanc Frais Carre 1X144Gr 8P</c:v>
                </c:pt>
                <c:pt idx="57">
                  <c:v>Boursin Classique Fromage Frais A Tartiner Afh Boite 1X320Gr 16+4P</c:v>
                </c:pt>
                <c:pt idx="58">
                  <c:v>Boursin Vegetal Alternative Vegetale 150G</c:v>
                </c:pt>
                <c:pt idx="59">
                  <c:v>Mini Babybel Aros Soft Cheese Enfant 120G</c:v>
                </c:pt>
                <c:pt idx="60">
                  <c:v>Apericube P'Tits Plaisirs Fromage Fondu Cube 3 Fromages &amp; Jambon Cru Olive Verte 1X78Gr 15P</c:v>
                </c:pt>
                <c:pt idx="61">
                  <c:v>Boursin Classique Fromage Frais A Tartiner Afh Boite 1X80Gr 1P</c:v>
                </c:pt>
                <c:pt idx="62">
                  <c:v>Nurishh Les Tranches Vegetales Cheddar Vegetal Tranche Boite 1X160Gr 8P</c:v>
                </c:pt>
                <c:pt idx="63">
                  <c:v>Nurishh Le Palet Vegetal Specialite Vegetale Ovale Saveur Chevre Boite 1X140Gr 1P</c:v>
                </c:pt>
                <c:pt idx="64">
                  <c:v>Nurishh Les Tranches Vegetales Emmental Vegetal Tranche Boite 1X160Gr 8P</c:v>
                </c:pt>
                <c:pt idx="65">
                  <c:v>Nurishh Le Rape Vegetal Specialite Vegetale Sachet 1X150Gr 1P</c:v>
                </c:pt>
                <c:pt idx="66">
                  <c:v>Nurishh Le Rape Vegetal Specialite Vegetale Emmental Sachet 1X150Gr 1P</c:v>
                </c:pt>
                <c:pt idx="67">
                  <c:v>Nurishh Le Rape Vegetal Mozzarella Vegetale Sachet 1X150Gr 1P</c:v>
                </c:pt>
                <c:pt idx="68">
                  <c:v>Nurishh Le Coeur Fleuri Vegetal Camembert Boite 1X140Gr 1P</c:v>
                </c:pt>
                <c:pt idx="69">
                  <c:v>Boursin Onctueux Fromage Frais A Tartiner Afh 1X210Gr 1P</c:v>
                </c:pt>
                <c:pt idx="70">
                  <c:v>Boursin Classique Fromage Frais A Tartiner 3 Noix Boite 1X150Gr 1P</c:v>
                </c:pt>
                <c:pt idx="71">
                  <c:v>Apericube Jambon Fromage Fondu Cube 1X78Gr 15P</c:v>
                </c:pt>
                <c:pt idx="72">
                  <c:v>Apericube Long Drink Fromage Fondu Cube Assortis 1X125Gr 24P</c:v>
                </c:pt>
                <c:pt idx="73">
                  <c:v>Nurishh Les Tranches Vegetales Specialite Vegetale Tranche Piment Boite 1X120Gr 6P</c:v>
                </c:pt>
                <c:pt idx="74">
                  <c:v>Nurishh Des Vegetaux Feta Vegetale Sachet 1X150Gr 1P</c:v>
                </c:pt>
                <c:pt idx="75">
                  <c:v>Boursin Classique Fromage Frais A Tartiner 3 Noix 1X160Gr 10P</c:v>
                </c:pt>
                <c:pt idx="76">
                  <c:v>La Vache Qui Rit Aro Fromage Fondu Boite Ronde Jambon 1X133Gr 8P</c:v>
                </c:pt>
                <c:pt idx="77">
                  <c:v>Apericube Nature Fromage Fondu Cube 1X250Gr 48P</c:v>
                </c:pt>
                <c:pt idx="78">
                  <c:v>Kiri Delicieusement Fouette Fromage Frais A Tartiner 1X160Gr 10P</c:v>
                </c:pt>
                <c:pt idx="79">
                  <c:v>Mini Babybel Rouge Filet St Paulin Ferme Sachet 1X40Gr 1P</c:v>
                </c:pt>
                <c:pt idx="80">
                  <c:v>Apericube Charcut' Fromages Fromage Fondu Cube Assortis 1X250Gr 48P</c:v>
                </c:pt>
                <c:pt idx="81">
                  <c:v>Kiri Chevre Fromage Blanc Frais Carre 1X144Gr 8P</c:v>
                </c:pt>
                <c:pt idx="82">
                  <c:v>Apericube Selection Du Fromager Fromage Fondu Cube Assortis 1X250Gr 48P</c:v>
                </c:pt>
                <c:pt idx="83">
                  <c:v>Nurishh Le Tartinable Vegetal Specialite Vegetale A Tartiner 1X130Gr 1P</c:v>
                </c:pt>
                <c:pt idx="84">
                  <c:v>Mini Babybel Aros St Paulin Ferme Raclette Filet 1X132Gr 6P</c:v>
                </c:pt>
                <c:pt idx="85">
                  <c:v>Mini Babybel Rouge Filet St Paulin Ferme 1X110Gr 5P</c:v>
                </c:pt>
                <c:pt idx="86">
                  <c:v>La Vache Qui Rit Bio Fromage Fondu Boite Ronde 1X128Gr 8P</c:v>
                </c:pt>
                <c:pt idx="87">
                  <c:v>Apericube Sucre Sale Fromage Fondu Cube Assortis 1X250Gr 48P</c:v>
                </c:pt>
                <c:pt idx="88">
                  <c:v>Limiano Queijo Flamengo Autre Sachet 1X450Gr 1P</c:v>
                </c:pt>
                <c:pt idx="89">
                  <c:v>Mini Babybel Aros St Paulin Ferme Emmental Filet 1X120Gr 6P</c:v>
                </c:pt>
                <c:pt idx="90">
                  <c:v>Mini Babybel Aros St Paulin Ferme Assortis Filet 1X180Gr 9P</c:v>
                </c:pt>
                <c:pt idx="91">
                  <c:v>Boursin Aperitif Roules Fromage Frais Roule Jambon Fume &amp; Trio De Noix Boite 1X100Gr 20P</c:v>
                </c:pt>
                <c:pt idx="92">
                  <c:v>Boursin Vegetal Specialite Vegetale A Tartiner Afh 1X130Gr 1P</c:v>
                </c:pt>
              </c:strCache>
            </c:strRef>
          </c:cat>
          <c:val>
            <c:numRef>
              <c:f>Sheet1!$C$2:$C$94</c:f>
              <c:numCache>
                <c:formatCode>General</c:formatCode>
                <c:ptCount val="93"/>
                <c:pt idx="0">
                  <c:v>7.3611539048197533E-2</c:v>
                </c:pt>
                <c:pt idx="1">
                  <c:v>0.14707190317425967</c:v>
                </c:pt>
                <c:pt idx="2">
                  <c:v>0.21495263084040306</c:v>
                </c:pt>
                <c:pt idx="3">
                  <c:v>0.27519051329549193</c:v>
                </c:pt>
                <c:pt idx="4">
                  <c:v>0.33129295794115632</c:v>
                </c:pt>
                <c:pt idx="5">
                  <c:v>0.37023694719166306</c:v>
                </c:pt>
                <c:pt idx="6">
                  <c:v>0.406499056699684</c:v>
                </c:pt>
                <c:pt idx="7">
                  <c:v>0.44107870936902688</c:v>
                </c:pt>
                <c:pt idx="8">
                  <c:v>0.46880991425350288</c:v>
                </c:pt>
                <c:pt idx="9">
                  <c:v>0.49536108662553641</c:v>
                </c:pt>
                <c:pt idx="10">
                  <c:v>0.52081598648011951</c:v>
                </c:pt>
                <c:pt idx="11">
                  <c:v>0.54273431553400664</c:v>
                </c:pt>
                <c:pt idx="12">
                  <c:v>0.564288780318151</c:v>
                </c:pt>
                <c:pt idx="13">
                  <c:v>0.58514603639904184</c:v>
                </c:pt>
                <c:pt idx="14">
                  <c:v>0.60585422003540434</c:v>
                </c:pt>
                <c:pt idx="15">
                  <c:v>0.62522346454534361</c:v>
                </c:pt>
                <c:pt idx="16">
                  <c:v>0.64344367113208045</c:v>
                </c:pt>
                <c:pt idx="17">
                  <c:v>0.66041717631967267</c:v>
                </c:pt>
                <c:pt idx="18">
                  <c:v>0.67727206107711013</c:v>
                </c:pt>
                <c:pt idx="19">
                  <c:v>0.69362519972689496</c:v>
                </c:pt>
                <c:pt idx="20">
                  <c:v>0.70856187886622746</c:v>
                </c:pt>
                <c:pt idx="21">
                  <c:v>0.72330506224384961</c:v>
                </c:pt>
                <c:pt idx="22">
                  <c:v>0.73777946759705604</c:v>
                </c:pt>
                <c:pt idx="23">
                  <c:v>0.75215247927211415</c:v>
                </c:pt>
                <c:pt idx="24">
                  <c:v>0.76628763969013824</c:v>
                </c:pt>
                <c:pt idx="25">
                  <c:v>0.78039926592333464</c:v>
                </c:pt>
                <c:pt idx="26">
                  <c:v>0.79379123441818245</c:v>
                </c:pt>
                <c:pt idx="27">
                  <c:v>0.806328037101812</c:v>
                </c:pt>
                <c:pt idx="28">
                  <c:v>0.81873672429512578</c:v>
                </c:pt>
                <c:pt idx="29">
                  <c:v>0.83037637943725362</c:v>
                </c:pt>
                <c:pt idx="30">
                  <c:v>0.84057170028517059</c:v>
                </c:pt>
                <c:pt idx="31">
                  <c:v>0.84960652131583358</c:v>
                </c:pt>
                <c:pt idx="32">
                  <c:v>0.85829796027795835</c:v>
                </c:pt>
                <c:pt idx="33">
                  <c:v>0.8666116993112486</c:v>
                </c:pt>
                <c:pt idx="34">
                  <c:v>0.8743652297950375</c:v>
                </c:pt>
                <c:pt idx="35">
                  <c:v>0.88164366816148299</c:v>
                </c:pt>
                <c:pt idx="36">
                  <c:v>0.88872291373012147</c:v>
                </c:pt>
                <c:pt idx="37">
                  <c:v>0.89573894932683074</c:v>
                </c:pt>
                <c:pt idx="38">
                  <c:v>0.90218562042316908</c:v>
                </c:pt>
                <c:pt idx="39">
                  <c:v>0.90840651255324956</c:v>
                </c:pt>
                <c:pt idx="40">
                  <c:v>0.91413610314185445</c:v>
                </c:pt>
                <c:pt idx="41">
                  <c:v>0.9197078722662112</c:v>
                </c:pt>
                <c:pt idx="42">
                  <c:v>0.92501656040224878</c:v>
                </c:pt>
                <c:pt idx="43">
                  <c:v>0.93014870824114937</c:v>
                </c:pt>
                <c:pt idx="44">
                  <c:v>0.93515348663017539</c:v>
                </c:pt>
                <c:pt idx="45">
                  <c:v>0.94012231943430602</c:v>
                </c:pt>
                <c:pt idx="46">
                  <c:v>0.94503533484906144</c:v>
                </c:pt>
                <c:pt idx="47">
                  <c:v>0.94963019792656367</c:v>
                </c:pt>
                <c:pt idx="48">
                  <c:v>0.95346118341411024</c:v>
                </c:pt>
                <c:pt idx="49">
                  <c:v>0.95709596026561472</c:v>
                </c:pt>
                <c:pt idx="50">
                  <c:v>0.96040383576014632</c:v>
                </c:pt>
                <c:pt idx="51">
                  <c:v>0.9636232037296053</c:v>
                </c:pt>
                <c:pt idx="52">
                  <c:v>0.96663327344437167</c:v>
                </c:pt>
                <c:pt idx="53">
                  <c:v>0.96953279353012023</c:v>
                </c:pt>
                <c:pt idx="54">
                  <c:v>0.97180577528895673</c:v>
                </c:pt>
                <c:pt idx="55">
                  <c:v>0.97392866727539051</c:v>
                </c:pt>
                <c:pt idx="56">
                  <c:v>0.97590330067959541</c:v>
                </c:pt>
                <c:pt idx="57">
                  <c:v>0.97782605036220605</c:v>
                </c:pt>
                <c:pt idx="58">
                  <c:v>0.97959342016746709</c:v>
                </c:pt>
                <c:pt idx="59">
                  <c:v>0.9813012423811468</c:v>
                </c:pt>
                <c:pt idx="60">
                  <c:v>0.98289709070678455</c:v>
                </c:pt>
                <c:pt idx="61">
                  <c:v>0.98436387403609038</c:v>
                </c:pt>
                <c:pt idx="62">
                  <c:v>0.9857998662417311</c:v>
                </c:pt>
                <c:pt idx="63">
                  <c:v>0.98723253517631548</c:v>
                </c:pt>
                <c:pt idx="64">
                  <c:v>0.98863936398289021</c:v>
                </c:pt>
                <c:pt idx="65">
                  <c:v>0.98998128727107837</c:v>
                </c:pt>
                <c:pt idx="66">
                  <c:v>0.99119712972469953</c:v>
                </c:pt>
                <c:pt idx="67">
                  <c:v>0.99218088577924157</c:v>
                </c:pt>
                <c:pt idx="68">
                  <c:v>0.99307111549119742</c:v>
                </c:pt>
                <c:pt idx="69">
                  <c:v>0.99395123974626753</c:v>
                </c:pt>
                <c:pt idx="70">
                  <c:v>0.99477629265240364</c:v>
                </c:pt>
                <c:pt idx="71">
                  <c:v>0.99554980094623691</c:v>
                </c:pt>
                <c:pt idx="72">
                  <c:v>0.99631747656025704</c:v>
                </c:pt>
                <c:pt idx="73">
                  <c:v>0.99694557478990986</c:v>
                </c:pt>
                <c:pt idx="74">
                  <c:v>0.99754376358005536</c:v>
                </c:pt>
                <c:pt idx="75">
                  <c:v>0.99806422852059695</c:v>
                </c:pt>
                <c:pt idx="76">
                  <c:v>0.99854895134181809</c:v>
                </c:pt>
                <c:pt idx="77">
                  <c:v>0.99886378040801482</c:v>
                </c:pt>
                <c:pt idx="78">
                  <c:v>0.99909186531745464</c:v>
                </c:pt>
                <c:pt idx="79">
                  <c:v>0.99930652149895249</c:v>
                </c:pt>
                <c:pt idx="80">
                  <c:v>0.99943497609855969</c:v>
                </c:pt>
                <c:pt idx="81">
                  <c:v>0.99952884155043742</c:v>
                </c:pt>
                <c:pt idx="82">
                  <c:v>0.99961985848426682</c:v>
                </c:pt>
                <c:pt idx="83">
                  <c:v>0.99969744669015415</c:v>
                </c:pt>
                <c:pt idx="84">
                  <c:v>0.99976784577906241</c:v>
                </c:pt>
                <c:pt idx="85">
                  <c:v>0.99983539634992236</c:v>
                </c:pt>
                <c:pt idx="86">
                  <c:v>0.9999013191961833</c:v>
                </c:pt>
                <c:pt idx="87">
                  <c:v>0.99995049004344583</c:v>
                </c:pt>
                <c:pt idx="88">
                  <c:v>0.99996683511129447</c:v>
                </c:pt>
                <c:pt idx="89">
                  <c:v>0.99998236631684356</c:v>
                </c:pt>
                <c:pt idx="90">
                  <c:v>0.99999064058355536</c:v>
                </c:pt>
                <c:pt idx="91">
                  <c:v>0.99999911831584198</c:v>
                </c:pt>
                <c:pt idx="92">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4</c:f>
              <c:strCache>
                <c:ptCount val="93"/>
                <c:pt idx="0">
                  <c:v>La Vache Qui Rit Nature Fromage Fondu Boite Ronde 1X384Gr 24P</c:v>
                </c:pt>
                <c:pt idx="1">
                  <c:v>La Vache Qui Rit Nature Fromage Fondu Boite Ronde 1X512Gr 32P</c:v>
                </c:pt>
                <c:pt idx="2">
                  <c:v>Kiri Creme Fromage Blanc Frais Carre 1X432Gr 24P</c:v>
                </c:pt>
                <c:pt idx="3">
                  <c:v>Mini Babybel Rouge Filet Soft Cheese Enfant 484G</c:v>
                </c:pt>
                <c:pt idx="4">
                  <c:v>Mini Babybel Rouge Filet St Paulin Ferme 1X264Gr 12P</c:v>
                </c:pt>
                <c:pt idx="5">
                  <c:v>Mini Babybel Rouge Filet St Paulin Ferme 1X132Gr 6P</c:v>
                </c:pt>
                <c:pt idx="6">
                  <c:v>Kiri Gouter Fromage Blanc Dips Boite 1X175Gr 5P</c:v>
                </c:pt>
                <c:pt idx="7">
                  <c:v>Mini Babybel Rouge Filet Soft Cheese Enfant 352G</c:v>
                </c:pt>
                <c:pt idx="8">
                  <c:v>Kiri Creme Fromage Blanc Frais Carre 1X216Gr 12P</c:v>
                </c:pt>
                <c:pt idx="9">
                  <c:v>La Vache Qui Rit Nature Fromage Fondu Boite Ronde 1X192Gr 12P</c:v>
                </c:pt>
                <c:pt idx="10">
                  <c:v>Apericube Edition Limitee Best Of Foot Fromage Fondu Cube Assortis 1X250Gr 48P</c:v>
                </c:pt>
                <c:pt idx="11">
                  <c:v>Apericube Cocktail Fromage Fondu Cube Assortis 1X250Gr 48P</c:v>
                </c:pt>
                <c:pt idx="12">
                  <c:v>Boursin Classique Fromage Frais A Tartiner Afh 1X160Gr 10P</c:v>
                </c:pt>
                <c:pt idx="13">
                  <c:v>La Vache Qui Rit Nature Fromage Fondu Boite Ronde 1X512Gr 24+8P</c:v>
                </c:pt>
                <c:pt idx="14">
                  <c:v>Kiri Creme Fromage Blanc Frais Carre 1X432Gr 18+6P</c:v>
                </c:pt>
                <c:pt idx="15">
                  <c:v>Apericube Long Drink Fromage Fondu Cube Assortis 1X250Gr 48P</c:v>
                </c:pt>
                <c:pt idx="16">
                  <c:v>Kiri Creme Fromage Blanc Frais Carre 1X144Gr 8P</c:v>
                </c:pt>
                <c:pt idx="17">
                  <c:v>Kiri Gouter Fromage Blanc Dips Boite 1X280Gr 8P</c:v>
                </c:pt>
                <c:pt idx="18">
                  <c:v>Boursin Classique Fromage Frais A Tartiner Afh Boite 1X250Gr 1P</c:v>
                </c:pt>
                <c:pt idx="19">
                  <c:v>La Vache Qui Rit Pik Et Croq' Fromage Fondu Dips Boite 1X175Gr 5P</c:v>
                </c:pt>
                <c:pt idx="20">
                  <c:v>Boursin Salade &amp; Aperitif Fromage Frais Des Afh 1X120Gr 1P</c:v>
                </c:pt>
                <c:pt idx="21">
                  <c:v>Boursin Classique Fromage Frais A Tartiner Afh Boite 1X150Gr 1P</c:v>
                </c:pt>
                <c:pt idx="22">
                  <c:v>Apericube Incontournable Fromage Fondu Cube Assortis 1X250Gr 48P</c:v>
                </c:pt>
                <c:pt idx="23">
                  <c:v>Boursin Aperitif Roules Fromage Frais Roule Afh Et Jambon Fume Boite 1X100Gr 20P</c:v>
                </c:pt>
                <c:pt idx="24">
                  <c:v>Apericube Tonic Fromage Fondu Cube Assortis 1X250Gr 48P</c:v>
                </c:pt>
                <c:pt idx="25">
                  <c:v>Mini Babybel Rouge Filet St Paulin Ferme 1X396Gr 12+6P</c:v>
                </c:pt>
                <c:pt idx="26">
                  <c:v>Apericube Nature Fromage Fondu Cube 1X125Gr 24P</c:v>
                </c:pt>
                <c:pt idx="27">
                  <c:v>La Vache Qui Rit Nature Fromage Fondu Boite Ronde 1X128Gr 8P</c:v>
                </c:pt>
                <c:pt idx="28">
                  <c:v>Apericube Soiree Match Aperitif 250G</c:v>
                </c:pt>
                <c:pt idx="29">
                  <c:v>Apericube Edition Voyage Fromage Fondu Cube Assortis 1X250Gr 48P</c:v>
                </c:pt>
                <c:pt idx="30">
                  <c:v>Apericube Edition Limitee Saison Fromage Fondu Cube Assortis 1X250Gr 48P</c:v>
                </c:pt>
                <c:pt idx="31">
                  <c:v>Apericube Campagne Fromage Fondu Cube Assortis 1X125Gr 24P</c:v>
                </c:pt>
                <c:pt idx="32">
                  <c:v>Apericube Hot Chalenge Aperitif 250G</c:v>
                </c:pt>
                <c:pt idx="33">
                  <c:v>Mini Babybel Aros Soft Cheese Enfant 180G</c:v>
                </c:pt>
                <c:pt idx="34">
                  <c:v>La Vache Qui Rit Pik Et Croq' Fromage Fondu Dips Boite 1X280Gr 8P</c:v>
                </c:pt>
                <c:pt idx="35">
                  <c:v>Boursin Classique Fromage Frais A Tartiner Afh Boite 1X96Gr 6P</c:v>
                </c:pt>
                <c:pt idx="36">
                  <c:v>Boursin Aperitif Roules Fromage Frais Roule Ciboulette &amp; Echalote Jambon Fume Boite 1X100Gr 20P</c:v>
                </c:pt>
                <c:pt idx="37">
                  <c:v>Boursin Salade &amp; Aperitif Fromage Frais Des Ciboulette Echalote 1X120Gr 1P</c:v>
                </c:pt>
                <c:pt idx="38">
                  <c:v>Kiri Delicieusement Fouette Fromage Frais A Tartiner 1X210Gr 1P</c:v>
                </c:pt>
                <c:pt idx="39">
                  <c:v>Apericube Best Of Des Saveurs Fromage Fondu Cube Assortis 1X125Gr 24P</c:v>
                </c:pt>
                <c:pt idx="40">
                  <c:v>Mini Babybel Aros Soft Cheese Enfant 110G</c:v>
                </c:pt>
                <c:pt idx="41">
                  <c:v>Apericube Fromages Du Monde Aperitif 250G</c:v>
                </c:pt>
                <c:pt idx="42">
                  <c:v>Boursin Salade &amp; Aperitif Fromage Frais Des Figue Noix 1X120Gr 1P</c:v>
                </c:pt>
                <c:pt idx="43">
                  <c:v>Boursin Classique Fromage Frais A Tartiner Figue Et 3 Noix Boite 1X150Gr 1P</c:v>
                </c:pt>
                <c:pt idx="44">
                  <c:v>Boursin Onctueux Fromage Frais A Tartiner Afh 1X125Gr 1P</c:v>
                </c:pt>
                <c:pt idx="45">
                  <c:v>Babybel Mini Rolls St Paulin Ferme Sachet 1X85Gr 5P</c:v>
                </c:pt>
                <c:pt idx="46">
                  <c:v>Boursin Classique Fromage Frais A Tartiner Ciboulette &amp; Echalote Boite 1X150Gr 1P</c:v>
                </c:pt>
                <c:pt idx="47">
                  <c:v>La Vache Qui Rit Allegee Fromage Fondu Boite Ronde Allege 1X267Gr 16P</c:v>
                </c:pt>
                <c:pt idx="48">
                  <c:v>Boursin Classique Fromage Frais A Tartiner Poivre Boite 1X150Gr 1P</c:v>
                </c:pt>
                <c:pt idx="49">
                  <c:v>Kiri Delicieusement Fouette Fromage Frais A Tartiner 1X125Gr 1P</c:v>
                </c:pt>
                <c:pt idx="50">
                  <c:v>Boursin Salade &amp; Aperitif Soft Cheese Salade 120G</c:v>
                </c:pt>
                <c:pt idx="51">
                  <c:v>Apericube Carrement Toque Fromage Fondu Cube Assortis 1X250Gr 48P</c:v>
                </c:pt>
                <c:pt idx="52">
                  <c:v>Boursin Salade &amp; Aperitif Fromage Frais Des Citron Romarin 1X120Gr 1P</c:v>
                </c:pt>
                <c:pt idx="53">
                  <c:v>Apericube Montagne Aperitif 250G</c:v>
                </c:pt>
                <c:pt idx="54">
                  <c:v>Boursin Classique Fromage Frais A Tartiner Afh 1X256Gr 16P</c:v>
                </c:pt>
                <c:pt idx="55">
                  <c:v>Boursin Aperitif Roules Aperitif 100G</c:v>
                </c:pt>
                <c:pt idx="56">
                  <c:v>Kiri Bio Fromage Blanc Frais Carre 1X144Gr 8P</c:v>
                </c:pt>
                <c:pt idx="57">
                  <c:v>Boursin Classique Fromage Frais A Tartiner Afh Boite 1X320Gr 16+4P</c:v>
                </c:pt>
                <c:pt idx="58">
                  <c:v>Boursin Vegetal Alternative Vegetale 150G</c:v>
                </c:pt>
                <c:pt idx="59">
                  <c:v>Mini Babybel Aros Soft Cheese Enfant 120G</c:v>
                </c:pt>
                <c:pt idx="60">
                  <c:v>Apericube P'Tits Plaisirs Fromage Fondu Cube 3 Fromages &amp; Jambon Cru Olive Verte 1X78Gr 15P</c:v>
                </c:pt>
                <c:pt idx="61">
                  <c:v>Boursin Classique Fromage Frais A Tartiner Afh Boite 1X80Gr 1P</c:v>
                </c:pt>
                <c:pt idx="62">
                  <c:v>Nurishh Les Tranches Vegetales Cheddar Vegetal Tranche Boite 1X160Gr 8P</c:v>
                </c:pt>
                <c:pt idx="63">
                  <c:v>Nurishh Le Palet Vegetal Specialite Vegetale Ovale Saveur Chevre Boite 1X140Gr 1P</c:v>
                </c:pt>
                <c:pt idx="64">
                  <c:v>Nurishh Les Tranches Vegetales Emmental Vegetal Tranche Boite 1X160Gr 8P</c:v>
                </c:pt>
                <c:pt idx="65">
                  <c:v>Nurishh Le Rape Vegetal Specialite Vegetale Sachet 1X150Gr 1P</c:v>
                </c:pt>
                <c:pt idx="66">
                  <c:v>Nurishh Le Rape Vegetal Specialite Vegetale Emmental Sachet 1X150Gr 1P</c:v>
                </c:pt>
                <c:pt idx="67">
                  <c:v>Nurishh Le Rape Vegetal Mozzarella Vegetale Sachet 1X150Gr 1P</c:v>
                </c:pt>
                <c:pt idx="68">
                  <c:v>Nurishh Le Coeur Fleuri Vegetal Camembert Boite 1X140Gr 1P</c:v>
                </c:pt>
                <c:pt idx="69">
                  <c:v>Boursin Onctueux Fromage Frais A Tartiner Afh 1X210Gr 1P</c:v>
                </c:pt>
                <c:pt idx="70">
                  <c:v>Boursin Classique Fromage Frais A Tartiner 3 Noix Boite 1X150Gr 1P</c:v>
                </c:pt>
                <c:pt idx="71">
                  <c:v>Apericube Jambon Fromage Fondu Cube 1X78Gr 15P</c:v>
                </c:pt>
                <c:pt idx="72">
                  <c:v>Apericube Long Drink Fromage Fondu Cube Assortis 1X125Gr 24P</c:v>
                </c:pt>
                <c:pt idx="73">
                  <c:v>Nurishh Les Tranches Vegetales Specialite Vegetale Tranche Piment Boite 1X120Gr 6P</c:v>
                </c:pt>
                <c:pt idx="74">
                  <c:v>Nurishh Des Vegetaux Feta Vegetale Sachet 1X150Gr 1P</c:v>
                </c:pt>
                <c:pt idx="75">
                  <c:v>Boursin Classique Fromage Frais A Tartiner 3 Noix 1X160Gr 10P</c:v>
                </c:pt>
                <c:pt idx="76">
                  <c:v>La Vache Qui Rit Aro Fromage Fondu Boite Ronde Jambon 1X133Gr 8P</c:v>
                </c:pt>
                <c:pt idx="77">
                  <c:v>Apericube Nature Fromage Fondu Cube 1X250Gr 48P</c:v>
                </c:pt>
                <c:pt idx="78">
                  <c:v>Kiri Delicieusement Fouette Fromage Frais A Tartiner 1X160Gr 10P</c:v>
                </c:pt>
                <c:pt idx="79">
                  <c:v>Mini Babybel Rouge Filet St Paulin Ferme Sachet 1X40Gr 1P</c:v>
                </c:pt>
                <c:pt idx="80">
                  <c:v>Apericube Charcut' Fromages Fromage Fondu Cube Assortis 1X250Gr 48P</c:v>
                </c:pt>
                <c:pt idx="81">
                  <c:v>Kiri Chevre Fromage Blanc Frais Carre 1X144Gr 8P</c:v>
                </c:pt>
                <c:pt idx="82">
                  <c:v>Apericube Selection Du Fromager Fromage Fondu Cube Assortis 1X250Gr 48P</c:v>
                </c:pt>
                <c:pt idx="83">
                  <c:v>Nurishh Le Tartinable Vegetal Specialite Vegetale A Tartiner 1X130Gr 1P</c:v>
                </c:pt>
                <c:pt idx="84">
                  <c:v>Mini Babybel Aros St Paulin Ferme Raclette Filet 1X132Gr 6P</c:v>
                </c:pt>
                <c:pt idx="85">
                  <c:v>Mini Babybel Rouge Filet St Paulin Ferme 1X110Gr 5P</c:v>
                </c:pt>
                <c:pt idx="86">
                  <c:v>La Vache Qui Rit Bio Fromage Fondu Boite Ronde 1X128Gr 8P</c:v>
                </c:pt>
                <c:pt idx="87">
                  <c:v>Apericube Sucre Sale Fromage Fondu Cube Assortis 1X250Gr 48P</c:v>
                </c:pt>
                <c:pt idx="88">
                  <c:v>Limiano Queijo Flamengo Autre Sachet 1X450Gr 1P</c:v>
                </c:pt>
                <c:pt idx="89">
                  <c:v>Mini Babybel Aros St Paulin Ferme Emmental Filet 1X120Gr 6P</c:v>
                </c:pt>
                <c:pt idx="90">
                  <c:v>Mini Babybel Aros St Paulin Ferme Assortis Filet 1X180Gr 9P</c:v>
                </c:pt>
                <c:pt idx="91">
                  <c:v>Boursin Aperitif Roules Fromage Frais Roule Jambon Fume &amp; Trio De Noix Boite 1X100Gr 20P</c:v>
                </c:pt>
                <c:pt idx="92">
                  <c:v>Boursin Vegetal Specialite Vegetale A Tartiner Afh 1X130Gr 1P</c:v>
                </c:pt>
              </c:strCache>
            </c:strRef>
          </c:cat>
          <c:val>
            <c:numRef>
              <c:f>Sheet1!$D$2:$D$94</c:f>
              <c:numCache>
                <c:formatCode>General</c:formatCode>
                <c:ptCount val="93"/>
                <c:pt idx="0">
                  <c:v>11075.163265306122</c:v>
                </c:pt>
                <c:pt idx="1">
                  <c:v>11052.418367346938</c:v>
                </c:pt>
                <c:pt idx="2">
                  <c:v>10212.938775510203</c:v>
                </c:pt>
                <c:pt idx="3">
                  <c:v>9156.4742268041246</c:v>
                </c:pt>
                <c:pt idx="4">
                  <c:v>8272.0300000000007</c:v>
                </c:pt>
                <c:pt idx="5">
                  <c:v>5742.1</c:v>
                </c:pt>
                <c:pt idx="6">
                  <c:v>5346.67</c:v>
                </c:pt>
                <c:pt idx="7">
                  <c:v>5150.1010101010097</c:v>
                </c:pt>
                <c:pt idx="8">
                  <c:v>4088.83</c:v>
                </c:pt>
                <c:pt idx="9">
                  <c:v>3914.84</c:v>
                </c:pt>
                <c:pt idx="10">
                  <c:v>3753.2</c:v>
                </c:pt>
                <c:pt idx="11">
                  <c:v>3264.3939393939395</c:v>
                </c:pt>
                <c:pt idx="12">
                  <c:v>3178.1</c:v>
                </c:pt>
                <c:pt idx="13">
                  <c:v>3306.7741935483873</c:v>
                </c:pt>
                <c:pt idx="14">
                  <c:v>3115.6326530612246</c:v>
                </c:pt>
                <c:pt idx="15">
                  <c:v>2884.7474747474748</c:v>
                </c:pt>
                <c:pt idx="16">
                  <c:v>2686.48</c:v>
                </c:pt>
                <c:pt idx="17">
                  <c:v>2553.7346938775509</c:v>
                </c:pt>
                <c:pt idx="18">
                  <c:v>2485.17</c:v>
                </c:pt>
                <c:pt idx="19">
                  <c:v>2411.19</c:v>
                </c:pt>
                <c:pt idx="20">
                  <c:v>2202.34</c:v>
                </c:pt>
                <c:pt idx="21">
                  <c:v>2173.81</c:v>
                </c:pt>
                <c:pt idx="22">
                  <c:v>2200.1855670103091</c:v>
                </c:pt>
                <c:pt idx="23">
                  <c:v>2140.6363636363635</c:v>
                </c:pt>
                <c:pt idx="24">
                  <c:v>2241.0322580645161</c:v>
                </c:pt>
                <c:pt idx="25">
                  <c:v>2286.4725274725274</c:v>
                </c:pt>
                <c:pt idx="26">
                  <c:v>1974.58</c:v>
                </c:pt>
                <c:pt idx="27">
                  <c:v>1987.6236559139784</c:v>
                </c:pt>
                <c:pt idx="28">
                  <c:v>1886.1855670103093</c:v>
                </c:pt>
                <c:pt idx="29">
                  <c:v>1928.3258426966293</c:v>
                </c:pt>
                <c:pt idx="30">
                  <c:v>1565.8854166666667</c:v>
                </c:pt>
                <c:pt idx="31">
                  <c:v>1359.3265306122448</c:v>
                </c:pt>
                <c:pt idx="32">
                  <c:v>1334.90625</c:v>
                </c:pt>
                <c:pt idx="33">
                  <c:v>1276.8958333333333</c:v>
                </c:pt>
                <c:pt idx="34">
                  <c:v>1229.2688172043011</c:v>
                </c:pt>
                <c:pt idx="35">
                  <c:v>1073.17</c:v>
                </c:pt>
                <c:pt idx="36">
                  <c:v>1159.7777777777778</c:v>
                </c:pt>
                <c:pt idx="37">
                  <c:v>1044.9292929292928</c:v>
                </c:pt>
                <c:pt idx="38">
                  <c:v>990.13541666666663</c:v>
                </c:pt>
                <c:pt idx="39">
                  <c:v>945.60824742268039</c:v>
                </c:pt>
                <c:pt idx="40">
                  <c:v>898.72340425531911</c:v>
                </c:pt>
                <c:pt idx="41">
                  <c:v>1157.0845070422536</c:v>
                </c:pt>
                <c:pt idx="42">
                  <c:v>790.64646464646466</c:v>
                </c:pt>
                <c:pt idx="43">
                  <c:v>805.01063829787233</c:v>
                </c:pt>
                <c:pt idx="44">
                  <c:v>745.38383838383834</c:v>
                </c:pt>
                <c:pt idx="45">
                  <c:v>796.33695652173913</c:v>
                </c:pt>
                <c:pt idx="46">
                  <c:v>746.80412371134025</c:v>
                </c:pt>
                <c:pt idx="47">
                  <c:v>806.53571428571433</c:v>
                </c:pt>
                <c:pt idx="48">
                  <c:v>641.88636363636363</c:v>
                </c:pt>
                <c:pt idx="49">
                  <c:v>546.86734693877554</c:v>
                </c:pt>
                <c:pt idx="50">
                  <c:v>518.86170212765956</c:v>
                </c:pt>
                <c:pt idx="51">
                  <c:v>489.36082474226805</c:v>
                </c:pt>
                <c:pt idx="52">
                  <c:v>477.22580645161293</c:v>
                </c:pt>
                <c:pt idx="53">
                  <c:v>791.7037037037037</c:v>
                </c:pt>
                <c:pt idx="54">
                  <c:v>632.33962264150944</c:v>
                </c:pt>
                <c:pt idx="55">
                  <c:v>590.58490566037733</c:v>
                </c:pt>
                <c:pt idx="56">
                  <c:v>539.16666666666663</c:v>
                </c:pt>
                <c:pt idx="57">
                  <c:v>333.52941176470586</c:v>
                </c:pt>
                <c:pt idx="58">
                  <c:v>329.86075949367091</c:v>
                </c:pt>
                <c:pt idx="59">
                  <c:v>370.30882352941177</c:v>
                </c:pt>
                <c:pt idx="60">
                  <c:v>313.73333333333335</c:v>
                </c:pt>
                <c:pt idx="61">
                  <c:v>280.87012987012986</c:v>
                </c:pt>
                <c:pt idx="62">
                  <c:v>282.30666666666667</c:v>
                </c:pt>
                <c:pt idx="63">
                  <c:v>320.06060606060606</c:v>
                </c:pt>
                <c:pt idx="64">
                  <c:v>292.15492957746477</c:v>
                </c:pt>
                <c:pt idx="65">
                  <c:v>274.80555555555554</c:v>
                </c:pt>
                <c:pt idx="66">
                  <c:v>232.81818181818181</c:v>
                </c:pt>
                <c:pt idx="67">
                  <c:v>219.77272727272728</c:v>
                </c:pt>
                <c:pt idx="68">
                  <c:v>243.07407407407408</c:v>
                </c:pt>
                <c:pt idx="69">
                  <c:v>219.94915254237287</c:v>
                </c:pt>
                <c:pt idx="70">
                  <c:v>181.56716417910448</c:v>
                </c:pt>
                <c:pt idx="71">
                  <c:v>1629.285714285714</c:v>
                </c:pt>
                <c:pt idx="72">
                  <c:v>124.38461538461539</c:v>
                </c:pt>
                <c:pt idx="73">
                  <c:v>162.47368421052633</c:v>
                </c:pt>
                <c:pt idx="74">
                  <c:v>157.49999999999997</c:v>
                </c:pt>
                <c:pt idx="75">
                  <c:v>156.61224489795919</c:v>
                </c:pt>
                <c:pt idx="76">
                  <c:v>1191.1666666666667</c:v>
                </c:pt>
                <c:pt idx="77">
                  <c:v>201.82608695652175</c:v>
                </c:pt>
                <c:pt idx="78">
                  <c:v>60.053571428571423</c:v>
                </c:pt>
                <c:pt idx="79">
                  <c:v>150.71428571428572</c:v>
                </c:pt>
                <c:pt idx="80">
                  <c:v>118.375</c:v>
                </c:pt>
                <c:pt idx="81">
                  <c:v>92.266666666666666</c:v>
                </c:pt>
                <c:pt idx="82">
                  <c:v>111.83333333333333</c:v>
                </c:pt>
                <c:pt idx="83">
                  <c:v>33.647058823529413</c:v>
                </c:pt>
                <c:pt idx="84">
                  <c:v>27.315789473684209</c:v>
                </c:pt>
                <c:pt idx="85">
                  <c:v>249</c:v>
                </c:pt>
                <c:pt idx="86">
                  <c:v>51.157894736842103</c:v>
                </c:pt>
                <c:pt idx="87">
                  <c:v>65.909090909090907</c:v>
                </c:pt>
                <c:pt idx="88">
                  <c:v>241</c:v>
                </c:pt>
                <c:pt idx="89">
                  <c:v>32.714285714285708</c:v>
                </c:pt>
                <c:pt idx="90">
                  <c:v>30.5</c:v>
                </c:pt>
                <c:pt idx="91">
                  <c:v>17</c:v>
                </c:pt>
                <c:pt idx="92">
                  <c:v>1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9</c:f>
              <c:strCache>
                <c:ptCount val="78"/>
                <c:pt idx="0">
                  <c:v>Mini Babybel Rouge Filet St Paulin Ferme 1X264Gr 12P</c:v>
                </c:pt>
                <c:pt idx="1">
                  <c:v>Mini Babybel Rouge Filet Soft Cheese Enfant 352G</c:v>
                </c:pt>
                <c:pt idx="2">
                  <c:v>Apericube Edition Limitee Best Of Foot Fromage Fondu Cube Assortis 1X250Gr 48P</c:v>
                </c:pt>
                <c:pt idx="3">
                  <c:v>La Vache Qui Rit Nature Fromage Fondu Boite Ronde 1X512Gr 32P</c:v>
                </c:pt>
                <c:pt idx="4">
                  <c:v>Apericube Cocktail Fromage Fondu Cube Assortis 1X250Gr 48P</c:v>
                </c:pt>
                <c:pt idx="5">
                  <c:v>Mini Babybel Rouge Filet St Paulin Ferme 1X132Gr 6P</c:v>
                </c:pt>
                <c:pt idx="6">
                  <c:v>La Vache Qui Rit Nature Fromage Fondu Boite Ronde 1X384Gr 24P</c:v>
                </c:pt>
                <c:pt idx="7">
                  <c:v>La Vache Qui Rit Nature Fromage Fondu Boite Ronde 1X192Gr 12P</c:v>
                </c:pt>
                <c:pt idx="8">
                  <c:v>Apericube Long Drink Fromage Fondu Cube Assortis 1X250Gr 48P</c:v>
                </c:pt>
                <c:pt idx="9">
                  <c:v>Kiri Creme Fromage Blanc Frais Carre 1X432Gr 24P</c:v>
                </c:pt>
                <c:pt idx="10">
                  <c:v>Kiri Creme Fromage Blanc Frais Carre 1X216Gr 12P</c:v>
                </c:pt>
                <c:pt idx="11">
                  <c:v>Kiri Creme Fromage Blanc Frais Carre 1X144Gr 8P</c:v>
                </c:pt>
                <c:pt idx="12">
                  <c:v>Kiri Gouter Fromage Blanc Dips Boite 1X175Gr 5P</c:v>
                </c:pt>
                <c:pt idx="13">
                  <c:v>La Vache Qui Rit Nature Fromage Fondu Boite Ronde 1X512Gr 24+8P</c:v>
                </c:pt>
                <c:pt idx="14">
                  <c:v>Boursin Salade &amp; Aperitif Fromage Frais Des Afh 1X120Gr 1P</c:v>
                </c:pt>
                <c:pt idx="15">
                  <c:v>Boursin Classique Fromage Frais A Tartiner Afh 1X160Gr 10P</c:v>
                </c:pt>
                <c:pt idx="16">
                  <c:v>Boursin Classique Fromage Frais A Tartiner Afh Boite 1X150Gr 1P</c:v>
                </c:pt>
                <c:pt idx="17">
                  <c:v>Apericube Tonic Fromage Fondu Cube Assortis 1X250Gr 48P</c:v>
                </c:pt>
                <c:pt idx="18">
                  <c:v>Boursin Aperitif Roules Fromage Frais Roule Afh Et Jambon Fume Boite 1X100Gr 20P</c:v>
                </c:pt>
                <c:pt idx="19">
                  <c:v>Boursin Classique Fromage Frais A Tartiner Afh Boite 1X250Gr 1P</c:v>
                </c:pt>
                <c:pt idx="20">
                  <c:v>Apericube Soiree Match Aperitif 250G</c:v>
                </c:pt>
                <c:pt idx="21">
                  <c:v>Apericube Nature Fromage Fondu Cube 1X125Gr 24P</c:v>
                </c:pt>
                <c:pt idx="22">
                  <c:v>Apericube Edition Limitee Saison Fromage Fondu Cube Assortis 1X250Gr 48P</c:v>
                </c:pt>
                <c:pt idx="23">
                  <c:v>Kiri Gouter Fromage Blanc Dips Boite 1X280Gr 8P</c:v>
                </c:pt>
                <c:pt idx="24">
                  <c:v>La Vache Qui Rit Pik Et Croq' Fromage Fondu Dips Boite 1X175Gr 5P</c:v>
                </c:pt>
                <c:pt idx="25">
                  <c:v>Kiri Creme Fromage Blanc Frais Carre 1X432Gr 18+6P</c:v>
                </c:pt>
                <c:pt idx="26">
                  <c:v>La Vache Qui Rit Nature Fromage Fondu Boite Ronde 1X128Gr 8P</c:v>
                </c:pt>
                <c:pt idx="27">
                  <c:v>Boursin Aperitif Roules Fromage Frais Roule Ciboulette &amp; Echalote Jambon Fume Boite 1X100Gr 20P</c:v>
                </c:pt>
                <c:pt idx="28">
                  <c:v>Apericube Campagne Fromage Fondu Cube Assortis 1X125Gr 24P</c:v>
                </c:pt>
                <c:pt idx="29">
                  <c:v>Boursin Classique Fromage Frais A Tartiner Afh Boite 1X96Gr 6P</c:v>
                </c:pt>
                <c:pt idx="30">
                  <c:v>Boursin Onctueux Fromage Frais A Tartiner Afh 1X125Gr 1P</c:v>
                </c:pt>
                <c:pt idx="31">
                  <c:v>Boursin Salade &amp; Aperitif Fromage Frais Des Figue Noix 1X120Gr 1P</c:v>
                </c:pt>
                <c:pt idx="32">
                  <c:v>Mini Babybel Aros Soft Cheese Enfant 180G</c:v>
                </c:pt>
                <c:pt idx="33">
                  <c:v>Boursin Classique Fromage Frais A Tartiner Ciboulette &amp; Echalote Boite 1X150Gr 1P</c:v>
                </c:pt>
                <c:pt idx="34">
                  <c:v>Apericube Best Of Des Saveurs Fromage Fondu Cube Assortis 1X125Gr 24P</c:v>
                </c:pt>
                <c:pt idx="35">
                  <c:v>Apericube Edition Voyage Fromage Fondu Cube Assortis 1X250Gr 48P</c:v>
                </c:pt>
                <c:pt idx="36">
                  <c:v>Boursin Salade &amp; Aperitif Fromage Frais Des Ciboulette Echalote 1X120Gr 1P</c:v>
                </c:pt>
                <c:pt idx="37">
                  <c:v>Boursin Classique Fromage Frais A Tartiner Figue Et 3 Noix Boite 1X150Gr 1P</c:v>
                </c:pt>
                <c:pt idx="38">
                  <c:v>Boursin Salade &amp; Aperitif Soft Cheese Salade 120G</c:v>
                </c:pt>
                <c:pt idx="39">
                  <c:v>Boursin Salade &amp; Aperitif Fromage Frais Des Citron Romarin 1X120Gr 1P</c:v>
                </c:pt>
                <c:pt idx="40">
                  <c:v>Mini Babybel Aros Soft Cheese Enfant 110G</c:v>
                </c:pt>
                <c:pt idx="41">
                  <c:v>Babybel Mini Rolls St Paulin Ferme Sachet 1X85Gr 5P</c:v>
                </c:pt>
                <c:pt idx="42">
                  <c:v>Kiri Bio Fromage Blanc Frais Carre 1X144Gr 8P</c:v>
                </c:pt>
                <c:pt idx="43">
                  <c:v>Kiri Delicieusement Fouette Fromage Frais A Tartiner 1X125Gr 1P</c:v>
                </c:pt>
                <c:pt idx="44">
                  <c:v>Kiri Delicieusement Fouette Fromage Frais A Tartiner 1X210Gr 1P</c:v>
                </c:pt>
                <c:pt idx="45">
                  <c:v>La Vache Qui Rit Allegee Fromage Fondu Boite Ronde Allege 1X267Gr 16P</c:v>
                </c:pt>
                <c:pt idx="46">
                  <c:v>Boursin Aperitif Roules Aperitif 100G</c:v>
                </c:pt>
                <c:pt idx="47">
                  <c:v>Apericube Incontournable Fromage Fondu Cube Assortis 1X250Gr 48P</c:v>
                </c:pt>
                <c:pt idx="48">
                  <c:v>Boursin Vegetal Alternative Vegetale 150G</c:v>
                </c:pt>
                <c:pt idx="49">
                  <c:v>Apericube Hot Chalenge Aperitif 250G</c:v>
                </c:pt>
                <c:pt idx="50">
                  <c:v>Nurishh Les Tranches Vegetales Cheddar Vegetal Tranche Boite 1X160Gr 8P</c:v>
                </c:pt>
                <c:pt idx="51">
                  <c:v>Nurishh Le Rape Vegetal Specialite Vegetale Sachet 1X150Gr 1P</c:v>
                </c:pt>
                <c:pt idx="52">
                  <c:v>Apericube Jambon Fromage Fondu Cube 1X78Gr 15P</c:v>
                </c:pt>
                <c:pt idx="53">
                  <c:v>Nurishh Les Tranches Vegetales Emmental Vegetal Tranche Boite 1X160Gr 8P</c:v>
                </c:pt>
                <c:pt idx="54">
                  <c:v>Apericube Fromages Du Monde Aperitif 250G</c:v>
                </c:pt>
                <c:pt idx="55">
                  <c:v>Apericube Montagne Aperitif 250G</c:v>
                </c:pt>
                <c:pt idx="56">
                  <c:v>Apericube Long Drink Fromage Fondu Cube Assortis 1X125Gr 24P</c:v>
                </c:pt>
                <c:pt idx="57">
                  <c:v>Nurishh Le Palet Vegetal Specialite Vegetale Ovale Saveur Chevre Boite 1X140Gr 1P</c:v>
                </c:pt>
                <c:pt idx="58">
                  <c:v>Apericube Sucre Sale Fromage Fondu Cube Assortis 1X250Gr 48P</c:v>
                </c:pt>
                <c:pt idx="59">
                  <c:v>Apericube Selection Du Fromager Fromage Fondu Cube Assortis 1X250Gr 48P</c:v>
                </c:pt>
                <c:pt idx="60">
                  <c:v>Apericube Charcut' Fromages Fromage Fondu Cube Assortis 1X250Gr 48P</c:v>
                </c:pt>
                <c:pt idx="61">
                  <c:v>Apericube Carrement Toque Fromage Fondu Cube Assortis 1X250Gr 48P</c:v>
                </c:pt>
                <c:pt idx="62">
                  <c:v>Boursin Classique Fromage Frais A Tartiner 3 Noix Boite 1X150Gr 1P</c:v>
                </c:pt>
                <c:pt idx="63">
                  <c:v>Kiri Delicieusement Fouette Fromage Frais A Tartiner 1X160Gr 10P</c:v>
                </c:pt>
                <c:pt idx="64">
                  <c:v>Boursin Classique Fromage Frais A Tartiner 3 Noix 1X160Gr 10P</c:v>
                </c:pt>
                <c:pt idx="65">
                  <c:v>Nurishh Le Coeur Fleuri Vegetal Camembert Boite 1X140Gr 1P</c:v>
                </c:pt>
                <c:pt idx="66">
                  <c:v>Apericube Nature Fromage Fondu Cube 1X250Gr 48P</c:v>
                </c:pt>
                <c:pt idx="67">
                  <c:v>Nurishh Des Vegetaux Feta Vegetale Sachet 1X150Gr 1P</c:v>
                </c:pt>
                <c:pt idx="68">
                  <c:v>La Vache Qui Rit Bio Fromage Fondu Boite Ronde 1X128Gr 8P</c:v>
                </c:pt>
                <c:pt idx="69">
                  <c:v>Mini Babybel Rouge Filet St Paulin Ferme Sachet 1X40Gr 1P</c:v>
                </c:pt>
                <c:pt idx="70">
                  <c:v>Kiri Chevre Fromage Blanc Frais Carre 1X144Gr 8P</c:v>
                </c:pt>
                <c:pt idx="71">
                  <c:v>Boursin Onctueux Fromage Frais A Tartiner Afh 1X210Gr 1P</c:v>
                </c:pt>
                <c:pt idx="72">
                  <c:v>Mini Babybel Aros St Paulin Ferme Assortis Filet 1X180Gr 9P</c:v>
                </c:pt>
                <c:pt idx="73">
                  <c:v>Apericube P'Tits Plaisirs Fromage Fondu Cube 3 Fromages &amp; Jambon Cru Olive Verte 1X78Gr 15P</c:v>
                </c:pt>
                <c:pt idx="74">
                  <c:v>Boursin Salade &amp; Aperitif Fromage Frais Des Noisette Et 3 Noix 1X120Gr 1P</c:v>
                </c:pt>
                <c:pt idx="75">
                  <c:v>Nurishh Le Rape Vegetal Mozzarella Vegetale Sachet 1X150Gr 1P</c:v>
                </c:pt>
                <c:pt idx="76">
                  <c:v>Nurishh Le Rape Vegetal Specialite Vegetale Emmental Sachet 1X150Gr 1P</c:v>
                </c:pt>
                <c:pt idx="77">
                  <c:v>Nurishh Le Tartinable Vegetal Specialite Vegetale A Tartiner 1X130Gr 1P</c:v>
                </c:pt>
              </c:strCache>
            </c:strRef>
          </c:cat>
          <c:val>
            <c:numRef>
              <c:f>Sheet1!$B$2:$B$79</c:f>
              <c:numCache>
                <c:formatCode>General</c:formatCode>
                <c:ptCount val="78"/>
                <c:pt idx="0">
                  <c:v>0.99</c:v>
                </c:pt>
                <c:pt idx="1">
                  <c:v>0.94</c:v>
                </c:pt>
                <c:pt idx="2">
                  <c:v>0.95</c:v>
                </c:pt>
                <c:pt idx="3">
                  <c:v>0.95</c:v>
                </c:pt>
                <c:pt idx="4">
                  <c:v>0.95</c:v>
                </c:pt>
                <c:pt idx="5">
                  <c:v>0.99</c:v>
                </c:pt>
                <c:pt idx="6">
                  <c:v>0.91</c:v>
                </c:pt>
                <c:pt idx="7">
                  <c:v>0.99</c:v>
                </c:pt>
                <c:pt idx="8">
                  <c:v>0.94</c:v>
                </c:pt>
                <c:pt idx="9">
                  <c:v>0.84</c:v>
                </c:pt>
                <c:pt idx="10">
                  <c:v>0.97</c:v>
                </c:pt>
                <c:pt idx="11">
                  <c:v>0.99</c:v>
                </c:pt>
                <c:pt idx="12">
                  <c:v>0.99</c:v>
                </c:pt>
                <c:pt idx="13">
                  <c:v>0.78</c:v>
                </c:pt>
                <c:pt idx="14">
                  <c:v>0.99</c:v>
                </c:pt>
                <c:pt idx="15">
                  <c:v>0.97</c:v>
                </c:pt>
                <c:pt idx="16">
                  <c:v>0.99</c:v>
                </c:pt>
                <c:pt idx="17">
                  <c:v>0.83</c:v>
                </c:pt>
                <c:pt idx="18">
                  <c:v>0.94</c:v>
                </c:pt>
                <c:pt idx="19">
                  <c:v>0.92</c:v>
                </c:pt>
                <c:pt idx="20">
                  <c:v>0.83</c:v>
                </c:pt>
                <c:pt idx="21">
                  <c:v>0.93</c:v>
                </c:pt>
                <c:pt idx="22">
                  <c:v>0.74</c:v>
                </c:pt>
                <c:pt idx="23">
                  <c:v>0.72</c:v>
                </c:pt>
                <c:pt idx="24">
                  <c:v>0.97</c:v>
                </c:pt>
                <c:pt idx="25">
                  <c:v>0.71</c:v>
                </c:pt>
                <c:pt idx="26">
                  <c:v>0.64</c:v>
                </c:pt>
                <c:pt idx="27">
                  <c:v>0.79</c:v>
                </c:pt>
                <c:pt idx="28">
                  <c:v>0.66</c:v>
                </c:pt>
                <c:pt idx="29">
                  <c:v>0.89</c:v>
                </c:pt>
                <c:pt idx="30">
                  <c:v>0.83</c:v>
                </c:pt>
                <c:pt idx="31">
                  <c:v>0.91</c:v>
                </c:pt>
                <c:pt idx="32">
                  <c:v>0.66</c:v>
                </c:pt>
                <c:pt idx="33">
                  <c:v>0.88</c:v>
                </c:pt>
                <c:pt idx="34">
                  <c:v>0.7</c:v>
                </c:pt>
                <c:pt idx="35">
                  <c:v>0.33</c:v>
                </c:pt>
                <c:pt idx="36">
                  <c:v>0.84</c:v>
                </c:pt>
                <c:pt idx="37">
                  <c:v>0.65</c:v>
                </c:pt>
                <c:pt idx="38">
                  <c:v>0.71</c:v>
                </c:pt>
                <c:pt idx="39">
                  <c:v>0.72</c:v>
                </c:pt>
                <c:pt idx="40">
                  <c:v>0.56999999999999995</c:v>
                </c:pt>
                <c:pt idx="41">
                  <c:v>0.44</c:v>
                </c:pt>
                <c:pt idx="42">
                  <c:v>0.39</c:v>
                </c:pt>
                <c:pt idx="43">
                  <c:v>0.56999999999999995</c:v>
                </c:pt>
                <c:pt idx="44">
                  <c:v>0.47</c:v>
                </c:pt>
                <c:pt idx="45">
                  <c:v>0.27</c:v>
                </c:pt>
                <c:pt idx="46">
                  <c:v>0.28999999999999998</c:v>
                </c:pt>
                <c:pt idx="47">
                  <c:v>0.09</c:v>
                </c:pt>
                <c:pt idx="48">
                  <c:v>0.25</c:v>
                </c:pt>
                <c:pt idx="49">
                  <c:v>0.09</c:v>
                </c:pt>
                <c:pt idx="50">
                  <c:v>0.22</c:v>
                </c:pt>
                <c:pt idx="51">
                  <c:v>0.26</c:v>
                </c:pt>
                <c:pt idx="52">
                  <c:v>0.03</c:v>
                </c:pt>
                <c:pt idx="53">
                  <c:v>0.21</c:v>
                </c:pt>
                <c:pt idx="54">
                  <c:v>7.0000000000000007E-2</c:v>
                </c:pt>
                <c:pt idx="55">
                  <c:v>0.06</c:v>
                </c:pt>
                <c:pt idx="56">
                  <c:v>0.55000000000000004</c:v>
                </c:pt>
                <c:pt idx="57">
                  <c:v>0.14000000000000001</c:v>
                </c:pt>
                <c:pt idx="58">
                  <c:v>0.08</c:v>
                </c:pt>
                <c:pt idx="59">
                  <c:v>0.11</c:v>
                </c:pt>
                <c:pt idx="60">
                  <c:v>0.09</c:v>
                </c:pt>
                <c:pt idx="61">
                  <c:v>0.09</c:v>
                </c:pt>
                <c:pt idx="62">
                  <c:v>0.1</c:v>
                </c:pt>
                <c:pt idx="63">
                  <c:v>0.33</c:v>
                </c:pt>
                <c:pt idx="64">
                  <c:v>0.05</c:v>
                </c:pt>
                <c:pt idx="65">
                  <c:v>0.12</c:v>
                </c:pt>
                <c:pt idx="66">
                  <c:v>0.03</c:v>
                </c:pt>
                <c:pt idx="67">
                  <c:v>0.11</c:v>
                </c:pt>
                <c:pt idx="68">
                  <c:v>0.16</c:v>
                </c:pt>
                <c:pt idx="69">
                  <c:v>0.05</c:v>
                </c:pt>
                <c:pt idx="70">
                  <c:v>0.03</c:v>
                </c:pt>
                <c:pt idx="71">
                  <c:v>0.02</c:v>
                </c:pt>
                <c:pt idx="72">
                  <c:v>0.05</c:v>
                </c:pt>
                <c:pt idx="73">
                  <c:v>0.01</c:v>
                </c:pt>
                <c:pt idx="74">
                  <c:v>0.03</c:v>
                </c:pt>
                <c:pt idx="75">
                  <c:v>0.01</c:v>
                </c:pt>
                <c:pt idx="76">
                  <c:v>0.01</c:v>
                </c:pt>
                <c:pt idx="7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6D29-4B64-B329-BAF45152F2C1}"/>
              </c:ext>
            </c:extLst>
          </c:dPt>
          <c:dPt>
            <c:idx val="45"/>
            <c:invertIfNegative val="1"/>
            <c:bubble3D val="0"/>
            <c:spPr>
              <a:solidFill>
                <a:srgbClr val="AEABAB"/>
              </a:solidFill>
            </c:spPr>
            <c:extLst>
              <c:ext xmlns:c16="http://schemas.microsoft.com/office/drawing/2014/chart" uri="{C3380CC4-5D6E-409C-BE32-E72D297353CC}">
                <c16:uniqueId val="{0000005D-6D29-4B64-B329-BAF45152F2C1}"/>
              </c:ext>
            </c:extLst>
          </c:dPt>
          <c:dPt>
            <c:idx val="46"/>
            <c:invertIfNegative val="1"/>
            <c:bubble3D val="0"/>
            <c:spPr>
              <a:solidFill>
                <a:srgbClr val="AEABAB"/>
              </a:solidFill>
            </c:spPr>
            <c:extLst>
              <c:ext xmlns:c16="http://schemas.microsoft.com/office/drawing/2014/chart" uri="{C3380CC4-5D6E-409C-BE32-E72D297353CC}">
                <c16:uniqueId val="{0000005F-6D29-4B64-B329-BAF45152F2C1}"/>
              </c:ext>
            </c:extLst>
          </c:dPt>
          <c:dPt>
            <c:idx val="47"/>
            <c:invertIfNegative val="1"/>
            <c:bubble3D val="0"/>
            <c:spPr>
              <a:solidFill>
                <a:srgbClr val="AEABAB"/>
              </a:solidFill>
            </c:spPr>
            <c:extLst>
              <c:ext xmlns:c16="http://schemas.microsoft.com/office/drawing/2014/chart" uri="{C3380CC4-5D6E-409C-BE32-E72D297353CC}">
                <c16:uniqueId val="{00000061-6D29-4B64-B329-BAF45152F2C1}"/>
              </c:ext>
            </c:extLst>
          </c:dPt>
          <c:dPt>
            <c:idx val="48"/>
            <c:invertIfNegative val="1"/>
            <c:bubble3D val="0"/>
            <c:spPr>
              <a:solidFill>
                <a:srgbClr val="AEABAB"/>
              </a:solidFill>
            </c:spPr>
            <c:extLst>
              <c:ext xmlns:c16="http://schemas.microsoft.com/office/drawing/2014/chart" uri="{C3380CC4-5D6E-409C-BE32-E72D297353CC}">
                <c16:uniqueId val="{00000063-6D29-4B64-B329-BAF45152F2C1}"/>
              </c:ext>
            </c:extLst>
          </c:dPt>
          <c:dPt>
            <c:idx val="49"/>
            <c:invertIfNegative val="1"/>
            <c:bubble3D val="0"/>
            <c:spPr>
              <a:solidFill>
                <a:srgbClr val="AEABAB"/>
              </a:solidFill>
            </c:spPr>
            <c:extLst>
              <c:ext xmlns:c16="http://schemas.microsoft.com/office/drawing/2014/chart" uri="{C3380CC4-5D6E-409C-BE32-E72D297353CC}">
                <c16:uniqueId val="{00000065-6D29-4B64-B329-BAF45152F2C1}"/>
              </c:ext>
            </c:extLst>
          </c:dPt>
          <c:dPt>
            <c:idx val="50"/>
            <c:invertIfNegative val="1"/>
            <c:bubble3D val="0"/>
            <c:spPr>
              <a:solidFill>
                <a:srgbClr val="AEABAB"/>
              </a:solidFill>
            </c:spPr>
            <c:extLst>
              <c:ext xmlns:c16="http://schemas.microsoft.com/office/drawing/2014/chart" uri="{C3380CC4-5D6E-409C-BE32-E72D297353CC}">
                <c16:uniqueId val="{00000067-6D29-4B64-B329-BAF45152F2C1}"/>
              </c:ext>
            </c:extLst>
          </c:dPt>
          <c:dPt>
            <c:idx val="51"/>
            <c:invertIfNegative val="1"/>
            <c:bubble3D val="0"/>
            <c:spPr>
              <a:solidFill>
                <a:srgbClr val="AEABAB"/>
              </a:solidFill>
            </c:spPr>
            <c:extLst>
              <c:ext xmlns:c16="http://schemas.microsoft.com/office/drawing/2014/chart" uri="{C3380CC4-5D6E-409C-BE32-E72D297353CC}">
                <c16:uniqueId val="{00000069-6D29-4B64-B329-BAF45152F2C1}"/>
              </c:ext>
            </c:extLst>
          </c:dPt>
          <c:dPt>
            <c:idx val="52"/>
            <c:invertIfNegative val="1"/>
            <c:bubble3D val="0"/>
            <c:spPr>
              <a:solidFill>
                <a:srgbClr val="AEABAB"/>
              </a:solidFill>
            </c:spPr>
            <c:extLst>
              <c:ext xmlns:c16="http://schemas.microsoft.com/office/drawing/2014/chart" uri="{C3380CC4-5D6E-409C-BE32-E72D297353CC}">
                <c16:uniqueId val="{0000006B-6D29-4B64-B329-BAF45152F2C1}"/>
              </c:ext>
            </c:extLst>
          </c:dPt>
          <c:dPt>
            <c:idx val="53"/>
            <c:invertIfNegative val="1"/>
            <c:bubble3D val="0"/>
            <c:spPr>
              <a:solidFill>
                <a:srgbClr val="AEABAB"/>
              </a:solidFill>
            </c:spPr>
            <c:extLst>
              <c:ext xmlns:c16="http://schemas.microsoft.com/office/drawing/2014/chart" uri="{C3380CC4-5D6E-409C-BE32-E72D297353CC}">
                <c16:uniqueId val="{0000006D-6D29-4B64-B329-BAF45152F2C1}"/>
              </c:ext>
            </c:extLst>
          </c:dPt>
          <c:dPt>
            <c:idx val="54"/>
            <c:invertIfNegative val="1"/>
            <c:bubble3D val="0"/>
            <c:spPr>
              <a:solidFill>
                <a:srgbClr val="AEABAB"/>
              </a:solidFill>
            </c:spPr>
            <c:extLst>
              <c:ext xmlns:c16="http://schemas.microsoft.com/office/drawing/2014/chart" uri="{C3380CC4-5D6E-409C-BE32-E72D297353CC}">
                <c16:uniqueId val="{0000006F-6D29-4B64-B329-BAF45152F2C1}"/>
              </c:ext>
            </c:extLst>
          </c:dPt>
          <c:dPt>
            <c:idx val="55"/>
            <c:invertIfNegative val="1"/>
            <c:bubble3D val="0"/>
            <c:spPr>
              <a:solidFill>
                <a:srgbClr val="AEABAB"/>
              </a:solidFill>
            </c:spPr>
            <c:extLst>
              <c:ext xmlns:c16="http://schemas.microsoft.com/office/drawing/2014/chart" uri="{C3380CC4-5D6E-409C-BE32-E72D297353CC}">
                <c16:uniqueId val="{00000071-6D29-4B64-B329-BAF45152F2C1}"/>
              </c:ext>
            </c:extLst>
          </c:dPt>
          <c:dPt>
            <c:idx val="56"/>
            <c:invertIfNegative val="1"/>
            <c:bubble3D val="0"/>
            <c:spPr>
              <a:solidFill>
                <a:srgbClr val="AEABAB"/>
              </a:solidFill>
            </c:spPr>
            <c:extLst>
              <c:ext xmlns:c16="http://schemas.microsoft.com/office/drawing/2014/chart" uri="{C3380CC4-5D6E-409C-BE32-E72D297353CC}">
                <c16:uniqueId val="{00000073-6D29-4B64-B329-BAF45152F2C1}"/>
              </c:ext>
            </c:extLst>
          </c:dPt>
          <c:dPt>
            <c:idx val="57"/>
            <c:invertIfNegative val="1"/>
            <c:bubble3D val="0"/>
            <c:spPr>
              <a:solidFill>
                <a:srgbClr val="AEABAB"/>
              </a:solidFill>
            </c:spPr>
            <c:extLst>
              <c:ext xmlns:c16="http://schemas.microsoft.com/office/drawing/2014/chart" uri="{C3380CC4-5D6E-409C-BE32-E72D297353CC}">
                <c16:uniqueId val="{00000075-6D29-4B64-B329-BAF45152F2C1}"/>
              </c:ext>
            </c:extLst>
          </c:dPt>
          <c:dPt>
            <c:idx val="58"/>
            <c:invertIfNegative val="1"/>
            <c:bubble3D val="0"/>
            <c:spPr>
              <a:solidFill>
                <a:srgbClr val="AEABAB"/>
              </a:solidFill>
            </c:spPr>
            <c:extLst>
              <c:ext xmlns:c16="http://schemas.microsoft.com/office/drawing/2014/chart" uri="{C3380CC4-5D6E-409C-BE32-E72D297353CC}">
                <c16:uniqueId val="{00000077-6D29-4B64-B329-BAF45152F2C1}"/>
              </c:ext>
            </c:extLst>
          </c:dPt>
          <c:dPt>
            <c:idx val="59"/>
            <c:invertIfNegative val="1"/>
            <c:bubble3D val="0"/>
            <c:spPr>
              <a:solidFill>
                <a:srgbClr val="AEABAB"/>
              </a:solidFill>
            </c:spPr>
            <c:extLst>
              <c:ext xmlns:c16="http://schemas.microsoft.com/office/drawing/2014/chart" uri="{C3380CC4-5D6E-409C-BE32-E72D297353CC}">
                <c16:uniqueId val="{00000079-6D29-4B64-B329-BAF45152F2C1}"/>
              </c:ext>
            </c:extLst>
          </c:dPt>
          <c:dPt>
            <c:idx val="60"/>
            <c:invertIfNegative val="1"/>
            <c:bubble3D val="0"/>
            <c:spPr>
              <a:solidFill>
                <a:srgbClr val="AEABAB"/>
              </a:solidFill>
            </c:spPr>
            <c:extLst>
              <c:ext xmlns:c16="http://schemas.microsoft.com/office/drawing/2014/chart" uri="{C3380CC4-5D6E-409C-BE32-E72D297353CC}">
                <c16:uniqueId val="{0000007B-6D29-4B64-B329-BAF45152F2C1}"/>
              </c:ext>
            </c:extLst>
          </c:dPt>
          <c:dPt>
            <c:idx val="61"/>
            <c:invertIfNegative val="1"/>
            <c:bubble3D val="0"/>
            <c:spPr>
              <a:solidFill>
                <a:srgbClr val="AEABAB"/>
              </a:solidFill>
            </c:spPr>
            <c:extLst>
              <c:ext xmlns:c16="http://schemas.microsoft.com/office/drawing/2014/chart" uri="{C3380CC4-5D6E-409C-BE32-E72D297353CC}">
                <c16:uniqueId val="{0000007D-6D29-4B64-B329-BAF45152F2C1}"/>
              </c:ext>
            </c:extLst>
          </c:dPt>
          <c:dPt>
            <c:idx val="62"/>
            <c:invertIfNegative val="1"/>
            <c:bubble3D val="0"/>
            <c:spPr>
              <a:solidFill>
                <a:srgbClr val="AEABAB"/>
              </a:solidFill>
            </c:spPr>
            <c:extLst>
              <c:ext xmlns:c16="http://schemas.microsoft.com/office/drawing/2014/chart" uri="{C3380CC4-5D6E-409C-BE32-E72D297353CC}">
                <c16:uniqueId val="{0000007F-6D29-4B64-B329-BAF45152F2C1}"/>
              </c:ext>
            </c:extLst>
          </c:dPt>
          <c:dPt>
            <c:idx val="63"/>
            <c:invertIfNegative val="1"/>
            <c:bubble3D val="0"/>
            <c:spPr>
              <a:solidFill>
                <a:srgbClr val="AEABAB"/>
              </a:solidFill>
            </c:spPr>
            <c:extLst>
              <c:ext xmlns:c16="http://schemas.microsoft.com/office/drawing/2014/chart" uri="{C3380CC4-5D6E-409C-BE32-E72D297353CC}">
                <c16:uniqueId val="{00000081-6D29-4B64-B329-BAF45152F2C1}"/>
              </c:ext>
            </c:extLst>
          </c:dPt>
          <c:dPt>
            <c:idx val="64"/>
            <c:invertIfNegative val="1"/>
            <c:bubble3D val="0"/>
            <c:spPr>
              <a:solidFill>
                <a:srgbClr val="AEABAB"/>
              </a:solidFill>
            </c:spPr>
            <c:extLst>
              <c:ext xmlns:c16="http://schemas.microsoft.com/office/drawing/2014/chart" uri="{C3380CC4-5D6E-409C-BE32-E72D297353CC}">
                <c16:uniqueId val="{00000083-6D29-4B64-B329-BAF45152F2C1}"/>
              </c:ext>
            </c:extLst>
          </c:dPt>
          <c:dPt>
            <c:idx val="65"/>
            <c:invertIfNegative val="1"/>
            <c:bubble3D val="0"/>
            <c:spPr>
              <a:solidFill>
                <a:srgbClr val="AEABAB"/>
              </a:solidFill>
            </c:spPr>
            <c:extLst>
              <c:ext xmlns:c16="http://schemas.microsoft.com/office/drawing/2014/chart" uri="{C3380CC4-5D6E-409C-BE32-E72D297353CC}">
                <c16:uniqueId val="{00000085-6D29-4B64-B329-BAF45152F2C1}"/>
              </c:ext>
            </c:extLst>
          </c:dPt>
          <c:dPt>
            <c:idx val="66"/>
            <c:invertIfNegative val="1"/>
            <c:bubble3D val="0"/>
            <c:spPr>
              <a:solidFill>
                <a:srgbClr val="AEABAB"/>
              </a:solidFill>
            </c:spPr>
            <c:extLst>
              <c:ext xmlns:c16="http://schemas.microsoft.com/office/drawing/2014/chart" uri="{C3380CC4-5D6E-409C-BE32-E72D297353CC}">
                <c16:uniqueId val="{00000087-6D29-4B64-B329-BAF45152F2C1}"/>
              </c:ext>
            </c:extLst>
          </c:dPt>
          <c:dPt>
            <c:idx val="67"/>
            <c:invertIfNegative val="1"/>
            <c:bubble3D val="0"/>
            <c:spPr>
              <a:solidFill>
                <a:srgbClr val="AEABAB"/>
              </a:solidFill>
            </c:spPr>
            <c:extLst>
              <c:ext xmlns:c16="http://schemas.microsoft.com/office/drawing/2014/chart" uri="{C3380CC4-5D6E-409C-BE32-E72D297353CC}">
                <c16:uniqueId val="{00000089-6D29-4B64-B329-BAF45152F2C1}"/>
              </c:ext>
            </c:extLst>
          </c:dPt>
          <c:dPt>
            <c:idx val="68"/>
            <c:invertIfNegative val="1"/>
            <c:bubble3D val="0"/>
            <c:spPr>
              <a:solidFill>
                <a:srgbClr val="AEABAB"/>
              </a:solidFill>
            </c:spPr>
            <c:extLst>
              <c:ext xmlns:c16="http://schemas.microsoft.com/office/drawing/2014/chart" uri="{C3380CC4-5D6E-409C-BE32-E72D297353CC}">
                <c16:uniqueId val="{0000008B-6D29-4B64-B329-BAF45152F2C1}"/>
              </c:ext>
            </c:extLst>
          </c:dPt>
          <c:dPt>
            <c:idx val="69"/>
            <c:invertIfNegative val="1"/>
            <c:bubble3D val="0"/>
            <c:spPr>
              <a:solidFill>
                <a:srgbClr val="AEABAB"/>
              </a:solidFill>
            </c:spPr>
            <c:extLst>
              <c:ext xmlns:c16="http://schemas.microsoft.com/office/drawing/2014/chart" uri="{C3380CC4-5D6E-409C-BE32-E72D297353CC}">
                <c16:uniqueId val="{0000008D-6D29-4B64-B329-BAF45152F2C1}"/>
              </c:ext>
            </c:extLst>
          </c:dPt>
          <c:dPt>
            <c:idx val="70"/>
            <c:invertIfNegative val="1"/>
            <c:bubble3D val="0"/>
            <c:spPr>
              <a:solidFill>
                <a:srgbClr val="AEABAB"/>
              </a:solidFill>
            </c:spPr>
            <c:extLst>
              <c:ext xmlns:c16="http://schemas.microsoft.com/office/drawing/2014/chart" uri="{C3380CC4-5D6E-409C-BE32-E72D297353CC}">
                <c16:uniqueId val="{0000008F-6D29-4B64-B329-BAF45152F2C1}"/>
              </c:ext>
            </c:extLst>
          </c:dPt>
          <c:dPt>
            <c:idx val="71"/>
            <c:invertIfNegative val="1"/>
            <c:bubble3D val="0"/>
            <c:spPr>
              <a:solidFill>
                <a:srgbClr val="AEABAB"/>
              </a:solidFill>
            </c:spPr>
            <c:extLst>
              <c:ext xmlns:c16="http://schemas.microsoft.com/office/drawing/2014/chart" uri="{C3380CC4-5D6E-409C-BE32-E72D297353CC}">
                <c16:uniqueId val="{00000091-6D29-4B64-B329-BAF45152F2C1}"/>
              </c:ext>
            </c:extLst>
          </c:dPt>
          <c:dPt>
            <c:idx val="72"/>
            <c:invertIfNegative val="1"/>
            <c:bubble3D val="0"/>
            <c:spPr>
              <a:solidFill>
                <a:srgbClr val="AEABAB"/>
              </a:solidFill>
            </c:spPr>
            <c:extLst>
              <c:ext xmlns:c16="http://schemas.microsoft.com/office/drawing/2014/chart" uri="{C3380CC4-5D6E-409C-BE32-E72D297353CC}">
                <c16:uniqueId val="{00000093-6D29-4B64-B329-BAF45152F2C1}"/>
              </c:ext>
            </c:extLst>
          </c:dPt>
          <c:dPt>
            <c:idx val="73"/>
            <c:invertIfNegative val="1"/>
            <c:bubble3D val="0"/>
            <c:spPr>
              <a:solidFill>
                <a:srgbClr val="AEABAB"/>
              </a:solidFill>
            </c:spPr>
            <c:extLst>
              <c:ext xmlns:c16="http://schemas.microsoft.com/office/drawing/2014/chart" uri="{C3380CC4-5D6E-409C-BE32-E72D297353CC}">
                <c16:uniqueId val="{00000095-6D29-4B64-B329-BAF45152F2C1}"/>
              </c:ext>
            </c:extLst>
          </c:dPt>
          <c:dPt>
            <c:idx val="74"/>
            <c:invertIfNegative val="1"/>
            <c:bubble3D val="0"/>
            <c:spPr>
              <a:solidFill>
                <a:srgbClr val="AEABAB"/>
              </a:solidFill>
            </c:spPr>
            <c:extLst>
              <c:ext xmlns:c16="http://schemas.microsoft.com/office/drawing/2014/chart" uri="{C3380CC4-5D6E-409C-BE32-E72D297353CC}">
                <c16:uniqueId val="{00000097-6D29-4B64-B329-BAF45152F2C1}"/>
              </c:ext>
            </c:extLst>
          </c:dPt>
          <c:dPt>
            <c:idx val="75"/>
            <c:invertIfNegative val="1"/>
            <c:bubble3D val="0"/>
            <c:spPr>
              <a:solidFill>
                <a:srgbClr val="AEABAB"/>
              </a:solidFill>
            </c:spPr>
            <c:extLst>
              <c:ext xmlns:c16="http://schemas.microsoft.com/office/drawing/2014/chart" uri="{C3380CC4-5D6E-409C-BE32-E72D297353CC}">
                <c16:uniqueId val="{00000099-6D29-4B64-B329-BAF45152F2C1}"/>
              </c:ext>
            </c:extLst>
          </c:dPt>
          <c:dPt>
            <c:idx val="76"/>
            <c:invertIfNegative val="1"/>
            <c:bubble3D val="0"/>
            <c:spPr>
              <a:solidFill>
                <a:srgbClr val="AEABAB"/>
              </a:solidFill>
            </c:spPr>
            <c:extLst>
              <c:ext xmlns:c16="http://schemas.microsoft.com/office/drawing/2014/chart" uri="{C3380CC4-5D6E-409C-BE32-E72D297353CC}">
                <c16:uniqueId val="{0000009B-6D29-4B64-B329-BAF45152F2C1}"/>
              </c:ext>
            </c:extLst>
          </c:dPt>
          <c:dPt>
            <c:idx val="77"/>
            <c:invertIfNegative val="1"/>
            <c:bubble3D val="0"/>
            <c:spPr>
              <a:solidFill>
                <a:srgbClr val="AEABAB"/>
              </a:solidFill>
            </c:spPr>
            <c:extLst>
              <c:ext xmlns:c16="http://schemas.microsoft.com/office/drawing/2014/chart" uri="{C3380CC4-5D6E-409C-BE32-E72D297353CC}">
                <c16:uniqueId val="{0000009D-6D29-4B64-B329-BAF45152F2C1}"/>
              </c:ext>
            </c:extLst>
          </c:dPt>
          <c:cat>
            <c:strRef>
              <c:f>Sheet1!$A$2:$A$79</c:f>
              <c:strCache>
                <c:ptCount val="78"/>
                <c:pt idx="0">
                  <c:v>Mini Babybel Rouge Filet St Paulin Ferme 1X264Gr 12P</c:v>
                </c:pt>
                <c:pt idx="1">
                  <c:v>Mini Babybel Rouge Filet Soft Cheese Enfant 352G</c:v>
                </c:pt>
                <c:pt idx="2">
                  <c:v>Apericube Edition Limitee Best Of Foot Fromage Fondu Cube Assortis 1X250Gr 48P</c:v>
                </c:pt>
                <c:pt idx="3">
                  <c:v>La Vache Qui Rit Nature Fromage Fondu Boite Ronde 1X512Gr 32P</c:v>
                </c:pt>
                <c:pt idx="4">
                  <c:v>Apericube Cocktail Fromage Fondu Cube Assortis 1X250Gr 48P</c:v>
                </c:pt>
                <c:pt idx="5">
                  <c:v>Mini Babybel Rouge Filet St Paulin Ferme 1X132Gr 6P</c:v>
                </c:pt>
                <c:pt idx="6">
                  <c:v>La Vache Qui Rit Nature Fromage Fondu Boite Ronde 1X384Gr 24P</c:v>
                </c:pt>
                <c:pt idx="7">
                  <c:v>La Vache Qui Rit Nature Fromage Fondu Boite Ronde 1X192Gr 12P</c:v>
                </c:pt>
                <c:pt idx="8">
                  <c:v>Apericube Long Drink Fromage Fondu Cube Assortis 1X250Gr 48P</c:v>
                </c:pt>
                <c:pt idx="9">
                  <c:v>Kiri Creme Fromage Blanc Frais Carre 1X432Gr 24P</c:v>
                </c:pt>
                <c:pt idx="10">
                  <c:v>Kiri Creme Fromage Blanc Frais Carre 1X216Gr 12P</c:v>
                </c:pt>
                <c:pt idx="11">
                  <c:v>Kiri Creme Fromage Blanc Frais Carre 1X144Gr 8P</c:v>
                </c:pt>
                <c:pt idx="12">
                  <c:v>Kiri Gouter Fromage Blanc Dips Boite 1X175Gr 5P</c:v>
                </c:pt>
                <c:pt idx="13">
                  <c:v>La Vache Qui Rit Nature Fromage Fondu Boite Ronde 1X512Gr 24+8P</c:v>
                </c:pt>
                <c:pt idx="14">
                  <c:v>Boursin Salade &amp; Aperitif Fromage Frais Des Afh 1X120Gr 1P</c:v>
                </c:pt>
                <c:pt idx="15">
                  <c:v>Boursin Classique Fromage Frais A Tartiner Afh 1X160Gr 10P</c:v>
                </c:pt>
                <c:pt idx="16">
                  <c:v>Boursin Classique Fromage Frais A Tartiner Afh Boite 1X150Gr 1P</c:v>
                </c:pt>
                <c:pt idx="17">
                  <c:v>Apericube Tonic Fromage Fondu Cube Assortis 1X250Gr 48P</c:v>
                </c:pt>
                <c:pt idx="18">
                  <c:v>Boursin Aperitif Roules Fromage Frais Roule Afh Et Jambon Fume Boite 1X100Gr 20P</c:v>
                </c:pt>
                <c:pt idx="19">
                  <c:v>Boursin Classique Fromage Frais A Tartiner Afh Boite 1X250Gr 1P</c:v>
                </c:pt>
                <c:pt idx="20">
                  <c:v>Apericube Soiree Match Aperitif 250G</c:v>
                </c:pt>
                <c:pt idx="21">
                  <c:v>Apericube Nature Fromage Fondu Cube 1X125Gr 24P</c:v>
                </c:pt>
                <c:pt idx="22">
                  <c:v>Apericube Edition Limitee Saison Fromage Fondu Cube Assortis 1X250Gr 48P</c:v>
                </c:pt>
                <c:pt idx="23">
                  <c:v>Kiri Gouter Fromage Blanc Dips Boite 1X280Gr 8P</c:v>
                </c:pt>
                <c:pt idx="24">
                  <c:v>La Vache Qui Rit Pik Et Croq' Fromage Fondu Dips Boite 1X175Gr 5P</c:v>
                </c:pt>
                <c:pt idx="25">
                  <c:v>Kiri Creme Fromage Blanc Frais Carre 1X432Gr 18+6P</c:v>
                </c:pt>
                <c:pt idx="26">
                  <c:v>La Vache Qui Rit Nature Fromage Fondu Boite Ronde 1X128Gr 8P</c:v>
                </c:pt>
                <c:pt idx="27">
                  <c:v>Boursin Aperitif Roules Fromage Frais Roule Ciboulette &amp; Echalote Jambon Fume Boite 1X100Gr 20P</c:v>
                </c:pt>
                <c:pt idx="28">
                  <c:v>Apericube Campagne Fromage Fondu Cube Assortis 1X125Gr 24P</c:v>
                </c:pt>
                <c:pt idx="29">
                  <c:v>Boursin Classique Fromage Frais A Tartiner Afh Boite 1X96Gr 6P</c:v>
                </c:pt>
                <c:pt idx="30">
                  <c:v>Boursin Onctueux Fromage Frais A Tartiner Afh 1X125Gr 1P</c:v>
                </c:pt>
                <c:pt idx="31">
                  <c:v>Boursin Salade &amp; Aperitif Fromage Frais Des Figue Noix 1X120Gr 1P</c:v>
                </c:pt>
                <c:pt idx="32">
                  <c:v>Mini Babybel Aros Soft Cheese Enfant 180G</c:v>
                </c:pt>
                <c:pt idx="33">
                  <c:v>Boursin Classique Fromage Frais A Tartiner Ciboulette &amp; Echalote Boite 1X150Gr 1P</c:v>
                </c:pt>
                <c:pt idx="34">
                  <c:v>Apericube Best Of Des Saveurs Fromage Fondu Cube Assortis 1X125Gr 24P</c:v>
                </c:pt>
                <c:pt idx="35">
                  <c:v>Apericube Edition Voyage Fromage Fondu Cube Assortis 1X250Gr 48P</c:v>
                </c:pt>
                <c:pt idx="36">
                  <c:v>Boursin Salade &amp; Aperitif Fromage Frais Des Ciboulette Echalote 1X120Gr 1P</c:v>
                </c:pt>
                <c:pt idx="37">
                  <c:v>Boursin Classique Fromage Frais A Tartiner Figue Et 3 Noix Boite 1X150Gr 1P</c:v>
                </c:pt>
                <c:pt idx="38">
                  <c:v>Boursin Salade &amp; Aperitif Soft Cheese Salade 120G</c:v>
                </c:pt>
                <c:pt idx="39">
                  <c:v>Boursin Salade &amp; Aperitif Fromage Frais Des Citron Romarin 1X120Gr 1P</c:v>
                </c:pt>
                <c:pt idx="40">
                  <c:v>Mini Babybel Aros Soft Cheese Enfant 110G</c:v>
                </c:pt>
                <c:pt idx="41">
                  <c:v>Babybel Mini Rolls St Paulin Ferme Sachet 1X85Gr 5P</c:v>
                </c:pt>
                <c:pt idx="42">
                  <c:v>Kiri Bio Fromage Blanc Frais Carre 1X144Gr 8P</c:v>
                </c:pt>
                <c:pt idx="43">
                  <c:v>Kiri Delicieusement Fouette Fromage Frais A Tartiner 1X125Gr 1P</c:v>
                </c:pt>
                <c:pt idx="44">
                  <c:v>Kiri Delicieusement Fouette Fromage Frais A Tartiner 1X210Gr 1P</c:v>
                </c:pt>
                <c:pt idx="45">
                  <c:v>La Vache Qui Rit Allegee Fromage Fondu Boite Ronde Allege 1X267Gr 16P</c:v>
                </c:pt>
                <c:pt idx="46">
                  <c:v>Boursin Aperitif Roules Aperitif 100G</c:v>
                </c:pt>
                <c:pt idx="47">
                  <c:v>Apericube Incontournable Fromage Fondu Cube Assortis 1X250Gr 48P</c:v>
                </c:pt>
                <c:pt idx="48">
                  <c:v>Boursin Vegetal Alternative Vegetale 150G</c:v>
                </c:pt>
                <c:pt idx="49">
                  <c:v>Apericube Hot Chalenge Aperitif 250G</c:v>
                </c:pt>
                <c:pt idx="50">
                  <c:v>Nurishh Les Tranches Vegetales Cheddar Vegetal Tranche Boite 1X160Gr 8P</c:v>
                </c:pt>
                <c:pt idx="51">
                  <c:v>Nurishh Le Rape Vegetal Specialite Vegetale Sachet 1X150Gr 1P</c:v>
                </c:pt>
                <c:pt idx="52">
                  <c:v>Apericube Jambon Fromage Fondu Cube 1X78Gr 15P</c:v>
                </c:pt>
                <c:pt idx="53">
                  <c:v>Nurishh Les Tranches Vegetales Emmental Vegetal Tranche Boite 1X160Gr 8P</c:v>
                </c:pt>
                <c:pt idx="54">
                  <c:v>Apericube Fromages Du Monde Aperitif 250G</c:v>
                </c:pt>
                <c:pt idx="55">
                  <c:v>Apericube Montagne Aperitif 250G</c:v>
                </c:pt>
                <c:pt idx="56">
                  <c:v>Apericube Long Drink Fromage Fondu Cube Assortis 1X125Gr 24P</c:v>
                </c:pt>
                <c:pt idx="57">
                  <c:v>Nurishh Le Palet Vegetal Specialite Vegetale Ovale Saveur Chevre Boite 1X140Gr 1P</c:v>
                </c:pt>
                <c:pt idx="58">
                  <c:v>Apericube Sucre Sale Fromage Fondu Cube Assortis 1X250Gr 48P</c:v>
                </c:pt>
                <c:pt idx="59">
                  <c:v>Apericube Selection Du Fromager Fromage Fondu Cube Assortis 1X250Gr 48P</c:v>
                </c:pt>
                <c:pt idx="60">
                  <c:v>Apericube Charcut' Fromages Fromage Fondu Cube Assortis 1X250Gr 48P</c:v>
                </c:pt>
                <c:pt idx="61">
                  <c:v>Apericube Carrement Toque Fromage Fondu Cube Assortis 1X250Gr 48P</c:v>
                </c:pt>
                <c:pt idx="62">
                  <c:v>Boursin Classique Fromage Frais A Tartiner 3 Noix Boite 1X150Gr 1P</c:v>
                </c:pt>
                <c:pt idx="63">
                  <c:v>Kiri Delicieusement Fouette Fromage Frais A Tartiner 1X160Gr 10P</c:v>
                </c:pt>
                <c:pt idx="64">
                  <c:v>Boursin Classique Fromage Frais A Tartiner 3 Noix 1X160Gr 10P</c:v>
                </c:pt>
                <c:pt idx="65">
                  <c:v>Nurishh Le Coeur Fleuri Vegetal Camembert Boite 1X140Gr 1P</c:v>
                </c:pt>
                <c:pt idx="66">
                  <c:v>Apericube Nature Fromage Fondu Cube 1X250Gr 48P</c:v>
                </c:pt>
                <c:pt idx="67">
                  <c:v>Nurishh Des Vegetaux Feta Vegetale Sachet 1X150Gr 1P</c:v>
                </c:pt>
                <c:pt idx="68">
                  <c:v>La Vache Qui Rit Bio Fromage Fondu Boite Ronde 1X128Gr 8P</c:v>
                </c:pt>
                <c:pt idx="69">
                  <c:v>Mini Babybel Rouge Filet St Paulin Ferme Sachet 1X40Gr 1P</c:v>
                </c:pt>
                <c:pt idx="70">
                  <c:v>Kiri Chevre Fromage Blanc Frais Carre 1X144Gr 8P</c:v>
                </c:pt>
                <c:pt idx="71">
                  <c:v>Boursin Onctueux Fromage Frais A Tartiner Afh 1X210Gr 1P</c:v>
                </c:pt>
                <c:pt idx="72">
                  <c:v>Mini Babybel Aros St Paulin Ferme Assortis Filet 1X180Gr 9P</c:v>
                </c:pt>
                <c:pt idx="73">
                  <c:v>Apericube P'Tits Plaisirs Fromage Fondu Cube 3 Fromages &amp; Jambon Cru Olive Verte 1X78Gr 15P</c:v>
                </c:pt>
                <c:pt idx="74">
                  <c:v>Boursin Salade &amp; Aperitif Fromage Frais Des Noisette Et 3 Noix 1X120Gr 1P</c:v>
                </c:pt>
                <c:pt idx="75">
                  <c:v>Nurishh Le Rape Vegetal Mozzarella Vegetale Sachet 1X150Gr 1P</c:v>
                </c:pt>
                <c:pt idx="76">
                  <c:v>Nurishh Le Rape Vegetal Specialite Vegetale Emmental Sachet 1X150Gr 1P</c:v>
                </c:pt>
                <c:pt idx="77">
                  <c:v>Nurishh Le Tartinable Vegetal Specialite Vegetale A Tartiner 1X130Gr 1P</c:v>
                </c:pt>
              </c:strCache>
            </c:strRef>
          </c:cat>
          <c:val>
            <c:numRef>
              <c:f>Sheet1!$C$2:$C$79</c:f>
              <c:numCache>
                <c:formatCode>General</c:formatCode>
                <c:ptCount val="78"/>
                <c:pt idx="0">
                  <c:v>8.6097954030985802E-2</c:v>
                </c:pt>
                <c:pt idx="1">
                  <c:v>0.13796206433372804</c:v>
                </c:pt>
                <c:pt idx="2">
                  <c:v>0.18795967534888233</c:v>
                </c:pt>
                <c:pt idx="3">
                  <c:v>0.23604221252320873</c:v>
                </c:pt>
                <c:pt idx="4">
                  <c:v>0.28252973800387382</c:v>
                </c:pt>
                <c:pt idx="5">
                  <c:v>0.32585603155968212</c:v>
                </c:pt>
                <c:pt idx="6">
                  <c:v>0.36841484717429906</c:v>
                </c:pt>
                <c:pt idx="7">
                  <c:v>0.4076454227182833</c:v>
                </c:pt>
                <c:pt idx="8">
                  <c:v>0.44662402880700641</c:v>
                </c:pt>
                <c:pt idx="9">
                  <c:v>0.48559203681138624</c:v>
                </c:pt>
                <c:pt idx="10">
                  <c:v>0.52197340569705331</c:v>
                </c:pt>
                <c:pt idx="11">
                  <c:v>0.5495332824448651</c:v>
                </c:pt>
                <c:pt idx="12">
                  <c:v>0.57693012532852961</c:v>
                </c:pt>
                <c:pt idx="13">
                  <c:v>0.60380792703148278</c:v>
                </c:pt>
                <c:pt idx="14">
                  <c:v>0.6299442160998856</c:v>
                </c:pt>
                <c:pt idx="15">
                  <c:v>0.65578896953147903</c:v>
                </c:pt>
                <c:pt idx="16">
                  <c:v>0.67884678005027199</c:v>
                </c:pt>
                <c:pt idx="17">
                  <c:v>0.7018194526248408</c:v>
                </c:pt>
                <c:pt idx="18">
                  <c:v>0.72446349626739881</c:v>
                </c:pt>
                <c:pt idx="19">
                  <c:v>0.74557064104544446</c:v>
                </c:pt>
                <c:pt idx="20">
                  <c:v>0.76538534943782899</c:v>
                </c:pt>
                <c:pt idx="21">
                  <c:v>0.78448689507128133</c:v>
                </c:pt>
                <c:pt idx="22">
                  <c:v>0.80304608373846709</c:v>
                </c:pt>
                <c:pt idx="23">
                  <c:v>0.82079884650449997</c:v>
                </c:pt>
                <c:pt idx="24">
                  <c:v>0.83504108214919603</c:v>
                </c:pt>
                <c:pt idx="25">
                  <c:v>0.84796138340680893</c:v>
                </c:pt>
                <c:pt idx="26">
                  <c:v>0.86065859498899611</c:v>
                </c:pt>
                <c:pt idx="27">
                  <c:v>0.87241743451995668</c:v>
                </c:pt>
                <c:pt idx="28">
                  <c:v>0.88413653123462999</c:v>
                </c:pt>
                <c:pt idx="29">
                  <c:v>0.89505776883299459</c:v>
                </c:pt>
                <c:pt idx="30">
                  <c:v>0.90417706714089563</c:v>
                </c:pt>
                <c:pt idx="31">
                  <c:v>0.91326845716002603</c:v>
                </c:pt>
                <c:pt idx="32">
                  <c:v>0.92160164256176536</c:v>
                </c:pt>
                <c:pt idx="33">
                  <c:v>0.92868098626832696</c:v>
                </c:pt>
                <c:pt idx="34">
                  <c:v>0.93574363799204796</c:v>
                </c:pt>
                <c:pt idx="35">
                  <c:v>0.94207572843503995</c:v>
                </c:pt>
                <c:pt idx="36">
                  <c:v>0.94765879926707175</c:v>
                </c:pt>
                <c:pt idx="37">
                  <c:v>0.95282015465961112</c:v>
                </c:pt>
                <c:pt idx="38">
                  <c:v>0.95778041140173698</c:v>
                </c:pt>
                <c:pt idx="39">
                  <c:v>0.9626525274090747</c:v>
                </c:pt>
                <c:pt idx="40">
                  <c:v>0.96703536518923172</c:v>
                </c:pt>
                <c:pt idx="41">
                  <c:v>0.97085809421184721</c:v>
                </c:pt>
                <c:pt idx="42">
                  <c:v>0.97444333782780412</c:v>
                </c:pt>
                <c:pt idx="43">
                  <c:v>0.9778471775667521</c:v>
                </c:pt>
                <c:pt idx="44">
                  <c:v>0.98123052767596974</c:v>
                </c:pt>
                <c:pt idx="45">
                  <c:v>0.98344005162680137</c:v>
                </c:pt>
                <c:pt idx="46">
                  <c:v>0.9853030182196082</c:v>
                </c:pt>
                <c:pt idx="47">
                  <c:v>0.9870105462420472</c:v>
                </c:pt>
                <c:pt idx="48">
                  <c:v>0.98827516265630722</c:v>
                </c:pt>
                <c:pt idx="49">
                  <c:v>0.98929001754954438</c:v>
                </c:pt>
                <c:pt idx="50">
                  <c:v>0.99021770319905811</c:v>
                </c:pt>
                <c:pt idx="51">
                  <c:v>0.99114229774063844</c:v>
                </c:pt>
                <c:pt idx="52">
                  <c:v>0.99204445967035881</c:v>
                </c:pt>
                <c:pt idx="53">
                  <c:v>0.99290493580166239</c:v>
                </c:pt>
                <c:pt idx="54">
                  <c:v>0.9936904304862374</c:v>
                </c:pt>
                <c:pt idx="55">
                  <c:v>0.99434963133238841</c:v>
                </c:pt>
                <c:pt idx="56">
                  <c:v>0.99497977576396501</c:v>
                </c:pt>
                <c:pt idx="57">
                  <c:v>0.99558845907474647</c:v>
                </c:pt>
                <c:pt idx="58">
                  <c:v>0.99615457341341584</c:v>
                </c:pt>
                <c:pt idx="59">
                  <c:v>0.99668968835538119</c:v>
                </c:pt>
                <c:pt idx="60">
                  <c:v>0.99720872953609252</c:v>
                </c:pt>
                <c:pt idx="61">
                  <c:v>0.99764916825792471</c:v>
                </c:pt>
                <c:pt idx="62">
                  <c:v>0.99799722701123139</c:v>
                </c:pt>
                <c:pt idx="63">
                  <c:v>0.99830386491822987</c:v>
                </c:pt>
                <c:pt idx="64">
                  <c:v>0.99853234195319673</c:v>
                </c:pt>
                <c:pt idx="65">
                  <c:v>0.99874942604749462</c:v>
                </c:pt>
                <c:pt idx="66">
                  <c:v>0.9989272972297224</c:v>
                </c:pt>
                <c:pt idx="67">
                  <c:v>0.99909624835762789</c:v>
                </c:pt>
                <c:pt idx="68">
                  <c:v>0.99925301168853864</c:v>
                </c:pt>
                <c:pt idx="69">
                  <c:v>0.99939970683932333</c:v>
                </c:pt>
                <c:pt idx="70">
                  <c:v>0.99964037167128494</c:v>
                </c:pt>
                <c:pt idx="71">
                  <c:v>0.99973434135246186</c:v>
                </c:pt>
                <c:pt idx="72">
                  <c:v>0.99983528810583144</c:v>
                </c:pt>
                <c:pt idx="73">
                  <c:v>0.99992413537957581</c:v>
                </c:pt>
                <c:pt idx="74">
                  <c:v>0.99994224044032887</c:v>
                </c:pt>
                <c:pt idx="75">
                  <c:v>0.9999559296326056</c:v>
                </c:pt>
                <c:pt idx="76">
                  <c:v>0.99996944219014328</c:v>
                </c:pt>
                <c:pt idx="77">
                  <c:v>0.999995142544675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9</c:f>
              <c:strCache>
                <c:ptCount val="78"/>
                <c:pt idx="0">
                  <c:v>Mini Babybel Rouge Filet St Paulin Ferme 1X264Gr 12P</c:v>
                </c:pt>
                <c:pt idx="1">
                  <c:v>Mini Babybel Rouge Filet Soft Cheese Enfant 352G</c:v>
                </c:pt>
                <c:pt idx="2">
                  <c:v>Apericube Edition Limitee Best Of Foot Fromage Fondu Cube Assortis 1X250Gr 48P</c:v>
                </c:pt>
                <c:pt idx="3">
                  <c:v>La Vache Qui Rit Nature Fromage Fondu Boite Ronde 1X512Gr 32P</c:v>
                </c:pt>
                <c:pt idx="4">
                  <c:v>Apericube Cocktail Fromage Fondu Cube Assortis 1X250Gr 48P</c:v>
                </c:pt>
                <c:pt idx="5">
                  <c:v>Mini Babybel Rouge Filet St Paulin Ferme 1X132Gr 6P</c:v>
                </c:pt>
                <c:pt idx="6">
                  <c:v>La Vache Qui Rit Nature Fromage Fondu Boite Ronde 1X384Gr 24P</c:v>
                </c:pt>
                <c:pt idx="7">
                  <c:v>La Vache Qui Rit Nature Fromage Fondu Boite Ronde 1X192Gr 12P</c:v>
                </c:pt>
                <c:pt idx="8">
                  <c:v>Apericube Long Drink Fromage Fondu Cube Assortis 1X250Gr 48P</c:v>
                </c:pt>
                <c:pt idx="9">
                  <c:v>Kiri Creme Fromage Blanc Frais Carre 1X432Gr 24P</c:v>
                </c:pt>
                <c:pt idx="10">
                  <c:v>Kiri Creme Fromage Blanc Frais Carre 1X216Gr 12P</c:v>
                </c:pt>
                <c:pt idx="11">
                  <c:v>Kiri Creme Fromage Blanc Frais Carre 1X144Gr 8P</c:v>
                </c:pt>
                <c:pt idx="12">
                  <c:v>Kiri Gouter Fromage Blanc Dips Boite 1X175Gr 5P</c:v>
                </c:pt>
                <c:pt idx="13">
                  <c:v>La Vache Qui Rit Nature Fromage Fondu Boite Ronde 1X512Gr 24+8P</c:v>
                </c:pt>
                <c:pt idx="14">
                  <c:v>Boursin Salade &amp; Aperitif Fromage Frais Des Afh 1X120Gr 1P</c:v>
                </c:pt>
                <c:pt idx="15">
                  <c:v>Boursin Classique Fromage Frais A Tartiner Afh 1X160Gr 10P</c:v>
                </c:pt>
                <c:pt idx="16">
                  <c:v>Boursin Classique Fromage Frais A Tartiner Afh Boite 1X150Gr 1P</c:v>
                </c:pt>
                <c:pt idx="17">
                  <c:v>Apericube Tonic Fromage Fondu Cube Assortis 1X250Gr 48P</c:v>
                </c:pt>
                <c:pt idx="18">
                  <c:v>Boursin Aperitif Roules Fromage Frais Roule Afh Et Jambon Fume Boite 1X100Gr 20P</c:v>
                </c:pt>
                <c:pt idx="19">
                  <c:v>Boursin Classique Fromage Frais A Tartiner Afh Boite 1X250Gr 1P</c:v>
                </c:pt>
                <c:pt idx="20">
                  <c:v>Apericube Soiree Match Aperitif 250G</c:v>
                </c:pt>
                <c:pt idx="21">
                  <c:v>Apericube Nature Fromage Fondu Cube 1X125Gr 24P</c:v>
                </c:pt>
                <c:pt idx="22">
                  <c:v>Apericube Edition Limitee Saison Fromage Fondu Cube Assortis 1X250Gr 48P</c:v>
                </c:pt>
                <c:pt idx="23">
                  <c:v>Kiri Gouter Fromage Blanc Dips Boite 1X280Gr 8P</c:v>
                </c:pt>
                <c:pt idx="24">
                  <c:v>La Vache Qui Rit Pik Et Croq' Fromage Fondu Dips Boite 1X175Gr 5P</c:v>
                </c:pt>
                <c:pt idx="25">
                  <c:v>Kiri Creme Fromage Blanc Frais Carre 1X432Gr 18+6P</c:v>
                </c:pt>
                <c:pt idx="26">
                  <c:v>La Vache Qui Rit Nature Fromage Fondu Boite Ronde 1X128Gr 8P</c:v>
                </c:pt>
                <c:pt idx="27">
                  <c:v>Boursin Aperitif Roules Fromage Frais Roule Ciboulette &amp; Echalote Jambon Fume Boite 1X100Gr 20P</c:v>
                </c:pt>
                <c:pt idx="28">
                  <c:v>Apericube Campagne Fromage Fondu Cube Assortis 1X125Gr 24P</c:v>
                </c:pt>
                <c:pt idx="29">
                  <c:v>Boursin Classique Fromage Frais A Tartiner Afh Boite 1X96Gr 6P</c:v>
                </c:pt>
                <c:pt idx="30">
                  <c:v>Boursin Onctueux Fromage Frais A Tartiner Afh 1X125Gr 1P</c:v>
                </c:pt>
                <c:pt idx="31">
                  <c:v>Boursin Salade &amp; Aperitif Fromage Frais Des Figue Noix 1X120Gr 1P</c:v>
                </c:pt>
                <c:pt idx="32">
                  <c:v>Mini Babybel Aros Soft Cheese Enfant 180G</c:v>
                </c:pt>
                <c:pt idx="33">
                  <c:v>Boursin Classique Fromage Frais A Tartiner Ciboulette &amp; Echalote Boite 1X150Gr 1P</c:v>
                </c:pt>
                <c:pt idx="34">
                  <c:v>Apericube Best Of Des Saveurs Fromage Fondu Cube Assortis 1X125Gr 24P</c:v>
                </c:pt>
                <c:pt idx="35">
                  <c:v>Apericube Edition Voyage Fromage Fondu Cube Assortis 1X250Gr 48P</c:v>
                </c:pt>
                <c:pt idx="36">
                  <c:v>Boursin Salade &amp; Aperitif Fromage Frais Des Ciboulette Echalote 1X120Gr 1P</c:v>
                </c:pt>
                <c:pt idx="37">
                  <c:v>Boursin Classique Fromage Frais A Tartiner Figue Et 3 Noix Boite 1X150Gr 1P</c:v>
                </c:pt>
                <c:pt idx="38">
                  <c:v>Boursin Salade &amp; Aperitif Soft Cheese Salade 120G</c:v>
                </c:pt>
                <c:pt idx="39">
                  <c:v>Boursin Salade &amp; Aperitif Fromage Frais Des Citron Romarin 1X120Gr 1P</c:v>
                </c:pt>
                <c:pt idx="40">
                  <c:v>Mini Babybel Aros Soft Cheese Enfant 110G</c:v>
                </c:pt>
                <c:pt idx="41">
                  <c:v>Babybel Mini Rolls St Paulin Ferme Sachet 1X85Gr 5P</c:v>
                </c:pt>
                <c:pt idx="42">
                  <c:v>Kiri Bio Fromage Blanc Frais Carre 1X144Gr 8P</c:v>
                </c:pt>
                <c:pt idx="43">
                  <c:v>Kiri Delicieusement Fouette Fromage Frais A Tartiner 1X125Gr 1P</c:v>
                </c:pt>
                <c:pt idx="44">
                  <c:v>Kiri Delicieusement Fouette Fromage Frais A Tartiner 1X210Gr 1P</c:v>
                </c:pt>
                <c:pt idx="45">
                  <c:v>La Vache Qui Rit Allegee Fromage Fondu Boite Ronde Allege 1X267Gr 16P</c:v>
                </c:pt>
                <c:pt idx="46">
                  <c:v>Boursin Aperitif Roules Aperitif 100G</c:v>
                </c:pt>
                <c:pt idx="47">
                  <c:v>Apericube Incontournable Fromage Fondu Cube Assortis 1X250Gr 48P</c:v>
                </c:pt>
                <c:pt idx="48">
                  <c:v>Boursin Vegetal Alternative Vegetale 150G</c:v>
                </c:pt>
                <c:pt idx="49">
                  <c:v>Apericube Hot Chalenge Aperitif 250G</c:v>
                </c:pt>
                <c:pt idx="50">
                  <c:v>Nurishh Les Tranches Vegetales Cheddar Vegetal Tranche Boite 1X160Gr 8P</c:v>
                </c:pt>
                <c:pt idx="51">
                  <c:v>Nurishh Le Rape Vegetal Specialite Vegetale Sachet 1X150Gr 1P</c:v>
                </c:pt>
                <c:pt idx="52">
                  <c:v>Apericube Jambon Fromage Fondu Cube 1X78Gr 15P</c:v>
                </c:pt>
                <c:pt idx="53">
                  <c:v>Nurishh Les Tranches Vegetales Emmental Vegetal Tranche Boite 1X160Gr 8P</c:v>
                </c:pt>
                <c:pt idx="54">
                  <c:v>Apericube Fromages Du Monde Aperitif 250G</c:v>
                </c:pt>
                <c:pt idx="55">
                  <c:v>Apericube Montagne Aperitif 250G</c:v>
                </c:pt>
                <c:pt idx="56">
                  <c:v>Apericube Long Drink Fromage Fondu Cube Assortis 1X125Gr 24P</c:v>
                </c:pt>
                <c:pt idx="57">
                  <c:v>Nurishh Le Palet Vegetal Specialite Vegetale Ovale Saveur Chevre Boite 1X140Gr 1P</c:v>
                </c:pt>
                <c:pt idx="58">
                  <c:v>Apericube Sucre Sale Fromage Fondu Cube Assortis 1X250Gr 48P</c:v>
                </c:pt>
                <c:pt idx="59">
                  <c:v>Apericube Selection Du Fromager Fromage Fondu Cube Assortis 1X250Gr 48P</c:v>
                </c:pt>
                <c:pt idx="60">
                  <c:v>Apericube Charcut' Fromages Fromage Fondu Cube Assortis 1X250Gr 48P</c:v>
                </c:pt>
                <c:pt idx="61">
                  <c:v>Apericube Carrement Toque Fromage Fondu Cube Assortis 1X250Gr 48P</c:v>
                </c:pt>
                <c:pt idx="62">
                  <c:v>Boursin Classique Fromage Frais A Tartiner 3 Noix Boite 1X150Gr 1P</c:v>
                </c:pt>
                <c:pt idx="63">
                  <c:v>Kiri Delicieusement Fouette Fromage Frais A Tartiner 1X160Gr 10P</c:v>
                </c:pt>
                <c:pt idx="64">
                  <c:v>Boursin Classique Fromage Frais A Tartiner 3 Noix 1X160Gr 10P</c:v>
                </c:pt>
                <c:pt idx="65">
                  <c:v>Nurishh Le Coeur Fleuri Vegetal Camembert Boite 1X140Gr 1P</c:v>
                </c:pt>
                <c:pt idx="66">
                  <c:v>Apericube Nature Fromage Fondu Cube 1X250Gr 48P</c:v>
                </c:pt>
                <c:pt idx="67">
                  <c:v>Nurishh Des Vegetaux Feta Vegetale Sachet 1X150Gr 1P</c:v>
                </c:pt>
                <c:pt idx="68">
                  <c:v>La Vache Qui Rit Bio Fromage Fondu Boite Ronde 1X128Gr 8P</c:v>
                </c:pt>
                <c:pt idx="69">
                  <c:v>Mini Babybel Rouge Filet St Paulin Ferme Sachet 1X40Gr 1P</c:v>
                </c:pt>
                <c:pt idx="70">
                  <c:v>Kiri Chevre Fromage Blanc Frais Carre 1X144Gr 8P</c:v>
                </c:pt>
                <c:pt idx="71">
                  <c:v>Boursin Onctueux Fromage Frais A Tartiner Afh 1X210Gr 1P</c:v>
                </c:pt>
                <c:pt idx="72">
                  <c:v>Mini Babybel Aros St Paulin Ferme Assortis Filet 1X180Gr 9P</c:v>
                </c:pt>
                <c:pt idx="73">
                  <c:v>Apericube P'Tits Plaisirs Fromage Fondu Cube 3 Fromages &amp; Jambon Cru Olive Verte 1X78Gr 15P</c:v>
                </c:pt>
                <c:pt idx="74">
                  <c:v>Boursin Salade &amp; Aperitif Fromage Frais Des Noisette Et 3 Noix 1X120Gr 1P</c:v>
                </c:pt>
                <c:pt idx="75">
                  <c:v>Nurishh Le Rape Vegetal Mozzarella Vegetale Sachet 1X150Gr 1P</c:v>
                </c:pt>
                <c:pt idx="76">
                  <c:v>Nurishh Le Rape Vegetal Specialite Vegetale Emmental Sachet 1X150Gr 1P</c:v>
                </c:pt>
                <c:pt idx="77">
                  <c:v>Nurishh Le Tartinable Vegetal Specialite Vegetale A Tartiner 1X130Gr 1P</c:v>
                </c:pt>
              </c:strCache>
            </c:strRef>
          </c:cat>
          <c:val>
            <c:numRef>
              <c:f>Sheet1!$D$2:$D$79</c:f>
              <c:numCache>
                <c:formatCode>General</c:formatCode>
                <c:ptCount val="78"/>
                <c:pt idx="0">
                  <c:v>9847.1717171717173</c:v>
                </c:pt>
                <c:pt idx="1">
                  <c:v>6247.3085106382978</c:v>
                </c:pt>
                <c:pt idx="2">
                  <c:v>5959.0842105263155</c:v>
                </c:pt>
                <c:pt idx="3">
                  <c:v>5730.8315789473681</c:v>
                </c:pt>
                <c:pt idx="4">
                  <c:v>5540.726315789474</c:v>
                </c:pt>
                <c:pt idx="5">
                  <c:v>4955.30303030303</c:v>
                </c:pt>
                <c:pt idx="6">
                  <c:v>5295.4395604395604</c:v>
                </c:pt>
                <c:pt idx="7">
                  <c:v>4486.8686868686873</c:v>
                </c:pt>
                <c:pt idx="8">
                  <c:v>4695.1808510638302</c:v>
                </c:pt>
                <c:pt idx="9">
                  <c:v>5252.7023809523807</c:v>
                </c:pt>
                <c:pt idx="10">
                  <c:v>4246.7938144329901</c:v>
                </c:pt>
                <c:pt idx="11">
                  <c:v>3152.0707070707072</c:v>
                </c:pt>
                <c:pt idx="12">
                  <c:v>3133.4242424242425</c:v>
                </c:pt>
                <c:pt idx="13">
                  <c:v>3901.6923076923076</c:v>
                </c:pt>
                <c:pt idx="14">
                  <c:v>2989.2525252525252</c:v>
                </c:pt>
                <c:pt idx="15">
                  <c:v>3016.855670103093</c:v>
                </c:pt>
                <c:pt idx="16">
                  <c:v>2637.1616161616162</c:v>
                </c:pt>
                <c:pt idx="17">
                  <c:v>3133.9156626506024</c:v>
                </c:pt>
                <c:pt idx="18">
                  <c:v>2727.5957446808511</c:v>
                </c:pt>
                <c:pt idx="19">
                  <c:v>2597.7391304347825</c:v>
                </c:pt>
                <c:pt idx="20">
                  <c:v>2703.1084337349398</c:v>
                </c:pt>
                <c:pt idx="21">
                  <c:v>2325.6236559139784</c:v>
                </c:pt>
                <c:pt idx="22">
                  <c:v>2839.7567567567567</c:v>
                </c:pt>
                <c:pt idx="23">
                  <c:v>2791.8194444444443</c:v>
                </c:pt>
                <c:pt idx="24">
                  <c:v>1662.4948453608247</c:v>
                </c:pt>
                <c:pt idx="25">
                  <c:v>2060.4788732394368</c:v>
                </c:pt>
                <c:pt idx="26">
                  <c:v>2246.375</c:v>
                </c:pt>
                <c:pt idx="27">
                  <c:v>1685.3544303797469</c:v>
                </c:pt>
                <c:pt idx="28">
                  <c:v>2010.5</c:v>
                </c:pt>
                <c:pt idx="29">
                  <c:v>1389.4269662921349</c:v>
                </c:pt>
                <c:pt idx="30">
                  <c:v>1244.0481927710844</c:v>
                </c:pt>
                <c:pt idx="31">
                  <c:v>1131.2087912087911</c:v>
                </c:pt>
                <c:pt idx="32">
                  <c:v>1429.621212121212</c:v>
                </c:pt>
                <c:pt idx="33">
                  <c:v>910.88636363636363</c:v>
                </c:pt>
                <c:pt idx="34">
                  <c:v>1142.4142857142858</c:v>
                </c:pt>
                <c:pt idx="35">
                  <c:v>2172.6363636363635</c:v>
                </c:pt>
                <c:pt idx="36">
                  <c:v>752.57142857142856</c:v>
                </c:pt>
                <c:pt idx="37">
                  <c:v>899.09230769230771</c:v>
                </c:pt>
                <c:pt idx="38">
                  <c:v>791.04225352112678</c:v>
                </c:pt>
                <c:pt idx="39">
                  <c:v>766.19444444444446</c:v>
                </c:pt>
                <c:pt idx="40">
                  <c:v>870.63157894736855</c:v>
                </c:pt>
                <c:pt idx="41">
                  <c:v>983.72727272727275</c:v>
                </c:pt>
                <c:pt idx="42">
                  <c:v>1040.8974358974358</c:v>
                </c:pt>
                <c:pt idx="43">
                  <c:v>676.1578947368422</c:v>
                </c:pt>
                <c:pt idx="44">
                  <c:v>815.08510638297878</c:v>
                </c:pt>
                <c:pt idx="45">
                  <c:v>926.59259259259261</c:v>
                </c:pt>
                <c:pt idx="46">
                  <c:v>727.37931034482767</c:v>
                </c:pt>
                <c:pt idx="47">
                  <c:v>2148.2222222222222</c:v>
                </c:pt>
                <c:pt idx="48">
                  <c:v>572.76</c:v>
                </c:pt>
                <c:pt idx="49">
                  <c:v>1276.7777777777778</c:v>
                </c:pt>
                <c:pt idx="50">
                  <c:v>477.45454545454544</c:v>
                </c:pt>
                <c:pt idx="51">
                  <c:v>402.65384615384613</c:v>
                </c:pt>
                <c:pt idx="52">
                  <c:v>3405</c:v>
                </c:pt>
                <c:pt idx="53">
                  <c:v>463.95238095238096</c:v>
                </c:pt>
                <c:pt idx="54">
                  <c:v>1270.5714285714284</c:v>
                </c:pt>
                <c:pt idx="55">
                  <c:v>1244</c:v>
                </c:pt>
                <c:pt idx="56">
                  <c:v>129.72727272727272</c:v>
                </c:pt>
                <c:pt idx="57">
                  <c:v>492.28571428571422</c:v>
                </c:pt>
                <c:pt idx="58">
                  <c:v>801.25</c:v>
                </c:pt>
                <c:pt idx="59">
                  <c:v>550.81818181818187</c:v>
                </c:pt>
                <c:pt idx="60">
                  <c:v>653</c:v>
                </c:pt>
                <c:pt idx="61">
                  <c:v>554.11111111111109</c:v>
                </c:pt>
                <c:pt idx="62">
                  <c:v>394.1</c:v>
                </c:pt>
                <c:pt idx="63">
                  <c:v>105.21212121212122</c:v>
                </c:pt>
                <c:pt idx="64">
                  <c:v>517.4</c:v>
                </c:pt>
                <c:pt idx="65">
                  <c:v>204.83333333333334</c:v>
                </c:pt>
                <c:pt idx="66">
                  <c:v>671.33333333333337</c:v>
                </c:pt>
                <c:pt idx="67">
                  <c:v>173.90909090909091</c:v>
                </c:pt>
                <c:pt idx="68">
                  <c:v>110.9375</c:v>
                </c:pt>
                <c:pt idx="69">
                  <c:v>332.2</c:v>
                </c:pt>
                <c:pt idx="70">
                  <c:v>399</c:v>
                </c:pt>
                <c:pt idx="71">
                  <c:v>532</c:v>
                </c:pt>
                <c:pt idx="72">
                  <c:v>105.6</c:v>
                </c:pt>
                <c:pt idx="73">
                  <c:v>225</c:v>
                </c:pt>
                <c:pt idx="74">
                  <c:v>68.333333333333329</c:v>
                </c:pt>
                <c:pt idx="75">
                  <c:v>155</c:v>
                </c:pt>
                <c:pt idx="76">
                  <c:v>153</c:v>
                </c:pt>
                <c:pt idx="77">
                  <c:v>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8</c:f>
              <c:strCache>
                <c:ptCount val="37"/>
                <c:pt idx="0">
                  <c:v>Mini Babybel Rouge Filet St Paulin Ferme 1X132Gr 6P</c:v>
                </c:pt>
                <c:pt idx="1">
                  <c:v>La Vache Qui Rit Nature Fromage Fondu Boite Ronde 1X192Gr 12P</c:v>
                </c:pt>
                <c:pt idx="2">
                  <c:v>Kiri Creme Fromage Blanc Frais Carre 1X144Gr 8P</c:v>
                </c:pt>
                <c:pt idx="3">
                  <c:v>Boursin Classique Fromage Frais A Tartiner Afh Boite 1X150Gr 1P</c:v>
                </c:pt>
                <c:pt idx="4">
                  <c:v>La Vache Qui Rit Nature Fromage Fondu Boite Ronde 1X384Gr 24P</c:v>
                </c:pt>
                <c:pt idx="5">
                  <c:v>Kiri Gouter Fromage Blanc Dips Boite 1X175Gr 5P</c:v>
                </c:pt>
                <c:pt idx="6">
                  <c:v>Boursin Aperitif Roules Fromage Frais Roule Afh Et Jambon Fume Boite 1X100Gr 20P</c:v>
                </c:pt>
                <c:pt idx="7">
                  <c:v>Boursin Salade &amp; Aperitif Fromage Frais Des Afh 1X120Gr 1P</c:v>
                </c:pt>
                <c:pt idx="8">
                  <c:v>Apericube Edition Limitee Best Of Foot Fromage Fondu Cube Assortis 1X250Gr 48P</c:v>
                </c:pt>
                <c:pt idx="9">
                  <c:v>Boursin Classique Fromage Frais A Tartiner Afh 1X160Gr 10P</c:v>
                </c:pt>
                <c:pt idx="10">
                  <c:v>Mini Babybel Rouge Filet St Paulin Ferme 1X264Gr 12P</c:v>
                </c:pt>
                <c:pt idx="11">
                  <c:v>Apericube Vertical Soiree Apero Fromage Fondu Cube Assortis 1X125Gr 24P</c:v>
                </c:pt>
                <c:pt idx="12">
                  <c:v>Apericube Cocktail Fromage Fondu Cube Assortis 1X250Gr 48P</c:v>
                </c:pt>
                <c:pt idx="13">
                  <c:v>La Vache Qui Rit Pik Et Croq' Fromage Fondu Dips Boite 1X175Gr 5P</c:v>
                </c:pt>
                <c:pt idx="14">
                  <c:v>Kiri Delicieusement Fouette Fromage Frais A Tartiner 1X125Gr 1P</c:v>
                </c:pt>
                <c:pt idx="15">
                  <c:v>Apericube Vertical Nature Fromage Fondu Cube 1X125Gr 24P</c:v>
                </c:pt>
                <c:pt idx="16">
                  <c:v>Apericube Best Of Des Saveurs Fromage Fondu Cube Assortis 1X125Gr 24P</c:v>
                </c:pt>
                <c:pt idx="17">
                  <c:v>La Vache Qui Rit Nature Fromage Fondu Boite Ronde 1X128Gr 8P</c:v>
                </c:pt>
                <c:pt idx="18">
                  <c:v>Boursin Aperitif Roules Fromage Frais Roule Ciboulette &amp; Echalote Jambon Fume Boite 1X100Gr 20P</c:v>
                </c:pt>
                <c:pt idx="19">
                  <c:v>Boursin Classique Fromage Frais A Tartiner Afh Boite 1X96Gr 6P</c:v>
                </c:pt>
                <c:pt idx="20">
                  <c:v>Apericube Nature Fromage Fondu Cube 1X125Gr 24P</c:v>
                </c:pt>
                <c:pt idx="21">
                  <c:v>Boursin Classique Fromage Frais A Tartiner Ciboulette &amp; Echalote Boite 1X150Gr 1P</c:v>
                </c:pt>
                <c:pt idx="22">
                  <c:v>Mini Babybel Aros Soft Cheese Enfant 180G</c:v>
                </c:pt>
                <c:pt idx="23">
                  <c:v>Babybel Mini Rolls St Paulin Ferme Sachet 1X85Gr 5P</c:v>
                </c:pt>
                <c:pt idx="24">
                  <c:v>Nurishh Les Tranches Vegetales Emmental Vegetal Tranche Boite 1X160Gr 8P</c:v>
                </c:pt>
                <c:pt idx="25">
                  <c:v>Apericube Long Drink Fromage Fondu Cube Assortis 1X125Gr 24P</c:v>
                </c:pt>
                <c:pt idx="26">
                  <c:v>Mini Babybel Rouge Filet St Paulin Ferme Sachet 1X40Gr 1P</c:v>
                </c:pt>
                <c:pt idx="27">
                  <c:v>Kiri Creme Fromage Blanc Frais Carre 1X216Gr 12P</c:v>
                </c:pt>
                <c:pt idx="28">
                  <c:v>La Vache Qui Rit Pik Et Croq' Fromage Fondu Dips Boite 1X35Gr 1P</c:v>
                </c:pt>
                <c:pt idx="29">
                  <c:v>Apericube Soiree Match Aperitif 250G</c:v>
                </c:pt>
                <c:pt idx="30">
                  <c:v>Boursin Classique Fromage Frais A Tartiner Afh Boite 1X80Gr 1P</c:v>
                </c:pt>
                <c:pt idx="31">
                  <c:v>Kiri Gouter Fromage Blanc Dips Boite 1X280Gr 8P</c:v>
                </c:pt>
                <c:pt idx="32">
                  <c:v>Nurishh Les Tranches Vegetales Cheddar Vegetal Tranche Boite 1X160Gr 8P</c:v>
                </c:pt>
                <c:pt idx="33">
                  <c:v>Nurishh Le Coeur Fleuri Vegetal Camembert Boite 1X140Gr 1P</c:v>
                </c:pt>
                <c:pt idx="34">
                  <c:v>Kiri Delicieusement Fouette Fromage Frais A Tartiner 1X160Gr 10P</c:v>
                </c:pt>
                <c:pt idx="35">
                  <c:v>La Vache Qui Rit Bio Fromage Fondu Boite Ronde 1X128Gr 8P</c:v>
                </c:pt>
                <c:pt idx="36">
                  <c:v>Mini Babybel Aros St Paulin Ferme Raclette Filet 1X132Gr 6P</c:v>
                </c:pt>
              </c:strCache>
            </c:strRef>
          </c:cat>
          <c:val>
            <c:numRef>
              <c:f>Sheet1!$B$2:$B$38</c:f>
              <c:numCache>
                <c:formatCode>General</c:formatCode>
                <c:ptCount val="37"/>
                <c:pt idx="0">
                  <c:v>0.96</c:v>
                </c:pt>
                <c:pt idx="1">
                  <c:v>0.89</c:v>
                </c:pt>
                <c:pt idx="2">
                  <c:v>0.96</c:v>
                </c:pt>
                <c:pt idx="3">
                  <c:v>0.83</c:v>
                </c:pt>
                <c:pt idx="4">
                  <c:v>0.45</c:v>
                </c:pt>
                <c:pt idx="5">
                  <c:v>0.71</c:v>
                </c:pt>
                <c:pt idx="6">
                  <c:v>0.56000000000000005</c:v>
                </c:pt>
                <c:pt idx="7">
                  <c:v>0.79</c:v>
                </c:pt>
                <c:pt idx="8">
                  <c:v>0.43</c:v>
                </c:pt>
                <c:pt idx="9">
                  <c:v>0.49</c:v>
                </c:pt>
                <c:pt idx="10">
                  <c:v>0.2</c:v>
                </c:pt>
                <c:pt idx="11">
                  <c:v>0.56000000000000005</c:v>
                </c:pt>
                <c:pt idx="12">
                  <c:v>0.33</c:v>
                </c:pt>
                <c:pt idx="13">
                  <c:v>0.51</c:v>
                </c:pt>
                <c:pt idx="14">
                  <c:v>0.54</c:v>
                </c:pt>
                <c:pt idx="15">
                  <c:v>0.28000000000000003</c:v>
                </c:pt>
                <c:pt idx="16">
                  <c:v>0.19</c:v>
                </c:pt>
                <c:pt idx="17">
                  <c:v>0.09</c:v>
                </c:pt>
                <c:pt idx="18">
                  <c:v>7.0000000000000007E-2</c:v>
                </c:pt>
                <c:pt idx="19">
                  <c:v>0.09</c:v>
                </c:pt>
                <c:pt idx="20">
                  <c:v>0.18</c:v>
                </c:pt>
                <c:pt idx="21">
                  <c:v>0.08</c:v>
                </c:pt>
                <c:pt idx="22">
                  <c:v>0.05</c:v>
                </c:pt>
                <c:pt idx="23">
                  <c:v>0.08</c:v>
                </c:pt>
                <c:pt idx="24">
                  <c:v>0.08</c:v>
                </c:pt>
                <c:pt idx="25">
                  <c:v>0.22</c:v>
                </c:pt>
                <c:pt idx="26">
                  <c:v>0.06</c:v>
                </c:pt>
                <c:pt idx="27">
                  <c:v>0.02</c:v>
                </c:pt>
                <c:pt idx="28">
                  <c:v>0.05</c:v>
                </c:pt>
                <c:pt idx="29">
                  <c:v>0.01</c:v>
                </c:pt>
                <c:pt idx="30">
                  <c:v>0.11</c:v>
                </c:pt>
                <c:pt idx="31">
                  <c:v>0.02</c:v>
                </c:pt>
                <c:pt idx="32">
                  <c:v>0.03</c:v>
                </c:pt>
                <c:pt idx="33">
                  <c:v>0.01</c:v>
                </c:pt>
                <c:pt idx="34">
                  <c:v>0.1</c:v>
                </c:pt>
                <c:pt idx="35">
                  <c:v>0.05</c:v>
                </c:pt>
                <c:pt idx="36">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8</c:f>
              <c:strCache>
                <c:ptCount val="37"/>
                <c:pt idx="0">
                  <c:v>Mini Babybel Rouge Filet St Paulin Ferme 1X132Gr 6P</c:v>
                </c:pt>
                <c:pt idx="1">
                  <c:v>La Vache Qui Rit Nature Fromage Fondu Boite Ronde 1X192Gr 12P</c:v>
                </c:pt>
                <c:pt idx="2">
                  <c:v>Kiri Creme Fromage Blanc Frais Carre 1X144Gr 8P</c:v>
                </c:pt>
                <c:pt idx="3">
                  <c:v>Boursin Classique Fromage Frais A Tartiner Afh Boite 1X150Gr 1P</c:v>
                </c:pt>
                <c:pt idx="4">
                  <c:v>La Vache Qui Rit Nature Fromage Fondu Boite Ronde 1X384Gr 24P</c:v>
                </c:pt>
                <c:pt idx="5">
                  <c:v>Kiri Gouter Fromage Blanc Dips Boite 1X175Gr 5P</c:v>
                </c:pt>
                <c:pt idx="6">
                  <c:v>Boursin Aperitif Roules Fromage Frais Roule Afh Et Jambon Fume Boite 1X100Gr 20P</c:v>
                </c:pt>
                <c:pt idx="7">
                  <c:v>Boursin Salade &amp; Aperitif Fromage Frais Des Afh 1X120Gr 1P</c:v>
                </c:pt>
                <c:pt idx="8">
                  <c:v>Apericube Edition Limitee Best Of Foot Fromage Fondu Cube Assortis 1X250Gr 48P</c:v>
                </c:pt>
                <c:pt idx="9">
                  <c:v>Boursin Classique Fromage Frais A Tartiner Afh 1X160Gr 10P</c:v>
                </c:pt>
                <c:pt idx="10">
                  <c:v>Mini Babybel Rouge Filet St Paulin Ferme 1X264Gr 12P</c:v>
                </c:pt>
                <c:pt idx="11">
                  <c:v>Apericube Vertical Soiree Apero Fromage Fondu Cube Assortis 1X125Gr 24P</c:v>
                </c:pt>
                <c:pt idx="12">
                  <c:v>Apericube Cocktail Fromage Fondu Cube Assortis 1X250Gr 48P</c:v>
                </c:pt>
                <c:pt idx="13">
                  <c:v>La Vache Qui Rit Pik Et Croq' Fromage Fondu Dips Boite 1X175Gr 5P</c:v>
                </c:pt>
                <c:pt idx="14">
                  <c:v>Kiri Delicieusement Fouette Fromage Frais A Tartiner 1X125Gr 1P</c:v>
                </c:pt>
                <c:pt idx="15">
                  <c:v>Apericube Vertical Nature Fromage Fondu Cube 1X125Gr 24P</c:v>
                </c:pt>
                <c:pt idx="16">
                  <c:v>Apericube Best Of Des Saveurs Fromage Fondu Cube Assortis 1X125Gr 24P</c:v>
                </c:pt>
                <c:pt idx="17">
                  <c:v>La Vache Qui Rit Nature Fromage Fondu Boite Ronde 1X128Gr 8P</c:v>
                </c:pt>
                <c:pt idx="18">
                  <c:v>Boursin Aperitif Roules Fromage Frais Roule Ciboulette &amp; Echalote Jambon Fume Boite 1X100Gr 20P</c:v>
                </c:pt>
                <c:pt idx="19">
                  <c:v>Boursin Classique Fromage Frais A Tartiner Afh Boite 1X96Gr 6P</c:v>
                </c:pt>
                <c:pt idx="20">
                  <c:v>Apericube Nature Fromage Fondu Cube 1X125Gr 24P</c:v>
                </c:pt>
                <c:pt idx="21">
                  <c:v>Boursin Classique Fromage Frais A Tartiner Ciboulette &amp; Echalote Boite 1X150Gr 1P</c:v>
                </c:pt>
                <c:pt idx="22">
                  <c:v>Mini Babybel Aros Soft Cheese Enfant 180G</c:v>
                </c:pt>
                <c:pt idx="23">
                  <c:v>Babybel Mini Rolls St Paulin Ferme Sachet 1X85Gr 5P</c:v>
                </c:pt>
                <c:pt idx="24">
                  <c:v>Nurishh Les Tranches Vegetales Emmental Vegetal Tranche Boite 1X160Gr 8P</c:v>
                </c:pt>
                <c:pt idx="25">
                  <c:v>Apericube Long Drink Fromage Fondu Cube Assortis 1X125Gr 24P</c:v>
                </c:pt>
                <c:pt idx="26">
                  <c:v>Mini Babybel Rouge Filet St Paulin Ferme Sachet 1X40Gr 1P</c:v>
                </c:pt>
                <c:pt idx="27">
                  <c:v>Kiri Creme Fromage Blanc Frais Carre 1X216Gr 12P</c:v>
                </c:pt>
                <c:pt idx="28">
                  <c:v>La Vache Qui Rit Pik Et Croq' Fromage Fondu Dips Boite 1X35Gr 1P</c:v>
                </c:pt>
                <c:pt idx="29">
                  <c:v>Apericube Soiree Match Aperitif 250G</c:v>
                </c:pt>
                <c:pt idx="30">
                  <c:v>Boursin Classique Fromage Frais A Tartiner Afh Boite 1X80Gr 1P</c:v>
                </c:pt>
                <c:pt idx="31">
                  <c:v>Kiri Gouter Fromage Blanc Dips Boite 1X280Gr 8P</c:v>
                </c:pt>
                <c:pt idx="32">
                  <c:v>Nurishh Les Tranches Vegetales Cheddar Vegetal Tranche Boite 1X160Gr 8P</c:v>
                </c:pt>
                <c:pt idx="33">
                  <c:v>Nurishh Le Coeur Fleuri Vegetal Camembert Boite 1X140Gr 1P</c:v>
                </c:pt>
                <c:pt idx="34">
                  <c:v>Kiri Delicieusement Fouette Fromage Frais A Tartiner 1X160Gr 10P</c:v>
                </c:pt>
                <c:pt idx="35">
                  <c:v>La Vache Qui Rit Bio Fromage Fondu Boite Ronde 1X128Gr 8P</c:v>
                </c:pt>
                <c:pt idx="36">
                  <c:v>Mini Babybel Aros St Paulin Ferme Raclette Filet 1X132Gr 6P</c:v>
                </c:pt>
              </c:strCache>
            </c:strRef>
          </c:cat>
          <c:val>
            <c:numRef>
              <c:f>Sheet1!$C$2:$C$38</c:f>
              <c:numCache>
                <c:formatCode>General</c:formatCode>
                <c:ptCount val="37"/>
                <c:pt idx="0">
                  <c:v>0.18835705600896618</c:v>
                </c:pt>
                <c:pt idx="1">
                  <c:v>0.32566947234729221</c:v>
                </c:pt>
                <c:pt idx="2">
                  <c:v>0.44690718961199394</c:v>
                </c:pt>
                <c:pt idx="3">
                  <c:v>0.52249326871848467</c:v>
                </c:pt>
                <c:pt idx="4">
                  <c:v>0.58675709200457715</c:v>
                </c:pt>
                <c:pt idx="5">
                  <c:v>0.63870571236029972</c:v>
                </c:pt>
                <c:pt idx="6">
                  <c:v>0.69032669084780918</c:v>
                </c:pt>
                <c:pt idx="7">
                  <c:v>0.73543614511548772</c:v>
                </c:pt>
                <c:pt idx="8">
                  <c:v>0.77857422611992888</c:v>
                </c:pt>
                <c:pt idx="9">
                  <c:v>0.81518973879662182</c:v>
                </c:pt>
                <c:pt idx="10">
                  <c:v>0.84623288546748798</c:v>
                </c:pt>
                <c:pt idx="11">
                  <c:v>0.87720894940878247</c:v>
                </c:pt>
                <c:pt idx="12">
                  <c:v>0.90450855253671925</c:v>
                </c:pt>
                <c:pt idx="13">
                  <c:v>0.9308532493708439</c:v>
                </c:pt>
                <c:pt idx="14">
                  <c:v>0.94574500177421561</c:v>
                </c:pt>
                <c:pt idx="15">
                  <c:v>0.95426532651189244</c:v>
                </c:pt>
                <c:pt idx="16">
                  <c:v>0.96189271467240423</c:v>
                </c:pt>
                <c:pt idx="17">
                  <c:v>0.96690571706427164</c:v>
                </c:pt>
                <c:pt idx="18">
                  <c:v>0.97100001329383367</c:v>
                </c:pt>
                <c:pt idx="19">
                  <c:v>0.97452247015790017</c:v>
                </c:pt>
                <c:pt idx="20">
                  <c:v>0.97742891122480191</c:v>
                </c:pt>
                <c:pt idx="21">
                  <c:v>0.98007417959151133</c:v>
                </c:pt>
                <c:pt idx="22">
                  <c:v>0.98267649864965345</c:v>
                </c:pt>
                <c:pt idx="23">
                  <c:v>0.98476465312809036</c:v>
                </c:pt>
                <c:pt idx="24">
                  <c:v>0.98671434721652707</c:v>
                </c:pt>
                <c:pt idx="25">
                  <c:v>0.98863643103517052</c:v>
                </c:pt>
                <c:pt idx="26">
                  <c:v>0.99048856883700442</c:v>
                </c:pt>
                <c:pt idx="27">
                  <c:v>0.99229877993285598</c:v>
                </c:pt>
                <c:pt idx="28">
                  <c:v>0.99380159669167623</c:v>
                </c:pt>
                <c:pt idx="29">
                  <c:v>0.99497022692573978</c:v>
                </c:pt>
                <c:pt idx="30">
                  <c:v>0.99608915867417547</c:v>
                </c:pt>
                <c:pt idx="31">
                  <c:v>0.99718518412470858</c:v>
                </c:pt>
                <c:pt idx="32">
                  <c:v>0.99780876718100187</c:v>
                </c:pt>
                <c:pt idx="33">
                  <c:v>0.99825850779785619</c:v>
                </c:pt>
                <c:pt idx="34">
                  <c:v>0.99861069212810771</c:v>
                </c:pt>
                <c:pt idx="35">
                  <c:v>0.99893751591425284</c:v>
                </c:pt>
                <c:pt idx="36">
                  <c:v>0.99973412332791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8</c:f>
              <c:strCache>
                <c:ptCount val="37"/>
                <c:pt idx="0">
                  <c:v>Mini Babybel Rouge Filet St Paulin Ferme 1X132Gr 6P</c:v>
                </c:pt>
                <c:pt idx="1">
                  <c:v>La Vache Qui Rit Nature Fromage Fondu Boite Ronde 1X192Gr 12P</c:v>
                </c:pt>
                <c:pt idx="2">
                  <c:v>Kiri Creme Fromage Blanc Frais Carre 1X144Gr 8P</c:v>
                </c:pt>
                <c:pt idx="3">
                  <c:v>Boursin Classique Fromage Frais A Tartiner Afh Boite 1X150Gr 1P</c:v>
                </c:pt>
                <c:pt idx="4">
                  <c:v>La Vache Qui Rit Nature Fromage Fondu Boite Ronde 1X384Gr 24P</c:v>
                </c:pt>
                <c:pt idx="5">
                  <c:v>Kiri Gouter Fromage Blanc Dips Boite 1X175Gr 5P</c:v>
                </c:pt>
                <c:pt idx="6">
                  <c:v>Boursin Aperitif Roules Fromage Frais Roule Afh Et Jambon Fume Boite 1X100Gr 20P</c:v>
                </c:pt>
                <c:pt idx="7">
                  <c:v>Boursin Salade &amp; Aperitif Fromage Frais Des Afh 1X120Gr 1P</c:v>
                </c:pt>
                <c:pt idx="8">
                  <c:v>Apericube Edition Limitee Best Of Foot Fromage Fondu Cube Assortis 1X250Gr 48P</c:v>
                </c:pt>
                <c:pt idx="9">
                  <c:v>Boursin Classique Fromage Frais A Tartiner Afh 1X160Gr 10P</c:v>
                </c:pt>
                <c:pt idx="10">
                  <c:v>Mini Babybel Rouge Filet St Paulin Ferme 1X264Gr 12P</c:v>
                </c:pt>
                <c:pt idx="11">
                  <c:v>Apericube Vertical Soiree Apero Fromage Fondu Cube Assortis 1X125Gr 24P</c:v>
                </c:pt>
                <c:pt idx="12">
                  <c:v>Apericube Cocktail Fromage Fondu Cube Assortis 1X250Gr 48P</c:v>
                </c:pt>
                <c:pt idx="13">
                  <c:v>La Vache Qui Rit Pik Et Croq' Fromage Fondu Dips Boite 1X175Gr 5P</c:v>
                </c:pt>
                <c:pt idx="14">
                  <c:v>Kiri Delicieusement Fouette Fromage Frais A Tartiner 1X125Gr 1P</c:v>
                </c:pt>
                <c:pt idx="15">
                  <c:v>Apericube Vertical Nature Fromage Fondu Cube 1X125Gr 24P</c:v>
                </c:pt>
                <c:pt idx="16">
                  <c:v>Apericube Best Of Des Saveurs Fromage Fondu Cube Assortis 1X125Gr 24P</c:v>
                </c:pt>
                <c:pt idx="17">
                  <c:v>La Vache Qui Rit Nature Fromage Fondu Boite Ronde 1X128Gr 8P</c:v>
                </c:pt>
                <c:pt idx="18">
                  <c:v>Boursin Aperitif Roules Fromage Frais Roule Ciboulette &amp; Echalote Jambon Fume Boite 1X100Gr 20P</c:v>
                </c:pt>
                <c:pt idx="19">
                  <c:v>Boursin Classique Fromage Frais A Tartiner Afh Boite 1X96Gr 6P</c:v>
                </c:pt>
                <c:pt idx="20">
                  <c:v>Apericube Nature Fromage Fondu Cube 1X125Gr 24P</c:v>
                </c:pt>
                <c:pt idx="21">
                  <c:v>Boursin Classique Fromage Frais A Tartiner Ciboulette &amp; Echalote Boite 1X150Gr 1P</c:v>
                </c:pt>
                <c:pt idx="22">
                  <c:v>Mini Babybel Aros Soft Cheese Enfant 180G</c:v>
                </c:pt>
                <c:pt idx="23">
                  <c:v>Babybel Mini Rolls St Paulin Ferme Sachet 1X85Gr 5P</c:v>
                </c:pt>
                <c:pt idx="24">
                  <c:v>Nurishh Les Tranches Vegetales Emmental Vegetal Tranche Boite 1X160Gr 8P</c:v>
                </c:pt>
                <c:pt idx="25">
                  <c:v>Apericube Long Drink Fromage Fondu Cube Assortis 1X125Gr 24P</c:v>
                </c:pt>
                <c:pt idx="26">
                  <c:v>Mini Babybel Rouge Filet St Paulin Ferme Sachet 1X40Gr 1P</c:v>
                </c:pt>
                <c:pt idx="27">
                  <c:v>Kiri Creme Fromage Blanc Frais Carre 1X216Gr 12P</c:v>
                </c:pt>
                <c:pt idx="28">
                  <c:v>La Vache Qui Rit Pik Et Croq' Fromage Fondu Dips Boite 1X35Gr 1P</c:v>
                </c:pt>
                <c:pt idx="29">
                  <c:v>Apericube Soiree Match Aperitif 250G</c:v>
                </c:pt>
                <c:pt idx="30">
                  <c:v>Boursin Classique Fromage Frais A Tartiner Afh Boite 1X80Gr 1P</c:v>
                </c:pt>
                <c:pt idx="31">
                  <c:v>Kiri Gouter Fromage Blanc Dips Boite 1X280Gr 8P</c:v>
                </c:pt>
                <c:pt idx="32">
                  <c:v>Nurishh Les Tranches Vegetales Cheddar Vegetal Tranche Boite 1X160Gr 8P</c:v>
                </c:pt>
                <c:pt idx="33">
                  <c:v>Nurishh Le Coeur Fleuri Vegetal Camembert Boite 1X140Gr 1P</c:v>
                </c:pt>
                <c:pt idx="34">
                  <c:v>Kiri Delicieusement Fouette Fromage Frais A Tartiner 1X160Gr 10P</c:v>
                </c:pt>
                <c:pt idx="35">
                  <c:v>La Vache Qui Rit Bio Fromage Fondu Boite Ronde 1X128Gr 8P</c:v>
                </c:pt>
                <c:pt idx="36">
                  <c:v>Mini Babybel Aros St Paulin Ferme Raclette Filet 1X132Gr 6P</c:v>
                </c:pt>
              </c:strCache>
            </c:strRef>
          </c:cat>
          <c:val>
            <c:numRef>
              <c:f>Sheet1!$D$2:$D$38</c:f>
              <c:numCache>
                <c:formatCode>General</c:formatCode>
                <c:ptCount val="37"/>
                <c:pt idx="0">
                  <c:v>9593.4270833333339</c:v>
                </c:pt>
                <c:pt idx="1">
                  <c:v>7543.6741573033705</c:v>
                </c:pt>
                <c:pt idx="2">
                  <c:v>6174.895833333333</c:v>
                </c:pt>
                <c:pt idx="3">
                  <c:v>4452.734939759036</c:v>
                </c:pt>
                <c:pt idx="4">
                  <c:v>6982.6</c:v>
                </c:pt>
                <c:pt idx="5">
                  <c:v>3577.4929577464791</c:v>
                </c:pt>
                <c:pt idx="6">
                  <c:v>4507.1428571428569</c:v>
                </c:pt>
                <c:pt idx="7">
                  <c:v>2791.9240506329115</c:v>
                </c:pt>
                <c:pt idx="8">
                  <c:v>4905.1860465116279</c:v>
                </c:pt>
                <c:pt idx="9">
                  <c:v>3653.6938775510203</c:v>
                </c:pt>
                <c:pt idx="10">
                  <c:v>7589.25</c:v>
                </c:pt>
                <c:pt idx="11">
                  <c:v>2704.5892857142853</c:v>
                </c:pt>
                <c:pt idx="12">
                  <c:v>4044.878787878788</c:v>
                </c:pt>
                <c:pt idx="13">
                  <c:v>2525.7254901960782</c:v>
                </c:pt>
                <c:pt idx="14">
                  <c:v>1348.3888888888889</c:v>
                </c:pt>
                <c:pt idx="15">
                  <c:v>1487.8571428571427</c:v>
                </c:pt>
                <c:pt idx="16">
                  <c:v>1962.8421052631579</c:v>
                </c:pt>
                <c:pt idx="17">
                  <c:v>2723.4444444444443</c:v>
                </c:pt>
                <c:pt idx="18">
                  <c:v>2859.8571428571427</c:v>
                </c:pt>
                <c:pt idx="19">
                  <c:v>1913.6666666666667</c:v>
                </c:pt>
                <c:pt idx="20">
                  <c:v>789.5</c:v>
                </c:pt>
                <c:pt idx="21">
                  <c:v>1616.75</c:v>
                </c:pt>
                <c:pt idx="22">
                  <c:v>2544.8000000000002</c:v>
                </c:pt>
                <c:pt idx="23">
                  <c:v>1276.25</c:v>
                </c:pt>
                <c:pt idx="24">
                  <c:v>1191.625</c:v>
                </c:pt>
                <c:pt idx="25">
                  <c:v>427.18181818181819</c:v>
                </c:pt>
                <c:pt idx="26">
                  <c:v>1509.3333333333333</c:v>
                </c:pt>
                <c:pt idx="27">
                  <c:v>4425.5</c:v>
                </c:pt>
                <c:pt idx="28">
                  <c:v>1469.6</c:v>
                </c:pt>
                <c:pt idx="29">
                  <c:v>5714</c:v>
                </c:pt>
                <c:pt idx="30">
                  <c:v>497.36363636363637</c:v>
                </c:pt>
                <c:pt idx="31">
                  <c:v>2679.5</c:v>
                </c:pt>
                <c:pt idx="32">
                  <c:v>1016.3333333333334</c:v>
                </c:pt>
                <c:pt idx="33">
                  <c:v>2199</c:v>
                </c:pt>
                <c:pt idx="34">
                  <c:v>172.2</c:v>
                </c:pt>
                <c:pt idx="35">
                  <c:v>319.60000000000002</c:v>
                </c:pt>
                <c:pt idx="36">
                  <c:v>10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Caprice Des Dieux</c:v>
                </c:pt>
                <c:pt idx="3">
                  <c:v>St Moret</c:v>
                </c:pt>
                <c:pt idx="4">
                  <c:v>Galbani</c:v>
                </c:pt>
                <c:pt idx="5">
                  <c:v>La Vache Qui Rit</c:v>
                </c:pt>
                <c:pt idx="6">
                  <c:v>Soignon</c:v>
                </c:pt>
                <c:pt idx="7">
                  <c:v>Kiri</c:v>
                </c:pt>
                <c:pt idx="8">
                  <c:v>Boursin</c:v>
                </c:pt>
                <c:pt idx="9">
                  <c:v>Others</c:v>
                </c:pt>
              </c:strCache>
            </c:strRef>
          </c:cat>
          <c:val>
            <c:numRef>
              <c:f>Sheet1!$B$2:$B$11</c:f>
              <c:numCache>
                <c:formatCode>General</c:formatCode>
                <c:ptCount val="10"/>
                <c:pt idx="0">
                  <c:v>0.31976910226599248</c:v>
                </c:pt>
                <c:pt idx="1">
                  <c:v>4.3647271502303991E-2</c:v>
                </c:pt>
                <c:pt idx="2">
                  <c:v>4.1509110688754472E-2</c:v>
                </c:pt>
                <c:pt idx="3">
                  <c:v>4.0361514876845833E-2</c:v>
                </c:pt>
                <c:pt idx="4">
                  <c:v>3.8477355045780468E-2</c:v>
                </c:pt>
                <c:pt idx="5">
                  <c:v>3.655980137402326E-2</c:v>
                </c:pt>
                <c:pt idx="6">
                  <c:v>3.5011227603235377E-2</c:v>
                </c:pt>
                <c:pt idx="7">
                  <c:v>3.0971391458898715E-2</c:v>
                </c:pt>
                <c:pt idx="8">
                  <c:v>1.8689143149204782E-2</c:v>
                </c:pt>
                <c:pt idx="9">
                  <c:v>0.3950040820349606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Caprice Des Dieux</c:v>
                </c:pt>
                <c:pt idx="3">
                  <c:v>St Moret</c:v>
                </c:pt>
                <c:pt idx="4">
                  <c:v>Galbani</c:v>
                </c:pt>
                <c:pt idx="5">
                  <c:v>La Vache Qui Rit</c:v>
                </c:pt>
                <c:pt idx="6">
                  <c:v>Soignon</c:v>
                </c:pt>
                <c:pt idx="7">
                  <c:v>Kiri</c:v>
                </c:pt>
                <c:pt idx="8">
                  <c:v>Boursin</c:v>
                </c:pt>
                <c:pt idx="9">
                  <c:v>Others</c:v>
                </c:pt>
              </c:strCache>
            </c:strRef>
          </c:cat>
          <c:val>
            <c:numRef>
              <c:f>Sheet1!$C$2:$C$11</c:f>
              <c:numCache>
                <c:formatCode>General</c:formatCode>
                <c:ptCount val="10"/>
                <c:pt idx="0">
                  <c:v>2.7448397013614416E-5</c:v>
                </c:pt>
                <c:pt idx="1">
                  <c:v>4.583882301273607E-2</c:v>
                </c:pt>
                <c:pt idx="2">
                  <c:v>3.0687307861220918E-2</c:v>
                </c:pt>
                <c:pt idx="3">
                  <c:v>3.8784584980237166E-2</c:v>
                </c:pt>
                <c:pt idx="4">
                  <c:v>3.6122090469916573E-2</c:v>
                </c:pt>
                <c:pt idx="5">
                  <c:v>2.6075977162933694E-2</c:v>
                </c:pt>
                <c:pt idx="6">
                  <c:v>3.8921826965305238E-2</c:v>
                </c:pt>
                <c:pt idx="7">
                  <c:v>2.9397233201581038E-2</c:v>
                </c:pt>
                <c:pt idx="8">
                  <c:v>4.5372200263504629E-2</c:v>
                </c:pt>
                <c:pt idx="9">
                  <c:v>0.7087725076855513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Caprice Des Dieux</c:v>
                </c:pt>
                <c:pt idx="3">
                  <c:v>St Moret</c:v>
                </c:pt>
                <c:pt idx="4">
                  <c:v>Galbani</c:v>
                </c:pt>
                <c:pt idx="5">
                  <c:v>La Vache Qui Rit</c:v>
                </c:pt>
                <c:pt idx="6">
                  <c:v>Soignon</c:v>
                </c:pt>
                <c:pt idx="7">
                  <c:v>Kiri</c:v>
                </c:pt>
                <c:pt idx="8">
                  <c:v>Boursin</c:v>
                </c:pt>
                <c:pt idx="9">
                  <c:v>Others</c:v>
                </c:pt>
              </c:strCache>
            </c:strRef>
          </c:cat>
          <c:val>
            <c:numRef>
              <c:f>Sheet1!$D$2:$D$11</c:f>
              <c:numCache>
                <c:formatCode>General</c:formatCode>
                <c:ptCount val="10"/>
                <c:pt idx="0">
                  <c:v>8.583817766978032E-3</c:v>
                </c:pt>
                <c:pt idx="1">
                  <c:v>105.02105042308634</c:v>
                </c:pt>
                <c:pt idx="2">
                  <c:v>73.929090149200988</c:v>
                </c:pt>
                <c:pt idx="3">
                  <c:v>96.092986347464119</c:v>
                </c:pt>
                <c:pt idx="4">
                  <c:v>93.87882931905898</c:v>
                </c:pt>
                <c:pt idx="5">
                  <c:v>71.324176234341891</c:v>
                </c:pt>
                <c:pt idx="6">
                  <c:v>111.16955796690912</c:v>
                </c:pt>
                <c:pt idx="7">
                  <c:v>94.917379610126019</c:v>
                </c:pt>
                <c:pt idx="8">
                  <c:v>242.77303620222526</c:v>
                </c:pt>
                <c:pt idx="9">
                  <c:v>179.434223574130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4</c:f>
              <c:strCache>
                <c:ptCount val="73"/>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Kiri Gouter Fromage Blanc Dips Boite 1X280Gr 8P</c:v>
                </c:pt>
                <c:pt idx="10">
                  <c:v>Boursin Classique Fromage Frais A Tartiner Afh Boite 1X250Gr 1P</c:v>
                </c:pt>
                <c:pt idx="11">
                  <c:v>Apericube Long Drink Fromage Fondu Cube Assortis 1X250Gr 48P</c:v>
                </c:pt>
                <c:pt idx="12">
                  <c:v>Boursin Classique Fromage Frais A Tartiner Afh 1X160Gr 10P</c:v>
                </c:pt>
                <c:pt idx="13">
                  <c:v>Kiri Creme Fromage Blanc Frais Carre 1X144Gr 8P</c:v>
                </c:pt>
                <c:pt idx="14">
                  <c:v>Apericube Tonic Fromage Fondu Cube Assortis 1X250Gr 48P</c:v>
                </c:pt>
                <c:pt idx="15">
                  <c:v>Kiri Gouter Fromage Blanc Dips Boite 1X175Gr 5P</c:v>
                </c:pt>
                <c:pt idx="16">
                  <c:v>Port Salut St Paulin 1X320Gr 1P</c:v>
                </c:pt>
                <c:pt idx="17">
                  <c:v>Boursin Aperitif Roules Fromage Frais Roule Afh Et Jambon Fume Boite 1X100Gr 20P</c:v>
                </c:pt>
                <c:pt idx="18">
                  <c:v>Boursin Classique Fromage Frais A Tartiner Afh Boite 1X150Gr 1P</c:v>
                </c:pt>
                <c:pt idx="19">
                  <c:v>Apericube Edition Voyage Fromage Fondu Cube Assortis 1X250Gr 48P</c:v>
                </c:pt>
                <c:pt idx="20">
                  <c:v>Apericube Incontournable Fromage Fondu Cube Assortis 1X250Gr 48P</c:v>
                </c:pt>
                <c:pt idx="21">
                  <c:v>Boursin Salade &amp; Aperitif Fromage Frais Des Afh 1X120Gr 1P</c:v>
                </c:pt>
                <c:pt idx="22">
                  <c:v>Babybel St Paulin 1X200Gr 1P</c:v>
                </c:pt>
                <c:pt idx="23">
                  <c:v>Apericube Nature Fromage Fondu Cube 1X125Gr 24P</c:v>
                </c:pt>
                <c:pt idx="24">
                  <c:v>Apericube Campagne Fromage Fondu Cube Assortis 1X125Gr 24P</c:v>
                </c:pt>
                <c:pt idx="25">
                  <c:v>Boursin Aperitif Roules Fromage Frais Roule Ciboulette &amp; Echalote Jambon Fume Boite 1X100Gr 20P</c:v>
                </c:pt>
                <c:pt idx="26">
                  <c:v>Apericube Edition Limitee Saison Fromage Fondu Cube Assortis 1X250Gr 48P</c:v>
                </c:pt>
                <c:pt idx="27">
                  <c:v>La Vache Qui Rit Pik Et Croq' Fromage Fondu Dips Boite 1X175Gr 5P</c:v>
                </c:pt>
                <c:pt idx="28">
                  <c:v>La Vache Qui Rit Pik Et Croq' Fromage Fondu Dips Boite 1X280Gr 8P</c:v>
                </c:pt>
                <c:pt idx="29">
                  <c:v>Apericube Soiree Match Aperitif 250G</c:v>
                </c:pt>
                <c:pt idx="30">
                  <c:v>Boursin Onctueux Fromage Frais A Tartiner Afh 1X125Gr 1P</c:v>
                </c:pt>
                <c:pt idx="31">
                  <c:v>Boursin Classique Fromage Frais A Tartiner Afh Boite 1X96Gr 6P</c:v>
                </c:pt>
                <c:pt idx="32">
                  <c:v>Kiri Creme Fromage Blanc Frais Carre 1X432Gr 18+6P</c:v>
                </c:pt>
                <c:pt idx="33">
                  <c:v>Boursin Classique Fromage Frais A Tartiner Figue Et 3 Noix Boite 1X150Gr 1P</c:v>
                </c:pt>
                <c:pt idx="34">
                  <c:v>Mini Babybel Aros Soft Cheese Enfant 180G</c:v>
                </c:pt>
                <c:pt idx="35">
                  <c:v>La Vache Qui Rit Allegee Fromage Fondu Boite Ronde Allege 1X267Gr 16P</c:v>
                </c:pt>
                <c:pt idx="36">
                  <c:v>Boursin Classique Fromage Frais A Tartiner Ciboulette &amp; Echalote Boite 1X150Gr 1P</c:v>
                </c:pt>
                <c:pt idx="37">
                  <c:v>Kiri Delicieusement Fouette Fromage Frais A Tartiner 1X125Gr 1P</c:v>
                </c:pt>
                <c:pt idx="38">
                  <c:v>Boursin Aperitif Roules Fromage Frais Roule Basilic &amp; Jambon Fume Tomate Boite 1X100Gr 20P</c:v>
                </c:pt>
                <c:pt idx="39">
                  <c:v>Boursin Cuisine Sauce Fromage Afh 1X240Gr 1P</c:v>
                </c:pt>
                <c:pt idx="40">
                  <c:v>Boursin Classique Fromage Frais A Tartiner Afh 1X256Gr 16P</c:v>
                </c:pt>
                <c:pt idx="41">
                  <c:v>Boursin Salade &amp; Aperitif Fromage Frais Des Ciboulette Echalote 1X120Gr 1P</c:v>
                </c:pt>
                <c:pt idx="42">
                  <c:v>Boursin Classique Fromage Frais A Tartiner Poivre Boite 1X150Gr 1P</c:v>
                </c:pt>
                <c:pt idx="43">
                  <c:v>Babybel Mini Rolls St Paulin Ferme Sachet 1X85Gr 5P</c:v>
                </c:pt>
                <c:pt idx="44">
                  <c:v>Apericube Hot Chalenge Aperitif 250G</c:v>
                </c:pt>
                <c:pt idx="45">
                  <c:v>Boursin Classique Fromage Frais A Tartiner Ciboulette &amp; Echalote 1X160Gr 10P</c:v>
                </c:pt>
                <c:pt idx="46">
                  <c:v>Kiri Bio Fromage Blanc Frais Carre 1X144Gr 8P</c:v>
                </c:pt>
                <c:pt idx="47">
                  <c:v>La Vache Qui Rit Aro Fromage Fondu Boite Ronde Jambon 1X133Gr 8P</c:v>
                </c:pt>
                <c:pt idx="48">
                  <c:v>Mini Babybel Aros Soft Cheese Enfant 110G</c:v>
                </c:pt>
                <c:pt idx="49">
                  <c:v>Boursin Salade &amp; Aperitif Fromage Frais Des Figue Noix 1X120Gr 1P</c:v>
                </c:pt>
                <c:pt idx="50">
                  <c:v>Cousteron St Paulin 1X320Gr 1P</c:v>
                </c:pt>
                <c:pt idx="51">
                  <c:v>Kiri Chevre Fromage Blanc Frais Carre 1X144Gr 8P</c:v>
                </c:pt>
                <c:pt idx="52">
                  <c:v>Apericube Fromages Du Monde Aperitif 250G</c:v>
                </c:pt>
                <c:pt idx="53">
                  <c:v>Boursin Salade &amp; Aperitif Fromage Frais Des Citron Romarin 1X120Gr 1P</c:v>
                </c:pt>
                <c:pt idx="54">
                  <c:v>Apericube Montagne Aperitif 250G</c:v>
                </c:pt>
                <c:pt idx="55">
                  <c:v>Boursin Aperitif Roules Aperitif 100G</c:v>
                </c:pt>
                <c:pt idx="56">
                  <c:v>Boursin Salade &amp; Aperitif Soft Cheese Salade 120G</c:v>
                </c:pt>
                <c:pt idx="57">
                  <c:v>Nurishh Les Tranches Vegetales Cheddar Vegetal Tranche Boite 1X160Gr 8P</c:v>
                </c:pt>
                <c:pt idx="58">
                  <c:v>Nurishh Le Rape Vegetal Specialite Vegetale Sachet 1X150Gr 1P</c:v>
                </c:pt>
                <c:pt idx="59">
                  <c:v>Nurishh Le Rape Vegetal Specialite Vegetale Emmental Sachet 1X150Gr 1P</c:v>
                </c:pt>
                <c:pt idx="60">
                  <c:v>Nurishh Le Coeur Fleuri Vegetal Camembert Boite 1X140Gr 1P</c:v>
                </c:pt>
                <c:pt idx="61">
                  <c:v>Nurishh Des Vegetaux Feta Vegetale Sachet 1X150Gr 1P</c:v>
                </c:pt>
                <c:pt idx="62">
                  <c:v>Nurishh Le Palet Vegetal Specialite Vegetale Ovale Saveur Chevre Boite 1X140Gr 1P</c:v>
                </c:pt>
                <c:pt idx="63">
                  <c:v>Apericube Saveurs De L'Authentique Fromage Fondu Cube Assortis 1X250Gr 48P</c:v>
                </c:pt>
                <c:pt idx="64">
                  <c:v>Mini Babybel Rouge Filet St Paulin Ferme Sachet 1X40Gr 1P</c:v>
                </c:pt>
                <c:pt idx="65">
                  <c:v>Boursin Aperitif Roules Fromage Frais Roule Jambon Fume &amp; Trio De Noix Boite 1X100Gr 20P</c:v>
                </c:pt>
                <c:pt idx="66">
                  <c:v>Limiano Queijo Flamengo Tranche Sachet 1X200Gr 1P</c:v>
                </c:pt>
                <c:pt idx="67">
                  <c:v>Limiano Queijo Flamengo Bloc 1X600Gr 1P</c:v>
                </c:pt>
                <c:pt idx="68">
                  <c:v>Mini Babybel Aros St Paulin Ferme Raclette Filet 1X132Gr 6P</c:v>
                </c:pt>
                <c:pt idx="69">
                  <c:v>Kiri Delicieusement Fouette Fromage Frais A Tartiner 1X160Gr 10P</c:v>
                </c:pt>
                <c:pt idx="70">
                  <c:v>Apericube Long Drink Fromage Fondu Cube Assortis 1X125Gr 24P</c:v>
                </c:pt>
                <c:pt idx="71">
                  <c:v>Mini Babybel Aros St Paulin Ferme Assortis Filet 1X180Gr 9P</c:v>
                </c:pt>
                <c:pt idx="72">
                  <c:v>Boursin Classique Fromage Frais A Tartiner Afh Boite 1X80Gr 1P</c:v>
                </c:pt>
              </c:strCache>
            </c:strRef>
          </c:cat>
          <c:val>
            <c:numRef>
              <c:f>Sheet1!$B$2:$B$74</c:f>
              <c:numCache>
                <c:formatCode>General</c:formatCode>
                <c:ptCount val="73"/>
                <c:pt idx="0">
                  <c:v>0.99</c:v>
                </c:pt>
                <c:pt idx="1">
                  <c:v>0.98</c:v>
                </c:pt>
                <c:pt idx="2">
                  <c:v>0.97</c:v>
                </c:pt>
                <c:pt idx="3">
                  <c:v>1</c:v>
                </c:pt>
                <c:pt idx="4">
                  <c:v>0.99</c:v>
                </c:pt>
                <c:pt idx="5">
                  <c:v>0.99</c:v>
                </c:pt>
                <c:pt idx="6">
                  <c:v>0.97</c:v>
                </c:pt>
                <c:pt idx="7">
                  <c:v>0.89</c:v>
                </c:pt>
                <c:pt idx="8">
                  <c:v>0.96</c:v>
                </c:pt>
                <c:pt idx="9">
                  <c:v>0.96</c:v>
                </c:pt>
                <c:pt idx="10">
                  <c:v>0.99</c:v>
                </c:pt>
                <c:pt idx="11">
                  <c:v>0.94</c:v>
                </c:pt>
                <c:pt idx="12">
                  <c:v>0.99</c:v>
                </c:pt>
                <c:pt idx="13">
                  <c:v>0.99</c:v>
                </c:pt>
                <c:pt idx="14">
                  <c:v>0.94</c:v>
                </c:pt>
                <c:pt idx="15">
                  <c:v>0.99</c:v>
                </c:pt>
                <c:pt idx="16">
                  <c:v>0.99</c:v>
                </c:pt>
                <c:pt idx="17">
                  <c:v>0.97</c:v>
                </c:pt>
                <c:pt idx="18">
                  <c:v>1</c:v>
                </c:pt>
                <c:pt idx="19">
                  <c:v>0.91</c:v>
                </c:pt>
                <c:pt idx="20">
                  <c:v>0.88</c:v>
                </c:pt>
                <c:pt idx="21">
                  <c:v>0.98</c:v>
                </c:pt>
                <c:pt idx="22">
                  <c:v>0.99</c:v>
                </c:pt>
                <c:pt idx="23">
                  <c:v>0.93</c:v>
                </c:pt>
                <c:pt idx="24">
                  <c:v>0.91</c:v>
                </c:pt>
                <c:pt idx="25">
                  <c:v>0.93</c:v>
                </c:pt>
                <c:pt idx="26">
                  <c:v>0.9</c:v>
                </c:pt>
                <c:pt idx="27">
                  <c:v>0.95</c:v>
                </c:pt>
                <c:pt idx="28">
                  <c:v>0.86</c:v>
                </c:pt>
                <c:pt idx="29">
                  <c:v>0.8</c:v>
                </c:pt>
                <c:pt idx="30">
                  <c:v>0.97</c:v>
                </c:pt>
                <c:pt idx="31">
                  <c:v>0.9</c:v>
                </c:pt>
                <c:pt idx="32">
                  <c:v>0.83</c:v>
                </c:pt>
                <c:pt idx="33">
                  <c:v>0.95</c:v>
                </c:pt>
                <c:pt idx="34">
                  <c:v>0.73</c:v>
                </c:pt>
                <c:pt idx="35">
                  <c:v>0.84</c:v>
                </c:pt>
                <c:pt idx="36">
                  <c:v>0.96</c:v>
                </c:pt>
                <c:pt idx="37">
                  <c:v>0.87</c:v>
                </c:pt>
                <c:pt idx="38">
                  <c:v>0.85</c:v>
                </c:pt>
                <c:pt idx="39">
                  <c:v>0.85</c:v>
                </c:pt>
                <c:pt idx="40">
                  <c:v>0.84</c:v>
                </c:pt>
                <c:pt idx="41">
                  <c:v>0.86</c:v>
                </c:pt>
                <c:pt idx="42">
                  <c:v>0.86</c:v>
                </c:pt>
                <c:pt idx="43">
                  <c:v>0.75</c:v>
                </c:pt>
                <c:pt idx="44">
                  <c:v>0.5</c:v>
                </c:pt>
                <c:pt idx="45">
                  <c:v>0.83</c:v>
                </c:pt>
                <c:pt idx="46">
                  <c:v>0.6</c:v>
                </c:pt>
                <c:pt idx="47">
                  <c:v>0.64</c:v>
                </c:pt>
                <c:pt idx="48">
                  <c:v>0.59</c:v>
                </c:pt>
                <c:pt idx="49">
                  <c:v>0.51</c:v>
                </c:pt>
                <c:pt idx="50">
                  <c:v>0.96</c:v>
                </c:pt>
                <c:pt idx="51">
                  <c:v>0.57999999999999996</c:v>
                </c:pt>
                <c:pt idx="52">
                  <c:v>0.24</c:v>
                </c:pt>
                <c:pt idx="53">
                  <c:v>0.67</c:v>
                </c:pt>
                <c:pt idx="54">
                  <c:v>0.23</c:v>
                </c:pt>
                <c:pt idx="55">
                  <c:v>0.7</c:v>
                </c:pt>
                <c:pt idx="56">
                  <c:v>0.4</c:v>
                </c:pt>
                <c:pt idx="57">
                  <c:v>0.24</c:v>
                </c:pt>
                <c:pt idx="58">
                  <c:v>0.25</c:v>
                </c:pt>
                <c:pt idx="59">
                  <c:v>0.17</c:v>
                </c:pt>
                <c:pt idx="60">
                  <c:v>0.11</c:v>
                </c:pt>
                <c:pt idx="61">
                  <c:v>0.14000000000000001</c:v>
                </c:pt>
                <c:pt idx="62">
                  <c:v>0.11</c:v>
                </c:pt>
                <c:pt idx="63">
                  <c:v>0.27</c:v>
                </c:pt>
                <c:pt idx="64">
                  <c:v>0.09</c:v>
                </c:pt>
                <c:pt idx="65">
                  <c:v>0.28999999999999998</c:v>
                </c:pt>
                <c:pt idx="66">
                  <c:v>0.01</c:v>
                </c:pt>
                <c:pt idx="67">
                  <c:v>0.01</c:v>
                </c:pt>
                <c:pt idx="68">
                  <c:v>0.11</c:v>
                </c:pt>
                <c:pt idx="69">
                  <c:v>0.09</c:v>
                </c:pt>
                <c:pt idx="70">
                  <c:v>0.04</c:v>
                </c:pt>
                <c:pt idx="71">
                  <c:v>0.02</c:v>
                </c:pt>
                <c:pt idx="7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F7E3-4965-9C5B-9628FC14B3B0}"/>
              </c:ext>
            </c:extLst>
          </c:dPt>
          <c:dPt>
            <c:idx val="45"/>
            <c:invertIfNegative val="1"/>
            <c:bubble3D val="0"/>
            <c:spPr>
              <a:solidFill>
                <a:srgbClr val="AEABAB"/>
              </a:solidFill>
            </c:spPr>
            <c:extLst>
              <c:ext xmlns:c16="http://schemas.microsoft.com/office/drawing/2014/chart" uri="{C3380CC4-5D6E-409C-BE32-E72D297353CC}">
                <c16:uniqueId val="{0000005D-F7E3-4965-9C5B-9628FC14B3B0}"/>
              </c:ext>
            </c:extLst>
          </c:dPt>
          <c:dPt>
            <c:idx val="46"/>
            <c:invertIfNegative val="1"/>
            <c:bubble3D val="0"/>
            <c:spPr>
              <a:solidFill>
                <a:srgbClr val="AEABAB"/>
              </a:solidFill>
            </c:spPr>
            <c:extLst>
              <c:ext xmlns:c16="http://schemas.microsoft.com/office/drawing/2014/chart" uri="{C3380CC4-5D6E-409C-BE32-E72D297353CC}">
                <c16:uniqueId val="{0000005F-F7E3-4965-9C5B-9628FC14B3B0}"/>
              </c:ext>
            </c:extLst>
          </c:dPt>
          <c:dPt>
            <c:idx val="47"/>
            <c:invertIfNegative val="1"/>
            <c:bubble3D val="0"/>
            <c:spPr>
              <a:solidFill>
                <a:srgbClr val="AEABAB"/>
              </a:solidFill>
            </c:spPr>
            <c:extLst>
              <c:ext xmlns:c16="http://schemas.microsoft.com/office/drawing/2014/chart" uri="{C3380CC4-5D6E-409C-BE32-E72D297353CC}">
                <c16:uniqueId val="{00000061-F7E3-4965-9C5B-9628FC14B3B0}"/>
              </c:ext>
            </c:extLst>
          </c:dPt>
          <c:dPt>
            <c:idx val="48"/>
            <c:invertIfNegative val="1"/>
            <c:bubble3D val="0"/>
            <c:spPr>
              <a:solidFill>
                <a:srgbClr val="AEABAB"/>
              </a:solidFill>
            </c:spPr>
            <c:extLst>
              <c:ext xmlns:c16="http://schemas.microsoft.com/office/drawing/2014/chart" uri="{C3380CC4-5D6E-409C-BE32-E72D297353CC}">
                <c16:uniqueId val="{00000063-F7E3-4965-9C5B-9628FC14B3B0}"/>
              </c:ext>
            </c:extLst>
          </c:dPt>
          <c:dPt>
            <c:idx val="49"/>
            <c:invertIfNegative val="1"/>
            <c:bubble3D val="0"/>
            <c:spPr>
              <a:solidFill>
                <a:srgbClr val="AEABAB"/>
              </a:solidFill>
            </c:spPr>
            <c:extLst>
              <c:ext xmlns:c16="http://schemas.microsoft.com/office/drawing/2014/chart" uri="{C3380CC4-5D6E-409C-BE32-E72D297353CC}">
                <c16:uniqueId val="{00000065-F7E3-4965-9C5B-9628FC14B3B0}"/>
              </c:ext>
            </c:extLst>
          </c:dPt>
          <c:dPt>
            <c:idx val="50"/>
            <c:invertIfNegative val="1"/>
            <c:bubble3D val="0"/>
            <c:spPr>
              <a:solidFill>
                <a:srgbClr val="AEABAB"/>
              </a:solidFill>
            </c:spPr>
            <c:extLst>
              <c:ext xmlns:c16="http://schemas.microsoft.com/office/drawing/2014/chart" uri="{C3380CC4-5D6E-409C-BE32-E72D297353CC}">
                <c16:uniqueId val="{00000067-F7E3-4965-9C5B-9628FC14B3B0}"/>
              </c:ext>
            </c:extLst>
          </c:dPt>
          <c:dPt>
            <c:idx val="51"/>
            <c:invertIfNegative val="1"/>
            <c:bubble3D val="0"/>
            <c:spPr>
              <a:solidFill>
                <a:srgbClr val="AEABAB"/>
              </a:solidFill>
            </c:spPr>
            <c:extLst>
              <c:ext xmlns:c16="http://schemas.microsoft.com/office/drawing/2014/chart" uri="{C3380CC4-5D6E-409C-BE32-E72D297353CC}">
                <c16:uniqueId val="{00000069-F7E3-4965-9C5B-9628FC14B3B0}"/>
              </c:ext>
            </c:extLst>
          </c:dPt>
          <c:dPt>
            <c:idx val="52"/>
            <c:invertIfNegative val="1"/>
            <c:bubble3D val="0"/>
            <c:spPr>
              <a:solidFill>
                <a:srgbClr val="AEABAB"/>
              </a:solidFill>
            </c:spPr>
            <c:extLst>
              <c:ext xmlns:c16="http://schemas.microsoft.com/office/drawing/2014/chart" uri="{C3380CC4-5D6E-409C-BE32-E72D297353CC}">
                <c16:uniqueId val="{0000006B-F7E3-4965-9C5B-9628FC14B3B0}"/>
              </c:ext>
            </c:extLst>
          </c:dPt>
          <c:dPt>
            <c:idx val="53"/>
            <c:invertIfNegative val="1"/>
            <c:bubble3D val="0"/>
            <c:spPr>
              <a:solidFill>
                <a:srgbClr val="AEABAB"/>
              </a:solidFill>
            </c:spPr>
            <c:extLst>
              <c:ext xmlns:c16="http://schemas.microsoft.com/office/drawing/2014/chart" uri="{C3380CC4-5D6E-409C-BE32-E72D297353CC}">
                <c16:uniqueId val="{0000006D-F7E3-4965-9C5B-9628FC14B3B0}"/>
              </c:ext>
            </c:extLst>
          </c:dPt>
          <c:dPt>
            <c:idx val="54"/>
            <c:invertIfNegative val="1"/>
            <c:bubble3D val="0"/>
            <c:spPr>
              <a:solidFill>
                <a:srgbClr val="AEABAB"/>
              </a:solidFill>
            </c:spPr>
            <c:extLst>
              <c:ext xmlns:c16="http://schemas.microsoft.com/office/drawing/2014/chart" uri="{C3380CC4-5D6E-409C-BE32-E72D297353CC}">
                <c16:uniqueId val="{0000006F-F7E3-4965-9C5B-9628FC14B3B0}"/>
              </c:ext>
            </c:extLst>
          </c:dPt>
          <c:dPt>
            <c:idx val="55"/>
            <c:invertIfNegative val="1"/>
            <c:bubble3D val="0"/>
            <c:spPr>
              <a:solidFill>
                <a:srgbClr val="AEABAB"/>
              </a:solidFill>
            </c:spPr>
            <c:extLst>
              <c:ext xmlns:c16="http://schemas.microsoft.com/office/drawing/2014/chart" uri="{C3380CC4-5D6E-409C-BE32-E72D297353CC}">
                <c16:uniqueId val="{00000071-F7E3-4965-9C5B-9628FC14B3B0}"/>
              </c:ext>
            </c:extLst>
          </c:dPt>
          <c:dPt>
            <c:idx val="56"/>
            <c:invertIfNegative val="1"/>
            <c:bubble3D val="0"/>
            <c:spPr>
              <a:solidFill>
                <a:srgbClr val="AEABAB"/>
              </a:solidFill>
            </c:spPr>
            <c:extLst>
              <c:ext xmlns:c16="http://schemas.microsoft.com/office/drawing/2014/chart" uri="{C3380CC4-5D6E-409C-BE32-E72D297353CC}">
                <c16:uniqueId val="{00000073-F7E3-4965-9C5B-9628FC14B3B0}"/>
              </c:ext>
            </c:extLst>
          </c:dPt>
          <c:dPt>
            <c:idx val="57"/>
            <c:invertIfNegative val="1"/>
            <c:bubble3D val="0"/>
            <c:spPr>
              <a:solidFill>
                <a:srgbClr val="AEABAB"/>
              </a:solidFill>
            </c:spPr>
            <c:extLst>
              <c:ext xmlns:c16="http://schemas.microsoft.com/office/drawing/2014/chart" uri="{C3380CC4-5D6E-409C-BE32-E72D297353CC}">
                <c16:uniqueId val="{00000075-F7E3-4965-9C5B-9628FC14B3B0}"/>
              </c:ext>
            </c:extLst>
          </c:dPt>
          <c:dPt>
            <c:idx val="58"/>
            <c:invertIfNegative val="1"/>
            <c:bubble3D val="0"/>
            <c:spPr>
              <a:solidFill>
                <a:srgbClr val="AEABAB"/>
              </a:solidFill>
            </c:spPr>
            <c:extLst>
              <c:ext xmlns:c16="http://schemas.microsoft.com/office/drawing/2014/chart" uri="{C3380CC4-5D6E-409C-BE32-E72D297353CC}">
                <c16:uniqueId val="{00000077-F7E3-4965-9C5B-9628FC14B3B0}"/>
              </c:ext>
            </c:extLst>
          </c:dPt>
          <c:dPt>
            <c:idx val="59"/>
            <c:invertIfNegative val="1"/>
            <c:bubble3D val="0"/>
            <c:spPr>
              <a:solidFill>
                <a:srgbClr val="AEABAB"/>
              </a:solidFill>
            </c:spPr>
            <c:extLst>
              <c:ext xmlns:c16="http://schemas.microsoft.com/office/drawing/2014/chart" uri="{C3380CC4-5D6E-409C-BE32-E72D297353CC}">
                <c16:uniqueId val="{00000079-F7E3-4965-9C5B-9628FC14B3B0}"/>
              </c:ext>
            </c:extLst>
          </c:dPt>
          <c:dPt>
            <c:idx val="60"/>
            <c:invertIfNegative val="1"/>
            <c:bubble3D val="0"/>
            <c:spPr>
              <a:solidFill>
                <a:srgbClr val="AEABAB"/>
              </a:solidFill>
            </c:spPr>
            <c:extLst>
              <c:ext xmlns:c16="http://schemas.microsoft.com/office/drawing/2014/chart" uri="{C3380CC4-5D6E-409C-BE32-E72D297353CC}">
                <c16:uniqueId val="{0000007B-F7E3-4965-9C5B-9628FC14B3B0}"/>
              </c:ext>
            </c:extLst>
          </c:dPt>
          <c:dPt>
            <c:idx val="61"/>
            <c:invertIfNegative val="1"/>
            <c:bubble3D val="0"/>
            <c:spPr>
              <a:solidFill>
                <a:srgbClr val="AEABAB"/>
              </a:solidFill>
            </c:spPr>
            <c:extLst>
              <c:ext xmlns:c16="http://schemas.microsoft.com/office/drawing/2014/chart" uri="{C3380CC4-5D6E-409C-BE32-E72D297353CC}">
                <c16:uniqueId val="{0000007D-F7E3-4965-9C5B-9628FC14B3B0}"/>
              </c:ext>
            </c:extLst>
          </c:dPt>
          <c:dPt>
            <c:idx val="62"/>
            <c:invertIfNegative val="1"/>
            <c:bubble3D val="0"/>
            <c:spPr>
              <a:solidFill>
                <a:srgbClr val="AEABAB"/>
              </a:solidFill>
            </c:spPr>
            <c:extLst>
              <c:ext xmlns:c16="http://schemas.microsoft.com/office/drawing/2014/chart" uri="{C3380CC4-5D6E-409C-BE32-E72D297353CC}">
                <c16:uniqueId val="{0000007F-F7E3-4965-9C5B-9628FC14B3B0}"/>
              </c:ext>
            </c:extLst>
          </c:dPt>
          <c:dPt>
            <c:idx val="63"/>
            <c:invertIfNegative val="1"/>
            <c:bubble3D val="0"/>
            <c:spPr>
              <a:solidFill>
                <a:srgbClr val="AEABAB"/>
              </a:solidFill>
            </c:spPr>
            <c:extLst>
              <c:ext xmlns:c16="http://schemas.microsoft.com/office/drawing/2014/chart" uri="{C3380CC4-5D6E-409C-BE32-E72D297353CC}">
                <c16:uniqueId val="{00000081-F7E3-4965-9C5B-9628FC14B3B0}"/>
              </c:ext>
            </c:extLst>
          </c:dPt>
          <c:dPt>
            <c:idx val="64"/>
            <c:invertIfNegative val="1"/>
            <c:bubble3D val="0"/>
            <c:spPr>
              <a:solidFill>
                <a:srgbClr val="AEABAB"/>
              </a:solidFill>
            </c:spPr>
            <c:extLst>
              <c:ext xmlns:c16="http://schemas.microsoft.com/office/drawing/2014/chart" uri="{C3380CC4-5D6E-409C-BE32-E72D297353CC}">
                <c16:uniqueId val="{00000083-F7E3-4965-9C5B-9628FC14B3B0}"/>
              </c:ext>
            </c:extLst>
          </c:dPt>
          <c:dPt>
            <c:idx val="65"/>
            <c:invertIfNegative val="1"/>
            <c:bubble3D val="0"/>
            <c:spPr>
              <a:solidFill>
                <a:srgbClr val="AEABAB"/>
              </a:solidFill>
            </c:spPr>
            <c:extLst>
              <c:ext xmlns:c16="http://schemas.microsoft.com/office/drawing/2014/chart" uri="{C3380CC4-5D6E-409C-BE32-E72D297353CC}">
                <c16:uniqueId val="{00000085-F7E3-4965-9C5B-9628FC14B3B0}"/>
              </c:ext>
            </c:extLst>
          </c:dPt>
          <c:dPt>
            <c:idx val="66"/>
            <c:invertIfNegative val="1"/>
            <c:bubble3D val="0"/>
            <c:spPr>
              <a:solidFill>
                <a:srgbClr val="AEABAB"/>
              </a:solidFill>
            </c:spPr>
            <c:extLst>
              <c:ext xmlns:c16="http://schemas.microsoft.com/office/drawing/2014/chart" uri="{C3380CC4-5D6E-409C-BE32-E72D297353CC}">
                <c16:uniqueId val="{00000087-F7E3-4965-9C5B-9628FC14B3B0}"/>
              </c:ext>
            </c:extLst>
          </c:dPt>
          <c:dPt>
            <c:idx val="67"/>
            <c:invertIfNegative val="1"/>
            <c:bubble3D val="0"/>
            <c:spPr>
              <a:solidFill>
                <a:srgbClr val="AEABAB"/>
              </a:solidFill>
            </c:spPr>
            <c:extLst>
              <c:ext xmlns:c16="http://schemas.microsoft.com/office/drawing/2014/chart" uri="{C3380CC4-5D6E-409C-BE32-E72D297353CC}">
                <c16:uniqueId val="{00000089-F7E3-4965-9C5B-9628FC14B3B0}"/>
              </c:ext>
            </c:extLst>
          </c:dPt>
          <c:dPt>
            <c:idx val="68"/>
            <c:invertIfNegative val="1"/>
            <c:bubble3D val="0"/>
            <c:spPr>
              <a:solidFill>
                <a:srgbClr val="AEABAB"/>
              </a:solidFill>
            </c:spPr>
            <c:extLst>
              <c:ext xmlns:c16="http://schemas.microsoft.com/office/drawing/2014/chart" uri="{C3380CC4-5D6E-409C-BE32-E72D297353CC}">
                <c16:uniqueId val="{0000008B-F7E3-4965-9C5B-9628FC14B3B0}"/>
              </c:ext>
            </c:extLst>
          </c:dPt>
          <c:dPt>
            <c:idx val="69"/>
            <c:invertIfNegative val="1"/>
            <c:bubble3D val="0"/>
            <c:spPr>
              <a:solidFill>
                <a:srgbClr val="AEABAB"/>
              </a:solidFill>
            </c:spPr>
            <c:extLst>
              <c:ext xmlns:c16="http://schemas.microsoft.com/office/drawing/2014/chart" uri="{C3380CC4-5D6E-409C-BE32-E72D297353CC}">
                <c16:uniqueId val="{0000008D-F7E3-4965-9C5B-9628FC14B3B0}"/>
              </c:ext>
            </c:extLst>
          </c:dPt>
          <c:dPt>
            <c:idx val="70"/>
            <c:invertIfNegative val="1"/>
            <c:bubble3D val="0"/>
            <c:spPr>
              <a:solidFill>
                <a:srgbClr val="AEABAB"/>
              </a:solidFill>
            </c:spPr>
            <c:extLst>
              <c:ext xmlns:c16="http://schemas.microsoft.com/office/drawing/2014/chart" uri="{C3380CC4-5D6E-409C-BE32-E72D297353CC}">
                <c16:uniqueId val="{0000008F-F7E3-4965-9C5B-9628FC14B3B0}"/>
              </c:ext>
            </c:extLst>
          </c:dPt>
          <c:dPt>
            <c:idx val="71"/>
            <c:invertIfNegative val="1"/>
            <c:bubble3D val="0"/>
            <c:spPr>
              <a:solidFill>
                <a:srgbClr val="AEABAB"/>
              </a:solidFill>
            </c:spPr>
            <c:extLst>
              <c:ext xmlns:c16="http://schemas.microsoft.com/office/drawing/2014/chart" uri="{C3380CC4-5D6E-409C-BE32-E72D297353CC}">
                <c16:uniqueId val="{00000091-F7E3-4965-9C5B-9628FC14B3B0}"/>
              </c:ext>
            </c:extLst>
          </c:dPt>
          <c:dPt>
            <c:idx val="72"/>
            <c:invertIfNegative val="1"/>
            <c:bubble3D val="0"/>
            <c:spPr>
              <a:solidFill>
                <a:srgbClr val="AEABAB"/>
              </a:solidFill>
            </c:spPr>
            <c:extLst>
              <c:ext xmlns:c16="http://schemas.microsoft.com/office/drawing/2014/chart" uri="{C3380CC4-5D6E-409C-BE32-E72D297353CC}">
                <c16:uniqueId val="{00000093-F7E3-4965-9C5B-9628FC14B3B0}"/>
              </c:ext>
            </c:extLst>
          </c:dPt>
          <c:cat>
            <c:strRef>
              <c:f>Sheet1!$A$2:$A$74</c:f>
              <c:strCache>
                <c:ptCount val="73"/>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Kiri Gouter Fromage Blanc Dips Boite 1X280Gr 8P</c:v>
                </c:pt>
                <c:pt idx="10">
                  <c:v>Boursin Classique Fromage Frais A Tartiner Afh Boite 1X250Gr 1P</c:v>
                </c:pt>
                <c:pt idx="11">
                  <c:v>Apericube Long Drink Fromage Fondu Cube Assortis 1X250Gr 48P</c:v>
                </c:pt>
                <c:pt idx="12">
                  <c:v>Boursin Classique Fromage Frais A Tartiner Afh 1X160Gr 10P</c:v>
                </c:pt>
                <c:pt idx="13">
                  <c:v>Kiri Creme Fromage Blanc Frais Carre 1X144Gr 8P</c:v>
                </c:pt>
                <c:pt idx="14">
                  <c:v>Apericube Tonic Fromage Fondu Cube Assortis 1X250Gr 48P</c:v>
                </c:pt>
                <c:pt idx="15">
                  <c:v>Kiri Gouter Fromage Blanc Dips Boite 1X175Gr 5P</c:v>
                </c:pt>
                <c:pt idx="16">
                  <c:v>Port Salut St Paulin 1X320Gr 1P</c:v>
                </c:pt>
                <c:pt idx="17">
                  <c:v>Boursin Aperitif Roules Fromage Frais Roule Afh Et Jambon Fume Boite 1X100Gr 20P</c:v>
                </c:pt>
                <c:pt idx="18">
                  <c:v>Boursin Classique Fromage Frais A Tartiner Afh Boite 1X150Gr 1P</c:v>
                </c:pt>
                <c:pt idx="19">
                  <c:v>Apericube Edition Voyage Fromage Fondu Cube Assortis 1X250Gr 48P</c:v>
                </c:pt>
                <c:pt idx="20">
                  <c:v>Apericube Incontournable Fromage Fondu Cube Assortis 1X250Gr 48P</c:v>
                </c:pt>
                <c:pt idx="21">
                  <c:v>Boursin Salade &amp; Aperitif Fromage Frais Des Afh 1X120Gr 1P</c:v>
                </c:pt>
                <c:pt idx="22">
                  <c:v>Babybel St Paulin 1X200Gr 1P</c:v>
                </c:pt>
                <c:pt idx="23">
                  <c:v>Apericube Nature Fromage Fondu Cube 1X125Gr 24P</c:v>
                </c:pt>
                <c:pt idx="24">
                  <c:v>Apericube Campagne Fromage Fondu Cube Assortis 1X125Gr 24P</c:v>
                </c:pt>
                <c:pt idx="25">
                  <c:v>Boursin Aperitif Roules Fromage Frais Roule Ciboulette &amp; Echalote Jambon Fume Boite 1X100Gr 20P</c:v>
                </c:pt>
                <c:pt idx="26">
                  <c:v>Apericube Edition Limitee Saison Fromage Fondu Cube Assortis 1X250Gr 48P</c:v>
                </c:pt>
                <c:pt idx="27">
                  <c:v>La Vache Qui Rit Pik Et Croq' Fromage Fondu Dips Boite 1X175Gr 5P</c:v>
                </c:pt>
                <c:pt idx="28">
                  <c:v>La Vache Qui Rit Pik Et Croq' Fromage Fondu Dips Boite 1X280Gr 8P</c:v>
                </c:pt>
                <c:pt idx="29">
                  <c:v>Apericube Soiree Match Aperitif 250G</c:v>
                </c:pt>
                <c:pt idx="30">
                  <c:v>Boursin Onctueux Fromage Frais A Tartiner Afh 1X125Gr 1P</c:v>
                </c:pt>
                <c:pt idx="31">
                  <c:v>Boursin Classique Fromage Frais A Tartiner Afh Boite 1X96Gr 6P</c:v>
                </c:pt>
                <c:pt idx="32">
                  <c:v>Kiri Creme Fromage Blanc Frais Carre 1X432Gr 18+6P</c:v>
                </c:pt>
                <c:pt idx="33">
                  <c:v>Boursin Classique Fromage Frais A Tartiner Figue Et 3 Noix Boite 1X150Gr 1P</c:v>
                </c:pt>
                <c:pt idx="34">
                  <c:v>Mini Babybel Aros Soft Cheese Enfant 180G</c:v>
                </c:pt>
                <c:pt idx="35">
                  <c:v>La Vache Qui Rit Allegee Fromage Fondu Boite Ronde Allege 1X267Gr 16P</c:v>
                </c:pt>
                <c:pt idx="36">
                  <c:v>Boursin Classique Fromage Frais A Tartiner Ciboulette &amp; Echalote Boite 1X150Gr 1P</c:v>
                </c:pt>
                <c:pt idx="37">
                  <c:v>Kiri Delicieusement Fouette Fromage Frais A Tartiner 1X125Gr 1P</c:v>
                </c:pt>
                <c:pt idx="38">
                  <c:v>Boursin Aperitif Roules Fromage Frais Roule Basilic &amp; Jambon Fume Tomate Boite 1X100Gr 20P</c:v>
                </c:pt>
                <c:pt idx="39">
                  <c:v>Boursin Cuisine Sauce Fromage Afh 1X240Gr 1P</c:v>
                </c:pt>
                <c:pt idx="40">
                  <c:v>Boursin Classique Fromage Frais A Tartiner Afh 1X256Gr 16P</c:v>
                </c:pt>
                <c:pt idx="41">
                  <c:v>Boursin Salade &amp; Aperitif Fromage Frais Des Ciboulette Echalote 1X120Gr 1P</c:v>
                </c:pt>
                <c:pt idx="42">
                  <c:v>Boursin Classique Fromage Frais A Tartiner Poivre Boite 1X150Gr 1P</c:v>
                </c:pt>
                <c:pt idx="43">
                  <c:v>Babybel Mini Rolls St Paulin Ferme Sachet 1X85Gr 5P</c:v>
                </c:pt>
                <c:pt idx="44">
                  <c:v>Apericube Hot Chalenge Aperitif 250G</c:v>
                </c:pt>
                <c:pt idx="45">
                  <c:v>Boursin Classique Fromage Frais A Tartiner Ciboulette &amp; Echalote 1X160Gr 10P</c:v>
                </c:pt>
                <c:pt idx="46">
                  <c:v>Kiri Bio Fromage Blanc Frais Carre 1X144Gr 8P</c:v>
                </c:pt>
                <c:pt idx="47">
                  <c:v>La Vache Qui Rit Aro Fromage Fondu Boite Ronde Jambon 1X133Gr 8P</c:v>
                </c:pt>
                <c:pt idx="48">
                  <c:v>Mini Babybel Aros Soft Cheese Enfant 110G</c:v>
                </c:pt>
                <c:pt idx="49">
                  <c:v>Boursin Salade &amp; Aperitif Fromage Frais Des Figue Noix 1X120Gr 1P</c:v>
                </c:pt>
                <c:pt idx="50">
                  <c:v>Cousteron St Paulin 1X320Gr 1P</c:v>
                </c:pt>
                <c:pt idx="51">
                  <c:v>Kiri Chevre Fromage Blanc Frais Carre 1X144Gr 8P</c:v>
                </c:pt>
                <c:pt idx="52">
                  <c:v>Apericube Fromages Du Monde Aperitif 250G</c:v>
                </c:pt>
                <c:pt idx="53">
                  <c:v>Boursin Salade &amp; Aperitif Fromage Frais Des Citron Romarin 1X120Gr 1P</c:v>
                </c:pt>
                <c:pt idx="54">
                  <c:v>Apericube Montagne Aperitif 250G</c:v>
                </c:pt>
                <c:pt idx="55">
                  <c:v>Boursin Aperitif Roules Aperitif 100G</c:v>
                </c:pt>
                <c:pt idx="56">
                  <c:v>Boursin Salade &amp; Aperitif Soft Cheese Salade 120G</c:v>
                </c:pt>
                <c:pt idx="57">
                  <c:v>Nurishh Les Tranches Vegetales Cheddar Vegetal Tranche Boite 1X160Gr 8P</c:v>
                </c:pt>
                <c:pt idx="58">
                  <c:v>Nurishh Le Rape Vegetal Specialite Vegetale Sachet 1X150Gr 1P</c:v>
                </c:pt>
                <c:pt idx="59">
                  <c:v>Nurishh Le Rape Vegetal Specialite Vegetale Emmental Sachet 1X150Gr 1P</c:v>
                </c:pt>
                <c:pt idx="60">
                  <c:v>Nurishh Le Coeur Fleuri Vegetal Camembert Boite 1X140Gr 1P</c:v>
                </c:pt>
                <c:pt idx="61">
                  <c:v>Nurishh Des Vegetaux Feta Vegetale Sachet 1X150Gr 1P</c:v>
                </c:pt>
                <c:pt idx="62">
                  <c:v>Nurishh Le Palet Vegetal Specialite Vegetale Ovale Saveur Chevre Boite 1X140Gr 1P</c:v>
                </c:pt>
                <c:pt idx="63">
                  <c:v>Apericube Saveurs De L'Authentique Fromage Fondu Cube Assortis 1X250Gr 48P</c:v>
                </c:pt>
                <c:pt idx="64">
                  <c:v>Mini Babybel Rouge Filet St Paulin Ferme Sachet 1X40Gr 1P</c:v>
                </c:pt>
                <c:pt idx="65">
                  <c:v>Boursin Aperitif Roules Fromage Frais Roule Jambon Fume &amp; Trio De Noix Boite 1X100Gr 20P</c:v>
                </c:pt>
                <c:pt idx="66">
                  <c:v>Limiano Queijo Flamengo Tranche Sachet 1X200Gr 1P</c:v>
                </c:pt>
                <c:pt idx="67">
                  <c:v>Limiano Queijo Flamengo Bloc 1X600Gr 1P</c:v>
                </c:pt>
                <c:pt idx="68">
                  <c:v>Mini Babybel Aros St Paulin Ferme Raclette Filet 1X132Gr 6P</c:v>
                </c:pt>
                <c:pt idx="69">
                  <c:v>Kiri Delicieusement Fouette Fromage Frais A Tartiner 1X160Gr 10P</c:v>
                </c:pt>
                <c:pt idx="70">
                  <c:v>Apericube Long Drink Fromage Fondu Cube Assortis 1X125Gr 24P</c:v>
                </c:pt>
                <c:pt idx="71">
                  <c:v>Mini Babybel Aros St Paulin Ferme Assortis Filet 1X180Gr 9P</c:v>
                </c:pt>
                <c:pt idx="72">
                  <c:v>Boursin Classique Fromage Frais A Tartiner Afh Boite 1X80Gr 1P</c:v>
                </c:pt>
              </c:strCache>
            </c:strRef>
          </c:cat>
          <c:val>
            <c:numRef>
              <c:f>Sheet1!$C$2:$C$74</c:f>
              <c:numCache>
                <c:formatCode>General</c:formatCode>
                <c:ptCount val="73"/>
                <c:pt idx="0">
                  <c:v>0.10226470412382827</c:v>
                </c:pt>
                <c:pt idx="1">
                  <c:v>0.16369146394009682</c:v>
                </c:pt>
                <c:pt idx="2">
                  <c:v>0.21833511673643027</c:v>
                </c:pt>
                <c:pt idx="3">
                  <c:v>0.27048286686009088</c:v>
                </c:pt>
                <c:pt idx="4">
                  <c:v>0.31822206176142015</c:v>
                </c:pt>
                <c:pt idx="5">
                  <c:v>0.35901649208655861</c:v>
                </c:pt>
                <c:pt idx="6">
                  <c:v>0.39463160961954846</c:v>
                </c:pt>
                <c:pt idx="7">
                  <c:v>0.4284409208171418</c:v>
                </c:pt>
                <c:pt idx="8">
                  <c:v>0.46086951276833799</c:v>
                </c:pt>
                <c:pt idx="9">
                  <c:v>0.48996720271201732</c:v>
                </c:pt>
                <c:pt idx="10">
                  <c:v>0.51610383556367623</c:v>
                </c:pt>
                <c:pt idx="11">
                  <c:v>0.54103165094107719</c:v>
                </c:pt>
                <c:pt idx="12">
                  <c:v>0.5652538600468735</c:v>
                </c:pt>
                <c:pt idx="13">
                  <c:v>0.5880345547933189</c:v>
                </c:pt>
                <c:pt idx="14">
                  <c:v>0.61065220374864582</c:v>
                </c:pt>
                <c:pt idx="15">
                  <c:v>0.63283772870032451</c:v>
                </c:pt>
                <c:pt idx="16">
                  <c:v>0.65456116292338717</c:v>
                </c:pt>
                <c:pt idx="17">
                  <c:v>0.67577267357327875</c:v>
                </c:pt>
                <c:pt idx="18">
                  <c:v>0.69624219662412878</c:v>
                </c:pt>
                <c:pt idx="19">
                  <c:v>0.71299900521004544</c:v>
                </c:pt>
                <c:pt idx="20">
                  <c:v>0.72930588208993685</c:v>
                </c:pt>
                <c:pt idx="21">
                  <c:v>0.74511376034193089</c:v>
                </c:pt>
                <c:pt idx="22">
                  <c:v>0.76072920051985093</c:v>
                </c:pt>
                <c:pt idx="23">
                  <c:v>0.77610686957490382</c:v>
                </c:pt>
                <c:pt idx="24">
                  <c:v>0.78997878250557918</c:v>
                </c:pt>
                <c:pt idx="25">
                  <c:v>0.80357122939733805</c:v>
                </c:pt>
                <c:pt idx="26">
                  <c:v>0.81681925043263859</c:v>
                </c:pt>
                <c:pt idx="27">
                  <c:v>0.82963160507188249</c:v>
                </c:pt>
                <c:pt idx="28">
                  <c:v>0.84215846203108236</c:v>
                </c:pt>
                <c:pt idx="29">
                  <c:v>0.85455946831945118</c:v>
                </c:pt>
                <c:pt idx="30">
                  <c:v>0.86585113134200131</c:v>
                </c:pt>
                <c:pt idx="31">
                  <c:v>0.87439437655736607</c:v>
                </c:pt>
                <c:pt idx="32">
                  <c:v>0.88287893294715503</c:v>
                </c:pt>
                <c:pt idx="33">
                  <c:v>0.89107325251029956</c:v>
                </c:pt>
                <c:pt idx="34">
                  <c:v>0.89918332057832706</c:v>
                </c:pt>
                <c:pt idx="35">
                  <c:v>0.90708807349717469</c:v>
                </c:pt>
                <c:pt idx="36">
                  <c:v>0.91446869595009284</c:v>
                </c:pt>
                <c:pt idx="37">
                  <c:v>0.92075443192783168</c:v>
                </c:pt>
                <c:pt idx="38">
                  <c:v>0.92694696468909732</c:v>
                </c:pt>
                <c:pt idx="39">
                  <c:v>0.93301120540098037</c:v>
                </c:pt>
                <c:pt idx="40">
                  <c:v>0.93880622428983052</c:v>
                </c:pt>
                <c:pt idx="41">
                  <c:v>0.94458989794894044</c:v>
                </c:pt>
                <c:pt idx="42">
                  <c:v>0.9503533703972894</c:v>
                </c:pt>
                <c:pt idx="43">
                  <c:v>0.95604312278741099</c:v>
                </c:pt>
                <c:pt idx="44">
                  <c:v>0.96118102788451631</c:v>
                </c:pt>
                <c:pt idx="45">
                  <c:v>0.96600839920388082</c:v>
                </c:pt>
                <c:pt idx="46">
                  <c:v>0.97037377553496473</c:v>
                </c:pt>
                <c:pt idx="47">
                  <c:v>0.9747074139448767</c:v>
                </c:pt>
                <c:pt idx="48">
                  <c:v>0.97742040782797879</c:v>
                </c:pt>
                <c:pt idx="49">
                  <c:v>0.9801228224040236</c:v>
                </c:pt>
                <c:pt idx="50">
                  <c:v>0.98267535548506202</c:v>
                </c:pt>
                <c:pt idx="51">
                  <c:v>0.9852209952619545</c:v>
                </c:pt>
                <c:pt idx="52">
                  <c:v>0.98751507730768806</c:v>
                </c:pt>
                <c:pt idx="53">
                  <c:v>0.98969671232954104</c:v>
                </c:pt>
                <c:pt idx="54">
                  <c:v>0.99173454536768302</c:v>
                </c:pt>
                <c:pt idx="55">
                  <c:v>0.99358788677958587</c:v>
                </c:pt>
                <c:pt idx="56">
                  <c:v>0.99527377834494368</c:v>
                </c:pt>
                <c:pt idx="57">
                  <c:v>0.99627929121706427</c:v>
                </c:pt>
                <c:pt idx="58">
                  <c:v>0.99708714816683364</c:v>
                </c:pt>
                <c:pt idx="59">
                  <c:v>0.99763564454811227</c:v>
                </c:pt>
                <c:pt idx="60">
                  <c:v>0.9981309571730983</c:v>
                </c:pt>
                <c:pt idx="61">
                  <c:v>0.99860549414531119</c:v>
                </c:pt>
                <c:pt idx="62">
                  <c:v>0.9990539897463061</c:v>
                </c:pt>
                <c:pt idx="63">
                  <c:v>0.99935657707621206</c:v>
                </c:pt>
                <c:pt idx="64">
                  <c:v>0.99956940784171777</c:v>
                </c:pt>
                <c:pt idx="65">
                  <c:v>0.99970914086117602</c:v>
                </c:pt>
                <c:pt idx="66">
                  <c:v>0.99979415827897589</c:v>
                </c:pt>
                <c:pt idx="67">
                  <c:v>0.99985519274276802</c:v>
                </c:pt>
                <c:pt idx="68">
                  <c:v>0.99989032944584522</c:v>
                </c:pt>
                <c:pt idx="69">
                  <c:v>0.99991512619270351</c:v>
                </c:pt>
                <c:pt idx="70">
                  <c:v>0.99996036350116113</c:v>
                </c:pt>
                <c:pt idx="71">
                  <c:v>0.99997616065649553</c:v>
                </c:pt>
                <c:pt idx="72">
                  <c:v>0.9999912876294824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4</c:f>
              <c:strCache>
                <c:ptCount val="73"/>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Kiri Gouter Fromage Blanc Dips Boite 1X280Gr 8P</c:v>
                </c:pt>
                <c:pt idx="10">
                  <c:v>Boursin Classique Fromage Frais A Tartiner Afh Boite 1X250Gr 1P</c:v>
                </c:pt>
                <c:pt idx="11">
                  <c:v>Apericube Long Drink Fromage Fondu Cube Assortis 1X250Gr 48P</c:v>
                </c:pt>
                <c:pt idx="12">
                  <c:v>Boursin Classique Fromage Frais A Tartiner Afh 1X160Gr 10P</c:v>
                </c:pt>
                <c:pt idx="13">
                  <c:v>Kiri Creme Fromage Blanc Frais Carre 1X144Gr 8P</c:v>
                </c:pt>
                <c:pt idx="14">
                  <c:v>Apericube Tonic Fromage Fondu Cube Assortis 1X250Gr 48P</c:v>
                </c:pt>
                <c:pt idx="15">
                  <c:v>Kiri Gouter Fromage Blanc Dips Boite 1X175Gr 5P</c:v>
                </c:pt>
                <c:pt idx="16">
                  <c:v>Port Salut St Paulin 1X320Gr 1P</c:v>
                </c:pt>
                <c:pt idx="17">
                  <c:v>Boursin Aperitif Roules Fromage Frais Roule Afh Et Jambon Fume Boite 1X100Gr 20P</c:v>
                </c:pt>
                <c:pt idx="18">
                  <c:v>Boursin Classique Fromage Frais A Tartiner Afh Boite 1X150Gr 1P</c:v>
                </c:pt>
                <c:pt idx="19">
                  <c:v>Apericube Edition Voyage Fromage Fondu Cube Assortis 1X250Gr 48P</c:v>
                </c:pt>
                <c:pt idx="20">
                  <c:v>Apericube Incontournable Fromage Fondu Cube Assortis 1X250Gr 48P</c:v>
                </c:pt>
                <c:pt idx="21">
                  <c:v>Boursin Salade &amp; Aperitif Fromage Frais Des Afh 1X120Gr 1P</c:v>
                </c:pt>
                <c:pt idx="22">
                  <c:v>Babybel St Paulin 1X200Gr 1P</c:v>
                </c:pt>
                <c:pt idx="23">
                  <c:v>Apericube Nature Fromage Fondu Cube 1X125Gr 24P</c:v>
                </c:pt>
                <c:pt idx="24">
                  <c:v>Apericube Campagne Fromage Fondu Cube Assortis 1X125Gr 24P</c:v>
                </c:pt>
                <c:pt idx="25">
                  <c:v>Boursin Aperitif Roules Fromage Frais Roule Ciboulette &amp; Echalote Jambon Fume Boite 1X100Gr 20P</c:v>
                </c:pt>
                <c:pt idx="26">
                  <c:v>Apericube Edition Limitee Saison Fromage Fondu Cube Assortis 1X250Gr 48P</c:v>
                </c:pt>
                <c:pt idx="27">
                  <c:v>La Vache Qui Rit Pik Et Croq' Fromage Fondu Dips Boite 1X175Gr 5P</c:v>
                </c:pt>
                <c:pt idx="28">
                  <c:v>La Vache Qui Rit Pik Et Croq' Fromage Fondu Dips Boite 1X280Gr 8P</c:v>
                </c:pt>
                <c:pt idx="29">
                  <c:v>Apericube Soiree Match Aperitif 250G</c:v>
                </c:pt>
                <c:pt idx="30">
                  <c:v>Boursin Onctueux Fromage Frais A Tartiner Afh 1X125Gr 1P</c:v>
                </c:pt>
                <c:pt idx="31">
                  <c:v>Boursin Classique Fromage Frais A Tartiner Afh Boite 1X96Gr 6P</c:v>
                </c:pt>
                <c:pt idx="32">
                  <c:v>Kiri Creme Fromage Blanc Frais Carre 1X432Gr 18+6P</c:v>
                </c:pt>
                <c:pt idx="33">
                  <c:v>Boursin Classique Fromage Frais A Tartiner Figue Et 3 Noix Boite 1X150Gr 1P</c:v>
                </c:pt>
                <c:pt idx="34">
                  <c:v>Mini Babybel Aros Soft Cheese Enfant 180G</c:v>
                </c:pt>
                <c:pt idx="35">
                  <c:v>La Vache Qui Rit Allegee Fromage Fondu Boite Ronde Allege 1X267Gr 16P</c:v>
                </c:pt>
                <c:pt idx="36">
                  <c:v>Boursin Classique Fromage Frais A Tartiner Ciboulette &amp; Echalote Boite 1X150Gr 1P</c:v>
                </c:pt>
                <c:pt idx="37">
                  <c:v>Kiri Delicieusement Fouette Fromage Frais A Tartiner 1X125Gr 1P</c:v>
                </c:pt>
                <c:pt idx="38">
                  <c:v>Boursin Aperitif Roules Fromage Frais Roule Basilic &amp; Jambon Fume Tomate Boite 1X100Gr 20P</c:v>
                </c:pt>
                <c:pt idx="39">
                  <c:v>Boursin Cuisine Sauce Fromage Afh 1X240Gr 1P</c:v>
                </c:pt>
                <c:pt idx="40">
                  <c:v>Boursin Classique Fromage Frais A Tartiner Afh 1X256Gr 16P</c:v>
                </c:pt>
                <c:pt idx="41">
                  <c:v>Boursin Salade &amp; Aperitif Fromage Frais Des Ciboulette Echalote 1X120Gr 1P</c:v>
                </c:pt>
                <c:pt idx="42">
                  <c:v>Boursin Classique Fromage Frais A Tartiner Poivre Boite 1X150Gr 1P</c:v>
                </c:pt>
                <c:pt idx="43">
                  <c:v>Babybel Mini Rolls St Paulin Ferme Sachet 1X85Gr 5P</c:v>
                </c:pt>
                <c:pt idx="44">
                  <c:v>Apericube Hot Chalenge Aperitif 250G</c:v>
                </c:pt>
                <c:pt idx="45">
                  <c:v>Boursin Classique Fromage Frais A Tartiner Ciboulette &amp; Echalote 1X160Gr 10P</c:v>
                </c:pt>
                <c:pt idx="46">
                  <c:v>Kiri Bio Fromage Blanc Frais Carre 1X144Gr 8P</c:v>
                </c:pt>
                <c:pt idx="47">
                  <c:v>La Vache Qui Rit Aro Fromage Fondu Boite Ronde Jambon 1X133Gr 8P</c:v>
                </c:pt>
                <c:pt idx="48">
                  <c:v>Mini Babybel Aros Soft Cheese Enfant 110G</c:v>
                </c:pt>
                <c:pt idx="49">
                  <c:v>Boursin Salade &amp; Aperitif Fromage Frais Des Figue Noix 1X120Gr 1P</c:v>
                </c:pt>
                <c:pt idx="50">
                  <c:v>Cousteron St Paulin 1X320Gr 1P</c:v>
                </c:pt>
                <c:pt idx="51">
                  <c:v>Kiri Chevre Fromage Blanc Frais Carre 1X144Gr 8P</c:v>
                </c:pt>
                <c:pt idx="52">
                  <c:v>Apericube Fromages Du Monde Aperitif 250G</c:v>
                </c:pt>
                <c:pt idx="53">
                  <c:v>Boursin Salade &amp; Aperitif Fromage Frais Des Citron Romarin 1X120Gr 1P</c:v>
                </c:pt>
                <c:pt idx="54">
                  <c:v>Apericube Montagne Aperitif 250G</c:v>
                </c:pt>
                <c:pt idx="55">
                  <c:v>Boursin Aperitif Roules Aperitif 100G</c:v>
                </c:pt>
                <c:pt idx="56">
                  <c:v>Boursin Salade &amp; Aperitif Soft Cheese Salade 120G</c:v>
                </c:pt>
                <c:pt idx="57">
                  <c:v>Nurishh Les Tranches Vegetales Cheddar Vegetal Tranche Boite 1X160Gr 8P</c:v>
                </c:pt>
                <c:pt idx="58">
                  <c:v>Nurishh Le Rape Vegetal Specialite Vegetale Sachet 1X150Gr 1P</c:v>
                </c:pt>
                <c:pt idx="59">
                  <c:v>Nurishh Le Rape Vegetal Specialite Vegetale Emmental Sachet 1X150Gr 1P</c:v>
                </c:pt>
                <c:pt idx="60">
                  <c:v>Nurishh Le Coeur Fleuri Vegetal Camembert Boite 1X140Gr 1P</c:v>
                </c:pt>
                <c:pt idx="61">
                  <c:v>Nurishh Des Vegetaux Feta Vegetale Sachet 1X150Gr 1P</c:v>
                </c:pt>
                <c:pt idx="62">
                  <c:v>Nurishh Le Palet Vegetal Specialite Vegetale Ovale Saveur Chevre Boite 1X140Gr 1P</c:v>
                </c:pt>
                <c:pt idx="63">
                  <c:v>Apericube Saveurs De L'Authentique Fromage Fondu Cube Assortis 1X250Gr 48P</c:v>
                </c:pt>
                <c:pt idx="64">
                  <c:v>Mini Babybel Rouge Filet St Paulin Ferme Sachet 1X40Gr 1P</c:v>
                </c:pt>
                <c:pt idx="65">
                  <c:v>Boursin Aperitif Roules Fromage Frais Roule Jambon Fume &amp; Trio De Noix Boite 1X100Gr 20P</c:v>
                </c:pt>
                <c:pt idx="66">
                  <c:v>Limiano Queijo Flamengo Tranche Sachet 1X200Gr 1P</c:v>
                </c:pt>
                <c:pt idx="67">
                  <c:v>Limiano Queijo Flamengo Bloc 1X600Gr 1P</c:v>
                </c:pt>
                <c:pt idx="68">
                  <c:v>Mini Babybel Aros St Paulin Ferme Raclette Filet 1X132Gr 6P</c:v>
                </c:pt>
                <c:pt idx="69">
                  <c:v>Kiri Delicieusement Fouette Fromage Frais A Tartiner 1X160Gr 10P</c:v>
                </c:pt>
                <c:pt idx="70">
                  <c:v>Apericube Long Drink Fromage Fondu Cube Assortis 1X125Gr 24P</c:v>
                </c:pt>
                <c:pt idx="71">
                  <c:v>Mini Babybel Aros St Paulin Ferme Assortis Filet 1X180Gr 9P</c:v>
                </c:pt>
                <c:pt idx="72">
                  <c:v>Boursin Classique Fromage Frais A Tartiner Afh Boite 1X80Gr 1P</c:v>
                </c:pt>
              </c:strCache>
            </c:strRef>
          </c:cat>
          <c:val>
            <c:numRef>
              <c:f>Sheet1!$D$2:$D$74</c:f>
              <c:numCache>
                <c:formatCode>General</c:formatCode>
                <c:ptCount val="73"/>
                <c:pt idx="0">
                  <c:v>21578.717171717173</c:v>
                </c:pt>
                <c:pt idx="1">
                  <c:v>13093.826530612245</c:v>
                </c:pt>
                <c:pt idx="2">
                  <c:v>11768.01030927835</c:v>
                </c:pt>
                <c:pt idx="3">
                  <c:v>10893.58</c:v>
                </c:pt>
                <c:pt idx="4">
                  <c:v>10073.373737373737</c:v>
                </c:pt>
                <c:pt idx="5">
                  <c:v>8607.9696969696961</c:v>
                </c:pt>
                <c:pt idx="6">
                  <c:v>7670.0412371134016</c:v>
                </c:pt>
                <c:pt idx="7">
                  <c:v>7935.6292134831465</c:v>
                </c:pt>
                <c:pt idx="8">
                  <c:v>7056.541666666667</c:v>
                </c:pt>
                <c:pt idx="9">
                  <c:v>6331.729166666667</c:v>
                </c:pt>
                <c:pt idx="10">
                  <c:v>5515.0505050505053</c:v>
                </c:pt>
                <c:pt idx="11">
                  <c:v>5539.7659574468089</c:v>
                </c:pt>
                <c:pt idx="12">
                  <c:v>5111.090909090909</c:v>
                </c:pt>
                <c:pt idx="13">
                  <c:v>4806.9191919191917</c:v>
                </c:pt>
                <c:pt idx="14">
                  <c:v>5026.3723404255315</c:v>
                </c:pt>
                <c:pt idx="15">
                  <c:v>4681.333333333333</c:v>
                </c:pt>
                <c:pt idx="16">
                  <c:v>4583.8282828282827</c:v>
                </c:pt>
                <c:pt idx="17">
                  <c:v>4568.0927835051543</c:v>
                </c:pt>
                <c:pt idx="18">
                  <c:v>4276.05</c:v>
                </c:pt>
                <c:pt idx="19">
                  <c:v>3846.6703296703295</c:v>
                </c:pt>
                <c:pt idx="20">
                  <c:v>3871</c:v>
                </c:pt>
                <c:pt idx="21">
                  <c:v>3369.6326530612246</c:v>
                </c:pt>
                <c:pt idx="22">
                  <c:v>3294.9898989898988</c:v>
                </c:pt>
                <c:pt idx="23">
                  <c:v>3454.1612903225805</c:v>
                </c:pt>
                <c:pt idx="24">
                  <c:v>3184.4175824175823</c:v>
                </c:pt>
                <c:pt idx="25">
                  <c:v>3053.1612903225805</c:v>
                </c:pt>
                <c:pt idx="26">
                  <c:v>3074.9888888888891</c:v>
                </c:pt>
                <c:pt idx="27">
                  <c:v>2817.3473684210526</c:v>
                </c:pt>
                <c:pt idx="28">
                  <c:v>3042.8372093023254</c:v>
                </c:pt>
                <c:pt idx="29">
                  <c:v>3238.1875</c:v>
                </c:pt>
                <c:pt idx="30">
                  <c:v>2431.7628865979382</c:v>
                </c:pt>
                <c:pt idx="31">
                  <c:v>1982.9666666666667</c:v>
                </c:pt>
                <c:pt idx="32">
                  <c:v>2135.4337349397592</c:v>
                </c:pt>
                <c:pt idx="33">
                  <c:v>1801.8736842105263</c:v>
                </c:pt>
                <c:pt idx="34">
                  <c:v>2320.794520547945</c:v>
                </c:pt>
                <c:pt idx="35">
                  <c:v>1965.8214285714287</c:v>
                </c:pt>
                <c:pt idx="36">
                  <c:v>1606.0416666666667</c:v>
                </c:pt>
                <c:pt idx="37">
                  <c:v>1509.2873563218391</c:v>
                </c:pt>
                <c:pt idx="38">
                  <c:v>1521.8941176470589</c:v>
                </c:pt>
                <c:pt idx="39">
                  <c:v>1490.3647058823528</c:v>
                </c:pt>
                <c:pt idx="40">
                  <c:v>1441.1547619047619</c:v>
                </c:pt>
                <c:pt idx="41">
                  <c:v>1404.8837209302326</c:v>
                </c:pt>
                <c:pt idx="42">
                  <c:v>1399.9767441860465</c:v>
                </c:pt>
                <c:pt idx="43">
                  <c:v>1584.7733333333333</c:v>
                </c:pt>
                <c:pt idx="44">
                  <c:v>2146.6</c:v>
                </c:pt>
                <c:pt idx="45">
                  <c:v>1214.9759036144578</c:v>
                </c:pt>
                <c:pt idx="46">
                  <c:v>1519.8666666666666</c:v>
                </c:pt>
                <c:pt idx="47">
                  <c:v>1414.515625</c:v>
                </c:pt>
                <c:pt idx="48">
                  <c:v>960.57627118644064</c:v>
                </c:pt>
                <c:pt idx="49">
                  <c:v>1106.9215686274511</c:v>
                </c:pt>
                <c:pt idx="50">
                  <c:v>555.4375</c:v>
                </c:pt>
                <c:pt idx="51">
                  <c:v>916.86206896551732</c:v>
                </c:pt>
                <c:pt idx="52">
                  <c:v>1996.7916666666667</c:v>
                </c:pt>
                <c:pt idx="53">
                  <c:v>680.20895522388059</c:v>
                </c:pt>
                <c:pt idx="54">
                  <c:v>1850.8695652173913</c:v>
                </c:pt>
                <c:pt idx="55">
                  <c:v>553.08571428571429</c:v>
                </c:pt>
                <c:pt idx="56">
                  <c:v>880.45</c:v>
                </c:pt>
                <c:pt idx="57">
                  <c:v>875.20833333333337</c:v>
                </c:pt>
                <c:pt idx="58">
                  <c:v>675.04</c:v>
                </c:pt>
                <c:pt idx="59">
                  <c:v>674</c:v>
                </c:pt>
                <c:pt idx="60">
                  <c:v>940.63636363636363</c:v>
                </c:pt>
                <c:pt idx="61">
                  <c:v>708.07142857142844</c:v>
                </c:pt>
                <c:pt idx="62">
                  <c:v>851.72727272727275</c:v>
                </c:pt>
                <c:pt idx="63">
                  <c:v>234.11111111111111</c:v>
                </c:pt>
                <c:pt idx="64">
                  <c:v>494</c:v>
                </c:pt>
                <c:pt idx="65">
                  <c:v>100.65517241379311</c:v>
                </c:pt>
                <c:pt idx="66">
                  <c:v>1776</c:v>
                </c:pt>
                <c:pt idx="67">
                  <c:v>1275</c:v>
                </c:pt>
                <c:pt idx="68">
                  <c:v>66.727272727272734</c:v>
                </c:pt>
                <c:pt idx="69">
                  <c:v>57.555555555555557</c:v>
                </c:pt>
                <c:pt idx="70">
                  <c:v>116.25</c:v>
                </c:pt>
                <c:pt idx="71">
                  <c:v>165</c:v>
                </c:pt>
                <c:pt idx="72">
                  <c:v>52.6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6</c:f>
              <c:strCache>
                <c:ptCount val="75"/>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Apericube Edition Limitee Best Of Foot Fromage Fondu Cube Assortis 1X250Gr 48P</c:v>
                </c:pt>
                <c:pt idx="8">
                  <c:v>Apericube Cocktail Fromage Fondu Cube Assortis 1X250Gr 48P</c:v>
                </c:pt>
                <c:pt idx="9">
                  <c:v>Kiri Gouter Fromage Blanc Dips Boite 1X280Gr 8P</c:v>
                </c:pt>
                <c:pt idx="10">
                  <c:v>Boursin Classique Fromage Frais A Tartiner Afh Boite 1X250Gr 1P</c:v>
                </c:pt>
                <c:pt idx="11">
                  <c:v>Apericube Long Drink Fromage Fondu Cube Assortis 1X250Gr 48P</c:v>
                </c:pt>
                <c:pt idx="12">
                  <c:v>Boursin Classique Fromage Frais A Tartiner Afh 1X160Gr 10P</c:v>
                </c:pt>
                <c:pt idx="13">
                  <c:v>Boursin Aperitif Roules Fromage Frais Roule Afh Et Jambon Fume Boite 1X100Gr 20P</c:v>
                </c:pt>
                <c:pt idx="14">
                  <c:v>Port Salut St Paulin 1X320Gr 1P</c:v>
                </c:pt>
                <c:pt idx="15">
                  <c:v>Apericube Tonic Fromage Fondu Cube Assortis 1X250Gr 48P</c:v>
                </c:pt>
                <c:pt idx="16">
                  <c:v>Kiri Gouter Fromage Blanc Dips Boite 1X175Gr 5P</c:v>
                </c:pt>
                <c:pt idx="17">
                  <c:v>Kiri Creme Fromage Blanc Frais Carre 1X144Gr 8P</c:v>
                </c:pt>
                <c:pt idx="18">
                  <c:v>Boursin Classique Fromage Frais A Tartiner Afh Boite 1X150Gr 1P</c:v>
                </c:pt>
                <c:pt idx="19">
                  <c:v>Apericube Incontournable Fromage Fondu Cube Assortis 1X250Gr 48P</c:v>
                </c:pt>
                <c:pt idx="20">
                  <c:v>Apericube Nature Fromage Fondu Cube 1X125Gr 24P</c:v>
                </c:pt>
                <c:pt idx="21">
                  <c:v>La Vache Qui Rit Pik Et Croq' Fromage Fondu Dips Boite 1X280Gr 8P</c:v>
                </c:pt>
                <c:pt idx="22">
                  <c:v>Apericube Edition Voyage Fromage Fondu Cube Assortis 1X250Gr 48P</c:v>
                </c:pt>
                <c:pt idx="23">
                  <c:v>Babybel St Paulin 1X200Gr 1P</c:v>
                </c:pt>
                <c:pt idx="24">
                  <c:v>Apericube Soiree Match Aperitif 250G</c:v>
                </c:pt>
                <c:pt idx="25">
                  <c:v>Boursin Salade &amp; Aperitif Fromage Frais Des Afh 1X120Gr 1P</c:v>
                </c:pt>
                <c:pt idx="26">
                  <c:v>La Vache Qui Rit Pik Et Croq' Fromage Fondu Dips Boite 1X175Gr 5P</c:v>
                </c:pt>
                <c:pt idx="27">
                  <c:v>Boursin Aperitif Roules Fromage Frais Roule Ciboulette &amp; Echalote Jambon Fume Boite 1X100Gr 20P</c:v>
                </c:pt>
                <c:pt idx="28">
                  <c:v>Apericube Campagne Fromage Fondu Cube Assortis 1X125Gr 24P</c:v>
                </c:pt>
                <c:pt idx="29">
                  <c:v>Apericube Edition Limitee Saison Fromage Fondu Cube Assortis 1X250Gr 48P</c:v>
                </c:pt>
                <c:pt idx="30">
                  <c:v>Mini Babybel Aros Soft Cheese Enfant 180G</c:v>
                </c:pt>
                <c:pt idx="31">
                  <c:v>Boursin Onctueux Fromage Frais A Tartiner Afh 1X125Gr 1P</c:v>
                </c:pt>
                <c:pt idx="32">
                  <c:v>Kiri Creme Fromage Blanc Frais Carre 1X432Gr 18+6P</c:v>
                </c:pt>
                <c:pt idx="33">
                  <c:v>Boursin Classique Fromage Frais A Tartiner Afh Boite 1X96Gr 6P</c:v>
                </c:pt>
                <c:pt idx="34">
                  <c:v>Boursin Classique Fromage Frais A Tartiner Afh 1X256Gr 16P</c:v>
                </c:pt>
                <c:pt idx="35">
                  <c:v>La Vache Qui Rit Allegee Fromage Fondu Boite Ronde Allege 1X267Gr 16P</c:v>
                </c:pt>
                <c:pt idx="36">
                  <c:v>Babybel Mini Rolls St Paulin Ferme Sachet 1X85Gr 5P</c:v>
                </c:pt>
                <c:pt idx="37">
                  <c:v>Kiri Delicieusement Fouette Fromage Frais A Tartiner 1X125Gr 1P</c:v>
                </c:pt>
                <c:pt idx="38">
                  <c:v>Boursin Classique Fromage Frais A Tartiner Figue Et 3 Noix Boite 1X150Gr 1P</c:v>
                </c:pt>
                <c:pt idx="39">
                  <c:v>Apericube Hot Chalenge Aperitif 250G</c:v>
                </c:pt>
                <c:pt idx="40">
                  <c:v>Boursin Salade &amp; Aperitif Fromage Frais Des Ciboulette Echalote 1X120Gr 1P</c:v>
                </c:pt>
                <c:pt idx="41">
                  <c:v>Boursin Aperitif Roules Fromage Frais Roule Basilic &amp; Jambon Fume Tomate Boite 1X100Gr 20P</c:v>
                </c:pt>
                <c:pt idx="42">
                  <c:v>Apericube Fromages Du Monde Aperitif 250G</c:v>
                </c:pt>
                <c:pt idx="43">
                  <c:v>Boursin Classique Fromage Frais A Tartiner Ciboulette &amp; Echalote Boite 1X150Gr 1P</c:v>
                </c:pt>
                <c:pt idx="44">
                  <c:v>Boursin Classique Fromage Frais A Tartiner Poivre Boite 1X150Gr 1P</c:v>
                </c:pt>
                <c:pt idx="45">
                  <c:v>Boursin Classique Fromage Frais A Tartiner Ciboulette &amp; Echalote 1X160Gr 10P</c:v>
                </c:pt>
                <c:pt idx="46">
                  <c:v>Boursin Cuisine Sauce Fromage Afh 1X240Gr 1P</c:v>
                </c:pt>
                <c:pt idx="47">
                  <c:v>La Vache Qui Rit Aro Fromage Fondu Boite Ronde Jambon 1X133Gr 8P</c:v>
                </c:pt>
                <c:pt idx="48">
                  <c:v>Apericube Montagne Aperitif 250G</c:v>
                </c:pt>
                <c:pt idx="49">
                  <c:v>Mini Babybel Aros Soft Cheese Enfant 110G</c:v>
                </c:pt>
                <c:pt idx="50">
                  <c:v>Kiri Bio Fromage Blanc Frais Carre 1X144Gr 8P</c:v>
                </c:pt>
                <c:pt idx="51">
                  <c:v>Boursin Salade &amp; Aperitif Fromage Frais Des Figue Noix 1X120Gr 1P</c:v>
                </c:pt>
                <c:pt idx="52">
                  <c:v>Boursin Salade &amp; Aperitif Fromage Frais Des Citron Romarin 1X120Gr 1P</c:v>
                </c:pt>
                <c:pt idx="53">
                  <c:v>Kiri Chevre Fromage Blanc Frais Carre 1X144Gr 8P</c:v>
                </c:pt>
                <c:pt idx="54">
                  <c:v>Cousteron St Paulin 1X320Gr 1P</c:v>
                </c:pt>
                <c:pt idx="55">
                  <c:v>Boursin Salade &amp; Aperitif Soft Cheese Salade 120G</c:v>
                </c:pt>
                <c:pt idx="56">
                  <c:v>Boursin Aperitif Roules Aperitif 100G</c:v>
                </c:pt>
                <c:pt idx="57">
                  <c:v>Nurishh Les Tranches Vegetales Cheddar Vegetal Tranche Boite 1X160Gr 8P</c:v>
                </c:pt>
                <c:pt idx="58">
                  <c:v>Nurishh Le Rape Vegetal Specialite Vegetale Sachet 1X150Gr 1P</c:v>
                </c:pt>
                <c:pt idx="59">
                  <c:v>Nurishh Le Rape Vegetal Specialite Vegetale Emmental Sachet 1X150Gr 1P</c:v>
                </c:pt>
                <c:pt idx="60">
                  <c:v>Nurishh Le Coeur Fleuri Vegetal Camembert Boite 1X140Gr 1P</c:v>
                </c:pt>
                <c:pt idx="61">
                  <c:v>Nurishh Le Palet Vegetal Specialite Vegetale Ovale Saveur Chevre Boite 1X140Gr 1P</c:v>
                </c:pt>
                <c:pt idx="62">
                  <c:v>Nurishh Des Vegetaux Feta Vegetale Sachet 1X150Gr 1P</c:v>
                </c:pt>
                <c:pt idx="63">
                  <c:v>Mini Babybel Rouge Filet St Paulin Ferme Sachet 1X40Gr 1P</c:v>
                </c:pt>
                <c:pt idx="64">
                  <c:v>Apericube Saveurs De L'Authentique Fromage Fondu Cube Assortis 1X250Gr 48P</c:v>
                </c:pt>
                <c:pt idx="65">
                  <c:v>Boursin Aperitif Roules Fromage Frais Roule Jambon Fume &amp; Trio De Noix Boite 1X100Gr 20P</c:v>
                </c:pt>
                <c:pt idx="66">
                  <c:v>Limiano Queijo Flamengo Bloc 1X600Gr 1P</c:v>
                </c:pt>
                <c:pt idx="67">
                  <c:v>Limiano Queijo Flamengo Tranche Sachet 1X200Gr 1P</c:v>
                </c:pt>
                <c:pt idx="68">
                  <c:v>La Vache Qui Rit Nature Fromage Fondu Boite Ronde 1X512Gr 24+8P</c:v>
                </c:pt>
                <c:pt idx="69">
                  <c:v>Kiri Delicieusement Fouette Fromage Frais A Tartiner 1X160Gr 10P</c:v>
                </c:pt>
                <c:pt idx="70">
                  <c:v>Mini Babybel Aros St Paulin Ferme Raclette Filet 1X132Gr 6P</c:v>
                </c:pt>
                <c:pt idx="71">
                  <c:v>Boursin Classique Fromage Frais A Tartiner Afh Boite 1X80Gr 1P</c:v>
                </c:pt>
                <c:pt idx="72">
                  <c:v>Apericube Long Drink Fromage Fondu Cube Assortis 1X125Gr 24P</c:v>
                </c:pt>
                <c:pt idx="73">
                  <c:v>Mini Babybel Rouge Filet St Paulin Ferme 1X396Gr 12+6P</c:v>
                </c:pt>
                <c:pt idx="74">
                  <c:v>Mini Babybel Aros St Paulin Ferme Assortis Filet 1X180Gr 9P</c:v>
                </c:pt>
              </c:strCache>
            </c:strRef>
          </c:cat>
          <c:val>
            <c:numRef>
              <c:f>Sheet1!$B$2:$B$76</c:f>
              <c:numCache>
                <c:formatCode>General</c:formatCode>
                <c:ptCount val="75"/>
                <c:pt idx="0">
                  <c:v>0.99</c:v>
                </c:pt>
                <c:pt idx="1">
                  <c:v>0.99</c:v>
                </c:pt>
                <c:pt idx="2">
                  <c:v>0.99</c:v>
                </c:pt>
                <c:pt idx="3">
                  <c:v>0.99</c:v>
                </c:pt>
                <c:pt idx="4">
                  <c:v>0.99</c:v>
                </c:pt>
                <c:pt idx="5">
                  <c:v>0.99</c:v>
                </c:pt>
                <c:pt idx="6">
                  <c:v>0.99</c:v>
                </c:pt>
                <c:pt idx="7">
                  <c:v>0.99</c:v>
                </c:pt>
                <c:pt idx="8">
                  <c:v>0.99</c:v>
                </c:pt>
                <c:pt idx="9">
                  <c:v>0.99</c:v>
                </c:pt>
                <c:pt idx="10">
                  <c:v>0.99</c:v>
                </c:pt>
                <c:pt idx="11">
                  <c:v>0.98</c:v>
                </c:pt>
                <c:pt idx="12">
                  <c:v>0.99</c:v>
                </c:pt>
                <c:pt idx="13">
                  <c:v>0.99</c:v>
                </c:pt>
                <c:pt idx="14">
                  <c:v>0.99</c:v>
                </c:pt>
                <c:pt idx="15">
                  <c:v>0.97</c:v>
                </c:pt>
                <c:pt idx="16">
                  <c:v>0.99</c:v>
                </c:pt>
                <c:pt idx="17">
                  <c:v>0.99</c:v>
                </c:pt>
                <c:pt idx="18">
                  <c:v>0.99</c:v>
                </c:pt>
                <c:pt idx="19">
                  <c:v>0.99</c:v>
                </c:pt>
                <c:pt idx="20">
                  <c:v>0.99</c:v>
                </c:pt>
                <c:pt idx="21">
                  <c:v>0.98</c:v>
                </c:pt>
                <c:pt idx="22">
                  <c:v>0.96</c:v>
                </c:pt>
                <c:pt idx="23">
                  <c:v>0.99</c:v>
                </c:pt>
                <c:pt idx="24">
                  <c:v>0.96</c:v>
                </c:pt>
                <c:pt idx="25">
                  <c:v>0.99</c:v>
                </c:pt>
                <c:pt idx="26">
                  <c:v>0.99</c:v>
                </c:pt>
                <c:pt idx="27">
                  <c:v>0.99</c:v>
                </c:pt>
                <c:pt idx="28">
                  <c:v>0.97</c:v>
                </c:pt>
                <c:pt idx="29">
                  <c:v>0.96</c:v>
                </c:pt>
                <c:pt idx="30">
                  <c:v>0.95</c:v>
                </c:pt>
                <c:pt idx="31">
                  <c:v>0.99</c:v>
                </c:pt>
                <c:pt idx="32">
                  <c:v>0.94</c:v>
                </c:pt>
                <c:pt idx="33">
                  <c:v>0.98</c:v>
                </c:pt>
                <c:pt idx="34">
                  <c:v>0.96</c:v>
                </c:pt>
                <c:pt idx="35">
                  <c:v>0.96</c:v>
                </c:pt>
                <c:pt idx="36">
                  <c:v>0.97</c:v>
                </c:pt>
                <c:pt idx="37">
                  <c:v>0.99</c:v>
                </c:pt>
                <c:pt idx="38">
                  <c:v>0.99</c:v>
                </c:pt>
                <c:pt idx="39">
                  <c:v>0.8</c:v>
                </c:pt>
                <c:pt idx="40">
                  <c:v>0.95</c:v>
                </c:pt>
                <c:pt idx="41">
                  <c:v>0.95</c:v>
                </c:pt>
                <c:pt idx="42">
                  <c:v>0.7</c:v>
                </c:pt>
                <c:pt idx="43">
                  <c:v>0.99</c:v>
                </c:pt>
                <c:pt idx="44">
                  <c:v>0.97</c:v>
                </c:pt>
                <c:pt idx="45">
                  <c:v>0.95</c:v>
                </c:pt>
                <c:pt idx="46">
                  <c:v>0.96</c:v>
                </c:pt>
                <c:pt idx="47">
                  <c:v>0.88</c:v>
                </c:pt>
                <c:pt idx="48">
                  <c:v>0.68</c:v>
                </c:pt>
                <c:pt idx="49">
                  <c:v>0.9</c:v>
                </c:pt>
                <c:pt idx="50">
                  <c:v>0.87</c:v>
                </c:pt>
                <c:pt idx="51">
                  <c:v>0.83</c:v>
                </c:pt>
                <c:pt idx="52">
                  <c:v>0.87</c:v>
                </c:pt>
                <c:pt idx="53">
                  <c:v>0.73</c:v>
                </c:pt>
                <c:pt idx="54">
                  <c:v>0.99</c:v>
                </c:pt>
                <c:pt idx="55">
                  <c:v>0.73</c:v>
                </c:pt>
                <c:pt idx="56">
                  <c:v>0.86</c:v>
                </c:pt>
                <c:pt idx="57">
                  <c:v>0.56999999999999995</c:v>
                </c:pt>
                <c:pt idx="58">
                  <c:v>0.6</c:v>
                </c:pt>
                <c:pt idx="59">
                  <c:v>0.51</c:v>
                </c:pt>
                <c:pt idx="60">
                  <c:v>0.41</c:v>
                </c:pt>
                <c:pt idx="61">
                  <c:v>0.39</c:v>
                </c:pt>
                <c:pt idx="62">
                  <c:v>0.42</c:v>
                </c:pt>
                <c:pt idx="63">
                  <c:v>0.21</c:v>
                </c:pt>
                <c:pt idx="64">
                  <c:v>0.37</c:v>
                </c:pt>
                <c:pt idx="65">
                  <c:v>0.52</c:v>
                </c:pt>
                <c:pt idx="66">
                  <c:v>0.02</c:v>
                </c:pt>
                <c:pt idx="67">
                  <c:v>0.02</c:v>
                </c:pt>
                <c:pt idx="68">
                  <c:v>0.01</c:v>
                </c:pt>
                <c:pt idx="69">
                  <c:v>0.16</c:v>
                </c:pt>
                <c:pt idx="70">
                  <c:v>0.16</c:v>
                </c:pt>
                <c:pt idx="71">
                  <c:v>0.14000000000000001</c:v>
                </c:pt>
                <c:pt idx="72">
                  <c:v>0.05</c:v>
                </c:pt>
                <c:pt idx="73">
                  <c:v>0.01</c:v>
                </c:pt>
                <c:pt idx="74">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invertIfNegative val="1"/>
            <c:bubble3D val="0"/>
            <c:spPr>
              <a:solidFill>
                <a:srgbClr val="7ECAC4"/>
              </a:solidFill>
            </c:spPr>
            <c:extLst>
              <c:ext xmlns:c16="http://schemas.microsoft.com/office/drawing/2014/chart" uri="{C3380CC4-5D6E-409C-BE32-E72D297353CC}">
                <c16:uniqueId val="{0000005B-7A2F-4F28-8285-58935B51DF0A}"/>
              </c:ext>
            </c:extLst>
          </c:dPt>
          <c:dPt>
            <c:idx val="45"/>
            <c:invertIfNegative val="1"/>
            <c:bubble3D val="0"/>
            <c:spPr>
              <a:solidFill>
                <a:srgbClr val="AEABAB"/>
              </a:solidFill>
            </c:spPr>
            <c:extLst>
              <c:ext xmlns:c16="http://schemas.microsoft.com/office/drawing/2014/chart" uri="{C3380CC4-5D6E-409C-BE32-E72D297353CC}">
                <c16:uniqueId val="{0000005D-7A2F-4F28-8285-58935B51DF0A}"/>
              </c:ext>
            </c:extLst>
          </c:dPt>
          <c:dPt>
            <c:idx val="46"/>
            <c:invertIfNegative val="1"/>
            <c:bubble3D val="0"/>
            <c:spPr>
              <a:solidFill>
                <a:srgbClr val="AEABAB"/>
              </a:solidFill>
            </c:spPr>
            <c:extLst>
              <c:ext xmlns:c16="http://schemas.microsoft.com/office/drawing/2014/chart" uri="{C3380CC4-5D6E-409C-BE32-E72D297353CC}">
                <c16:uniqueId val="{0000005F-7A2F-4F28-8285-58935B51DF0A}"/>
              </c:ext>
            </c:extLst>
          </c:dPt>
          <c:dPt>
            <c:idx val="47"/>
            <c:invertIfNegative val="1"/>
            <c:bubble3D val="0"/>
            <c:spPr>
              <a:solidFill>
                <a:srgbClr val="AEABAB"/>
              </a:solidFill>
            </c:spPr>
            <c:extLst>
              <c:ext xmlns:c16="http://schemas.microsoft.com/office/drawing/2014/chart" uri="{C3380CC4-5D6E-409C-BE32-E72D297353CC}">
                <c16:uniqueId val="{00000061-7A2F-4F28-8285-58935B51DF0A}"/>
              </c:ext>
            </c:extLst>
          </c:dPt>
          <c:dPt>
            <c:idx val="48"/>
            <c:invertIfNegative val="1"/>
            <c:bubble3D val="0"/>
            <c:spPr>
              <a:solidFill>
                <a:srgbClr val="AEABAB"/>
              </a:solidFill>
            </c:spPr>
            <c:extLst>
              <c:ext xmlns:c16="http://schemas.microsoft.com/office/drawing/2014/chart" uri="{C3380CC4-5D6E-409C-BE32-E72D297353CC}">
                <c16:uniqueId val="{00000063-7A2F-4F28-8285-58935B51DF0A}"/>
              </c:ext>
            </c:extLst>
          </c:dPt>
          <c:dPt>
            <c:idx val="49"/>
            <c:invertIfNegative val="1"/>
            <c:bubble3D val="0"/>
            <c:spPr>
              <a:solidFill>
                <a:srgbClr val="AEABAB"/>
              </a:solidFill>
            </c:spPr>
            <c:extLst>
              <c:ext xmlns:c16="http://schemas.microsoft.com/office/drawing/2014/chart" uri="{C3380CC4-5D6E-409C-BE32-E72D297353CC}">
                <c16:uniqueId val="{00000065-7A2F-4F28-8285-58935B51DF0A}"/>
              </c:ext>
            </c:extLst>
          </c:dPt>
          <c:dPt>
            <c:idx val="50"/>
            <c:invertIfNegative val="1"/>
            <c:bubble3D val="0"/>
            <c:spPr>
              <a:solidFill>
                <a:srgbClr val="AEABAB"/>
              </a:solidFill>
            </c:spPr>
            <c:extLst>
              <c:ext xmlns:c16="http://schemas.microsoft.com/office/drawing/2014/chart" uri="{C3380CC4-5D6E-409C-BE32-E72D297353CC}">
                <c16:uniqueId val="{00000067-7A2F-4F28-8285-58935B51DF0A}"/>
              </c:ext>
            </c:extLst>
          </c:dPt>
          <c:dPt>
            <c:idx val="51"/>
            <c:invertIfNegative val="1"/>
            <c:bubble3D val="0"/>
            <c:spPr>
              <a:solidFill>
                <a:srgbClr val="AEABAB"/>
              </a:solidFill>
            </c:spPr>
            <c:extLst>
              <c:ext xmlns:c16="http://schemas.microsoft.com/office/drawing/2014/chart" uri="{C3380CC4-5D6E-409C-BE32-E72D297353CC}">
                <c16:uniqueId val="{00000069-7A2F-4F28-8285-58935B51DF0A}"/>
              </c:ext>
            </c:extLst>
          </c:dPt>
          <c:dPt>
            <c:idx val="52"/>
            <c:invertIfNegative val="1"/>
            <c:bubble3D val="0"/>
            <c:spPr>
              <a:solidFill>
                <a:srgbClr val="AEABAB"/>
              </a:solidFill>
            </c:spPr>
            <c:extLst>
              <c:ext xmlns:c16="http://schemas.microsoft.com/office/drawing/2014/chart" uri="{C3380CC4-5D6E-409C-BE32-E72D297353CC}">
                <c16:uniqueId val="{0000006B-7A2F-4F28-8285-58935B51DF0A}"/>
              </c:ext>
            </c:extLst>
          </c:dPt>
          <c:dPt>
            <c:idx val="53"/>
            <c:invertIfNegative val="1"/>
            <c:bubble3D val="0"/>
            <c:spPr>
              <a:solidFill>
                <a:srgbClr val="AEABAB"/>
              </a:solidFill>
            </c:spPr>
            <c:extLst>
              <c:ext xmlns:c16="http://schemas.microsoft.com/office/drawing/2014/chart" uri="{C3380CC4-5D6E-409C-BE32-E72D297353CC}">
                <c16:uniqueId val="{0000006D-7A2F-4F28-8285-58935B51DF0A}"/>
              </c:ext>
            </c:extLst>
          </c:dPt>
          <c:dPt>
            <c:idx val="54"/>
            <c:invertIfNegative val="1"/>
            <c:bubble3D val="0"/>
            <c:spPr>
              <a:solidFill>
                <a:srgbClr val="AEABAB"/>
              </a:solidFill>
            </c:spPr>
            <c:extLst>
              <c:ext xmlns:c16="http://schemas.microsoft.com/office/drawing/2014/chart" uri="{C3380CC4-5D6E-409C-BE32-E72D297353CC}">
                <c16:uniqueId val="{0000006F-7A2F-4F28-8285-58935B51DF0A}"/>
              </c:ext>
            </c:extLst>
          </c:dPt>
          <c:dPt>
            <c:idx val="55"/>
            <c:invertIfNegative val="1"/>
            <c:bubble3D val="0"/>
            <c:spPr>
              <a:solidFill>
                <a:srgbClr val="AEABAB"/>
              </a:solidFill>
            </c:spPr>
            <c:extLst>
              <c:ext xmlns:c16="http://schemas.microsoft.com/office/drawing/2014/chart" uri="{C3380CC4-5D6E-409C-BE32-E72D297353CC}">
                <c16:uniqueId val="{00000071-7A2F-4F28-8285-58935B51DF0A}"/>
              </c:ext>
            </c:extLst>
          </c:dPt>
          <c:dPt>
            <c:idx val="56"/>
            <c:invertIfNegative val="1"/>
            <c:bubble3D val="0"/>
            <c:spPr>
              <a:solidFill>
                <a:srgbClr val="AEABAB"/>
              </a:solidFill>
            </c:spPr>
            <c:extLst>
              <c:ext xmlns:c16="http://schemas.microsoft.com/office/drawing/2014/chart" uri="{C3380CC4-5D6E-409C-BE32-E72D297353CC}">
                <c16:uniqueId val="{00000073-7A2F-4F28-8285-58935B51DF0A}"/>
              </c:ext>
            </c:extLst>
          </c:dPt>
          <c:dPt>
            <c:idx val="57"/>
            <c:invertIfNegative val="1"/>
            <c:bubble3D val="0"/>
            <c:spPr>
              <a:solidFill>
                <a:srgbClr val="AEABAB"/>
              </a:solidFill>
            </c:spPr>
            <c:extLst>
              <c:ext xmlns:c16="http://schemas.microsoft.com/office/drawing/2014/chart" uri="{C3380CC4-5D6E-409C-BE32-E72D297353CC}">
                <c16:uniqueId val="{00000075-7A2F-4F28-8285-58935B51DF0A}"/>
              </c:ext>
            </c:extLst>
          </c:dPt>
          <c:dPt>
            <c:idx val="58"/>
            <c:invertIfNegative val="1"/>
            <c:bubble3D val="0"/>
            <c:spPr>
              <a:solidFill>
                <a:srgbClr val="AEABAB"/>
              </a:solidFill>
            </c:spPr>
            <c:extLst>
              <c:ext xmlns:c16="http://schemas.microsoft.com/office/drawing/2014/chart" uri="{C3380CC4-5D6E-409C-BE32-E72D297353CC}">
                <c16:uniqueId val="{00000077-7A2F-4F28-8285-58935B51DF0A}"/>
              </c:ext>
            </c:extLst>
          </c:dPt>
          <c:dPt>
            <c:idx val="59"/>
            <c:invertIfNegative val="1"/>
            <c:bubble3D val="0"/>
            <c:spPr>
              <a:solidFill>
                <a:srgbClr val="AEABAB"/>
              </a:solidFill>
            </c:spPr>
            <c:extLst>
              <c:ext xmlns:c16="http://schemas.microsoft.com/office/drawing/2014/chart" uri="{C3380CC4-5D6E-409C-BE32-E72D297353CC}">
                <c16:uniqueId val="{00000079-7A2F-4F28-8285-58935B51DF0A}"/>
              </c:ext>
            </c:extLst>
          </c:dPt>
          <c:dPt>
            <c:idx val="60"/>
            <c:invertIfNegative val="1"/>
            <c:bubble3D val="0"/>
            <c:spPr>
              <a:solidFill>
                <a:srgbClr val="AEABAB"/>
              </a:solidFill>
            </c:spPr>
            <c:extLst>
              <c:ext xmlns:c16="http://schemas.microsoft.com/office/drawing/2014/chart" uri="{C3380CC4-5D6E-409C-BE32-E72D297353CC}">
                <c16:uniqueId val="{0000007B-7A2F-4F28-8285-58935B51DF0A}"/>
              </c:ext>
            </c:extLst>
          </c:dPt>
          <c:dPt>
            <c:idx val="61"/>
            <c:invertIfNegative val="1"/>
            <c:bubble3D val="0"/>
            <c:spPr>
              <a:solidFill>
                <a:srgbClr val="AEABAB"/>
              </a:solidFill>
            </c:spPr>
            <c:extLst>
              <c:ext xmlns:c16="http://schemas.microsoft.com/office/drawing/2014/chart" uri="{C3380CC4-5D6E-409C-BE32-E72D297353CC}">
                <c16:uniqueId val="{0000007D-7A2F-4F28-8285-58935B51DF0A}"/>
              </c:ext>
            </c:extLst>
          </c:dPt>
          <c:dPt>
            <c:idx val="62"/>
            <c:invertIfNegative val="1"/>
            <c:bubble3D val="0"/>
            <c:spPr>
              <a:solidFill>
                <a:srgbClr val="AEABAB"/>
              </a:solidFill>
            </c:spPr>
            <c:extLst>
              <c:ext xmlns:c16="http://schemas.microsoft.com/office/drawing/2014/chart" uri="{C3380CC4-5D6E-409C-BE32-E72D297353CC}">
                <c16:uniqueId val="{0000007F-7A2F-4F28-8285-58935B51DF0A}"/>
              </c:ext>
            </c:extLst>
          </c:dPt>
          <c:dPt>
            <c:idx val="63"/>
            <c:invertIfNegative val="1"/>
            <c:bubble3D val="0"/>
            <c:spPr>
              <a:solidFill>
                <a:srgbClr val="AEABAB"/>
              </a:solidFill>
            </c:spPr>
            <c:extLst>
              <c:ext xmlns:c16="http://schemas.microsoft.com/office/drawing/2014/chart" uri="{C3380CC4-5D6E-409C-BE32-E72D297353CC}">
                <c16:uniqueId val="{00000081-7A2F-4F28-8285-58935B51DF0A}"/>
              </c:ext>
            </c:extLst>
          </c:dPt>
          <c:dPt>
            <c:idx val="64"/>
            <c:invertIfNegative val="1"/>
            <c:bubble3D val="0"/>
            <c:spPr>
              <a:solidFill>
                <a:srgbClr val="AEABAB"/>
              </a:solidFill>
            </c:spPr>
            <c:extLst>
              <c:ext xmlns:c16="http://schemas.microsoft.com/office/drawing/2014/chart" uri="{C3380CC4-5D6E-409C-BE32-E72D297353CC}">
                <c16:uniqueId val="{00000083-7A2F-4F28-8285-58935B51DF0A}"/>
              </c:ext>
            </c:extLst>
          </c:dPt>
          <c:dPt>
            <c:idx val="65"/>
            <c:invertIfNegative val="1"/>
            <c:bubble3D val="0"/>
            <c:spPr>
              <a:solidFill>
                <a:srgbClr val="AEABAB"/>
              </a:solidFill>
            </c:spPr>
            <c:extLst>
              <c:ext xmlns:c16="http://schemas.microsoft.com/office/drawing/2014/chart" uri="{C3380CC4-5D6E-409C-BE32-E72D297353CC}">
                <c16:uniqueId val="{00000085-7A2F-4F28-8285-58935B51DF0A}"/>
              </c:ext>
            </c:extLst>
          </c:dPt>
          <c:dPt>
            <c:idx val="66"/>
            <c:invertIfNegative val="1"/>
            <c:bubble3D val="0"/>
            <c:spPr>
              <a:solidFill>
                <a:srgbClr val="AEABAB"/>
              </a:solidFill>
            </c:spPr>
            <c:extLst>
              <c:ext xmlns:c16="http://schemas.microsoft.com/office/drawing/2014/chart" uri="{C3380CC4-5D6E-409C-BE32-E72D297353CC}">
                <c16:uniqueId val="{00000087-7A2F-4F28-8285-58935B51DF0A}"/>
              </c:ext>
            </c:extLst>
          </c:dPt>
          <c:dPt>
            <c:idx val="67"/>
            <c:invertIfNegative val="1"/>
            <c:bubble3D val="0"/>
            <c:spPr>
              <a:solidFill>
                <a:srgbClr val="AEABAB"/>
              </a:solidFill>
            </c:spPr>
            <c:extLst>
              <c:ext xmlns:c16="http://schemas.microsoft.com/office/drawing/2014/chart" uri="{C3380CC4-5D6E-409C-BE32-E72D297353CC}">
                <c16:uniqueId val="{00000089-7A2F-4F28-8285-58935B51DF0A}"/>
              </c:ext>
            </c:extLst>
          </c:dPt>
          <c:dPt>
            <c:idx val="68"/>
            <c:invertIfNegative val="1"/>
            <c:bubble3D val="0"/>
            <c:spPr>
              <a:solidFill>
                <a:srgbClr val="AEABAB"/>
              </a:solidFill>
            </c:spPr>
            <c:extLst>
              <c:ext xmlns:c16="http://schemas.microsoft.com/office/drawing/2014/chart" uri="{C3380CC4-5D6E-409C-BE32-E72D297353CC}">
                <c16:uniqueId val="{0000008B-7A2F-4F28-8285-58935B51DF0A}"/>
              </c:ext>
            </c:extLst>
          </c:dPt>
          <c:dPt>
            <c:idx val="69"/>
            <c:invertIfNegative val="1"/>
            <c:bubble3D val="0"/>
            <c:spPr>
              <a:solidFill>
                <a:srgbClr val="AEABAB"/>
              </a:solidFill>
            </c:spPr>
            <c:extLst>
              <c:ext xmlns:c16="http://schemas.microsoft.com/office/drawing/2014/chart" uri="{C3380CC4-5D6E-409C-BE32-E72D297353CC}">
                <c16:uniqueId val="{0000008D-7A2F-4F28-8285-58935B51DF0A}"/>
              </c:ext>
            </c:extLst>
          </c:dPt>
          <c:dPt>
            <c:idx val="70"/>
            <c:invertIfNegative val="1"/>
            <c:bubble3D val="0"/>
            <c:spPr>
              <a:solidFill>
                <a:srgbClr val="AEABAB"/>
              </a:solidFill>
            </c:spPr>
            <c:extLst>
              <c:ext xmlns:c16="http://schemas.microsoft.com/office/drawing/2014/chart" uri="{C3380CC4-5D6E-409C-BE32-E72D297353CC}">
                <c16:uniqueId val="{0000008F-7A2F-4F28-8285-58935B51DF0A}"/>
              </c:ext>
            </c:extLst>
          </c:dPt>
          <c:dPt>
            <c:idx val="71"/>
            <c:invertIfNegative val="1"/>
            <c:bubble3D val="0"/>
            <c:spPr>
              <a:solidFill>
                <a:srgbClr val="AEABAB"/>
              </a:solidFill>
            </c:spPr>
            <c:extLst>
              <c:ext xmlns:c16="http://schemas.microsoft.com/office/drawing/2014/chart" uri="{C3380CC4-5D6E-409C-BE32-E72D297353CC}">
                <c16:uniqueId val="{00000091-7A2F-4F28-8285-58935B51DF0A}"/>
              </c:ext>
            </c:extLst>
          </c:dPt>
          <c:dPt>
            <c:idx val="72"/>
            <c:invertIfNegative val="1"/>
            <c:bubble3D val="0"/>
            <c:spPr>
              <a:solidFill>
                <a:srgbClr val="AEABAB"/>
              </a:solidFill>
            </c:spPr>
            <c:extLst>
              <c:ext xmlns:c16="http://schemas.microsoft.com/office/drawing/2014/chart" uri="{C3380CC4-5D6E-409C-BE32-E72D297353CC}">
                <c16:uniqueId val="{00000093-7A2F-4F28-8285-58935B51DF0A}"/>
              </c:ext>
            </c:extLst>
          </c:dPt>
          <c:dPt>
            <c:idx val="73"/>
            <c:invertIfNegative val="1"/>
            <c:bubble3D val="0"/>
            <c:spPr>
              <a:solidFill>
                <a:srgbClr val="AEABAB"/>
              </a:solidFill>
            </c:spPr>
            <c:extLst>
              <c:ext xmlns:c16="http://schemas.microsoft.com/office/drawing/2014/chart" uri="{C3380CC4-5D6E-409C-BE32-E72D297353CC}">
                <c16:uniqueId val="{00000095-7A2F-4F28-8285-58935B51DF0A}"/>
              </c:ext>
            </c:extLst>
          </c:dPt>
          <c:dPt>
            <c:idx val="74"/>
            <c:invertIfNegative val="1"/>
            <c:bubble3D val="0"/>
            <c:spPr>
              <a:solidFill>
                <a:srgbClr val="AEABAB"/>
              </a:solidFill>
            </c:spPr>
            <c:extLst>
              <c:ext xmlns:c16="http://schemas.microsoft.com/office/drawing/2014/chart" uri="{C3380CC4-5D6E-409C-BE32-E72D297353CC}">
                <c16:uniqueId val="{00000097-7A2F-4F28-8285-58935B51DF0A}"/>
              </c:ext>
            </c:extLst>
          </c:dPt>
          <c:cat>
            <c:strRef>
              <c:f>Sheet1!$A$2:$A$76</c:f>
              <c:strCache>
                <c:ptCount val="75"/>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Apericube Edition Limitee Best Of Foot Fromage Fondu Cube Assortis 1X250Gr 48P</c:v>
                </c:pt>
                <c:pt idx="8">
                  <c:v>Apericube Cocktail Fromage Fondu Cube Assortis 1X250Gr 48P</c:v>
                </c:pt>
                <c:pt idx="9">
                  <c:v>Kiri Gouter Fromage Blanc Dips Boite 1X280Gr 8P</c:v>
                </c:pt>
                <c:pt idx="10">
                  <c:v>Boursin Classique Fromage Frais A Tartiner Afh Boite 1X250Gr 1P</c:v>
                </c:pt>
                <c:pt idx="11">
                  <c:v>Apericube Long Drink Fromage Fondu Cube Assortis 1X250Gr 48P</c:v>
                </c:pt>
                <c:pt idx="12">
                  <c:v>Boursin Classique Fromage Frais A Tartiner Afh 1X160Gr 10P</c:v>
                </c:pt>
                <c:pt idx="13">
                  <c:v>Boursin Aperitif Roules Fromage Frais Roule Afh Et Jambon Fume Boite 1X100Gr 20P</c:v>
                </c:pt>
                <c:pt idx="14">
                  <c:v>Port Salut St Paulin 1X320Gr 1P</c:v>
                </c:pt>
                <c:pt idx="15">
                  <c:v>Apericube Tonic Fromage Fondu Cube Assortis 1X250Gr 48P</c:v>
                </c:pt>
                <c:pt idx="16">
                  <c:v>Kiri Gouter Fromage Blanc Dips Boite 1X175Gr 5P</c:v>
                </c:pt>
                <c:pt idx="17">
                  <c:v>Kiri Creme Fromage Blanc Frais Carre 1X144Gr 8P</c:v>
                </c:pt>
                <c:pt idx="18">
                  <c:v>Boursin Classique Fromage Frais A Tartiner Afh Boite 1X150Gr 1P</c:v>
                </c:pt>
                <c:pt idx="19">
                  <c:v>Apericube Incontournable Fromage Fondu Cube Assortis 1X250Gr 48P</c:v>
                </c:pt>
                <c:pt idx="20">
                  <c:v>Apericube Nature Fromage Fondu Cube 1X125Gr 24P</c:v>
                </c:pt>
                <c:pt idx="21">
                  <c:v>La Vache Qui Rit Pik Et Croq' Fromage Fondu Dips Boite 1X280Gr 8P</c:v>
                </c:pt>
                <c:pt idx="22">
                  <c:v>Apericube Edition Voyage Fromage Fondu Cube Assortis 1X250Gr 48P</c:v>
                </c:pt>
                <c:pt idx="23">
                  <c:v>Babybel St Paulin 1X200Gr 1P</c:v>
                </c:pt>
                <c:pt idx="24">
                  <c:v>Apericube Soiree Match Aperitif 250G</c:v>
                </c:pt>
                <c:pt idx="25">
                  <c:v>Boursin Salade &amp; Aperitif Fromage Frais Des Afh 1X120Gr 1P</c:v>
                </c:pt>
                <c:pt idx="26">
                  <c:v>La Vache Qui Rit Pik Et Croq' Fromage Fondu Dips Boite 1X175Gr 5P</c:v>
                </c:pt>
                <c:pt idx="27">
                  <c:v>Boursin Aperitif Roules Fromage Frais Roule Ciboulette &amp; Echalote Jambon Fume Boite 1X100Gr 20P</c:v>
                </c:pt>
                <c:pt idx="28">
                  <c:v>Apericube Campagne Fromage Fondu Cube Assortis 1X125Gr 24P</c:v>
                </c:pt>
                <c:pt idx="29">
                  <c:v>Apericube Edition Limitee Saison Fromage Fondu Cube Assortis 1X250Gr 48P</c:v>
                </c:pt>
                <c:pt idx="30">
                  <c:v>Mini Babybel Aros Soft Cheese Enfant 180G</c:v>
                </c:pt>
                <c:pt idx="31">
                  <c:v>Boursin Onctueux Fromage Frais A Tartiner Afh 1X125Gr 1P</c:v>
                </c:pt>
                <c:pt idx="32">
                  <c:v>Kiri Creme Fromage Blanc Frais Carre 1X432Gr 18+6P</c:v>
                </c:pt>
                <c:pt idx="33">
                  <c:v>Boursin Classique Fromage Frais A Tartiner Afh Boite 1X96Gr 6P</c:v>
                </c:pt>
                <c:pt idx="34">
                  <c:v>Boursin Classique Fromage Frais A Tartiner Afh 1X256Gr 16P</c:v>
                </c:pt>
                <c:pt idx="35">
                  <c:v>La Vache Qui Rit Allegee Fromage Fondu Boite Ronde Allege 1X267Gr 16P</c:v>
                </c:pt>
                <c:pt idx="36">
                  <c:v>Babybel Mini Rolls St Paulin Ferme Sachet 1X85Gr 5P</c:v>
                </c:pt>
                <c:pt idx="37">
                  <c:v>Kiri Delicieusement Fouette Fromage Frais A Tartiner 1X125Gr 1P</c:v>
                </c:pt>
                <c:pt idx="38">
                  <c:v>Boursin Classique Fromage Frais A Tartiner Figue Et 3 Noix Boite 1X150Gr 1P</c:v>
                </c:pt>
                <c:pt idx="39">
                  <c:v>Apericube Hot Chalenge Aperitif 250G</c:v>
                </c:pt>
                <c:pt idx="40">
                  <c:v>Boursin Salade &amp; Aperitif Fromage Frais Des Ciboulette Echalote 1X120Gr 1P</c:v>
                </c:pt>
                <c:pt idx="41">
                  <c:v>Boursin Aperitif Roules Fromage Frais Roule Basilic &amp; Jambon Fume Tomate Boite 1X100Gr 20P</c:v>
                </c:pt>
                <c:pt idx="42">
                  <c:v>Apericube Fromages Du Monde Aperitif 250G</c:v>
                </c:pt>
                <c:pt idx="43">
                  <c:v>Boursin Classique Fromage Frais A Tartiner Ciboulette &amp; Echalote Boite 1X150Gr 1P</c:v>
                </c:pt>
                <c:pt idx="44">
                  <c:v>Boursin Classique Fromage Frais A Tartiner Poivre Boite 1X150Gr 1P</c:v>
                </c:pt>
                <c:pt idx="45">
                  <c:v>Boursin Classique Fromage Frais A Tartiner Ciboulette &amp; Echalote 1X160Gr 10P</c:v>
                </c:pt>
                <c:pt idx="46">
                  <c:v>Boursin Cuisine Sauce Fromage Afh 1X240Gr 1P</c:v>
                </c:pt>
                <c:pt idx="47">
                  <c:v>La Vache Qui Rit Aro Fromage Fondu Boite Ronde Jambon 1X133Gr 8P</c:v>
                </c:pt>
                <c:pt idx="48">
                  <c:v>Apericube Montagne Aperitif 250G</c:v>
                </c:pt>
                <c:pt idx="49">
                  <c:v>Mini Babybel Aros Soft Cheese Enfant 110G</c:v>
                </c:pt>
                <c:pt idx="50">
                  <c:v>Kiri Bio Fromage Blanc Frais Carre 1X144Gr 8P</c:v>
                </c:pt>
                <c:pt idx="51">
                  <c:v>Boursin Salade &amp; Aperitif Fromage Frais Des Figue Noix 1X120Gr 1P</c:v>
                </c:pt>
                <c:pt idx="52">
                  <c:v>Boursin Salade &amp; Aperitif Fromage Frais Des Citron Romarin 1X120Gr 1P</c:v>
                </c:pt>
                <c:pt idx="53">
                  <c:v>Kiri Chevre Fromage Blanc Frais Carre 1X144Gr 8P</c:v>
                </c:pt>
                <c:pt idx="54">
                  <c:v>Cousteron St Paulin 1X320Gr 1P</c:v>
                </c:pt>
                <c:pt idx="55">
                  <c:v>Boursin Salade &amp; Aperitif Soft Cheese Salade 120G</c:v>
                </c:pt>
                <c:pt idx="56">
                  <c:v>Boursin Aperitif Roules Aperitif 100G</c:v>
                </c:pt>
                <c:pt idx="57">
                  <c:v>Nurishh Les Tranches Vegetales Cheddar Vegetal Tranche Boite 1X160Gr 8P</c:v>
                </c:pt>
                <c:pt idx="58">
                  <c:v>Nurishh Le Rape Vegetal Specialite Vegetale Sachet 1X150Gr 1P</c:v>
                </c:pt>
                <c:pt idx="59">
                  <c:v>Nurishh Le Rape Vegetal Specialite Vegetale Emmental Sachet 1X150Gr 1P</c:v>
                </c:pt>
                <c:pt idx="60">
                  <c:v>Nurishh Le Coeur Fleuri Vegetal Camembert Boite 1X140Gr 1P</c:v>
                </c:pt>
                <c:pt idx="61">
                  <c:v>Nurishh Le Palet Vegetal Specialite Vegetale Ovale Saveur Chevre Boite 1X140Gr 1P</c:v>
                </c:pt>
                <c:pt idx="62">
                  <c:v>Nurishh Des Vegetaux Feta Vegetale Sachet 1X150Gr 1P</c:v>
                </c:pt>
                <c:pt idx="63">
                  <c:v>Mini Babybel Rouge Filet St Paulin Ferme Sachet 1X40Gr 1P</c:v>
                </c:pt>
                <c:pt idx="64">
                  <c:v>Apericube Saveurs De L'Authentique Fromage Fondu Cube Assortis 1X250Gr 48P</c:v>
                </c:pt>
                <c:pt idx="65">
                  <c:v>Boursin Aperitif Roules Fromage Frais Roule Jambon Fume &amp; Trio De Noix Boite 1X100Gr 20P</c:v>
                </c:pt>
                <c:pt idx="66">
                  <c:v>Limiano Queijo Flamengo Bloc 1X600Gr 1P</c:v>
                </c:pt>
                <c:pt idx="67">
                  <c:v>Limiano Queijo Flamengo Tranche Sachet 1X200Gr 1P</c:v>
                </c:pt>
                <c:pt idx="68">
                  <c:v>La Vache Qui Rit Nature Fromage Fondu Boite Ronde 1X512Gr 24+8P</c:v>
                </c:pt>
                <c:pt idx="69">
                  <c:v>Kiri Delicieusement Fouette Fromage Frais A Tartiner 1X160Gr 10P</c:v>
                </c:pt>
                <c:pt idx="70">
                  <c:v>Mini Babybel Aros St Paulin Ferme Raclette Filet 1X132Gr 6P</c:v>
                </c:pt>
                <c:pt idx="71">
                  <c:v>Boursin Classique Fromage Frais A Tartiner Afh Boite 1X80Gr 1P</c:v>
                </c:pt>
                <c:pt idx="72">
                  <c:v>Apericube Long Drink Fromage Fondu Cube Assortis 1X125Gr 24P</c:v>
                </c:pt>
                <c:pt idx="73">
                  <c:v>Mini Babybel Rouge Filet St Paulin Ferme 1X396Gr 12+6P</c:v>
                </c:pt>
                <c:pt idx="74">
                  <c:v>Mini Babybel Aros St Paulin Ferme Assortis Filet 1X180Gr 9P</c:v>
                </c:pt>
              </c:strCache>
            </c:strRef>
          </c:cat>
          <c:val>
            <c:numRef>
              <c:f>Sheet1!$C$2:$C$76</c:f>
              <c:numCache>
                <c:formatCode>General</c:formatCode>
                <c:ptCount val="75"/>
                <c:pt idx="0">
                  <c:v>0.10548791963570577</c:v>
                </c:pt>
                <c:pt idx="1">
                  <c:v>0.169487087528092</c:v>
                </c:pt>
                <c:pt idx="2">
                  <c:v>0.22166090430427743</c:v>
                </c:pt>
                <c:pt idx="3">
                  <c:v>0.26910442615855923</c:v>
                </c:pt>
                <c:pt idx="4">
                  <c:v>0.31199015064700741</c:v>
                </c:pt>
                <c:pt idx="5">
                  <c:v>0.35047898966894114</c:v>
                </c:pt>
                <c:pt idx="6">
                  <c:v>0.38740865675123254</c:v>
                </c:pt>
                <c:pt idx="7">
                  <c:v>0.42034333192674878</c:v>
                </c:pt>
                <c:pt idx="8">
                  <c:v>0.4504776251360349</c:v>
                </c:pt>
                <c:pt idx="9">
                  <c:v>0.47997934148671778</c:v>
                </c:pt>
                <c:pt idx="10">
                  <c:v>0.50696259351877759</c:v>
                </c:pt>
                <c:pt idx="11">
                  <c:v>0.53161558378965801</c:v>
                </c:pt>
                <c:pt idx="12">
                  <c:v>0.55455363940235514</c:v>
                </c:pt>
                <c:pt idx="13">
                  <c:v>0.57676875003379147</c:v>
                </c:pt>
                <c:pt idx="14">
                  <c:v>0.59892541746339512</c:v>
                </c:pt>
                <c:pt idx="15">
                  <c:v>0.62090804258269516</c:v>
                </c:pt>
                <c:pt idx="16">
                  <c:v>0.64286543671618201</c:v>
                </c:pt>
                <c:pt idx="17">
                  <c:v>0.66362435902354022</c:v>
                </c:pt>
                <c:pt idx="18">
                  <c:v>0.68163387625437255</c:v>
                </c:pt>
                <c:pt idx="19">
                  <c:v>0.69929633870075347</c:v>
                </c:pt>
                <c:pt idx="20">
                  <c:v>0.71577629178141822</c:v>
                </c:pt>
                <c:pt idx="21">
                  <c:v>0.7314120366734953</c:v>
                </c:pt>
                <c:pt idx="22">
                  <c:v>0.74667317866395744</c:v>
                </c:pt>
                <c:pt idx="23">
                  <c:v>0.76150333422328331</c:v>
                </c:pt>
                <c:pt idx="24">
                  <c:v>0.77593417081325899</c:v>
                </c:pt>
                <c:pt idx="25">
                  <c:v>0.78989514465722288</c:v>
                </c:pt>
                <c:pt idx="26">
                  <c:v>0.80371580332498049</c:v>
                </c:pt>
                <c:pt idx="27">
                  <c:v>0.81681763635609983</c:v>
                </c:pt>
                <c:pt idx="28">
                  <c:v>0.82924209465584553</c:v>
                </c:pt>
                <c:pt idx="29">
                  <c:v>0.84116579512491019</c:v>
                </c:pt>
                <c:pt idx="30">
                  <c:v>0.85086376220259308</c:v>
                </c:pt>
                <c:pt idx="31">
                  <c:v>0.86039592565921752</c:v>
                </c:pt>
                <c:pt idx="32">
                  <c:v>0.86931198963572898</c:v>
                </c:pt>
                <c:pt idx="33">
                  <c:v>0.87742555378795628</c:v>
                </c:pt>
                <c:pt idx="34">
                  <c:v>0.88551594662668165</c:v>
                </c:pt>
                <c:pt idx="35">
                  <c:v>0.89282057447865193</c:v>
                </c:pt>
                <c:pt idx="36">
                  <c:v>0.89953227416401127</c:v>
                </c:pt>
                <c:pt idx="37">
                  <c:v>0.90614948638209036</c:v>
                </c:pt>
                <c:pt idx="38">
                  <c:v>0.91276592622305275</c:v>
                </c:pt>
                <c:pt idx="39">
                  <c:v>0.91926856916881672</c:v>
                </c:pt>
                <c:pt idx="40">
                  <c:v>0.92546715298962734</c:v>
                </c:pt>
                <c:pt idx="41">
                  <c:v>0.93165415115368688</c:v>
                </c:pt>
                <c:pt idx="42">
                  <c:v>0.93758060077036898</c:v>
                </c:pt>
                <c:pt idx="43">
                  <c:v>0.94343882374173982</c:v>
                </c:pt>
                <c:pt idx="44">
                  <c:v>0.94866138034604042</c:v>
                </c:pt>
                <c:pt idx="45">
                  <c:v>0.95368286144095193</c:v>
                </c:pt>
                <c:pt idx="46">
                  <c:v>0.95861732138071165</c:v>
                </c:pt>
                <c:pt idx="47">
                  <c:v>0.96343901426142853</c:v>
                </c:pt>
                <c:pt idx="48">
                  <c:v>0.96817754787257737</c:v>
                </c:pt>
                <c:pt idx="49">
                  <c:v>0.9728553211505433</c:v>
                </c:pt>
                <c:pt idx="50">
                  <c:v>0.97742496163216674</c:v>
                </c:pt>
                <c:pt idx="51">
                  <c:v>0.98072713126523359</c:v>
                </c:pt>
                <c:pt idx="52">
                  <c:v>0.98320157008820297</c:v>
                </c:pt>
                <c:pt idx="53">
                  <c:v>0.98543579962786876</c:v>
                </c:pt>
                <c:pt idx="54">
                  <c:v>0.9874764199702738</c:v>
                </c:pt>
                <c:pt idx="55">
                  <c:v>0.98947661924356989</c:v>
                </c:pt>
                <c:pt idx="56">
                  <c:v>0.99131848120793598</c:v>
                </c:pt>
                <c:pt idx="57">
                  <c:v>0.99299582684643828</c:v>
                </c:pt>
                <c:pt idx="58">
                  <c:v>0.99440644492062924</c:v>
                </c:pt>
                <c:pt idx="59">
                  <c:v>0.99565743839069565</c:v>
                </c:pt>
                <c:pt idx="60">
                  <c:v>0.99681729136098773</c:v>
                </c:pt>
                <c:pt idx="61">
                  <c:v>0.99785047448413577</c:v>
                </c:pt>
                <c:pt idx="62">
                  <c:v>0.99885533711300367</c:v>
                </c:pt>
                <c:pt idx="63">
                  <c:v>0.99921577976747844</c:v>
                </c:pt>
                <c:pt idx="64">
                  <c:v>0.99947684323293373</c:v>
                </c:pt>
                <c:pt idx="65">
                  <c:v>0.99965526234689872</c:v>
                </c:pt>
                <c:pt idx="66">
                  <c:v>0.99974305587916723</c:v>
                </c:pt>
                <c:pt idx="67">
                  <c:v>0.99980381621235015</c:v>
                </c:pt>
                <c:pt idx="68">
                  <c:v>0.99986225941418283</c:v>
                </c:pt>
                <c:pt idx="69">
                  <c:v>0.99989238212173537</c:v>
                </c:pt>
                <c:pt idx="70">
                  <c:v>0.99992018769793767</c:v>
                </c:pt>
                <c:pt idx="71">
                  <c:v>0.99994696343798439</c:v>
                </c:pt>
                <c:pt idx="72">
                  <c:v>0.99996447065263028</c:v>
                </c:pt>
                <c:pt idx="73">
                  <c:v>0.99999459336018282</c:v>
                </c:pt>
                <c:pt idx="7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6</c:f>
              <c:strCache>
                <c:ptCount val="75"/>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Apericube Edition Limitee Best Of Foot Fromage Fondu Cube Assortis 1X250Gr 48P</c:v>
                </c:pt>
                <c:pt idx="8">
                  <c:v>Apericube Cocktail Fromage Fondu Cube Assortis 1X250Gr 48P</c:v>
                </c:pt>
                <c:pt idx="9">
                  <c:v>Kiri Gouter Fromage Blanc Dips Boite 1X280Gr 8P</c:v>
                </c:pt>
                <c:pt idx="10">
                  <c:v>Boursin Classique Fromage Frais A Tartiner Afh Boite 1X250Gr 1P</c:v>
                </c:pt>
                <c:pt idx="11">
                  <c:v>Apericube Long Drink Fromage Fondu Cube Assortis 1X250Gr 48P</c:v>
                </c:pt>
                <c:pt idx="12">
                  <c:v>Boursin Classique Fromage Frais A Tartiner Afh 1X160Gr 10P</c:v>
                </c:pt>
                <c:pt idx="13">
                  <c:v>Boursin Aperitif Roules Fromage Frais Roule Afh Et Jambon Fume Boite 1X100Gr 20P</c:v>
                </c:pt>
                <c:pt idx="14">
                  <c:v>Port Salut St Paulin 1X320Gr 1P</c:v>
                </c:pt>
                <c:pt idx="15">
                  <c:v>Apericube Tonic Fromage Fondu Cube Assortis 1X250Gr 48P</c:v>
                </c:pt>
                <c:pt idx="16">
                  <c:v>Kiri Gouter Fromage Blanc Dips Boite 1X175Gr 5P</c:v>
                </c:pt>
                <c:pt idx="17">
                  <c:v>Kiri Creme Fromage Blanc Frais Carre 1X144Gr 8P</c:v>
                </c:pt>
                <c:pt idx="18">
                  <c:v>Boursin Classique Fromage Frais A Tartiner Afh Boite 1X150Gr 1P</c:v>
                </c:pt>
                <c:pt idx="19">
                  <c:v>Apericube Incontournable Fromage Fondu Cube Assortis 1X250Gr 48P</c:v>
                </c:pt>
                <c:pt idx="20">
                  <c:v>Apericube Nature Fromage Fondu Cube 1X125Gr 24P</c:v>
                </c:pt>
                <c:pt idx="21">
                  <c:v>La Vache Qui Rit Pik Et Croq' Fromage Fondu Dips Boite 1X280Gr 8P</c:v>
                </c:pt>
                <c:pt idx="22">
                  <c:v>Apericube Edition Voyage Fromage Fondu Cube Assortis 1X250Gr 48P</c:v>
                </c:pt>
                <c:pt idx="23">
                  <c:v>Babybel St Paulin 1X200Gr 1P</c:v>
                </c:pt>
                <c:pt idx="24">
                  <c:v>Apericube Soiree Match Aperitif 250G</c:v>
                </c:pt>
                <c:pt idx="25">
                  <c:v>Boursin Salade &amp; Aperitif Fromage Frais Des Afh 1X120Gr 1P</c:v>
                </c:pt>
                <c:pt idx="26">
                  <c:v>La Vache Qui Rit Pik Et Croq' Fromage Fondu Dips Boite 1X175Gr 5P</c:v>
                </c:pt>
                <c:pt idx="27">
                  <c:v>Boursin Aperitif Roules Fromage Frais Roule Ciboulette &amp; Echalote Jambon Fume Boite 1X100Gr 20P</c:v>
                </c:pt>
                <c:pt idx="28">
                  <c:v>Apericube Campagne Fromage Fondu Cube Assortis 1X125Gr 24P</c:v>
                </c:pt>
                <c:pt idx="29">
                  <c:v>Apericube Edition Limitee Saison Fromage Fondu Cube Assortis 1X250Gr 48P</c:v>
                </c:pt>
                <c:pt idx="30">
                  <c:v>Mini Babybel Aros Soft Cheese Enfant 180G</c:v>
                </c:pt>
                <c:pt idx="31">
                  <c:v>Boursin Onctueux Fromage Frais A Tartiner Afh 1X125Gr 1P</c:v>
                </c:pt>
                <c:pt idx="32">
                  <c:v>Kiri Creme Fromage Blanc Frais Carre 1X432Gr 18+6P</c:v>
                </c:pt>
                <c:pt idx="33">
                  <c:v>Boursin Classique Fromage Frais A Tartiner Afh Boite 1X96Gr 6P</c:v>
                </c:pt>
                <c:pt idx="34">
                  <c:v>Boursin Classique Fromage Frais A Tartiner Afh 1X256Gr 16P</c:v>
                </c:pt>
                <c:pt idx="35">
                  <c:v>La Vache Qui Rit Allegee Fromage Fondu Boite Ronde Allege 1X267Gr 16P</c:v>
                </c:pt>
                <c:pt idx="36">
                  <c:v>Babybel Mini Rolls St Paulin Ferme Sachet 1X85Gr 5P</c:v>
                </c:pt>
                <c:pt idx="37">
                  <c:v>Kiri Delicieusement Fouette Fromage Frais A Tartiner 1X125Gr 1P</c:v>
                </c:pt>
                <c:pt idx="38">
                  <c:v>Boursin Classique Fromage Frais A Tartiner Figue Et 3 Noix Boite 1X150Gr 1P</c:v>
                </c:pt>
                <c:pt idx="39">
                  <c:v>Apericube Hot Chalenge Aperitif 250G</c:v>
                </c:pt>
                <c:pt idx="40">
                  <c:v>Boursin Salade &amp; Aperitif Fromage Frais Des Ciboulette Echalote 1X120Gr 1P</c:v>
                </c:pt>
                <c:pt idx="41">
                  <c:v>Boursin Aperitif Roules Fromage Frais Roule Basilic &amp; Jambon Fume Tomate Boite 1X100Gr 20P</c:v>
                </c:pt>
                <c:pt idx="42">
                  <c:v>Apericube Fromages Du Monde Aperitif 250G</c:v>
                </c:pt>
                <c:pt idx="43">
                  <c:v>Boursin Classique Fromage Frais A Tartiner Ciboulette &amp; Echalote Boite 1X150Gr 1P</c:v>
                </c:pt>
                <c:pt idx="44">
                  <c:v>Boursin Classique Fromage Frais A Tartiner Poivre Boite 1X150Gr 1P</c:v>
                </c:pt>
                <c:pt idx="45">
                  <c:v>Boursin Classique Fromage Frais A Tartiner Ciboulette &amp; Echalote 1X160Gr 10P</c:v>
                </c:pt>
                <c:pt idx="46">
                  <c:v>Boursin Cuisine Sauce Fromage Afh 1X240Gr 1P</c:v>
                </c:pt>
                <c:pt idx="47">
                  <c:v>La Vache Qui Rit Aro Fromage Fondu Boite Ronde Jambon 1X133Gr 8P</c:v>
                </c:pt>
                <c:pt idx="48">
                  <c:v>Apericube Montagne Aperitif 250G</c:v>
                </c:pt>
                <c:pt idx="49">
                  <c:v>Mini Babybel Aros Soft Cheese Enfant 110G</c:v>
                </c:pt>
                <c:pt idx="50">
                  <c:v>Kiri Bio Fromage Blanc Frais Carre 1X144Gr 8P</c:v>
                </c:pt>
                <c:pt idx="51">
                  <c:v>Boursin Salade &amp; Aperitif Fromage Frais Des Figue Noix 1X120Gr 1P</c:v>
                </c:pt>
                <c:pt idx="52">
                  <c:v>Boursin Salade &amp; Aperitif Fromage Frais Des Citron Romarin 1X120Gr 1P</c:v>
                </c:pt>
                <c:pt idx="53">
                  <c:v>Kiri Chevre Fromage Blanc Frais Carre 1X144Gr 8P</c:v>
                </c:pt>
                <c:pt idx="54">
                  <c:v>Cousteron St Paulin 1X320Gr 1P</c:v>
                </c:pt>
                <c:pt idx="55">
                  <c:v>Boursin Salade &amp; Aperitif Soft Cheese Salade 120G</c:v>
                </c:pt>
                <c:pt idx="56">
                  <c:v>Boursin Aperitif Roules Aperitif 100G</c:v>
                </c:pt>
                <c:pt idx="57">
                  <c:v>Nurishh Les Tranches Vegetales Cheddar Vegetal Tranche Boite 1X160Gr 8P</c:v>
                </c:pt>
                <c:pt idx="58">
                  <c:v>Nurishh Le Rape Vegetal Specialite Vegetale Sachet 1X150Gr 1P</c:v>
                </c:pt>
                <c:pt idx="59">
                  <c:v>Nurishh Le Rape Vegetal Specialite Vegetale Emmental Sachet 1X150Gr 1P</c:v>
                </c:pt>
                <c:pt idx="60">
                  <c:v>Nurishh Le Coeur Fleuri Vegetal Camembert Boite 1X140Gr 1P</c:v>
                </c:pt>
                <c:pt idx="61">
                  <c:v>Nurishh Le Palet Vegetal Specialite Vegetale Ovale Saveur Chevre Boite 1X140Gr 1P</c:v>
                </c:pt>
                <c:pt idx="62">
                  <c:v>Nurishh Des Vegetaux Feta Vegetale Sachet 1X150Gr 1P</c:v>
                </c:pt>
                <c:pt idx="63">
                  <c:v>Mini Babybel Rouge Filet St Paulin Ferme Sachet 1X40Gr 1P</c:v>
                </c:pt>
                <c:pt idx="64">
                  <c:v>Apericube Saveurs De L'Authentique Fromage Fondu Cube Assortis 1X250Gr 48P</c:v>
                </c:pt>
                <c:pt idx="65">
                  <c:v>Boursin Aperitif Roules Fromage Frais Roule Jambon Fume &amp; Trio De Noix Boite 1X100Gr 20P</c:v>
                </c:pt>
                <c:pt idx="66">
                  <c:v>Limiano Queijo Flamengo Bloc 1X600Gr 1P</c:v>
                </c:pt>
                <c:pt idx="67">
                  <c:v>Limiano Queijo Flamengo Tranche Sachet 1X200Gr 1P</c:v>
                </c:pt>
                <c:pt idx="68">
                  <c:v>La Vache Qui Rit Nature Fromage Fondu Boite Ronde 1X512Gr 24+8P</c:v>
                </c:pt>
                <c:pt idx="69">
                  <c:v>Kiri Delicieusement Fouette Fromage Frais A Tartiner 1X160Gr 10P</c:v>
                </c:pt>
                <c:pt idx="70">
                  <c:v>Mini Babybel Aros St Paulin Ferme Raclette Filet 1X132Gr 6P</c:v>
                </c:pt>
                <c:pt idx="71">
                  <c:v>Boursin Classique Fromage Frais A Tartiner Afh Boite 1X80Gr 1P</c:v>
                </c:pt>
                <c:pt idx="72">
                  <c:v>Apericube Long Drink Fromage Fondu Cube Assortis 1X125Gr 24P</c:v>
                </c:pt>
                <c:pt idx="73">
                  <c:v>Mini Babybel Rouge Filet St Paulin Ferme 1X396Gr 12+6P</c:v>
                </c:pt>
                <c:pt idx="74">
                  <c:v>Mini Babybel Aros St Paulin Ferme Assortis Filet 1X180Gr 9P</c:v>
                </c:pt>
              </c:strCache>
            </c:strRef>
          </c:cat>
          <c:val>
            <c:numRef>
              <c:f>Sheet1!$D$2:$D$76</c:f>
              <c:numCache>
                <c:formatCode>General</c:formatCode>
                <c:ptCount val="75"/>
                <c:pt idx="0">
                  <c:v>4138.6565656565654</c:v>
                </c:pt>
                <c:pt idx="1">
                  <c:v>2510.909090909091</c:v>
                </c:pt>
                <c:pt idx="2">
                  <c:v>2046.9595959595961</c:v>
                </c:pt>
                <c:pt idx="3">
                  <c:v>1861.3737373737374</c:v>
                </c:pt>
                <c:pt idx="4">
                  <c:v>1682.5555555555557</c:v>
                </c:pt>
                <c:pt idx="5">
                  <c:v>1510.0505050505051</c:v>
                </c:pt>
                <c:pt idx="6">
                  <c:v>1448.878787878788</c:v>
                </c:pt>
                <c:pt idx="7">
                  <c:v>1292.1414141414141</c:v>
                </c:pt>
                <c:pt idx="8">
                  <c:v>1182.2727272727273</c:v>
                </c:pt>
                <c:pt idx="9">
                  <c:v>1157.4545454545455</c:v>
                </c:pt>
                <c:pt idx="10">
                  <c:v>1058.6464646464647</c:v>
                </c:pt>
                <c:pt idx="11">
                  <c:v>977.09183673469386</c:v>
                </c:pt>
                <c:pt idx="12">
                  <c:v>899.93939393939399</c:v>
                </c:pt>
                <c:pt idx="13">
                  <c:v>871.57575757575762</c:v>
                </c:pt>
                <c:pt idx="14">
                  <c:v>869.28282828282829</c:v>
                </c:pt>
                <c:pt idx="15">
                  <c:v>880.23711340206182</c:v>
                </c:pt>
                <c:pt idx="16">
                  <c:v>861.46464646464642</c:v>
                </c:pt>
                <c:pt idx="17">
                  <c:v>814.44444444444446</c:v>
                </c:pt>
                <c:pt idx="18">
                  <c:v>706.57575757575762</c:v>
                </c:pt>
                <c:pt idx="19">
                  <c:v>692.95959595959596</c:v>
                </c:pt>
                <c:pt idx="20">
                  <c:v>646.56565656565658</c:v>
                </c:pt>
                <c:pt idx="21">
                  <c:v>619.70408163265301</c:v>
                </c:pt>
                <c:pt idx="22">
                  <c:v>617.45833333333337</c:v>
                </c:pt>
                <c:pt idx="23">
                  <c:v>581.83838383838383</c:v>
                </c:pt>
                <c:pt idx="24">
                  <c:v>583.86458333333337</c:v>
                </c:pt>
                <c:pt idx="25">
                  <c:v>547.73737373737379</c:v>
                </c:pt>
                <c:pt idx="26">
                  <c:v>542.23232323232321</c:v>
                </c:pt>
                <c:pt idx="27">
                  <c:v>514.030303030303</c:v>
                </c:pt>
                <c:pt idx="28">
                  <c:v>497.50515463917526</c:v>
                </c:pt>
                <c:pt idx="29">
                  <c:v>482.42708333333331</c:v>
                </c:pt>
                <c:pt idx="30">
                  <c:v>396.50526315789472</c:v>
                </c:pt>
                <c:pt idx="31">
                  <c:v>373.97979797979798</c:v>
                </c:pt>
                <c:pt idx="32">
                  <c:v>368.41489361702128</c:v>
                </c:pt>
                <c:pt idx="33">
                  <c:v>321.57142857142856</c:v>
                </c:pt>
                <c:pt idx="34">
                  <c:v>327.33333333333331</c:v>
                </c:pt>
                <c:pt idx="35">
                  <c:v>295.54166666666669</c:v>
                </c:pt>
                <c:pt idx="36">
                  <c:v>268.7525773195876</c:v>
                </c:pt>
                <c:pt idx="37">
                  <c:v>259.61616161616161</c:v>
                </c:pt>
                <c:pt idx="38">
                  <c:v>259.5858585858586</c:v>
                </c:pt>
                <c:pt idx="39">
                  <c:v>315.71249999999998</c:v>
                </c:pt>
                <c:pt idx="40">
                  <c:v>253.43157894736842</c:v>
                </c:pt>
                <c:pt idx="41">
                  <c:v>252.95789473684209</c:v>
                </c:pt>
                <c:pt idx="42">
                  <c:v>328.84285714285716</c:v>
                </c:pt>
                <c:pt idx="43">
                  <c:v>229.83838383838383</c:v>
                </c:pt>
                <c:pt idx="44">
                  <c:v>209.1237113402062</c:v>
                </c:pt>
                <c:pt idx="45">
                  <c:v>205.30526315789473</c:v>
                </c:pt>
                <c:pt idx="46">
                  <c:v>199.64583333333334</c:v>
                </c:pt>
                <c:pt idx="47">
                  <c:v>212.81818181818181</c:v>
                </c:pt>
                <c:pt idx="48">
                  <c:v>270.66176470588238</c:v>
                </c:pt>
                <c:pt idx="49">
                  <c:v>201.87777777777777</c:v>
                </c:pt>
                <c:pt idx="50">
                  <c:v>204.01149425287358</c:v>
                </c:pt>
                <c:pt idx="51">
                  <c:v>154.53012048192772</c:v>
                </c:pt>
                <c:pt idx="52">
                  <c:v>110.47126436781609</c:v>
                </c:pt>
                <c:pt idx="53">
                  <c:v>118.87671232876713</c:v>
                </c:pt>
                <c:pt idx="54">
                  <c:v>80.060606060606062</c:v>
                </c:pt>
                <c:pt idx="55">
                  <c:v>106.42465753424658</c:v>
                </c:pt>
                <c:pt idx="56">
                  <c:v>83.186046511627907</c:v>
                </c:pt>
                <c:pt idx="57">
                  <c:v>114.2982456140351</c:v>
                </c:pt>
                <c:pt idx="58">
                  <c:v>91.316666666666663</c:v>
                </c:pt>
                <c:pt idx="59">
                  <c:v>95.274509803921575</c:v>
                </c:pt>
                <c:pt idx="60">
                  <c:v>109.8780487804878</c:v>
                </c:pt>
                <c:pt idx="61">
                  <c:v>102.8974358974359</c:v>
                </c:pt>
                <c:pt idx="62">
                  <c:v>92.928571428571431</c:v>
                </c:pt>
                <c:pt idx="63">
                  <c:v>66.666666666666671</c:v>
                </c:pt>
                <c:pt idx="64">
                  <c:v>27.405405405405407</c:v>
                </c:pt>
                <c:pt idx="65">
                  <c:v>13.326923076923077</c:v>
                </c:pt>
                <c:pt idx="66">
                  <c:v>170.5</c:v>
                </c:pt>
                <c:pt idx="67">
                  <c:v>118</c:v>
                </c:pt>
                <c:pt idx="68">
                  <c:v>227</c:v>
                </c:pt>
                <c:pt idx="69">
                  <c:v>7.3125</c:v>
                </c:pt>
                <c:pt idx="70">
                  <c:v>6.75</c:v>
                </c:pt>
                <c:pt idx="71">
                  <c:v>7.4285714285714279</c:v>
                </c:pt>
                <c:pt idx="72">
                  <c:v>13.6</c:v>
                </c:pt>
                <c:pt idx="73">
                  <c:v>53</c:v>
                </c:pt>
                <c:pt idx="74">
                  <c:v>1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2</c:f>
              <c:strCache>
                <c:ptCount val="71"/>
                <c:pt idx="0">
                  <c:v>Mini Babybel Rouge Filet St Paulin Ferme 1X264Gr 12P</c:v>
                </c:pt>
                <c:pt idx="1">
                  <c:v>Mini Babybel Rouge Filet St Paulin Ferme 1X132Gr 6P</c:v>
                </c:pt>
                <c:pt idx="2">
                  <c:v>La Vache Qui Rit Nature Fromage Fondu Boite Ronde 1X192Gr 12P</c:v>
                </c:pt>
                <c:pt idx="3">
                  <c:v>Kiri Creme Fromage Blanc Frais Carre 1X216Gr 12P</c:v>
                </c:pt>
                <c:pt idx="4">
                  <c:v>La Vache Qui Rit Nature Fromage Fondu Boite Ronde 1X512Gr 32P</c:v>
                </c:pt>
                <c:pt idx="5">
                  <c:v>La Vache Qui Rit Nature Fromage Fondu Boite Ronde 1X384Gr 24P</c:v>
                </c:pt>
                <c:pt idx="6">
                  <c:v>Kiri Creme Fromage Blanc Frais Carre 1X144Gr 8P</c:v>
                </c:pt>
                <c:pt idx="7">
                  <c:v>Apericube Edition Limitee Best Of Foot Fromage Fondu Cube Assortis 1X250Gr 48P</c:v>
                </c:pt>
                <c:pt idx="8">
                  <c:v>Kiri Gouter Fromage Blanc Dips Boite 1X175Gr 5P</c:v>
                </c:pt>
                <c:pt idx="9">
                  <c:v>Boursin Classique Fromage Frais A Tartiner Afh 1X160Gr 10P</c:v>
                </c:pt>
                <c:pt idx="10">
                  <c:v>Boursin Classique Fromage Frais A Tartiner Afh Boite 1X150Gr 1P</c:v>
                </c:pt>
                <c:pt idx="11">
                  <c:v>Apericube Cocktail Fromage Fondu Cube Assortis 1X250Gr 48P</c:v>
                </c:pt>
                <c:pt idx="12">
                  <c:v>Boursin Aperitif Roules Fromage Frais Roule Afh Et Jambon Fume Boite 1X100Gr 20P</c:v>
                </c:pt>
                <c:pt idx="13">
                  <c:v>Kiri Gouter Fromage Blanc Dips Boite 1X280Gr 8P</c:v>
                </c:pt>
                <c:pt idx="14">
                  <c:v>Babybel St Paulin 1X200Gr 1P</c:v>
                </c:pt>
                <c:pt idx="15">
                  <c:v>Boursin Classique Fromage Frais A Tartiner Afh Boite 1X250Gr 1P</c:v>
                </c:pt>
                <c:pt idx="16">
                  <c:v>Port Salut St Paulin 1X320Gr 1P</c:v>
                </c:pt>
                <c:pt idx="17">
                  <c:v>Kiri Creme Fromage Blanc Frais Carre 1X432Gr 24P</c:v>
                </c:pt>
                <c:pt idx="18">
                  <c:v>Boursin Onctueux Fromage Frais A Tartiner Afh 1X125Gr 1P</c:v>
                </c:pt>
                <c:pt idx="19">
                  <c:v>Apericube Long Drink Fromage Fondu Cube Assortis 1X250Gr 48P</c:v>
                </c:pt>
                <c:pt idx="20">
                  <c:v>Boursin Salade &amp; Aperitif Fromage Frais Des Afh 1X120Gr 1P</c:v>
                </c:pt>
                <c:pt idx="21">
                  <c:v>Apericube Tonic Fromage Fondu Cube Assortis 1X250Gr 48P</c:v>
                </c:pt>
                <c:pt idx="22">
                  <c:v>Apericube Campagne Fromage Fondu Cube Assortis 1X125Gr 24P</c:v>
                </c:pt>
                <c:pt idx="23">
                  <c:v>La Vache Qui Rit Pik Et Croq' Fromage Fondu Dips Boite 1X175Gr 5P</c:v>
                </c:pt>
                <c:pt idx="24">
                  <c:v>Boursin Classique Fromage Frais A Tartiner Figue Et 3 Noix Boite 1X150Gr 1P</c:v>
                </c:pt>
                <c:pt idx="25">
                  <c:v>Apericube Nature Fromage Fondu Cube 1X125Gr 24P</c:v>
                </c:pt>
                <c:pt idx="26">
                  <c:v>Apericube Edition Voyage Fromage Fondu Cube Assortis 1X250Gr 48P</c:v>
                </c:pt>
                <c:pt idx="27">
                  <c:v>Boursin Classique Fromage Frais A Tartiner Ciboulette &amp; Echalote Boite 1X150Gr 1P</c:v>
                </c:pt>
                <c:pt idx="28">
                  <c:v>Boursin Classique Fromage Frais A Tartiner Afh Boite 1X96Gr 6P</c:v>
                </c:pt>
                <c:pt idx="29">
                  <c:v>Kiri Creme Fromage Blanc Frais Carre 1X432Gr 18+6P</c:v>
                </c:pt>
                <c:pt idx="30">
                  <c:v>Boursin Cuisine Sauce Fromage Afh 1X240Gr 1P</c:v>
                </c:pt>
                <c:pt idx="31">
                  <c:v>Boursin Aperitif Roules Fromage Frais Roule Ciboulette &amp; Echalote Jambon Fume Boite 1X100Gr 20P</c:v>
                </c:pt>
                <c:pt idx="32">
                  <c:v>Apericube Incontournable Fromage Fondu Cube Assortis 1X250Gr 48P</c:v>
                </c:pt>
                <c:pt idx="33">
                  <c:v>Apericube Edition Limitee Saison Fromage Fondu Cube Assortis 1X250Gr 48P</c:v>
                </c:pt>
                <c:pt idx="34">
                  <c:v>La Vache Qui Rit Allegee Fromage Fondu Boite Ronde Allege 1X267Gr 16P</c:v>
                </c:pt>
                <c:pt idx="35">
                  <c:v>Boursin Classique Fromage Frais A Tartiner Poivre Boite 1X150Gr 1P</c:v>
                </c:pt>
                <c:pt idx="36">
                  <c:v>Apericube Soiree Match Aperitif 250G</c:v>
                </c:pt>
                <c:pt idx="37">
                  <c:v>Mini Babybel Aros Soft Cheese Enfant 180G</c:v>
                </c:pt>
                <c:pt idx="38">
                  <c:v>La Vache Qui Rit Pik Et Croq' Fromage Fondu Dips Boite 1X280Gr 8P</c:v>
                </c:pt>
                <c:pt idx="39">
                  <c:v>Kiri Delicieusement Fouette Fromage Frais A Tartiner 1X125Gr 1P</c:v>
                </c:pt>
                <c:pt idx="40">
                  <c:v>Babybel Mini Rolls St Paulin Ferme Sachet 1X85Gr 5P</c:v>
                </c:pt>
                <c:pt idx="41">
                  <c:v>Kiri Bio Fromage Blanc Frais Carre 1X144Gr 8P</c:v>
                </c:pt>
                <c:pt idx="42">
                  <c:v>Boursin Classique Fromage Frais A Tartiner Ciboulette &amp; Echalote 1X160Gr 10P</c:v>
                </c:pt>
                <c:pt idx="43">
                  <c:v>Boursin Aperitif Roules Fromage Frais Roule Basilic &amp; Jambon Fume Tomate Boite 1X100Gr 20P</c:v>
                </c:pt>
                <c:pt idx="44">
                  <c:v>Boursin Salade &amp; Aperitif Fromage Frais Des Ciboulette Echalote 1X120Gr 1P</c:v>
                </c:pt>
                <c:pt idx="45">
                  <c:v>Boursin Classique Fromage Frais A Tartiner Afh 1X256Gr 16P</c:v>
                </c:pt>
                <c:pt idx="46">
                  <c:v>Cousteron St Paulin 1X320Gr 1P</c:v>
                </c:pt>
                <c:pt idx="47">
                  <c:v>La Vache Qui Rit Aro Fromage Fondu Boite Ronde Jambon 1X133Gr 8P</c:v>
                </c:pt>
                <c:pt idx="48">
                  <c:v>Apericube Hot Chalenge Aperitif 250G</c:v>
                </c:pt>
                <c:pt idx="49">
                  <c:v>Mini Babybel Aros Soft Cheese Enfant 110G</c:v>
                </c:pt>
                <c:pt idx="50">
                  <c:v>Boursin Salade &amp; Aperitif Fromage Frais Des Figue Noix 1X120Gr 1P</c:v>
                </c:pt>
                <c:pt idx="51">
                  <c:v>Boursin Salade &amp; Aperitif Fromage Frais Des Citron Romarin 1X120Gr 1P</c:v>
                </c:pt>
                <c:pt idx="52">
                  <c:v>Nurishh Les Tranches Vegetales Cheddar Vegetal Tranche Boite 1X160Gr 8P</c:v>
                </c:pt>
                <c:pt idx="53">
                  <c:v>Nurishh Le Rape Vegetal Specialite Vegetale Sachet 1X150Gr 1P</c:v>
                </c:pt>
                <c:pt idx="54">
                  <c:v>Kiri Chevre Fromage Blanc Frais Carre 1X144Gr 8P</c:v>
                </c:pt>
                <c:pt idx="55">
                  <c:v>Boursin Salade &amp; Aperitif Soft Cheese Salade 120G</c:v>
                </c:pt>
                <c:pt idx="56">
                  <c:v>Apericube Fromages Du Monde Aperitif 250G</c:v>
                </c:pt>
                <c:pt idx="57">
                  <c:v>Nurishh Le Rape Vegetal Specialite Vegetale Emmental Sachet 1X150Gr 1P</c:v>
                </c:pt>
                <c:pt idx="58">
                  <c:v>Apericube Montagne Aperitif 250G</c:v>
                </c:pt>
                <c:pt idx="59">
                  <c:v>Nurishh Des Vegetaux Feta Vegetale Sachet 1X150Gr 1P</c:v>
                </c:pt>
                <c:pt idx="60">
                  <c:v>Boursin Aperitif Roules Aperitif 100G</c:v>
                </c:pt>
                <c:pt idx="61">
                  <c:v>Mini Babybel Rouge Filet St Paulin Ferme Sachet 1X40Gr 1P</c:v>
                </c:pt>
                <c:pt idx="62">
                  <c:v>Nurishh Le Coeur Fleuri Vegetal Camembert Boite 1X140Gr 1P</c:v>
                </c:pt>
                <c:pt idx="63">
                  <c:v>Nurishh Le Palet Vegetal Specialite Vegetale Ovale Saveur Chevre Boite 1X140Gr 1P</c:v>
                </c:pt>
                <c:pt idx="64">
                  <c:v>Apericube Saveurs De L'Authentique Fromage Fondu Cube Assortis 1X250Gr 48P</c:v>
                </c:pt>
                <c:pt idx="65">
                  <c:v>Mini Babybel Aros St Paulin Ferme Raclette Filet 1X132Gr 6P</c:v>
                </c:pt>
                <c:pt idx="66">
                  <c:v>Boursin Aperitif Roules Fromage Frais Roule Jambon Fume &amp; Trio De Noix Boite 1X100Gr 20P</c:v>
                </c:pt>
                <c:pt idx="67">
                  <c:v>Kiri Delicieusement Fouette Fromage Frais A Tartiner 1X160Gr 10P</c:v>
                </c:pt>
                <c:pt idx="68">
                  <c:v>Apericube Long Drink Fromage Fondu Cube Assortis 1X125Gr 24P</c:v>
                </c:pt>
                <c:pt idx="69">
                  <c:v>Mini Babybel Aros St Paulin Ferme Assortis Filet 1X180Gr 9P</c:v>
                </c:pt>
                <c:pt idx="70">
                  <c:v>Boursin Classique Fromage Frais A Tartiner Afh Boite 1X80Gr 1P</c:v>
                </c:pt>
              </c:strCache>
            </c:strRef>
          </c:cat>
          <c:val>
            <c:numRef>
              <c:f>Sheet1!$B$2:$B$72</c:f>
              <c:numCache>
                <c:formatCode>General</c:formatCode>
                <c:ptCount val="71"/>
                <c:pt idx="0">
                  <c:v>0.88</c:v>
                </c:pt>
                <c:pt idx="1">
                  <c:v>0.98</c:v>
                </c:pt>
                <c:pt idx="2">
                  <c:v>0.98</c:v>
                </c:pt>
                <c:pt idx="3">
                  <c:v>0.85</c:v>
                </c:pt>
                <c:pt idx="4">
                  <c:v>0.65</c:v>
                </c:pt>
                <c:pt idx="5">
                  <c:v>0.68</c:v>
                </c:pt>
                <c:pt idx="6">
                  <c:v>0.92</c:v>
                </c:pt>
                <c:pt idx="7">
                  <c:v>0.75</c:v>
                </c:pt>
                <c:pt idx="8">
                  <c:v>0.89</c:v>
                </c:pt>
                <c:pt idx="9">
                  <c:v>0.9</c:v>
                </c:pt>
                <c:pt idx="10">
                  <c:v>0.96</c:v>
                </c:pt>
                <c:pt idx="11">
                  <c:v>0.68</c:v>
                </c:pt>
                <c:pt idx="12">
                  <c:v>0.76</c:v>
                </c:pt>
                <c:pt idx="13">
                  <c:v>0.67</c:v>
                </c:pt>
                <c:pt idx="14">
                  <c:v>0.93</c:v>
                </c:pt>
                <c:pt idx="15">
                  <c:v>0.75</c:v>
                </c:pt>
                <c:pt idx="16">
                  <c:v>0.78</c:v>
                </c:pt>
                <c:pt idx="17">
                  <c:v>0.47</c:v>
                </c:pt>
                <c:pt idx="18">
                  <c:v>0.81</c:v>
                </c:pt>
                <c:pt idx="19">
                  <c:v>0.54</c:v>
                </c:pt>
                <c:pt idx="20">
                  <c:v>0.84</c:v>
                </c:pt>
                <c:pt idx="21">
                  <c:v>0.55000000000000004</c:v>
                </c:pt>
                <c:pt idx="22">
                  <c:v>0.7</c:v>
                </c:pt>
                <c:pt idx="23">
                  <c:v>0.77</c:v>
                </c:pt>
                <c:pt idx="24">
                  <c:v>0.81</c:v>
                </c:pt>
                <c:pt idx="25">
                  <c:v>0.69</c:v>
                </c:pt>
                <c:pt idx="26">
                  <c:v>0.44</c:v>
                </c:pt>
                <c:pt idx="27">
                  <c:v>0.8</c:v>
                </c:pt>
                <c:pt idx="28">
                  <c:v>0.66</c:v>
                </c:pt>
                <c:pt idx="29">
                  <c:v>0.59</c:v>
                </c:pt>
                <c:pt idx="30">
                  <c:v>0.67</c:v>
                </c:pt>
                <c:pt idx="31">
                  <c:v>0.5</c:v>
                </c:pt>
                <c:pt idx="32">
                  <c:v>0.33</c:v>
                </c:pt>
                <c:pt idx="33">
                  <c:v>0.38</c:v>
                </c:pt>
                <c:pt idx="34">
                  <c:v>0.42</c:v>
                </c:pt>
                <c:pt idx="35">
                  <c:v>0.59</c:v>
                </c:pt>
                <c:pt idx="36">
                  <c:v>0.33</c:v>
                </c:pt>
                <c:pt idx="37">
                  <c:v>0.3</c:v>
                </c:pt>
                <c:pt idx="38">
                  <c:v>0.32</c:v>
                </c:pt>
                <c:pt idx="39">
                  <c:v>0.44</c:v>
                </c:pt>
                <c:pt idx="40">
                  <c:v>0.37</c:v>
                </c:pt>
                <c:pt idx="41">
                  <c:v>0.3</c:v>
                </c:pt>
                <c:pt idx="42">
                  <c:v>0.46</c:v>
                </c:pt>
                <c:pt idx="43">
                  <c:v>0.32</c:v>
                </c:pt>
                <c:pt idx="44">
                  <c:v>0.43</c:v>
                </c:pt>
                <c:pt idx="45">
                  <c:v>0.33</c:v>
                </c:pt>
                <c:pt idx="46">
                  <c:v>0.74</c:v>
                </c:pt>
                <c:pt idx="47">
                  <c:v>0.25</c:v>
                </c:pt>
                <c:pt idx="48">
                  <c:v>0.16</c:v>
                </c:pt>
                <c:pt idx="49">
                  <c:v>0.19</c:v>
                </c:pt>
                <c:pt idx="50">
                  <c:v>0.18</c:v>
                </c:pt>
                <c:pt idx="51">
                  <c:v>0.28000000000000003</c:v>
                </c:pt>
                <c:pt idx="52">
                  <c:v>0.14000000000000001</c:v>
                </c:pt>
                <c:pt idx="53">
                  <c:v>0.15</c:v>
                </c:pt>
                <c:pt idx="54">
                  <c:v>0.1</c:v>
                </c:pt>
                <c:pt idx="55">
                  <c:v>0.14000000000000001</c:v>
                </c:pt>
                <c:pt idx="56">
                  <c:v>0.09</c:v>
                </c:pt>
                <c:pt idx="57">
                  <c:v>0.13</c:v>
                </c:pt>
                <c:pt idx="58">
                  <c:v>7.0000000000000007E-2</c:v>
                </c:pt>
                <c:pt idx="59">
                  <c:v>0.11</c:v>
                </c:pt>
                <c:pt idx="60">
                  <c:v>0.17</c:v>
                </c:pt>
                <c:pt idx="61">
                  <c:v>0.13</c:v>
                </c:pt>
                <c:pt idx="62">
                  <c:v>7.0000000000000007E-2</c:v>
                </c:pt>
                <c:pt idx="63">
                  <c:v>7.0000000000000007E-2</c:v>
                </c:pt>
                <c:pt idx="64">
                  <c:v>0.06</c:v>
                </c:pt>
                <c:pt idx="65">
                  <c:v>0.08</c:v>
                </c:pt>
                <c:pt idx="66">
                  <c:v>0.05</c:v>
                </c:pt>
                <c:pt idx="67">
                  <c:v>0.05</c:v>
                </c:pt>
                <c:pt idx="68">
                  <c:v>0.03</c:v>
                </c:pt>
                <c:pt idx="69">
                  <c:v>0.01</c:v>
                </c:pt>
                <c:pt idx="7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549A-4B67-8763-7DE96B931FE5}"/>
              </c:ext>
            </c:extLst>
          </c:dPt>
          <c:dPt>
            <c:idx val="45"/>
            <c:invertIfNegative val="1"/>
            <c:bubble3D val="0"/>
            <c:spPr>
              <a:solidFill>
                <a:srgbClr val="AEABAB"/>
              </a:solidFill>
            </c:spPr>
            <c:extLst>
              <c:ext xmlns:c16="http://schemas.microsoft.com/office/drawing/2014/chart" uri="{C3380CC4-5D6E-409C-BE32-E72D297353CC}">
                <c16:uniqueId val="{0000005D-549A-4B67-8763-7DE96B931FE5}"/>
              </c:ext>
            </c:extLst>
          </c:dPt>
          <c:dPt>
            <c:idx val="46"/>
            <c:invertIfNegative val="1"/>
            <c:bubble3D val="0"/>
            <c:spPr>
              <a:solidFill>
                <a:srgbClr val="AEABAB"/>
              </a:solidFill>
            </c:spPr>
            <c:extLst>
              <c:ext xmlns:c16="http://schemas.microsoft.com/office/drawing/2014/chart" uri="{C3380CC4-5D6E-409C-BE32-E72D297353CC}">
                <c16:uniqueId val="{0000005F-549A-4B67-8763-7DE96B931FE5}"/>
              </c:ext>
            </c:extLst>
          </c:dPt>
          <c:dPt>
            <c:idx val="47"/>
            <c:invertIfNegative val="1"/>
            <c:bubble3D val="0"/>
            <c:spPr>
              <a:solidFill>
                <a:srgbClr val="AEABAB"/>
              </a:solidFill>
            </c:spPr>
            <c:extLst>
              <c:ext xmlns:c16="http://schemas.microsoft.com/office/drawing/2014/chart" uri="{C3380CC4-5D6E-409C-BE32-E72D297353CC}">
                <c16:uniqueId val="{00000061-549A-4B67-8763-7DE96B931FE5}"/>
              </c:ext>
            </c:extLst>
          </c:dPt>
          <c:dPt>
            <c:idx val="48"/>
            <c:invertIfNegative val="1"/>
            <c:bubble3D val="0"/>
            <c:spPr>
              <a:solidFill>
                <a:srgbClr val="AEABAB"/>
              </a:solidFill>
            </c:spPr>
            <c:extLst>
              <c:ext xmlns:c16="http://schemas.microsoft.com/office/drawing/2014/chart" uri="{C3380CC4-5D6E-409C-BE32-E72D297353CC}">
                <c16:uniqueId val="{00000063-549A-4B67-8763-7DE96B931FE5}"/>
              </c:ext>
            </c:extLst>
          </c:dPt>
          <c:dPt>
            <c:idx val="49"/>
            <c:invertIfNegative val="1"/>
            <c:bubble3D val="0"/>
            <c:spPr>
              <a:solidFill>
                <a:srgbClr val="AEABAB"/>
              </a:solidFill>
            </c:spPr>
            <c:extLst>
              <c:ext xmlns:c16="http://schemas.microsoft.com/office/drawing/2014/chart" uri="{C3380CC4-5D6E-409C-BE32-E72D297353CC}">
                <c16:uniqueId val="{00000065-549A-4B67-8763-7DE96B931FE5}"/>
              </c:ext>
            </c:extLst>
          </c:dPt>
          <c:dPt>
            <c:idx val="50"/>
            <c:invertIfNegative val="1"/>
            <c:bubble3D val="0"/>
            <c:spPr>
              <a:solidFill>
                <a:srgbClr val="AEABAB"/>
              </a:solidFill>
            </c:spPr>
            <c:extLst>
              <c:ext xmlns:c16="http://schemas.microsoft.com/office/drawing/2014/chart" uri="{C3380CC4-5D6E-409C-BE32-E72D297353CC}">
                <c16:uniqueId val="{00000067-549A-4B67-8763-7DE96B931FE5}"/>
              </c:ext>
            </c:extLst>
          </c:dPt>
          <c:dPt>
            <c:idx val="51"/>
            <c:invertIfNegative val="1"/>
            <c:bubble3D val="0"/>
            <c:spPr>
              <a:solidFill>
                <a:srgbClr val="AEABAB"/>
              </a:solidFill>
            </c:spPr>
            <c:extLst>
              <c:ext xmlns:c16="http://schemas.microsoft.com/office/drawing/2014/chart" uri="{C3380CC4-5D6E-409C-BE32-E72D297353CC}">
                <c16:uniqueId val="{00000069-549A-4B67-8763-7DE96B931FE5}"/>
              </c:ext>
            </c:extLst>
          </c:dPt>
          <c:dPt>
            <c:idx val="52"/>
            <c:invertIfNegative val="1"/>
            <c:bubble3D val="0"/>
            <c:spPr>
              <a:solidFill>
                <a:srgbClr val="AEABAB"/>
              </a:solidFill>
            </c:spPr>
            <c:extLst>
              <c:ext xmlns:c16="http://schemas.microsoft.com/office/drawing/2014/chart" uri="{C3380CC4-5D6E-409C-BE32-E72D297353CC}">
                <c16:uniqueId val="{0000006B-549A-4B67-8763-7DE96B931FE5}"/>
              </c:ext>
            </c:extLst>
          </c:dPt>
          <c:dPt>
            <c:idx val="53"/>
            <c:invertIfNegative val="1"/>
            <c:bubble3D val="0"/>
            <c:spPr>
              <a:solidFill>
                <a:srgbClr val="AEABAB"/>
              </a:solidFill>
            </c:spPr>
            <c:extLst>
              <c:ext xmlns:c16="http://schemas.microsoft.com/office/drawing/2014/chart" uri="{C3380CC4-5D6E-409C-BE32-E72D297353CC}">
                <c16:uniqueId val="{0000006D-549A-4B67-8763-7DE96B931FE5}"/>
              </c:ext>
            </c:extLst>
          </c:dPt>
          <c:dPt>
            <c:idx val="54"/>
            <c:invertIfNegative val="1"/>
            <c:bubble3D val="0"/>
            <c:spPr>
              <a:solidFill>
                <a:srgbClr val="AEABAB"/>
              </a:solidFill>
            </c:spPr>
            <c:extLst>
              <c:ext xmlns:c16="http://schemas.microsoft.com/office/drawing/2014/chart" uri="{C3380CC4-5D6E-409C-BE32-E72D297353CC}">
                <c16:uniqueId val="{0000006F-549A-4B67-8763-7DE96B931FE5}"/>
              </c:ext>
            </c:extLst>
          </c:dPt>
          <c:dPt>
            <c:idx val="55"/>
            <c:invertIfNegative val="1"/>
            <c:bubble3D val="0"/>
            <c:spPr>
              <a:solidFill>
                <a:srgbClr val="AEABAB"/>
              </a:solidFill>
            </c:spPr>
            <c:extLst>
              <c:ext xmlns:c16="http://schemas.microsoft.com/office/drawing/2014/chart" uri="{C3380CC4-5D6E-409C-BE32-E72D297353CC}">
                <c16:uniqueId val="{00000071-549A-4B67-8763-7DE96B931FE5}"/>
              </c:ext>
            </c:extLst>
          </c:dPt>
          <c:dPt>
            <c:idx val="56"/>
            <c:invertIfNegative val="1"/>
            <c:bubble3D val="0"/>
            <c:spPr>
              <a:solidFill>
                <a:srgbClr val="AEABAB"/>
              </a:solidFill>
            </c:spPr>
            <c:extLst>
              <c:ext xmlns:c16="http://schemas.microsoft.com/office/drawing/2014/chart" uri="{C3380CC4-5D6E-409C-BE32-E72D297353CC}">
                <c16:uniqueId val="{00000073-549A-4B67-8763-7DE96B931FE5}"/>
              </c:ext>
            </c:extLst>
          </c:dPt>
          <c:dPt>
            <c:idx val="57"/>
            <c:invertIfNegative val="1"/>
            <c:bubble3D val="0"/>
            <c:spPr>
              <a:solidFill>
                <a:srgbClr val="AEABAB"/>
              </a:solidFill>
            </c:spPr>
            <c:extLst>
              <c:ext xmlns:c16="http://schemas.microsoft.com/office/drawing/2014/chart" uri="{C3380CC4-5D6E-409C-BE32-E72D297353CC}">
                <c16:uniqueId val="{00000075-549A-4B67-8763-7DE96B931FE5}"/>
              </c:ext>
            </c:extLst>
          </c:dPt>
          <c:dPt>
            <c:idx val="58"/>
            <c:invertIfNegative val="1"/>
            <c:bubble3D val="0"/>
            <c:spPr>
              <a:solidFill>
                <a:srgbClr val="AEABAB"/>
              </a:solidFill>
            </c:spPr>
            <c:extLst>
              <c:ext xmlns:c16="http://schemas.microsoft.com/office/drawing/2014/chart" uri="{C3380CC4-5D6E-409C-BE32-E72D297353CC}">
                <c16:uniqueId val="{00000077-549A-4B67-8763-7DE96B931FE5}"/>
              </c:ext>
            </c:extLst>
          </c:dPt>
          <c:dPt>
            <c:idx val="59"/>
            <c:invertIfNegative val="1"/>
            <c:bubble3D val="0"/>
            <c:spPr>
              <a:solidFill>
                <a:srgbClr val="AEABAB"/>
              </a:solidFill>
            </c:spPr>
            <c:extLst>
              <c:ext xmlns:c16="http://schemas.microsoft.com/office/drawing/2014/chart" uri="{C3380CC4-5D6E-409C-BE32-E72D297353CC}">
                <c16:uniqueId val="{00000079-549A-4B67-8763-7DE96B931FE5}"/>
              </c:ext>
            </c:extLst>
          </c:dPt>
          <c:dPt>
            <c:idx val="60"/>
            <c:invertIfNegative val="1"/>
            <c:bubble3D val="0"/>
            <c:spPr>
              <a:solidFill>
                <a:srgbClr val="AEABAB"/>
              </a:solidFill>
            </c:spPr>
            <c:extLst>
              <c:ext xmlns:c16="http://schemas.microsoft.com/office/drawing/2014/chart" uri="{C3380CC4-5D6E-409C-BE32-E72D297353CC}">
                <c16:uniqueId val="{0000007B-549A-4B67-8763-7DE96B931FE5}"/>
              </c:ext>
            </c:extLst>
          </c:dPt>
          <c:dPt>
            <c:idx val="61"/>
            <c:invertIfNegative val="1"/>
            <c:bubble3D val="0"/>
            <c:spPr>
              <a:solidFill>
                <a:srgbClr val="AEABAB"/>
              </a:solidFill>
            </c:spPr>
            <c:extLst>
              <c:ext xmlns:c16="http://schemas.microsoft.com/office/drawing/2014/chart" uri="{C3380CC4-5D6E-409C-BE32-E72D297353CC}">
                <c16:uniqueId val="{0000007D-549A-4B67-8763-7DE96B931FE5}"/>
              </c:ext>
            </c:extLst>
          </c:dPt>
          <c:dPt>
            <c:idx val="62"/>
            <c:invertIfNegative val="1"/>
            <c:bubble3D val="0"/>
            <c:spPr>
              <a:solidFill>
                <a:srgbClr val="AEABAB"/>
              </a:solidFill>
            </c:spPr>
            <c:extLst>
              <c:ext xmlns:c16="http://schemas.microsoft.com/office/drawing/2014/chart" uri="{C3380CC4-5D6E-409C-BE32-E72D297353CC}">
                <c16:uniqueId val="{0000007F-549A-4B67-8763-7DE96B931FE5}"/>
              </c:ext>
            </c:extLst>
          </c:dPt>
          <c:dPt>
            <c:idx val="63"/>
            <c:invertIfNegative val="1"/>
            <c:bubble3D val="0"/>
            <c:spPr>
              <a:solidFill>
                <a:srgbClr val="AEABAB"/>
              </a:solidFill>
            </c:spPr>
            <c:extLst>
              <c:ext xmlns:c16="http://schemas.microsoft.com/office/drawing/2014/chart" uri="{C3380CC4-5D6E-409C-BE32-E72D297353CC}">
                <c16:uniqueId val="{00000081-549A-4B67-8763-7DE96B931FE5}"/>
              </c:ext>
            </c:extLst>
          </c:dPt>
          <c:dPt>
            <c:idx val="64"/>
            <c:invertIfNegative val="1"/>
            <c:bubble3D val="0"/>
            <c:spPr>
              <a:solidFill>
                <a:srgbClr val="AEABAB"/>
              </a:solidFill>
            </c:spPr>
            <c:extLst>
              <c:ext xmlns:c16="http://schemas.microsoft.com/office/drawing/2014/chart" uri="{C3380CC4-5D6E-409C-BE32-E72D297353CC}">
                <c16:uniqueId val="{00000083-549A-4B67-8763-7DE96B931FE5}"/>
              </c:ext>
            </c:extLst>
          </c:dPt>
          <c:dPt>
            <c:idx val="65"/>
            <c:invertIfNegative val="1"/>
            <c:bubble3D val="0"/>
            <c:spPr>
              <a:solidFill>
                <a:srgbClr val="AEABAB"/>
              </a:solidFill>
            </c:spPr>
            <c:extLst>
              <c:ext xmlns:c16="http://schemas.microsoft.com/office/drawing/2014/chart" uri="{C3380CC4-5D6E-409C-BE32-E72D297353CC}">
                <c16:uniqueId val="{00000085-549A-4B67-8763-7DE96B931FE5}"/>
              </c:ext>
            </c:extLst>
          </c:dPt>
          <c:dPt>
            <c:idx val="66"/>
            <c:invertIfNegative val="1"/>
            <c:bubble3D val="0"/>
            <c:spPr>
              <a:solidFill>
                <a:srgbClr val="AEABAB"/>
              </a:solidFill>
            </c:spPr>
            <c:extLst>
              <c:ext xmlns:c16="http://schemas.microsoft.com/office/drawing/2014/chart" uri="{C3380CC4-5D6E-409C-BE32-E72D297353CC}">
                <c16:uniqueId val="{00000087-549A-4B67-8763-7DE96B931FE5}"/>
              </c:ext>
            </c:extLst>
          </c:dPt>
          <c:dPt>
            <c:idx val="67"/>
            <c:invertIfNegative val="1"/>
            <c:bubble3D val="0"/>
            <c:spPr>
              <a:solidFill>
                <a:srgbClr val="AEABAB"/>
              </a:solidFill>
            </c:spPr>
            <c:extLst>
              <c:ext xmlns:c16="http://schemas.microsoft.com/office/drawing/2014/chart" uri="{C3380CC4-5D6E-409C-BE32-E72D297353CC}">
                <c16:uniqueId val="{00000089-549A-4B67-8763-7DE96B931FE5}"/>
              </c:ext>
            </c:extLst>
          </c:dPt>
          <c:dPt>
            <c:idx val="68"/>
            <c:invertIfNegative val="1"/>
            <c:bubble3D val="0"/>
            <c:spPr>
              <a:solidFill>
                <a:srgbClr val="AEABAB"/>
              </a:solidFill>
            </c:spPr>
            <c:extLst>
              <c:ext xmlns:c16="http://schemas.microsoft.com/office/drawing/2014/chart" uri="{C3380CC4-5D6E-409C-BE32-E72D297353CC}">
                <c16:uniqueId val="{0000008B-549A-4B67-8763-7DE96B931FE5}"/>
              </c:ext>
            </c:extLst>
          </c:dPt>
          <c:dPt>
            <c:idx val="69"/>
            <c:invertIfNegative val="1"/>
            <c:bubble3D val="0"/>
            <c:spPr>
              <a:solidFill>
                <a:srgbClr val="AEABAB"/>
              </a:solidFill>
            </c:spPr>
            <c:extLst>
              <c:ext xmlns:c16="http://schemas.microsoft.com/office/drawing/2014/chart" uri="{C3380CC4-5D6E-409C-BE32-E72D297353CC}">
                <c16:uniqueId val="{0000008D-549A-4B67-8763-7DE96B931FE5}"/>
              </c:ext>
            </c:extLst>
          </c:dPt>
          <c:dPt>
            <c:idx val="70"/>
            <c:invertIfNegative val="1"/>
            <c:bubble3D val="0"/>
            <c:spPr>
              <a:solidFill>
                <a:srgbClr val="AEABAB"/>
              </a:solidFill>
            </c:spPr>
            <c:extLst>
              <c:ext xmlns:c16="http://schemas.microsoft.com/office/drawing/2014/chart" uri="{C3380CC4-5D6E-409C-BE32-E72D297353CC}">
                <c16:uniqueId val="{0000008F-549A-4B67-8763-7DE96B931FE5}"/>
              </c:ext>
            </c:extLst>
          </c:dPt>
          <c:cat>
            <c:strRef>
              <c:f>Sheet1!$A$2:$A$72</c:f>
              <c:strCache>
                <c:ptCount val="71"/>
                <c:pt idx="0">
                  <c:v>Mini Babybel Rouge Filet St Paulin Ferme 1X264Gr 12P</c:v>
                </c:pt>
                <c:pt idx="1">
                  <c:v>Mini Babybel Rouge Filet St Paulin Ferme 1X132Gr 6P</c:v>
                </c:pt>
                <c:pt idx="2">
                  <c:v>La Vache Qui Rit Nature Fromage Fondu Boite Ronde 1X192Gr 12P</c:v>
                </c:pt>
                <c:pt idx="3">
                  <c:v>Kiri Creme Fromage Blanc Frais Carre 1X216Gr 12P</c:v>
                </c:pt>
                <c:pt idx="4">
                  <c:v>La Vache Qui Rit Nature Fromage Fondu Boite Ronde 1X512Gr 32P</c:v>
                </c:pt>
                <c:pt idx="5">
                  <c:v>La Vache Qui Rit Nature Fromage Fondu Boite Ronde 1X384Gr 24P</c:v>
                </c:pt>
                <c:pt idx="6">
                  <c:v>Kiri Creme Fromage Blanc Frais Carre 1X144Gr 8P</c:v>
                </c:pt>
                <c:pt idx="7">
                  <c:v>Apericube Edition Limitee Best Of Foot Fromage Fondu Cube Assortis 1X250Gr 48P</c:v>
                </c:pt>
                <c:pt idx="8">
                  <c:v>Kiri Gouter Fromage Blanc Dips Boite 1X175Gr 5P</c:v>
                </c:pt>
                <c:pt idx="9">
                  <c:v>Boursin Classique Fromage Frais A Tartiner Afh 1X160Gr 10P</c:v>
                </c:pt>
                <c:pt idx="10">
                  <c:v>Boursin Classique Fromage Frais A Tartiner Afh Boite 1X150Gr 1P</c:v>
                </c:pt>
                <c:pt idx="11">
                  <c:v>Apericube Cocktail Fromage Fondu Cube Assortis 1X250Gr 48P</c:v>
                </c:pt>
                <c:pt idx="12">
                  <c:v>Boursin Aperitif Roules Fromage Frais Roule Afh Et Jambon Fume Boite 1X100Gr 20P</c:v>
                </c:pt>
                <c:pt idx="13">
                  <c:v>Kiri Gouter Fromage Blanc Dips Boite 1X280Gr 8P</c:v>
                </c:pt>
                <c:pt idx="14">
                  <c:v>Babybel St Paulin 1X200Gr 1P</c:v>
                </c:pt>
                <c:pt idx="15">
                  <c:v>Boursin Classique Fromage Frais A Tartiner Afh Boite 1X250Gr 1P</c:v>
                </c:pt>
                <c:pt idx="16">
                  <c:v>Port Salut St Paulin 1X320Gr 1P</c:v>
                </c:pt>
                <c:pt idx="17">
                  <c:v>Kiri Creme Fromage Blanc Frais Carre 1X432Gr 24P</c:v>
                </c:pt>
                <c:pt idx="18">
                  <c:v>Boursin Onctueux Fromage Frais A Tartiner Afh 1X125Gr 1P</c:v>
                </c:pt>
                <c:pt idx="19">
                  <c:v>Apericube Long Drink Fromage Fondu Cube Assortis 1X250Gr 48P</c:v>
                </c:pt>
                <c:pt idx="20">
                  <c:v>Boursin Salade &amp; Aperitif Fromage Frais Des Afh 1X120Gr 1P</c:v>
                </c:pt>
                <c:pt idx="21">
                  <c:v>Apericube Tonic Fromage Fondu Cube Assortis 1X250Gr 48P</c:v>
                </c:pt>
                <c:pt idx="22">
                  <c:v>Apericube Campagne Fromage Fondu Cube Assortis 1X125Gr 24P</c:v>
                </c:pt>
                <c:pt idx="23">
                  <c:v>La Vache Qui Rit Pik Et Croq' Fromage Fondu Dips Boite 1X175Gr 5P</c:v>
                </c:pt>
                <c:pt idx="24">
                  <c:v>Boursin Classique Fromage Frais A Tartiner Figue Et 3 Noix Boite 1X150Gr 1P</c:v>
                </c:pt>
                <c:pt idx="25">
                  <c:v>Apericube Nature Fromage Fondu Cube 1X125Gr 24P</c:v>
                </c:pt>
                <c:pt idx="26">
                  <c:v>Apericube Edition Voyage Fromage Fondu Cube Assortis 1X250Gr 48P</c:v>
                </c:pt>
                <c:pt idx="27">
                  <c:v>Boursin Classique Fromage Frais A Tartiner Ciboulette &amp; Echalote Boite 1X150Gr 1P</c:v>
                </c:pt>
                <c:pt idx="28">
                  <c:v>Boursin Classique Fromage Frais A Tartiner Afh Boite 1X96Gr 6P</c:v>
                </c:pt>
                <c:pt idx="29">
                  <c:v>Kiri Creme Fromage Blanc Frais Carre 1X432Gr 18+6P</c:v>
                </c:pt>
                <c:pt idx="30">
                  <c:v>Boursin Cuisine Sauce Fromage Afh 1X240Gr 1P</c:v>
                </c:pt>
                <c:pt idx="31">
                  <c:v>Boursin Aperitif Roules Fromage Frais Roule Ciboulette &amp; Echalote Jambon Fume Boite 1X100Gr 20P</c:v>
                </c:pt>
                <c:pt idx="32">
                  <c:v>Apericube Incontournable Fromage Fondu Cube Assortis 1X250Gr 48P</c:v>
                </c:pt>
                <c:pt idx="33">
                  <c:v>Apericube Edition Limitee Saison Fromage Fondu Cube Assortis 1X250Gr 48P</c:v>
                </c:pt>
                <c:pt idx="34">
                  <c:v>La Vache Qui Rit Allegee Fromage Fondu Boite Ronde Allege 1X267Gr 16P</c:v>
                </c:pt>
                <c:pt idx="35">
                  <c:v>Boursin Classique Fromage Frais A Tartiner Poivre Boite 1X150Gr 1P</c:v>
                </c:pt>
                <c:pt idx="36">
                  <c:v>Apericube Soiree Match Aperitif 250G</c:v>
                </c:pt>
                <c:pt idx="37">
                  <c:v>Mini Babybel Aros Soft Cheese Enfant 180G</c:v>
                </c:pt>
                <c:pt idx="38">
                  <c:v>La Vache Qui Rit Pik Et Croq' Fromage Fondu Dips Boite 1X280Gr 8P</c:v>
                </c:pt>
                <c:pt idx="39">
                  <c:v>Kiri Delicieusement Fouette Fromage Frais A Tartiner 1X125Gr 1P</c:v>
                </c:pt>
                <c:pt idx="40">
                  <c:v>Babybel Mini Rolls St Paulin Ferme Sachet 1X85Gr 5P</c:v>
                </c:pt>
                <c:pt idx="41">
                  <c:v>Kiri Bio Fromage Blanc Frais Carre 1X144Gr 8P</c:v>
                </c:pt>
                <c:pt idx="42">
                  <c:v>Boursin Classique Fromage Frais A Tartiner Ciboulette &amp; Echalote 1X160Gr 10P</c:v>
                </c:pt>
                <c:pt idx="43">
                  <c:v>Boursin Aperitif Roules Fromage Frais Roule Basilic &amp; Jambon Fume Tomate Boite 1X100Gr 20P</c:v>
                </c:pt>
                <c:pt idx="44">
                  <c:v>Boursin Salade &amp; Aperitif Fromage Frais Des Ciboulette Echalote 1X120Gr 1P</c:v>
                </c:pt>
                <c:pt idx="45">
                  <c:v>Boursin Classique Fromage Frais A Tartiner Afh 1X256Gr 16P</c:v>
                </c:pt>
                <c:pt idx="46">
                  <c:v>Cousteron St Paulin 1X320Gr 1P</c:v>
                </c:pt>
                <c:pt idx="47">
                  <c:v>La Vache Qui Rit Aro Fromage Fondu Boite Ronde Jambon 1X133Gr 8P</c:v>
                </c:pt>
                <c:pt idx="48">
                  <c:v>Apericube Hot Chalenge Aperitif 250G</c:v>
                </c:pt>
                <c:pt idx="49">
                  <c:v>Mini Babybel Aros Soft Cheese Enfant 110G</c:v>
                </c:pt>
                <c:pt idx="50">
                  <c:v>Boursin Salade &amp; Aperitif Fromage Frais Des Figue Noix 1X120Gr 1P</c:v>
                </c:pt>
                <c:pt idx="51">
                  <c:v>Boursin Salade &amp; Aperitif Fromage Frais Des Citron Romarin 1X120Gr 1P</c:v>
                </c:pt>
                <c:pt idx="52">
                  <c:v>Nurishh Les Tranches Vegetales Cheddar Vegetal Tranche Boite 1X160Gr 8P</c:v>
                </c:pt>
                <c:pt idx="53">
                  <c:v>Nurishh Le Rape Vegetal Specialite Vegetale Sachet 1X150Gr 1P</c:v>
                </c:pt>
                <c:pt idx="54">
                  <c:v>Kiri Chevre Fromage Blanc Frais Carre 1X144Gr 8P</c:v>
                </c:pt>
                <c:pt idx="55">
                  <c:v>Boursin Salade &amp; Aperitif Soft Cheese Salade 120G</c:v>
                </c:pt>
                <c:pt idx="56">
                  <c:v>Apericube Fromages Du Monde Aperitif 250G</c:v>
                </c:pt>
                <c:pt idx="57">
                  <c:v>Nurishh Le Rape Vegetal Specialite Vegetale Emmental Sachet 1X150Gr 1P</c:v>
                </c:pt>
                <c:pt idx="58">
                  <c:v>Apericube Montagne Aperitif 250G</c:v>
                </c:pt>
                <c:pt idx="59">
                  <c:v>Nurishh Des Vegetaux Feta Vegetale Sachet 1X150Gr 1P</c:v>
                </c:pt>
                <c:pt idx="60">
                  <c:v>Boursin Aperitif Roules Aperitif 100G</c:v>
                </c:pt>
                <c:pt idx="61">
                  <c:v>Mini Babybel Rouge Filet St Paulin Ferme Sachet 1X40Gr 1P</c:v>
                </c:pt>
                <c:pt idx="62">
                  <c:v>Nurishh Le Coeur Fleuri Vegetal Camembert Boite 1X140Gr 1P</c:v>
                </c:pt>
                <c:pt idx="63">
                  <c:v>Nurishh Le Palet Vegetal Specialite Vegetale Ovale Saveur Chevre Boite 1X140Gr 1P</c:v>
                </c:pt>
                <c:pt idx="64">
                  <c:v>Apericube Saveurs De L'Authentique Fromage Fondu Cube Assortis 1X250Gr 48P</c:v>
                </c:pt>
                <c:pt idx="65">
                  <c:v>Mini Babybel Aros St Paulin Ferme Raclette Filet 1X132Gr 6P</c:v>
                </c:pt>
                <c:pt idx="66">
                  <c:v>Boursin Aperitif Roules Fromage Frais Roule Jambon Fume &amp; Trio De Noix Boite 1X100Gr 20P</c:v>
                </c:pt>
                <c:pt idx="67">
                  <c:v>Kiri Delicieusement Fouette Fromage Frais A Tartiner 1X160Gr 10P</c:v>
                </c:pt>
                <c:pt idx="68">
                  <c:v>Apericube Long Drink Fromage Fondu Cube Assortis 1X125Gr 24P</c:v>
                </c:pt>
                <c:pt idx="69">
                  <c:v>Mini Babybel Aros St Paulin Ferme Assortis Filet 1X180Gr 9P</c:v>
                </c:pt>
                <c:pt idx="70">
                  <c:v>Boursin Classique Fromage Frais A Tartiner Afh Boite 1X80Gr 1P</c:v>
                </c:pt>
              </c:strCache>
            </c:strRef>
          </c:cat>
          <c:val>
            <c:numRef>
              <c:f>Sheet1!$C$2:$C$72</c:f>
              <c:numCache>
                <c:formatCode>General</c:formatCode>
                <c:ptCount val="71"/>
                <c:pt idx="0">
                  <c:v>9.903173097782722E-2</c:v>
                </c:pt>
                <c:pt idx="1">
                  <c:v>0.17780805270266123</c:v>
                </c:pt>
                <c:pt idx="2">
                  <c:v>0.24869962337408641</c:v>
                </c:pt>
                <c:pt idx="3">
                  <c:v>0.29511843827272333</c:v>
                </c:pt>
                <c:pt idx="4">
                  <c:v>0.34140196069500522</c:v>
                </c:pt>
                <c:pt idx="5">
                  <c:v>0.38265469480075398</c:v>
                </c:pt>
                <c:pt idx="6">
                  <c:v>0.41632598941479759</c:v>
                </c:pt>
                <c:pt idx="7">
                  <c:v>0.44961097508762798</c:v>
                </c:pt>
                <c:pt idx="8">
                  <c:v>0.48189088273786085</c:v>
                </c:pt>
                <c:pt idx="9">
                  <c:v>0.51342651307428022</c:v>
                </c:pt>
                <c:pt idx="10">
                  <c:v>0.54413520610509825</c:v>
                </c:pt>
                <c:pt idx="11">
                  <c:v>0.57111745175102535</c:v>
                </c:pt>
                <c:pt idx="12">
                  <c:v>0.59472244630390059</c:v>
                </c:pt>
                <c:pt idx="13">
                  <c:v>0.6182093551542216</c:v>
                </c:pt>
                <c:pt idx="14">
                  <c:v>0.64166387478327058</c:v>
                </c:pt>
                <c:pt idx="15">
                  <c:v>0.66329312683855224</c:v>
                </c:pt>
                <c:pt idx="16">
                  <c:v>0.68438559502879437</c:v>
                </c:pt>
                <c:pt idx="17">
                  <c:v>0.70481948238650527</c:v>
                </c:pt>
                <c:pt idx="18">
                  <c:v>0.72305528873809899</c:v>
                </c:pt>
                <c:pt idx="19">
                  <c:v>0.7404786654561194</c:v>
                </c:pt>
                <c:pt idx="20">
                  <c:v>0.75784839752640809</c:v>
                </c:pt>
                <c:pt idx="21">
                  <c:v>0.77454672803074542</c:v>
                </c:pt>
                <c:pt idx="22">
                  <c:v>0.79031319364806885</c:v>
                </c:pt>
                <c:pt idx="23">
                  <c:v>0.80554152584946637</c:v>
                </c:pt>
                <c:pt idx="24">
                  <c:v>0.82005763257060094</c:v>
                </c:pt>
                <c:pt idx="25">
                  <c:v>0.83239792587524286</c:v>
                </c:pt>
                <c:pt idx="26">
                  <c:v>0.84386371020554007</c:v>
                </c:pt>
                <c:pt idx="27">
                  <c:v>0.85508792492718344</c:v>
                </c:pt>
                <c:pt idx="28">
                  <c:v>0.86603210783991236</c:v>
                </c:pt>
                <c:pt idx="29">
                  <c:v>0.8764013820750628</c:v>
                </c:pt>
                <c:pt idx="30">
                  <c:v>0.88575781837001932</c:v>
                </c:pt>
                <c:pt idx="31">
                  <c:v>0.89480385796111894</c:v>
                </c:pt>
                <c:pt idx="32">
                  <c:v>0.90337148176301296</c:v>
                </c:pt>
                <c:pt idx="33">
                  <c:v>0.91164355392079977</c:v>
                </c:pt>
                <c:pt idx="34">
                  <c:v>0.91936264760291098</c:v>
                </c:pt>
                <c:pt idx="35">
                  <c:v>0.92671938687204147</c:v>
                </c:pt>
                <c:pt idx="36">
                  <c:v>0.93289796821740201</c:v>
                </c:pt>
                <c:pt idx="37">
                  <c:v>0.93885319889107421</c:v>
                </c:pt>
                <c:pt idx="38">
                  <c:v>0.9444028895234029</c:v>
                </c:pt>
                <c:pt idx="39">
                  <c:v>0.94992154048534594</c:v>
                </c:pt>
                <c:pt idx="40">
                  <c:v>0.95510212895026214</c:v>
                </c:pt>
                <c:pt idx="41">
                  <c:v>0.95982690660331893</c:v>
                </c:pt>
                <c:pt idx="42">
                  <c:v>0.96379930963724425</c:v>
                </c:pt>
                <c:pt idx="43">
                  <c:v>0.96773055136913644</c:v>
                </c:pt>
                <c:pt idx="44">
                  <c:v>0.97148061589453816</c:v>
                </c:pt>
                <c:pt idx="45">
                  <c:v>0.97477790609757475</c:v>
                </c:pt>
                <c:pt idx="46">
                  <c:v>0.97785420734297401</c:v>
                </c:pt>
                <c:pt idx="47">
                  <c:v>0.98040755761991871</c:v>
                </c:pt>
                <c:pt idx="48">
                  <c:v>0.98289612945431937</c:v>
                </c:pt>
                <c:pt idx="49">
                  <c:v>0.98519643894007636</c:v>
                </c:pt>
                <c:pt idx="50">
                  <c:v>0.98692420146230597</c:v>
                </c:pt>
                <c:pt idx="51">
                  <c:v>0.98847584759386897</c:v>
                </c:pt>
                <c:pt idx="52">
                  <c:v>0.98972721865322255</c:v>
                </c:pt>
                <c:pt idx="53">
                  <c:v>0.99089559233306657</c:v>
                </c:pt>
                <c:pt idx="54">
                  <c:v>0.99197185916491826</c:v>
                </c:pt>
                <c:pt idx="55">
                  <c:v>0.99299110747182229</c:v>
                </c:pt>
                <c:pt idx="56">
                  <c:v>0.99397256835390901</c:v>
                </c:pt>
                <c:pt idx="57">
                  <c:v>0.99488992556889488</c:v>
                </c:pt>
                <c:pt idx="58">
                  <c:v>0.99578636474514248</c:v>
                </c:pt>
                <c:pt idx="59">
                  <c:v>0.99666424759670302</c:v>
                </c:pt>
                <c:pt idx="60">
                  <c:v>0.99748038849521381</c:v>
                </c:pt>
                <c:pt idx="61">
                  <c:v>0.99825266898991871</c:v>
                </c:pt>
                <c:pt idx="62">
                  <c:v>0.99883398803420731</c:v>
                </c:pt>
                <c:pt idx="63">
                  <c:v>0.99940720977317787</c:v>
                </c:pt>
                <c:pt idx="64">
                  <c:v>0.99963966991334896</c:v>
                </c:pt>
                <c:pt idx="65">
                  <c:v>0.99987617870617895</c:v>
                </c:pt>
                <c:pt idx="66">
                  <c:v>0.99991666523276901</c:v>
                </c:pt>
                <c:pt idx="67">
                  <c:v>0.99995175355581367</c:v>
                </c:pt>
                <c:pt idx="68">
                  <c:v>0.99997638285948931</c:v>
                </c:pt>
                <c:pt idx="69">
                  <c:v>0.99999426440873329</c:v>
                </c:pt>
                <c:pt idx="7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2</c:f>
              <c:strCache>
                <c:ptCount val="71"/>
                <c:pt idx="0">
                  <c:v>Mini Babybel Rouge Filet St Paulin Ferme 1X264Gr 12P</c:v>
                </c:pt>
                <c:pt idx="1">
                  <c:v>Mini Babybel Rouge Filet St Paulin Ferme 1X132Gr 6P</c:v>
                </c:pt>
                <c:pt idx="2">
                  <c:v>La Vache Qui Rit Nature Fromage Fondu Boite Ronde 1X192Gr 12P</c:v>
                </c:pt>
                <c:pt idx="3">
                  <c:v>Kiri Creme Fromage Blanc Frais Carre 1X216Gr 12P</c:v>
                </c:pt>
                <c:pt idx="4">
                  <c:v>La Vache Qui Rit Nature Fromage Fondu Boite Ronde 1X512Gr 32P</c:v>
                </c:pt>
                <c:pt idx="5">
                  <c:v>La Vache Qui Rit Nature Fromage Fondu Boite Ronde 1X384Gr 24P</c:v>
                </c:pt>
                <c:pt idx="6">
                  <c:v>Kiri Creme Fromage Blanc Frais Carre 1X144Gr 8P</c:v>
                </c:pt>
                <c:pt idx="7">
                  <c:v>Apericube Edition Limitee Best Of Foot Fromage Fondu Cube Assortis 1X250Gr 48P</c:v>
                </c:pt>
                <c:pt idx="8">
                  <c:v>Kiri Gouter Fromage Blanc Dips Boite 1X175Gr 5P</c:v>
                </c:pt>
                <c:pt idx="9">
                  <c:v>Boursin Classique Fromage Frais A Tartiner Afh 1X160Gr 10P</c:v>
                </c:pt>
                <c:pt idx="10">
                  <c:v>Boursin Classique Fromage Frais A Tartiner Afh Boite 1X150Gr 1P</c:v>
                </c:pt>
                <c:pt idx="11">
                  <c:v>Apericube Cocktail Fromage Fondu Cube Assortis 1X250Gr 48P</c:v>
                </c:pt>
                <c:pt idx="12">
                  <c:v>Boursin Aperitif Roules Fromage Frais Roule Afh Et Jambon Fume Boite 1X100Gr 20P</c:v>
                </c:pt>
                <c:pt idx="13">
                  <c:v>Kiri Gouter Fromage Blanc Dips Boite 1X280Gr 8P</c:v>
                </c:pt>
                <c:pt idx="14">
                  <c:v>Babybel St Paulin 1X200Gr 1P</c:v>
                </c:pt>
                <c:pt idx="15">
                  <c:v>Boursin Classique Fromage Frais A Tartiner Afh Boite 1X250Gr 1P</c:v>
                </c:pt>
                <c:pt idx="16">
                  <c:v>Port Salut St Paulin 1X320Gr 1P</c:v>
                </c:pt>
                <c:pt idx="17">
                  <c:v>Kiri Creme Fromage Blanc Frais Carre 1X432Gr 24P</c:v>
                </c:pt>
                <c:pt idx="18">
                  <c:v>Boursin Onctueux Fromage Frais A Tartiner Afh 1X125Gr 1P</c:v>
                </c:pt>
                <c:pt idx="19">
                  <c:v>Apericube Long Drink Fromage Fondu Cube Assortis 1X250Gr 48P</c:v>
                </c:pt>
                <c:pt idx="20">
                  <c:v>Boursin Salade &amp; Aperitif Fromage Frais Des Afh 1X120Gr 1P</c:v>
                </c:pt>
                <c:pt idx="21">
                  <c:v>Apericube Tonic Fromage Fondu Cube Assortis 1X250Gr 48P</c:v>
                </c:pt>
                <c:pt idx="22">
                  <c:v>Apericube Campagne Fromage Fondu Cube Assortis 1X125Gr 24P</c:v>
                </c:pt>
                <c:pt idx="23">
                  <c:v>La Vache Qui Rit Pik Et Croq' Fromage Fondu Dips Boite 1X175Gr 5P</c:v>
                </c:pt>
                <c:pt idx="24">
                  <c:v>Boursin Classique Fromage Frais A Tartiner Figue Et 3 Noix Boite 1X150Gr 1P</c:v>
                </c:pt>
                <c:pt idx="25">
                  <c:v>Apericube Nature Fromage Fondu Cube 1X125Gr 24P</c:v>
                </c:pt>
                <c:pt idx="26">
                  <c:v>Apericube Edition Voyage Fromage Fondu Cube Assortis 1X250Gr 48P</c:v>
                </c:pt>
                <c:pt idx="27">
                  <c:v>Boursin Classique Fromage Frais A Tartiner Ciboulette &amp; Echalote Boite 1X150Gr 1P</c:v>
                </c:pt>
                <c:pt idx="28">
                  <c:v>Boursin Classique Fromage Frais A Tartiner Afh Boite 1X96Gr 6P</c:v>
                </c:pt>
                <c:pt idx="29">
                  <c:v>Kiri Creme Fromage Blanc Frais Carre 1X432Gr 18+6P</c:v>
                </c:pt>
                <c:pt idx="30">
                  <c:v>Boursin Cuisine Sauce Fromage Afh 1X240Gr 1P</c:v>
                </c:pt>
                <c:pt idx="31">
                  <c:v>Boursin Aperitif Roules Fromage Frais Roule Ciboulette &amp; Echalote Jambon Fume Boite 1X100Gr 20P</c:v>
                </c:pt>
                <c:pt idx="32">
                  <c:v>Apericube Incontournable Fromage Fondu Cube Assortis 1X250Gr 48P</c:v>
                </c:pt>
                <c:pt idx="33">
                  <c:v>Apericube Edition Limitee Saison Fromage Fondu Cube Assortis 1X250Gr 48P</c:v>
                </c:pt>
                <c:pt idx="34">
                  <c:v>La Vache Qui Rit Allegee Fromage Fondu Boite Ronde Allege 1X267Gr 16P</c:v>
                </c:pt>
                <c:pt idx="35">
                  <c:v>Boursin Classique Fromage Frais A Tartiner Poivre Boite 1X150Gr 1P</c:v>
                </c:pt>
                <c:pt idx="36">
                  <c:v>Apericube Soiree Match Aperitif 250G</c:v>
                </c:pt>
                <c:pt idx="37">
                  <c:v>Mini Babybel Aros Soft Cheese Enfant 180G</c:v>
                </c:pt>
                <c:pt idx="38">
                  <c:v>La Vache Qui Rit Pik Et Croq' Fromage Fondu Dips Boite 1X280Gr 8P</c:v>
                </c:pt>
                <c:pt idx="39">
                  <c:v>Kiri Delicieusement Fouette Fromage Frais A Tartiner 1X125Gr 1P</c:v>
                </c:pt>
                <c:pt idx="40">
                  <c:v>Babybel Mini Rolls St Paulin Ferme Sachet 1X85Gr 5P</c:v>
                </c:pt>
                <c:pt idx="41">
                  <c:v>Kiri Bio Fromage Blanc Frais Carre 1X144Gr 8P</c:v>
                </c:pt>
                <c:pt idx="42">
                  <c:v>Boursin Classique Fromage Frais A Tartiner Ciboulette &amp; Echalote 1X160Gr 10P</c:v>
                </c:pt>
                <c:pt idx="43">
                  <c:v>Boursin Aperitif Roules Fromage Frais Roule Basilic &amp; Jambon Fume Tomate Boite 1X100Gr 20P</c:v>
                </c:pt>
                <c:pt idx="44">
                  <c:v>Boursin Salade &amp; Aperitif Fromage Frais Des Ciboulette Echalote 1X120Gr 1P</c:v>
                </c:pt>
                <c:pt idx="45">
                  <c:v>Boursin Classique Fromage Frais A Tartiner Afh 1X256Gr 16P</c:v>
                </c:pt>
                <c:pt idx="46">
                  <c:v>Cousteron St Paulin 1X320Gr 1P</c:v>
                </c:pt>
                <c:pt idx="47">
                  <c:v>La Vache Qui Rit Aro Fromage Fondu Boite Ronde Jambon 1X133Gr 8P</c:v>
                </c:pt>
                <c:pt idx="48">
                  <c:v>Apericube Hot Chalenge Aperitif 250G</c:v>
                </c:pt>
                <c:pt idx="49">
                  <c:v>Mini Babybel Aros Soft Cheese Enfant 110G</c:v>
                </c:pt>
                <c:pt idx="50">
                  <c:v>Boursin Salade &amp; Aperitif Fromage Frais Des Figue Noix 1X120Gr 1P</c:v>
                </c:pt>
                <c:pt idx="51">
                  <c:v>Boursin Salade &amp; Aperitif Fromage Frais Des Citron Romarin 1X120Gr 1P</c:v>
                </c:pt>
                <c:pt idx="52">
                  <c:v>Nurishh Les Tranches Vegetales Cheddar Vegetal Tranche Boite 1X160Gr 8P</c:v>
                </c:pt>
                <c:pt idx="53">
                  <c:v>Nurishh Le Rape Vegetal Specialite Vegetale Sachet 1X150Gr 1P</c:v>
                </c:pt>
                <c:pt idx="54">
                  <c:v>Kiri Chevre Fromage Blanc Frais Carre 1X144Gr 8P</c:v>
                </c:pt>
                <c:pt idx="55">
                  <c:v>Boursin Salade &amp; Aperitif Soft Cheese Salade 120G</c:v>
                </c:pt>
                <c:pt idx="56">
                  <c:v>Apericube Fromages Du Monde Aperitif 250G</c:v>
                </c:pt>
                <c:pt idx="57">
                  <c:v>Nurishh Le Rape Vegetal Specialite Vegetale Emmental Sachet 1X150Gr 1P</c:v>
                </c:pt>
                <c:pt idx="58">
                  <c:v>Apericube Montagne Aperitif 250G</c:v>
                </c:pt>
                <c:pt idx="59">
                  <c:v>Nurishh Des Vegetaux Feta Vegetale Sachet 1X150Gr 1P</c:v>
                </c:pt>
                <c:pt idx="60">
                  <c:v>Boursin Aperitif Roules Aperitif 100G</c:v>
                </c:pt>
                <c:pt idx="61">
                  <c:v>Mini Babybel Rouge Filet St Paulin Ferme Sachet 1X40Gr 1P</c:v>
                </c:pt>
                <c:pt idx="62">
                  <c:v>Nurishh Le Coeur Fleuri Vegetal Camembert Boite 1X140Gr 1P</c:v>
                </c:pt>
                <c:pt idx="63">
                  <c:v>Nurishh Le Palet Vegetal Specialite Vegetale Ovale Saveur Chevre Boite 1X140Gr 1P</c:v>
                </c:pt>
                <c:pt idx="64">
                  <c:v>Apericube Saveurs De L'Authentique Fromage Fondu Cube Assortis 1X250Gr 48P</c:v>
                </c:pt>
                <c:pt idx="65">
                  <c:v>Mini Babybel Aros St Paulin Ferme Raclette Filet 1X132Gr 6P</c:v>
                </c:pt>
                <c:pt idx="66">
                  <c:v>Boursin Aperitif Roules Fromage Frais Roule Jambon Fume &amp; Trio De Noix Boite 1X100Gr 20P</c:v>
                </c:pt>
                <c:pt idx="67">
                  <c:v>Kiri Delicieusement Fouette Fromage Frais A Tartiner 1X160Gr 10P</c:v>
                </c:pt>
                <c:pt idx="68">
                  <c:v>Apericube Long Drink Fromage Fondu Cube Assortis 1X125Gr 24P</c:v>
                </c:pt>
                <c:pt idx="69">
                  <c:v>Mini Babybel Aros St Paulin Ferme Assortis Filet 1X180Gr 9P</c:v>
                </c:pt>
                <c:pt idx="70">
                  <c:v>Boursin Classique Fromage Frais A Tartiner Afh Boite 1X80Gr 1P</c:v>
                </c:pt>
              </c:strCache>
            </c:strRef>
          </c:cat>
          <c:val>
            <c:numRef>
              <c:f>Sheet1!$D$2:$D$72</c:f>
              <c:numCache>
                <c:formatCode>General</c:formatCode>
                <c:ptCount val="71"/>
                <c:pt idx="0">
                  <c:v>3335.5113636363635</c:v>
                </c:pt>
                <c:pt idx="1">
                  <c:v>2382.5408163265306</c:v>
                </c:pt>
                <c:pt idx="2">
                  <c:v>2144.0714285714284</c:v>
                </c:pt>
                <c:pt idx="3">
                  <c:v>1618.6235294117646</c:v>
                </c:pt>
                <c:pt idx="4">
                  <c:v>2110.4923076923078</c:v>
                </c:pt>
                <c:pt idx="5">
                  <c:v>1798.1029411764705</c:v>
                </c:pt>
                <c:pt idx="6">
                  <c:v>1084.7826086956522</c:v>
                </c:pt>
                <c:pt idx="7">
                  <c:v>1315.4</c:v>
                </c:pt>
                <c:pt idx="8">
                  <c:v>1075.0112359550562</c:v>
                </c:pt>
                <c:pt idx="9">
                  <c:v>1038.5555555555557</c:v>
                </c:pt>
                <c:pt idx="10">
                  <c:v>948.11458333333337</c:v>
                </c:pt>
                <c:pt idx="11">
                  <c:v>1176.0882352941176</c:v>
                </c:pt>
                <c:pt idx="12">
                  <c:v>920.57894736842104</c:v>
                </c:pt>
                <c:pt idx="13">
                  <c:v>1039.0149253731342</c:v>
                </c:pt>
                <c:pt idx="14">
                  <c:v>747.50537634408602</c:v>
                </c:pt>
                <c:pt idx="15">
                  <c:v>854.77333333333331</c:v>
                </c:pt>
                <c:pt idx="16">
                  <c:v>801.5</c:v>
                </c:pt>
                <c:pt idx="17">
                  <c:v>1288.6170212765958</c:v>
                </c:pt>
                <c:pt idx="18">
                  <c:v>667.28395061728395</c:v>
                </c:pt>
                <c:pt idx="19">
                  <c:v>956.33333333333337</c:v>
                </c:pt>
                <c:pt idx="20">
                  <c:v>612.89285714285711</c:v>
                </c:pt>
                <c:pt idx="21">
                  <c:v>899.87272727272716</c:v>
                </c:pt>
                <c:pt idx="22">
                  <c:v>667.58571428571429</c:v>
                </c:pt>
                <c:pt idx="23">
                  <c:v>586.18181818181813</c:v>
                </c:pt>
                <c:pt idx="24">
                  <c:v>531.17283950617286</c:v>
                </c:pt>
                <c:pt idx="25">
                  <c:v>530.08695652173913</c:v>
                </c:pt>
                <c:pt idx="26">
                  <c:v>772.36363636363637</c:v>
                </c:pt>
                <c:pt idx="27">
                  <c:v>415.85</c:v>
                </c:pt>
                <c:pt idx="28">
                  <c:v>491.4848484848485</c:v>
                </c:pt>
                <c:pt idx="29">
                  <c:v>520.91525423728808</c:v>
                </c:pt>
                <c:pt idx="30">
                  <c:v>413.91044776119401</c:v>
                </c:pt>
                <c:pt idx="31">
                  <c:v>536.24</c:v>
                </c:pt>
                <c:pt idx="32">
                  <c:v>769.5151515151515</c:v>
                </c:pt>
                <c:pt idx="33">
                  <c:v>645.21052631578948</c:v>
                </c:pt>
                <c:pt idx="34">
                  <c:v>544.73809523809518</c:v>
                </c:pt>
                <c:pt idx="35">
                  <c:v>369.57627118644069</c:v>
                </c:pt>
                <c:pt idx="36">
                  <c:v>554.93939393939399</c:v>
                </c:pt>
                <c:pt idx="37">
                  <c:v>588.36666666666667</c:v>
                </c:pt>
                <c:pt idx="38">
                  <c:v>514.03125</c:v>
                </c:pt>
                <c:pt idx="39">
                  <c:v>371.75</c:v>
                </c:pt>
                <c:pt idx="40">
                  <c:v>415</c:v>
                </c:pt>
                <c:pt idx="41">
                  <c:v>466.8</c:v>
                </c:pt>
                <c:pt idx="42">
                  <c:v>255.95652173913044</c:v>
                </c:pt>
                <c:pt idx="43">
                  <c:v>364.125</c:v>
                </c:pt>
                <c:pt idx="44">
                  <c:v>258.48837209302326</c:v>
                </c:pt>
                <c:pt idx="45">
                  <c:v>296.15151515151513</c:v>
                </c:pt>
                <c:pt idx="46">
                  <c:v>123.21621621621621</c:v>
                </c:pt>
                <c:pt idx="47">
                  <c:v>302.72000000000003</c:v>
                </c:pt>
                <c:pt idx="48">
                  <c:v>461</c:v>
                </c:pt>
                <c:pt idx="49">
                  <c:v>358.84210526315792</c:v>
                </c:pt>
                <c:pt idx="50">
                  <c:v>284.5</c:v>
                </c:pt>
                <c:pt idx="51">
                  <c:v>164.24999999999997</c:v>
                </c:pt>
                <c:pt idx="52">
                  <c:v>264.92857142857139</c:v>
                </c:pt>
                <c:pt idx="53">
                  <c:v>230.86666666666667</c:v>
                </c:pt>
                <c:pt idx="54">
                  <c:v>319</c:v>
                </c:pt>
                <c:pt idx="55">
                  <c:v>215.78571428571425</c:v>
                </c:pt>
                <c:pt idx="56">
                  <c:v>323.22222222222223</c:v>
                </c:pt>
                <c:pt idx="57">
                  <c:v>209.15384615384616</c:v>
                </c:pt>
                <c:pt idx="58">
                  <c:v>379.5714285714285</c:v>
                </c:pt>
                <c:pt idx="59">
                  <c:v>236.54545454545453</c:v>
                </c:pt>
                <c:pt idx="60">
                  <c:v>142.29411764705881</c:v>
                </c:pt>
                <c:pt idx="61">
                  <c:v>176.07692307692307</c:v>
                </c:pt>
                <c:pt idx="62">
                  <c:v>246.14285714285711</c:v>
                </c:pt>
                <c:pt idx="63">
                  <c:v>242.71428571428569</c:v>
                </c:pt>
                <c:pt idx="64">
                  <c:v>114.83333333333333</c:v>
                </c:pt>
                <c:pt idx="65">
                  <c:v>15.75</c:v>
                </c:pt>
                <c:pt idx="66">
                  <c:v>24</c:v>
                </c:pt>
                <c:pt idx="67">
                  <c:v>20.8</c:v>
                </c:pt>
                <c:pt idx="68">
                  <c:v>24.333333333333332</c:v>
                </c:pt>
                <c:pt idx="69">
                  <c:v>53</c:v>
                </c:pt>
                <c:pt idx="70">
                  <c:v>1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8</c:f>
              <c:strCache>
                <c:ptCount val="57"/>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Mini Babybel Rouge Filet Soft Cheese Enfant 352G</c:v>
                </c:pt>
                <c:pt idx="9">
                  <c:v>Mini Babybel Rouge Filet Soft Cheese Enfant 484G</c:v>
                </c:pt>
                <c:pt idx="10">
                  <c:v>Boursin Classique Fromage Frais A Tartiner Afh Boite 1X150Gr 1P</c:v>
                </c:pt>
                <c:pt idx="11">
                  <c:v>Kiri Creme Fromage Blanc Frais Carre 1X216Gr 12P</c:v>
                </c:pt>
                <c:pt idx="12">
                  <c:v>Boursin Classique Fromage Frais A Tartiner Afh 1X160Gr 10P</c:v>
                </c:pt>
                <c:pt idx="13">
                  <c:v>Boursin Salade &amp; Aperitif Fromage Frais Des Afh 1X120Gr 1P</c:v>
                </c:pt>
                <c:pt idx="14">
                  <c:v>La Vache Qui Rit Nature Fromage Fondu Boite Ronde 1X512Gr 24+8P</c:v>
                </c:pt>
                <c:pt idx="15">
                  <c:v>La Vache Qui Rit Pik Et Croq' Fromage Fondu Dips Boite 1X175Gr 5P</c:v>
                </c:pt>
                <c:pt idx="16">
                  <c:v>Boursin Classique Fromage Frais A Tartiner Afh Boite 1X250Gr 1P</c:v>
                </c:pt>
                <c:pt idx="17">
                  <c:v>Kiri Gouter Fromage Blanc Dips Boite 1X280Gr 8P</c:v>
                </c:pt>
                <c:pt idx="18">
                  <c:v>Kiri Creme Fromage Blanc Frais Carre 1X432Gr 18+6P</c:v>
                </c:pt>
                <c:pt idx="19">
                  <c:v>La Vache Qui Rit Nature Fromage Fondu Boite Ronde 1X128Gr 8P</c:v>
                </c:pt>
                <c:pt idx="20">
                  <c:v>Boursin Classique Fromage Frais A Tartiner Afh Boite 1X96Gr 6P</c:v>
                </c:pt>
                <c:pt idx="21">
                  <c:v>Mini Babybel Aros Soft Cheese Enfant 180G</c:v>
                </c:pt>
                <c:pt idx="22">
                  <c:v>Mini Babybel Rouge Filet St Paulin Ferme 1X396Gr 12+6P</c:v>
                </c:pt>
                <c:pt idx="23">
                  <c:v>Boursin Salade &amp; Aperitif Fromage Frais Des Figue Noix 1X120Gr 1P</c:v>
                </c:pt>
                <c:pt idx="24">
                  <c:v>Boursin Onctueux Fromage Frais A Tartiner Afh 1X125Gr 1P</c:v>
                </c:pt>
                <c:pt idx="25">
                  <c:v>Boursin Salade &amp; Aperitif Fromage Frais Des Ciboulette Echalote 1X120Gr 1P</c:v>
                </c:pt>
                <c:pt idx="26">
                  <c:v>Boursin Classique Fromage Frais A Tartiner Ciboulette &amp; Echalote Boite 1X150Gr 1P</c:v>
                </c:pt>
                <c:pt idx="27">
                  <c:v>Kiri Delicieusement Fouette Fromage Frais A Tartiner 1X125Gr 1P</c:v>
                </c:pt>
                <c:pt idx="28">
                  <c:v>Mini Babybel Aros Soft Cheese Enfant 110G</c:v>
                </c:pt>
                <c:pt idx="29">
                  <c:v>Boursin Classique Fromage Frais A Tartiner Figue Et 3 Noix Boite 1X150Gr 1P</c:v>
                </c:pt>
                <c:pt idx="30">
                  <c:v>Kiri Delicieusement Fouette Fromage Frais A Tartiner 1X210Gr 1P</c:v>
                </c:pt>
                <c:pt idx="31">
                  <c:v>Babybel Mini Rolls St Paulin Ferme Sachet 1X85Gr 5P</c:v>
                </c:pt>
                <c:pt idx="32">
                  <c:v>La Vache Qui Rit Pik Et Croq' Fromage Fondu Dips Boite 1X280Gr 8P</c:v>
                </c:pt>
                <c:pt idx="33">
                  <c:v>Boursin Salade &amp; Aperitif Soft Cheese Salade 120G</c:v>
                </c:pt>
                <c:pt idx="34">
                  <c:v>Boursin Salade &amp; Aperitif Fromage Frais Des Citron Romarin 1X120Gr 1P</c:v>
                </c:pt>
                <c:pt idx="35">
                  <c:v>La Vache Qui Rit Allegee Fromage Fondu Boite Ronde Allege 1X267Gr 16P</c:v>
                </c:pt>
                <c:pt idx="36">
                  <c:v>Kiri Bio Fromage Blanc Frais Carre 1X144Gr 8P</c:v>
                </c:pt>
                <c:pt idx="37">
                  <c:v>Boursin Classique Fromage Frais A Tartiner Poivre Boite 1X150Gr 1P</c:v>
                </c:pt>
                <c:pt idx="38">
                  <c:v>Boursin Classique Fromage Frais A Tartiner Afh 1X256Gr 16P</c:v>
                </c:pt>
                <c:pt idx="39">
                  <c:v>Boursin Classique Fromage Frais A Tartiner Afh Boite 1X320Gr 16+4P</c:v>
                </c:pt>
                <c:pt idx="40">
                  <c:v>Boursin Classique Fromage Frais A Tartiner Afh Boite 1X80Gr 1P</c:v>
                </c:pt>
                <c:pt idx="41">
                  <c:v>Mini Babybel Aros Soft Cheese Enfant 120G</c:v>
                </c:pt>
                <c:pt idx="42">
                  <c:v>Boursin Classique Fromage Frais A Tartiner 3 Noix Boite 1X150Gr 1P</c:v>
                </c:pt>
                <c:pt idx="43">
                  <c:v>Boursin Onctueux Fromage Frais A Tartiner Afh 1X210Gr 1P</c:v>
                </c:pt>
                <c:pt idx="44">
                  <c:v>Mini Babybel Rouge Filet St Paulin Ferme Sachet 1X40Gr 1P</c:v>
                </c:pt>
                <c:pt idx="45">
                  <c:v>Boursin Classique Fromage Frais A Tartiner 3 Noix 1X160Gr 10P</c:v>
                </c:pt>
                <c:pt idx="46">
                  <c:v>Kiri Delicieusement Fouette Fromage Frais A Tartiner 1X160Gr 10P</c:v>
                </c:pt>
                <c:pt idx="47">
                  <c:v>La Vache Qui Rit Pik Et Croq' Fromage Fondu Dips Boite 1X35Gr 1P</c:v>
                </c:pt>
                <c:pt idx="48">
                  <c:v>La Vache Qui Rit Aro Fromage Fondu Boite Ronde Jambon 1X133Gr 8P</c:v>
                </c:pt>
                <c:pt idx="49">
                  <c:v>La Vache Qui Rit Bio Fromage Fondu Boite Ronde 1X128Gr 8P</c:v>
                </c:pt>
                <c:pt idx="50">
                  <c:v>Kiri Chevre Fromage Blanc Frais Carre 1X144Gr 8P</c:v>
                </c:pt>
                <c:pt idx="51">
                  <c:v>Mini Babybel Aros St Paulin Ferme Raclette Filet 1X132Gr 6P</c:v>
                </c:pt>
                <c:pt idx="52">
                  <c:v>Mini Babybel Rouge Filet St Paulin Ferme 1X110Gr 5P</c:v>
                </c:pt>
                <c:pt idx="53">
                  <c:v>Mini Babybel Aros St Paulin Ferme Assortis Filet 1X180Gr 9P</c:v>
                </c:pt>
                <c:pt idx="54">
                  <c:v>Limiano Queijo Flamengo Autre Sachet 1X450Gr 1P</c:v>
                </c:pt>
                <c:pt idx="55">
                  <c:v>Mini Babybel Aros St Paulin Ferme Emmental Filet 1X120Gr 6P</c:v>
                </c:pt>
                <c:pt idx="56">
                  <c:v>Boursin Salade &amp; Aperitif Fromage Frais Des Noisette Et 3 Noix 1X120Gr 1P</c:v>
                </c:pt>
              </c:strCache>
            </c:strRef>
          </c:cat>
          <c:val>
            <c:numRef>
              <c:f>Sheet1!$B$2:$B$58</c:f>
              <c:numCache>
                <c:formatCode>General</c:formatCode>
                <c:ptCount val="57"/>
                <c:pt idx="0">
                  <c:v>0.98899999999999999</c:v>
                </c:pt>
                <c:pt idx="1">
                  <c:v>0.86199999999999999</c:v>
                </c:pt>
                <c:pt idx="2">
                  <c:v>0.86399999999999999</c:v>
                </c:pt>
                <c:pt idx="3">
                  <c:v>0.80400000000000005</c:v>
                </c:pt>
                <c:pt idx="4">
                  <c:v>0.97799999999999998</c:v>
                </c:pt>
                <c:pt idx="5">
                  <c:v>0.76200000000000001</c:v>
                </c:pt>
                <c:pt idx="6">
                  <c:v>0.98899999999999999</c:v>
                </c:pt>
                <c:pt idx="7">
                  <c:v>0.94699999999999995</c:v>
                </c:pt>
                <c:pt idx="8">
                  <c:v>0.80500000000000005</c:v>
                </c:pt>
                <c:pt idx="9">
                  <c:v>0.438</c:v>
                </c:pt>
                <c:pt idx="10">
                  <c:v>0.96799999999999997</c:v>
                </c:pt>
                <c:pt idx="11">
                  <c:v>0.82399999999999995</c:v>
                </c:pt>
                <c:pt idx="12">
                  <c:v>0.90300000000000002</c:v>
                </c:pt>
                <c:pt idx="13">
                  <c:v>0.96099999999999997</c:v>
                </c:pt>
                <c:pt idx="14">
                  <c:v>0.71699999999999997</c:v>
                </c:pt>
                <c:pt idx="15">
                  <c:v>0.90600000000000003</c:v>
                </c:pt>
                <c:pt idx="16">
                  <c:v>0.80100000000000005</c:v>
                </c:pt>
                <c:pt idx="17">
                  <c:v>0.72</c:v>
                </c:pt>
                <c:pt idx="18">
                  <c:v>0.71199999999999997</c:v>
                </c:pt>
                <c:pt idx="19">
                  <c:v>0.67800000000000005</c:v>
                </c:pt>
                <c:pt idx="20">
                  <c:v>0.80500000000000005</c:v>
                </c:pt>
                <c:pt idx="21">
                  <c:v>0.69299999999999995</c:v>
                </c:pt>
                <c:pt idx="22">
                  <c:v>0.41099999999999998</c:v>
                </c:pt>
                <c:pt idx="23">
                  <c:v>0.79300000000000004</c:v>
                </c:pt>
                <c:pt idx="24">
                  <c:v>0.76300000000000001</c:v>
                </c:pt>
                <c:pt idx="25">
                  <c:v>0.76600000000000001</c:v>
                </c:pt>
                <c:pt idx="26">
                  <c:v>0.78600000000000003</c:v>
                </c:pt>
                <c:pt idx="27">
                  <c:v>0.75</c:v>
                </c:pt>
                <c:pt idx="28">
                  <c:v>0.64100000000000001</c:v>
                </c:pt>
                <c:pt idx="29">
                  <c:v>0.67200000000000004</c:v>
                </c:pt>
                <c:pt idx="30">
                  <c:v>0.61199999999999999</c:v>
                </c:pt>
                <c:pt idx="31">
                  <c:v>0.59599999999999997</c:v>
                </c:pt>
                <c:pt idx="32">
                  <c:v>0.42</c:v>
                </c:pt>
                <c:pt idx="33">
                  <c:v>0.69399999999999995</c:v>
                </c:pt>
                <c:pt idx="34">
                  <c:v>0.69399999999999995</c:v>
                </c:pt>
                <c:pt idx="35">
                  <c:v>0.48199999999999998</c:v>
                </c:pt>
                <c:pt idx="36">
                  <c:v>0.39200000000000002</c:v>
                </c:pt>
                <c:pt idx="37">
                  <c:v>0.39700000000000002</c:v>
                </c:pt>
                <c:pt idx="38">
                  <c:v>0.23899999999999999</c:v>
                </c:pt>
                <c:pt idx="39">
                  <c:v>0.38400000000000001</c:v>
                </c:pt>
                <c:pt idx="40">
                  <c:v>0.36599999999999999</c:v>
                </c:pt>
                <c:pt idx="41">
                  <c:v>0.307</c:v>
                </c:pt>
                <c:pt idx="42">
                  <c:v>0.34</c:v>
                </c:pt>
                <c:pt idx="43">
                  <c:v>0.27400000000000002</c:v>
                </c:pt>
                <c:pt idx="44">
                  <c:v>0.124</c:v>
                </c:pt>
                <c:pt idx="45">
                  <c:v>0.24</c:v>
                </c:pt>
                <c:pt idx="46">
                  <c:v>0.39500000000000002</c:v>
                </c:pt>
                <c:pt idx="47">
                  <c:v>8.0000000000000002E-3</c:v>
                </c:pt>
                <c:pt idx="48">
                  <c:v>2.7E-2</c:v>
                </c:pt>
                <c:pt idx="49">
                  <c:v>0.155</c:v>
                </c:pt>
                <c:pt idx="50">
                  <c:v>7.9000000000000001E-2</c:v>
                </c:pt>
                <c:pt idx="51">
                  <c:v>0.17799999999999999</c:v>
                </c:pt>
                <c:pt idx="52">
                  <c:v>1.7999999999999999E-2</c:v>
                </c:pt>
                <c:pt idx="53">
                  <c:v>3.6999999999999998E-2</c:v>
                </c:pt>
                <c:pt idx="54">
                  <c:v>5.0000000000000001E-3</c:v>
                </c:pt>
                <c:pt idx="55">
                  <c:v>3.2000000000000001E-2</c:v>
                </c:pt>
                <c:pt idx="56">
                  <c:v>1.0999999999999999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4AD3-4B1F-B412-5D2A1818C394}"/>
              </c:ext>
            </c:extLst>
          </c:dPt>
          <c:dPt>
            <c:idx val="45"/>
            <c:invertIfNegative val="1"/>
            <c:bubble3D val="0"/>
            <c:spPr>
              <a:solidFill>
                <a:srgbClr val="AEABAB"/>
              </a:solidFill>
            </c:spPr>
            <c:extLst>
              <c:ext xmlns:c16="http://schemas.microsoft.com/office/drawing/2014/chart" uri="{C3380CC4-5D6E-409C-BE32-E72D297353CC}">
                <c16:uniqueId val="{0000005D-4AD3-4B1F-B412-5D2A1818C394}"/>
              </c:ext>
            </c:extLst>
          </c:dPt>
          <c:dPt>
            <c:idx val="46"/>
            <c:invertIfNegative val="1"/>
            <c:bubble3D val="0"/>
            <c:spPr>
              <a:solidFill>
                <a:srgbClr val="AEABAB"/>
              </a:solidFill>
            </c:spPr>
            <c:extLst>
              <c:ext xmlns:c16="http://schemas.microsoft.com/office/drawing/2014/chart" uri="{C3380CC4-5D6E-409C-BE32-E72D297353CC}">
                <c16:uniqueId val="{0000005F-4AD3-4B1F-B412-5D2A1818C394}"/>
              </c:ext>
            </c:extLst>
          </c:dPt>
          <c:dPt>
            <c:idx val="47"/>
            <c:invertIfNegative val="1"/>
            <c:bubble3D val="0"/>
            <c:spPr>
              <a:solidFill>
                <a:srgbClr val="AEABAB"/>
              </a:solidFill>
            </c:spPr>
            <c:extLst>
              <c:ext xmlns:c16="http://schemas.microsoft.com/office/drawing/2014/chart" uri="{C3380CC4-5D6E-409C-BE32-E72D297353CC}">
                <c16:uniqueId val="{00000061-4AD3-4B1F-B412-5D2A1818C394}"/>
              </c:ext>
            </c:extLst>
          </c:dPt>
          <c:dPt>
            <c:idx val="48"/>
            <c:invertIfNegative val="1"/>
            <c:bubble3D val="0"/>
            <c:spPr>
              <a:solidFill>
                <a:srgbClr val="AEABAB"/>
              </a:solidFill>
            </c:spPr>
            <c:extLst>
              <c:ext xmlns:c16="http://schemas.microsoft.com/office/drawing/2014/chart" uri="{C3380CC4-5D6E-409C-BE32-E72D297353CC}">
                <c16:uniqueId val="{00000063-4AD3-4B1F-B412-5D2A1818C394}"/>
              </c:ext>
            </c:extLst>
          </c:dPt>
          <c:dPt>
            <c:idx val="49"/>
            <c:invertIfNegative val="1"/>
            <c:bubble3D val="0"/>
            <c:spPr>
              <a:solidFill>
                <a:srgbClr val="AEABAB"/>
              </a:solidFill>
            </c:spPr>
            <c:extLst>
              <c:ext xmlns:c16="http://schemas.microsoft.com/office/drawing/2014/chart" uri="{C3380CC4-5D6E-409C-BE32-E72D297353CC}">
                <c16:uniqueId val="{00000065-4AD3-4B1F-B412-5D2A1818C394}"/>
              </c:ext>
            </c:extLst>
          </c:dPt>
          <c:dPt>
            <c:idx val="50"/>
            <c:invertIfNegative val="1"/>
            <c:bubble3D val="0"/>
            <c:spPr>
              <a:solidFill>
                <a:srgbClr val="AEABAB"/>
              </a:solidFill>
            </c:spPr>
            <c:extLst>
              <c:ext xmlns:c16="http://schemas.microsoft.com/office/drawing/2014/chart" uri="{C3380CC4-5D6E-409C-BE32-E72D297353CC}">
                <c16:uniqueId val="{00000067-4AD3-4B1F-B412-5D2A1818C394}"/>
              </c:ext>
            </c:extLst>
          </c:dPt>
          <c:dPt>
            <c:idx val="51"/>
            <c:invertIfNegative val="1"/>
            <c:bubble3D val="0"/>
            <c:spPr>
              <a:solidFill>
                <a:srgbClr val="AEABAB"/>
              </a:solidFill>
            </c:spPr>
            <c:extLst>
              <c:ext xmlns:c16="http://schemas.microsoft.com/office/drawing/2014/chart" uri="{C3380CC4-5D6E-409C-BE32-E72D297353CC}">
                <c16:uniqueId val="{00000069-4AD3-4B1F-B412-5D2A1818C394}"/>
              </c:ext>
            </c:extLst>
          </c:dPt>
          <c:dPt>
            <c:idx val="52"/>
            <c:invertIfNegative val="1"/>
            <c:bubble3D val="0"/>
            <c:spPr>
              <a:solidFill>
                <a:srgbClr val="AEABAB"/>
              </a:solidFill>
            </c:spPr>
            <c:extLst>
              <c:ext xmlns:c16="http://schemas.microsoft.com/office/drawing/2014/chart" uri="{C3380CC4-5D6E-409C-BE32-E72D297353CC}">
                <c16:uniqueId val="{0000006B-4AD3-4B1F-B412-5D2A1818C394}"/>
              </c:ext>
            </c:extLst>
          </c:dPt>
          <c:dPt>
            <c:idx val="53"/>
            <c:invertIfNegative val="1"/>
            <c:bubble3D val="0"/>
            <c:spPr>
              <a:solidFill>
                <a:srgbClr val="AEABAB"/>
              </a:solidFill>
            </c:spPr>
            <c:extLst>
              <c:ext xmlns:c16="http://schemas.microsoft.com/office/drawing/2014/chart" uri="{C3380CC4-5D6E-409C-BE32-E72D297353CC}">
                <c16:uniqueId val="{0000006D-4AD3-4B1F-B412-5D2A1818C394}"/>
              </c:ext>
            </c:extLst>
          </c:dPt>
          <c:dPt>
            <c:idx val="54"/>
            <c:invertIfNegative val="1"/>
            <c:bubble3D val="0"/>
            <c:spPr>
              <a:solidFill>
                <a:srgbClr val="AEABAB"/>
              </a:solidFill>
            </c:spPr>
            <c:extLst>
              <c:ext xmlns:c16="http://schemas.microsoft.com/office/drawing/2014/chart" uri="{C3380CC4-5D6E-409C-BE32-E72D297353CC}">
                <c16:uniqueId val="{0000006F-4AD3-4B1F-B412-5D2A1818C394}"/>
              </c:ext>
            </c:extLst>
          </c:dPt>
          <c:dPt>
            <c:idx val="55"/>
            <c:invertIfNegative val="1"/>
            <c:bubble3D val="0"/>
            <c:spPr>
              <a:solidFill>
                <a:srgbClr val="AEABAB"/>
              </a:solidFill>
            </c:spPr>
            <c:extLst>
              <c:ext xmlns:c16="http://schemas.microsoft.com/office/drawing/2014/chart" uri="{C3380CC4-5D6E-409C-BE32-E72D297353CC}">
                <c16:uniqueId val="{00000071-4AD3-4B1F-B412-5D2A1818C394}"/>
              </c:ext>
            </c:extLst>
          </c:dPt>
          <c:dPt>
            <c:idx val="56"/>
            <c:invertIfNegative val="1"/>
            <c:bubble3D val="0"/>
            <c:spPr>
              <a:solidFill>
                <a:srgbClr val="AEABAB"/>
              </a:solidFill>
            </c:spPr>
            <c:extLst>
              <c:ext xmlns:c16="http://schemas.microsoft.com/office/drawing/2014/chart" uri="{C3380CC4-5D6E-409C-BE32-E72D297353CC}">
                <c16:uniqueId val="{00000073-4AD3-4B1F-B412-5D2A1818C394}"/>
              </c:ext>
            </c:extLst>
          </c:dPt>
          <c:cat>
            <c:strRef>
              <c:f>Sheet1!$A$2:$A$58</c:f>
              <c:strCache>
                <c:ptCount val="57"/>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Mini Babybel Rouge Filet Soft Cheese Enfant 352G</c:v>
                </c:pt>
                <c:pt idx="9">
                  <c:v>Mini Babybel Rouge Filet Soft Cheese Enfant 484G</c:v>
                </c:pt>
                <c:pt idx="10">
                  <c:v>Boursin Classique Fromage Frais A Tartiner Afh Boite 1X150Gr 1P</c:v>
                </c:pt>
                <c:pt idx="11">
                  <c:v>Kiri Creme Fromage Blanc Frais Carre 1X216Gr 12P</c:v>
                </c:pt>
                <c:pt idx="12">
                  <c:v>Boursin Classique Fromage Frais A Tartiner Afh 1X160Gr 10P</c:v>
                </c:pt>
                <c:pt idx="13">
                  <c:v>Boursin Salade &amp; Aperitif Fromage Frais Des Afh 1X120Gr 1P</c:v>
                </c:pt>
                <c:pt idx="14">
                  <c:v>La Vache Qui Rit Nature Fromage Fondu Boite Ronde 1X512Gr 24+8P</c:v>
                </c:pt>
                <c:pt idx="15">
                  <c:v>La Vache Qui Rit Pik Et Croq' Fromage Fondu Dips Boite 1X175Gr 5P</c:v>
                </c:pt>
                <c:pt idx="16">
                  <c:v>Boursin Classique Fromage Frais A Tartiner Afh Boite 1X250Gr 1P</c:v>
                </c:pt>
                <c:pt idx="17">
                  <c:v>Kiri Gouter Fromage Blanc Dips Boite 1X280Gr 8P</c:v>
                </c:pt>
                <c:pt idx="18">
                  <c:v>Kiri Creme Fromage Blanc Frais Carre 1X432Gr 18+6P</c:v>
                </c:pt>
                <c:pt idx="19">
                  <c:v>La Vache Qui Rit Nature Fromage Fondu Boite Ronde 1X128Gr 8P</c:v>
                </c:pt>
                <c:pt idx="20">
                  <c:v>Boursin Classique Fromage Frais A Tartiner Afh Boite 1X96Gr 6P</c:v>
                </c:pt>
                <c:pt idx="21">
                  <c:v>Mini Babybel Aros Soft Cheese Enfant 180G</c:v>
                </c:pt>
                <c:pt idx="22">
                  <c:v>Mini Babybel Rouge Filet St Paulin Ferme 1X396Gr 12+6P</c:v>
                </c:pt>
                <c:pt idx="23">
                  <c:v>Boursin Salade &amp; Aperitif Fromage Frais Des Figue Noix 1X120Gr 1P</c:v>
                </c:pt>
                <c:pt idx="24">
                  <c:v>Boursin Onctueux Fromage Frais A Tartiner Afh 1X125Gr 1P</c:v>
                </c:pt>
                <c:pt idx="25">
                  <c:v>Boursin Salade &amp; Aperitif Fromage Frais Des Ciboulette Echalote 1X120Gr 1P</c:v>
                </c:pt>
                <c:pt idx="26">
                  <c:v>Boursin Classique Fromage Frais A Tartiner Ciboulette &amp; Echalote Boite 1X150Gr 1P</c:v>
                </c:pt>
                <c:pt idx="27">
                  <c:v>Kiri Delicieusement Fouette Fromage Frais A Tartiner 1X125Gr 1P</c:v>
                </c:pt>
                <c:pt idx="28">
                  <c:v>Mini Babybel Aros Soft Cheese Enfant 110G</c:v>
                </c:pt>
                <c:pt idx="29">
                  <c:v>Boursin Classique Fromage Frais A Tartiner Figue Et 3 Noix Boite 1X150Gr 1P</c:v>
                </c:pt>
                <c:pt idx="30">
                  <c:v>Kiri Delicieusement Fouette Fromage Frais A Tartiner 1X210Gr 1P</c:v>
                </c:pt>
                <c:pt idx="31">
                  <c:v>Babybel Mini Rolls St Paulin Ferme Sachet 1X85Gr 5P</c:v>
                </c:pt>
                <c:pt idx="32">
                  <c:v>La Vache Qui Rit Pik Et Croq' Fromage Fondu Dips Boite 1X280Gr 8P</c:v>
                </c:pt>
                <c:pt idx="33">
                  <c:v>Boursin Salade &amp; Aperitif Soft Cheese Salade 120G</c:v>
                </c:pt>
                <c:pt idx="34">
                  <c:v>Boursin Salade &amp; Aperitif Fromage Frais Des Citron Romarin 1X120Gr 1P</c:v>
                </c:pt>
                <c:pt idx="35">
                  <c:v>La Vache Qui Rit Allegee Fromage Fondu Boite Ronde Allege 1X267Gr 16P</c:v>
                </c:pt>
                <c:pt idx="36">
                  <c:v>Kiri Bio Fromage Blanc Frais Carre 1X144Gr 8P</c:v>
                </c:pt>
                <c:pt idx="37">
                  <c:v>Boursin Classique Fromage Frais A Tartiner Poivre Boite 1X150Gr 1P</c:v>
                </c:pt>
                <c:pt idx="38">
                  <c:v>Boursin Classique Fromage Frais A Tartiner Afh 1X256Gr 16P</c:v>
                </c:pt>
                <c:pt idx="39">
                  <c:v>Boursin Classique Fromage Frais A Tartiner Afh Boite 1X320Gr 16+4P</c:v>
                </c:pt>
                <c:pt idx="40">
                  <c:v>Boursin Classique Fromage Frais A Tartiner Afh Boite 1X80Gr 1P</c:v>
                </c:pt>
                <c:pt idx="41">
                  <c:v>Mini Babybel Aros Soft Cheese Enfant 120G</c:v>
                </c:pt>
                <c:pt idx="42">
                  <c:v>Boursin Classique Fromage Frais A Tartiner 3 Noix Boite 1X150Gr 1P</c:v>
                </c:pt>
                <c:pt idx="43">
                  <c:v>Boursin Onctueux Fromage Frais A Tartiner Afh 1X210Gr 1P</c:v>
                </c:pt>
                <c:pt idx="44">
                  <c:v>Mini Babybel Rouge Filet St Paulin Ferme Sachet 1X40Gr 1P</c:v>
                </c:pt>
                <c:pt idx="45">
                  <c:v>Boursin Classique Fromage Frais A Tartiner 3 Noix 1X160Gr 10P</c:v>
                </c:pt>
                <c:pt idx="46">
                  <c:v>Kiri Delicieusement Fouette Fromage Frais A Tartiner 1X160Gr 10P</c:v>
                </c:pt>
                <c:pt idx="47">
                  <c:v>La Vache Qui Rit Pik Et Croq' Fromage Fondu Dips Boite 1X35Gr 1P</c:v>
                </c:pt>
                <c:pt idx="48">
                  <c:v>La Vache Qui Rit Aro Fromage Fondu Boite Ronde Jambon 1X133Gr 8P</c:v>
                </c:pt>
                <c:pt idx="49">
                  <c:v>La Vache Qui Rit Bio Fromage Fondu Boite Ronde 1X128Gr 8P</c:v>
                </c:pt>
                <c:pt idx="50">
                  <c:v>Kiri Chevre Fromage Blanc Frais Carre 1X144Gr 8P</c:v>
                </c:pt>
                <c:pt idx="51">
                  <c:v>Mini Babybel Aros St Paulin Ferme Raclette Filet 1X132Gr 6P</c:v>
                </c:pt>
                <c:pt idx="52">
                  <c:v>Mini Babybel Rouge Filet St Paulin Ferme 1X110Gr 5P</c:v>
                </c:pt>
                <c:pt idx="53">
                  <c:v>Mini Babybel Aros St Paulin Ferme Assortis Filet 1X180Gr 9P</c:v>
                </c:pt>
                <c:pt idx="54">
                  <c:v>Limiano Queijo Flamengo Autre Sachet 1X450Gr 1P</c:v>
                </c:pt>
                <c:pt idx="55">
                  <c:v>Mini Babybel Aros St Paulin Ferme Emmental Filet 1X120Gr 6P</c:v>
                </c:pt>
                <c:pt idx="56">
                  <c:v>Boursin Salade &amp; Aperitif Fromage Frais Des Noisette Et 3 Noix 1X120Gr 1P</c:v>
                </c:pt>
              </c:strCache>
            </c:strRef>
          </c:cat>
          <c:val>
            <c:numRef>
              <c:f>Sheet1!$C$2:$C$58</c:f>
              <c:numCache>
                <c:formatCode>General</c:formatCode>
                <c:ptCount val="57"/>
                <c:pt idx="0">
                  <c:v>8.4257233303958456E-2</c:v>
                </c:pt>
                <c:pt idx="1">
                  <c:v>0.1671610921650287</c:v>
                </c:pt>
                <c:pt idx="2">
                  <c:v>0.24699338167819704</c:v>
                </c:pt>
                <c:pt idx="3">
                  <c:v>0.31611099011246591</c:v>
                </c:pt>
                <c:pt idx="4">
                  <c:v>0.38005729607616029</c:v>
                </c:pt>
                <c:pt idx="5">
                  <c:v>0.44125090054178678</c:v>
                </c:pt>
                <c:pt idx="6">
                  <c:v>0.49104320788779343</c:v>
                </c:pt>
                <c:pt idx="7">
                  <c:v>0.53766953724107047</c:v>
                </c:pt>
                <c:pt idx="8">
                  <c:v>0.58423035335946483</c:v>
                </c:pt>
                <c:pt idx="9">
                  <c:v>0.62198133662019683</c:v>
                </c:pt>
                <c:pt idx="10">
                  <c:v>0.6579642687252758</c:v>
                </c:pt>
                <c:pt idx="11">
                  <c:v>0.69316800067142581</c:v>
                </c:pt>
                <c:pt idx="12">
                  <c:v>0.72666613967548965</c:v>
                </c:pt>
                <c:pt idx="13">
                  <c:v>0.75792630584234211</c:v>
                </c:pt>
                <c:pt idx="14">
                  <c:v>0.78388889532423467</c:v>
                </c:pt>
                <c:pt idx="15">
                  <c:v>0.80642786668243394</c:v>
                </c:pt>
                <c:pt idx="16">
                  <c:v>0.82711519810731238</c:v>
                </c:pt>
                <c:pt idx="17">
                  <c:v>0.84649065246217525</c:v>
                </c:pt>
                <c:pt idx="18">
                  <c:v>0.86565352825048214</c:v>
                </c:pt>
                <c:pt idx="19">
                  <c:v>0.8806370500171059</c:v>
                </c:pt>
                <c:pt idx="20">
                  <c:v>0.89116834495535568</c:v>
                </c:pt>
                <c:pt idx="21">
                  <c:v>0.90091305676649669</c:v>
                </c:pt>
                <c:pt idx="22">
                  <c:v>0.90976769660345702</c:v>
                </c:pt>
                <c:pt idx="23">
                  <c:v>0.917456760946746</c:v>
                </c:pt>
                <c:pt idx="24">
                  <c:v>0.92496960996330702</c:v>
                </c:pt>
                <c:pt idx="25">
                  <c:v>0.93204130541569985</c:v>
                </c:pt>
                <c:pt idx="26">
                  <c:v>0.93906496914407245</c:v>
                </c:pt>
                <c:pt idx="27">
                  <c:v>0.94606381082425439</c:v>
                </c:pt>
                <c:pt idx="28">
                  <c:v>0.95175709763131033</c:v>
                </c:pt>
                <c:pt idx="29">
                  <c:v>0.95744758400216012</c:v>
                </c:pt>
                <c:pt idx="30">
                  <c:v>0.96310624723430394</c:v>
                </c:pt>
                <c:pt idx="31">
                  <c:v>0.96848465469157707</c:v>
                </c:pt>
                <c:pt idx="32">
                  <c:v>0.97335643778065084</c:v>
                </c:pt>
                <c:pt idx="33">
                  <c:v>0.9778090040558377</c:v>
                </c:pt>
                <c:pt idx="34">
                  <c:v>0.98203460770577355</c:v>
                </c:pt>
                <c:pt idx="35">
                  <c:v>0.98597223316584592</c:v>
                </c:pt>
                <c:pt idx="36">
                  <c:v>0.98893008783143843</c:v>
                </c:pt>
                <c:pt idx="37">
                  <c:v>0.99132683691536694</c:v>
                </c:pt>
                <c:pt idx="38">
                  <c:v>0.99274886447615684</c:v>
                </c:pt>
                <c:pt idx="39">
                  <c:v>0.99395487657141057</c:v>
                </c:pt>
                <c:pt idx="40">
                  <c:v>0.99510466778828366</c:v>
                </c:pt>
                <c:pt idx="41">
                  <c:v>0.99617311906262429</c:v>
                </c:pt>
                <c:pt idx="42">
                  <c:v>0.99685651035862244</c:v>
                </c:pt>
                <c:pt idx="43">
                  <c:v>0.99745228194605018</c:v>
                </c:pt>
                <c:pt idx="44">
                  <c:v>0.99804130702807214</c:v>
                </c:pt>
                <c:pt idx="45">
                  <c:v>0.9984766899964217</c:v>
                </c:pt>
                <c:pt idx="46">
                  <c:v>0.99883977079363118</c:v>
                </c:pt>
                <c:pt idx="47">
                  <c:v>0.99915155269124667</c:v>
                </c:pt>
                <c:pt idx="48">
                  <c:v>0.99945480598768888</c:v>
                </c:pt>
                <c:pt idx="49">
                  <c:v>0.99963916803792552</c:v>
                </c:pt>
                <c:pt idx="50">
                  <c:v>0.99974970040636435</c:v>
                </c:pt>
                <c:pt idx="51">
                  <c:v>0.99981173431141523</c:v>
                </c:pt>
                <c:pt idx="52">
                  <c:v>0.9999017301476758</c:v>
                </c:pt>
                <c:pt idx="53">
                  <c:v>0.99997025597302269</c:v>
                </c:pt>
                <c:pt idx="54">
                  <c:v>0.99998048180826027</c:v>
                </c:pt>
                <c:pt idx="55">
                  <c:v>0.99999019847327852</c:v>
                </c:pt>
                <c:pt idx="56">
                  <c:v>0.9999988967978581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8</c:f>
              <c:strCache>
                <c:ptCount val="57"/>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Mini Babybel Rouge Filet Soft Cheese Enfant 352G</c:v>
                </c:pt>
                <c:pt idx="9">
                  <c:v>Mini Babybel Rouge Filet Soft Cheese Enfant 484G</c:v>
                </c:pt>
                <c:pt idx="10">
                  <c:v>Boursin Classique Fromage Frais A Tartiner Afh Boite 1X150Gr 1P</c:v>
                </c:pt>
                <c:pt idx="11">
                  <c:v>Kiri Creme Fromage Blanc Frais Carre 1X216Gr 12P</c:v>
                </c:pt>
                <c:pt idx="12">
                  <c:v>Boursin Classique Fromage Frais A Tartiner Afh 1X160Gr 10P</c:v>
                </c:pt>
                <c:pt idx="13">
                  <c:v>Boursin Salade &amp; Aperitif Fromage Frais Des Afh 1X120Gr 1P</c:v>
                </c:pt>
                <c:pt idx="14">
                  <c:v>La Vache Qui Rit Nature Fromage Fondu Boite Ronde 1X512Gr 24+8P</c:v>
                </c:pt>
                <c:pt idx="15">
                  <c:v>La Vache Qui Rit Pik Et Croq' Fromage Fondu Dips Boite 1X175Gr 5P</c:v>
                </c:pt>
                <c:pt idx="16">
                  <c:v>Boursin Classique Fromage Frais A Tartiner Afh Boite 1X250Gr 1P</c:v>
                </c:pt>
                <c:pt idx="17">
                  <c:v>Kiri Gouter Fromage Blanc Dips Boite 1X280Gr 8P</c:v>
                </c:pt>
                <c:pt idx="18">
                  <c:v>Kiri Creme Fromage Blanc Frais Carre 1X432Gr 18+6P</c:v>
                </c:pt>
                <c:pt idx="19">
                  <c:v>La Vache Qui Rit Nature Fromage Fondu Boite Ronde 1X128Gr 8P</c:v>
                </c:pt>
                <c:pt idx="20">
                  <c:v>Boursin Classique Fromage Frais A Tartiner Afh Boite 1X96Gr 6P</c:v>
                </c:pt>
                <c:pt idx="21">
                  <c:v>Mini Babybel Aros Soft Cheese Enfant 180G</c:v>
                </c:pt>
                <c:pt idx="22">
                  <c:v>Mini Babybel Rouge Filet St Paulin Ferme 1X396Gr 12+6P</c:v>
                </c:pt>
                <c:pt idx="23">
                  <c:v>Boursin Salade &amp; Aperitif Fromage Frais Des Figue Noix 1X120Gr 1P</c:v>
                </c:pt>
                <c:pt idx="24">
                  <c:v>Boursin Onctueux Fromage Frais A Tartiner Afh 1X125Gr 1P</c:v>
                </c:pt>
                <c:pt idx="25">
                  <c:v>Boursin Salade &amp; Aperitif Fromage Frais Des Ciboulette Echalote 1X120Gr 1P</c:v>
                </c:pt>
                <c:pt idx="26">
                  <c:v>Boursin Classique Fromage Frais A Tartiner Ciboulette &amp; Echalote Boite 1X150Gr 1P</c:v>
                </c:pt>
                <c:pt idx="27">
                  <c:v>Kiri Delicieusement Fouette Fromage Frais A Tartiner 1X125Gr 1P</c:v>
                </c:pt>
                <c:pt idx="28">
                  <c:v>Mini Babybel Aros Soft Cheese Enfant 110G</c:v>
                </c:pt>
                <c:pt idx="29">
                  <c:v>Boursin Classique Fromage Frais A Tartiner Figue Et 3 Noix Boite 1X150Gr 1P</c:v>
                </c:pt>
                <c:pt idx="30">
                  <c:v>Kiri Delicieusement Fouette Fromage Frais A Tartiner 1X210Gr 1P</c:v>
                </c:pt>
                <c:pt idx="31">
                  <c:v>Babybel Mini Rolls St Paulin Ferme Sachet 1X85Gr 5P</c:v>
                </c:pt>
                <c:pt idx="32">
                  <c:v>La Vache Qui Rit Pik Et Croq' Fromage Fondu Dips Boite 1X280Gr 8P</c:v>
                </c:pt>
                <c:pt idx="33">
                  <c:v>Boursin Salade &amp; Aperitif Soft Cheese Salade 120G</c:v>
                </c:pt>
                <c:pt idx="34">
                  <c:v>Boursin Salade &amp; Aperitif Fromage Frais Des Citron Romarin 1X120Gr 1P</c:v>
                </c:pt>
                <c:pt idx="35">
                  <c:v>La Vache Qui Rit Allegee Fromage Fondu Boite Ronde Allege 1X267Gr 16P</c:v>
                </c:pt>
                <c:pt idx="36">
                  <c:v>Kiri Bio Fromage Blanc Frais Carre 1X144Gr 8P</c:v>
                </c:pt>
                <c:pt idx="37">
                  <c:v>Boursin Classique Fromage Frais A Tartiner Poivre Boite 1X150Gr 1P</c:v>
                </c:pt>
                <c:pt idx="38">
                  <c:v>Boursin Classique Fromage Frais A Tartiner Afh 1X256Gr 16P</c:v>
                </c:pt>
                <c:pt idx="39">
                  <c:v>Boursin Classique Fromage Frais A Tartiner Afh Boite 1X320Gr 16+4P</c:v>
                </c:pt>
                <c:pt idx="40">
                  <c:v>Boursin Classique Fromage Frais A Tartiner Afh Boite 1X80Gr 1P</c:v>
                </c:pt>
                <c:pt idx="41">
                  <c:v>Mini Babybel Aros Soft Cheese Enfant 120G</c:v>
                </c:pt>
                <c:pt idx="42">
                  <c:v>Boursin Classique Fromage Frais A Tartiner 3 Noix Boite 1X150Gr 1P</c:v>
                </c:pt>
                <c:pt idx="43">
                  <c:v>Boursin Onctueux Fromage Frais A Tartiner Afh 1X210Gr 1P</c:v>
                </c:pt>
                <c:pt idx="44">
                  <c:v>Mini Babybel Rouge Filet St Paulin Ferme Sachet 1X40Gr 1P</c:v>
                </c:pt>
                <c:pt idx="45">
                  <c:v>Boursin Classique Fromage Frais A Tartiner 3 Noix 1X160Gr 10P</c:v>
                </c:pt>
                <c:pt idx="46">
                  <c:v>Kiri Delicieusement Fouette Fromage Frais A Tartiner 1X160Gr 10P</c:v>
                </c:pt>
                <c:pt idx="47">
                  <c:v>La Vache Qui Rit Pik Et Croq' Fromage Fondu Dips Boite 1X35Gr 1P</c:v>
                </c:pt>
                <c:pt idx="48">
                  <c:v>La Vache Qui Rit Aro Fromage Fondu Boite Ronde Jambon 1X133Gr 8P</c:v>
                </c:pt>
                <c:pt idx="49">
                  <c:v>La Vache Qui Rit Bio Fromage Fondu Boite Ronde 1X128Gr 8P</c:v>
                </c:pt>
                <c:pt idx="50">
                  <c:v>Kiri Chevre Fromage Blanc Frais Carre 1X144Gr 8P</c:v>
                </c:pt>
                <c:pt idx="51">
                  <c:v>Mini Babybel Aros St Paulin Ferme Raclette Filet 1X132Gr 6P</c:v>
                </c:pt>
                <c:pt idx="52">
                  <c:v>Mini Babybel Rouge Filet St Paulin Ferme 1X110Gr 5P</c:v>
                </c:pt>
                <c:pt idx="53">
                  <c:v>Mini Babybel Aros St Paulin Ferme Assortis Filet 1X180Gr 9P</c:v>
                </c:pt>
                <c:pt idx="54">
                  <c:v>Limiano Queijo Flamengo Autre Sachet 1X450Gr 1P</c:v>
                </c:pt>
                <c:pt idx="55">
                  <c:v>Mini Babybel Aros St Paulin Ferme Emmental Filet 1X120Gr 6P</c:v>
                </c:pt>
                <c:pt idx="56">
                  <c:v>Boursin Salade &amp; Aperitif Fromage Frais Des Noisette Et 3 Noix 1X120Gr 1P</c:v>
                </c:pt>
              </c:strCache>
            </c:strRef>
          </c:cat>
          <c:val>
            <c:numRef>
              <c:f>Sheet1!$D$2:$D$58</c:f>
              <c:numCache>
                <c:formatCode>General</c:formatCode>
                <c:ptCount val="57"/>
                <c:pt idx="0">
                  <c:v>20078.402426693629</c:v>
                </c:pt>
                <c:pt idx="1">
                  <c:v>22666.566125290021</c:v>
                </c:pt>
                <c:pt idx="2">
                  <c:v>21776.25</c:v>
                </c:pt>
                <c:pt idx="3">
                  <c:v>20260.534825870644</c:v>
                </c:pt>
                <c:pt idx="4">
                  <c:v>15409.723926380369</c:v>
                </c:pt>
                <c:pt idx="5">
                  <c:v>18926.456692913383</c:v>
                </c:pt>
                <c:pt idx="6">
                  <c:v>11865.449949443882</c:v>
                </c:pt>
                <c:pt idx="7">
                  <c:v>11603.780359028513</c:v>
                </c:pt>
                <c:pt idx="8">
                  <c:v>13631.478260869566</c:v>
                </c:pt>
                <c:pt idx="9">
                  <c:v>20312.922374429225</c:v>
                </c:pt>
                <c:pt idx="10">
                  <c:v>8760.7128099173551</c:v>
                </c:pt>
                <c:pt idx="11">
                  <c:v>10068.847087378641</c:v>
                </c:pt>
                <c:pt idx="12">
                  <c:v>8742.8128460686603</c:v>
                </c:pt>
                <c:pt idx="13">
                  <c:v>7666.3059313215408</c:v>
                </c:pt>
                <c:pt idx="14">
                  <c:v>8533.8912133891208</c:v>
                </c:pt>
                <c:pt idx="15">
                  <c:v>5863.0573951434872</c:v>
                </c:pt>
                <c:pt idx="16">
                  <c:v>6086.816479400748</c:v>
                </c:pt>
                <c:pt idx="17">
                  <c:v>6342.166666666667</c:v>
                </c:pt>
                <c:pt idx="18">
                  <c:v>6343.0617977528091</c:v>
                </c:pt>
                <c:pt idx="19">
                  <c:v>5208.3775811209434</c:v>
                </c:pt>
                <c:pt idx="20">
                  <c:v>3083.217391304348</c:v>
                </c:pt>
                <c:pt idx="21">
                  <c:v>3314.0115440115442</c:v>
                </c:pt>
                <c:pt idx="22">
                  <c:v>5077.4695863746965</c:v>
                </c:pt>
                <c:pt idx="23">
                  <c:v>2285.1702395964694</c:v>
                </c:pt>
                <c:pt idx="24">
                  <c:v>2320.5897771952818</c:v>
                </c:pt>
                <c:pt idx="25">
                  <c:v>2175.7702349869455</c:v>
                </c:pt>
                <c:pt idx="26">
                  <c:v>2106.0050890585239</c:v>
                </c:pt>
                <c:pt idx="27">
                  <c:v>2199.2933333333335</c:v>
                </c:pt>
                <c:pt idx="28">
                  <c:v>2093.260530421217</c:v>
                </c:pt>
                <c:pt idx="29">
                  <c:v>1995.7142857142856</c:v>
                </c:pt>
                <c:pt idx="30">
                  <c:v>2179.1176470588239</c:v>
                </c:pt>
                <c:pt idx="31">
                  <c:v>2126.7953020134232</c:v>
                </c:pt>
                <c:pt idx="32">
                  <c:v>2733.7380952380954</c:v>
                </c:pt>
                <c:pt idx="33">
                  <c:v>1512.0605187319886</c:v>
                </c:pt>
                <c:pt idx="34">
                  <c:v>1434.9855907780982</c:v>
                </c:pt>
                <c:pt idx="35">
                  <c:v>1925.3319502074692</c:v>
                </c:pt>
                <c:pt idx="36">
                  <c:v>1778.3163265306121</c:v>
                </c:pt>
                <c:pt idx="37">
                  <c:v>1422.8211586901762</c:v>
                </c:pt>
                <c:pt idx="38">
                  <c:v>1402.2594142259416</c:v>
                </c:pt>
                <c:pt idx="39">
                  <c:v>740.18229166666674</c:v>
                </c:pt>
                <c:pt idx="40">
                  <c:v>740.38251366120221</c:v>
                </c:pt>
                <c:pt idx="41">
                  <c:v>820.228013029316</c:v>
                </c:pt>
                <c:pt idx="42">
                  <c:v>473.70588235294116</c:v>
                </c:pt>
                <c:pt idx="43">
                  <c:v>512.44525547445255</c:v>
                </c:pt>
                <c:pt idx="44">
                  <c:v>1119.516129032258</c:v>
                </c:pt>
                <c:pt idx="45">
                  <c:v>427.54166666666669</c:v>
                </c:pt>
                <c:pt idx="46">
                  <c:v>216.63291139240508</c:v>
                </c:pt>
                <c:pt idx="47">
                  <c:v>9185</c:v>
                </c:pt>
                <c:pt idx="48">
                  <c:v>2647.037037037037</c:v>
                </c:pt>
                <c:pt idx="49">
                  <c:v>280.32258064516128</c:v>
                </c:pt>
                <c:pt idx="50">
                  <c:v>329.74683544303798</c:v>
                </c:pt>
                <c:pt idx="51">
                  <c:v>82.13483146067415</c:v>
                </c:pt>
                <c:pt idx="52">
                  <c:v>553.33333333333337</c:v>
                </c:pt>
                <c:pt idx="53">
                  <c:v>175.67567567567568</c:v>
                </c:pt>
                <c:pt idx="54">
                  <c:v>482</c:v>
                </c:pt>
                <c:pt idx="55">
                  <c:v>71.5625</c:v>
                </c:pt>
                <c:pt idx="56">
                  <c:v>186.363636363636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4</c:f>
              <c:strCache>
                <c:ptCount val="43"/>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Boursin Classique Fromage Frais A Tartiner Afh Boite 1X150Gr 1P</c:v>
                </c:pt>
                <c:pt idx="13">
                  <c:v>Boursin Salade &amp; Aperitif Fromage Frais Des Afh 1X120Gr 1P</c:v>
                </c:pt>
                <c:pt idx="14">
                  <c:v>La Vache Qui Rit Pik Et Croq' Fromage Fondu Dips Boite 1X175Gr 5P</c:v>
                </c:pt>
                <c:pt idx="15">
                  <c:v>La Vache Qui Rit Pik Et Croq' Fromage Fondu Dips Boite 1X280Gr 8P</c:v>
                </c:pt>
                <c:pt idx="16">
                  <c:v>Boursin Onctueux Fromage Frais A Tartiner Afh 1X125Gr 1P</c:v>
                </c:pt>
                <c:pt idx="17">
                  <c:v>Kiri Creme Fromage Blanc Frais Carre 1X432Gr 18+6P</c:v>
                </c:pt>
                <c:pt idx="18">
                  <c:v>Boursin Classique Fromage Frais A Tartiner Afh Boite 1X96Gr 6P</c:v>
                </c:pt>
                <c:pt idx="19">
                  <c:v>Boursin Classique Fromage Frais A Tartiner Figue Et 3 Noix Boite 1X150Gr 1P</c:v>
                </c:pt>
                <c:pt idx="20">
                  <c:v>Mini Babybel Aros Soft Cheese Enfant 180G</c:v>
                </c:pt>
                <c:pt idx="21">
                  <c:v>La Vache Qui Rit Allegee Fromage Fondu Boite Ronde Allege 1X267Gr 16P</c:v>
                </c:pt>
                <c:pt idx="22">
                  <c:v>Boursin Classique Fromage Frais A Tartiner Ciboulette &amp; Echalote Boite 1X150Gr 1P</c:v>
                </c:pt>
                <c:pt idx="23">
                  <c:v>Kiri Delicieusement Fouette Fromage Frais A Tartiner 1X125Gr 1P</c:v>
                </c:pt>
                <c:pt idx="24">
                  <c:v>Boursin Classique Fromage Frais A Tartiner Poivre Boite 1X150Gr 1P</c:v>
                </c:pt>
                <c:pt idx="25">
                  <c:v>Boursin Classique Fromage Frais A Tartiner Afh 1X256Gr 16P</c:v>
                </c:pt>
                <c:pt idx="26">
                  <c:v>Babybel Mini Rolls St Paulin Ferme Sachet 1X85Gr 5P</c:v>
                </c:pt>
                <c:pt idx="27">
                  <c:v>Boursin Salade &amp; Aperitif Fromage Frais Des Ciboulette Echalote 1X120Gr 1P</c:v>
                </c:pt>
                <c:pt idx="28">
                  <c:v>Boursin Classique Fromage Frais A Tartiner Ciboulette &amp; Echalote 1X160Gr 10P</c:v>
                </c:pt>
                <c:pt idx="29">
                  <c:v>Kiri Bio Fromage Blanc Frais Carre 1X144Gr 8P</c:v>
                </c:pt>
                <c:pt idx="30">
                  <c:v>La Vache Qui Rit Aro Fromage Fondu Boite Ronde Jambon 1X133Gr 8P</c:v>
                </c:pt>
                <c:pt idx="31">
                  <c:v>Mini Babybel Aros Soft Cheese Enfant 110G</c:v>
                </c:pt>
                <c:pt idx="32">
                  <c:v>Boursin Salade &amp; Aperitif Fromage Frais Des Figue Noix 1X120Gr 1P</c:v>
                </c:pt>
                <c:pt idx="33">
                  <c:v>Kiri Chevre Fromage Blanc Frais Carre 1X144Gr 8P</c:v>
                </c:pt>
                <c:pt idx="34">
                  <c:v>Boursin Salade &amp; Aperitif Fromage Frais Des Citron Romarin 1X120Gr 1P</c:v>
                </c:pt>
                <c:pt idx="35">
                  <c:v>Boursin Salade &amp; Aperitif Soft Cheese Salade 120G</c:v>
                </c:pt>
                <c:pt idx="36">
                  <c:v>Mini Babybel Rouge Filet St Paulin Ferme Sachet 1X40Gr 1P</c:v>
                </c:pt>
                <c:pt idx="37">
                  <c:v>Mini Babybel Aros St Paulin Ferme Raclette Filet 1X132Gr 6P</c:v>
                </c:pt>
                <c:pt idx="38">
                  <c:v>La Vache Qui Rit Nature Fromage Fondu Boite Ronde 1X512Gr 24+8P</c:v>
                </c:pt>
                <c:pt idx="39">
                  <c:v>Kiri Delicieusement Fouette Fromage Frais A Tartiner 1X160Gr 10P</c:v>
                </c:pt>
                <c:pt idx="40">
                  <c:v>Boursin Classique Fromage Frais A Tartiner Afh Boite 1X80Gr 1P</c:v>
                </c:pt>
                <c:pt idx="41">
                  <c:v>Mini Babybel Aros St Paulin Ferme Assortis Filet 1X180Gr 9P</c:v>
                </c:pt>
                <c:pt idx="42">
                  <c:v>Mini Babybel Rouge Filet St Paulin Ferme 1X396Gr 12+6P</c:v>
                </c:pt>
              </c:strCache>
            </c:strRef>
          </c:cat>
          <c:val>
            <c:numRef>
              <c:f>Sheet1!$B$2:$B$44</c:f>
              <c:numCache>
                <c:formatCode>General</c:formatCode>
                <c:ptCount val="43"/>
                <c:pt idx="0">
                  <c:v>0.97699999999999998</c:v>
                </c:pt>
                <c:pt idx="1">
                  <c:v>0.94199999999999995</c:v>
                </c:pt>
                <c:pt idx="2">
                  <c:v>0.996</c:v>
                </c:pt>
                <c:pt idx="3">
                  <c:v>0.93799999999999994</c:v>
                </c:pt>
                <c:pt idx="4">
                  <c:v>0.98899999999999999</c:v>
                </c:pt>
                <c:pt idx="5">
                  <c:v>0.97299999999999998</c:v>
                </c:pt>
                <c:pt idx="6">
                  <c:v>0.85299999999999998</c:v>
                </c:pt>
                <c:pt idx="7">
                  <c:v>0.92900000000000005</c:v>
                </c:pt>
                <c:pt idx="8">
                  <c:v>0.96099999999999997</c:v>
                </c:pt>
                <c:pt idx="9">
                  <c:v>0.97899999999999998</c:v>
                </c:pt>
                <c:pt idx="10">
                  <c:v>0.98199999999999998</c:v>
                </c:pt>
                <c:pt idx="11">
                  <c:v>0.97799999999999998</c:v>
                </c:pt>
                <c:pt idx="12">
                  <c:v>0.99399999999999999</c:v>
                </c:pt>
                <c:pt idx="13">
                  <c:v>0.96499999999999997</c:v>
                </c:pt>
                <c:pt idx="14">
                  <c:v>0.93400000000000005</c:v>
                </c:pt>
                <c:pt idx="15">
                  <c:v>0.81100000000000005</c:v>
                </c:pt>
                <c:pt idx="16">
                  <c:v>0.95399999999999996</c:v>
                </c:pt>
                <c:pt idx="17">
                  <c:v>0.81599999999999995</c:v>
                </c:pt>
                <c:pt idx="18">
                  <c:v>0.88200000000000001</c:v>
                </c:pt>
                <c:pt idx="19">
                  <c:v>0.93899999999999995</c:v>
                </c:pt>
                <c:pt idx="20">
                  <c:v>0.70799999999999996</c:v>
                </c:pt>
                <c:pt idx="21">
                  <c:v>0.80600000000000005</c:v>
                </c:pt>
                <c:pt idx="22">
                  <c:v>0.94499999999999995</c:v>
                </c:pt>
                <c:pt idx="23">
                  <c:v>0.83499999999999996</c:v>
                </c:pt>
                <c:pt idx="24">
                  <c:v>0.84199999999999997</c:v>
                </c:pt>
                <c:pt idx="25">
                  <c:v>0.79500000000000004</c:v>
                </c:pt>
                <c:pt idx="26">
                  <c:v>0.73399999999999999</c:v>
                </c:pt>
                <c:pt idx="27">
                  <c:v>0.82099999999999995</c:v>
                </c:pt>
                <c:pt idx="28">
                  <c:v>0.80200000000000005</c:v>
                </c:pt>
                <c:pt idx="29">
                  <c:v>0.6</c:v>
                </c:pt>
                <c:pt idx="30">
                  <c:v>0.625</c:v>
                </c:pt>
                <c:pt idx="31">
                  <c:v>0.58299999999999996</c:v>
                </c:pt>
                <c:pt idx="32">
                  <c:v>0.51300000000000001</c:v>
                </c:pt>
                <c:pt idx="33">
                  <c:v>0.54300000000000004</c:v>
                </c:pt>
                <c:pt idx="34">
                  <c:v>0.65</c:v>
                </c:pt>
                <c:pt idx="35">
                  <c:v>0.41199999999999998</c:v>
                </c:pt>
                <c:pt idx="36">
                  <c:v>0.11</c:v>
                </c:pt>
                <c:pt idx="37">
                  <c:v>0.113</c:v>
                </c:pt>
                <c:pt idx="38">
                  <c:v>1E-3</c:v>
                </c:pt>
                <c:pt idx="39">
                  <c:v>9.4E-2</c:v>
                </c:pt>
                <c:pt idx="40">
                  <c:v>6.5000000000000002E-2</c:v>
                </c:pt>
                <c:pt idx="41">
                  <c:v>1.9E-2</c:v>
                </c:pt>
                <c:pt idx="42">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4</c:f>
              <c:strCache>
                <c:ptCount val="43"/>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Boursin Classique Fromage Frais A Tartiner Afh Boite 1X150Gr 1P</c:v>
                </c:pt>
                <c:pt idx="13">
                  <c:v>Boursin Salade &amp; Aperitif Fromage Frais Des Afh 1X120Gr 1P</c:v>
                </c:pt>
                <c:pt idx="14">
                  <c:v>La Vache Qui Rit Pik Et Croq' Fromage Fondu Dips Boite 1X175Gr 5P</c:v>
                </c:pt>
                <c:pt idx="15">
                  <c:v>La Vache Qui Rit Pik Et Croq' Fromage Fondu Dips Boite 1X280Gr 8P</c:v>
                </c:pt>
                <c:pt idx="16">
                  <c:v>Boursin Onctueux Fromage Frais A Tartiner Afh 1X125Gr 1P</c:v>
                </c:pt>
                <c:pt idx="17">
                  <c:v>Kiri Creme Fromage Blanc Frais Carre 1X432Gr 18+6P</c:v>
                </c:pt>
                <c:pt idx="18">
                  <c:v>Boursin Classique Fromage Frais A Tartiner Afh Boite 1X96Gr 6P</c:v>
                </c:pt>
                <c:pt idx="19">
                  <c:v>Boursin Classique Fromage Frais A Tartiner Figue Et 3 Noix Boite 1X150Gr 1P</c:v>
                </c:pt>
                <c:pt idx="20">
                  <c:v>Mini Babybel Aros Soft Cheese Enfant 180G</c:v>
                </c:pt>
                <c:pt idx="21">
                  <c:v>La Vache Qui Rit Allegee Fromage Fondu Boite Ronde Allege 1X267Gr 16P</c:v>
                </c:pt>
                <c:pt idx="22">
                  <c:v>Boursin Classique Fromage Frais A Tartiner Ciboulette &amp; Echalote Boite 1X150Gr 1P</c:v>
                </c:pt>
                <c:pt idx="23">
                  <c:v>Kiri Delicieusement Fouette Fromage Frais A Tartiner 1X125Gr 1P</c:v>
                </c:pt>
                <c:pt idx="24">
                  <c:v>Boursin Classique Fromage Frais A Tartiner Poivre Boite 1X150Gr 1P</c:v>
                </c:pt>
                <c:pt idx="25">
                  <c:v>Boursin Classique Fromage Frais A Tartiner Afh 1X256Gr 16P</c:v>
                </c:pt>
                <c:pt idx="26">
                  <c:v>Babybel Mini Rolls St Paulin Ferme Sachet 1X85Gr 5P</c:v>
                </c:pt>
                <c:pt idx="27">
                  <c:v>Boursin Salade &amp; Aperitif Fromage Frais Des Ciboulette Echalote 1X120Gr 1P</c:v>
                </c:pt>
                <c:pt idx="28">
                  <c:v>Boursin Classique Fromage Frais A Tartiner Ciboulette &amp; Echalote 1X160Gr 10P</c:v>
                </c:pt>
                <c:pt idx="29">
                  <c:v>Kiri Bio Fromage Blanc Frais Carre 1X144Gr 8P</c:v>
                </c:pt>
                <c:pt idx="30">
                  <c:v>La Vache Qui Rit Aro Fromage Fondu Boite Ronde Jambon 1X133Gr 8P</c:v>
                </c:pt>
                <c:pt idx="31">
                  <c:v>Mini Babybel Aros Soft Cheese Enfant 110G</c:v>
                </c:pt>
                <c:pt idx="32">
                  <c:v>Boursin Salade &amp; Aperitif Fromage Frais Des Figue Noix 1X120Gr 1P</c:v>
                </c:pt>
                <c:pt idx="33">
                  <c:v>Kiri Chevre Fromage Blanc Frais Carre 1X144Gr 8P</c:v>
                </c:pt>
                <c:pt idx="34">
                  <c:v>Boursin Salade &amp; Aperitif Fromage Frais Des Citron Romarin 1X120Gr 1P</c:v>
                </c:pt>
                <c:pt idx="35">
                  <c:v>Boursin Salade &amp; Aperitif Soft Cheese Salade 120G</c:v>
                </c:pt>
                <c:pt idx="36">
                  <c:v>Mini Babybel Rouge Filet St Paulin Ferme Sachet 1X40Gr 1P</c:v>
                </c:pt>
                <c:pt idx="37">
                  <c:v>Mini Babybel Aros St Paulin Ferme Raclette Filet 1X132Gr 6P</c:v>
                </c:pt>
                <c:pt idx="38">
                  <c:v>La Vache Qui Rit Nature Fromage Fondu Boite Ronde 1X512Gr 24+8P</c:v>
                </c:pt>
                <c:pt idx="39">
                  <c:v>Kiri Delicieusement Fouette Fromage Frais A Tartiner 1X160Gr 10P</c:v>
                </c:pt>
                <c:pt idx="40">
                  <c:v>Boursin Classique Fromage Frais A Tartiner Afh Boite 1X80Gr 1P</c:v>
                </c:pt>
                <c:pt idx="41">
                  <c:v>Mini Babybel Aros St Paulin Ferme Assortis Filet 1X180Gr 9P</c:v>
                </c:pt>
                <c:pt idx="42">
                  <c:v>Mini Babybel Rouge Filet St Paulin Ferme 1X396Gr 12+6P</c:v>
                </c:pt>
              </c:strCache>
            </c:strRef>
          </c:cat>
          <c:val>
            <c:numRef>
              <c:f>Sheet1!$C$2:$C$44</c:f>
              <c:numCache>
                <c:formatCode>General</c:formatCode>
                <c:ptCount val="43"/>
                <c:pt idx="0">
                  <c:v>0.14667207649657898</c:v>
                </c:pt>
                <c:pt idx="1">
                  <c:v>0.23287933462191279</c:v>
                </c:pt>
                <c:pt idx="2">
                  <c:v>0.30952018148929072</c:v>
                </c:pt>
                <c:pt idx="3">
                  <c:v>0.38526556548562951</c:v>
                </c:pt>
                <c:pt idx="4">
                  <c:v>0.45744216630113299</c:v>
                </c:pt>
                <c:pt idx="5">
                  <c:v>0.51597633655684816</c:v>
                </c:pt>
                <c:pt idx="6">
                  <c:v>0.56330792331746893</c:v>
                </c:pt>
                <c:pt idx="7">
                  <c:v>0.60421987394510901</c:v>
                </c:pt>
                <c:pt idx="8">
                  <c:v>0.64114707678067262</c:v>
                </c:pt>
                <c:pt idx="9">
                  <c:v>0.67671362646966771</c:v>
                </c:pt>
                <c:pt idx="10">
                  <c:v>0.71061450984564956</c:v>
                </c:pt>
                <c:pt idx="11">
                  <c:v>0.74390061477844338</c:v>
                </c:pt>
                <c:pt idx="12">
                  <c:v>0.77430249868025647</c:v>
                </c:pt>
                <c:pt idx="13">
                  <c:v>0.79681990844956219</c:v>
                </c:pt>
                <c:pt idx="14">
                  <c:v>0.81574906171648309</c:v>
                </c:pt>
                <c:pt idx="15">
                  <c:v>0.8332525302404673</c:v>
                </c:pt>
                <c:pt idx="16">
                  <c:v>0.85014085874765388</c:v>
                </c:pt>
                <c:pt idx="17">
                  <c:v>0.8626722769116657</c:v>
                </c:pt>
                <c:pt idx="18">
                  <c:v>0.87519403589496203</c:v>
                </c:pt>
                <c:pt idx="19">
                  <c:v>0.88758578333889493</c:v>
                </c:pt>
                <c:pt idx="20">
                  <c:v>0.89919420738415978</c:v>
                </c:pt>
                <c:pt idx="21">
                  <c:v>0.91037096419284913</c:v>
                </c:pt>
                <c:pt idx="22">
                  <c:v>0.92122860646431648</c:v>
                </c:pt>
                <c:pt idx="23">
                  <c:v>0.93018359674831708</c:v>
                </c:pt>
                <c:pt idx="24">
                  <c:v>0.93857664998951451</c:v>
                </c:pt>
                <c:pt idx="25">
                  <c:v>0.94695761634147435</c:v>
                </c:pt>
                <c:pt idx="26">
                  <c:v>0.95523672224225231</c:v>
                </c:pt>
                <c:pt idx="27">
                  <c:v>0.96329521658775763</c:v>
                </c:pt>
                <c:pt idx="28">
                  <c:v>0.97011971185682522</c:v>
                </c:pt>
                <c:pt idx="29">
                  <c:v>0.97647023577698566</c:v>
                </c:pt>
                <c:pt idx="30">
                  <c:v>0.98250464105554713</c:v>
                </c:pt>
                <c:pt idx="31">
                  <c:v>0.98672270713260779</c:v>
                </c:pt>
                <c:pt idx="32">
                  <c:v>0.99056571806969296</c:v>
                </c:pt>
                <c:pt idx="33">
                  <c:v>0.9939255633575107</c:v>
                </c:pt>
                <c:pt idx="34">
                  <c:v>0.99701360859760069</c:v>
                </c:pt>
                <c:pt idx="35">
                  <c:v>0.99939007697385629</c:v>
                </c:pt>
                <c:pt idx="36">
                  <c:v>0.99981027716166793</c:v>
                </c:pt>
                <c:pt idx="37">
                  <c:v>0.99986027762654828</c:v>
                </c:pt>
                <c:pt idx="38">
                  <c:v>0.99990537102101162</c:v>
                </c:pt>
                <c:pt idx="39">
                  <c:v>0.99994354286351839</c:v>
                </c:pt>
                <c:pt idx="40">
                  <c:v>0.99996611538743652</c:v>
                </c:pt>
                <c:pt idx="41">
                  <c:v>0.99998698335005187</c:v>
                </c:pt>
                <c:pt idx="42">
                  <c:v>0.9999961259970392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4</c:f>
              <c:strCache>
                <c:ptCount val="43"/>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Boursin Classique Fromage Frais A Tartiner Afh Boite 1X150Gr 1P</c:v>
                </c:pt>
                <c:pt idx="13">
                  <c:v>Boursin Salade &amp; Aperitif Fromage Frais Des Afh 1X120Gr 1P</c:v>
                </c:pt>
                <c:pt idx="14">
                  <c:v>La Vache Qui Rit Pik Et Croq' Fromage Fondu Dips Boite 1X175Gr 5P</c:v>
                </c:pt>
                <c:pt idx="15">
                  <c:v>La Vache Qui Rit Pik Et Croq' Fromage Fondu Dips Boite 1X280Gr 8P</c:v>
                </c:pt>
                <c:pt idx="16">
                  <c:v>Boursin Onctueux Fromage Frais A Tartiner Afh 1X125Gr 1P</c:v>
                </c:pt>
                <c:pt idx="17">
                  <c:v>Kiri Creme Fromage Blanc Frais Carre 1X432Gr 18+6P</c:v>
                </c:pt>
                <c:pt idx="18">
                  <c:v>Boursin Classique Fromage Frais A Tartiner Afh Boite 1X96Gr 6P</c:v>
                </c:pt>
                <c:pt idx="19">
                  <c:v>Boursin Classique Fromage Frais A Tartiner Figue Et 3 Noix Boite 1X150Gr 1P</c:v>
                </c:pt>
                <c:pt idx="20">
                  <c:v>Mini Babybel Aros Soft Cheese Enfant 180G</c:v>
                </c:pt>
                <c:pt idx="21">
                  <c:v>La Vache Qui Rit Allegee Fromage Fondu Boite Ronde Allege 1X267Gr 16P</c:v>
                </c:pt>
                <c:pt idx="22">
                  <c:v>Boursin Classique Fromage Frais A Tartiner Ciboulette &amp; Echalote Boite 1X150Gr 1P</c:v>
                </c:pt>
                <c:pt idx="23">
                  <c:v>Kiri Delicieusement Fouette Fromage Frais A Tartiner 1X125Gr 1P</c:v>
                </c:pt>
                <c:pt idx="24">
                  <c:v>Boursin Classique Fromage Frais A Tartiner Poivre Boite 1X150Gr 1P</c:v>
                </c:pt>
                <c:pt idx="25">
                  <c:v>Boursin Classique Fromage Frais A Tartiner Afh 1X256Gr 16P</c:v>
                </c:pt>
                <c:pt idx="26">
                  <c:v>Babybel Mini Rolls St Paulin Ferme Sachet 1X85Gr 5P</c:v>
                </c:pt>
                <c:pt idx="27">
                  <c:v>Boursin Salade &amp; Aperitif Fromage Frais Des Ciboulette Echalote 1X120Gr 1P</c:v>
                </c:pt>
                <c:pt idx="28">
                  <c:v>Boursin Classique Fromage Frais A Tartiner Ciboulette &amp; Echalote 1X160Gr 10P</c:v>
                </c:pt>
                <c:pt idx="29">
                  <c:v>Kiri Bio Fromage Blanc Frais Carre 1X144Gr 8P</c:v>
                </c:pt>
                <c:pt idx="30">
                  <c:v>La Vache Qui Rit Aro Fromage Fondu Boite Ronde Jambon 1X133Gr 8P</c:v>
                </c:pt>
                <c:pt idx="31">
                  <c:v>Mini Babybel Aros Soft Cheese Enfant 110G</c:v>
                </c:pt>
                <c:pt idx="32">
                  <c:v>Boursin Salade &amp; Aperitif Fromage Frais Des Figue Noix 1X120Gr 1P</c:v>
                </c:pt>
                <c:pt idx="33">
                  <c:v>Kiri Chevre Fromage Blanc Frais Carre 1X144Gr 8P</c:v>
                </c:pt>
                <c:pt idx="34">
                  <c:v>Boursin Salade &amp; Aperitif Fromage Frais Des Citron Romarin 1X120Gr 1P</c:v>
                </c:pt>
                <c:pt idx="35">
                  <c:v>Boursin Salade &amp; Aperitif Soft Cheese Salade 120G</c:v>
                </c:pt>
                <c:pt idx="36">
                  <c:v>Mini Babybel Rouge Filet St Paulin Ferme Sachet 1X40Gr 1P</c:v>
                </c:pt>
                <c:pt idx="37">
                  <c:v>Mini Babybel Aros St Paulin Ferme Raclette Filet 1X132Gr 6P</c:v>
                </c:pt>
                <c:pt idx="38">
                  <c:v>La Vache Qui Rit Nature Fromage Fondu Boite Ronde 1X512Gr 24+8P</c:v>
                </c:pt>
                <c:pt idx="39">
                  <c:v>Kiri Delicieusement Fouette Fromage Frais A Tartiner 1X160Gr 10P</c:v>
                </c:pt>
                <c:pt idx="40">
                  <c:v>Boursin Classique Fromage Frais A Tartiner Afh Boite 1X80Gr 1P</c:v>
                </c:pt>
                <c:pt idx="41">
                  <c:v>Mini Babybel Aros St Paulin Ferme Assortis Filet 1X180Gr 9P</c:v>
                </c:pt>
                <c:pt idx="42">
                  <c:v>Mini Babybel Rouge Filet St Paulin Ferme 1X396Gr 12+6P</c:v>
                </c:pt>
              </c:strCache>
            </c:strRef>
          </c:cat>
          <c:val>
            <c:numRef>
              <c:f>Sheet1!$D$2:$D$44</c:f>
              <c:numCache>
                <c:formatCode>General</c:formatCode>
                <c:ptCount val="43"/>
                <c:pt idx="0">
                  <c:v>29063.92016376663</c:v>
                </c:pt>
                <c:pt idx="1">
                  <c:v>17717.165605095543</c:v>
                </c:pt>
                <c:pt idx="2">
                  <c:v>14897.118473895584</c:v>
                </c:pt>
                <c:pt idx="3">
                  <c:v>15633.443496801707</c:v>
                </c:pt>
                <c:pt idx="4">
                  <c:v>14128.675429726996</c:v>
                </c:pt>
                <c:pt idx="5">
                  <c:v>11646.567317574512</c:v>
                </c:pt>
                <c:pt idx="6">
                  <c:v>10742.450175849941</c:v>
                </c:pt>
                <c:pt idx="7">
                  <c:v>8525.8127018299238</c:v>
                </c:pt>
                <c:pt idx="8">
                  <c:v>7439.1675338189389</c:v>
                </c:pt>
                <c:pt idx="9">
                  <c:v>7033.319713993872</c:v>
                </c:pt>
                <c:pt idx="10">
                  <c:v>6683.4521384928712</c:v>
                </c:pt>
                <c:pt idx="11">
                  <c:v>6589.0899795501027</c:v>
                </c:pt>
                <c:pt idx="12">
                  <c:v>5921.2776659959754</c:v>
                </c:pt>
                <c:pt idx="13">
                  <c:v>4517.4404145077724</c:v>
                </c:pt>
                <c:pt idx="14">
                  <c:v>3923.6081370449679</c:v>
                </c:pt>
                <c:pt idx="15">
                  <c:v>4178.3477188655979</c:v>
                </c:pt>
                <c:pt idx="16">
                  <c:v>3427.2012578616354</c:v>
                </c:pt>
                <c:pt idx="17">
                  <c:v>2973.1127450980393</c:v>
                </c:pt>
                <c:pt idx="18">
                  <c:v>2748.5147392290251</c:v>
                </c:pt>
                <c:pt idx="19">
                  <c:v>2554.8668796592124</c:v>
                </c:pt>
                <c:pt idx="20">
                  <c:v>3174.2514124293784</c:v>
                </c:pt>
                <c:pt idx="21">
                  <c:v>2684.6153846153843</c:v>
                </c:pt>
                <c:pt idx="22">
                  <c:v>2224.3597883597886</c:v>
                </c:pt>
                <c:pt idx="23">
                  <c:v>2076.2514970059879</c:v>
                </c:pt>
                <c:pt idx="24">
                  <c:v>1929.7862232779096</c:v>
                </c:pt>
                <c:pt idx="25">
                  <c:v>2040.9308176100628</c:v>
                </c:pt>
                <c:pt idx="26">
                  <c:v>2183.6784741144411</c:v>
                </c:pt>
                <c:pt idx="27">
                  <c:v>1900.255785627284</c:v>
                </c:pt>
                <c:pt idx="28">
                  <c:v>1647.3940149625935</c:v>
                </c:pt>
                <c:pt idx="29">
                  <c:v>2049.0833333333335</c:v>
                </c:pt>
                <c:pt idx="30">
                  <c:v>1869.2</c:v>
                </c:pt>
                <c:pt idx="31">
                  <c:v>1400.7032590051458</c:v>
                </c:pt>
                <c:pt idx="32">
                  <c:v>1450.2923976608186</c:v>
                </c:pt>
                <c:pt idx="33">
                  <c:v>1197.9005524861877</c:v>
                </c:pt>
                <c:pt idx="34">
                  <c:v>919.7538461538461</c:v>
                </c:pt>
                <c:pt idx="35">
                  <c:v>1116.6990291262136</c:v>
                </c:pt>
                <c:pt idx="36">
                  <c:v>739.5454545454545</c:v>
                </c:pt>
                <c:pt idx="37">
                  <c:v>85.663716814159287</c:v>
                </c:pt>
                <c:pt idx="38">
                  <c:v>8730</c:v>
                </c:pt>
                <c:pt idx="39">
                  <c:v>78.617021276595736</c:v>
                </c:pt>
                <c:pt idx="40">
                  <c:v>67.230769230769226</c:v>
                </c:pt>
                <c:pt idx="41">
                  <c:v>212.63157894736844</c:v>
                </c:pt>
                <c:pt idx="42">
                  <c:v>177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6</c:f>
              <c:strCache>
                <c:ptCount val="55"/>
                <c:pt idx="0">
                  <c:v>La Vache Qui Rit Nature Fromage Fondu Boite Ronde 1X384Gr 24P</c:v>
                </c:pt>
                <c:pt idx="1">
                  <c:v>La Vache Qui Rit Nature Fromage Fondu Boite Ronde 1X512Gr 32P</c:v>
                </c:pt>
                <c:pt idx="2">
                  <c:v>Kiri Creme Fromage Blanc Frais Carre 1X432Gr 24P</c:v>
                </c:pt>
                <c:pt idx="3">
                  <c:v>Mini Babybel Rouge Filet Soft Cheese Enfant 484G</c:v>
                </c:pt>
                <c:pt idx="4">
                  <c:v>Mini Babybel Rouge Filet St Paulin Ferme 1X264Gr 12P</c:v>
                </c:pt>
                <c:pt idx="5">
                  <c:v>Mini Babybel Rouge Filet St Paulin Ferme 1X132Gr 6P</c:v>
                </c:pt>
                <c:pt idx="6">
                  <c:v>Kiri Gouter Fromage Blanc Dips Boite 1X175Gr 5P</c:v>
                </c:pt>
                <c:pt idx="7">
                  <c:v>Mini Babybel Rouge Filet Soft Cheese Enfant 352G</c:v>
                </c:pt>
                <c:pt idx="8">
                  <c:v>Kiri Creme Fromage Blanc Frais Carre 1X216Gr 12P</c:v>
                </c:pt>
                <c:pt idx="9">
                  <c:v>La Vache Qui Rit Nature Fromage Fondu Boite Ronde 1X192Gr 12P</c:v>
                </c:pt>
                <c:pt idx="10">
                  <c:v>Boursin Classique Fromage Frais A Tartiner Afh 1X160Gr 10P</c:v>
                </c:pt>
                <c:pt idx="11">
                  <c:v>La Vache Qui Rit Nature Fromage Fondu Boite Ronde 1X512Gr 24+8P</c:v>
                </c:pt>
                <c:pt idx="12">
                  <c:v>Kiri Creme Fromage Blanc Frais Carre 1X432Gr 18+6P</c:v>
                </c:pt>
                <c:pt idx="13">
                  <c:v>Kiri Creme Fromage Blanc Frais Carre 1X144Gr 8P</c:v>
                </c:pt>
                <c:pt idx="14">
                  <c:v>Kiri Gouter Fromage Blanc Dips Boite 1X280Gr 8P</c:v>
                </c:pt>
                <c:pt idx="15">
                  <c:v>Boursin Classique Fromage Frais A Tartiner Afh Boite 1X250Gr 1P</c:v>
                </c:pt>
                <c:pt idx="16">
                  <c:v>La Vache Qui Rit Pik Et Croq' Fromage Fondu Dips Boite 1X175Gr 5P</c:v>
                </c:pt>
                <c:pt idx="17">
                  <c:v>Boursin Salade &amp; Aperitif Fromage Frais Des Afh 1X120Gr 1P</c:v>
                </c:pt>
                <c:pt idx="18">
                  <c:v>Boursin Classique Fromage Frais A Tartiner Afh Boite 1X150Gr 1P</c:v>
                </c:pt>
                <c:pt idx="19">
                  <c:v>Mini Babybel Rouge Filet St Paulin Ferme 1X396Gr 12+6P</c:v>
                </c:pt>
                <c:pt idx="20">
                  <c:v>La Vache Qui Rit Nature Fromage Fondu Boite Ronde 1X128Gr 8P</c:v>
                </c:pt>
                <c:pt idx="21">
                  <c:v>Mini Babybel Aros Soft Cheese Enfant 180G</c:v>
                </c:pt>
                <c:pt idx="22">
                  <c:v>La Vache Qui Rit Pik Et Croq' Fromage Fondu Dips Boite 1X280Gr 8P</c:v>
                </c:pt>
                <c:pt idx="23">
                  <c:v>Boursin Classique Fromage Frais A Tartiner Afh Boite 1X96Gr 6P</c:v>
                </c:pt>
                <c:pt idx="24">
                  <c:v>Boursin Salade &amp; Aperitif Fromage Frais Des Ciboulette Echalote 1X120Gr 1P</c:v>
                </c:pt>
                <c:pt idx="25">
                  <c:v>Kiri Delicieusement Fouette Fromage Frais A Tartiner 1X210Gr 1P</c:v>
                </c:pt>
                <c:pt idx="26">
                  <c:v>Mini Babybel Aros Soft Cheese Enfant 110G</c:v>
                </c:pt>
                <c:pt idx="27">
                  <c:v>Boursin Salade &amp; Aperitif Fromage Frais Des Figue Noix 1X120Gr 1P</c:v>
                </c:pt>
                <c:pt idx="28">
                  <c:v>Boursin Classique Fromage Frais A Tartiner Figue Et 3 Noix Boite 1X150Gr 1P</c:v>
                </c:pt>
                <c:pt idx="29">
                  <c:v>Boursin Onctueux Fromage Frais A Tartiner Afh 1X125Gr 1P</c:v>
                </c:pt>
                <c:pt idx="30">
                  <c:v>Babybel Mini Rolls St Paulin Ferme Sachet 1X85Gr 5P</c:v>
                </c:pt>
                <c:pt idx="31">
                  <c:v>Boursin Classique Fromage Frais A Tartiner Ciboulette &amp; Echalote Boite 1X150Gr 1P</c:v>
                </c:pt>
                <c:pt idx="32">
                  <c:v>La Vache Qui Rit Allegee Fromage Fondu Boite Ronde Allege 1X267Gr 16P</c:v>
                </c:pt>
                <c:pt idx="33">
                  <c:v>Boursin Classique Fromage Frais A Tartiner Poivre Boite 1X150Gr 1P</c:v>
                </c:pt>
                <c:pt idx="34">
                  <c:v>Kiri Delicieusement Fouette Fromage Frais A Tartiner 1X125Gr 1P</c:v>
                </c:pt>
                <c:pt idx="35">
                  <c:v>Boursin Salade &amp; Aperitif Soft Cheese Salade 120G</c:v>
                </c:pt>
                <c:pt idx="36">
                  <c:v>Boursin Salade &amp; Aperitif Fromage Frais Des Citron Romarin 1X120Gr 1P</c:v>
                </c:pt>
                <c:pt idx="37">
                  <c:v>Boursin Classique Fromage Frais A Tartiner Afh 1X256Gr 16P</c:v>
                </c:pt>
                <c:pt idx="38">
                  <c:v>Kiri Bio Fromage Blanc Frais Carre 1X144Gr 8P</c:v>
                </c:pt>
                <c:pt idx="39">
                  <c:v>Boursin Classique Fromage Frais A Tartiner Afh Boite 1X320Gr 16+4P</c:v>
                </c:pt>
                <c:pt idx="40">
                  <c:v>Mini Babybel Aros Soft Cheese Enfant 120G</c:v>
                </c:pt>
                <c:pt idx="41">
                  <c:v>Boursin Classique Fromage Frais A Tartiner Afh Boite 1X80Gr 1P</c:v>
                </c:pt>
                <c:pt idx="42">
                  <c:v>Boursin Onctueux Fromage Frais A Tartiner Afh 1X210Gr 1P</c:v>
                </c:pt>
                <c:pt idx="43">
                  <c:v>Boursin Classique Fromage Frais A Tartiner 3 Noix Boite 1X150Gr 1P</c:v>
                </c:pt>
                <c:pt idx="44">
                  <c:v>Boursin Classique Fromage Frais A Tartiner 3 Noix 1X160Gr 10P</c:v>
                </c:pt>
                <c:pt idx="45">
                  <c:v>La Vache Qui Rit Aro Fromage Fondu Boite Ronde Jambon 1X133Gr 8P</c:v>
                </c:pt>
                <c:pt idx="46">
                  <c:v>Kiri Delicieusement Fouette Fromage Frais A Tartiner 1X160Gr 10P</c:v>
                </c:pt>
                <c:pt idx="47">
                  <c:v>Mini Babybel Rouge Filet St Paulin Ferme Sachet 1X40Gr 1P</c:v>
                </c:pt>
                <c:pt idx="48">
                  <c:v>Kiri Chevre Fromage Blanc Frais Carre 1X144Gr 8P</c:v>
                </c:pt>
                <c:pt idx="49">
                  <c:v>Mini Babybel Aros St Paulin Ferme Raclette Filet 1X132Gr 6P</c:v>
                </c:pt>
                <c:pt idx="50">
                  <c:v>Mini Babybel Rouge Filet St Paulin Ferme 1X110Gr 5P</c:v>
                </c:pt>
                <c:pt idx="51">
                  <c:v>La Vache Qui Rit Bio Fromage Fondu Boite Ronde 1X128Gr 8P</c:v>
                </c:pt>
                <c:pt idx="52">
                  <c:v>Limiano Queijo Flamengo Autre Sachet 1X450Gr 1P</c:v>
                </c:pt>
                <c:pt idx="53">
                  <c:v>Mini Babybel Aros St Paulin Ferme Emmental Filet 1X120Gr 6P</c:v>
                </c:pt>
                <c:pt idx="54">
                  <c:v>Mini Babybel Aros St Paulin Ferme Assortis Filet 1X180Gr 9P</c:v>
                </c:pt>
              </c:strCache>
            </c:strRef>
          </c:cat>
          <c:val>
            <c:numRef>
              <c:f>Sheet1!$B$2:$B$56</c:f>
              <c:numCache>
                <c:formatCode>General</c:formatCode>
                <c:ptCount val="55"/>
                <c:pt idx="0">
                  <c:v>0.98</c:v>
                </c:pt>
                <c:pt idx="1">
                  <c:v>0.98</c:v>
                </c:pt>
                <c:pt idx="2">
                  <c:v>0.98</c:v>
                </c:pt>
                <c:pt idx="3">
                  <c:v>0.97</c:v>
                </c:pt>
                <c:pt idx="4">
                  <c:v>1</c:v>
                </c:pt>
                <c:pt idx="5">
                  <c:v>1</c:v>
                </c:pt>
                <c:pt idx="6">
                  <c:v>1</c:v>
                </c:pt>
                <c:pt idx="7">
                  <c:v>0.99</c:v>
                </c:pt>
                <c:pt idx="8">
                  <c:v>1</c:v>
                </c:pt>
                <c:pt idx="9">
                  <c:v>1</c:v>
                </c:pt>
                <c:pt idx="10">
                  <c:v>1</c:v>
                </c:pt>
                <c:pt idx="11">
                  <c:v>0.93</c:v>
                </c:pt>
                <c:pt idx="12">
                  <c:v>0.98</c:v>
                </c:pt>
                <c:pt idx="13">
                  <c:v>1</c:v>
                </c:pt>
                <c:pt idx="14">
                  <c:v>0.98</c:v>
                </c:pt>
                <c:pt idx="15">
                  <c:v>1</c:v>
                </c:pt>
                <c:pt idx="16">
                  <c:v>1</c:v>
                </c:pt>
                <c:pt idx="17">
                  <c:v>1</c:v>
                </c:pt>
                <c:pt idx="18">
                  <c:v>1</c:v>
                </c:pt>
                <c:pt idx="19">
                  <c:v>0.91</c:v>
                </c:pt>
                <c:pt idx="20">
                  <c:v>0.93</c:v>
                </c:pt>
                <c:pt idx="21">
                  <c:v>0.96</c:v>
                </c:pt>
                <c:pt idx="22">
                  <c:v>0.93</c:v>
                </c:pt>
                <c:pt idx="23">
                  <c:v>1</c:v>
                </c:pt>
                <c:pt idx="24">
                  <c:v>0.99</c:v>
                </c:pt>
                <c:pt idx="25">
                  <c:v>0.96</c:v>
                </c:pt>
                <c:pt idx="26">
                  <c:v>0.94</c:v>
                </c:pt>
                <c:pt idx="27">
                  <c:v>0.99</c:v>
                </c:pt>
                <c:pt idx="28">
                  <c:v>0.94</c:v>
                </c:pt>
                <c:pt idx="29">
                  <c:v>0.99</c:v>
                </c:pt>
                <c:pt idx="30">
                  <c:v>0.92</c:v>
                </c:pt>
                <c:pt idx="31">
                  <c:v>0.97</c:v>
                </c:pt>
                <c:pt idx="32">
                  <c:v>0.84</c:v>
                </c:pt>
                <c:pt idx="33">
                  <c:v>0.88</c:v>
                </c:pt>
                <c:pt idx="34">
                  <c:v>0.98</c:v>
                </c:pt>
                <c:pt idx="35">
                  <c:v>0.94</c:v>
                </c:pt>
                <c:pt idx="36">
                  <c:v>0.93</c:v>
                </c:pt>
                <c:pt idx="37">
                  <c:v>0.53</c:v>
                </c:pt>
                <c:pt idx="38">
                  <c:v>0.54</c:v>
                </c:pt>
                <c:pt idx="39">
                  <c:v>0.85</c:v>
                </c:pt>
                <c:pt idx="40">
                  <c:v>0.68</c:v>
                </c:pt>
                <c:pt idx="41">
                  <c:v>0.77</c:v>
                </c:pt>
                <c:pt idx="42">
                  <c:v>0.59</c:v>
                </c:pt>
                <c:pt idx="43">
                  <c:v>0.67</c:v>
                </c:pt>
                <c:pt idx="44">
                  <c:v>0.49</c:v>
                </c:pt>
                <c:pt idx="45">
                  <c:v>0.06</c:v>
                </c:pt>
                <c:pt idx="46">
                  <c:v>0.56000000000000005</c:v>
                </c:pt>
                <c:pt idx="47">
                  <c:v>0.21</c:v>
                </c:pt>
                <c:pt idx="48">
                  <c:v>0.15</c:v>
                </c:pt>
                <c:pt idx="49">
                  <c:v>0.38</c:v>
                </c:pt>
                <c:pt idx="50">
                  <c:v>0.04</c:v>
                </c:pt>
                <c:pt idx="51">
                  <c:v>0.19</c:v>
                </c:pt>
                <c:pt idx="52">
                  <c:v>0.01</c:v>
                </c:pt>
                <c:pt idx="53">
                  <c:v>7.0000000000000007E-2</c:v>
                </c:pt>
                <c:pt idx="5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788F-4549-B677-CB99C1DC1336}"/>
              </c:ext>
            </c:extLst>
          </c:dPt>
          <c:dPt>
            <c:idx val="45"/>
            <c:invertIfNegative val="1"/>
            <c:bubble3D val="0"/>
            <c:spPr>
              <a:solidFill>
                <a:srgbClr val="AEABAB"/>
              </a:solidFill>
            </c:spPr>
            <c:extLst>
              <c:ext xmlns:c16="http://schemas.microsoft.com/office/drawing/2014/chart" uri="{C3380CC4-5D6E-409C-BE32-E72D297353CC}">
                <c16:uniqueId val="{0000005D-788F-4549-B677-CB99C1DC1336}"/>
              </c:ext>
            </c:extLst>
          </c:dPt>
          <c:dPt>
            <c:idx val="46"/>
            <c:invertIfNegative val="1"/>
            <c:bubble3D val="0"/>
            <c:spPr>
              <a:solidFill>
                <a:srgbClr val="AEABAB"/>
              </a:solidFill>
            </c:spPr>
            <c:extLst>
              <c:ext xmlns:c16="http://schemas.microsoft.com/office/drawing/2014/chart" uri="{C3380CC4-5D6E-409C-BE32-E72D297353CC}">
                <c16:uniqueId val="{0000005F-788F-4549-B677-CB99C1DC1336}"/>
              </c:ext>
            </c:extLst>
          </c:dPt>
          <c:dPt>
            <c:idx val="47"/>
            <c:invertIfNegative val="1"/>
            <c:bubble3D val="0"/>
            <c:spPr>
              <a:solidFill>
                <a:srgbClr val="AEABAB"/>
              </a:solidFill>
            </c:spPr>
            <c:extLst>
              <c:ext xmlns:c16="http://schemas.microsoft.com/office/drawing/2014/chart" uri="{C3380CC4-5D6E-409C-BE32-E72D297353CC}">
                <c16:uniqueId val="{00000061-788F-4549-B677-CB99C1DC1336}"/>
              </c:ext>
            </c:extLst>
          </c:dPt>
          <c:dPt>
            <c:idx val="48"/>
            <c:invertIfNegative val="1"/>
            <c:bubble3D val="0"/>
            <c:spPr>
              <a:solidFill>
                <a:srgbClr val="AEABAB"/>
              </a:solidFill>
            </c:spPr>
            <c:extLst>
              <c:ext xmlns:c16="http://schemas.microsoft.com/office/drawing/2014/chart" uri="{C3380CC4-5D6E-409C-BE32-E72D297353CC}">
                <c16:uniqueId val="{00000063-788F-4549-B677-CB99C1DC1336}"/>
              </c:ext>
            </c:extLst>
          </c:dPt>
          <c:dPt>
            <c:idx val="49"/>
            <c:invertIfNegative val="1"/>
            <c:bubble3D val="0"/>
            <c:spPr>
              <a:solidFill>
                <a:srgbClr val="AEABAB"/>
              </a:solidFill>
            </c:spPr>
            <c:extLst>
              <c:ext xmlns:c16="http://schemas.microsoft.com/office/drawing/2014/chart" uri="{C3380CC4-5D6E-409C-BE32-E72D297353CC}">
                <c16:uniqueId val="{00000065-788F-4549-B677-CB99C1DC1336}"/>
              </c:ext>
            </c:extLst>
          </c:dPt>
          <c:dPt>
            <c:idx val="50"/>
            <c:invertIfNegative val="1"/>
            <c:bubble3D val="0"/>
            <c:spPr>
              <a:solidFill>
                <a:srgbClr val="AEABAB"/>
              </a:solidFill>
            </c:spPr>
            <c:extLst>
              <c:ext xmlns:c16="http://schemas.microsoft.com/office/drawing/2014/chart" uri="{C3380CC4-5D6E-409C-BE32-E72D297353CC}">
                <c16:uniqueId val="{00000067-788F-4549-B677-CB99C1DC1336}"/>
              </c:ext>
            </c:extLst>
          </c:dPt>
          <c:dPt>
            <c:idx val="51"/>
            <c:invertIfNegative val="1"/>
            <c:bubble3D val="0"/>
            <c:spPr>
              <a:solidFill>
                <a:srgbClr val="AEABAB"/>
              </a:solidFill>
            </c:spPr>
            <c:extLst>
              <c:ext xmlns:c16="http://schemas.microsoft.com/office/drawing/2014/chart" uri="{C3380CC4-5D6E-409C-BE32-E72D297353CC}">
                <c16:uniqueId val="{00000069-788F-4549-B677-CB99C1DC1336}"/>
              </c:ext>
            </c:extLst>
          </c:dPt>
          <c:dPt>
            <c:idx val="52"/>
            <c:invertIfNegative val="1"/>
            <c:bubble3D val="0"/>
            <c:spPr>
              <a:solidFill>
                <a:srgbClr val="AEABAB"/>
              </a:solidFill>
            </c:spPr>
            <c:extLst>
              <c:ext xmlns:c16="http://schemas.microsoft.com/office/drawing/2014/chart" uri="{C3380CC4-5D6E-409C-BE32-E72D297353CC}">
                <c16:uniqueId val="{0000006B-788F-4549-B677-CB99C1DC1336}"/>
              </c:ext>
            </c:extLst>
          </c:dPt>
          <c:dPt>
            <c:idx val="53"/>
            <c:invertIfNegative val="1"/>
            <c:bubble3D val="0"/>
            <c:spPr>
              <a:solidFill>
                <a:srgbClr val="AEABAB"/>
              </a:solidFill>
            </c:spPr>
            <c:extLst>
              <c:ext xmlns:c16="http://schemas.microsoft.com/office/drawing/2014/chart" uri="{C3380CC4-5D6E-409C-BE32-E72D297353CC}">
                <c16:uniqueId val="{0000006D-788F-4549-B677-CB99C1DC1336}"/>
              </c:ext>
            </c:extLst>
          </c:dPt>
          <c:dPt>
            <c:idx val="54"/>
            <c:invertIfNegative val="1"/>
            <c:bubble3D val="0"/>
            <c:spPr>
              <a:solidFill>
                <a:srgbClr val="AEABAB"/>
              </a:solidFill>
            </c:spPr>
            <c:extLst>
              <c:ext xmlns:c16="http://schemas.microsoft.com/office/drawing/2014/chart" uri="{C3380CC4-5D6E-409C-BE32-E72D297353CC}">
                <c16:uniqueId val="{0000006F-788F-4549-B677-CB99C1DC1336}"/>
              </c:ext>
            </c:extLst>
          </c:dPt>
          <c:cat>
            <c:strRef>
              <c:f>Sheet1!$A$2:$A$56</c:f>
              <c:strCache>
                <c:ptCount val="55"/>
                <c:pt idx="0">
                  <c:v>La Vache Qui Rit Nature Fromage Fondu Boite Ronde 1X384Gr 24P</c:v>
                </c:pt>
                <c:pt idx="1">
                  <c:v>La Vache Qui Rit Nature Fromage Fondu Boite Ronde 1X512Gr 32P</c:v>
                </c:pt>
                <c:pt idx="2">
                  <c:v>Kiri Creme Fromage Blanc Frais Carre 1X432Gr 24P</c:v>
                </c:pt>
                <c:pt idx="3">
                  <c:v>Mini Babybel Rouge Filet Soft Cheese Enfant 484G</c:v>
                </c:pt>
                <c:pt idx="4">
                  <c:v>Mini Babybel Rouge Filet St Paulin Ferme 1X264Gr 12P</c:v>
                </c:pt>
                <c:pt idx="5">
                  <c:v>Mini Babybel Rouge Filet St Paulin Ferme 1X132Gr 6P</c:v>
                </c:pt>
                <c:pt idx="6">
                  <c:v>Kiri Gouter Fromage Blanc Dips Boite 1X175Gr 5P</c:v>
                </c:pt>
                <c:pt idx="7">
                  <c:v>Mini Babybel Rouge Filet Soft Cheese Enfant 352G</c:v>
                </c:pt>
                <c:pt idx="8">
                  <c:v>Kiri Creme Fromage Blanc Frais Carre 1X216Gr 12P</c:v>
                </c:pt>
                <c:pt idx="9">
                  <c:v>La Vache Qui Rit Nature Fromage Fondu Boite Ronde 1X192Gr 12P</c:v>
                </c:pt>
                <c:pt idx="10">
                  <c:v>Boursin Classique Fromage Frais A Tartiner Afh 1X160Gr 10P</c:v>
                </c:pt>
                <c:pt idx="11">
                  <c:v>La Vache Qui Rit Nature Fromage Fondu Boite Ronde 1X512Gr 24+8P</c:v>
                </c:pt>
                <c:pt idx="12">
                  <c:v>Kiri Creme Fromage Blanc Frais Carre 1X432Gr 18+6P</c:v>
                </c:pt>
                <c:pt idx="13">
                  <c:v>Kiri Creme Fromage Blanc Frais Carre 1X144Gr 8P</c:v>
                </c:pt>
                <c:pt idx="14">
                  <c:v>Kiri Gouter Fromage Blanc Dips Boite 1X280Gr 8P</c:v>
                </c:pt>
                <c:pt idx="15">
                  <c:v>Boursin Classique Fromage Frais A Tartiner Afh Boite 1X250Gr 1P</c:v>
                </c:pt>
                <c:pt idx="16">
                  <c:v>La Vache Qui Rit Pik Et Croq' Fromage Fondu Dips Boite 1X175Gr 5P</c:v>
                </c:pt>
                <c:pt idx="17">
                  <c:v>Boursin Salade &amp; Aperitif Fromage Frais Des Afh 1X120Gr 1P</c:v>
                </c:pt>
                <c:pt idx="18">
                  <c:v>Boursin Classique Fromage Frais A Tartiner Afh Boite 1X150Gr 1P</c:v>
                </c:pt>
                <c:pt idx="19">
                  <c:v>Mini Babybel Rouge Filet St Paulin Ferme 1X396Gr 12+6P</c:v>
                </c:pt>
                <c:pt idx="20">
                  <c:v>La Vache Qui Rit Nature Fromage Fondu Boite Ronde 1X128Gr 8P</c:v>
                </c:pt>
                <c:pt idx="21">
                  <c:v>Mini Babybel Aros Soft Cheese Enfant 180G</c:v>
                </c:pt>
                <c:pt idx="22">
                  <c:v>La Vache Qui Rit Pik Et Croq' Fromage Fondu Dips Boite 1X280Gr 8P</c:v>
                </c:pt>
                <c:pt idx="23">
                  <c:v>Boursin Classique Fromage Frais A Tartiner Afh Boite 1X96Gr 6P</c:v>
                </c:pt>
                <c:pt idx="24">
                  <c:v>Boursin Salade &amp; Aperitif Fromage Frais Des Ciboulette Echalote 1X120Gr 1P</c:v>
                </c:pt>
                <c:pt idx="25">
                  <c:v>Kiri Delicieusement Fouette Fromage Frais A Tartiner 1X210Gr 1P</c:v>
                </c:pt>
                <c:pt idx="26">
                  <c:v>Mini Babybel Aros Soft Cheese Enfant 110G</c:v>
                </c:pt>
                <c:pt idx="27">
                  <c:v>Boursin Salade &amp; Aperitif Fromage Frais Des Figue Noix 1X120Gr 1P</c:v>
                </c:pt>
                <c:pt idx="28">
                  <c:v>Boursin Classique Fromage Frais A Tartiner Figue Et 3 Noix Boite 1X150Gr 1P</c:v>
                </c:pt>
                <c:pt idx="29">
                  <c:v>Boursin Onctueux Fromage Frais A Tartiner Afh 1X125Gr 1P</c:v>
                </c:pt>
                <c:pt idx="30">
                  <c:v>Babybel Mini Rolls St Paulin Ferme Sachet 1X85Gr 5P</c:v>
                </c:pt>
                <c:pt idx="31">
                  <c:v>Boursin Classique Fromage Frais A Tartiner Ciboulette &amp; Echalote Boite 1X150Gr 1P</c:v>
                </c:pt>
                <c:pt idx="32">
                  <c:v>La Vache Qui Rit Allegee Fromage Fondu Boite Ronde Allege 1X267Gr 16P</c:v>
                </c:pt>
                <c:pt idx="33">
                  <c:v>Boursin Classique Fromage Frais A Tartiner Poivre Boite 1X150Gr 1P</c:v>
                </c:pt>
                <c:pt idx="34">
                  <c:v>Kiri Delicieusement Fouette Fromage Frais A Tartiner 1X125Gr 1P</c:v>
                </c:pt>
                <c:pt idx="35">
                  <c:v>Boursin Salade &amp; Aperitif Soft Cheese Salade 120G</c:v>
                </c:pt>
                <c:pt idx="36">
                  <c:v>Boursin Salade &amp; Aperitif Fromage Frais Des Citron Romarin 1X120Gr 1P</c:v>
                </c:pt>
                <c:pt idx="37">
                  <c:v>Boursin Classique Fromage Frais A Tartiner Afh 1X256Gr 16P</c:v>
                </c:pt>
                <c:pt idx="38">
                  <c:v>Kiri Bio Fromage Blanc Frais Carre 1X144Gr 8P</c:v>
                </c:pt>
                <c:pt idx="39">
                  <c:v>Boursin Classique Fromage Frais A Tartiner Afh Boite 1X320Gr 16+4P</c:v>
                </c:pt>
                <c:pt idx="40">
                  <c:v>Mini Babybel Aros Soft Cheese Enfant 120G</c:v>
                </c:pt>
                <c:pt idx="41">
                  <c:v>Boursin Classique Fromage Frais A Tartiner Afh Boite 1X80Gr 1P</c:v>
                </c:pt>
                <c:pt idx="42">
                  <c:v>Boursin Onctueux Fromage Frais A Tartiner Afh 1X210Gr 1P</c:v>
                </c:pt>
                <c:pt idx="43">
                  <c:v>Boursin Classique Fromage Frais A Tartiner 3 Noix Boite 1X150Gr 1P</c:v>
                </c:pt>
                <c:pt idx="44">
                  <c:v>Boursin Classique Fromage Frais A Tartiner 3 Noix 1X160Gr 10P</c:v>
                </c:pt>
                <c:pt idx="45">
                  <c:v>La Vache Qui Rit Aro Fromage Fondu Boite Ronde Jambon 1X133Gr 8P</c:v>
                </c:pt>
                <c:pt idx="46">
                  <c:v>Kiri Delicieusement Fouette Fromage Frais A Tartiner 1X160Gr 10P</c:v>
                </c:pt>
                <c:pt idx="47">
                  <c:v>Mini Babybel Rouge Filet St Paulin Ferme Sachet 1X40Gr 1P</c:v>
                </c:pt>
                <c:pt idx="48">
                  <c:v>Kiri Chevre Fromage Blanc Frais Carre 1X144Gr 8P</c:v>
                </c:pt>
                <c:pt idx="49">
                  <c:v>Mini Babybel Aros St Paulin Ferme Raclette Filet 1X132Gr 6P</c:v>
                </c:pt>
                <c:pt idx="50">
                  <c:v>Mini Babybel Rouge Filet St Paulin Ferme 1X110Gr 5P</c:v>
                </c:pt>
                <c:pt idx="51">
                  <c:v>La Vache Qui Rit Bio Fromage Fondu Boite Ronde 1X128Gr 8P</c:v>
                </c:pt>
                <c:pt idx="52">
                  <c:v>Limiano Queijo Flamengo Autre Sachet 1X450Gr 1P</c:v>
                </c:pt>
                <c:pt idx="53">
                  <c:v>Mini Babybel Aros St Paulin Ferme Emmental Filet 1X120Gr 6P</c:v>
                </c:pt>
                <c:pt idx="54">
                  <c:v>Mini Babybel Aros St Paulin Ferme Assortis Filet 1X180Gr 9P</c:v>
                </c:pt>
              </c:strCache>
            </c:strRef>
          </c:cat>
          <c:val>
            <c:numRef>
              <c:f>Sheet1!$C$2:$C$56</c:f>
              <c:numCache>
                <c:formatCode>General</c:formatCode>
                <c:ptCount val="55"/>
                <c:pt idx="0">
                  <c:v>9.409738456735478E-2</c:v>
                </c:pt>
                <c:pt idx="1">
                  <c:v>0.18800152273653548</c:v>
                </c:pt>
                <c:pt idx="2">
                  <c:v>0.27477323025009243</c:v>
                </c:pt>
                <c:pt idx="3">
                  <c:v>0.3517751142507558</c:v>
                </c:pt>
                <c:pt idx="4">
                  <c:v>0.42349068190836581</c:v>
                </c:pt>
                <c:pt idx="5">
                  <c:v>0.47327265332853263</c:v>
                </c:pt>
                <c:pt idx="6">
                  <c:v>0.51962638682900519</c:v>
                </c:pt>
                <c:pt idx="7">
                  <c:v>0.56382944137052526</c:v>
                </c:pt>
                <c:pt idx="8">
                  <c:v>0.59927814797645707</c:v>
                </c:pt>
                <c:pt idx="9">
                  <c:v>0.63321842296200692</c:v>
                </c:pt>
                <c:pt idx="10">
                  <c:v>0.66077142332257743</c:v>
                </c:pt>
                <c:pt idx="11">
                  <c:v>0.68743318412584431</c:v>
                </c:pt>
                <c:pt idx="12">
                  <c:v>0.7139043861210419</c:v>
                </c:pt>
                <c:pt idx="13">
                  <c:v>0.73719521536136334</c:v>
                </c:pt>
                <c:pt idx="14">
                  <c:v>0.75889239036604716</c:v>
                </c:pt>
                <c:pt idx="15">
                  <c:v>0.78043793327095234</c:v>
                </c:pt>
                <c:pt idx="16">
                  <c:v>0.80134209580183691</c:v>
                </c:pt>
                <c:pt idx="17">
                  <c:v>0.8204356028702422</c:v>
                </c:pt>
                <c:pt idx="18">
                  <c:v>0.83928176495255924</c:v>
                </c:pt>
                <c:pt idx="19">
                  <c:v>0.85732060964600365</c:v>
                </c:pt>
                <c:pt idx="20">
                  <c:v>0.87334636265456567</c:v>
                </c:pt>
                <c:pt idx="21">
                  <c:v>0.88397378750022648</c:v>
                </c:pt>
                <c:pt idx="22">
                  <c:v>0.89388509962766471</c:v>
                </c:pt>
                <c:pt idx="23">
                  <c:v>0.90318910308789357</c:v>
                </c:pt>
                <c:pt idx="24">
                  <c:v>0.91215767796376379</c:v>
                </c:pt>
                <c:pt idx="25">
                  <c:v>0.92039843609998773</c:v>
                </c:pt>
                <c:pt idx="26">
                  <c:v>0.92772255261759573</c:v>
                </c:pt>
                <c:pt idx="27">
                  <c:v>0.93450863093553194</c:v>
                </c:pt>
                <c:pt idx="28">
                  <c:v>0.94106903838112754</c:v>
                </c:pt>
                <c:pt idx="29">
                  <c:v>0.94746662988425079</c:v>
                </c:pt>
                <c:pt idx="30">
                  <c:v>0.95381827226622895</c:v>
                </c:pt>
                <c:pt idx="31">
                  <c:v>0.96009856346574984</c:v>
                </c:pt>
                <c:pt idx="32">
                  <c:v>0.96597216159490973</c:v>
                </c:pt>
                <c:pt idx="33">
                  <c:v>0.97086929755151019</c:v>
                </c:pt>
                <c:pt idx="34">
                  <c:v>0.9755156206638228</c:v>
                </c:pt>
                <c:pt idx="35">
                  <c:v>0.97974406686308058</c:v>
                </c:pt>
                <c:pt idx="36">
                  <c:v>0.98359182892847452</c:v>
                </c:pt>
                <c:pt idx="37">
                  <c:v>0.98649737392103032</c:v>
                </c:pt>
                <c:pt idx="38">
                  <c:v>0.98902154120808239</c:v>
                </c:pt>
                <c:pt idx="39">
                  <c:v>0.99147938570706662</c:v>
                </c:pt>
                <c:pt idx="40">
                  <c:v>0.99366248914018551</c:v>
                </c:pt>
                <c:pt idx="41">
                  <c:v>0.99553747337226772</c:v>
                </c:pt>
                <c:pt idx="42">
                  <c:v>0.99666253326868104</c:v>
                </c:pt>
                <c:pt idx="43">
                  <c:v>0.99771719564364203</c:v>
                </c:pt>
                <c:pt idx="44">
                  <c:v>0.99838250423924013</c:v>
                </c:pt>
                <c:pt idx="45">
                  <c:v>0.99900212380305808</c:v>
                </c:pt>
                <c:pt idx="46">
                  <c:v>0.99929368398119156</c:v>
                </c:pt>
                <c:pt idx="47">
                  <c:v>0.99956807826123684</c:v>
                </c:pt>
                <c:pt idx="48">
                  <c:v>0.99968806615494388</c:v>
                </c:pt>
                <c:pt idx="49">
                  <c:v>0.99977805707522416</c:v>
                </c:pt>
                <c:pt idx="50">
                  <c:v>0.99986440674439481</c:v>
                </c:pt>
                <c:pt idx="51">
                  <c:v>0.99994867569864565</c:v>
                </c:pt>
                <c:pt idx="52">
                  <c:v>0.99996956954429839</c:v>
                </c:pt>
                <c:pt idx="53">
                  <c:v>0.99998942303249128</c:v>
                </c:pt>
                <c:pt idx="5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6</c:f>
              <c:strCache>
                <c:ptCount val="55"/>
                <c:pt idx="0">
                  <c:v>La Vache Qui Rit Nature Fromage Fondu Boite Ronde 1X384Gr 24P</c:v>
                </c:pt>
                <c:pt idx="1">
                  <c:v>La Vache Qui Rit Nature Fromage Fondu Boite Ronde 1X512Gr 32P</c:v>
                </c:pt>
                <c:pt idx="2">
                  <c:v>Kiri Creme Fromage Blanc Frais Carre 1X432Gr 24P</c:v>
                </c:pt>
                <c:pt idx="3">
                  <c:v>Mini Babybel Rouge Filet Soft Cheese Enfant 484G</c:v>
                </c:pt>
                <c:pt idx="4">
                  <c:v>Mini Babybel Rouge Filet St Paulin Ferme 1X264Gr 12P</c:v>
                </c:pt>
                <c:pt idx="5">
                  <c:v>Mini Babybel Rouge Filet St Paulin Ferme 1X132Gr 6P</c:v>
                </c:pt>
                <c:pt idx="6">
                  <c:v>Kiri Gouter Fromage Blanc Dips Boite 1X175Gr 5P</c:v>
                </c:pt>
                <c:pt idx="7">
                  <c:v>Mini Babybel Rouge Filet Soft Cheese Enfant 352G</c:v>
                </c:pt>
                <c:pt idx="8">
                  <c:v>Kiri Creme Fromage Blanc Frais Carre 1X216Gr 12P</c:v>
                </c:pt>
                <c:pt idx="9">
                  <c:v>La Vache Qui Rit Nature Fromage Fondu Boite Ronde 1X192Gr 12P</c:v>
                </c:pt>
                <c:pt idx="10">
                  <c:v>Boursin Classique Fromage Frais A Tartiner Afh 1X160Gr 10P</c:v>
                </c:pt>
                <c:pt idx="11">
                  <c:v>La Vache Qui Rit Nature Fromage Fondu Boite Ronde 1X512Gr 24+8P</c:v>
                </c:pt>
                <c:pt idx="12">
                  <c:v>Kiri Creme Fromage Blanc Frais Carre 1X432Gr 18+6P</c:v>
                </c:pt>
                <c:pt idx="13">
                  <c:v>Kiri Creme Fromage Blanc Frais Carre 1X144Gr 8P</c:v>
                </c:pt>
                <c:pt idx="14">
                  <c:v>Kiri Gouter Fromage Blanc Dips Boite 1X280Gr 8P</c:v>
                </c:pt>
                <c:pt idx="15">
                  <c:v>Boursin Classique Fromage Frais A Tartiner Afh Boite 1X250Gr 1P</c:v>
                </c:pt>
                <c:pt idx="16">
                  <c:v>La Vache Qui Rit Pik Et Croq' Fromage Fondu Dips Boite 1X175Gr 5P</c:v>
                </c:pt>
                <c:pt idx="17">
                  <c:v>Boursin Salade &amp; Aperitif Fromage Frais Des Afh 1X120Gr 1P</c:v>
                </c:pt>
                <c:pt idx="18">
                  <c:v>Boursin Classique Fromage Frais A Tartiner Afh Boite 1X150Gr 1P</c:v>
                </c:pt>
                <c:pt idx="19">
                  <c:v>Mini Babybel Rouge Filet St Paulin Ferme 1X396Gr 12+6P</c:v>
                </c:pt>
                <c:pt idx="20">
                  <c:v>La Vache Qui Rit Nature Fromage Fondu Boite Ronde 1X128Gr 8P</c:v>
                </c:pt>
                <c:pt idx="21">
                  <c:v>Mini Babybel Aros Soft Cheese Enfant 180G</c:v>
                </c:pt>
                <c:pt idx="22">
                  <c:v>La Vache Qui Rit Pik Et Croq' Fromage Fondu Dips Boite 1X280Gr 8P</c:v>
                </c:pt>
                <c:pt idx="23">
                  <c:v>Boursin Classique Fromage Frais A Tartiner Afh Boite 1X96Gr 6P</c:v>
                </c:pt>
                <c:pt idx="24">
                  <c:v>Boursin Salade &amp; Aperitif Fromage Frais Des Ciboulette Echalote 1X120Gr 1P</c:v>
                </c:pt>
                <c:pt idx="25">
                  <c:v>Kiri Delicieusement Fouette Fromage Frais A Tartiner 1X210Gr 1P</c:v>
                </c:pt>
                <c:pt idx="26">
                  <c:v>Mini Babybel Aros Soft Cheese Enfant 110G</c:v>
                </c:pt>
                <c:pt idx="27">
                  <c:v>Boursin Salade &amp; Aperitif Fromage Frais Des Figue Noix 1X120Gr 1P</c:v>
                </c:pt>
                <c:pt idx="28">
                  <c:v>Boursin Classique Fromage Frais A Tartiner Figue Et 3 Noix Boite 1X150Gr 1P</c:v>
                </c:pt>
                <c:pt idx="29">
                  <c:v>Boursin Onctueux Fromage Frais A Tartiner Afh 1X125Gr 1P</c:v>
                </c:pt>
                <c:pt idx="30">
                  <c:v>Babybel Mini Rolls St Paulin Ferme Sachet 1X85Gr 5P</c:v>
                </c:pt>
                <c:pt idx="31">
                  <c:v>Boursin Classique Fromage Frais A Tartiner Ciboulette &amp; Echalote Boite 1X150Gr 1P</c:v>
                </c:pt>
                <c:pt idx="32">
                  <c:v>La Vache Qui Rit Allegee Fromage Fondu Boite Ronde Allege 1X267Gr 16P</c:v>
                </c:pt>
                <c:pt idx="33">
                  <c:v>Boursin Classique Fromage Frais A Tartiner Poivre Boite 1X150Gr 1P</c:v>
                </c:pt>
                <c:pt idx="34">
                  <c:v>Kiri Delicieusement Fouette Fromage Frais A Tartiner 1X125Gr 1P</c:v>
                </c:pt>
                <c:pt idx="35">
                  <c:v>Boursin Salade &amp; Aperitif Soft Cheese Salade 120G</c:v>
                </c:pt>
                <c:pt idx="36">
                  <c:v>Boursin Salade &amp; Aperitif Fromage Frais Des Citron Romarin 1X120Gr 1P</c:v>
                </c:pt>
                <c:pt idx="37">
                  <c:v>Boursin Classique Fromage Frais A Tartiner Afh 1X256Gr 16P</c:v>
                </c:pt>
                <c:pt idx="38">
                  <c:v>Kiri Bio Fromage Blanc Frais Carre 1X144Gr 8P</c:v>
                </c:pt>
                <c:pt idx="39">
                  <c:v>Boursin Classique Fromage Frais A Tartiner Afh Boite 1X320Gr 16+4P</c:v>
                </c:pt>
                <c:pt idx="40">
                  <c:v>Mini Babybel Aros Soft Cheese Enfant 120G</c:v>
                </c:pt>
                <c:pt idx="41">
                  <c:v>Boursin Classique Fromage Frais A Tartiner Afh Boite 1X80Gr 1P</c:v>
                </c:pt>
                <c:pt idx="42">
                  <c:v>Boursin Onctueux Fromage Frais A Tartiner Afh 1X210Gr 1P</c:v>
                </c:pt>
                <c:pt idx="43">
                  <c:v>Boursin Classique Fromage Frais A Tartiner 3 Noix Boite 1X150Gr 1P</c:v>
                </c:pt>
                <c:pt idx="44">
                  <c:v>Boursin Classique Fromage Frais A Tartiner 3 Noix 1X160Gr 10P</c:v>
                </c:pt>
                <c:pt idx="45">
                  <c:v>La Vache Qui Rit Aro Fromage Fondu Boite Ronde Jambon 1X133Gr 8P</c:v>
                </c:pt>
                <c:pt idx="46">
                  <c:v>Kiri Delicieusement Fouette Fromage Frais A Tartiner 1X160Gr 10P</c:v>
                </c:pt>
                <c:pt idx="47">
                  <c:v>Mini Babybel Rouge Filet St Paulin Ferme Sachet 1X40Gr 1P</c:v>
                </c:pt>
                <c:pt idx="48">
                  <c:v>Kiri Chevre Fromage Blanc Frais Carre 1X144Gr 8P</c:v>
                </c:pt>
                <c:pt idx="49">
                  <c:v>Mini Babybel Aros St Paulin Ferme Raclette Filet 1X132Gr 6P</c:v>
                </c:pt>
                <c:pt idx="50">
                  <c:v>Mini Babybel Rouge Filet St Paulin Ferme 1X110Gr 5P</c:v>
                </c:pt>
                <c:pt idx="51">
                  <c:v>La Vache Qui Rit Bio Fromage Fondu Boite Ronde 1X128Gr 8P</c:v>
                </c:pt>
                <c:pt idx="52">
                  <c:v>Limiano Queijo Flamengo Autre Sachet 1X450Gr 1P</c:v>
                </c:pt>
                <c:pt idx="53">
                  <c:v>Mini Babybel Aros St Paulin Ferme Emmental Filet 1X120Gr 6P</c:v>
                </c:pt>
                <c:pt idx="54">
                  <c:v>Mini Babybel Aros St Paulin Ferme Assortis Filet 1X180Gr 9P</c:v>
                </c:pt>
              </c:strCache>
            </c:strRef>
          </c:cat>
          <c:val>
            <c:numRef>
              <c:f>Sheet1!$D$2:$D$56</c:f>
              <c:numCache>
                <c:formatCode>General</c:formatCode>
                <c:ptCount val="55"/>
                <c:pt idx="0">
                  <c:v>11075.163265306122</c:v>
                </c:pt>
                <c:pt idx="1">
                  <c:v>11052.418367346938</c:v>
                </c:pt>
                <c:pt idx="2">
                  <c:v>10212.938775510203</c:v>
                </c:pt>
                <c:pt idx="3">
                  <c:v>9156.4742268041246</c:v>
                </c:pt>
                <c:pt idx="4">
                  <c:v>8272.0300000000007</c:v>
                </c:pt>
                <c:pt idx="5">
                  <c:v>5742.1</c:v>
                </c:pt>
                <c:pt idx="6">
                  <c:v>5346.67</c:v>
                </c:pt>
                <c:pt idx="7">
                  <c:v>5150.1010101010097</c:v>
                </c:pt>
                <c:pt idx="8">
                  <c:v>4088.83</c:v>
                </c:pt>
                <c:pt idx="9">
                  <c:v>3914.84</c:v>
                </c:pt>
                <c:pt idx="10">
                  <c:v>3178.1</c:v>
                </c:pt>
                <c:pt idx="11">
                  <c:v>3306.7741935483873</c:v>
                </c:pt>
                <c:pt idx="12">
                  <c:v>3115.6326530612246</c:v>
                </c:pt>
                <c:pt idx="13">
                  <c:v>2686.48</c:v>
                </c:pt>
                <c:pt idx="14">
                  <c:v>2553.7346938775509</c:v>
                </c:pt>
                <c:pt idx="15">
                  <c:v>2485.17</c:v>
                </c:pt>
                <c:pt idx="16">
                  <c:v>2411.19</c:v>
                </c:pt>
                <c:pt idx="17">
                  <c:v>2202.34</c:v>
                </c:pt>
                <c:pt idx="18">
                  <c:v>2173.81</c:v>
                </c:pt>
                <c:pt idx="19">
                  <c:v>2286.4725274725274</c:v>
                </c:pt>
                <c:pt idx="20">
                  <c:v>1987.6236559139784</c:v>
                </c:pt>
                <c:pt idx="21">
                  <c:v>1276.8958333333333</c:v>
                </c:pt>
                <c:pt idx="22">
                  <c:v>1229.2688172043011</c:v>
                </c:pt>
                <c:pt idx="23">
                  <c:v>1073.17</c:v>
                </c:pt>
                <c:pt idx="24">
                  <c:v>1044.9292929292928</c:v>
                </c:pt>
                <c:pt idx="25">
                  <c:v>990.13541666666663</c:v>
                </c:pt>
                <c:pt idx="26">
                  <c:v>898.72340425531911</c:v>
                </c:pt>
                <c:pt idx="27">
                  <c:v>790.64646464646466</c:v>
                </c:pt>
                <c:pt idx="28">
                  <c:v>805.01063829787233</c:v>
                </c:pt>
                <c:pt idx="29">
                  <c:v>745.38383838383834</c:v>
                </c:pt>
                <c:pt idx="30">
                  <c:v>796.33695652173913</c:v>
                </c:pt>
                <c:pt idx="31">
                  <c:v>746.80412371134025</c:v>
                </c:pt>
                <c:pt idx="32">
                  <c:v>806.53571428571433</c:v>
                </c:pt>
                <c:pt idx="33">
                  <c:v>641.88636363636363</c:v>
                </c:pt>
                <c:pt idx="34">
                  <c:v>546.86734693877554</c:v>
                </c:pt>
                <c:pt idx="35">
                  <c:v>518.86170212765956</c:v>
                </c:pt>
                <c:pt idx="36">
                  <c:v>477.22580645161293</c:v>
                </c:pt>
                <c:pt idx="37">
                  <c:v>632.33962264150944</c:v>
                </c:pt>
                <c:pt idx="38">
                  <c:v>539.16666666666663</c:v>
                </c:pt>
                <c:pt idx="39">
                  <c:v>333.52941176470586</c:v>
                </c:pt>
                <c:pt idx="40">
                  <c:v>370.30882352941177</c:v>
                </c:pt>
                <c:pt idx="41">
                  <c:v>280.87012987012986</c:v>
                </c:pt>
                <c:pt idx="42">
                  <c:v>219.94915254237287</c:v>
                </c:pt>
                <c:pt idx="43">
                  <c:v>181.56716417910448</c:v>
                </c:pt>
                <c:pt idx="44">
                  <c:v>156.61224489795919</c:v>
                </c:pt>
                <c:pt idx="45">
                  <c:v>1191.1666666666667</c:v>
                </c:pt>
                <c:pt idx="46">
                  <c:v>60.053571428571423</c:v>
                </c:pt>
                <c:pt idx="47">
                  <c:v>150.71428571428572</c:v>
                </c:pt>
                <c:pt idx="48">
                  <c:v>92.266666666666666</c:v>
                </c:pt>
                <c:pt idx="49">
                  <c:v>27.315789473684209</c:v>
                </c:pt>
                <c:pt idx="50">
                  <c:v>249</c:v>
                </c:pt>
                <c:pt idx="51">
                  <c:v>51.157894736842103</c:v>
                </c:pt>
                <c:pt idx="52">
                  <c:v>241</c:v>
                </c:pt>
                <c:pt idx="53">
                  <c:v>32.714285714285708</c:v>
                </c:pt>
                <c:pt idx="54">
                  <c:v>3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4</c:f>
              <c:strCache>
                <c:ptCount val="43"/>
                <c:pt idx="0">
                  <c:v>Mini Babybel Rouge Filet St Paulin Ferme 1X264Gr 12P</c:v>
                </c:pt>
                <c:pt idx="1">
                  <c:v>Mini Babybel Rouge Filet Soft Cheese Enfant 352G</c:v>
                </c:pt>
                <c:pt idx="2">
                  <c:v>La Vache Qui Rit Nature Fromage Fondu Boite Ronde 1X512Gr 32P</c:v>
                </c:pt>
                <c:pt idx="3">
                  <c:v>Mini Babybel Rouge Filet St Paulin Ferme 1X132Gr 6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216Gr 12P</c:v>
                </c:pt>
                <c:pt idx="8">
                  <c:v>Kiri Creme Fromage Blanc Frais Carre 1X144Gr 8P</c:v>
                </c:pt>
                <c:pt idx="9">
                  <c:v>Kiri Gouter Fromage Blanc Dips Boite 1X175Gr 5P</c:v>
                </c:pt>
                <c:pt idx="10">
                  <c:v>La Vache Qui Rit Nature Fromage Fondu Boite Ronde 1X512Gr 24+8P</c:v>
                </c:pt>
                <c:pt idx="11">
                  <c:v>Boursin Salade &amp; Aperitif Fromage Frais Des Afh 1X120Gr 1P</c:v>
                </c:pt>
                <c:pt idx="12">
                  <c:v>Boursin Classique Fromage Frais A Tartiner Afh 1X160Gr 10P</c:v>
                </c:pt>
                <c:pt idx="13">
                  <c:v>Boursin Classique Fromage Frais A Tartiner Afh Boite 1X150Gr 1P</c:v>
                </c:pt>
                <c:pt idx="14">
                  <c:v>Boursin Classique Fromage Frais A Tartiner Afh Boite 1X250Gr 1P</c:v>
                </c:pt>
                <c:pt idx="15">
                  <c:v>Kiri Gouter Fromage Blanc Dips Boite 1X280Gr 8P</c:v>
                </c:pt>
                <c:pt idx="16">
                  <c:v>La Vache Qui Rit Pik Et Croq' Fromage Fondu Dips Boite 1X175Gr 5P</c:v>
                </c:pt>
                <c:pt idx="17">
                  <c:v>Kiri Creme Fromage Blanc Frais Carre 1X432Gr 18+6P</c:v>
                </c:pt>
                <c:pt idx="18">
                  <c:v>La Vache Qui Rit Nature Fromage Fondu Boite Ronde 1X128Gr 8P</c:v>
                </c:pt>
                <c:pt idx="19">
                  <c:v>Boursin Classique Fromage Frais A Tartiner Afh Boite 1X96Gr 6P</c:v>
                </c:pt>
                <c:pt idx="20">
                  <c:v>Boursin Onctueux Fromage Frais A Tartiner Afh 1X125Gr 1P</c:v>
                </c:pt>
                <c:pt idx="21">
                  <c:v>Boursin Salade &amp; Aperitif Fromage Frais Des Figue Noix 1X120Gr 1P</c:v>
                </c:pt>
                <c:pt idx="22">
                  <c:v>Mini Babybel Aros Soft Cheese Enfant 180G</c:v>
                </c:pt>
                <c:pt idx="23">
                  <c:v>Boursin Classique Fromage Frais A Tartiner Ciboulette &amp; Echalote Boite 1X150Gr 1P</c:v>
                </c:pt>
                <c:pt idx="24">
                  <c:v>Boursin Salade &amp; Aperitif Fromage Frais Des Ciboulette Echalote 1X120Gr 1P</c:v>
                </c:pt>
                <c:pt idx="25">
                  <c:v>Boursin Classique Fromage Frais A Tartiner Figue Et 3 Noix Boite 1X150Gr 1P</c:v>
                </c:pt>
                <c:pt idx="26">
                  <c:v>Boursin Salade &amp; Aperitif Soft Cheese Salade 120G</c:v>
                </c:pt>
                <c:pt idx="27">
                  <c:v>Boursin Salade &amp; Aperitif Fromage Frais Des Citron Romarin 1X120Gr 1P</c:v>
                </c:pt>
                <c:pt idx="28">
                  <c:v>Mini Babybel Aros Soft Cheese Enfant 110G</c:v>
                </c:pt>
                <c:pt idx="29">
                  <c:v>Babybel Mini Rolls St Paulin Ferme Sachet 1X85Gr 5P</c:v>
                </c:pt>
                <c:pt idx="30">
                  <c:v>Kiri Bio Fromage Blanc Frais Carre 1X144Gr 8P</c:v>
                </c:pt>
                <c:pt idx="31">
                  <c:v>Kiri Delicieusement Fouette Fromage Frais A Tartiner 1X125Gr 1P</c:v>
                </c:pt>
                <c:pt idx="32">
                  <c:v>Kiri Delicieusement Fouette Fromage Frais A Tartiner 1X210Gr 1P</c:v>
                </c:pt>
                <c:pt idx="33">
                  <c:v>La Vache Qui Rit Allegee Fromage Fondu Boite Ronde Allege 1X267Gr 16P</c:v>
                </c:pt>
                <c:pt idx="34">
                  <c:v>Boursin Classique Fromage Frais A Tartiner 3 Noix Boite 1X150Gr 1P</c:v>
                </c:pt>
                <c:pt idx="35">
                  <c:v>Kiri Delicieusement Fouette Fromage Frais A Tartiner 1X160Gr 10P</c:v>
                </c:pt>
                <c:pt idx="36">
                  <c:v>Boursin Classique Fromage Frais A Tartiner 3 Noix 1X160Gr 10P</c:v>
                </c:pt>
                <c:pt idx="37">
                  <c:v>La Vache Qui Rit Bio Fromage Fondu Boite Ronde 1X128Gr 8P</c:v>
                </c:pt>
                <c:pt idx="38">
                  <c:v>Mini Babybel Rouge Filet St Paulin Ferme Sachet 1X40Gr 1P</c:v>
                </c:pt>
                <c:pt idx="39">
                  <c:v>Kiri Chevre Fromage Blanc Frais Carre 1X144Gr 8P</c:v>
                </c:pt>
                <c:pt idx="40">
                  <c:v>Boursin Onctueux Fromage Frais A Tartiner Afh 1X210Gr 1P</c:v>
                </c:pt>
                <c:pt idx="41">
                  <c:v>Mini Babybel Aros St Paulin Ferme Assortis Filet 1X180Gr 9P</c:v>
                </c:pt>
                <c:pt idx="42">
                  <c:v>Boursin Salade &amp; Aperitif Fromage Frais Des Noisette Et 3 Noix 1X120Gr 1P</c:v>
                </c:pt>
              </c:strCache>
            </c:strRef>
          </c:cat>
          <c:val>
            <c:numRef>
              <c:f>Sheet1!$B$2:$B$44</c:f>
              <c:numCache>
                <c:formatCode>General</c:formatCode>
                <c:ptCount val="43"/>
                <c:pt idx="0">
                  <c:v>0.99</c:v>
                </c:pt>
                <c:pt idx="1">
                  <c:v>0.94</c:v>
                </c:pt>
                <c:pt idx="2">
                  <c:v>0.95</c:v>
                </c:pt>
                <c:pt idx="3">
                  <c:v>0.99</c:v>
                </c:pt>
                <c:pt idx="4">
                  <c:v>0.91</c:v>
                </c:pt>
                <c:pt idx="5">
                  <c:v>0.99</c:v>
                </c:pt>
                <c:pt idx="6">
                  <c:v>0.84</c:v>
                </c:pt>
                <c:pt idx="7">
                  <c:v>0.97</c:v>
                </c:pt>
                <c:pt idx="8">
                  <c:v>0.99</c:v>
                </c:pt>
                <c:pt idx="9">
                  <c:v>0.99</c:v>
                </c:pt>
                <c:pt idx="10">
                  <c:v>0.78</c:v>
                </c:pt>
                <c:pt idx="11">
                  <c:v>0.99</c:v>
                </c:pt>
                <c:pt idx="12">
                  <c:v>0.97</c:v>
                </c:pt>
                <c:pt idx="13">
                  <c:v>0.99</c:v>
                </c:pt>
                <c:pt idx="14">
                  <c:v>0.92</c:v>
                </c:pt>
                <c:pt idx="15">
                  <c:v>0.72</c:v>
                </c:pt>
                <c:pt idx="16">
                  <c:v>0.97</c:v>
                </c:pt>
                <c:pt idx="17">
                  <c:v>0.71</c:v>
                </c:pt>
                <c:pt idx="18">
                  <c:v>0.64</c:v>
                </c:pt>
                <c:pt idx="19">
                  <c:v>0.89</c:v>
                </c:pt>
                <c:pt idx="20">
                  <c:v>0.83</c:v>
                </c:pt>
                <c:pt idx="21">
                  <c:v>0.91</c:v>
                </c:pt>
                <c:pt idx="22">
                  <c:v>0.66</c:v>
                </c:pt>
                <c:pt idx="23">
                  <c:v>0.88</c:v>
                </c:pt>
                <c:pt idx="24">
                  <c:v>0.84</c:v>
                </c:pt>
                <c:pt idx="25">
                  <c:v>0.65</c:v>
                </c:pt>
                <c:pt idx="26">
                  <c:v>0.71</c:v>
                </c:pt>
                <c:pt idx="27">
                  <c:v>0.72</c:v>
                </c:pt>
                <c:pt idx="28">
                  <c:v>0.56999999999999995</c:v>
                </c:pt>
                <c:pt idx="29">
                  <c:v>0.44</c:v>
                </c:pt>
                <c:pt idx="30">
                  <c:v>0.39</c:v>
                </c:pt>
                <c:pt idx="31">
                  <c:v>0.56999999999999995</c:v>
                </c:pt>
                <c:pt idx="32">
                  <c:v>0.47</c:v>
                </c:pt>
                <c:pt idx="33">
                  <c:v>0.27</c:v>
                </c:pt>
                <c:pt idx="34">
                  <c:v>0.1</c:v>
                </c:pt>
                <c:pt idx="35">
                  <c:v>0.33</c:v>
                </c:pt>
                <c:pt idx="36">
                  <c:v>0.05</c:v>
                </c:pt>
                <c:pt idx="37">
                  <c:v>0.16</c:v>
                </c:pt>
                <c:pt idx="38">
                  <c:v>0.05</c:v>
                </c:pt>
                <c:pt idx="39">
                  <c:v>0.03</c:v>
                </c:pt>
                <c:pt idx="40">
                  <c:v>0.02</c:v>
                </c:pt>
                <c:pt idx="41">
                  <c:v>0.05</c:v>
                </c:pt>
                <c:pt idx="42">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4</c:f>
              <c:strCache>
                <c:ptCount val="43"/>
                <c:pt idx="0">
                  <c:v>Mini Babybel Rouge Filet St Paulin Ferme 1X264Gr 12P</c:v>
                </c:pt>
                <c:pt idx="1">
                  <c:v>Mini Babybel Rouge Filet Soft Cheese Enfant 352G</c:v>
                </c:pt>
                <c:pt idx="2">
                  <c:v>La Vache Qui Rit Nature Fromage Fondu Boite Ronde 1X512Gr 32P</c:v>
                </c:pt>
                <c:pt idx="3">
                  <c:v>Mini Babybel Rouge Filet St Paulin Ferme 1X132Gr 6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216Gr 12P</c:v>
                </c:pt>
                <c:pt idx="8">
                  <c:v>Kiri Creme Fromage Blanc Frais Carre 1X144Gr 8P</c:v>
                </c:pt>
                <c:pt idx="9">
                  <c:v>Kiri Gouter Fromage Blanc Dips Boite 1X175Gr 5P</c:v>
                </c:pt>
                <c:pt idx="10">
                  <c:v>La Vache Qui Rit Nature Fromage Fondu Boite Ronde 1X512Gr 24+8P</c:v>
                </c:pt>
                <c:pt idx="11">
                  <c:v>Boursin Salade &amp; Aperitif Fromage Frais Des Afh 1X120Gr 1P</c:v>
                </c:pt>
                <c:pt idx="12">
                  <c:v>Boursin Classique Fromage Frais A Tartiner Afh 1X160Gr 10P</c:v>
                </c:pt>
                <c:pt idx="13">
                  <c:v>Boursin Classique Fromage Frais A Tartiner Afh Boite 1X150Gr 1P</c:v>
                </c:pt>
                <c:pt idx="14">
                  <c:v>Boursin Classique Fromage Frais A Tartiner Afh Boite 1X250Gr 1P</c:v>
                </c:pt>
                <c:pt idx="15">
                  <c:v>Kiri Gouter Fromage Blanc Dips Boite 1X280Gr 8P</c:v>
                </c:pt>
                <c:pt idx="16">
                  <c:v>La Vache Qui Rit Pik Et Croq' Fromage Fondu Dips Boite 1X175Gr 5P</c:v>
                </c:pt>
                <c:pt idx="17">
                  <c:v>Kiri Creme Fromage Blanc Frais Carre 1X432Gr 18+6P</c:v>
                </c:pt>
                <c:pt idx="18">
                  <c:v>La Vache Qui Rit Nature Fromage Fondu Boite Ronde 1X128Gr 8P</c:v>
                </c:pt>
                <c:pt idx="19">
                  <c:v>Boursin Classique Fromage Frais A Tartiner Afh Boite 1X96Gr 6P</c:v>
                </c:pt>
                <c:pt idx="20">
                  <c:v>Boursin Onctueux Fromage Frais A Tartiner Afh 1X125Gr 1P</c:v>
                </c:pt>
                <c:pt idx="21">
                  <c:v>Boursin Salade &amp; Aperitif Fromage Frais Des Figue Noix 1X120Gr 1P</c:v>
                </c:pt>
                <c:pt idx="22">
                  <c:v>Mini Babybel Aros Soft Cheese Enfant 180G</c:v>
                </c:pt>
                <c:pt idx="23">
                  <c:v>Boursin Classique Fromage Frais A Tartiner Ciboulette &amp; Echalote Boite 1X150Gr 1P</c:v>
                </c:pt>
                <c:pt idx="24">
                  <c:v>Boursin Salade &amp; Aperitif Fromage Frais Des Ciboulette Echalote 1X120Gr 1P</c:v>
                </c:pt>
                <c:pt idx="25">
                  <c:v>Boursin Classique Fromage Frais A Tartiner Figue Et 3 Noix Boite 1X150Gr 1P</c:v>
                </c:pt>
                <c:pt idx="26">
                  <c:v>Boursin Salade &amp; Aperitif Soft Cheese Salade 120G</c:v>
                </c:pt>
                <c:pt idx="27">
                  <c:v>Boursin Salade &amp; Aperitif Fromage Frais Des Citron Romarin 1X120Gr 1P</c:v>
                </c:pt>
                <c:pt idx="28">
                  <c:v>Mini Babybel Aros Soft Cheese Enfant 110G</c:v>
                </c:pt>
                <c:pt idx="29">
                  <c:v>Babybel Mini Rolls St Paulin Ferme Sachet 1X85Gr 5P</c:v>
                </c:pt>
                <c:pt idx="30">
                  <c:v>Kiri Bio Fromage Blanc Frais Carre 1X144Gr 8P</c:v>
                </c:pt>
                <c:pt idx="31">
                  <c:v>Kiri Delicieusement Fouette Fromage Frais A Tartiner 1X125Gr 1P</c:v>
                </c:pt>
                <c:pt idx="32">
                  <c:v>Kiri Delicieusement Fouette Fromage Frais A Tartiner 1X210Gr 1P</c:v>
                </c:pt>
                <c:pt idx="33">
                  <c:v>La Vache Qui Rit Allegee Fromage Fondu Boite Ronde Allege 1X267Gr 16P</c:v>
                </c:pt>
                <c:pt idx="34">
                  <c:v>Boursin Classique Fromage Frais A Tartiner 3 Noix Boite 1X150Gr 1P</c:v>
                </c:pt>
                <c:pt idx="35">
                  <c:v>Kiri Delicieusement Fouette Fromage Frais A Tartiner 1X160Gr 10P</c:v>
                </c:pt>
                <c:pt idx="36">
                  <c:v>Boursin Classique Fromage Frais A Tartiner 3 Noix 1X160Gr 10P</c:v>
                </c:pt>
                <c:pt idx="37">
                  <c:v>La Vache Qui Rit Bio Fromage Fondu Boite Ronde 1X128Gr 8P</c:v>
                </c:pt>
                <c:pt idx="38">
                  <c:v>Mini Babybel Rouge Filet St Paulin Ferme Sachet 1X40Gr 1P</c:v>
                </c:pt>
                <c:pt idx="39">
                  <c:v>Kiri Chevre Fromage Blanc Frais Carre 1X144Gr 8P</c:v>
                </c:pt>
                <c:pt idx="40">
                  <c:v>Boursin Onctueux Fromage Frais A Tartiner Afh 1X210Gr 1P</c:v>
                </c:pt>
                <c:pt idx="41">
                  <c:v>Mini Babybel Aros St Paulin Ferme Assortis Filet 1X180Gr 9P</c:v>
                </c:pt>
                <c:pt idx="42">
                  <c:v>Boursin Salade &amp; Aperitif Fromage Frais Des Noisette Et 3 Noix 1X120Gr 1P</c:v>
                </c:pt>
              </c:strCache>
            </c:strRef>
          </c:cat>
          <c:val>
            <c:numRef>
              <c:f>Sheet1!$C$2:$C$44</c:f>
              <c:numCache>
                <c:formatCode>General</c:formatCode>
                <c:ptCount val="43"/>
                <c:pt idx="0">
                  <c:v>0.1213156501631322</c:v>
                </c:pt>
                <c:pt idx="1">
                  <c:v>0.19439437000408422</c:v>
                </c:pt>
                <c:pt idx="2">
                  <c:v>0.26214469374228921</c:v>
                </c:pt>
                <c:pt idx="3">
                  <c:v>0.32319326953062877</c:v>
                </c:pt>
                <c:pt idx="4">
                  <c:v>0.38316043651582776</c:v>
                </c:pt>
                <c:pt idx="5">
                  <c:v>0.4384379728052441</c:v>
                </c:pt>
                <c:pt idx="6">
                  <c:v>0.49334554035222816</c:v>
                </c:pt>
                <c:pt idx="7">
                  <c:v>0.54460842423679789</c:v>
                </c:pt>
                <c:pt idx="8">
                  <c:v>0.58344145347316401</c:v>
                </c:pt>
                <c:pt idx="9">
                  <c:v>0.62204476111567542</c:v>
                </c:pt>
                <c:pt idx="10">
                  <c:v>0.65991671783343919</c:v>
                </c:pt>
                <c:pt idx="11">
                  <c:v>0.69674385196073485</c:v>
                </c:pt>
                <c:pt idx="12">
                  <c:v>0.73316020007431737</c:v>
                </c:pt>
                <c:pt idx="13">
                  <c:v>0.76564962802772696</c:v>
                </c:pt>
                <c:pt idx="14">
                  <c:v>0.79539048564339598</c:v>
                </c:pt>
                <c:pt idx="15">
                  <c:v>0.8204048774648095</c:v>
                </c:pt>
                <c:pt idx="16">
                  <c:v>0.84047278844433193</c:v>
                </c:pt>
                <c:pt idx="17">
                  <c:v>0.85867803809296739</c:v>
                </c:pt>
                <c:pt idx="18">
                  <c:v>0.87656894497558069</c:v>
                </c:pt>
                <c:pt idx="19">
                  <c:v>0.89195742957714064</c:v>
                </c:pt>
                <c:pt idx="20">
                  <c:v>0.9048069056849749</c:v>
                </c:pt>
                <c:pt idx="21">
                  <c:v>0.9176170578363313</c:v>
                </c:pt>
                <c:pt idx="22">
                  <c:v>0.92935886768907305</c:v>
                </c:pt>
                <c:pt idx="23">
                  <c:v>0.93933396168701777</c:v>
                </c:pt>
                <c:pt idx="24">
                  <c:v>0.94720074406898924</c:v>
                </c:pt>
                <c:pt idx="25">
                  <c:v>0.95447331160228455</c:v>
                </c:pt>
                <c:pt idx="26">
                  <c:v>0.96146252265171894</c:v>
                </c:pt>
                <c:pt idx="27">
                  <c:v>0.96832753968670759</c:v>
                </c:pt>
                <c:pt idx="28">
                  <c:v>0.97450314305433161</c:v>
                </c:pt>
                <c:pt idx="29">
                  <c:v>0.97988952954859343</c:v>
                </c:pt>
                <c:pt idx="30">
                  <c:v>0.98494128908409284</c:v>
                </c:pt>
                <c:pt idx="31">
                  <c:v>0.98973744290248633</c:v>
                </c:pt>
                <c:pt idx="32">
                  <c:v>0.99450472596802264</c:v>
                </c:pt>
                <c:pt idx="33">
                  <c:v>0.99761803844638508</c:v>
                </c:pt>
                <c:pt idx="34">
                  <c:v>0.99810846791625585</c:v>
                </c:pt>
                <c:pt idx="35">
                  <c:v>0.99854053366591111</c:v>
                </c:pt>
                <c:pt idx="36">
                  <c:v>0.99886246744884832</c:v>
                </c:pt>
                <c:pt idx="37">
                  <c:v>0.99908335359678557</c:v>
                </c:pt>
                <c:pt idx="38">
                  <c:v>0.9992900532540947</c:v>
                </c:pt>
                <c:pt idx="39">
                  <c:v>0.99962916015726599</c:v>
                </c:pt>
                <c:pt idx="40">
                  <c:v>0.99976156740312805</c:v>
                </c:pt>
                <c:pt idx="41">
                  <c:v>0.99990380563810954</c:v>
                </c:pt>
                <c:pt idx="42">
                  <c:v>0.9999909156682819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4</c:f>
              <c:strCache>
                <c:ptCount val="43"/>
                <c:pt idx="0">
                  <c:v>Mini Babybel Rouge Filet St Paulin Ferme 1X264Gr 12P</c:v>
                </c:pt>
                <c:pt idx="1">
                  <c:v>Mini Babybel Rouge Filet Soft Cheese Enfant 352G</c:v>
                </c:pt>
                <c:pt idx="2">
                  <c:v>La Vache Qui Rit Nature Fromage Fondu Boite Ronde 1X512Gr 32P</c:v>
                </c:pt>
                <c:pt idx="3">
                  <c:v>Mini Babybel Rouge Filet St Paulin Ferme 1X132Gr 6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216Gr 12P</c:v>
                </c:pt>
                <c:pt idx="8">
                  <c:v>Kiri Creme Fromage Blanc Frais Carre 1X144Gr 8P</c:v>
                </c:pt>
                <c:pt idx="9">
                  <c:v>Kiri Gouter Fromage Blanc Dips Boite 1X175Gr 5P</c:v>
                </c:pt>
                <c:pt idx="10">
                  <c:v>La Vache Qui Rit Nature Fromage Fondu Boite Ronde 1X512Gr 24+8P</c:v>
                </c:pt>
                <c:pt idx="11">
                  <c:v>Boursin Salade &amp; Aperitif Fromage Frais Des Afh 1X120Gr 1P</c:v>
                </c:pt>
                <c:pt idx="12">
                  <c:v>Boursin Classique Fromage Frais A Tartiner Afh 1X160Gr 10P</c:v>
                </c:pt>
                <c:pt idx="13">
                  <c:v>Boursin Classique Fromage Frais A Tartiner Afh Boite 1X150Gr 1P</c:v>
                </c:pt>
                <c:pt idx="14">
                  <c:v>Boursin Classique Fromage Frais A Tartiner Afh Boite 1X250Gr 1P</c:v>
                </c:pt>
                <c:pt idx="15">
                  <c:v>Kiri Gouter Fromage Blanc Dips Boite 1X280Gr 8P</c:v>
                </c:pt>
                <c:pt idx="16">
                  <c:v>La Vache Qui Rit Pik Et Croq' Fromage Fondu Dips Boite 1X175Gr 5P</c:v>
                </c:pt>
                <c:pt idx="17">
                  <c:v>Kiri Creme Fromage Blanc Frais Carre 1X432Gr 18+6P</c:v>
                </c:pt>
                <c:pt idx="18">
                  <c:v>La Vache Qui Rit Nature Fromage Fondu Boite Ronde 1X128Gr 8P</c:v>
                </c:pt>
                <c:pt idx="19">
                  <c:v>Boursin Classique Fromage Frais A Tartiner Afh Boite 1X96Gr 6P</c:v>
                </c:pt>
                <c:pt idx="20">
                  <c:v>Boursin Onctueux Fromage Frais A Tartiner Afh 1X125Gr 1P</c:v>
                </c:pt>
                <c:pt idx="21">
                  <c:v>Boursin Salade &amp; Aperitif Fromage Frais Des Figue Noix 1X120Gr 1P</c:v>
                </c:pt>
                <c:pt idx="22">
                  <c:v>Mini Babybel Aros Soft Cheese Enfant 180G</c:v>
                </c:pt>
                <c:pt idx="23">
                  <c:v>Boursin Classique Fromage Frais A Tartiner Ciboulette &amp; Echalote Boite 1X150Gr 1P</c:v>
                </c:pt>
                <c:pt idx="24">
                  <c:v>Boursin Salade &amp; Aperitif Fromage Frais Des Ciboulette Echalote 1X120Gr 1P</c:v>
                </c:pt>
                <c:pt idx="25">
                  <c:v>Boursin Classique Fromage Frais A Tartiner Figue Et 3 Noix Boite 1X150Gr 1P</c:v>
                </c:pt>
                <c:pt idx="26">
                  <c:v>Boursin Salade &amp; Aperitif Soft Cheese Salade 120G</c:v>
                </c:pt>
                <c:pt idx="27">
                  <c:v>Boursin Salade &amp; Aperitif Fromage Frais Des Citron Romarin 1X120Gr 1P</c:v>
                </c:pt>
                <c:pt idx="28">
                  <c:v>Mini Babybel Aros Soft Cheese Enfant 110G</c:v>
                </c:pt>
                <c:pt idx="29">
                  <c:v>Babybel Mini Rolls St Paulin Ferme Sachet 1X85Gr 5P</c:v>
                </c:pt>
                <c:pt idx="30">
                  <c:v>Kiri Bio Fromage Blanc Frais Carre 1X144Gr 8P</c:v>
                </c:pt>
                <c:pt idx="31">
                  <c:v>Kiri Delicieusement Fouette Fromage Frais A Tartiner 1X125Gr 1P</c:v>
                </c:pt>
                <c:pt idx="32">
                  <c:v>Kiri Delicieusement Fouette Fromage Frais A Tartiner 1X210Gr 1P</c:v>
                </c:pt>
                <c:pt idx="33">
                  <c:v>La Vache Qui Rit Allegee Fromage Fondu Boite Ronde Allege 1X267Gr 16P</c:v>
                </c:pt>
                <c:pt idx="34">
                  <c:v>Boursin Classique Fromage Frais A Tartiner 3 Noix Boite 1X150Gr 1P</c:v>
                </c:pt>
                <c:pt idx="35">
                  <c:v>Kiri Delicieusement Fouette Fromage Frais A Tartiner 1X160Gr 10P</c:v>
                </c:pt>
                <c:pt idx="36">
                  <c:v>Boursin Classique Fromage Frais A Tartiner 3 Noix 1X160Gr 10P</c:v>
                </c:pt>
                <c:pt idx="37">
                  <c:v>La Vache Qui Rit Bio Fromage Fondu Boite Ronde 1X128Gr 8P</c:v>
                </c:pt>
                <c:pt idx="38">
                  <c:v>Mini Babybel Rouge Filet St Paulin Ferme Sachet 1X40Gr 1P</c:v>
                </c:pt>
                <c:pt idx="39">
                  <c:v>Kiri Chevre Fromage Blanc Frais Carre 1X144Gr 8P</c:v>
                </c:pt>
                <c:pt idx="40">
                  <c:v>Boursin Onctueux Fromage Frais A Tartiner Afh 1X210Gr 1P</c:v>
                </c:pt>
                <c:pt idx="41">
                  <c:v>Mini Babybel Aros St Paulin Ferme Assortis Filet 1X180Gr 9P</c:v>
                </c:pt>
                <c:pt idx="42">
                  <c:v>Boursin Salade &amp; Aperitif Fromage Frais Des Noisette Et 3 Noix 1X120Gr 1P</c:v>
                </c:pt>
              </c:strCache>
            </c:strRef>
          </c:cat>
          <c:val>
            <c:numRef>
              <c:f>Sheet1!$D$2:$D$44</c:f>
              <c:numCache>
                <c:formatCode>General</c:formatCode>
                <c:ptCount val="43"/>
                <c:pt idx="0">
                  <c:v>9847.1717171717173</c:v>
                </c:pt>
                <c:pt idx="1">
                  <c:v>6247.3085106382978</c:v>
                </c:pt>
                <c:pt idx="2">
                  <c:v>5730.8315789473681</c:v>
                </c:pt>
                <c:pt idx="3">
                  <c:v>4955.30303030303</c:v>
                </c:pt>
                <c:pt idx="4">
                  <c:v>5295.4395604395604</c:v>
                </c:pt>
                <c:pt idx="5">
                  <c:v>4486.8686868686873</c:v>
                </c:pt>
                <c:pt idx="6">
                  <c:v>5252.7023809523807</c:v>
                </c:pt>
                <c:pt idx="7">
                  <c:v>4246.7938144329901</c:v>
                </c:pt>
                <c:pt idx="8">
                  <c:v>3152.0707070707072</c:v>
                </c:pt>
                <c:pt idx="9">
                  <c:v>3133.4242424242425</c:v>
                </c:pt>
                <c:pt idx="10">
                  <c:v>3901.6923076923076</c:v>
                </c:pt>
                <c:pt idx="11">
                  <c:v>2989.2525252525252</c:v>
                </c:pt>
                <c:pt idx="12">
                  <c:v>3016.855670103093</c:v>
                </c:pt>
                <c:pt idx="13">
                  <c:v>2637.1616161616162</c:v>
                </c:pt>
                <c:pt idx="14">
                  <c:v>2597.7391304347825</c:v>
                </c:pt>
                <c:pt idx="15">
                  <c:v>2791.8194444444443</c:v>
                </c:pt>
                <c:pt idx="16">
                  <c:v>1662.4948453608247</c:v>
                </c:pt>
                <c:pt idx="17">
                  <c:v>2060.4788732394368</c:v>
                </c:pt>
                <c:pt idx="18">
                  <c:v>2246.375</c:v>
                </c:pt>
                <c:pt idx="19">
                  <c:v>1389.4269662921349</c:v>
                </c:pt>
                <c:pt idx="20">
                  <c:v>1244.0481927710844</c:v>
                </c:pt>
                <c:pt idx="21">
                  <c:v>1131.2087912087911</c:v>
                </c:pt>
                <c:pt idx="22">
                  <c:v>1429.621212121212</c:v>
                </c:pt>
                <c:pt idx="23">
                  <c:v>910.88636363636363</c:v>
                </c:pt>
                <c:pt idx="24">
                  <c:v>752.57142857142856</c:v>
                </c:pt>
                <c:pt idx="25">
                  <c:v>899.09230769230771</c:v>
                </c:pt>
                <c:pt idx="26">
                  <c:v>791.04225352112678</c:v>
                </c:pt>
                <c:pt idx="27">
                  <c:v>766.19444444444446</c:v>
                </c:pt>
                <c:pt idx="28">
                  <c:v>870.63157894736855</c:v>
                </c:pt>
                <c:pt idx="29">
                  <c:v>983.72727272727275</c:v>
                </c:pt>
                <c:pt idx="30">
                  <c:v>1040.8974358974358</c:v>
                </c:pt>
                <c:pt idx="31">
                  <c:v>676.1578947368422</c:v>
                </c:pt>
                <c:pt idx="32">
                  <c:v>815.08510638297878</c:v>
                </c:pt>
                <c:pt idx="33">
                  <c:v>926.59259259259261</c:v>
                </c:pt>
                <c:pt idx="34">
                  <c:v>394.1</c:v>
                </c:pt>
                <c:pt idx="35">
                  <c:v>105.21212121212122</c:v>
                </c:pt>
                <c:pt idx="36">
                  <c:v>517.4</c:v>
                </c:pt>
                <c:pt idx="37">
                  <c:v>110.9375</c:v>
                </c:pt>
                <c:pt idx="38">
                  <c:v>332.2</c:v>
                </c:pt>
                <c:pt idx="39">
                  <c:v>399</c:v>
                </c:pt>
                <c:pt idx="40">
                  <c:v>532</c:v>
                </c:pt>
                <c:pt idx="41">
                  <c:v>105.6</c:v>
                </c:pt>
                <c:pt idx="42">
                  <c:v>68.3333333333333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Mini Babybel Rouge Filet St Paulin Ferme 1X132Gr 6P</c:v>
                </c:pt>
                <c:pt idx="1">
                  <c:v>La Vache Qui Rit Nature Fromage Fondu Boite Ronde 1X192Gr 12P</c:v>
                </c:pt>
                <c:pt idx="2">
                  <c:v>Kiri Creme Fromage Blanc Frais Carre 1X144Gr 8P</c:v>
                </c:pt>
                <c:pt idx="3">
                  <c:v>Boursin Classique Fromage Frais A Tartiner Afh Boite 1X150Gr 1P</c:v>
                </c:pt>
                <c:pt idx="4">
                  <c:v>La Vache Qui Rit Nature Fromage Fondu Boite Ronde 1X384Gr 24P</c:v>
                </c:pt>
                <c:pt idx="5">
                  <c:v>Kiri Gouter Fromage Blanc Dips Boite 1X175Gr 5P</c:v>
                </c:pt>
                <c:pt idx="6">
                  <c:v>Boursin Salade &amp; Aperitif Fromage Frais Des Afh 1X120Gr 1P</c:v>
                </c:pt>
                <c:pt idx="7">
                  <c:v>Boursin Classique Fromage Frais A Tartiner Afh 1X160Gr 10P</c:v>
                </c:pt>
                <c:pt idx="8">
                  <c:v>Mini Babybel Rouge Filet St Paulin Ferme 1X264Gr 12P</c:v>
                </c:pt>
                <c:pt idx="9">
                  <c:v>La Vache Qui Rit Pik Et Croq' Fromage Fondu Dips Boite 1X175Gr 5P</c:v>
                </c:pt>
                <c:pt idx="10">
                  <c:v>Kiri Delicieusement Fouette Fromage Frais A Tartiner 1X125Gr 1P</c:v>
                </c:pt>
                <c:pt idx="11">
                  <c:v>La Vache Qui Rit Nature Fromage Fondu Boite Ronde 1X128Gr 8P</c:v>
                </c:pt>
                <c:pt idx="12">
                  <c:v>Boursin Classique Fromage Frais A Tartiner Afh Boite 1X96Gr 6P</c:v>
                </c:pt>
                <c:pt idx="13">
                  <c:v>Boursin Classique Fromage Frais A Tartiner Ciboulette &amp; Echalote Boite 1X150Gr 1P</c:v>
                </c:pt>
                <c:pt idx="14">
                  <c:v>Mini Babybel Aros Soft Cheese Enfant 180G</c:v>
                </c:pt>
                <c:pt idx="15">
                  <c:v>Babybel Mini Rolls St Paulin Ferme Sachet 1X85Gr 5P</c:v>
                </c:pt>
                <c:pt idx="16">
                  <c:v>Mini Babybel Rouge Filet St Paulin Ferme Sachet 1X40Gr 1P</c:v>
                </c:pt>
                <c:pt idx="17">
                  <c:v>Kiri Creme Fromage Blanc Frais Carre 1X216Gr 12P</c:v>
                </c:pt>
                <c:pt idx="18">
                  <c:v>La Vache Qui Rit Pik Et Croq' Fromage Fondu Dips Boite 1X35Gr 1P</c:v>
                </c:pt>
                <c:pt idx="19">
                  <c:v>Boursin Classique Fromage Frais A Tartiner Afh Boite 1X80Gr 1P</c:v>
                </c:pt>
                <c:pt idx="20">
                  <c:v>Kiri Gouter Fromage Blanc Dips Boite 1X280Gr 8P</c:v>
                </c:pt>
                <c:pt idx="21">
                  <c:v>Kiri Delicieusement Fouette Fromage Frais A Tartiner 1X160Gr 10P</c:v>
                </c:pt>
                <c:pt idx="22">
                  <c:v>La Vache Qui Rit Bio Fromage Fondu Boite Ronde 1X128Gr 8P</c:v>
                </c:pt>
                <c:pt idx="23">
                  <c:v>Mini Babybel Aros St Paulin Ferme Raclette Filet 1X132Gr 6P</c:v>
                </c:pt>
              </c:strCache>
            </c:strRef>
          </c:cat>
          <c:val>
            <c:numRef>
              <c:f>Sheet1!$B$2:$B$25</c:f>
              <c:numCache>
                <c:formatCode>General</c:formatCode>
                <c:ptCount val="24"/>
                <c:pt idx="0">
                  <c:v>0.96</c:v>
                </c:pt>
                <c:pt idx="1">
                  <c:v>0.89</c:v>
                </c:pt>
                <c:pt idx="2">
                  <c:v>0.96</c:v>
                </c:pt>
                <c:pt idx="3">
                  <c:v>0.83</c:v>
                </c:pt>
                <c:pt idx="4">
                  <c:v>0.45</c:v>
                </c:pt>
                <c:pt idx="5">
                  <c:v>0.71</c:v>
                </c:pt>
                <c:pt idx="6">
                  <c:v>0.79</c:v>
                </c:pt>
                <c:pt idx="7">
                  <c:v>0.49</c:v>
                </c:pt>
                <c:pt idx="8">
                  <c:v>0.2</c:v>
                </c:pt>
                <c:pt idx="9">
                  <c:v>0.51</c:v>
                </c:pt>
                <c:pt idx="10">
                  <c:v>0.54</c:v>
                </c:pt>
                <c:pt idx="11">
                  <c:v>0.09</c:v>
                </c:pt>
                <c:pt idx="12">
                  <c:v>0.09</c:v>
                </c:pt>
                <c:pt idx="13">
                  <c:v>0.08</c:v>
                </c:pt>
                <c:pt idx="14">
                  <c:v>0.05</c:v>
                </c:pt>
                <c:pt idx="15">
                  <c:v>0.08</c:v>
                </c:pt>
                <c:pt idx="16">
                  <c:v>0.06</c:v>
                </c:pt>
                <c:pt idx="17">
                  <c:v>0.02</c:v>
                </c:pt>
                <c:pt idx="18">
                  <c:v>0.05</c:v>
                </c:pt>
                <c:pt idx="19">
                  <c:v>0.11</c:v>
                </c:pt>
                <c:pt idx="20">
                  <c:v>0.02</c:v>
                </c:pt>
                <c:pt idx="21">
                  <c:v>0.1</c:v>
                </c:pt>
                <c:pt idx="22">
                  <c:v>0.05</c:v>
                </c:pt>
                <c:pt idx="23">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Mini Babybel Rouge Filet St Paulin Ferme 1X132Gr 6P</c:v>
                </c:pt>
                <c:pt idx="1">
                  <c:v>La Vache Qui Rit Nature Fromage Fondu Boite Ronde 1X192Gr 12P</c:v>
                </c:pt>
                <c:pt idx="2">
                  <c:v>Kiri Creme Fromage Blanc Frais Carre 1X144Gr 8P</c:v>
                </c:pt>
                <c:pt idx="3">
                  <c:v>Boursin Classique Fromage Frais A Tartiner Afh Boite 1X150Gr 1P</c:v>
                </c:pt>
                <c:pt idx="4">
                  <c:v>La Vache Qui Rit Nature Fromage Fondu Boite Ronde 1X384Gr 24P</c:v>
                </c:pt>
                <c:pt idx="5">
                  <c:v>Kiri Gouter Fromage Blanc Dips Boite 1X175Gr 5P</c:v>
                </c:pt>
                <c:pt idx="6">
                  <c:v>Boursin Salade &amp; Aperitif Fromage Frais Des Afh 1X120Gr 1P</c:v>
                </c:pt>
                <c:pt idx="7">
                  <c:v>Boursin Classique Fromage Frais A Tartiner Afh 1X160Gr 10P</c:v>
                </c:pt>
                <c:pt idx="8">
                  <c:v>Mini Babybel Rouge Filet St Paulin Ferme 1X264Gr 12P</c:v>
                </c:pt>
                <c:pt idx="9">
                  <c:v>La Vache Qui Rit Pik Et Croq' Fromage Fondu Dips Boite 1X175Gr 5P</c:v>
                </c:pt>
                <c:pt idx="10">
                  <c:v>Kiri Delicieusement Fouette Fromage Frais A Tartiner 1X125Gr 1P</c:v>
                </c:pt>
                <c:pt idx="11">
                  <c:v>La Vache Qui Rit Nature Fromage Fondu Boite Ronde 1X128Gr 8P</c:v>
                </c:pt>
                <c:pt idx="12">
                  <c:v>Boursin Classique Fromage Frais A Tartiner Afh Boite 1X96Gr 6P</c:v>
                </c:pt>
                <c:pt idx="13">
                  <c:v>Boursin Classique Fromage Frais A Tartiner Ciboulette &amp; Echalote Boite 1X150Gr 1P</c:v>
                </c:pt>
                <c:pt idx="14">
                  <c:v>Mini Babybel Aros Soft Cheese Enfant 180G</c:v>
                </c:pt>
                <c:pt idx="15">
                  <c:v>Babybel Mini Rolls St Paulin Ferme Sachet 1X85Gr 5P</c:v>
                </c:pt>
                <c:pt idx="16">
                  <c:v>Mini Babybel Rouge Filet St Paulin Ferme Sachet 1X40Gr 1P</c:v>
                </c:pt>
                <c:pt idx="17">
                  <c:v>Kiri Creme Fromage Blanc Frais Carre 1X216Gr 12P</c:v>
                </c:pt>
                <c:pt idx="18">
                  <c:v>La Vache Qui Rit Pik Et Croq' Fromage Fondu Dips Boite 1X35Gr 1P</c:v>
                </c:pt>
                <c:pt idx="19">
                  <c:v>Boursin Classique Fromage Frais A Tartiner Afh Boite 1X80Gr 1P</c:v>
                </c:pt>
                <c:pt idx="20">
                  <c:v>Kiri Gouter Fromage Blanc Dips Boite 1X280Gr 8P</c:v>
                </c:pt>
                <c:pt idx="21">
                  <c:v>Kiri Delicieusement Fouette Fromage Frais A Tartiner 1X160Gr 10P</c:v>
                </c:pt>
                <c:pt idx="22">
                  <c:v>La Vache Qui Rit Bio Fromage Fondu Boite Ronde 1X128Gr 8P</c:v>
                </c:pt>
                <c:pt idx="23">
                  <c:v>Mini Babybel Aros St Paulin Ferme Raclette Filet 1X132Gr 6P</c:v>
                </c:pt>
              </c:strCache>
            </c:strRef>
          </c:cat>
          <c:val>
            <c:numRef>
              <c:f>Sheet1!$C$2:$C$25</c:f>
              <c:numCache>
                <c:formatCode>General</c:formatCode>
                <c:ptCount val="24"/>
                <c:pt idx="0">
                  <c:v>0.23038935360227505</c:v>
                </c:pt>
                <c:pt idx="1">
                  <c:v>0.39834334222401002</c:v>
                </c:pt>
                <c:pt idx="2">
                  <c:v>0.54663552678385152</c:v>
                </c:pt>
                <c:pt idx="3">
                  <c:v>0.63908880820403835</c:v>
                </c:pt>
                <c:pt idx="4">
                  <c:v>0.71769324713829785</c:v>
                </c:pt>
                <c:pt idx="5">
                  <c:v>0.78123431811211463</c:v>
                </c:pt>
                <c:pt idx="6">
                  <c:v>0.8364100478155303</c:v>
                </c:pt>
                <c:pt idx="7">
                  <c:v>0.88119639389750359</c:v>
                </c:pt>
                <c:pt idx="8">
                  <c:v>0.91916688805802504</c:v>
                </c:pt>
                <c:pt idx="9">
                  <c:v>0.95139046281050454</c:v>
                </c:pt>
                <c:pt idx="10">
                  <c:v>0.96960534301151291</c:v>
                </c:pt>
                <c:pt idx="11">
                  <c:v>0.97573700807965891</c:v>
                </c:pt>
                <c:pt idx="12">
                  <c:v>0.98004550905753329</c:v>
                </c:pt>
                <c:pt idx="13">
                  <c:v>0.98328107496636608</c:v>
                </c:pt>
                <c:pt idx="14">
                  <c:v>0.98646410733253187</c:v>
                </c:pt>
                <c:pt idx="15">
                  <c:v>0.98901823814505563</c:v>
                </c:pt>
                <c:pt idx="16">
                  <c:v>0.99128368463263794</c:v>
                </c:pt>
                <c:pt idx="17">
                  <c:v>0.99349784837618815</c:v>
                </c:pt>
                <c:pt idx="18">
                  <c:v>0.99533602205007898</c:v>
                </c:pt>
                <c:pt idx="19">
                  <c:v>0.99670464591641761</c:v>
                </c:pt>
                <c:pt idx="20">
                  <c:v>0.99804525189333382</c:v>
                </c:pt>
                <c:pt idx="21">
                  <c:v>0.99847602694320314</c:v>
                </c:pt>
                <c:pt idx="22">
                  <c:v>0.9988757821869263</c:v>
                </c:pt>
                <c:pt idx="23">
                  <c:v>0.9998501543235355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5</c:f>
              <c:strCache>
                <c:ptCount val="24"/>
                <c:pt idx="0">
                  <c:v>Mini Babybel Rouge Filet St Paulin Ferme 1X132Gr 6P</c:v>
                </c:pt>
                <c:pt idx="1">
                  <c:v>La Vache Qui Rit Nature Fromage Fondu Boite Ronde 1X192Gr 12P</c:v>
                </c:pt>
                <c:pt idx="2">
                  <c:v>Kiri Creme Fromage Blanc Frais Carre 1X144Gr 8P</c:v>
                </c:pt>
                <c:pt idx="3">
                  <c:v>Boursin Classique Fromage Frais A Tartiner Afh Boite 1X150Gr 1P</c:v>
                </c:pt>
                <c:pt idx="4">
                  <c:v>La Vache Qui Rit Nature Fromage Fondu Boite Ronde 1X384Gr 24P</c:v>
                </c:pt>
                <c:pt idx="5">
                  <c:v>Kiri Gouter Fromage Blanc Dips Boite 1X175Gr 5P</c:v>
                </c:pt>
                <c:pt idx="6">
                  <c:v>Boursin Salade &amp; Aperitif Fromage Frais Des Afh 1X120Gr 1P</c:v>
                </c:pt>
                <c:pt idx="7">
                  <c:v>Boursin Classique Fromage Frais A Tartiner Afh 1X160Gr 10P</c:v>
                </c:pt>
                <c:pt idx="8">
                  <c:v>Mini Babybel Rouge Filet St Paulin Ferme 1X264Gr 12P</c:v>
                </c:pt>
                <c:pt idx="9">
                  <c:v>La Vache Qui Rit Pik Et Croq' Fromage Fondu Dips Boite 1X175Gr 5P</c:v>
                </c:pt>
                <c:pt idx="10">
                  <c:v>Kiri Delicieusement Fouette Fromage Frais A Tartiner 1X125Gr 1P</c:v>
                </c:pt>
                <c:pt idx="11">
                  <c:v>La Vache Qui Rit Nature Fromage Fondu Boite Ronde 1X128Gr 8P</c:v>
                </c:pt>
                <c:pt idx="12">
                  <c:v>Boursin Classique Fromage Frais A Tartiner Afh Boite 1X96Gr 6P</c:v>
                </c:pt>
                <c:pt idx="13">
                  <c:v>Boursin Classique Fromage Frais A Tartiner Ciboulette &amp; Echalote Boite 1X150Gr 1P</c:v>
                </c:pt>
                <c:pt idx="14">
                  <c:v>Mini Babybel Aros Soft Cheese Enfant 180G</c:v>
                </c:pt>
                <c:pt idx="15">
                  <c:v>Babybel Mini Rolls St Paulin Ferme Sachet 1X85Gr 5P</c:v>
                </c:pt>
                <c:pt idx="16">
                  <c:v>Mini Babybel Rouge Filet St Paulin Ferme Sachet 1X40Gr 1P</c:v>
                </c:pt>
                <c:pt idx="17">
                  <c:v>Kiri Creme Fromage Blanc Frais Carre 1X216Gr 12P</c:v>
                </c:pt>
                <c:pt idx="18">
                  <c:v>La Vache Qui Rit Pik Et Croq' Fromage Fondu Dips Boite 1X35Gr 1P</c:v>
                </c:pt>
                <c:pt idx="19">
                  <c:v>Boursin Classique Fromage Frais A Tartiner Afh Boite 1X80Gr 1P</c:v>
                </c:pt>
                <c:pt idx="20">
                  <c:v>Kiri Gouter Fromage Blanc Dips Boite 1X280Gr 8P</c:v>
                </c:pt>
                <c:pt idx="21">
                  <c:v>Kiri Delicieusement Fouette Fromage Frais A Tartiner 1X160Gr 10P</c:v>
                </c:pt>
                <c:pt idx="22">
                  <c:v>La Vache Qui Rit Bio Fromage Fondu Boite Ronde 1X128Gr 8P</c:v>
                </c:pt>
                <c:pt idx="23">
                  <c:v>Mini Babybel Aros St Paulin Ferme Raclette Filet 1X132Gr 6P</c:v>
                </c:pt>
              </c:strCache>
            </c:strRef>
          </c:cat>
          <c:val>
            <c:numRef>
              <c:f>Sheet1!$D$2:$D$25</c:f>
              <c:numCache>
                <c:formatCode>General</c:formatCode>
                <c:ptCount val="24"/>
                <c:pt idx="0">
                  <c:v>9593.4270833333339</c:v>
                </c:pt>
                <c:pt idx="1">
                  <c:v>7543.6741573033705</c:v>
                </c:pt>
                <c:pt idx="2">
                  <c:v>6174.895833333333</c:v>
                </c:pt>
                <c:pt idx="3">
                  <c:v>4452.734939759036</c:v>
                </c:pt>
                <c:pt idx="4">
                  <c:v>6982.6</c:v>
                </c:pt>
                <c:pt idx="5">
                  <c:v>3577.4929577464791</c:v>
                </c:pt>
                <c:pt idx="6">
                  <c:v>2791.9240506329115</c:v>
                </c:pt>
                <c:pt idx="7">
                  <c:v>3653.6938775510203</c:v>
                </c:pt>
                <c:pt idx="8">
                  <c:v>7589.25</c:v>
                </c:pt>
                <c:pt idx="9">
                  <c:v>2525.7254901960782</c:v>
                </c:pt>
                <c:pt idx="10">
                  <c:v>1348.3888888888889</c:v>
                </c:pt>
                <c:pt idx="11">
                  <c:v>2723.4444444444443</c:v>
                </c:pt>
                <c:pt idx="12">
                  <c:v>1913.6666666666667</c:v>
                </c:pt>
                <c:pt idx="13">
                  <c:v>1616.75</c:v>
                </c:pt>
                <c:pt idx="14">
                  <c:v>2544.8000000000002</c:v>
                </c:pt>
                <c:pt idx="15">
                  <c:v>1276.25</c:v>
                </c:pt>
                <c:pt idx="16">
                  <c:v>1509.3333333333333</c:v>
                </c:pt>
                <c:pt idx="17">
                  <c:v>4425.5</c:v>
                </c:pt>
                <c:pt idx="18">
                  <c:v>1469.6</c:v>
                </c:pt>
                <c:pt idx="19">
                  <c:v>497.36363636363637</c:v>
                </c:pt>
                <c:pt idx="20">
                  <c:v>2679.5</c:v>
                </c:pt>
                <c:pt idx="21">
                  <c:v>172.2</c:v>
                </c:pt>
                <c:pt idx="22">
                  <c:v>319.60000000000002</c:v>
                </c:pt>
                <c:pt idx="23">
                  <c:v>10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2</c:f>
              <c:strCache>
                <c:ptCount val="41"/>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Boursin Classique Fromage Frais A Tartiner Afh Boite 1X150Gr 1P</c:v>
                </c:pt>
                <c:pt idx="13">
                  <c:v>Boursin Salade &amp; Aperitif Fromage Frais Des Afh 1X120Gr 1P</c:v>
                </c:pt>
                <c:pt idx="14">
                  <c:v>La Vache Qui Rit Pik Et Croq' Fromage Fondu Dips Boite 1X175Gr 5P</c:v>
                </c:pt>
                <c:pt idx="15">
                  <c:v>La Vache Qui Rit Pik Et Croq' Fromage Fondu Dips Boite 1X280Gr 8P</c:v>
                </c:pt>
                <c:pt idx="16">
                  <c:v>Boursin Onctueux Fromage Frais A Tartiner Afh 1X125Gr 1P</c:v>
                </c:pt>
                <c:pt idx="17">
                  <c:v>Boursin Classique Fromage Frais A Tartiner Afh Boite 1X96Gr 6P</c:v>
                </c:pt>
                <c:pt idx="18">
                  <c:v>Kiri Creme Fromage Blanc Frais Carre 1X432Gr 18+6P</c:v>
                </c:pt>
                <c:pt idx="19">
                  <c:v>Boursin Classique Fromage Frais A Tartiner Figue Et 3 Noix Boite 1X150Gr 1P</c:v>
                </c:pt>
                <c:pt idx="20">
                  <c:v>Mini Babybel Aros Soft Cheese Enfant 180G</c:v>
                </c:pt>
                <c:pt idx="21">
                  <c:v>La Vache Qui Rit Allegee Fromage Fondu Boite Ronde Allege 1X267Gr 16P</c:v>
                </c:pt>
                <c:pt idx="22">
                  <c:v>Boursin Classique Fromage Frais A Tartiner Ciboulette &amp; Echalote Boite 1X150Gr 1P</c:v>
                </c:pt>
                <c:pt idx="23">
                  <c:v>Kiri Delicieusement Fouette Fromage Frais A Tartiner 1X125Gr 1P</c:v>
                </c:pt>
                <c:pt idx="24">
                  <c:v>Boursin Classique Fromage Frais A Tartiner Afh 1X256Gr 16P</c:v>
                </c:pt>
                <c:pt idx="25">
                  <c:v>Boursin Salade &amp; Aperitif Fromage Frais Des Ciboulette Echalote 1X120Gr 1P</c:v>
                </c:pt>
                <c:pt idx="26">
                  <c:v>Boursin Classique Fromage Frais A Tartiner Poivre Boite 1X150Gr 1P</c:v>
                </c:pt>
                <c:pt idx="27">
                  <c:v>Babybel Mini Rolls St Paulin Ferme Sachet 1X85Gr 5P</c:v>
                </c:pt>
                <c:pt idx="28">
                  <c:v>Boursin Classique Fromage Frais A Tartiner Ciboulette &amp; Echalote 1X160Gr 10P</c:v>
                </c:pt>
                <c:pt idx="29">
                  <c:v>Kiri Bio Fromage Blanc Frais Carre 1X144Gr 8P</c:v>
                </c:pt>
                <c:pt idx="30">
                  <c:v>La Vache Qui Rit Aro Fromage Fondu Boite Ronde Jambon 1X133Gr 8P</c:v>
                </c:pt>
                <c:pt idx="31">
                  <c:v>Mini Babybel Aros Soft Cheese Enfant 110G</c:v>
                </c:pt>
                <c:pt idx="32">
                  <c:v>Boursin Salade &amp; Aperitif Fromage Frais Des Figue Noix 1X120Gr 1P</c:v>
                </c:pt>
                <c:pt idx="33">
                  <c:v>Kiri Chevre Fromage Blanc Frais Carre 1X144Gr 8P</c:v>
                </c:pt>
                <c:pt idx="34">
                  <c:v>Boursin Salade &amp; Aperitif Fromage Frais Des Citron Romarin 1X120Gr 1P</c:v>
                </c:pt>
                <c:pt idx="35">
                  <c:v>Boursin Salade &amp; Aperitif Soft Cheese Salade 120G</c:v>
                </c:pt>
                <c:pt idx="36">
                  <c:v>Mini Babybel Rouge Filet St Paulin Ferme Sachet 1X40Gr 1P</c:v>
                </c:pt>
                <c:pt idx="37">
                  <c:v>Mini Babybel Aros St Paulin Ferme Raclette Filet 1X132Gr 6P</c:v>
                </c:pt>
                <c:pt idx="38">
                  <c:v>Kiri Delicieusement Fouette Fromage Frais A Tartiner 1X160Gr 10P</c:v>
                </c:pt>
                <c:pt idx="39">
                  <c:v>Mini Babybel Aros St Paulin Ferme Assortis Filet 1X180Gr 9P</c:v>
                </c:pt>
                <c:pt idx="40">
                  <c:v>Boursin Classique Fromage Frais A Tartiner Afh Boite 1X80Gr 1P</c:v>
                </c:pt>
              </c:strCache>
            </c:strRef>
          </c:cat>
          <c:val>
            <c:numRef>
              <c:f>Sheet1!$B$2:$B$42</c:f>
              <c:numCache>
                <c:formatCode>General</c:formatCode>
                <c:ptCount val="41"/>
                <c:pt idx="0">
                  <c:v>0.99</c:v>
                </c:pt>
                <c:pt idx="1">
                  <c:v>0.98</c:v>
                </c:pt>
                <c:pt idx="2">
                  <c:v>0.97</c:v>
                </c:pt>
                <c:pt idx="3">
                  <c:v>1</c:v>
                </c:pt>
                <c:pt idx="4">
                  <c:v>0.99</c:v>
                </c:pt>
                <c:pt idx="5">
                  <c:v>0.99</c:v>
                </c:pt>
                <c:pt idx="6">
                  <c:v>0.89</c:v>
                </c:pt>
                <c:pt idx="7">
                  <c:v>0.96</c:v>
                </c:pt>
                <c:pt idx="8">
                  <c:v>0.99</c:v>
                </c:pt>
                <c:pt idx="9">
                  <c:v>0.99</c:v>
                </c:pt>
                <c:pt idx="10">
                  <c:v>0.99</c:v>
                </c:pt>
                <c:pt idx="11">
                  <c:v>0.99</c:v>
                </c:pt>
                <c:pt idx="12">
                  <c:v>1</c:v>
                </c:pt>
                <c:pt idx="13">
                  <c:v>0.98</c:v>
                </c:pt>
                <c:pt idx="14">
                  <c:v>0.95</c:v>
                </c:pt>
                <c:pt idx="15">
                  <c:v>0.86</c:v>
                </c:pt>
                <c:pt idx="16">
                  <c:v>0.97</c:v>
                </c:pt>
                <c:pt idx="17">
                  <c:v>0.9</c:v>
                </c:pt>
                <c:pt idx="18">
                  <c:v>0.83</c:v>
                </c:pt>
                <c:pt idx="19">
                  <c:v>0.95</c:v>
                </c:pt>
                <c:pt idx="20">
                  <c:v>0.73</c:v>
                </c:pt>
                <c:pt idx="21">
                  <c:v>0.84</c:v>
                </c:pt>
                <c:pt idx="22">
                  <c:v>0.96</c:v>
                </c:pt>
                <c:pt idx="23">
                  <c:v>0.87</c:v>
                </c:pt>
                <c:pt idx="24">
                  <c:v>0.84</c:v>
                </c:pt>
                <c:pt idx="25">
                  <c:v>0.86</c:v>
                </c:pt>
                <c:pt idx="26">
                  <c:v>0.86</c:v>
                </c:pt>
                <c:pt idx="27">
                  <c:v>0.75</c:v>
                </c:pt>
                <c:pt idx="28">
                  <c:v>0.83</c:v>
                </c:pt>
                <c:pt idx="29">
                  <c:v>0.6</c:v>
                </c:pt>
                <c:pt idx="30">
                  <c:v>0.64</c:v>
                </c:pt>
                <c:pt idx="31">
                  <c:v>0.59</c:v>
                </c:pt>
                <c:pt idx="32">
                  <c:v>0.51</c:v>
                </c:pt>
                <c:pt idx="33">
                  <c:v>0.57999999999999996</c:v>
                </c:pt>
                <c:pt idx="34">
                  <c:v>0.67</c:v>
                </c:pt>
                <c:pt idx="35">
                  <c:v>0.4</c:v>
                </c:pt>
                <c:pt idx="36">
                  <c:v>0.09</c:v>
                </c:pt>
                <c:pt idx="37">
                  <c:v>0.11</c:v>
                </c:pt>
                <c:pt idx="38">
                  <c:v>0.09</c:v>
                </c:pt>
                <c:pt idx="39">
                  <c:v>0.02</c:v>
                </c:pt>
                <c:pt idx="40">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2</c:f>
              <c:strCache>
                <c:ptCount val="41"/>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Boursin Classique Fromage Frais A Tartiner Afh Boite 1X150Gr 1P</c:v>
                </c:pt>
                <c:pt idx="13">
                  <c:v>Boursin Salade &amp; Aperitif Fromage Frais Des Afh 1X120Gr 1P</c:v>
                </c:pt>
                <c:pt idx="14">
                  <c:v>La Vache Qui Rit Pik Et Croq' Fromage Fondu Dips Boite 1X175Gr 5P</c:v>
                </c:pt>
                <c:pt idx="15">
                  <c:v>La Vache Qui Rit Pik Et Croq' Fromage Fondu Dips Boite 1X280Gr 8P</c:v>
                </c:pt>
                <c:pt idx="16">
                  <c:v>Boursin Onctueux Fromage Frais A Tartiner Afh 1X125Gr 1P</c:v>
                </c:pt>
                <c:pt idx="17">
                  <c:v>Boursin Classique Fromage Frais A Tartiner Afh Boite 1X96Gr 6P</c:v>
                </c:pt>
                <c:pt idx="18">
                  <c:v>Kiri Creme Fromage Blanc Frais Carre 1X432Gr 18+6P</c:v>
                </c:pt>
                <c:pt idx="19">
                  <c:v>Boursin Classique Fromage Frais A Tartiner Figue Et 3 Noix Boite 1X150Gr 1P</c:v>
                </c:pt>
                <c:pt idx="20">
                  <c:v>Mini Babybel Aros Soft Cheese Enfant 180G</c:v>
                </c:pt>
                <c:pt idx="21">
                  <c:v>La Vache Qui Rit Allegee Fromage Fondu Boite Ronde Allege 1X267Gr 16P</c:v>
                </c:pt>
                <c:pt idx="22">
                  <c:v>Boursin Classique Fromage Frais A Tartiner Ciboulette &amp; Echalote Boite 1X150Gr 1P</c:v>
                </c:pt>
                <c:pt idx="23">
                  <c:v>Kiri Delicieusement Fouette Fromage Frais A Tartiner 1X125Gr 1P</c:v>
                </c:pt>
                <c:pt idx="24">
                  <c:v>Boursin Classique Fromage Frais A Tartiner Afh 1X256Gr 16P</c:v>
                </c:pt>
                <c:pt idx="25">
                  <c:v>Boursin Salade &amp; Aperitif Fromage Frais Des Ciboulette Echalote 1X120Gr 1P</c:v>
                </c:pt>
                <c:pt idx="26">
                  <c:v>Boursin Classique Fromage Frais A Tartiner Poivre Boite 1X150Gr 1P</c:v>
                </c:pt>
                <c:pt idx="27">
                  <c:v>Babybel Mini Rolls St Paulin Ferme Sachet 1X85Gr 5P</c:v>
                </c:pt>
                <c:pt idx="28">
                  <c:v>Boursin Classique Fromage Frais A Tartiner Ciboulette &amp; Echalote 1X160Gr 10P</c:v>
                </c:pt>
                <c:pt idx="29">
                  <c:v>Kiri Bio Fromage Blanc Frais Carre 1X144Gr 8P</c:v>
                </c:pt>
                <c:pt idx="30">
                  <c:v>La Vache Qui Rit Aro Fromage Fondu Boite Ronde Jambon 1X133Gr 8P</c:v>
                </c:pt>
                <c:pt idx="31">
                  <c:v>Mini Babybel Aros Soft Cheese Enfant 110G</c:v>
                </c:pt>
                <c:pt idx="32">
                  <c:v>Boursin Salade &amp; Aperitif Fromage Frais Des Figue Noix 1X120Gr 1P</c:v>
                </c:pt>
                <c:pt idx="33">
                  <c:v>Kiri Chevre Fromage Blanc Frais Carre 1X144Gr 8P</c:v>
                </c:pt>
                <c:pt idx="34">
                  <c:v>Boursin Salade &amp; Aperitif Fromage Frais Des Citron Romarin 1X120Gr 1P</c:v>
                </c:pt>
                <c:pt idx="35">
                  <c:v>Boursin Salade &amp; Aperitif Soft Cheese Salade 120G</c:v>
                </c:pt>
                <c:pt idx="36">
                  <c:v>Mini Babybel Rouge Filet St Paulin Ferme Sachet 1X40Gr 1P</c:v>
                </c:pt>
                <c:pt idx="37">
                  <c:v>Mini Babybel Aros St Paulin Ferme Raclette Filet 1X132Gr 6P</c:v>
                </c:pt>
                <c:pt idx="38">
                  <c:v>Kiri Delicieusement Fouette Fromage Frais A Tartiner 1X160Gr 10P</c:v>
                </c:pt>
                <c:pt idx="39">
                  <c:v>Mini Babybel Aros St Paulin Ferme Assortis Filet 1X180Gr 9P</c:v>
                </c:pt>
                <c:pt idx="40">
                  <c:v>Boursin Classique Fromage Frais A Tartiner Afh Boite 1X80Gr 1P</c:v>
                </c:pt>
              </c:strCache>
            </c:strRef>
          </c:cat>
          <c:val>
            <c:numRef>
              <c:f>Sheet1!$C$2:$C$42</c:f>
              <c:numCache>
                <c:formatCode>General</c:formatCode>
                <c:ptCount val="41"/>
                <c:pt idx="0">
                  <c:v>0.14740217901747293</c:v>
                </c:pt>
                <c:pt idx="1">
                  <c:v>0.23594140987406712</c:v>
                </c:pt>
                <c:pt idx="2">
                  <c:v>0.31470361390783413</c:v>
                </c:pt>
                <c:pt idx="3">
                  <c:v>0.3898682766812066</c:v>
                </c:pt>
                <c:pt idx="4">
                  <c:v>0.45867854131048785</c:v>
                </c:pt>
                <c:pt idx="5">
                  <c:v>0.51747876933853509</c:v>
                </c:pt>
                <c:pt idx="6">
                  <c:v>0.56621079456955425</c:v>
                </c:pt>
                <c:pt idx="7">
                  <c:v>0.60815158869613462</c:v>
                </c:pt>
                <c:pt idx="8">
                  <c:v>0.64582437783215196</c:v>
                </c:pt>
                <c:pt idx="9">
                  <c:v>0.68073775711976992</c:v>
                </c:pt>
                <c:pt idx="10">
                  <c:v>0.71357336813461203</c:v>
                </c:pt>
                <c:pt idx="11">
                  <c:v>0.7455511140102975</c:v>
                </c:pt>
                <c:pt idx="12">
                  <c:v>0.77505545108333318</c:v>
                </c:pt>
                <c:pt idx="13">
                  <c:v>0.79784059205597413</c:v>
                </c:pt>
                <c:pt idx="14">
                  <c:v>0.81630804872491824</c:v>
                </c:pt>
                <c:pt idx="15">
                  <c:v>0.83436399508340386</c:v>
                </c:pt>
                <c:pt idx="16">
                  <c:v>0.85063955905745636</c:v>
                </c:pt>
                <c:pt idx="17">
                  <c:v>0.86295361180336305</c:v>
                </c:pt>
                <c:pt idx="18">
                  <c:v>0.87518307171885024</c:v>
                </c:pt>
                <c:pt idx="19">
                  <c:v>0.88699419041832306</c:v>
                </c:pt>
                <c:pt idx="20">
                  <c:v>0.89868387079680212</c:v>
                </c:pt>
                <c:pt idx="21">
                  <c:v>0.91007761426690492</c:v>
                </c:pt>
                <c:pt idx="22">
                  <c:v>0.92071588718214359</c:v>
                </c:pt>
                <c:pt idx="23">
                  <c:v>0.9297760139168314</c:v>
                </c:pt>
                <c:pt idx="24">
                  <c:v>0.93812883143077641</c:v>
                </c:pt>
                <c:pt idx="25">
                  <c:v>0.94646529617081487</c:v>
                </c:pt>
                <c:pt idx="26">
                  <c:v>0.95477264331343326</c:v>
                </c:pt>
                <c:pt idx="27">
                  <c:v>0.9629737319251821</c:v>
                </c:pt>
                <c:pt idx="28">
                  <c:v>0.96993180272289525</c:v>
                </c:pt>
                <c:pt idx="29">
                  <c:v>0.97622396372747722</c:v>
                </c:pt>
                <c:pt idx="30">
                  <c:v>0.98247037836454842</c:v>
                </c:pt>
                <c:pt idx="31">
                  <c:v>0.98638083029863999</c:v>
                </c:pt>
                <c:pt idx="32">
                  <c:v>0.9902760334435613</c:v>
                </c:pt>
                <c:pt idx="33">
                  <c:v>0.99394526471276978</c:v>
                </c:pt>
                <c:pt idx="34">
                  <c:v>0.99708982723604833</c:v>
                </c:pt>
                <c:pt idx="35">
                  <c:v>0.99951983563875213</c:v>
                </c:pt>
                <c:pt idx="36">
                  <c:v>0.99982660539735346</c:v>
                </c:pt>
                <c:pt idx="37">
                  <c:v>0.99987725069713151</c:v>
                </c:pt>
                <c:pt idx="38">
                  <c:v>0.99991299220296948</c:v>
                </c:pt>
                <c:pt idx="39">
                  <c:v>0.99996888143024498</c:v>
                </c:pt>
                <c:pt idx="40">
                  <c:v>0.9999906851287870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2</c:f>
              <c:strCache>
                <c:ptCount val="41"/>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Boursin Classique Fromage Frais A Tartiner Afh Boite 1X150Gr 1P</c:v>
                </c:pt>
                <c:pt idx="13">
                  <c:v>Boursin Salade &amp; Aperitif Fromage Frais Des Afh 1X120Gr 1P</c:v>
                </c:pt>
                <c:pt idx="14">
                  <c:v>La Vache Qui Rit Pik Et Croq' Fromage Fondu Dips Boite 1X175Gr 5P</c:v>
                </c:pt>
                <c:pt idx="15">
                  <c:v>La Vache Qui Rit Pik Et Croq' Fromage Fondu Dips Boite 1X280Gr 8P</c:v>
                </c:pt>
                <c:pt idx="16">
                  <c:v>Boursin Onctueux Fromage Frais A Tartiner Afh 1X125Gr 1P</c:v>
                </c:pt>
                <c:pt idx="17">
                  <c:v>Boursin Classique Fromage Frais A Tartiner Afh Boite 1X96Gr 6P</c:v>
                </c:pt>
                <c:pt idx="18">
                  <c:v>Kiri Creme Fromage Blanc Frais Carre 1X432Gr 18+6P</c:v>
                </c:pt>
                <c:pt idx="19">
                  <c:v>Boursin Classique Fromage Frais A Tartiner Figue Et 3 Noix Boite 1X150Gr 1P</c:v>
                </c:pt>
                <c:pt idx="20">
                  <c:v>Mini Babybel Aros Soft Cheese Enfant 180G</c:v>
                </c:pt>
                <c:pt idx="21">
                  <c:v>La Vache Qui Rit Allegee Fromage Fondu Boite Ronde Allege 1X267Gr 16P</c:v>
                </c:pt>
                <c:pt idx="22">
                  <c:v>Boursin Classique Fromage Frais A Tartiner Ciboulette &amp; Echalote Boite 1X150Gr 1P</c:v>
                </c:pt>
                <c:pt idx="23">
                  <c:v>Kiri Delicieusement Fouette Fromage Frais A Tartiner 1X125Gr 1P</c:v>
                </c:pt>
                <c:pt idx="24">
                  <c:v>Boursin Classique Fromage Frais A Tartiner Afh 1X256Gr 16P</c:v>
                </c:pt>
                <c:pt idx="25">
                  <c:v>Boursin Salade &amp; Aperitif Fromage Frais Des Ciboulette Echalote 1X120Gr 1P</c:v>
                </c:pt>
                <c:pt idx="26">
                  <c:v>Boursin Classique Fromage Frais A Tartiner Poivre Boite 1X150Gr 1P</c:v>
                </c:pt>
                <c:pt idx="27">
                  <c:v>Babybel Mini Rolls St Paulin Ferme Sachet 1X85Gr 5P</c:v>
                </c:pt>
                <c:pt idx="28">
                  <c:v>Boursin Classique Fromage Frais A Tartiner Ciboulette &amp; Echalote 1X160Gr 10P</c:v>
                </c:pt>
                <c:pt idx="29">
                  <c:v>Kiri Bio Fromage Blanc Frais Carre 1X144Gr 8P</c:v>
                </c:pt>
                <c:pt idx="30">
                  <c:v>La Vache Qui Rit Aro Fromage Fondu Boite Ronde Jambon 1X133Gr 8P</c:v>
                </c:pt>
                <c:pt idx="31">
                  <c:v>Mini Babybel Aros Soft Cheese Enfant 110G</c:v>
                </c:pt>
                <c:pt idx="32">
                  <c:v>Boursin Salade &amp; Aperitif Fromage Frais Des Figue Noix 1X120Gr 1P</c:v>
                </c:pt>
                <c:pt idx="33">
                  <c:v>Kiri Chevre Fromage Blanc Frais Carre 1X144Gr 8P</c:v>
                </c:pt>
                <c:pt idx="34">
                  <c:v>Boursin Salade &amp; Aperitif Fromage Frais Des Citron Romarin 1X120Gr 1P</c:v>
                </c:pt>
                <c:pt idx="35">
                  <c:v>Boursin Salade &amp; Aperitif Soft Cheese Salade 120G</c:v>
                </c:pt>
                <c:pt idx="36">
                  <c:v>Mini Babybel Rouge Filet St Paulin Ferme Sachet 1X40Gr 1P</c:v>
                </c:pt>
                <c:pt idx="37">
                  <c:v>Mini Babybel Aros St Paulin Ferme Raclette Filet 1X132Gr 6P</c:v>
                </c:pt>
                <c:pt idx="38">
                  <c:v>Kiri Delicieusement Fouette Fromage Frais A Tartiner 1X160Gr 10P</c:v>
                </c:pt>
                <c:pt idx="39">
                  <c:v>Mini Babybel Aros St Paulin Ferme Assortis Filet 1X180Gr 9P</c:v>
                </c:pt>
                <c:pt idx="40">
                  <c:v>Boursin Classique Fromage Frais A Tartiner Afh Boite 1X80Gr 1P</c:v>
                </c:pt>
              </c:strCache>
            </c:strRef>
          </c:cat>
          <c:val>
            <c:numRef>
              <c:f>Sheet1!$D$2:$D$42</c:f>
              <c:numCache>
                <c:formatCode>General</c:formatCode>
                <c:ptCount val="41"/>
                <c:pt idx="0">
                  <c:v>21578.717171717173</c:v>
                </c:pt>
                <c:pt idx="1">
                  <c:v>13093.826530612245</c:v>
                </c:pt>
                <c:pt idx="2">
                  <c:v>11768.01030927835</c:v>
                </c:pt>
                <c:pt idx="3">
                  <c:v>10893.58</c:v>
                </c:pt>
                <c:pt idx="4">
                  <c:v>10073.373737373737</c:v>
                </c:pt>
                <c:pt idx="5">
                  <c:v>8607.9696969696961</c:v>
                </c:pt>
                <c:pt idx="6">
                  <c:v>7935.6292134831465</c:v>
                </c:pt>
                <c:pt idx="7">
                  <c:v>6331.729166666667</c:v>
                </c:pt>
                <c:pt idx="8">
                  <c:v>5515.0505050505053</c:v>
                </c:pt>
                <c:pt idx="9">
                  <c:v>5111.090909090909</c:v>
                </c:pt>
                <c:pt idx="10">
                  <c:v>4806.9191919191917</c:v>
                </c:pt>
                <c:pt idx="11">
                  <c:v>4681.333333333333</c:v>
                </c:pt>
                <c:pt idx="12">
                  <c:v>4276.05</c:v>
                </c:pt>
                <c:pt idx="13">
                  <c:v>3369.6326530612246</c:v>
                </c:pt>
                <c:pt idx="14">
                  <c:v>2817.3473684210526</c:v>
                </c:pt>
                <c:pt idx="15">
                  <c:v>3042.8372093023254</c:v>
                </c:pt>
                <c:pt idx="16">
                  <c:v>2431.7628865979382</c:v>
                </c:pt>
                <c:pt idx="17">
                  <c:v>1982.9666666666667</c:v>
                </c:pt>
                <c:pt idx="18">
                  <c:v>2135.4337349397592</c:v>
                </c:pt>
                <c:pt idx="19">
                  <c:v>1801.8736842105263</c:v>
                </c:pt>
                <c:pt idx="20">
                  <c:v>2320.794520547945</c:v>
                </c:pt>
                <c:pt idx="21">
                  <c:v>1965.8214285714287</c:v>
                </c:pt>
                <c:pt idx="22">
                  <c:v>1606.0416666666667</c:v>
                </c:pt>
                <c:pt idx="23">
                  <c:v>1509.2873563218391</c:v>
                </c:pt>
                <c:pt idx="24">
                  <c:v>1441.1547619047619</c:v>
                </c:pt>
                <c:pt idx="25">
                  <c:v>1404.8837209302326</c:v>
                </c:pt>
                <c:pt idx="26">
                  <c:v>1399.9767441860465</c:v>
                </c:pt>
                <c:pt idx="27">
                  <c:v>1584.7733333333333</c:v>
                </c:pt>
                <c:pt idx="28">
                  <c:v>1214.9759036144578</c:v>
                </c:pt>
                <c:pt idx="29">
                  <c:v>1519.8666666666666</c:v>
                </c:pt>
                <c:pt idx="30">
                  <c:v>1414.515625</c:v>
                </c:pt>
                <c:pt idx="31">
                  <c:v>960.57627118644064</c:v>
                </c:pt>
                <c:pt idx="32">
                  <c:v>1106.9215686274511</c:v>
                </c:pt>
                <c:pt idx="33">
                  <c:v>916.86206896551732</c:v>
                </c:pt>
                <c:pt idx="34">
                  <c:v>680.20895522388059</c:v>
                </c:pt>
                <c:pt idx="35">
                  <c:v>880.45</c:v>
                </c:pt>
                <c:pt idx="36">
                  <c:v>494</c:v>
                </c:pt>
                <c:pt idx="37">
                  <c:v>66.727272727272734</c:v>
                </c:pt>
                <c:pt idx="38">
                  <c:v>57.555555555555557</c:v>
                </c:pt>
                <c:pt idx="39">
                  <c:v>165</c:v>
                </c:pt>
                <c:pt idx="40">
                  <c:v>52.6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4</c:f>
              <c:strCache>
                <c:ptCount val="43"/>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Boursin Classique Fromage Frais A Tartiner Afh Boite 1X250Gr 1P</c:v>
                </c:pt>
                <c:pt idx="9">
                  <c:v>Boursin Classique Fromage Frais A Tartiner Afh 1X160Gr 10P</c:v>
                </c:pt>
                <c:pt idx="10">
                  <c:v>Kiri Gouter Fromage Blanc Dips Boite 1X175Gr 5P</c:v>
                </c:pt>
                <c:pt idx="11">
                  <c:v>Kiri Creme Fromage Blanc Frais Carre 1X144Gr 8P</c:v>
                </c:pt>
                <c:pt idx="12">
                  <c:v>Boursin Classique Fromage Frais A Tartiner Afh Boite 1X150Gr 1P</c:v>
                </c:pt>
                <c:pt idx="13">
                  <c:v>La Vache Qui Rit Pik Et Croq' Fromage Fondu Dips Boite 1X280Gr 8P</c:v>
                </c:pt>
                <c:pt idx="14">
                  <c:v>Boursin Salade &amp; Aperitif Fromage Frais Des Afh 1X120Gr 1P</c:v>
                </c:pt>
                <c:pt idx="15">
                  <c:v>La Vache Qui Rit Pik Et Croq' Fromage Fondu Dips Boite 1X175Gr 5P</c:v>
                </c:pt>
                <c:pt idx="16">
                  <c:v>Mini Babybel Aros Soft Cheese Enfant 180G</c:v>
                </c:pt>
                <c:pt idx="17">
                  <c:v>Boursin Onctueux Fromage Frais A Tartiner Afh 1X125Gr 1P</c:v>
                </c:pt>
                <c:pt idx="18">
                  <c:v>Kiri Creme Fromage Blanc Frais Carre 1X432Gr 18+6P</c:v>
                </c:pt>
                <c:pt idx="19">
                  <c:v>Boursin Classique Fromage Frais A Tartiner Afh Boite 1X96Gr 6P</c:v>
                </c:pt>
                <c:pt idx="20">
                  <c:v>Boursin Classique Fromage Frais A Tartiner Afh 1X256Gr 16P</c:v>
                </c:pt>
                <c:pt idx="21">
                  <c:v>La Vache Qui Rit Allegee Fromage Fondu Boite Ronde Allege 1X267Gr 16P</c:v>
                </c:pt>
                <c:pt idx="22">
                  <c:v>Babybel Mini Rolls St Paulin Ferme Sachet 1X85Gr 5P</c:v>
                </c:pt>
                <c:pt idx="23">
                  <c:v>Kiri Delicieusement Fouette Fromage Frais A Tartiner 1X125Gr 1P</c:v>
                </c:pt>
                <c:pt idx="24">
                  <c:v>Boursin Classique Fromage Frais A Tartiner Figue Et 3 Noix Boite 1X150Gr 1P</c:v>
                </c:pt>
                <c:pt idx="25">
                  <c:v>Boursin Salade &amp; Aperitif Fromage Frais Des Ciboulette Echalote 1X120Gr 1P</c:v>
                </c:pt>
                <c:pt idx="26">
                  <c:v>Boursin Classique Fromage Frais A Tartiner Ciboulette &amp; Echalote Boite 1X150Gr 1P</c:v>
                </c:pt>
                <c:pt idx="27">
                  <c:v>Boursin Classique Fromage Frais A Tartiner Poivre Boite 1X150Gr 1P</c:v>
                </c:pt>
                <c:pt idx="28">
                  <c:v>Boursin Classique Fromage Frais A Tartiner Ciboulette &amp; Echalote 1X160Gr 10P</c:v>
                </c:pt>
                <c:pt idx="29">
                  <c:v>La Vache Qui Rit Aro Fromage Fondu Boite Ronde Jambon 1X133Gr 8P</c:v>
                </c:pt>
                <c:pt idx="30">
                  <c:v>Mini Babybel Aros Soft Cheese Enfant 110G</c:v>
                </c:pt>
                <c:pt idx="31">
                  <c:v>Kiri Bio Fromage Blanc Frais Carre 1X144Gr 8P</c:v>
                </c:pt>
                <c:pt idx="32">
                  <c:v>Boursin Salade &amp; Aperitif Fromage Frais Des Figue Noix 1X120Gr 1P</c:v>
                </c:pt>
                <c:pt idx="33">
                  <c:v>Boursin Salade &amp; Aperitif Fromage Frais Des Citron Romarin 1X120Gr 1P</c:v>
                </c:pt>
                <c:pt idx="34">
                  <c:v>Kiri Chevre Fromage Blanc Frais Carre 1X144Gr 8P</c:v>
                </c:pt>
                <c:pt idx="35">
                  <c:v>Boursin Salade &amp; Aperitif Soft Cheese Salade 120G</c:v>
                </c:pt>
                <c:pt idx="36">
                  <c:v>Mini Babybel Rouge Filet St Paulin Ferme Sachet 1X40Gr 1P</c:v>
                </c:pt>
                <c:pt idx="37">
                  <c:v>La Vache Qui Rit Nature Fromage Fondu Boite Ronde 1X512Gr 24+8P</c:v>
                </c:pt>
                <c:pt idx="38">
                  <c:v>Kiri Delicieusement Fouette Fromage Frais A Tartiner 1X160Gr 10P</c:v>
                </c:pt>
                <c:pt idx="39">
                  <c:v>Mini Babybel Aros St Paulin Ferme Raclette Filet 1X132Gr 6P</c:v>
                </c:pt>
                <c:pt idx="40">
                  <c:v>Boursin Classique Fromage Frais A Tartiner Afh Boite 1X80Gr 1P</c:v>
                </c:pt>
                <c:pt idx="41">
                  <c:v>Mini Babybel Rouge Filet St Paulin Ferme 1X396Gr 12+6P</c:v>
                </c:pt>
                <c:pt idx="42">
                  <c:v>Mini Babybel Aros St Paulin Ferme Assortis Filet 1X180Gr 9P</c:v>
                </c:pt>
              </c:strCache>
            </c:strRef>
          </c:cat>
          <c:val>
            <c:numRef>
              <c:f>Sheet1!$B$2:$B$44</c:f>
              <c:numCache>
                <c:formatCode>General</c:formatCode>
                <c:ptCount val="43"/>
                <c:pt idx="0">
                  <c:v>0.99</c:v>
                </c:pt>
                <c:pt idx="1">
                  <c:v>0.99</c:v>
                </c:pt>
                <c:pt idx="2">
                  <c:v>0.99</c:v>
                </c:pt>
                <c:pt idx="3">
                  <c:v>0.99</c:v>
                </c:pt>
                <c:pt idx="4">
                  <c:v>0.99</c:v>
                </c:pt>
                <c:pt idx="5">
                  <c:v>0.99</c:v>
                </c:pt>
                <c:pt idx="6">
                  <c:v>0.99</c:v>
                </c:pt>
                <c:pt idx="7">
                  <c:v>0.99</c:v>
                </c:pt>
                <c:pt idx="8">
                  <c:v>0.99</c:v>
                </c:pt>
                <c:pt idx="9">
                  <c:v>0.99</c:v>
                </c:pt>
                <c:pt idx="10">
                  <c:v>0.99</c:v>
                </c:pt>
                <c:pt idx="11">
                  <c:v>0.99</c:v>
                </c:pt>
                <c:pt idx="12">
                  <c:v>0.99</c:v>
                </c:pt>
                <c:pt idx="13">
                  <c:v>0.98</c:v>
                </c:pt>
                <c:pt idx="14">
                  <c:v>0.99</c:v>
                </c:pt>
                <c:pt idx="15">
                  <c:v>0.99</c:v>
                </c:pt>
                <c:pt idx="16">
                  <c:v>0.95</c:v>
                </c:pt>
                <c:pt idx="17">
                  <c:v>0.99</c:v>
                </c:pt>
                <c:pt idx="18">
                  <c:v>0.94</c:v>
                </c:pt>
                <c:pt idx="19">
                  <c:v>0.98</c:v>
                </c:pt>
                <c:pt idx="20">
                  <c:v>0.96</c:v>
                </c:pt>
                <c:pt idx="21">
                  <c:v>0.96</c:v>
                </c:pt>
                <c:pt idx="22">
                  <c:v>0.97</c:v>
                </c:pt>
                <c:pt idx="23">
                  <c:v>0.99</c:v>
                </c:pt>
                <c:pt idx="24">
                  <c:v>0.99</c:v>
                </c:pt>
                <c:pt idx="25">
                  <c:v>0.95</c:v>
                </c:pt>
                <c:pt idx="26">
                  <c:v>0.99</c:v>
                </c:pt>
                <c:pt idx="27">
                  <c:v>0.97</c:v>
                </c:pt>
                <c:pt idx="28">
                  <c:v>0.95</c:v>
                </c:pt>
                <c:pt idx="29">
                  <c:v>0.88</c:v>
                </c:pt>
                <c:pt idx="30">
                  <c:v>0.9</c:v>
                </c:pt>
                <c:pt idx="31">
                  <c:v>0.87</c:v>
                </c:pt>
                <c:pt idx="32">
                  <c:v>0.83</c:v>
                </c:pt>
                <c:pt idx="33">
                  <c:v>0.87</c:v>
                </c:pt>
                <c:pt idx="34">
                  <c:v>0.73</c:v>
                </c:pt>
                <c:pt idx="35">
                  <c:v>0.73</c:v>
                </c:pt>
                <c:pt idx="36">
                  <c:v>0.21</c:v>
                </c:pt>
                <c:pt idx="37">
                  <c:v>0.01</c:v>
                </c:pt>
                <c:pt idx="38">
                  <c:v>0.16</c:v>
                </c:pt>
                <c:pt idx="39">
                  <c:v>0.16</c:v>
                </c:pt>
                <c:pt idx="40">
                  <c:v>0.14000000000000001</c:v>
                </c:pt>
                <c:pt idx="41">
                  <c:v>0.01</c:v>
                </c:pt>
                <c:pt idx="42">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4</c:f>
              <c:strCache>
                <c:ptCount val="43"/>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Boursin Classique Fromage Frais A Tartiner Afh Boite 1X250Gr 1P</c:v>
                </c:pt>
                <c:pt idx="9">
                  <c:v>Boursin Classique Fromage Frais A Tartiner Afh 1X160Gr 10P</c:v>
                </c:pt>
                <c:pt idx="10">
                  <c:v>Kiri Gouter Fromage Blanc Dips Boite 1X175Gr 5P</c:v>
                </c:pt>
                <c:pt idx="11">
                  <c:v>Kiri Creme Fromage Blanc Frais Carre 1X144Gr 8P</c:v>
                </c:pt>
                <c:pt idx="12">
                  <c:v>Boursin Classique Fromage Frais A Tartiner Afh Boite 1X150Gr 1P</c:v>
                </c:pt>
                <c:pt idx="13">
                  <c:v>La Vache Qui Rit Pik Et Croq' Fromage Fondu Dips Boite 1X280Gr 8P</c:v>
                </c:pt>
                <c:pt idx="14">
                  <c:v>Boursin Salade &amp; Aperitif Fromage Frais Des Afh 1X120Gr 1P</c:v>
                </c:pt>
                <c:pt idx="15">
                  <c:v>La Vache Qui Rit Pik Et Croq' Fromage Fondu Dips Boite 1X175Gr 5P</c:v>
                </c:pt>
                <c:pt idx="16">
                  <c:v>Mini Babybel Aros Soft Cheese Enfant 180G</c:v>
                </c:pt>
                <c:pt idx="17">
                  <c:v>Boursin Onctueux Fromage Frais A Tartiner Afh 1X125Gr 1P</c:v>
                </c:pt>
                <c:pt idx="18">
                  <c:v>Kiri Creme Fromage Blanc Frais Carre 1X432Gr 18+6P</c:v>
                </c:pt>
                <c:pt idx="19">
                  <c:v>Boursin Classique Fromage Frais A Tartiner Afh Boite 1X96Gr 6P</c:v>
                </c:pt>
                <c:pt idx="20">
                  <c:v>Boursin Classique Fromage Frais A Tartiner Afh 1X256Gr 16P</c:v>
                </c:pt>
                <c:pt idx="21">
                  <c:v>La Vache Qui Rit Allegee Fromage Fondu Boite Ronde Allege 1X267Gr 16P</c:v>
                </c:pt>
                <c:pt idx="22">
                  <c:v>Babybel Mini Rolls St Paulin Ferme Sachet 1X85Gr 5P</c:v>
                </c:pt>
                <c:pt idx="23">
                  <c:v>Kiri Delicieusement Fouette Fromage Frais A Tartiner 1X125Gr 1P</c:v>
                </c:pt>
                <c:pt idx="24">
                  <c:v>Boursin Classique Fromage Frais A Tartiner Figue Et 3 Noix Boite 1X150Gr 1P</c:v>
                </c:pt>
                <c:pt idx="25">
                  <c:v>Boursin Salade &amp; Aperitif Fromage Frais Des Ciboulette Echalote 1X120Gr 1P</c:v>
                </c:pt>
                <c:pt idx="26">
                  <c:v>Boursin Classique Fromage Frais A Tartiner Ciboulette &amp; Echalote Boite 1X150Gr 1P</c:v>
                </c:pt>
                <c:pt idx="27">
                  <c:v>Boursin Classique Fromage Frais A Tartiner Poivre Boite 1X150Gr 1P</c:v>
                </c:pt>
                <c:pt idx="28">
                  <c:v>Boursin Classique Fromage Frais A Tartiner Ciboulette &amp; Echalote 1X160Gr 10P</c:v>
                </c:pt>
                <c:pt idx="29">
                  <c:v>La Vache Qui Rit Aro Fromage Fondu Boite Ronde Jambon 1X133Gr 8P</c:v>
                </c:pt>
                <c:pt idx="30">
                  <c:v>Mini Babybel Aros Soft Cheese Enfant 110G</c:v>
                </c:pt>
                <c:pt idx="31">
                  <c:v>Kiri Bio Fromage Blanc Frais Carre 1X144Gr 8P</c:v>
                </c:pt>
                <c:pt idx="32">
                  <c:v>Boursin Salade &amp; Aperitif Fromage Frais Des Figue Noix 1X120Gr 1P</c:v>
                </c:pt>
                <c:pt idx="33">
                  <c:v>Boursin Salade &amp; Aperitif Fromage Frais Des Citron Romarin 1X120Gr 1P</c:v>
                </c:pt>
                <c:pt idx="34">
                  <c:v>Kiri Chevre Fromage Blanc Frais Carre 1X144Gr 8P</c:v>
                </c:pt>
                <c:pt idx="35">
                  <c:v>Boursin Salade &amp; Aperitif Soft Cheese Salade 120G</c:v>
                </c:pt>
                <c:pt idx="36">
                  <c:v>Mini Babybel Rouge Filet St Paulin Ferme Sachet 1X40Gr 1P</c:v>
                </c:pt>
                <c:pt idx="37">
                  <c:v>La Vache Qui Rit Nature Fromage Fondu Boite Ronde 1X512Gr 24+8P</c:v>
                </c:pt>
                <c:pt idx="38">
                  <c:v>Kiri Delicieusement Fouette Fromage Frais A Tartiner 1X160Gr 10P</c:v>
                </c:pt>
                <c:pt idx="39">
                  <c:v>Mini Babybel Aros St Paulin Ferme Raclette Filet 1X132Gr 6P</c:v>
                </c:pt>
                <c:pt idx="40">
                  <c:v>Boursin Classique Fromage Frais A Tartiner Afh Boite 1X80Gr 1P</c:v>
                </c:pt>
                <c:pt idx="41">
                  <c:v>Mini Babybel Rouge Filet St Paulin Ferme 1X396Gr 12+6P</c:v>
                </c:pt>
                <c:pt idx="42">
                  <c:v>Mini Babybel Aros St Paulin Ferme Assortis Filet 1X180Gr 9P</c:v>
                </c:pt>
              </c:strCache>
            </c:strRef>
          </c:cat>
          <c:val>
            <c:numRef>
              <c:f>Sheet1!$C$2:$C$44</c:f>
              <c:numCache>
                <c:formatCode>General</c:formatCode>
                <c:ptCount val="43"/>
                <c:pt idx="0">
                  <c:v>0.15299298713218476</c:v>
                </c:pt>
                <c:pt idx="1">
                  <c:v>0.24581332052812521</c:v>
                </c:pt>
                <c:pt idx="2">
                  <c:v>0.32148291479296526</c:v>
                </c:pt>
                <c:pt idx="3">
                  <c:v>0.39029198936401011</c:v>
                </c:pt>
                <c:pt idx="4">
                  <c:v>0.45249072375439547</c:v>
                </c:pt>
                <c:pt idx="5">
                  <c:v>0.50831249437562853</c:v>
                </c:pt>
                <c:pt idx="6">
                  <c:v>0.56187294091992135</c:v>
                </c:pt>
                <c:pt idx="7">
                  <c:v>0.60466035890678282</c:v>
                </c:pt>
                <c:pt idx="8">
                  <c:v>0.64379515600186266</c:v>
                </c:pt>
                <c:pt idx="9">
                  <c:v>0.67706305681278034</c:v>
                </c:pt>
                <c:pt idx="10">
                  <c:v>0.70890866842140843</c:v>
                </c:pt>
                <c:pt idx="11">
                  <c:v>0.73901609251713085</c:v>
                </c:pt>
                <c:pt idx="12">
                  <c:v>0.76513595389527644</c:v>
                </c:pt>
                <c:pt idx="13">
                  <c:v>0.78781304645086769</c:v>
                </c:pt>
                <c:pt idx="14">
                  <c:v>0.80806115731549177</c:v>
                </c:pt>
                <c:pt idx="15">
                  <c:v>0.82810576394928159</c:v>
                </c:pt>
                <c:pt idx="16">
                  <c:v>0.84217108021912745</c:v>
                </c:pt>
                <c:pt idx="17">
                  <c:v>0.85599592543455627</c:v>
                </c:pt>
                <c:pt idx="18">
                  <c:v>0.86892721904560632</c:v>
                </c:pt>
                <c:pt idx="19">
                  <c:v>0.88069461781718761</c:v>
                </c:pt>
                <c:pt idx="20">
                  <c:v>0.89242841038551179</c:v>
                </c:pt>
                <c:pt idx="21">
                  <c:v>0.90302257926116403</c:v>
                </c:pt>
                <c:pt idx="22">
                  <c:v>0.91275680273569448</c:v>
                </c:pt>
                <c:pt idx="23">
                  <c:v>0.92235398758138787</c:v>
                </c:pt>
                <c:pt idx="24">
                  <c:v>0.93195005222030602</c:v>
                </c:pt>
                <c:pt idx="25">
                  <c:v>0.9409400849938222</c:v>
                </c:pt>
                <c:pt idx="26">
                  <c:v>0.94943647998171832</c:v>
                </c:pt>
                <c:pt idx="27">
                  <c:v>0.95701094479359639</c:v>
                </c:pt>
                <c:pt idx="28">
                  <c:v>0.96429378244165509</c:v>
                </c:pt>
                <c:pt idx="29">
                  <c:v>0.97128685993718644</c:v>
                </c:pt>
                <c:pt idx="30">
                  <c:v>0.97807120557026572</c:v>
                </c:pt>
                <c:pt idx="31">
                  <c:v>0.98469872225481214</c:v>
                </c:pt>
                <c:pt idx="32">
                  <c:v>0.9894879796211985</c:v>
                </c:pt>
                <c:pt idx="33">
                  <c:v>0.99307674872679186</c:v>
                </c:pt>
                <c:pt idx="34">
                  <c:v>0.99631713352528717</c:v>
                </c:pt>
                <c:pt idx="35">
                  <c:v>0.99921809567088637</c:v>
                </c:pt>
                <c:pt idx="36">
                  <c:v>0.9997408588326625</c:v>
                </c:pt>
                <c:pt idx="37">
                  <c:v>0.99982562114532192</c:v>
                </c:pt>
                <c:pt idx="38">
                  <c:v>0.99986930920955608</c:v>
                </c:pt>
                <c:pt idx="39">
                  <c:v>0.99990963665346455</c:v>
                </c:pt>
                <c:pt idx="40">
                  <c:v>0.99994847048833935</c:v>
                </c:pt>
                <c:pt idx="41">
                  <c:v>0.99999215855257351</c:v>
                </c:pt>
                <c:pt idx="42">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4</c:f>
              <c:strCache>
                <c:ptCount val="43"/>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Boursin Classique Fromage Frais A Tartiner Afh Boite 1X250Gr 1P</c:v>
                </c:pt>
                <c:pt idx="9">
                  <c:v>Boursin Classique Fromage Frais A Tartiner Afh 1X160Gr 10P</c:v>
                </c:pt>
                <c:pt idx="10">
                  <c:v>Kiri Gouter Fromage Blanc Dips Boite 1X175Gr 5P</c:v>
                </c:pt>
                <c:pt idx="11">
                  <c:v>Kiri Creme Fromage Blanc Frais Carre 1X144Gr 8P</c:v>
                </c:pt>
                <c:pt idx="12">
                  <c:v>Boursin Classique Fromage Frais A Tartiner Afh Boite 1X150Gr 1P</c:v>
                </c:pt>
                <c:pt idx="13">
                  <c:v>La Vache Qui Rit Pik Et Croq' Fromage Fondu Dips Boite 1X280Gr 8P</c:v>
                </c:pt>
                <c:pt idx="14">
                  <c:v>Boursin Salade &amp; Aperitif Fromage Frais Des Afh 1X120Gr 1P</c:v>
                </c:pt>
                <c:pt idx="15">
                  <c:v>La Vache Qui Rit Pik Et Croq' Fromage Fondu Dips Boite 1X175Gr 5P</c:v>
                </c:pt>
                <c:pt idx="16">
                  <c:v>Mini Babybel Aros Soft Cheese Enfant 180G</c:v>
                </c:pt>
                <c:pt idx="17">
                  <c:v>Boursin Onctueux Fromage Frais A Tartiner Afh 1X125Gr 1P</c:v>
                </c:pt>
                <c:pt idx="18">
                  <c:v>Kiri Creme Fromage Blanc Frais Carre 1X432Gr 18+6P</c:v>
                </c:pt>
                <c:pt idx="19">
                  <c:v>Boursin Classique Fromage Frais A Tartiner Afh Boite 1X96Gr 6P</c:v>
                </c:pt>
                <c:pt idx="20">
                  <c:v>Boursin Classique Fromage Frais A Tartiner Afh 1X256Gr 16P</c:v>
                </c:pt>
                <c:pt idx="21">
                  <c:v>La Vache Qui Rit Allegee Fromage Fondu Boite Ronde Allege 1X267Gr 16P</c:v>
                </c:pt>
                <c:pt idx="22">
                  <c:v>Babybel Mini Rolls St Paulin Ferme Sachet 1X85Gr 5P</c:v>
                </c:pt>
                <c:pt idx="23">
                  <c:v>Kiri Delicieusement Fouette Fromage Frais A Tartiner 1X125Gr 1P</c:v>
                </c:pt>
                <c:pt idx="24">
                  <c:v>Boursin Classique Fromage Frais A Tartiner Figue Et 3 Noix Boite 1X150Gr 1P</c:v>
                </c:pt>
                <c:pt idx="25">
                  <c:v>Boursin Salade &amp; Aperitif Fromage Frais Des Ciboulette Echalote 1X120Gr 1P</c:v>
                </c:pt>
                <c:pt idx="26">
                  <c:v>Boursin Classique Fromage Frais A Tartiner Ciboulette &amp; Echalote Boite 1X150Gr 1P</c:v>
                </c:pt>
                <c:pt idx="27">
                  <c:v>Boursin Classique Fromage Frais A Tartiner Poivre Boite 1X150Gr 1P</c:v>
                </c:pt>
                <c:pt idx="28">
                  <c:v>Boursin Classique Fromage Frais A Tartiner Ciboulette &amp; Echalote 1X160Gr 10P</c:v>
                </c:pt>
                <c:pt idx="29">
                  <c:v>La Vache Qui Rit Aro Fromage Fondu Boite Ronde Jambon 1X133Gr 8P</c:v>
                </c:pt>
                <c:pt idx="30">
                  <c:v>Mini Babybel Aros Soft Cheese Enfant 110G</c:v>
                </c:pt>
                <c:pt idx="31">
                  <c:v>Kiri Bio Fromage Blanc Frais Carre 1X144Gr 8P</c:v>
                </c:pt>
                <c:pt idx="32">
                  <c:v>Boursin Salade &amp; Aperitif Fromage Frais Des Figue Noix 1X120Gr 1P</c:v>
                </c:pt>
                <c:pt idx="33">
                  <c:v>Boursin Salade &amp; Aperitif Fromage Frais Des Citron Romarin 1X120Gr 1P</c:v>
                </c:pt>
                <c:pt idx="34">
                  <c:v>Kiri Chevre Fromage Blanc Frais Carre 1X144Gr 8P</c:v>
                </c:pt>
                <c:pt idx="35">
                  <c:v>Boursin Salade &amp; Aperitif Soft Cheese Salade 120G</c:v>
                </c:pt>
                <c:pt idx="36">
                  <c:v>Mini Babybel Rouge Filet St Paulin Ferme Sachet 1X40Gr 1P</c:v>
                </c:pt>
                <c:pt idx="37">
                  <c:v>La Vache Qui Rit Nature Fromage Fondu Boite Ronde 1X512Gr 24+8P</c:v>
                </c:pt>
                <c:pt idx="38">
                  <c:v>Kiri Delicieusement Fouette Fromage Frais A Tartiner 1X160Gr 10P</c:v>
                </c:pt>
                <c:pt idx="39">
                  <c:v>Mini Babybel Aros St Paulin Ferme Raclette Filet 1X132Gr 6P</c:v>
                </c:pt>
                <c:pt idx="40">
                  <c:v>Boursin Classique Fromage Frais A Tartiner Afh Boite 1X80Gr 1P</c:v>
                </c:pt>
                <c:pt idx="41">
                  <c:v>Mini Babybel Rouge Filet St Paulin Ferme 1X396Gr 12+6P</c:v>
                </c:pt>
                <c:pt idx="42">
                  <c:v>Mini Babybel Aros St Paulin Ferme Assortis Filet 1X180Gr 9P</c:v>
                </c:pt>
              </c:strCache>
            </c:strRef>
          </c:cat>
          <c:val>
            <c:numRef>
              <c:f>Sheet1!$D$2:$D$44</c:f>
              <c:numCache>
                <c:formatCode>General</c:formatCode>
                <c:ptCount val="43"/>
                <c:pt idx="0">
                  <c:v>4138.6565656565654</c:v>
                </c:pt>
                <c:pt idx="1">
                  <c:v>2510.909090909091</c:v>
                </c:pt>
                <c:pt idx="2">
                  <c:v>2046.9595959595961</c:v>
                </c:pt>
                <c:pt idx="3">
                  <c:v>1861.3737373737374</c:v>
                </c:pt>
                <c:pt idx="4">
                  <c:v>1682.5555555555557</c:v>
                </c:pt>
                <c:pt idx="5">
                  <c:v>1510.0505050505051</c:v>
                </c:pt>
                <c:pt idx="6">
                  <c:v>1448.878787878788</c:v>
                </c:pt>
                <c:pt idx="7">
                  <c:v>1157.4545454545455</c:v>
                </c:pt>
                <c:pt idx="8">
                  <c:v>1058.6464646464647</c:v>
                </c:pt>
                <c:pt idx="9">
                  <c:v>899.93939393939399</c:v>
                </c:pt>
                <c:pt idx="10">
                  <c:v>861.46464646464642</c:v>
                </c:pt>
                <c:pt idx="11">
                  <c:v>814.44444444444446</c:v>
                </c:pt>
                <c:pt idx="12">
                  <c:v>706.57575757575762</c:v>
                </c:pt>
                <c:pt idx="13">
                  <c:v>619.70408163265301</c:v>
                </c:pt>
                <c:pt idx="14">
                  <c:v>547.73737373737379</c:v>
                </c:pt>
                <c:pt idx="15">
                  <c:v>542.23232323232321</c:v>
                </c:pt>
                <c:pt idx="16">
                  <c:v>396.50526315789472</c:v>
                </c:pt>
                <c:pt idx="17">
                  <c:v>373.97979797979798</c:v>
                </c:pt>
                <c:pt idx="18">
                  <c:v>368.41489361702128</c:v>
                </c:pt>
                <c:pt idx="19">
                  <c:v>321.57142857142856</c:v>
                </c:pt>
                <c:pt idx="20">
                  <c:v>327.33333333333331</c:v>
                </c:pt>
                <c:pt idx="21">
                  <c:v>295.54166666666669</c:v>
                </c:pt>
                <c:pt idx="22">
                  <c:v>268.7525773195876</c:v>
                </c:pt>
                <c:pt idx="23">
                  <c:v>259.61616161616161</c:v>
                </c:pt>
                <c:pt idx="24">
                  <c:v>259.5858585858586</c:v>
                </c:pt>
                <c:pt idx="25">
                  <c:v>253.43157894736842</c:v>
                </c:pt>
                <c:pt idx="26">
                  <c:v>229.83838383838383</c:v>
                </c:pt>
                <c:pt idx="27">
                  <c:v>209.1237113402062</c:v>
                </c:pt>
                <c:pt idx="28">
                  <c:v>205.30526315789473</c:v>
                </c:pt>
                <c:pt idx="29">
                  <c:v>212.81818181818181</c:v>
                </c:pt>
                <c:pt idx="30">
                  <c:v>201.87777777777777</c:v>
                </c:pt>
                <c:pt idx="31">
                  <c:v>204.01149425287358</c:v>
                </c:pt>
                <c:pt idx="32">
                  <c:v>154.53012048192772</c:v>
                </c:pt>
                <c:pt idx="33">
                  <c:v>110.47126436781609</c:v>
                </c:pt>
                <c:pt idx="34">
                  <c:v>118.87671232876713</c:v>
                </c:pt>
                <c:pt idx="35">
                  <c:v>106.42465753424658</c:v>
                </c:pt>
                <c:pt idx="36">
                  <c:v>66.666666666666671</c:v>
                </c:pt>
                <c:pt idx="37">
                  <c:v>227</c:v>
                </c:pt>
                <c:pt idx="38">
                  <c:v>7.3125</c:v>
                </c:pt>
                <c:pt idx="39">
                  <c:v>6.75</c:v>
                </c:pt>
                <c:pt idx="40">
                  <c:v>7.4285714285714279</c:v>
                </c:pt>
                <c:pt idx="41">
                  <c:v>53</c:v>
                </c:pt>
                <c:pt idx="42">
                  <c:v>1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Casa Azzurra</c:v>
                </c:pt>
                <c:pt idx="3">
                  <c:v>President</c:v>
                </c:pt>
                <c:pt idx="4">
                  <c:v>St Moret</c:v>
                </c:pt>
                <c:pt idx="5">
                  <c:v>Soignon</c:v>
                </c:pt>
                <c:pt idx="6">
                  <c:v>La Vache Qui Rit</c:v>
                </c:pt>
                <c:pt idx="7">
                  <c:v>Kiri</c:v>
                </c:pt>
                <c:pt idx="8">
                  <c:v>Boursin</c:v>
                </c:pt>
                <c:pt idx="9">
                  <c:v>Others</c:v>
                </c:pt>
              </c:strCache>
            </c:strRef>
          </c:cat>
          <c:val>
            <c:numRef>
              <c:f>Sheet1!$B$2:$B$11</c:f>
              <c:numCache>
                <c:formatCode>General</c:formatCode>
                <c:ptCount val="10"/>
                <c:pt idx="0">
                  <c:v>0.32647605057592122</c:v>
                </c:pt>
                <c:pt idx="1">
                  <c:v>4.4695067811136656E-2</c:v>
                </c:pt>
                <c:pt idx="2">
                  <c:v>4.4668451252767222E-2</c:v>
                </c:pt>
                <c:pt idx="3">
                  <c:v>4.371724866429965E-2</c:v>
                </c:pt>
                <c:pt idx="4">
                  <c:v>3.9537600567199342E-2</c:v>
                </c:pt>
                <c:pt idx="5">
                  <c:v>3.9201596818967357E-2</c:v>
                </c:pt>
                <c:pt idx="6">
                  <c:v>2.5539824043701965E-2</c:v>
                </c:pt>
                <c:pt idx="7">
                  <c:v>2.3572489493731728E-2</c:v>
                </c:pt>
                <c:pt idx="8">
                  <c:v>2.1083707960988369E-2</c:v>
                </c:pt>
                <c:pt idx="9">
                  <c:v>0.3915079628112864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Casa Azzurra</c:v>
                </c:pt>
                <c:pt idx="3">
                  <c:v>President</c:v>
                </c:pt>
                <c:pt idx="4">
                  <c:v>St Moret</c:v>
                </c:pt>
                <c:pt idx="5">
                  <c:v>Soignon</c:v>
                </c:pt>
                <c:pt idx="6">
                  <c:v>La Vache Qui Rit</c:v>
                </c:pt>
                <c:pt idx="7">
                  <c:v>Kiri</c:v>
                </c:pt>
                <c:pt idx="8">
                  <c:v>Boursin</c:v>
                </c:pt>
                <c:pt idx="9">
                  <c:v>Others</c:v>
                </c:pt>
              </c:strCache>
            </c:strRef>
          </c:cat>
          <c:val>
            <c:numRef>
              <c:f>Sheet1!$C$2:$C$11</c:f>
              <c:numCache>
                <c:formatCode>General</c:formatCode>
                <c:ptCount val="10"/>
                <c:pt idx="0">
                  <c:v>0</c:v>
                </c:pt>
                <c:pt idx="1">
                  <c:v>4.3690015757054862E-2</c:v>
                </c:pt>
                <c:pt idx="2">
                  <c:v>4.9467602540228223E-2</c:v>
                </c:pt>
                <c:pt idx="3">
                  <c:v>5.8014611087236795E-2</c:v>
                </c:pt>
                <c:pt idx="4">
                  <c:v>3.8819653344793009E-2</c:v>
                </c:pt>
                <c:pt idx="5">
                  <c:v>4.8942367378121576E-2</c:v>
                </c:pt>
                <c:pt idx="6">
                  <c:v>3.0988874564293559E-2</c:v>
                </c:pt>
                <c:pt idx="7">
                  <c:v>3.442677744353722E-2</c:v>
                </c:pt>
                <c:pt idx="8">
                  <c:v>5.0136083655636723E-2</c:v>
                </c:pt>
                <c:pt idx="9">
                  <c:v>0.6455140142290979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Casa Azzurra</c:v>
                </c:pt>
                <c:pt idx="3">
                  <c:v>President</c:v>
                </c:pt>
                <c:pt idx="4">
                  <c:v>St Moret</c:v>
                </c:pt>
                <c:pt idx="5">
                  <c:v>Soignon</c:v>
                </c:pt>
                <c:pt idx="6">
                  <c:v>La Vache Qui Rit</c:v>
                </c:pt>
                <c:pt idx="7">
                  <c:v>Kiri</c:v>
                </c:pt>
                <c:pt idx="8">
                  <c:v>Boursin</c:v>
                </c:pt>
                <c:pt idx="9">
                  <c:v>Others</c:v>
                </c:pt>
              </c:strCache>
            </c:strRef>
          </c:cat>
          <c:val>
            <c:numRef>
              <c:f>Sheet1!$D$2:$D$11</c:f>
              <c:numCache>
                <c:formatCode>General</c:formatCode>
                <c:ptCount val="10"/>
                <c:pt idx="0">
                  <c:v>1</c:v>
                </c:pt>
                <c:pt idx="1">
                  <c:v>97.751313280631464</c:v>
                </c:pt>
                <c:pt idx="2">
                  <c:v>110.74393929689626</c:v>
                </c:pt>
                <c:pt idx="3">
                  <c:v>132.70416794232673</c:v>
                </c:pt>
                <c:pt idx="4">
                  <c:v>98.184140635479167</c:v>
                </c:pt>
                <c:pt idx="5">
                  <c:v>124.84789230432887</c:v>
                </c:pt>
                <c:pt idx="6">
                  <c:v>121.33550533185962</c:v>
                </c:pt>
                <c:pt idx="7">
                  <c:v>146.0464218371666</c:v>
                </c:pt>
                <c:pt idx="8">
                  <c:v>237.79538090930012</c:v>
                </c:pt>
                <c:pt idx="9">
                  <c:v>164.8788978885333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2</c:f>
              <c:strCache>
                <c:ptCount val="41"/>
                <c:pt idx="0">
                  <c:v>Mini Babybel Rouge Filet St Paulin Ferme 1X264Gr 12P</c:v>
                </c:pt>
                <c:pt idx="1">
                  <c:v>Mini Babybel Rouge Filet St Paulin Ferme 1X132Gr 6P</c:v>
                </c:pt>
                <c:pt idx="2">
                  <c:v>La Vache Qui Rit Nature Fromage Fondu Boite Ronde 1X192Gr 12P</c:v>
                </c:pt>
                <c:pt idx="3">
                  <c:v>Kiri Creme Fromage Blanc Frais Carre 1X216Gr 12P</c:v>
                </c:pt>
                <c:pt idx="4">
                  <c:v>La Vache Qui Rit Nature Fromage Fondu Boite Ronde 1X512Gr 32P</c:v>
                </c:pt>
                <c:pt idx="5">
                  <c:v>La Vache Qui Rit Nature Fromage Fondu Boite Ronde 1X384Gr 24P</c:v>
                </c:pt>
                <c:pt idx="6">
                  <c:v>Kiri Creme Fromage Blanc Frais Carre 1X144Gr 8P</c:v>
                </c:pt>
                <c:pt idx="7">
                  <c:v>Kiri Gouter Fromage Blanc Dips Boite 1X175Gr 5P</c:v>
                </c:pt>
                <c:pt idx="8">
                  <c:v>Boursin Classique Fromage Frais A Tartiner Afh 1X160Gr 10P</c:v>
                </c:pt>
                <c:pt idx="9">
                  <c:v>Boursin Classique Fromage Frais A Tartiner Afh Boite 1X150Gr 1P</c:v>
                </c:pt>
                <c:pt idx="10">
                  <c:v>Kiri Gouter Fromage Blanc Dips Boite 1X280Gr 8P</c:v>
                </c:pt>
                <c:pt idx="11">
                  <c:v>Boursin Classique Fromage Frais A Tartiner Afh Boite 1X250Gr 1P</c:v>
                </c:pt>
                <c:pt idx="12">
                  <c:v>Kiri Creme Fromage Blanc Frais Carre 1X432Gr 24P</c:v>
                </c:pt>
                <c:pt idx="13">
                  <c:v>Boursin Onctueux Fromage Frais A Tartiner Afh 1X125Gr 1P</c:v>
                </c:pt>
                <c:pt idx="14">
                  <c:v>Boursin Salade &amp; Aperitif Fromage Frais Des Afh 1X120Gr 1P</c:v>
                </c:pt>
                <c:pt idx="15">
                  <c:v>La Vache Qui Rit Pik Et Croq' Fromage Fondu Dips Boite 1X175Gr 5P</c:v>
                </c:pt>
                <c:pt idx="16">
                  <c:v>Boursin Classique Fromage Frais A Tartiner Figue Et 3 Noix Boite 1X150Gr 1P</c:v>
                </c:pt>
                <c:pt idx="17">
                  <c:v>Boursin Classique Fromage Frais A Tartiner Ciboulette &amp; Echalote Boite 1X150Gr 1P</c:v>
                </c:pt>
                <c:pt idx="18">
                  <c:v>Boursin Classique Fromage Frais A Tartiner Afh Boite 1X96Gr 6P</c:v>
                </c:pt>
                <c:pt idx="19">
                  <c:v>Kiri Creme Fromage Blanc Frais Carre 1X432Gr 18+6P</c:v>
                </c:pt>
                <c:pt idx="20">
                  <c:v>La Vache Qui Rit Allegee Fromage Fondu Boite Ronde Allege 1X267Gr 16P</c:v>
                </c:pt>
                <c:pt idx="21">
                  <c:v>Boursin Classique Fromage Frais A Tartiner Poivre Boite 1X150Gr 1P</c:v>
                </c:pt>
                <c:pt idx="22">
                  <c:v>Mini Babybel Aros Soft Cheese Enfant 180G</c:v>
                </c:pt>
                <c:pt idx="23">
                  <c:v>La Vache Qui Rit Pik Et Croq' Fromage Fondu Dips Boite 1X280Gr 8P</c:v>
                </c:pt>
                <c:pt idx="24">
                  <c:v>Kiri Delicieusement Fouette Fromage Frais A Tartiner 1X125Gr 1P</c:v>
                </c:pt>
                <c:pt idx="25">
                  <c:v>Babybel Mini Rolls St Paulin Ferme Sachet 1X85Gr 5P</c:v>
                </c:pt>
                <c:pt idx="26">
                  <c:v>Kiri Bio Fromage Blanc Frais Carre 1X144Gr 8P</c:v>
                </c:pt>
                <c:pt idx="27">
                  <c:v>Boursin Classique Fromage Frais A Tartiner Ciboulette &amp; Echalote 1X160Gr 10P</c:v>
                </c:pt>
                <c:pt idx="28">
                  <c:v>Boursin Salade &amp; Aperitif Fromage Frais Des Ciboulette Echalote 1X120Gr 1P</c:v>
                </c:pt>
                <c:pt idx="29">
                  <c:v>Boursin Classique Fromage Frais A Tartiner Afh 1X256Gr 16P</c:v>
                </c:pt>
                <c:pt idx="30">
                  <c:v>La Vache Qui Rit Aro Fromage Fondu Boite Ronde Jambon 1X133Gr 8P</c:v>
                </c:pt>
                <c:pt idx="31">
                  <c:v>Mini Babybel Aros Soft Cheese Enfant 110G</c:v>
                </c:pt>
                <c:pt idx="32">
                  <c:v>Boursin Salade &amp; Aperitif Fromage Frais Des Figue Noix 1X120Gr 1P</c:v>
                </c:pt>
                <c:pt idx="33">
                  <c:v>Boursin Salade &amp; Aperitif Fromage Frais Des Citron Romarin 1X120Gr 1P</c:v>
                </c:pt>
                <c:pt idx="34">
                  <c:v>Kiri Chevre Fromage Blanc Frais Carre 1X144Gr 8P</c:v>
                </c:pt>
                <c:pt idx="35">
                  <c:v>Boursin Salade &amp; Aperitif Soft Cheese Salade 120G</c:v>
                </c:pt>
                <c:pt idx="36">
                  <c:v>Mini Babybel Rouge Filet St Paulin Ferme Sachet 1X40Gr 1P</c:v>
                </c:pt>
                <c:pt idx="37">
                  <c:v>Mini Babybel Aros St Paulin Ferme Raclette Filet 1X132Gr 6P</c:v>
                </c:pt>
                <c:pt idx="38">
                  <c:v>Kiri Delicieusement Fouette Fromage Frais A Tartiner 1X160Gr 10P</c:v>
                </c:pt>
                <c:pt idx="39">
                  <c:v>Mini Babybel Aros St Paulin Ferme Assortis Filet 1X180Gr 9P</c:v>
                </c:pt>
                <c:pt idx="40">
                  <c:v>Boursin Classique Fromage Frais A Tartiner Afh Boite 1X80Gr 1P</c:v>
                </c:pt>
              </c:strCache>
            </c:strRef>
          </c:cat>
          <c:val>
            <c:numRef>
              <c:f>Sheet1!$B$2:$B$42</c:f>
              <c:numCache>
                <c:formatCode>General</c:formatCode>
                <c:ptCount val="41"/>
                <c:pt idx="0">
                  <c:v>0.88</c:v>
                </c:pt>
                <c:pt idx="1">
                  <c:v>0.98</c:v>
                </c:pt>
                <c:pt idx="2">
                  <c:v>0.98</c:v>
                </c:pt>
                <c:pt idx="3">
                  <c:v>0.85</c:v>
                </c:pt>
                <c:pt idx="4">
                  <c:v>0.65</c:v>
                </c:pt>
                <c:pt idx="5">
                  <c:v>0.68</c:v>
                </c:pt>
                <c:pt idx="6">
                  <c:v>0.92</c:v>
                </c:pt>
                <c:pt idx="7">
                  <c:v>0.89</c:v>
                </c:pt>
                <c:pt idx="8">
                  <c:v>0.9</c:v>
                </c:pt>
                <c:pt idx="9">
                  <c:v>0.96</c:v>
                </c:pt>
                <c:pt idx="10">
                  <c:v>0.67</c:v>
                </c:pt>
                <c:pt idx="11">
                  <c:v>0.75</c:v>
                </c:pt>
                <c:pt idx="12">
                  <c:v>0.47</c:v>
                </c:pt>
                <c:pt idx="13">
                  <c:v>0.81</c:v>
                </c:pt>
                <c:pt idx="14">
                  <c:v>0.84</c:v>
                </c:pt>
                <c:pt idx="15">
                  <c:v>0.77</c:v>
                </c:pt>
                <c:pt idx="16">
                  <c:v>0.81</c:v>
                </c:pt>
                <c:pt idx="17">
                  <c:v>0.8</c:v>
                </c:pt>
                <c:pt idx="18">
                  <c:v>0.66</c:v>
                </c:pt>
                <c:pt idx="19">
                  <c:v>0.59</c:v>
                </c:pt>
                <c:pt idx="20">
                  <c:v>0.42</c:v>
                </c:pt>
                <c:pt idx="21">
                  <c:v>0.59</c:v>
                </c:pt>
                <c:pt idx="22">
                  <c:v>0.3</c:v>
                </c:pt>
                <c:pt idx="23">
                  <c:v>0.32</c:v>
                </c:pt>
                <c:pt idx="24">
                  <c:v>0.44</c:v>
                </c:pt>
                <c:pt idx="25">
                  <c:v>0.37</c:v>
                </c:pt>
                <c:pt idx="26">
                  <c:v>0.3</c:v>
                </c:pt>
                <c:pt idx="27">
                  <c:v>0.46</c:v>
                </c:pt>
                <c:pt idx="28">
                  <c:v>0.43</c:v>
                </c:pt>
                <c:pt idx="29">
                  <c:v>0.33</c:v>
                </c:pt>
                <c:pt idx="30">
                  <c:v>0.25</c:v>
                </c:pt>
                <c:pt idx="31">
                  <c:v>0.19</c:v>
                </c:pt>
                <c:pt idx="32">
                  <c:v>0.18</c:v>
                </c:pt>
                <c:pt idx="33">
                  <c:v>0.28000000000000003</c:v>
                </c:pt>
                <c:pt idx="34">
                  <c:v>0.1</c:v>
                </c:pt>
                <c:pt idx="35">
                  <c:v>0.14000000000000001</c:v>
                </c:pt>
                <c:pt idx="36">
                  <c:v>0.13</c:v>
                </c:pt>
                <c:pt idx="37">
                  <c:v>0.08</c:v>
                </c:pt>
                <c:pt idx="38">
                  <c:v>0.05</c:v>
                </c:pt>
                <c:pt idx="39">
                  <c:v>0.01</c:v>
                </c:pt>
                <c:pt idx="4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2</c:f>
              <c:strCache>
                <c:ptCount val="41"/>
                <c:pt idx="0">
                  <c:v>Mini Babybel Rouge Filet St Paulin Ferme 1X264Gr 12P</c:v>
                </c:pt>
                <c:pt idx="1">
                  <c:v>Mini Babybel Rouge Filet St Paulin Ferme 1X132Gr 6P</c:v>
                </c:pt>
                <c:pt idx="2">
                  <c:v>La Vache Qui Rit Nature Fromage Fondu Boite Ronde 1X192Gr 12P</c:v>
                </c:pt>
                <c:pt idx="3">
                  <c:v>Kiri Creme Fromage Blanc Frais Carre 1X216Gr 12P</c:v>
                </c:pt>
                <c:pt idx="4">
                  <c:v>La Vache Qui Rit Nature Fromage Fondu Boite Ronde 1X512Gr 32P</c:v>
                </c:pt>
                <c:pt idx="5">
                  <c:v>La Vache Qui Rit Nature Fromage Fondu Boite Ronde 1X384Gr 24P</c:v>
                </c:pt>
                <c:pt idx="6">
                  <c:v>Kiri Creme Fromage Blanc Frais Carre 1X144Gr 8P</c:v>
                </c:pt>
                <c:pt idx="7">
                  <c:v>Kiri Gouter Fromage Blanc Dips Boite 1X175Gr 5P</c:v>
                </c:pt>
                <c:pt idx="8">
                  <c:v>Boursin Classique Fromage Frais A Tartiner Afh 1X160Gr 10P</c:v>
                </c:pt>
                <c:pt idx="9">
                  <c:v>Boursin Classique Fromage Frais A Tartiner Afh Boite 1X150Gr 1P</c:v>
                </c:pt>
                <c:pt idx="10">
                  <c:v>Kiri Gouter Fromage Blanc Dips Boite 1X280Gr 8P</c:v>
                </c:pt>
                <c:pt idx="11">
                  <c:v>Boursin Classique Fromage Frais A Tartiner Afh Boite 1X250Gr 1P</c:v>
                </c:pt>
                <c:pt idx="12">
                  <c:v>Kiri Creme Fromage Blanc Frais Carre 1X432Gr 24P</c:v>
                </c:pt>
                <c:pt idx="13">
                  <c:v>Boursin Onctueux Fromage Frais A Tartiner Afh 1X125Gr 1P</c:v>
                </c:pt>
                <c:pt idx="14">
                  <c:v>Boursin Salade &amp; Aperitif Fromage Frais Des Afh 1X120Gr 1P</c:v>
                </c:pt>
                <c:pt idx="15">
                  <c:v>La Vache Qui Rit Pik Et Croq' Fromage Fondu Dips Boite 1X175Gr 5P</c:v>
                </c:pt>
                <c:pt idx="16">
                  <c:v>Boursin Classique Fromage Frais A Tartiner Figue Et 3 Noix Boite 1X150Gr 1P</c:v>
                </c:pt>
                <c:pt idx="17">
                  <c:v>Boursin Classique Fromage Frais A Tartiner Ciboulette &amp; Echalote Boite 1X150Gr 1P</c:v>
                </c:pt>
                <c:pt idx="18">
                  <c:v>Boursin Classique Fromage Frais A Tartiner Afh Boite 1X96Gr 6P</c:v>
                </c:pt>
                <c:pt idx="19">
                  <c:v>Kiri Creme Fromage Blanc Frais Carre 1X432Gr 18+6P</c:v>
                </c:pt>
                <c:pt idx="20">
                  <c:v>La Vache Qui Rit Allegee Fromage Fondu Boite Ronde Allege 1X267Gr 16P</c:v>
                </c:pt>
                <c:pt idx="21">
                  <c:v>Boursin Classique Fromage Frais A Tartiner Poivre Boite 1X150Gr 1P</c:v>
                </c:pt>
                <c:pt idx="22">
                  <c:v>Mini Babybel Aros Soft Cheese Enfant 180G</c:v>
                </c:pt>
                <c:pt idx="23">
                  <c:v>La Vache Qui Rit Pik Et Croq' Fromage Fondu Dips Boite 1X280Gr 8P</c:v>
                </c:pt>
                <c:pt idx="24">
                  <c:v>Kiri Delicieusement Fouette Fromage Frais A Tartiner 1X125Gr 1P</c:v>
                </c:pt>
                <c:pt idx="25">
                  <c:v>Babybel Mini Rolls St Paulin Ferme Sachet 1X85Gr 5P</c:v>
                </c:pt>
                <c:pt idx="26">
                  <c:v>Kiri Bio Fromage Blanc Frais Carre 1X144Gr 8P</c:v>
                </c:pt>
                <c:pt idx="27">
                  <c:v>Boursin Classique Fromage Frais A Tartiner Ciboulette &amp; Echalote 1X160Gr 10P</c:v>
                </c:pt>
                <c:pt idx="28">
                  <c:v>Boursin Salade &amp; Aperitif Fromage Frais Des Ciboulette Echalote 1X120Gr 1P</c:v>
                </c:pt>
                <c:pt idx="29">
                  <c:v>Boursin Classique Fromage Frais A Tartiner Afh 1X256Gr 16P</c:v>
                </c:pt>
                <c:pt idx="30">
                  <c:v>La Vache Qui Rit Aro Fromage Fondu Boite Ronde Jambon 1X133Gr 8P</c:v>
                </c:pt>
                <c:pt idx="31">
                  <c:v>Mini Babybel Aros Soft Cheese Enfant 110G</c:v>
                </c:pt>
                <c:pt idx="32">
                  <c:v>Boursin Salade &amp; Aperitif Fromage Frais Des Figue Noix 1X120Gr 1P</c:v>
                </c:pt>
                <c:pt idx="33">
                  <c:v>Boursin Salade &amp; Aperitif Fromage Frais Des Citron Romarin 1X120Gr 1P</c:v>
                </c:pt>
                <c:pt idx="34">
                  <c:v>Kiri Chevre Fromage Blanc Frais Carre 1X144Gr 8P</c:v>
                </c:pt>
                <c:pt idx="35">
                  <c:v>Boursin Salade &amp; Aperitif Soft Cheese Salade 120G</c:v>
                </c:pt>
                <c:pt idx="36">
                  <c:v>Mini Babybel Rouge Filet St Paulin Ferme Sachet 1X40Gr 1P</c:v>
                </c:pt>
                <c:pt idx="37">
                  <c:v>Mini Babybel Aros St Paulin Ferme Raclette Filet 1X132Gr 6P</c:v>
                </c:pt>
                <c:pt idx="38">
                  <c:v>Kiri Delicieusement Fouette Fromage Frais A Tartiner 1X160Gr 10P</c:v>
                </c:pt>
                <c:pt idx="39">
                  <c:v>Mini Babybel Aros St Paulin Ferme Assortis Filet 1X180Gr 9P</c:v>
                </c:pt>
                <c:pt idx="40">
                  <c:v>Boursin Classique Fromage Frais A Tartiner Afh Boite 1X80Gr 1P</c:v>
                </c:pt>
              </c:strCache>
            </c:strRef>
          </c:cat>
          <c:val>
            <c:numRef>
              <c:f>Sheet1!$C$2:$C$42</c:f>
              <c:numCache>
                <c:formatCode>General</c:formatCode>
                <c:ptCount val="41"/>
                <c:pt idx="0">
                  <c:v>0.13410383549990429</c:v>
                </c:pt>
                <c:pt idx="1">
                  <c:v>0.24077880508354166</c:v>
                </c:pt>
                <c:pt idx="2">
                  <c:v>0.33677663767498833</c:v>
                </c:pt>
                <c:pt idx="3">
                  <c:v>0.39963468383658729</c:v>
                </c:pt>
                <c:pt idx="4">
                  <c:v>0.46230952366811057</c:v>
                </c:pt>
                <c:pt idx="5">
                  <c:v>0.51817192063739359</c:v>
                </c:pt>
                <c:pt idx="6">
                  <c:v>0.56376791001782267</c:v>
                </c:pt>
                <c:pt idx="7">
                  <c:v>0.60747975250241115</c:v>
                </c:pt>
                <c:pt idx="8">
                  <c:v>0.65018373173476296</c:v>
                </c:pt>
                <c:pt idx="9">
                  <c:v>0.69176791367281176</c:v>
                </c:pt>
                <c:pt idx="10">
                  <c:v>0.72357271532340484</c:v>
                </c:pt>
                <c:pt idx="11">
                  <c:v>0.75286197070617589</c:v>
                </c:pt>
                <c:pt idx="12">
                  <c:v>0.78053252277857754</c:v>
                </c:pt>
                <c:pt idx="13">
                  <c:v>0.80522654307930086</c:v>
                </c:pt>
                <c:pt idx="14">
                  <c:v>0.82874776874335532</c:v>
                </c:pt>
                <c:pt idx="15">
                  <c:v>0.84936921740743399</c:v>
                </c:pt>
                <c:pt idx="16">
                  <c:v>0.86902620581517909</c:v>
                </c:pt>
                <c:pt idx="17">
                  <c:v>0.8842254781068436</c:v>
                </c:pt>
                <c:pt idx="18">
                  <c:v>0.89904554527640634</c:v>
                </c:pt>
                <c:pt idx="19">
                  <c:v>0.91308709976155777</c:v>
                </c:pt>
                <c:pt idx="20">
                  <c:v>0.92353991179597494</c:v>
                </c:pt>
                <c:pt idx="21">
                  <c:v>0.93350204153986527</c:v>
                </c:pt>
                <c:pt idx="22">
                  <c:v>0.94156631817868242</c:v>
                </c:pt>
                <c:pt idx="23">
                  <c:v>0.94908143270091361</c:v>
                </c:pt>
                <c:pt idx="24">
                  <c:v>0.95655451484816489</c:v>
                </c:pt>
                <c:pt idx="25">
                  <c:v>0.96356980960704752</c:v>
                </c:pt>
                <c:pt idx="26">
                  <c:v>0.96996786807682234</c:v>
                </c:pt>
                <c:pt idx="27">
                  <c:v>0.97534709832697442</c:v>
                </c:pt>
                <c:pt idx="28">
                  <c:v>0.98042524884765048</c:v>
                </c:pt>
                <c:pt idx="29">
                  <c:v>0.98489027494198844</c:v>
                </c:pt>
                <c:pt idx="30">
                  <c:v>0.98834789465773076</c:v>
                </c:pt>
                <c:pt idx="31">
                  <c:v>0.9914628591426583</c:v>
                </c:pt>
                <c:pt idx="32">
                  <c:v>0.99380250905866208</c:v>
                </c:pt>
                <c:pt idx="33">
                  <c:v>0.99590367093401877</c:v>
                </c:pt>
                <c:pt idx="34">
                  <c:v>0.99736109784908455</c:v>
                </c:pt>
                <c:pt idx="35">
                  <c:v>0.99874131311880676</c:v>
                </c:pt>
                <c:pt idx="36">
                  <c:v>0.99978709688325362</c:v>
                </c:pt>
                <c:pt idx="37">
                  <c:v>0.99992050398645094</c:v>
                </c:pt>
                <c:pt idx="38">
                  <c:v>0.99996801884512387</c:v>
                </c:pt>
                <c:pt idx="39">
                  <c:v>0.99999223314810148</c:v>
                </c:pt>
                <c:pt idx="4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2</c:f>
              <c:strCache>
                <c:ptCount val="41"/>
                <c:pt idx="0">
                  <c:v>Mini Babybel Rouge Filet St Paulin Ferme 1X264Gr 12P</c:v>
                </c:pt>
                <c:pt idx="1">
                  <c:v>Mini Babybel Rouge Filet St Paulin Ferme 1X132Gr 6P</c:v>
                </c:pt>
                <c:pt idx="2">
                  <c:v>La Vache Qui Rit Nature Fromage Fondu Boite Ronde 1X192Gr 12P</c:v>
                </c:pt>
                <c:pt idx="3">
                  <c:v>Kiri Creme Fromage Blanc Frais Carre 1X216Gr 12P</c:v>
                </c:pt>
                <c:pt idx="4">
                  <c:v>La Vache Qui Rit Nature Fromage Fondu Boite Ronde 1X512Gr 32P</c:v>
                </c:pt>
                <c:pt idx="5">
                  <c:v>La Vache Qui Rit Nature Fromage Fondu Boite Ronde 1X384Gr 24P</c:v>
                </c:pt>
                <c:pt idx="6">
                  <c:v>Kiri Creme Fromage Blanc Frais Carre 1X144Gr 8P</c:v>
                </c:pt>
                <c:pt idx="7">
                  <c:v>Kiri Gouter Fromage Blanc Dips Boite 1X175Gr 5P</c:v>
                </c:pt>
                <c:pt idx="8">
                  <c:v>Boursin Classique Fromage Frais A Tartiner Afh 1X160Gr 10P</c:v>
                </c:pt>
                <c:pt idx="9">
                  <c:v>Boursin Classique Fromage Frais A Tartiner Afh Boite 1X150Gr 1P</c:v>
                </c:pt>
                <c:pt idx="10">
                  <c:v>Kiri Gouter Fromage Blanc Dips Boite 1X280Gr 8P</c:v>
                </c:pt>
                <c:pt idx="11">
                  <c:v>Boursin Classique Fromage Frais A Tartiner Afh Boite 1X250Gr 1P</c:v>
                </c:pt>
                <c:pt idx="12">
                  <c:v>Kiri Creme Fromage Blanc Frais Carre 1X432Gr 24P</c:v>
                </c:pt>
                <c:pt idx="13">
                  <c:v>Boursin Onctueux Fromage Frais A Tartiner Afh 1X125Gr 1P</c:v>
                </c:pt>
                <c:pt idx="14">
                  <c:v>Boursin Salade &amp; Aperitif Fromage Frais Des Afh 1X120Gr 1P</c:v>
                </c:pt>
                <c:pt idx="15">
                  <c:v>La Vache Qui Rit Pik Et Croq' Fromage Fondu Dips Boite 1X175Gr 5P</c:v>
                </c:pt>
                <c:pt idx="16">
                  <c:v>Boursin Classique Fromage Frais A Tartiner Figue Et 3 Noix Boite 1X150Gr 1P</c:v>
                </c:pt>
                <c:pt idx="17">
                  <c:v>Boursin Classique Fromage Frais A Tartiner Ciboulette &amp; Echalote Boite 1X150Gr 1P</c:v>
                </c:pt>
                <c:pt idx="18">
                  <c:v>Boursin Classique Fromage Frais A Tartiner Afh Boite 1X96Gr 6P</c:v>
                </c:pt>
                <c:pt idx="19">
                  <c:v>Kiri Creme Fromage Blanc Frais Carre 1X432Gr 18+6P</c:v>
                </c:pt>
                <c:pt idx="20">
                  <c:v>La Vache Qui Rit Allegee Fromage Fondu Boite Ronde Allege 1X267Gr 16P</c:v>
                </c:pt>
                <c:pt idx="21">
                  <c:v>Boursin Classique Fromage Frais A Tartiner Poivre Boite 1X150Gr 1P</c:v>
                </c:pt>
                <c:pt idx="22">
                  <c:v>Mini Babybel Aros Soft Cheese Enfant 180G</c:v>
                </c:pt>
                <c:pt idx="23">
                  <c:v>La Vache Qui Rit Pik Et Croq' Fromage Fondu Dips Boite 1X280Gr 8P</c:v>
                </c:pt>
                <c:pt idx="24">
                  <c:v>Kiri Delicieusement Fouette Fromage Frais A Tartiner 1X125Gr 1P</c:v>
                </c:pt>
                <c:pt idx="25">
                  <c:v>Babybel Mini Rolls St Paulin Ferme Sachet 1X85Gr 5P</c:v>
                </c:pt>
                <c:pt idx="26">
                  <c:v>Kiri Bio Fromage Blanc Frais Carre 1X144Gr 8P</c:v>
                </c:pt>
                <c:pt idx="27">
                  <c:v>Boursin Classique Fromage Frais A Tartiner Ciboulette &amp; Echalote 1X160Gr 10P</c:v>
                </c:pt>
                <c:pt idx="28">
                  <c:v>Boursin Salade &amp; Aperitif Fromage Frais Des Ciboulette Echalote 1X120Gr 1P</c:v>
                </c:pt>
                <c:pt idx="29">
                  <c:v>Boursin Classique Fromage Frais A Tartiner Afh 1X256Gr 16P</c:v>
                </c:pt>
                <c:pt idx="30">
                  <c:v>La Vache Qui Rit Aro Fromage Fondu Boite Ronde Jambon 1X133Gr 8P</c:v>
                </c:pt>
                <c:pt idx="31">
                  <c:v>Mini Babybel Aros Soft Cheese Enfant 110G</c:v>
                </c:pt>
                <c:pt idx="32">
                  <c:v>Boursin Salade &amp; Aperitif Fromage Frais Des Figue Noix 1X120Gr 1P</c:v>
                </c:pt>
                <c:pt idx="33">
                  <c:v>Boursin Salade &amp; Aperitif Fromage Frais Des Citron Romarin 1X120Gr 1P</c:v>
                </c:pt>
                <c:pt idx="34">
                  <c:v>Kiri Chevre Fromage Blanc Frais Carre 1X144Gr 8P</c:v>
                </c:pt>
                <c:pt idx="35">
                  <c:v>Boursin Salade &amp; Aperitif Soft Cheese Salade 120G</c:v>
                </c:pt>
                <c:pt idx="36">
                  <c:v>Mini Babybel Rouge Filet St Paulin Ferme Sachet 1X40Gr 1P</c:v>
                </c:pt>
                <c:pt idx="37">
                  <c:v>Mini Babybel Aros St Paulin Ferme Raclette Filet 1X132Gr 6P</c:v>
                </c:pt>
                <c:pt idx="38">
                  <c:v>Kiri Delicieusement Fouette Fromage Frais A Tartiner 1X160Gr 10P</c:v>
                </c:pt>
                <c:pt idx="39">
                  <c:v>Mini Babybel Aros St Paulin Ferme Assortis Filet 1X180Gr 9P</c:v>
                </c:pt>
                <c:pt idx="40">
                  <c:v>Boursin Classique Fromage Frais A Tartiner Afh Boite 1X80Gr 1P</c:v>
                </c:pt>
              </c:strCache>
            </c:strRef>
          </c:cat>
          <c:val>
            <c:numRef>
              <c:f>Sheet1!$D$2:$D$42</c:f>
              <c:numCache>
                <c:formatCode>General</c:formatCode>
                <c:ptCount val="41"/>
                <c:pt idx="0">
                  <c:v>3335.5113636363635</c:v>
                </c:pt>
                <c:pt idx="1">
                  <c:v>2382.5408163265306</c:v>
                </c:pt>
                <c:pt idx="2">
                  <c:v>2144.0714285714284</c:v>
                </c:pt>
                <c:pt idx="3">
                  <c:v>1618.6235294117646</c:v>
                </c:pt>
                <c:pt idx="4">
                  <c:v>2110.4923076923078</c:v>
                </c:pt>
                <c:pt idx="5">
                  <c:v>1798.1029411764705</c:v>
                </c:pt>
                <c:pt idx="6">
                  <c:v>1084.7826086956522</c:v>
                </c:pt>
                <c:pt idx="7">
                  <c:v>1075.0112359550562</c:v>
                </c:pt>
                <c:pt idx="8">
                  <c:v>1038.5555555555557</c:v>
                </c:pt>
                <c:pt idx="9">
                  <c:v>948.11458333333337</c:v>
                </c:pt>
                <c:pt idx="10">
                  <c:v>1039.0149253731342</c:v>
                </c:pt>
                <c:pt idx="11">
                  <c:v>854.77333333333331</c:v>
                </c:pt>
                <c:pt idx="12">
                  <c:v>1288.6170212765958</c:v>
                </c:pt>
                <c:pt idx="13">
                  <c:v>667.28395061728395</c:v>
                </c:pt>
                <c:pt idx="14">
                  <c:v>612.89285714285711</c:v>
                </c:pt>
                <c:pt idx="15">
                  <c:v>586.18181818181813</c:v>
                </c:pt>
                <c:pt idx="16">
                  <c:v>531.17283950617286</c:v>
                </c:pt>
                <c:pt idx="17">
                  <c:v>415.85</c:v>
                </c:pt>
                <c:pt idx="18">
                  <c:v>491.4848484848485</c:v>
                </c:pt>
                <c:pt idx="19">
                  <c:v>520.91525423728808</c:v>
                </c:pt>
                <c:pt idx="20">
                  <c:v>544.73809523809518</c:v>
                </c:pt>
                <c:pt idx="21">
                  <c:v>369.57627118644069</c:v>
                </c:pt>
                <c:pt idx="22">
                  <c:v>588.36666666666667</c:v>
                </c:pt>
                <c:pt idx="23">
                  <c:v>514.03125</c:v>
                </c:pt>
                <c:pt idx="24">
                  <c:v>371.75</c:v>
                </c:pt>
                <c:pt idx="25">
                  <c:v>415</c:v>
                </c:pt>
                <c:pt idx="26">
                  <c:v>466.8</c:v>
                </c:pt>
                <c:pt idx="27">
                  <c:v>255.95652173913044</c:v>
                </c:pt>
                <c:pt idx="28">
                  <c:v>258.48837209302326</c:v>
                </c:pt>
                <c:pt idx="29">
                  <c:v>296.15151515151513</c:v>
                </c:pt>
                <c:pt idx="30">
                  <c:v>302.72000000000003</c:v>
                </c:pt>
                <c:pt idx="31">
                  <c:v>358.84210526315792</c:v>
                </c:pt>
                <c:pt idx="32">
                  <c:v>284.5</c:v>
                </c:pt>
                <c:pt idx="33">
                  <c:v>164.24999999999997</c:v>
                </c:pt>
                <c:pt idx="34">
                  <c:v>319</c:v>
                </c:pt>
                <c:pt idx="35">
                  <c:v>215.78571428571425</c:v>
                </c:pt>
                <c:pt idx="36">
                  <c:v>176.07692307692307</c:v>
                </c:pt>
                <c:pt idx="37">
                  <c:v>15.75</c:v>
                </c:pt>
                <c:pt idx="38">
                  <c:v>20.8</c:v>
                </c:pt>
                <c:pt idx="39">
                  <c:v>53</c:v>
                </c:pt>
                <c:pt idx="40">
                  <c:v>1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Nature Fromage Fondu Cube 1X125Gr 24P</c:v>
                </c:pt>
                <c:pt idx="6">
                  <c:v>Apericube Soiree Match Aperitif 250G</c:v>
                </c:pt>
                <c:pt idx="7">
                  <c:v>Apericube Edition Limitee Saison Fromage Fondu Cube Assortis 1X250Gr 48P</c:v>
                </c:pt>
                <c:pt idx="8">
                  <c:v>Apericube Campagne Fromage Fondu Cube Assortis 1X125Gr 24P</c:v>
                </c:pt>
                <c:pt idx="9">
                  <c:v>Boursin Aperitif Roules Fromage Frais Roule Ciboulette &amp; Echalote Jambon Fume Boite 1X100Gr 20P</c:v>
                </c:pt>
                <c:pt idx="10">
                  <c:v>Apericube Edition Voyage Fromage Fondu Cube Assortis 1X250Gr 48P</c:v>
                </c:pt>
                <c:pt idx="11">
                  <c:v>Apericube Incontournable Fromage Fondu Cube Assortis 1X250Gr 48P</c:v>
                </c:pt>
                <c:pt idx="12">
                  <c:v>Apericube Best Of Des Saveurs Fromage Fondu Cube Assortis 1X125Gr 24P</c:v>
                </c:pt>
                <c:pt idx="13">
                  <c:v>Apericube Vertical Soiree Apero Fromage Fondu Cube Assortis 1X125Gr 24P</c:v>
                </c:pt>
                <c:pt idx="14">
                  <c:v>Apericube Hot Chalenge Aperitif 250G</c:v>
                </c:pt>
                <c:pt idx="15">
                  <c:v>Apericube Fromages Du Monde Aperitif 250G</c:v>
                </c:pt>
                <c:pt idx="16">
                  <c:v>Apericube Carrement Toque Fromage Fondu Cube Assortis 1X250Gr 48P</c:v>
                </c:pt>
                <c:pt idx="17">
                  <c:v>Boursin Aperitif Roules Aperitif 100G</c:v>
                </c:pt>
                <c:pt idx="18">
                  <c:v>Apericube Montagne Aperitif 250G</c:v>
                </c:pt>
                <c:pt idx="19">
                  <c:v>Apericube Vertical Nature Fromage Fondu Cube 1X125Gr 24P</c:v>
                </c:pt>
                <c:pt idx="20">
                  <c:v>Apericube Long Drink Fromage Fondu Cube Assortis 1X125Gr 24P</c:v>
                </c:pt>
                <c:pt idx="21">
                  <c:v>Apericube P'Tits Plaisirs Fromage Fondu Cube 3 Fromages &amp; Jambon Cru Olive Verte 1X78Gr 15P</c:v>
                </c:pt>
                <c:pt idx="22">
                  <c:v>Apericube Jambon Fromage Fondu Cube 1X78Gr 15P</c:v>
                </c:pt>
                <c:pt idx="23">
                  <c:v>Apericube Charcut' Fromages Fromage Fondu Cube Assortis 1X250Gr 48P</c:v>
                </c:pt>
                <c:pt idx="24">
                  <c:v>Apericube Selection Du Fromager Fromage Fondu Cube Assortis 1X250Gr 48P</c:v>
                </c:pt>
                <c:pt idx="25">
                  <c:v>Apericube Sucre Sale Fromage Fondu Cube Assortis 1X250Gr 48P</c:v>
                </c:pt>
                <c:pt idx="26">
                  <c:v>Apericube Nature Fromage Fondu Cube 1X250Gr 48P</c:v>
                </c:pt>
                <c:pt idx="27">
                  <c:v>Boursin Aperitif Roules Fromage Frais Roule Jambon Fume &amp; Trio De Noix Boite 1X100Gr 20P</c:v>
                </c:pt>
              </c:strCache>
            </c:strRef>
          </c:cat>
          <c:val>
            <c:numRef>
              <c:f>Sheet1!$B$2:$B$29</c:f>
              <c:numCache>
                <c:formatCode>General</c:formatCode>
                <c:ptCount val="28"/>
                <c:pt idx="0">
                  <c:v>0.88500000000000001</c:v>
                </c:pt>
                <c:pt idx="1">
                  <c:v>0.86399999999999999</c:v>
                </c:pt>
                <c:pt idx="2">
                  <c:v>0.80500000000000005</c:v>
                </c:pt>
                <c:pt idx="3">
                  <c:v>0.89900000000000002</c:v>
                </c:pt>
                <c:pt idx="4">
                  <c:v>0.73599999999999999</c:v>
                </c:pt>
                <c:pt idx="5">
                  <c:v>0.83499999999999996</c:v>
                </c:pt>
                <c:pt idx="6">
                  <c:v>0.755</c:v>
                </c:pt>
                <c:pt idx="7">
                  <c:v>0.71499999999999997</c:v>
                </c:pt>
                <c:pt idx="8">
                  <c:v>0.69299999999999995</c:v>
                </c:pt>
                <c:pt idx="9">
                  <c:v>0.71899999999999997</c:v>
                </c:pt>
                <c:pt idx="10">
                  <c:v>0.52700000000000002</c:v>
                </c:pt>
                <c:pt idx="11">
                  <c:v>0.47199999999999998</c:v>
                </c:pt>
                <c:pt idx="12">
                  <c:v>0.73599999999999999</c:v>
                </c:pt>
                <c:pt idx="13">
                  <c:v>9.4E-2</c:v>
                </c:pt>
                <c:pt idx="14">
                  <c:v>0.46800000000000003</c:v>
                </c:pt>
                <c:pt idx="15">
                  <c:v>0.34699999999999998</c:v>
                </c:pt>
                <c:pt idx="16">
                  <c:v>0.47199999999999998</c:v>
                </c:pt>
                <c:pt idx="17">
                  <c:v>0.35</c:v>
                </c:pt>
                <c:pt idx="18">
                  <c:v>0.26700000000000002</c:v>
                </c:pt>
                <c:pt idx="19">
                  <c:v>4.7E-2</c:v>
                </c:pt>
                <c:pt idx="20">
                  <c:v>0.65700000000000003</c:v>
                </c:pt>
                <c:pt idx="21">
                  <c:v>0.34200000000000003</c:v>
                </c:pt>
                <c:pt idx="22">
                  <c:v>4.2999999999999997E-2</c:v>
                </c:pt>
                <c:pt idx="23">
                  <c:v>0.106</c:v>
                </c:pt>
                <c:pt idx="24">
                  <c:v>9.6000000000000002E-2</c:v>
                </c:pt>
                <c:pt idx="25">
                  <c:v>0.08</c:v>
                </c:pt>
                <c:pt idx="26">
                  <c:v>0.115</c:v>
                </c:pt>
                <c:pt idx="27">
                  <c:v>8.9999999999999993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Nature Fromage Fondu Cube 1X125Gr 24P</c:v>
                </c:pt>
                <c:pt idx="6">
                  <c:v>Apericube Soiree Match Aperitif 250G</c:v>
                </c:pt>
                <c:pt idx="7">
                  <c:v>Apericube Edition Limitee Saison Fromage Fondu Cube Assortis 1X250Gr 48P</c:v>
                </c:pt>
                <c:pt idx="8">
                  <c:v>Apericube Campagne Fromage Fondu Cube Assortis 1X125Gr 24P</c:v>
                </c:pt>
                <c:pt idx="9">
                  <c:v>Boursin Aperitif Roules Fromage Frais Roule Ciboulette &amp; Echalote Jambon Fume Boite 1X100Gr 20P</c:v>
                </c:pt>
                <c:pt idx="10">
                  <c:v>Apericube Edition Voyage Fromage Fondu Cube Assortis 1X250Gr 48P</c:v>
                </c:pt>
                <c:pt idx="11">
                  <c:v>Apericube Incontournable Fromage Fondu Cube Assortis 1X250Gr 48P</c:v>
                </c:pt>
                <c:pt idx="12">
                  <c:v>Apericube Best Of Des Saveurs Fromage Fondu Cube Assortis 1X125Gr 24P</c:v>
                </c:pt>
                <c:pt idx="13">
                  <c:v>Apericube Vertical Soiree Apero Fromage Fondu Cube Assortis 1X125Gr 24P</c:v>
                </c:pt>
                <c:pt idx="14">
                  <c:v>Apericube Hot Chalenge Aperitif 250G</c:v>
                </c:pt>
                <c:pt idx="15">
                  <c:v>Apericube Fromages Du Monde Aperitif 250G</c:v>
                </c:pt>
                <c:pt idx="16">
                  <c:v>Apericube Carrement Toque Fromage Fondu Cube Assortis 1X250Gr 48P</c:v>
                </c:pt>
                <c:pt idx="17">
                  <c:v>Boursin Aperitif Roules Aperitif 100G</c:v>
                </c:pt>
                <c:pt idx="18">
                  <c:v>Apericube Montagne Aperitif 250G</c:v>
                </c:pt>
                <c:pt idx="19">
                  <c:v>Apericube Vertical Nature Fromage Fondu Cube 1X125Gr 24P</c:v>
                </c:pt>
                <c:pt idx="20">
                  <c:v>Apericube Long Drink Fromage Fondu Cube Assortis 1X125Gr 24P</c:v>
                </c:pt>
                <c:pt idx="21">
                  <c:v>Apericube P'Tits Plaisirs Fromage Fondu Cube 3 Fromages &amp; Jambon Cru Olive Verte 1X78Gr 15P</c:v>
                </c:pt>
                <c:pt idx="22">
                  <c:v>Apericube Jambon Fromage Fondu Cube 1X78Gr 15P</c:v>
                </c:pt>
                <c:pt idx="23">
                  <c:v>Apericube Charcut' Fromages Fromage Fondu Cube Assortis 1X250Gr 48P</c:v>
                </c:pt>
                <c:pt idx="24">
                  <c:v>Apericube Selection Du Fromager Fromage Fondu Cube Assortis 1X250Gr 48P</c:v>
                </c:pt>
                <c:pt idx="25">
                  <c:v>Apericube Sucre Sale Fromage Fondu Cube Assortis 1X250Gr 48P</c:v>
                </c:pt>
                <c:pt idx="26">
                  <c:v>Apericube Nature Fromage Fondu Cube 1X250Gr 48P</c:v>
                </c:pt>
                <c:pt idx="27">
                  <c:v>Boursin Aperitif Roules Fromage Frais Roule Jambon Fume &amp; Trio De Noix Boite 1X100Gr 20P</c:v>
                </c:pt>
              </c:strCache>
            </c:strRef>
          </c:cat>
          <c:val>
            <c:numRef>
              <c:f>Sheet1!$C$2:$C$29</c:f>
              <c:numCache>
                <c:formatCode>General</c:formatCode>
                <c:ptCount val="28"/>
                <c:pt idx="0">
                  <c:v>0.16130728278957474</c:v>
                </c:pt>
                <c:pt idx="1">
                  <c:v>0.29891154021021704</c:v>
                </c:pt>
                <c:pt idx="2">
                  <c:v>0.40066849051828596</c:v>
                </c:pt>
                <c:pt idx="3">
                  <c:v>0.5015547625820006</c:v>
                </c:pt>
                <c:pt idx="4">
                  <c:v>0.56716862713918093</c:v>
                </c:pt>
                <c:pt idx="5">
                  <c:v>0.62707353003755961</c:v>
                </c:pt>
                <c:pt idx="6">
                  <c:v>0.68488992499288903</c:v>
                </c:pt>
                <c:pt idx="7">
                  <c:v>0.73536532651274045</c:v>
                </c:pt>
                <c:pt idx="8">
                  <c:v>0.77263245507748191</c:v>
                </c:pt>
                <c:pt idx="9">
                  <c:v>0.80868329372820502</c:v>
                </c:pt>
                <c:pt idx="10">
                  <c:v>0.84275004983303137</c:v>
                </c:pt>
                <c:pt idx="11">
                  <c:v>0.87533077374459956</c:v>
                </c:pt>
                <c:pt idx="12">
                  <c:v>0.90458486285277862</c:v>
                </c:pt>
                <c:pt idx="13">
                  <c:v>0.92582591250439528</c:v>
                </c:pt>
                <c:pt idx="14">
                  <c:v>0.94537305903142499</c:v>
                </c:pt>
                <c:pt idx="15">
                  <c:v>0.95811785679890515</c:v>
                </c:pt>
                <c:pt idx="16">
                  <c:v>0.96546052999948484</c:v>
                </c:pt>
                <c:pt idx="17">
                  <c:v>0.97279480437455623</c:v>
                </c:pt>
                <c:pt idx="18">
                  <c:v>0.97982406140325329</c:v>
                </c:pt>
                <c:pt idx="19">
                  <c:v>0.98565704571872659</c:v>
                </c:pt>
                <c:pt idx="20">
                  <c:v>0.98955578051965198</c:v>
                </c:pt>
                <c:pt idx="21">
                  <c:v>0.99288101551878971</c:v>
                </c:pt>
                <c:pt idx="22">
                  <c:v>0.99590739231025915</c:v>
                </c:pt>
                <c:pt idx="23">
                  <c:v>0.99699518019400146</c:v>
                </c:pt>
                <c:pt idx="24">
                  <c:v>0.99803117532044294</c:v>
                </c:pt>
                <c:pt idx="25">
                  <c:v>0.99902993565379794</c:v>
                </c:pt>
                <c:pt idx="26">
                  <c:v>0.99996164536351217</c:v>
                </c:pt>
                <c:pt idx="27">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9</c:f>
              <c:strCache>
                <c:ptCount val="28"/>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Nature Fromage Fondu Cube 1X125Gr 24P</c:v>
                </c:pt>
                <c:pt idx="6">
                  <c:v>Apericube Soiree Match Aperitif 250G</c:v>
                </c:pt>
                <c:pt idx="7">
                  <c:v>Apericube Edition Limitee Saison Fromage Fondu Cube Assortis 1X250Gr 48P</c:v>
                </c:pt>
                <c:pt idx="8">
                  <c:v>Apericube Campagne Fromage Fondu Cube Assortis 1X125Gr 24P</c:v>
                </c:pt>
                <c:pt idx="9">
                  <c:v>Boursin Aperitif Roules Fromage Frais Roule Ciboulette &amp; Echalote Jambon Fume Boite 1X100Gr 20P</c:v>
                </c:pt>
                <c:pt idx="10">
                  <c:v>Apericube Edition Voyage Fromage Fondu Cube Assortis 1X250Gr 48P</c:v>
                </c:pt>
                <c:pt idx="11">
                  <c:v>Apericube Incontournable Fromage Fondu Cube Assortis 1X250Gr 48P</c:v>
                </c:pt>
                <c:pt idx="12">
                  <c:v>Apericube Best Of Des Saveurs Fromage Fondu Cube Assortis 1X125Gr 24P</c:v>
                </c:pt>
                <c:pt idx="13">
                  <c:v>Apericube Vertical Soiree Apero Fromage Fondu Cube Assortis 1X125Gr 24P</c:v>
                </c:pt>
                <c:pt idx="14">
                  <c:v>Apericube Hot Chalenge Aperitif 250G</c:v>
                </c:pt>
                <c:pt idx="15">
                  <c:v>Apericube Fromages Du Monde Aperitif 250G</c:v>
                </c:pt>
                <c:pt idx="16">
                  <c:v>Apericube Carrement Toque Fromage Fondu Cube Assortis 1X250Gr 48P</c:v>
                </c:pt>
                <c:pt idx="17">
                  <c:v>Boursin Aperitif Roules Aperitif 100G</c:v>
                </c:pt>
                <c:pt idx="18">
                  <c:v>Apericube Montagne Aperitif 250G</c:v>
                </c:pt>
                <c:pt idx="19">
                  <c:v>Apericube Vertical Nature Fromage Fondu Cube 1X125Gr 24P</c:v>
                </c:pt>
                <c:pt idx="20">
                  <c:v>Apericube Long Drink Fromage Fondu Cube Assortis 1X125Gr 24P</c:v>
                </c:pt>
                <c:pt idx="21">
                  <c:v>Apericube P'Tits Plaisirs Fromage Fondu Cube 3 Fromages &amp; Jambon Cru Olive Verte 1X78Gr 15P</c:v>
                </c:pt>
                <c:pt idx="22">
                  <c:v>Apericube Jambon Fromage Fondu Cube 1X78Gr 15P</c:v>
                </c:pt>
                <c:pt idx="23">
                  <c:v>Apericube Charcut' Fromages Fromage Fondu Cube Assortis 1X250Gr 48P</c:v>
                </c:pt>
                <c:pt idx="24">
                  <c:v>Apericube Selection Du Fromager Fromage Fondu Cube Assortis 1X250Gr 48P</c:v>
                </c:pt>
                <c:pt idx="25">
                  <c:v>Apericube Sucre Sale Fromage Fondu Cube Assortis 1X250Gr 48P</c:v>
                </c:pt>
                <c:pt idx="26">
                  <c:v>Apericube Nature Fromage Fondu Cube 1X250Gr 48P</c:v>
                </c:pt>
                <c:pt idx="27">
                  <c:v>Boursin Aperitif Roules Fromage Frais Roule Jambon Fume &amp; Trio De Noix Boite 1X100Gr 20P</c:v>
                </c:pt>
              </c:strCache>
            </c:strRef>
          </c:cat>
          <c:val>
            <c:numRef>
              <c:f>Sheet1!$D$2:$D$29</c:f>
              <c:numCache>
                <c:formatCode>General</c:formatCode>
                <c:ptCount val="28"/>
                <c:pt idx="0">
                  <c:v>13020.97175141243</c:v>
                </c:pt>
                <c:pt idx="1">
                  <c:v>11377.604166666666</c:v>
                </c:pt>
                <c:pt idx="2">
                  <c:v>9030.2732919254649</c:v>
                </c:pt>
                <c:pt idx="3">
                  <c:v>8016.8743047830922</c:v>
                </c:pt>
                <c:pt idx="4">
                  <c:v>6368.6956521739139</c:v>
                </c:pt>
                <c:pt idx="5">
                  <c:v>5125.1736526946106</c:v>
                </c:pt>
                <c:pt idx="6">
                  <c:v>5470.622516556291</c:v>
                </c:pt>
                <c:pt idx="7">
                  <c:v>5043.2027972027972</c:v>
                </c:pt>
                <c:pt idx="8">
                  <c:v>3841.7171717171718</c:v>
                </c:pt>
                <c:pt idx="9">
                  <c:v>3581.9471488178028</c:v>
                </c:pt>
                <c:pt idx="10">
                  <c:v>4617.988614800759</c:v>
                </c:pt>
                <c:pt idx="11">
                  <c:v>4931.1864406779669</c:v>
                </c:pt>
                <c:pt idx="12">
                  <c:v>2839.497282608696</c:v>
                </c:pt>
                <c:pt idx="13">
                  <c:v>16142.872340425531</c:v>
                </c:pt>
                <c:pt idx="14">
                  <c:v>2983.8034188034185</c:v>
                </c:pt>
                <c:pt idx="15">
                  <c:v>2623.8328530259369</c:v>
                </c:pt>
                <c:pt idx="16">
                  <c:v>1111.3347457627119</c:v>
                </c:pt>
                <c:pt idx="17">
                  <c:v>1497</c:v>
                </c:pt>
                <c:pt idx="18">
                  <c:v>1880.7490636704117</c:v>
                </c:pt>
                <c:pt idx="19">
                  <c:v>8865.9574468085102</c:v>
                </c:pt>
                <c:pt idx="20">
                  <c:v>423.92694063926939</c:v>
                </c:pt>
                <c:pt idx="21">
                  <c:v>694.59064327485373</c:v>
                </c:pt>
                <c:pt idx="22">
                  <c:v>5027.9069767441861</c:v>
                </c:pt>
                <c:pt idx="23">
                  <c:v>733.11320754716985</c:v>
                </c:pt>
                <c:pt idx="24">
                  <c:v>770.9375</c:v>
                </c:pt>
                <c:pt idx="25">
                  <c:v>891.875</c:v>
                </c:pt>
                <c:pt idx="26">
                  <c:v>578.78260869565213</c:v>
                </c:pt>
                <c:pt idx="27">
                  <c:v>37.7777777777777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Apericube Soiree Match Aperitif 250G</c:v>
                </c:pt>
                <c:pt idx="12">
                  <c:v>Boursin Aperitif Roules Fromage Frais Roule Basilic &amp; Jambon Fume Tomate Boite 1X100Gr 20P</c:v>
                </c:pt>
                <c:pt idx="13">
                  <c:v>Apericube Hot Chalenge Aperitif 250G</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B$2:$B$21</c:f>
              <c:numCache>
                <c:formatCode>General</c:formatCode>
                <c:ptCount val="20"/>
                <c:pt idx="0">
                  <c:v>0.94599999999999995</c:v>
                </c:pt>
                <c:pt idx="1">
                  <c:v>0.93100000000000005</c:v>
                </c:pt>
                <c:pt idx="2">
                  <c:v>0.89800000000000002</c:v>
                </c:pt>
                <c:pt idx="3">
                  <c:v>0.89800000000000002</c:v>
                </c:pt>
                <c:pt idx="4">
                  <c:v>0.94799999999999995</c:v>
                </c:pt>
                <c:pt idx="5">
                  <c:v>0.86099999999999999</c:v>
                </c:pt>
                <c:pt idx="6">
                  <c:v>0.82899999999999996</c:v>
                </c:pt>
                <c:pt idx="7">
                  <c:v>0.90900000000000003</c:v>
                </c:pt>
                <c:pt idx="8">
                  <c:v>0.89300000000000002</c:v>
                </c:pt>
                <c:pt idx="9">
                  <c:v>0.88700000000000001</c:v>
                </c:pt>
                <c:pt idx="10">
                  <c:v>0.84599999999999997</c:v>
                </c:pt>
                <c:pt idx="11">
                  <c:v>0.76500000000000001</c:v>
                </c:pt>
                <c:pt idx="12">
                  <c:v>0.8</c:v>
                </c:pt>
                <c:pt idx="13">
                  <c:v>0.499</c:v>
                </c:pt>
                <c:pt idx="14">
                  <c:v>0.28199999999999997</c:v>
                </c:pt>
                <c:pt idx="15">
                  <c:v>0.27</c:v>
                </c:pt>
                <c:pt idx="16">
                  <c:v>0.65800000000000003</c:v>
                </c:pt>
                <c:pt idx="17">
                  <c:v>0.25800000000000001</c:v>
                </c:pt>
                <c:pt idx="18">
                  <c:v>0.29199999999999998</c:v>
                </c:pt>
                <c:pt idx="19">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Apericube Soiree Match Aperitif 250G</c:v>
                </c:pt>
                <c:pt idx="12">
                  <c:v>Boursin Aperitif Roules Fromage Frais Roule Basilic &amp; Jambon Fume Tomate Boite 1X100Gr 20P</c:v>
                </c:pt>
                <c:pt idx="13">
                  <c:v>Apericube Hot Chalenge Aperitif 250G</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C$2:$C$21</c:f>
              <c:numCache>
                <c:formatCode>General</c:formatCode>
                <c:ptCount val="20"/>
                <c:pt idx="0">
                  <c:v>0.13964660554798899</c:v>
                </c:pt>
                <c:pt idx="1">
                  <c:v>0.26546280578642839</c:v>
                </c:pt>
                <c:pt idx="2">
                  <c:v>0.36159465476791008</c:v>
                </c:pt>
                <c:pt idx="3">
                  <c:v>0.4489814241156434</c:v>
                </c:pt>
                <c:pt idx="4">
                  <c:v>0.53521714645663132</c:v>
                </c:pt>
                <c:pt idx="5">
                  <c:v>0.59900054588404295</c:v>
                </c:pt>
                <c:pt idx="6">
                  <c:v>0.66153764916490099</c:v>
                </c:pt>
                <c:pt idx="7">
                  <c:v>0.72222991185569785</c:v>
                </c:pt>
                <c:pt idx="8">
                  <c:v>0.7775911003347532</c:v>
                </c:pt>
                <c:pt idx="9">
                  <c:v>0.82962489967905928</c:v>
                </c:pt>
                <c:pt idx="10">
                  <c:v>0.87963501450463111</c:v>
                </c:pt>
                <c:pt idx="11">
                  <c:v>0.92760763224738763</c:v>
                </c:pt>
                <c:pt idx="12">
                  <c:v>0.95135430752004913</c:v>
                </c:pt>
                <c:pt idx="13">
                  <c:v>0.97149230654568786</c:v>
                </c:pt>
                <c:pt idx="14">
                  <c:v>0.98211805310758238</c:v>
                </c:pt>
                <c:pt idx="15">
                  <c:v>0.99127348099923551</c:v>
                </c:pt>
                <c:pt idx="16">
                  <c:v>0.99822134461282674</c:v>
                </c:pt>
                <c:pt idx="17">
                  <c:v>0.99937584476059238</c:v>
                </c:pt>
                <c:pt idx="18">
                  <c:v>0.99991280818923911</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1</c:f>
              <c:strCache>
                <c:ptCount val="20"/>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Apericube Soiree Match Aperitif 250G</c:v>
                </c:pt>
                <c:pt idx="12">
                  <c:v>Boursin Aperitif Roules Fromage Frais Roule Basilic &amp; Jambon Fume Tomate Boite 1X100Gr 20P</c:v>
                </c:pt>
                <c:pt idx="13">
                  <c:v>Apericube Hot Chalenge Aperitif 250G</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D$2:$D$21</c:f>
              <c:numCache>
                <c:formatCode>General</c:formatCode>
                <c:ptCount val="20"/>
                <c:pt idx="0">
                  <c:v>10259.735729386894</c:v>
                </c:pt>
                <c:pt idx="1">
                  <c:v>9392.5563909774428</c:v>
                </c:pt>
                <c:pt idx="2">
                  <c:v>7440.2561247216036</c:v>
                </c:pt>
                <c:pt idx="3">
                  <c:v>6763.4187082405351</c:v>
                </c:pt>
                <c:pt idx="4">
                  <c:v>6322.3101265822788</c:v>
                </c:pt>
                <c:pt idx="5">
                  <c:v>5148.7456445993039</c:v>
                </c:pt>
                <c:pt idx="6">
                  <c:v>5243.0036188178537</c:v>
                </c:pt>
                <c:pt idx="7">
                  <c:v>4640.5170517051702</c:v>
                </c:pt>
                <c:pt idx="8">
                  <c:v>4308.7458006718925</c:v>
                </c:pt>
                <c:pt idx="9">
                  <c:v>4077.1702367531002</c:v>
                </c:pt>
                <c:pt idx="10">
                  <c:v>4108.5106382978729</c:v>
                </c:pt>
                <c:pt idx="11">
                  <c:v>4358.418300653595</c:v>
                </c:pt>
                <c:pt idx="12">
                  <c:v>2063.0500000000002</c:v>
                </c:pt>
                <c:pt idx="13">
                  <c:v>2804.8697394789579</c:v>
                </c:pt>
                <c:pt idx="14">
                  <c:v>2618.8297872340431</c:v>
                </c:pt>
                <c:pt idx="15">
                  <c:v>2356.7407407407409</c:v>
                </c:pt>
                <c:pt idx="16">
                  <c:v>733.87537993920978</c:v>
                </c:pt>
                <c:pt idx="17">
                  <c:v>311.00775193798449</c:v>
                </c:pt>
                <c:pt idx="18">
                  <c:v>127.8082191780822</c:v>
                </c:pt>
                <c:pt idx="19">
                  <c:v>151.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7</c:f>
              <c:strCache>
                <c:ptCount val="26"/>
                <c:pt idx="0">
                  <c:v>Apericube Edition Limitee Best Of Foot Fromage Fondu Cube Assortis 1X250Gr 48P</c:v>
                </c:pt>
                <c:pt idx="1">
                  <c:v>Apericube Cocktail Fromage Fondu Cube Assortis 1X250Gr 48P</c:v>
                </c:pt>
                <c:pt idx="2">
                  <c:v>Apericube Long Drink Fromage Fondu Cube Assortis 1X250Gr 48P</c:v>
                </c:pt>
                <c:pt idx="3">
                  <c:v>Apericube Incontournable Fromage Fondu Cube Assortis 1X250Gr 48P</c:v>
                </c:pt>
                <c:pt idx="4">
                  <c:v>Boursin Aperitif Roules Fromage Frais Roule Afh Et Jambon Fume Boite 1X100Gr 20P</c:v>
                </c:pt>
                <c:pt idx="5">
                  <c:v>Apericube Tonic Fromage Fondu Cube Assortis 1X250Gr 48P</c:v>
                </c:pt>
                <c:pt idx="6">
                  <c:v>Apericube Nature Fromage Fondu Cube 1X125Gr 24P</c:v>
                </c:pt>
                <c:pt idx="7">
                  <c:v>Apericube Soiree Match Aperitif 250G</c:v>
                </c:pt>
                <c:pt idx="8">
                  <c:v>Apericube Edition Voyage Fromage Fondu Cube Assortis 1X250Gr 48P</c:v>
                </c:pt>
                <c:pt idx="9">
                  <c:v>Apericube Edition Limitee Saison Fromage Fondu Cube Assortis 1X250Gr 48P</c:v>
                </c:pt>
                <c:pt idx="10">
                  <c:v>Apericube Campagne Fromage Fondu Cube Assortis 1X125Gr 24P</c:v>
                </c:pt>
                <c:pt idx="11">
                  <c:v>Apericube Hot Chalenge Aperitif 250G</c:v>
                </c:pt>
                <c:pt idx="12">
                  <c:v>Boursin Aperitif Roules Fromage Frais Roule Ciboulette &amp; Echalote Jambon Fume Boite 1X100Gr 20P</c:v>
                </c:pt>
                <c:pt idx="13">
                  <c:v>Apericube Best Of Des Saveurs Fromage Fondu Cube Assortis 1X125Gr 24P</c:v>
                </c:pt>
                <c:pt idx="14">
                  <c:v>Apericube Fromages Du Monde Aperitif 250G</c:v>
                </c:pt>
                <c:pt idx="15">
                  <c:v>Apericube Carrement Toque Fromage Fondu Cube Assortis 1X250Gr 48P</c:v>
                </c:pt>
                <c:pt idx="16">
                  <c:v>Apericube Montagne Aperitif 250G</c:v>
                </c:pt>
                <c:pt idx="17">
                  <c:v>Boursin Aperitif Roules Aperitif 100G</c:v>
                </c:pt>
                <c:pt idx="18">
                  <c:v>Apericube P'Tits Plaisirs Fromage Fondu Cube 3 Fromages &amp; Jambon Cru Olive Verte 1X78Gr 15P</c:v>
                </c:pt>
                <c:pt idx="19">
                  <c:v>Apericube Jambon Fromage Fondu Cube 1X78Gr 15P</c:v>
                </c:pt>
                <c:pt idx="20">
                  <c:v>Apericube Long Drink Fromage Fondu Cube Assortis 1X125Gr 24P</c:v>
                </c:pt>
                <c:pt idx="21">
                  <c:v>Apericube Nature Fromage Fondu Cube 1X250Gr 48P</c:v>
                </c:pt>
                <c:pt idx="22">
                  <c:v>Apericube Charcut' Fromages Fromage Fondu Cube Assortis 1X250Gr 48P</c:v>
                </c:pt>
                <c:pt idx="23">
                  <c:v>Apericube Selection Du Fromager Fromage Fondu Cube Assortis 1X250Gr 48P</c:v>
                </c:pt>
                <c:pt idx="24">
                  <c:v>Apericube Sucre Sale Fromage Fondu Cube Assortis 1X250Gr 48P</c:v>
                </c:pt>
                <c:pt idx="25">
                  <c:v>Boursin Aperitif Roules Fromage Frais Roule Jambon Fume &amp; Trio De Noix Boite 1X100Gr 20P</c:v>
                </c:pt>
              </c:strCache>
            </c:strRef>
          </c:cat>
          <c:val>
            <c:numRef>
              <c:f>Sheet1!$B$2:$B$27</c:f>
              <c:numCache>
                <c:formatCode>General</c:formatCode>
                <c:ptCount val="26"/>
                <c:pt idx="0">
                  <c:v>1</c:v>
                </c:pt>
                <c:pt idx="1">
                  <c:v>0.99</c:v>
                </c:pt>
                <c:pt idx="2">
                  <c:v>0.99</c:v>
                </c:pt>
                <c:pt idx="3">
                  <c:v>0.97</c:v>
                </c:pt>
                <c:pt idx="4">
                  <c:v>0.99</c:v>
                </c:pt>
                <c:pt idx="5">
                  <c:v>0.93</c:v>
                </c:pt>
                <c:pt idx="6">
                  <c:v>1</c:v>
                </c:pt>
                <c:pt idx="7">
                  <c:v>0.97</c:v>
                </c:pt>
                <c:pt idx="8">
                  <c:v>0.89</c:v>
                </c:pt>
                <c:pt idx="9">
                  <c:v>0.96</c:v>
                </c:pt>
                <c:pt idx="10">
                  <c:v>0.98</c:v>
                </c:pt>
                <c:pt idx="11">
                  <c:v>0.96</c:v>
                </c:pt>
                <c:pt idx="12">
                  <c:v>0.9</c:v>
                </c:pt>
                <c:pt idx="13">
                  <c:v>0.97</c:v>
                </c:pt>
                <c:pt idx="14">
                  <c:v>0.71</c:v>
                </c:pt>
                <c:pt idx="15">
                  <c:v>0.97</c:v>
                </c:pt>
                <c:pt idx="16">
                  <c:v>0.54</c:v>
                </c:pt>
                <c:pt idx="17">
                  <c:v>0.53</c:v>
                </c:pt>
                <c:pt idx="18">
                  <c:v>0.75</c:v>
                </c:pt>
                <c:pt idx="19">
                  <c:v>7.0000000000000007E-2</c:v>
                </c:pt>
                <c:pt idx="20">
                  <c:v>0.91</c:v>
                </c:pt>
                <c:pt idx="21">
                  <c:v>0.23</c:v>
                </c:pt>
                <c:pt idx="22">
                  <c:v>0.16</c:v>
                </c:pt>
                <c:pt idx="23">
                  <c:v>0.12</c:v>
                </c:pt>
                <c:pt idx="24">
                  <c:v>0.11</c:v>
                </c:pt>
                <c:pt idx="25">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7</c:f>
              <c:strCache>
                <c:ptCount val="26"/>
                <c:pt idx="0">
                  <c:v>Apericube Edition Limitee Best Of Foot Fromage Fondu Cube Assortis 1X250Gr 48P</c:v>
                </c:pt>
                <c:pt idx="1">
                  <c:v>Apericube Cocktail Fromage Fondu Cube Assortis 1X250Gr 48P</c:v>
                </c:pt>
                <c:pt idx="2">
                  <c:v>Apericube Long Drink Fromage Fondu Cube Assortis 1X250Gr 48P</c:v>
                </c:pt>
                <c:pt idx="3">
                  <c:v>Apericube Incontournable Fromage Fondu Cube Assortis 1X250Gr 48P</c:v>
                </c:pt>
                <c:pt idx="4">
                  <c:v>Boursin Aperitif Roules Fromage Frais Roule Afh Et Jambon Fume Boite 1X100Gr 20P</c:v>
                </c:pt>
                <c:pt idx="5">
                  <c:v>Apericube Tonic Fromage Fondu Cube Assortis 1X250Gr 48P</c:v>
                </c:pt>
                <c:pt idx="6">
                  <c:v>Apericube Nature Fromage Fondu Cube 1X125Gr 24P</c:v>
                </c:pt>
                <c:pt idx="7">
                  <c:v>Apericube Soiree Match Aperitif 250G</c:v>
                </c:pt>
                <c:pt idx="8">
                  <c:v>Apericube Edition Voyage Fromage Fondu Cube Assortis 1X250Gr 48P</c:v>
                </c:pt>
                <c:pt idx="9">
                  <c:v>Apericube Edition Limitee Saison Fromage Fondu Cube Assortis 1X250Gr 48P</c:v>
                </c:pt>
                <c:pt idx="10">
                  <c:v>Apericube Campagne Fromage Fondu Cube Assortis 1X125Gr 24P</c:v>
                </c:pt>
                <c:pt idx="11">
                  <c:v>Apericube Hot Chalenge Aperitif 250G</c:v>
                </c:pt>
                <c:pt idx="12">
                  <c:v>Boursin Aperitif Roules Fromage Frais Roule Ciboulette &amp; Echalote Jambon Fume Boite 1X100Gr 20P</c:v>
                </c:pt>
                <c:pt idx="13">
                  <c:v>Apericube Best Of Des Saveurs Fromage Fondu Cube Assortis 1X125Gr 24P</c:v>
                </c:pt>
                <c:pt idx="14">
                  <c:v>Apericube Fromages Du Monde Aperitif 250G</c:v>
                </c:pt>
                <c:pt idx="15">
                  <c:v>Apericube Carrement Toque Fromage Fondu Cube Assortis 1X250Gr 48P</c:v>
                </c:pt>
                <c:pt idx="16">
                  <c:v>Apericube Montagne Aperitif 250G</c:v>
                </c:pt>
                <c:pt idx="17">
                  <c:v>Boursin Aperitif Roules Aperitif 100G</c:v>
                </c:pt>
                <c:pt idx="18">
                  <c:v>Apericube P'Tits Plaisirs Fromage Fondu Cube 3 Fromages &amp; Jambon Cru Olive Verte 1X78Gr 15P</c:v>
                </c:pt>
                <c:pt idx="19">
                  <c:v>Apericube Jambon Fromage Fondu Cube 1X78Gr 15P</c:v>
                </c:pt>
                <c:pt idx="20">
                  <c:v>Apericube Long Drink Fromage Fondu Cube Assortis 1X125Gr 24P</c:v>
                </c:pt>
                <c:pt idx="21">
                  <c:v>Apericube Nature Fromage Fondu Cube 1X250Gr 48P</c:v>
                </c:pt>
                <c:pt idx="22">
                  <c:v>Apericube Charcut' Fromages Fromage Fondu Cube Assortis 1X250Gr 48P</c:v>
                </c:pt>
                <c:pt idx="23">
                  <c:v>Apericube Selection Du Fromager Fromage Fondu Cube Assortis 1X250Gr 48P</c:v>
                </c:pt>
                <c:pt idx="24">
                  <c:v>Apericube Sucre Sale Fromage Fondu Cube Assortis 1X250Gr 48P</c:v>
                </c:pt>
                <c:pt idx="25">
                  <c:v>Boursin Aperitif Roules Fromage Frais Roule Jambon Fume &amp; Trio De Noix Boite 1X100Gr 20P</c:v>
                </c:pt>
              </c:strCache>
            </c:strRef>
          </c:cat>
          <c:val>
            <c:numRef>
              <c:f>Sheet1!$C$2:$C$27</c:f>
              <c:numCache>
                <c:formatCode>General</c:formatCode>
                <c:ptCount val="26"/>
                <c:pt idx="0">
                  <c:v>0.12360971185289088</c:v>
                </c:pt>
                <c:pt idx="1">
                  <c:v>0.23004573612033735</c:v>
                </c:pt>
                <c:pt idx="2">
                  <c:v>0.3241033339250563</c:v>
                </c:pt>
                <c:pt idx="3">
                  <c:v>0.39439145468659381</c:v>
                </c:pt>
                <c:pt idx="4">
                  <c:v>0.46418720488642379</c:v>
                </c:pt>
                <c:pt idx="5">
                  <c:v>0.53282794267159939</c:v>
                </c:pt>
                <c:pt idx="6">
                  <c:v>0.59785971951015882</c:v>
                </c:pt>
                <c:pt idx="7">
                  <c:v>0.65811665460715585</c:v>
                </c:pt>
                <c:pt idx="8">
                  <c:v>0.71463914836689413</c:v>
                </c:pt>
                <c:pt idx="9">
                  <c:v>0.76414791404494442</c:v>
                </c:pt>
                <c:pt idx="10">
                  <c:v>0.80802125986923035</c:v>
                </c:pt>
                <c:pt idx="11">
                  <c:v>0.85022713268085726</c:v>
                </c:pt>
                <c:pt idx="12">
                  <c:v>0.88460414888890571</c:v>
                </c:pt>
                <c:pt idx="13">
                  <c:v>0.91481297658259264</c:v>
                </c:pt>
                <c:pt idx="14">
                  <c:v>0.94186964464677936</c:v>
                </c:pt>
                <c:pt idx="15">
                  <c:v>0.95750298633449393</c:v>
                </c:pt>
                <c:pt idx="16">
                  <c:v>0.97158313767504279</c:v>
                </c:pt>
                <c:pt idx="17">
                  <c:v>0.98189196105431209</c:v>
                </c:pt>
                <c:pt idx="18">
                  <c:v>0.98964144554727418</c:v>
                </c:pt>
                <c:pt idx="19">
                  <c:v>0.99339762364511663</c:v>
                </c:pt>
                <c:pt idx="20">
                  <c:v>0.99712547808522878</c:v>
                </c:pt>
                <c:pt idx="21">
                  <c:v>0.99865429691295216</c:v>
                </c:pt>
                <c:pt idx="22">
                  <c:v>0.99927807607273411</c:v>
                </c:pt>
                <c:pt idx="23">
                  <c:v>0.99972005687127019</c:v>
                </c:pt>
                <c:pt idx="24">
                  <c:v>0.99995883189283408</c:v>
                </c:pt>
                <c:pt idx="25">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7</c:f>
              <c:strCache>
                <c:ptCount val="26"/>
                <c:pt idx="0">
                  <c:v>Apericube Edition Limitee Best Of Foot Fromage Fondu Cube Assortis 1X250Gr 48P</c:v>
                </c:pt>
                <c:pt idx="1">
                  <c:v>Apericube Cocktail Fromage Fondu Cube Assortis 1X250Gr 48P</c:v>
                </c:pt>
                <c:pt idx="2">
                  <c:v>Apericube Long Drink Fromage Fondu Cube Assortis 1X250Gr 48P</c:v>
                </c:pt>
                <c:pt idx="3">
                  <c:v>Apericube Incontournable Fromage Fondu Cube Assortis 1X250Gr 48P</c:v>
                </c:pt>
                <c:pt idx="4">
                  <c:v>Boursin Aperitif Roules Fromage Frais Roule Afh Et Jambon Fume Boite 1X100Gr 20P</c:v>
                </c:pt>
                <c:pt idx="5">
                  <c:v>Apericube Tonic Fromage Fondu Cube Assortis 1X250Gr 48P</c:v>
                </c:pt>
                <c:pt idx="6">
                  <c:v>Apericube Nature Fromage Fondu Cube 1X125Gr 24P</c:v>
                </c:pt>
                <c:pt idx="7">
                  <c:v>Apericube Soiree Match Aperitif 250G</c:v>
                </c:pt>
                <c:pt idx="8">
                  <c:v>Apericube Edition Voyage Fromage Fondu Cube Assortis 1X250Gr 48P</c:v>
                </c:pt>
                <c:pt idx="9">
                  <c:v>Apericube Edition Limitee Saison Fromage Fondu Cube Assortis 1X250Gr 48P</c:v>
                </c:pt>
                <c:pt idx="10">
                  <c:v>Apericube Campagne Fromage Fondu Cube Assortis 1X125Gr 24P</c:v>
                </c:pt>
                <c:pt idx="11">
                  <c:v>Apericube Hot Chalenge Aperitif 250G</c:v>
                </c:pt>
                <c:pt idx="12">
                  <c:v>Boursin Aperitif Roules Fromage Frais Roule Ciboulette &amp; Echalote Jambon Fume Boite 1X100Gr 20P</c:v>
                </c:pt>
                <c:pt idx="13">
                  <c:v>Apericube Best Of Des Saveurs Fromage Fondu Cube Assortis 1X125Gr 24P</c:v>
                </c:pt>
                <c:pt idx="14">
                  <c:v>Apericube Fromages Du Monde Aperitif 250G</c:v>
                </c:pt>
                <c:pt idx="15">
                  <c:v>Apericube Carrement Toque Fromage Fondu Cube Assortis 1X250Gr 48P</c:v>
                </c:pt>
                <c:pt idx="16">
                  <c:v>Apericube Montagne Aperitif 250G</c:v>
                </c:pt>
                <c:pt idx="17">
                  <c:v>Boursin Aperitif Roules Aperitif 100G</c:v>
                </c:pt>
                <c:pt idx="18">
                  <c:v>Apericube P'Tits Plaisirs Fromage Fondu Cube 3 Fromages &amp; Jambon Cru Olive Verte 1X78Gr 15P</c:v>
                </c:pt>
                <c:pt idx="19">
                  <c:v>Apericube Jambon Fromage Fondu Cube 1X78Gr 15P</c:v>
                </c:pt>
                <c:pt idx="20">
                  <c:v>Apericube Long Drink Fromage Fondu Cube Assortis 1X125Gr 24P</c:v>
                </c:pt>
                <c:pt idx="21">
                  <c:v>Apericube Nature Fromage Fondu Cube 1X250Gr 48P</c:v>
                </c:pt>
                <c:pt idx="22">
                  <c:v>Apericube Charcut' Fromages Fromage Fondu Cube Assortis 1X250Gr 48P</c:v>
                </c:pt>
                <c:pt idx="23">
                  <c:v>Apericube Selection Du Fromager Fromage Fondu Cube Assortis 1X250Gr 48P</c:v>
                </c:pt>
                <c:pt idx="24">
                  <c:v>Apericube Sucre Sale Fromage Fondu Cube Assortis 1X250Gr 48P</c:v>
                </c:pt>
                <c:pt idx="25">
                  <c:v>Boursin Aperitif Roules Fromage Frais Roule Jambon Fume &amp; Trio De Noix Boite 1X100Gr 20P</c:v>
                </c:pt>
              </c:strCache>
            </c:strRef>
          </c:cat>
          <c:val>
            <c:numRef>
              <c:f>Sheet1!$D$2:$D$27</c:f>
              <c:numCache>
                <c:formatCode>General</c:formatCode>
                <c:ptCount val="26"/>
                <c:pt idx="0">
                  <c:v>3753.2</c:v>
                </c:pt>
                <c:pt idx="1">
                  <c:v>3264.3939393939395</c:v>
                </c:pt>
                <c:pt idx="2">
                  <c:v>2884.7474747474748</c:v>
                </c:pt>
                <c:pt idx="3">
                  <c:v>2200.1855670103091</c:v>
                </c:pt>
                <c:pt idx="4">
                  <c:v>2140.6363636363635</c:v>
                </c:pt>
                <c:pt idx="5">
                  <c:v>2241.0322580645161</c:v>
                </c:pt>
                <c:pt idx="6">
                  <c:v>1974.58</c:v>
                </c:pt>
                <c:pt idx="7">
                  <c:v>1886.1855670103093</c:v>
                </c:pt>
                <c:pt idx="8">
                  <c:v>1928.3258426966293</c:v>
                </c:pt>
                <c:pt idx="9">
                  <c:v>1565.8854166666667</c:v>
                </c:pt>
                <c:pt idx="10">
                  <c:v>1359.3265306122448</c:v>
                </c:pt>
                <c:pt idx="11">
                  <c:v>1334.90625</c:v>
                </c:pt>
                <c:pt idx="12">
                  <c:v>1159.7777777777778</c:v>
                </c:pt>
                <c:pt idx="13">
                  <c:v>945.60824742268039</c:v>
                </c:pt>
                <c:pt idx="14">
                  <c:v>1157.0845070422536</c:v>
                </c:pt>
                <c:pt idx="15">
                  <c:v>489.36082474226805</c:v>
                </c:pt>
                <c:pt idx="16">
                  <c:v>791.7037037037037</c:v>
                </c:pt>
                <c:pt idx="17">
                  <c:v>590.58490566037733</c:v>
                </c:pt>
                <c:pt idx="18">
                  <c:v>313.73333333333335</c:v>
                </c:pt>
                <c:pt idx="19">
                  <c:v>1629.285714285714</c:v>
                </c:pt>
                <c:pt idx="20">
                  <c:v>124.38461538461539</c:v>
                </c:pt>
                <c:pt idx="21">
                  <c:v>201.82608695652175</c:v>
                </c:pt>
                <c:pt idx="22">
                  <c:v>118.375</c:v>
                </c:pt>
                <c:pt idx="23">
                  <c:v>111.83333333333333</c:v>
                </c:pt>
                <c:pt idx="24">
                  <c:v>65.909090909090907</c:v>
                </c:pt>
                <c:pt idx="25">
                  <c:v>1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6</c:f>
              <c:strCache>
                <c:ptCount val="2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Soiree Match Aperitif 250G</c:v>
                </c:pt>
                <c:pt idx="6">
                  <c:v>Apericube Nature Fromage Fondu Cube 1X125Gr 24P</c:v>
                </c:pt>
                <c:pt idx="7">
                  <c:v>Apericube Edition Limitee Saison Fromage Fondu Cube Assortis 1X250Gr 48P</c:v>
                </c:pt>
                <c:pt idx="8">
                  <c:v>Boursin Aperitif Roules Fromage Frais Roule Ciboulette &amp; Echalote Jambon Fume Boite 1X100Gr 20P</c:v>
                </c:pt>
                <c:pt idx="9">
                  <c:v>Apericube Campagne Fromage Fondu Cube Assortis 1X125Gr 24P</c:v>
                </c:pt>
                <c:pt idx="10">
                  <c:v>Apericube Best Of Des Saveurs Fromage Fondu Cube Assortis 1X125Gr 24P</c:v>
                </c:pt>
                <c:pt idx="11">
                  <c:v>Apericube Edition Voyage Fromage Fondu Cube Assortis 1X250Gr 48P</c:v>
                </c:pt>
                <c:pt idx="12">
                  <c:v>Boursin Aperitif Roules Aperitif 100G</c:v>
                </c:pt>
                <c:pt idx="13">
                  <c:v>Apericube Incontournable Fromage Fondu Cube Assortis 1X250Gr 48P</c:v>
                </c:pt>
                <c:pt idx="14">
                  <c:v>Apericube Hot Chalenge Aperitif 250G</c:v>
                </c:pt>
                <c:pt idx="15">
                  <c:v>Apericube Jambon Fromage Fondu Cube 1X78Gr 15P</c:v>
                </c:pt>
                <c:pt idx="16">
                  <c:v>Apericube Fromages Du Monde Aperitif 250G</c:v>
                </c:pt>
                <c:pt idx="17">
                  <c:v>Apericube Montagne Aperitif 250G</c:v>
                </c:pt>
                <c:pt idx="18">
                  <c:v>Apericube Long Drink Fromage Fondu Cube Assortis 1X125Gr 24P</c:v>
                </c:pt>
                <c:pt idx="19">
                  <c:v>Apericube Sucre Sale Fromage Fondu Cube Assortis 1X250Gr 48P</c:v>
                </c:pt>
                <c:pt idx="20">
                  <c:v>Apericube Selection Du Fromager Fromage Fondu Cube Assortis 1X250Gr 48P</c:v>
                </c:pt>
                <c:pt idx="21">
                  <c:v>Apericube Charcut' Fromages Fromage Fondu Cube Assortis 1X250Gr 48P</c:v>
                </c:pt>
                <c:pt idx="22">
                  <c:v>Apericube Carrement Toque Fromage Fondu Cube Assortis 1X250Gr 48P</c:v>
                </c:pt>
                <c:pt idx="23">
                  <c:v>Apericube Nature Fromage Fondu Cube 1X250Gr 48P</c:v>
                </c:pt>
                <c:pt idx="24">
                  <c:v>Apericube P'Tits Plaisirs Fromage Fondu Cube 3 Fromages &amp; Jambon Cru Olive Verte 1X78Gr 15P</c:v>
                </c:pt>
              </c:strCache>
            </c:strRef>
          </c:cat>
          <c:val>
            <c:numRef>
              <c:f>Sheet1!$B$2:$B$26</c:f>
              <c:numCache>
                <c:formatCode>General</c:formatCode>
                <c:ptCount val="25"/>
                <c:pt idx="0">
                  <c:v>0.95</c:v>
                </c:pt>
                <c:pt idx="1">
                  <c:v>0.95</c:v>
                </c:pt>
                <c:pt idx="2">
                  <c:v>0.94</c:v>
                </c:pt>
                <c:pt idx="3">
                  <c:v>0.83</c:v>
                </c:pt>
                <c:pt idx="4">
                  <c:v>0.94</c:v>
                </c:pt>
                <c:pt idx="5">
                  <c:v>0.83</c:v>
                </c:pt>
                <c:pt idx="6">
                  <c:v>0.93</c:v>
                </c:pt>
                <c:pt idx="7">
                  <c:v>0.74</c:v>
                </c:pt>
                <c:pt idx="8">
                  <c:v>0.79</c:v>
                </c:pt>
                <c:pt idx="9">
                  <c:v>0.66</c:v>
                </c:pt>
                <c:pt idx="10">
                  <c:v>0.7</c:v>
                </c:pt>
                <c:pt idx="11">
                  <c:v>0.33</c:v>
                </c:pt>
                <c:pt idx="12">
                  <c:v>0.28999999999999998</c:v>
                </c:pt>
                <c:pt idx="13">
                  <c:v>0.09</c:v>
                </c:pt>
                <c:pt idx="14">
                  <c:v>0.09</c:v>
                </c:pt>
                <c:pt idx="15">
                  <c:v>0.03</c:v>
                </c:pt>
                <c:pt idx="16">
                  <c:v>7.0000000000000007E-2</c:v>
                </c:pt>
                <c:pt idx="17">
                  <c:v>0.06</c:v>
                </c:pt>
                <c:pt idx="18">
                  <c:v>0.55000000000000004</c:v>
                </c:pt>
                <c:pt idx="19">
                  <c:v>0.08</c:v>
                </c:pt>
                <c:pt idx="20">
                  <c:v>0.11</c:v>
                </c:pt>
                <c:pt idx="21">
                  <c:v>0.09</c:v>
                </c:pt>
                <c:pt idx="22">
                  <c:v>0.09</c:v>
                </c:pt>
                <c:pt idx="23">
                  <c:v>0.03</c:v>
                </c:pt>
                <c:pt idx="2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6</c:f>
              <c:strCache>
                <c:ptCount val="2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Soiree Match Aperitif 250G</c:v>
                </c:pt>
                <c:pt idx="6">
                  <c:v>Apericube Nature Fromage Fondu Cube 1X125Gr 24P</c:v>
                </c:pt>
                <c:pt idx="7">
                  <c:v>Apericube Edition Limitee Saison Fromage Fondu Cube Assortis 1X250Gr 48P</c:v>
                </c:pt>
                <c:pt idx="8">
                  <c:v>Boursin Aperitif Roules Fromage Frais Roule Ciboulette &amp; Echalote Jambon Fume Boite 1X100Gr 20P</c:v>
                </c:pt>
                <c:pt idx="9">
                  <c:v>Apericube Campagne Fromage Fondu Cube Assortis 1X125Gr 24P</c:v>
                </c:pt>
                <c:pt idx="10">
                  <c:v>Apericube Best Of Des Saveurs Fromage Fondu Cube Assortis 1X125Gr 24P</c:v>
                </c:pt>
                <c:pt idx="11">
                  <c:v>Apericube Edition Voyage Fromage Fondu Cube Assortis 1X250Gr 48P</c:v>
                </c:pt>
                <c:pt idx="12">
                  <c:v>Boursin Aperitif Roules Aperitif 100G</c:v>
                </c:pt>
                <c:pt idx="13">
                  <c:v>Apericube Incontournable Fromage Fondu Cube Assortis 1X250Gr 48P</c:v>
                </c:pt>
                <c:pt idx="14">
                  <c:v>Apericube Hot Chalenge Aperitif 250G</c:v>
                </c:pt>
                <c:pt idx="15">
                  <c:v>Apericube Jambon Fromage Fondu Cube 1X78Gr 15P</c:v>
                </c:pt>
                <c:pt idx="16">
                  <c:v>Apericube Fromages Du Monde Aperitif 250G</c:v>
                </c:pt>
                <c:pt idx="17">
                  <c:v>Apericube Montagne Aperitif 250G</c:v>
                </c:pt>
                <c:pt idx="18">
                  <c:v>Apericube Long Drink Fromage Fondu Cube Assortis 1X125Gr 24P</c:v>
                </c:pt>
                <c:pt idx="19">
                  <c:v>Apericube Sucre Sale Fromage Fondu Cube Assortis 1X250Gr 48P</c:v>
                </c:pt>
                <c:pt idx="20">
                  <c:v>Apericube Selection Du Fromager Fromage Fondu Cube Assortis 1X250Gr 48P</c:v>
                </c:pt>
                <c:pt idx="21">
                  <c:v>Apericube Charcut' Fromages Fromage Fondu Cube Assortis 1X250Gr 48P</c:v>
                </c:pt>
                <c:pt idx="22">
                  <c:v>Apericube Carrement Toque Fromage Fondu Cube Assortis 1X250Gr 48P</c:v>
                </c:pt>
                <c:pt idx="23">
                  <c:v>Apericube Nature Fromage Fondu Cube 1X250Gr 48P</c:v>
                </c:pt>
                <c:pt idx="24">
                  <c:v>Apericube P'Tits Plaisirs Fromage Fondu Cube 3 Fromages &amp; Jambon Cru Olive Verte 1X78Gr 15P</c:v>
                </c:pt>
              </c:strCache>
            </c:strRef>
          </c:cat>
          <c:val>
            <c:numRef>
              <c:f>Sheet1!$C$2:$C$26</c:f>
              <c:numCache>
                <c:formatCode>General</c:formatCode>
                <c:ptCount val="25"/>
                <c:pt idx="0">
                  <c:v>0.17525269582978745</c:v>
                </c:pt>
                <c:pt idx="1">
                  <c:v>0.33820176474576247</c:v>
                </c:pt>
                <c:pt idx="2">
                  <c:v>0.47483040875568483</c:v>
                </c:pt>
                <c:pt idx="3">
                  <c:v>0.55535471216466004</c:v>
                </c:pt>
                <c:pt idx="4">
                  <c:v>0.63472709841013142</c:v>
                </c:pt>
                <c:pt idx="5">
                  <c:v>0.70418203820303393</c:v>
                </c:pt>
                <c:pt idx="6">
                  <c:v>0.77113718463520198</c:v>
                </c:pt>
                <c:pt idx="7">
                  <c:v>0.83619124982547888</c:v>
                </c:pt>
                <c:pt idx="8">
                  <c:v>0.87740858572991032</c:v>
                </c:pt>
                <c:pt idx="9">
                  <c:v>0.91848661426439371</c:v>
                </c:pt>
                <c:pt idx="10">
                  <c:v>0.94324277219189634</c:v>
                </c:pt>
                <c:pt idx="11">
                  <c:v>0.96543815108782038</c:v>
                </c:pt>
                <c:pt idx="12">
                  <c:v>0.9719682614471189</c:v>
                </c:pt>
                <c:pt idx="13">
                  <c:v>0.97795352520395384</c:v>
                </c:pt>
                <c:pt idx="14">
                  <c:v>0.98151081628856074</c:v>
                </c:pt>
                <c:pt idx="15">
                  <c:v>0.98467309358638166</c:v>
                </c:pt>
                <c:pt idx="16">
                  <c:v>0.98742642636042166</c:v>
                </c:pt>
                <c:pt idx="17">
                  <c:v>0.98973707126996013</c:v>
                </c:pt>
                <c:pt idx="18">
                  <c:v>0.99194586701346987</c:v>
                </c:pt>
                <c:pt idx="19">
                  <c:v>0.99393022310539669</c:v>
                </c:pt>
                <c:pt idx="20">
                  <c:v>0.99580591944876395</c:v>
                </c:pt>
                <c:pt idx="21">
                  <c:v>0.99762527370028553</c:v>
                </c:pt>
                <c:pt idx="22">
                  <c:v>0.99916910893124322</c:v>
                </c:pt>
                <c:pt idx="23">
                  <c:v>0.99979258680474403</c:v>
                </c:pt>
                <c:pt idx="24">
                  <c:v>0.9999507780626183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6</c:f>
              <c:strCache>
                <c:ptCount val="2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Soiree Match Aperitif 250G</c:v>
                </c:pt>
                <c:pt idx="6">
                  <c:v>Apericube Nature Fromage Fondu Cube 1X125Gr 24P</c:v>
                </c:pt>
                <c:pt idx="7">
                  <c:v>Apericube Edition Limitee Saison Fromage Fondu Cube Assortis 1X250Gr 48P</c:v>
                </c:pt>
                <c:pt idx="8">
                  <c:v>Boursin Aperitif Roules Fromage Frais Roule Ciboulette &amp; Echalote Jambon Fume Boite 1X100Gr 20P</c:v>
                </c:pt>
                <c:pt idx="9">
                  <c:v>Apericube Campagne Fromage Fondu Cube Assortis 1X125Gr 24P</c:v>
                </c:pt>
                <c:pt idx="10">
                  <c:v>Apericube Best Of Des Saveurs Fromage Fondu Cube Assortis 1X125Gr 24P</c:v>
                </c:pt>
                <c:pt idx="11">
                  <c:v>Apericube Edition Voyage Fromage Fondu Cube Assortis 1X250Gr 48P</c:v>
                </c:pt>
                <c:pt idx="12">
                  <c:v>Boursin Aperitif Roules Aperitif 100G</c:v>
                </c:pt>
                <c:pt idx="13">
                  <c:v>Apericube Incontournable Fromage Fondu Cube Assortis 1X250Gr 48P</c:v>
                </c:pt>
                <c:pt idx="14">
                  <c:v>Apericube Hot Chalenge Aperitif 250G</c:v>
                </c:pt>
                <c:pt idx="15">
                  <c:v>Apericube Jambon Fromage Fondu Cube 1X78Gr 15P</c:v>
                </c:pt>
                <c:pt idx="16">
                  <c:v>Apericube Fromages Du Monde Aperitif 250G</c:v>
                </c:pt>
                <c:pt idx="17">
                  <c:v>Apericube Montagne Aperitif 250G</c:v>
                </c:pt>
                <c:pt idx="18">
                  <c:v>Apericube Long Drink Fromage Fondu Cube Assortis 1X125Gr 24P</c:v>
                </c:pt>
                <c:pt idx="19">
                  <c:v>Apericube Sucre Sale Fromage Fondu Cube Assortis 1X250Gr 48P</c:v>
                </c:pt>
                <c:pt idx="20">
                  <c:v>Apericube Selection Du Fromager Fromage Fondu Cube Assortis 1X250Gr 48P</c:v>
                </c:pt>
                <c:pt idx="21">
                  <c:v>Apericube Charcut' Fromages Fromage Fondu Cube Assortis 1X250Gr 48P</c:v>
                </c:pt>
                <c:pt idx="22">
                  <c:v>Apericube Carrement Toque Fromage Fondu Cube Assortis 1X250Gr 48P</c:v>
                </c:pt>
                <c:pt idx="23">
                  <c:v>Apericube Nature Fromage Fondu Cube 1X250Gr 48P</c:v>
                </c:pt>
                <c:pt idx="24">
                  <c:v>Apericube P'Tits Plaisirs Fromage Fondu Cube 3 Fromages &amp; Jambon Cru Olive Verte 1X78Gr 15P</c:v>
                </c:pt>
              </c:strCache>
            </c:strRef>
          </c:cat>
          <c:val>
            <c:numRef>
              <c:f>Sheet1!$D$2:$D$26</c:f>
              <c:numCache>
                <c:formatCode>General</c:formatCode>
                <c:ptCount val="25"/>
                <c:pt idx="0">
                  <c:v>5959.0842105263155</c:v>
                </c:pt>
                <c:pt idx="1">
                  <c:v>5540.726315789474</c:v>
                </c:pt>
                <c:pt idx="2">
                  <c:v>4695.1808510638302</c:v>
                </c:pt>
                <c:pt idx="3">
                  <c:v>3133.9156626506024</c:v>
                </c:pt>
                <c:pt idx="4">
                  <c:v>2727.5957446808511</c:v>
                </c:pt>
                <c:pt idx="5">
                  <c:v>2703.1084337349398</c:v>
                </c:pt>
                <c:pt idx="6">
                  <c:v>2325.6236559139784</c:v>
                </c:pt>
                <c:pt idx="7">
                  <c:v>2839.7567567567567</c:v>
                </c:pt>
                <c:pt idx="8">
                  <c:v>1685.3544303797469</c:v>
                </c:pt>
                <c:pt idx="9">
                  <c:v>2010.5</c:v>
                </c:pt>
                <c:pt idx="10">
                  <c:v>1142.4142857142858</c:v>
                </c:pt>
                <c:pt idx="11">
                  <c:v>2172.6363636363635</c:v>
                </c:pt>
                <c:pt idx="12">
                  <c:v>727.37931034482767</c:v>
                </c:pt>
                <c:pt idx="13">
                  <c:v>2148.2222222222222</c:v>
                </c:pt>
                <c:pt idx="14">
                  <c:v>1276.7777777777778</c:v>
                </c:pt>
                <c:pt idx="15">
                  <c:v>3405</c:v>
                </c:pt>
                <c:pt idx="16">
                  <c:v>1270.5714285714284</c:v>
                </c:pt>
                <c:pt idx="17">
                  <c:v>1244</c:v>
                </c:pt>
                <c:pt idx="18">
                  <c:v>129.72727272727272</c:v>
                </c:pt>
                <c:pt idx="19">
                  <c:v>801.25</c:v>
                </c:pt>
                <c:pt idx="20">
                  <c:v>550.81818181818187</c:v>
                </c:pt>
                <c:pt idx="21">
                  <c:v>653</c:v>
                </c:pt>
                <c:pt idx="22">
                  <c:v>554.11111111111109</c:v>
                </c:pt>
                <c:pt idx="23">
                  <c:v>671.33333333333337</c:v>
                </c:pt>
                <c:pt idx="24">
                  <c:v>2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Boursin Aperitif Roules Fromage Frais Roule Afh Et Jambon Fume Boite 1X100Gr 20P</c:v>
                </c:pt>
                <c:pt idx="1">
                  <c:v>Apericube Edition Limitee Best Of Foot Fromage Fondu Cube Assortis 1X250Gr 48P</c:v>
                </c:pt>
                <c:pt idx="2">
                  <c:v>Apericube Vertical Soiree Apero Fromage Fondu Cube Assortis 1X125Gr 24P</c:v>
                </c:pt>
                <c:pt idx="3">
                  <c:v>Apericube Cocktail Fromage Fondu Cube Assortis 1X250Gr 48P</c:v>
                </c:pt>
                <c:pt idx="4">
                  <c:v>Apericube Vertical Nature Fromage Fondu Cube 1X125Gr 24P</c:v>
                </c:pt>
                <c:pt idx="5">
                  <c:v>Apericube Best Of Des Saveurs Fromage Fondu Cube Assortis 1X125Gr 24P</c:v>
                </c:pt>
                <c:pt idx="6">
                  <c:v>Boursin Aperitif Roules Fromage Frais Roule Ciboulette &amp; Echalote Jambon Fume Boite 1X100Gr 20P</c:v>
                </c:pt>
                <c:pt idx="7">
                  <c:v>Apericube Nature Fromage Fondu Cube 1X125Gr 24P</c:v>
                </c:pt>
                <c:pt idx="8">
                  <c:v>Apericube Long Drink Fromage Fondu Cube Assortis 1X125Gr 24P</c:v>
                </c:pt>
                <c:pt idx="9">
                  <c:v>Apericube Soiree Match Aperitif 250G</c:v>
                </c:pt>
              </c:strCache>
            </c:strRef>
          </c:cat>
          <c:val>
            <c:numRef>
              <c:f>Sheet1!$B$2:$B$11</c:f>
              <c:numCache>
                <c:formatCode>General</c:formatCode>
                <c:ptCount val="10"/>
                <c:pt idx="0">
                  <c:v>0.56000000000000005</c:v>
                </c:pt>
                <c:pt idx="1">
                  <c:v>0.43</c:v>
                </c:pt>
                <c:pt idx="2">
                  <c:v>0.56000000000000005</c:v>
                </c:pt>
                <c:pt idx="3">
                  <c:v>0.33</c:v>
                </c:pt>
                <c:pt idx="4">
                  <c:v>0.28000000000000003</c:v>
                </c:pt>
                <c:pt idx="5">
                  <c:v>0.19</c:v>
                </c:pt>
                <c:pt idx="6">
                  <c:v>7.0000000000000007E-2</c:v>
                </c:pt>
                <c:pt idx="7">
                  <c:v>0.18</c:v>
                </c:pt>
                <c:pt idx="8">
                  <c:v>0.22</c:v>
                </c:pt>
                <c:pt idx="9">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Boursin Aperitif Roules Fromage Frais Roule Afh Et Jambon Fume Boite 1X100Gr 20P</c:v>
                </c:pt>
                <c:pt idx="1">
                  <c:v>Apericube Edition Limitee Best Of Foot Fromage Fondu Cube Assortis 1X250Gr 48P</c:v>
                </c:pt>
                <c:pt idx="2">
                  <c:v>Apericube Vertical Soiree Apero Fromage Fondu Cube Assortis 1X125Gr 24P</c:v>
                </c:pt>
                <c:pt idx="3">
                  <c:v>Apericube Cocktail Fromage Fondu Cube Assortis 1X250Gr 48P</c:v>
                </c:pt>
                <c:pt idx="4">
                  <c:v>Apericube Vertical Nature Fromage Fondu Cube 1X125Gr 24P</c:v>
                </c:pt>
                <c:pt idx="5">
                  <c:v>Apericube Best Of Des Saveurs Fromage Fondu Cube Assortis 1X125Gr 24P</c:v>
                </c:pt>
                <c:pt idx="6">
                  <c:v>Boursin Aperitif Roules Fromage Frais Roule Ciboulette &amp; Echalote Jambon Fume Boite 1X100Gr 20P</c:v>
                </c:pt>
                <c:pt idx="7">
                  <c:v>Apericube Nature Fromage Fondu Cube 1X125Gr 24P</c:v>
                </c:pt>
                <c:pt idx="8">
                  <c:v>Apericube Long Drink Fromage Fondu Cube Assortis 1X125Gr 24P</c:v>
                </c:pt>
                <c:pt idx="9">
                  <c:v>Apericube Soiree Match Aperitif 250G</c:v>
                </c:pt>
              </c:strCache>
            </c:strRef>
          </c:cat>
          <c:val>
            <c:numRef>
              <c:f>Sheet1!$C$2:$C$11</c:f>
              <c:numCache>
                <c:formatCode>General</c:formatCode>
                <c:ptCount val="10"/>
                <c:pt idx="0">
                  <c:v>0.28771467458831956</c:v>
                </c:pt>
                <c:pt idx="1">
                  <c:v>0.52814907359066554</c:v>
                </c:pt>
                <c:pt idx="2">
                  <c:v>0.70079725690731809</c:v>
                </c:pt>
                <c:pt idx="3">
                  <c:v>0.85295431902587393</c:v>
                </c:pt>
                <c:pt idx="4">
                  <c:v>0.90044319915007909</c:v>
                </c:pt>
                <c:pt idx="5">
                  <c:v>0.94295520815997125</c:v>
                </c:pt>
                <c:pt idx="6">
                  <c:v>0.96577517674389979</c:v>
                </c:pt>
                <c:pt idx="7">
                  <c:v>0.98197451604887054</c:v>
                </c:pt>
                <c:pt idx="8">
                  <c:v>0.99268744200679859</c:v>
                </c:pt>
                <c:pt idx="9">
                  <c:v>0.9992009192278669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Boursin Aperitif Roules Fromage Frais Roule Afh Et Jambon Fume Boite 1X100Gr 20P</c:v>
                </c:pt>
                <c:pt idx="1">
                  <c:v>Apericube Edition Limitee Best Of Foot Fromage Fondu Cube Assortis 1X250Gr 48P</c:v>
                </c:pt>
                <c:pt idx="2">
                  <c:v>Apericube Vertical Soiree Apero Fromage Fondu Cube Assortis 1X125Gr 24P</c:v>
                </c:pt>
                <c:pt idx="3">
                  <c:v>Apericube Cocktail Fromage Fondu Cube Assortis 1X250Gr 48P</c:v>
                </c:pt>
                <c:pt idx="4">
                  <c:v>Apericube Vertical Nature Fromage Fondu Cube 1X125Gr 24P</c:v>
                </c:pt>
                <c:pt idx="5">
                  <c:v>Apericube Best Of Des Saveurs Fromage Fondu Cube Assortis 1X125Gr 24P</c:v>
                </c:pt>
                <c:pt idx="6">
                  <c:v>Boursin Aperitif Roules Fromage Frais Roule Ciboulette &amp; Echalote Jambon Fume Boite 1X100Gr 20P</c:v>
                </c:pt>
                <c:pt idx="7">
                  <c:v>Apericube Nature Fromage Fondu Cube 1X125Gr 24P</c:v>
                </c:pt>
                <c:pt idx="8">
                  <c:v>Apericube Long Drink Fromage Fondu Cube Assortis 1X125Gr 24P</c:v>
                </c:pt>
                <c:pt idx="9">
                  <c:v>Apericube Soiree Match Aperitif 250G</c:v>
                </c:pt>
              </c:strCache>
            </c:strRef>
          </c:cat>
          <c:val>
            <c:numRef>
              <c:f>Sheet1!$D$2:$D$11</c:f>
              <c:numCache>
                <c:formatCode>General</c:formatCode>
                <c:ptCount val="10"/>
                <c:pt idx="0">
                  <c:v>4507.1428571428569</c:v>
                </c:pt>
                <c:pt idx="1">
                  <c:v>4905.1860465116279</c:v>
                </c:pt>
                <c:pt idx="2">
                  <c:v>2704.5892857142853</c:v>
                </c:pt>
                <c:pt idx="3">
                  <c:v>4044.878787878788</c:v>
                </c:pt>
                <c:pt idx="4">
                  <c:v>1487.8571428571427</c:v>
                </c:pt>
                <c:pt idx="5">
                  <c:v>1962.8421052631579</c:v>
                </c:pt>
                <c:pt idx="6">
                  <c:v>2859.8571428571427</c:v>
                </c:pt>
                <c:pt idx="7">
                  <c:v>789.5</c:v>
                </c:pt>
                <c:pt idx="8">
                  <c:v>427.18181818181819</c:v>
                </c:pt>
                <c:pt idx="9">
                  <c:v>571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Apericube Soiree Match Aperitif 250G</c:v>
                </c:pt>
                <c:pt idx="12">
                  <c:v>Boursin Aperitif Roules Fromage Frais Roule Basilic &amp; Jambon Fume Tomate Boite 1X100Gr 20P</c:v>
                </c:pt>
                <c:pt idx="13">
                  <c:v>Apericube Hot Chalenge Aperitif 250G</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B$2:$B$21</c:f>
              <c:numCache>
                <c:formatCode>General</c:formatCode>
                <c:ptCount val="20"/>
                <c:pt idx="0">
                  <c:v>0.97</c:v>
                </c:pt>
                <c:pt idx="1">
                  <c:v>0.96</c:v>
                </c:pt>
                <c:pt idx="2">
                  <c:v>0.94</c:v>
                </c:pt>
                <c:pt idx="3">
                  <c:v>0.94</c:v>
                </c:pt>
                <c:pt idx="4">
                  <c:v>0.97</c:v>
                </c:pt>
                <c:pt idx="5">
                  <c:v>0.91</c:v>
                </c:pt>
                <c:pt idx="6">
                  <c:v>0.88</c:v>
                </c:pt>
                <c:pt idx="7">
                  <c:v>0.93</c:v>
                </c:pt>
                <c:pt idx="8">
                  <c:v>0.91</c:v>
                </c:pt>
                <c:pt idx="9">
                  <c:v>0.93</c:v>
                </c:pt>
                <c:pt idx="10">
                  <c:v>0.9</c:v>
                </c:pt>
                <c:pt idx="11">
                  <c:v>0.8</c:v>
                </c:pt>
                <c:pt idx="12">
                  <c:v>0.85</c:v>
                </c:pt>
                <c:pt idx="13">
                  <c:v>0.5</c:v>
                </c:pt>
                <c:pt idx="14">
                  <c:v>0.24</c:v>
                </c:pt>
                <c:pt idx="15">
                  <c:v>0.23</c:v>
                </c:pt>
                <c:pt idx="16">
                  <c:v>0.7</c:v>
                </c:pt>
                <c:pt idx="17">
                  <c:v>0.27</c:v>
                </c:pt>
                <c:pt idx="18">
                  <c:v>0.28999999999999998</c:v>
                </c:pt>
                <c:pt idx="19">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Apericube Soiree Match Aperitif 250G</c:v>
                </c:pt>
                <c:pt idx="12">
                  <c:v>Boursin Aperitif Roules Fromage Frais Roule Basilic &amp; Jambon Fume Tomate Boite 1X100Gr 20P</c:v>
                </c:pt>
                <c:pt idx="13">
                  <c:v>Apericube Hot Chalenge Aperitif 250G</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C$2:$C$21</c:f>
              <c:numCache>
                <c:formatCode>General</c:formatCode>
                <c:ptCount val="20"/>
                <c:pt idx="0">
                  <c:v>0.13893935752354286</c:v>
                </c:pt>
                <c:pt idx="1">
                  <c:v>0.26544765072007215</c:v>
                </c:pt>
                <c:pt idx="2">
                  <c:v>0.36269440695479266</c:v>
                </c:pt>
                <c:pt idx="3">
                  <c:v>0.45092889366216665</c:v>
                </c:pt>
                <c:pt idx="4">
                  <c:v>0.533677845959456</c:v>
                </c:pt>
                <c:pt idx="5">
                  <c:v>0.59904840712398633</c:v>
                </c:pt>
                <c:pt idx="6">
                  <c:v>0.66266372426589848</c:v>
                </c:pt>
                <c:pt idx="7">
                  <c:v>0.72265407686657845</c:v>
                </c:pt>
                <c:pt idx="8">
                  <c:v>0.77677027256424169</c:v>
                </c:pt>
                <c:pt idx="9">
                  <c:v>0.82979623370460687</c:v>
                </c:pt>
                <c:pt idx="10">
                  <c:v>0.88147854331366682</c:v>
                </c:pt>
                <c:pt idx="11">
                  <c:v>0.9298565346190556</c:v>
                </c:pt>
                <c:pt idx="12">
                  <c:v>0.95401443673735631</c:v>
                </c:pt>
                <c:pt idx="13">
                  <c:v>0.9740580946741163</c:v>
                </c:pt>
                <c:pt idx="14">
                  <c:v>0.98300761688881255</c:v>
                </c:pt>
                <c:pt idx="15">
                  <c:v>0.99095747730405415</c:v>
                </c:pt>
                <c:pt idx="16">
                  <c:v>0.99818761110336096</c:v>
                </c:pt>
                <c:pt idx="17">
                  <c:v>0.99936804492259379</c:v>
                </c:pt>
                <c:pt idx="18">
                  <c:v>0.99991316220124282</c:v>
                </c:pt>
                <c:pt idx="19">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1</c:f>
              <c:strCache>
                <c:ptCount val="20"/>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Apericube Soiree Match Aperitif 250G</c:v>
                </c:pt>
                <c:pt idx="12">
                  <c:v>Boursin Aperitif Roules Fromage Frais Roule Basilic &amp; Jambon Fume Tomate Boite 1X100Gr 20P</c:v>
                </c:pt>
                <c:pt idx="13">
                  <c:v>Apericube Hot Chalenge Aperitif 250G</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D$2:$D$21</c:f>
              <c:numCache>
                <c:formatCode>General</c:formatCode>
                <c:ptCount val="20"/>
                <c:pt idx="0">
                  <c:v>7670.0412371134016</c:v>
                </c:pt>
                <c:pt idx="1">
                  <c:v>7056.541666666667</c:v>
                </c:pt>
                <c:pt idx="2">
                  <c:v>5539.7659574468089</c:v>
                </c:pt>
                <c:pt idx="3">
                  <c:v>5026.3723404255315</c:v>
                </c:pt>
                <c:pt idx="4">
                  <c:v>4568.0927835051543</c:v>
                </c:pt>
                <c:pt idx="5">
                  <c:v>3846.6703296703295</c:v>
                </c:pt>
                <c:pt idx="6">
                  <c:v>3871</c:v>
                </c:pt>
                <c:pt idx="7">
                  <c:v>3454.1612903225805</c:v>
                </c:pt>
                <c:pt idx="8">
                  <c:v>3184.4175824175823</c:v>
                </c:pt>
                <c:pt idx="9">
                  <c:v>3053.1612903225805</c:v>
                </c:pt>
                <c:pt idx="10">
                  <c:v>3074.9888888888891</c:v>
                </c:pt>
                <c:pt idx="11">
                  <c:v>3238.1875</c:v>
                </c:pt>
                <c:pt idx="12">
                  <c:v>1521.8941176470589</c:v>
                </c:pt>
                <c:pt idx="13">
                  <c:v>2146.6</c:v>
                </c:pt>
                <c:pt idx="14">
                  <c:v>1996.7916666666667</c:v>
                </c:pt>
                <c:pt idx="15">
                  <c:v>1850.8695652173913</c:v>
                </c:pt>
                <c:pt idx="16">
                  <c:v>553.08571428571429</c:v>
                </c:pt>
                <c:pt idx="17">
                  <c:v>234.11111111111111</c:v>
                </c:pt>
                <c:pt idx="18">
                  <c:v>100.65517241379311</c:v>
                </c:pt>
                <c:pt idx="19">
                  <c:v>116.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Incontournable Fromage Fondu Cube Assortis 1X250Gr 48P</c:v>
                </c:pt>
                <c:pt idx="6">
                  <c:v>Apericube Nature Fromage Fondu Cube 1X125Gr 24P</c:v>
                </c:pt>
                <c:pt idx="7">
                  <c:v>Apericube Edition Voyage Fromage Fondu Cube Assortis 1X250Gr 48P</c:v>
                </c:pt>
                <c:pt idx="8">
                  <c:v>Apericube Soiree Match Aperitif 250G</c:v>
                </c:pt>
                <c:pt idx="9">
                  <c:v>Boursin Aperitif Roules Fromage Frais Roule Ciboulette &amp; Echalote Jambon Fume Boite 1X100Gr 20P</c:v>
                </c:pt>
                <c:pt idx="10">
                  <c:v>Apericube Campagne Fromage Fondu Cube Assortis 1X125Gr 24P</c:v>
                </c:pt>
                <c:pt idx="11">
                  <c:v>Apericube Edition Limitee Saison Fromage Fondu Cube Assortis 1X250Gr 48P</c:v>
                </c:pt>
                <c:pt idx="12">
                  <c:v>Apericube Hot Chalenge Aperitif 250G</c:v>
                </c:pt>
                <c:pt idx="13">
                  <c:v>Boursin Aperitif Roules Fromage Frais Roule Basilic &amp; Jambon Fume Tomate Boite 1X100Gr 20P</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B$2:$B$21</c:f>
              <c:numCache>
                <c:formatCode>General</c:formatCode>
                <c:ptCount val="20"/>
                <c:pt idx="0">
                  <c:v>0.99</c:v>
                </c:pt>
                <c:pt idx="1">
                  <c:v>0.99</c:v>
                </c:pt>
                <c:pt idx="2">
                  <c:v>0.98</c:v>
                </c:pt>
                <c:pt idx="3">
                  <c:v>0.99</c:v>
                </c:pt>
                <c:pt idx="4">
                  <c:v>0.97</c:v>
                </c:pt>
                <c:pt idx="5">
                  <c:v>0.99</c:v>
                </c:pt>
                <c:pt idx="6">
                  <c:v>0.99</c:v>
                </c:pt>
                <c:pt idx="7">
                  <c:v>0.96</c:v>
                </c:pt>
                <c:pt idx="8">
                  <c:v>0.96</c:v>
                </c:pt>
                <c:pt idx="9">
                  <c:v>0.99</c:v>
                </c:pt>
                <c:pt idx="10">
                  <c:v>0.97</c:v>
                </c:pt>
                <c:pt idx="11">
                  <c:v>0.96</c:v>
                </c:pt>
                <c:pt idx="12">
                  <c:v>0.8</c:v>
                </c:pt>
                <c:pt idx="13">
                  <c:v>0.95</c:v>
                </c:pt>
                <c:pt idx="14">
                  <c:v>0.7</c:v>
                </c:pt>
                <c:pt idx="15">
                  <c:v>0.68</c:v>
                </c:pt>
                <c:pt idx="16">
                  <c:v>0.86</c:v>
                </c:pt>
                <c:pt idx="17">
                  <c:v>0.37</c:v>
                </c:pt>
                <c:pt idx="18">
                  <c:v>0.52</c:v>
                </c:pt>
                <c:pt idx="19">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Incontournable Fromage Fondu Cube Assortis 1X250Gr 48P</c:v>
                </c:pt>
                <c:pt idx="6">
                  <c:v>Apericube Nature Fromage Fondu Cube 1X125Gr 24P</c:v>
                </c:pt>
                <c:pt idx="7">
                  <c:v>Apericube Edition Voyage Fromage Fondu Cube Assortis 1X250Gr 48P</c:v>
                </c:pt>
                <c:pt idx="8">
                  <c:v>Apericube Soiree Match Aperitif 250G</c:v>
                </c:pt>
                <c:pt idx="9">
                  <c:v>Boursin Aperitif Roules Fromage Frais Roule Ciboulette &amp; Echalote Jambon Fume Boite 1X100Gr 20P</c:v>
                </c:pt>
                <c:pt idx="10">
                  <c:v>Apericube Campagne Fromage Fondu Cube Assortis 1X125Gr 24P</c:v>
                </c:pt>
                <c:pt idx="11">
                  <c:v>Apericube Edition Limitee Saison Fromage Fondu Cube Assortis 1X250Gr 48P</c:v>
                </c:pt>
                <c:pt idx="12">
                  <c:v>Apericube Hot Chalenge Aperitif 250G</c:v>
                </c:pt>
                <c:pt idx="13">
                  <c:v>Boursin Aperitif Roules Fromage Frais Roule Basilic &amp; Jambon Fume Tomate Boite 1X100Gr 20P</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C$2:$C$21</c:f>
              <c:numCache>
                <c:formatCode>General</c:formatCode>
                <c:ptCount val="20"/>
                <c:pt idx="0">
                  <c:v>0.12723088184979192</c:v>
                </c:pt>
                <c:pt idx="1">
                  <c:v>0.24364352835398118</c:v>
                </c:pt>
                <c:pt idx="2">
                  <c:v>0.33888119733607047</c:v>
                </c:pt>
                <c:pt idx="3">
                  <c:v>0.42470102403742871</c:v>
                </c:pt>
                <c:pt idx="4">
                  <c:v>0.50962272933425634</c:v>
                </c:pt>
                <c:pt idx="5">
                  <c:v>0.57785509114490097</c:v>
                </c:pt>
                <c:pt idx="6">
                  <c:v>0.64151926733981024</c:v>
                </c:pt>
                <c:pt idx="7">
                  <c:v>0.70047501969302761</c:v>
                </c:pt>
                <c:pt idx="8">
                  <c:v>0.75622319560149287</c:v>
                </c:pt>
                <c:pt idx="9">
                  <c:v>0.80683726000366029</c:v>
                </c:pt>
                <c:pt idx="10">
                  <c:v>0.85483453878531834</c:v>
                </c:pt>
                <c:pt idx="11">
                  <c:v>0.90089732572665304</c:v>
                </c:pt>
                <c:pt idx="12">
                  <c:v>0.92601787092513488</c:v>
                </c:pt>
                <c:pt idx="13">
                  <c:v>0.94991903977593728</c:v>
                </c:pt>
                <c:pt idx="14">
                  <c:v>0.97281367611136327</c:v>
                </c:pt>
                <c:pt idx="15">
                  <c:v>0.99111924028676246</c:v>
                </c:pt>
                <c:pt idx="16">
                  <c:v>0.99823458970870249</c:v>
                </c:pt>
                <c:pt idx="17">
                  <c:v>0.99924311141877342</c:v>
                </c:pt>
                <c:pt idx="18">
                  <c:v>0.99993236738038993</c:v>
                </c:pt>
                <c:pt idx="1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1</c:f>
              <c:strCache>
                <c:ptCount val="20"/>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Incontournable Fromage Fondu Cube Assortis 1X250Gr 48P</c:v>
                </c:pt>
                <c:pt idx="6">
                  <c:v>Apericube Nature Fromage Fondu Cube 1X125Gr 24P</c:v>
                </c:pt>
                <c:pt idx="7">
                  <c:v>Apericube Edition Voyage Fromage Fondu Cube Assortis 1X250Gr 48P</c:v>
                </c:pt>
                <c:pt idx="8">
                  <c:v>Apericube Soiree Match Aperitif 250G</c:v>
                </c:pt>
                <c:pt idx="9">
                  <c:v>Boursin Aperitif Roules Fromage Frais Roule Ciboulette &amp; Echalote Jambon Fume Boite 1X100Gr 20P</c:v>
                </c:pt>
                <c:pt idx="10">
                  <c:v>Apericube Campagne Fromage Fondu Cube Assortis 1X125Gr 24P</c:v>
                </c:pt>
                <c:pt idx="11">
                  <c:v>Apericube Edition Limitee Saison Fromage Fondu Cube Assortis 1X250Gr 48P</c:v>
                </c:pt>
                <c:pt idx="12">
                  <c:v>Apericube Hot Chalenge Aperitif 250G</c:v>
                </c:pt>
                <c:pt idx="13">
                  <c:v>Boursin Aperitif Roules Fromage Frais Roule Basilic &amp; Jambon Fume Tomate Boite 1X100Gr 20P</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D$2:$D$21</c:f>
              <c:numCache>
                <c:formatCode>General</c:formatCode>
                <c:ptCount val="20"/>
                <c:pt idx="0">
                  <c:v>1292.1414141414141</c:v>
                </c:pt>
                <c:pt idx="1">
                  <c:v>1182.2727272727273</c:v>
                </c:pt>
                <c:pt idx="2">
                  <c:v>977.09183673469386</c:v>
                </c:pt>
                <c:pt idx="3">
                  <c:v>871.57575757575762</c:v>
                </c:pt>
                <c:pt idx="4">
                  <c:v>880.23711340206182</c:v>
                </c:pt>
                <c:pt idx="5">
                  <c:v>692.95959595959596</c:v>
                </c:pt>
                <c:pt idx="6">
                  <c:v>646.56565656565658</c:v>
                </c:pt>
                <c:pt idx="7">
                  <c:v>617.45833333333337</c:v>
                </c:pt>
                <c:pt idx="8">
                  <c:v>583.86458333333337</c:v>
                </c:pt>
                <c:pt idx="9">
                  <c:v>514.030303030303</c:v>
                </c:pt>
                <c:pt idx="10">
                  <c:v>497.50515463917526</c:v>
                </c:pt>
                <c:pt idx="11">
                  <c:v>482.42708333333331</c:v>
                </c:pt>
                <c:pt idx="12">
                  <c:v>315.71249999999998</c:v>
                </c:pt>
                <c:pt idx="13">
                  <c:v>252.95789473684209</c:v>
                </c:pt>
                <c:pt idx="14">
                  <c:v>328.84285714285716</c:v>
                </c:pt>
                <c:pt idx="15">
                  <c:v>270.66176470588238</c:v>
                </c:pt>
                <c:pt idx="16">
                  <c:v>83.186046511627907</c:v>
                </c:pt>
                <c:pt idx="17">
                  <c:v>27.405405405405407</c:v>
                </c:pt>
                <c:pt idx="18">
                  <c:v>13.326923076923077</c:v>
                </c:pt>
                <c:pt idx="19">
                  <c:v>1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Apericube Edition Limitee Best Of Foot Fromage Fondu Cube Assortis 1X250Gr 48P</c:v>
                </c:pt>
                <c:pt idx="1">
                  <c:v>Apericube Cocktail Fromage Fondu Cube Assortis 1X250Gr 48P</c:v>
                </c:pt>
                <c:pt idx="2">
                  <c:v>Boursin Aperitif Roules Fromage Frais Roule Afh Et Jambon Fume Boite 1X100Gr 20P</c:v>
                </c:pt>
                <c:pt idx="3">
                  <c:v>Apericube Long Drink Fromage Fondu Cube Assortis 1X250Gr 48P</c:v>
                </c:pt>
                <c:pt idx="4">
                  <c:v>Apericube Tonic Fromage Fondu Cube Assortis 1X250Gr 48P</c:v>
                </c:pt>
                <c:pt idx="5">
                  <c:v>Apericube Campagne Fromage Fondu Cube Assortis 1X125Gr 24P</c:v>
                </c:pt>
                <c:pt idx="6">
                  <c:v>Apericube Nature Fromage Fondu Cube 1X125Gr 24P</c:v>
                </c:pt>
                <c:pt idx="7">
                  <c:v>Apericube Edition Voyage Fromage Fondu Cube Assortis 1X250Gr 48P</c:v>
                </c:pt>
                <c:pt idx="8">
                  <c:v>Boursin Aperitif Roules Fromage Frais Roule Ciboulette &amp; Echalote Jambon Fume Boite 1X100Gr 20P</c:v>
                </c:pt>
                <c:pt idx="9">
                  <c:v>Apericube Incontournable Fromage Fondu Cube Assortis 1X250Gr 48P</c:v>
                </c:pt>
                <c:pt idx="10">
                  <c:v>Apericube Edition Limitee Saison Fromage Fondu Cube Assortis 1X250Gr 48P</c:v>
                </c:pt>
                <c:pt idx="11">
                  <c:v>Apericube Soiree Match Aperitif 250G</c:v>
                </c:pt>
                <c:pt idx="12">
                  <c:v>Boursin Aperitif Roules Fromage Frais Roule Basilic &amp; Jambon Fume Tomate Boite 1X100Gr 20P</c:v>
                </c:pt>
                <c:pt idx="13">
                  <c:v>Apericube Hot Chalenge Aperitif 250G</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B$2:$B$21</c:f>
              <c:numCache>
                <c:formatCode>General</c:formatCode>
                <c:ptCount val="20"/>
                <c:pt idx="0">
                  <c:v>0.75</c:v>
                </c:pt>
                <c:pt idx="1">
                  <c:v>0.68</c:v>
                </c:pt>
                <c:pt idx="2">
                  <c:v>0.76</c:v>
                </c:pt>
                <c:pt idx="3">
                  <c:v>0.54</c:v>
                </c:pt>
                <c:pt idx="4">
                  <c:v>0.55000000000000004</c:v>
                </c:pt>
                <c:pt idx="5">
                  <c:v>0.7</c:v>
                </c:pt>
                <c:pt idx="6">
                  <c:v>0.69</c:v>
                </c:pt>
                <c:pt idx="7">
                  <c:v>0.44</c:v>
                </c:pt>
                <c:pt idx="8">
                  <c:v>0.5</c:v>
                </c:pt>
                <c:pt idx="9">
                  <c:v>0.33</c:v>
                </c:pt>
                <c:pt idx="10">
                  <c:v>0.38</c:v>
                </c:pt>
                <c:pt idx="11">
                  <c:v>0.33</c:v>
                </c:pt>
                <c:pt idx="12">
                  <c:v>0.32</c:v>
                </c:pt>
                <c:pt idx="13">
                  <c:v>0.16</c:v>
                </c:pt>
                <c:pt idx="14">
                  <c:v>0.09</c:v>
                </c:pt>
                <c:pt idx="15">
                  <c:v>7.0000000000000007E-2</c:v>
                </c:pt>
                <c:pt idx="16">
                  <c:v>0.17</c:v>
                </c:pt>
                <c:pt idx="17">
                  <c:v>0.06</c:v>
                </c:pt>
                <c:pt idx="18">
                  <c:v>0.05</c:v>
                </c:pt>
                <c:pt idx="19">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Apericube Edition Limitee Best Of Foot Fromage Fondu Cube Assortis 1X250Gr 48P</c:v>
                </c:pt>
                <c:pt idx="1">
                  <c:v>Apericube Cocktail Fromage Fondu Cube Assortis 1X250Gr 48P</c:v>
                </c:pt>
                <c:pt idx="2">
                  <c:v>Boursin Aperitif Roules Fromage Frais Roule Afh Et Jambon Fume Boite 1X100Gr 20P</c:v>
                </c:pt>
                <c:pt idx="3">
                  <c:v>Apericube Long Drink Fromage Fondu Cube Assortis 1X250Gr 48P</c:v>
                </c:pt>
                <c:pt idx="4">
                  <c:v>Apericube Tonic Fromage Fondu Cube Assortis 1X250Gr 48P</c:v>
                </c:pt>
                <c:pt idx="5">
                  <c:v>Apericube Campagne Fromage Fondu Cube Assortis 1X125Gr 24P</c:v>
                </c:pt>
                <c:pt idx="6">
                  <c:v>Apericube Nature Fromage Fondu Cube 1X125Gr 24P</c:v>
                </c:pt>
                <c:pt idx="7">
                  <c:v>Apericube Edition Voyage Fromage Fondu Cube Assortis 1X250Gr 48P</c:v>
                </c:pt>
                <c:pt idx="8">
                  <c:v>Boursin Aperitif Roules Fromage Frais Roule Ciboulette &amp; Echalote Jambon Fume Boite 1X100Gr 20P</c:v>
                </c:pt>
                <c:pt idx="9">
                  <c:v>Apericube Incontournable Fromage Fondu Cube Assortis 1X250Gr 48P</c:v>
                </c:pt>
                <c:pt idx="10">
                  <c:v>Apericube Edition Limitee Saison Fromage Fondu Cube Assortis 1X250Gr 48P</c:v>
                </c:pt>
                <c:pt idx="11">
                  <c:v>Apericube Soiree Match Aperitif 250G</c:v>
                </c:pt>
                <c:pt idx="12">
                  <c:v>Boursin Aperitif Roules Fromage Frais Roule Basilic &amp; Jambon Fume Tomate Boite 1X100Gr 20P</c:v>
                </c:pt>
                <c:pt idx="13">
                  <c:v>Apericube Hot Chalenge Aperitif 250G</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C$2:$C$21</c:f>
              <c:numCache>
                <c:formatCode>General</c:formatCode>
                <c:ptCount val="20"/>
                <c:pt idx="0">
                  <c:v>0.16722575264725376</c:v>
                </c:pt>
                <c:pt idx="1">
                  <c:v>0.30278616359663768</c:v>
                </c:pt>
                <c:pt idx="2">
                  <c:v>0.42137906368495009</c:v>
                </c:pt>
                <c:pt idx="3">
                  <c:v>0.50891514719019038</c:v>
                </c:pt>
                <c:pt idx="4">
                  <c:v>0.59280855528679499</c:v>
                </c:pt>
                <c:pt idx="5">
                  <c:v>0.67202021862832673</c:v>
                </c:pt>
                <c:pt idx="6">
                  <c:v>0.73401858798442576</c:v>
                </c:pt>
                <c:pt idx="7">
                  <c:v>0.7916233721105651</c:v>
                </c:pt>
                <c:pt idx="8">
                  <c:v>0.83707121438899157</c:v>
                </c:pt>
                <c:pt idx="9">
                  <c:v>0.88011546721676881</c:v>
                </c:pt>
                <c:pt idx="10">
                  <c:v>0.92167485096219848</c:v>
                </c:pt>
                <c:pt idx="11">
                  <c:v>0.95271641204099988</c:v>
                </c:pt>
                <c:pt idx="12">
                  <c:v>0.97246720490345795</c:v>
                </c:pt>
                <c:pt idx="13">
                  <c:v>0.9849699381813064</c:v>
                </c:pt>
                <c:pt idx="14">
                  <c:v>0.98990085617280066</c:v>
                </c:pt>
                <c:pt idx="15">
                  <c:v>0.99440462004471541</c:v>
                </c:pt>
                <c:pt idx="16">
                  <c:v>0.99850496058147187</c:v>
                </c:pt>
                <c:pt idx="17">
                  <c:v>0.999672854186195</c:v>
                </c:pt>
                <c:pt idx="18">
                  <c:v>0.9998762609098043</c:v>
                </c:pt>
                <c:pt idx="19">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1</c:f>
              <c:strCache>
                <c:ptCount val="20"/>
                <c:pt idx="0">
                  <c:v>Apericube Edition Limitee Best Of Foot Fromage Fondu Cube Assortis 1X250Gr 48P</c:v>
                </c:pt>
                <c:pt idx="1">
                  <c:v>Apericube Cocktail Fromage Fondu Cube Assortis 1X250Gr 48P</c:v>
                </c:pt>
                <c:pt idx="2">
                  <c:v>Boursin Aperitif Roules Fromage Frais Roule Afh Et Jambon Fume Boite 1X100Gr 20P</c:v>
                </c:pt>
                <c:pt idx="3">
                  <c:v>Apericube Long Drink Fromage Fondu Cube Assortis 1X250Gr 48P</c:v>
                </c:pt>
                <c:pt idx="4">
                  <c:v>Apericube Tonic Fromage Fondu Cube Assortis 1X250Gr 48P</c:v>
                </c:pt>
                <c:pt idx="5">
                  <c:v>Apericube Campagne Fromage Fondu Cube Assortis 1X125Gr 24P</c:v>
                </c:pt>
                <c:pt idx="6">
                  <c:v>Apericube Nature Fromage Fondu Cube 1X125Gr 24P</c:v>
                </c:pt>
                <c:pt idx="7">
                  <c:v>Apericube Edition Voyage Fromage Fondu Cube Assortis 1X250Gr 48P</c:v>
                </c:pt>
                <c:pt idx="8">
                  <c:v>Boursin Aperitif Roules Fromage Frais Roule Ciboulette &amp; Echalote Jambon Fume Boite 1X100Gr 20P</c:v>
                </c:pt>
                <c:pt idx="9">
                  <c:v>Apericube Incontournable Fromage Fondu Cube Assortis 1X250Gr 48P</c:v>
                </c:pt>
                <c:pt idx="10">
                  <c:v>Apericube Edition Limitee Saison Fromage Fondu Cube Assortis 1X250Gr 48P</c:v>
                </c:pt>
                <c:pt idx="11">
                  <c:v>Apericube Soiree Match Aperitif 250G</c:v>
                </c:pt>
                <c:pt idx="12">
                  <c:v>Boursin Aperitif Roules Fromage Frais Roule Basilic &amp; Jambon Fume Tomate Boite 1X100Gr 20P</c:v>
                </c:pt>
                <c:pt idx="13">
                  <c:v>Apericube Hot Chalenge Aperitif 250G</c:v>
                </c:pt>
                <c:pt idx="14">
                  <c:v>Apericube Fromages Du Monde Aperitif 250G</c:v>
                </c:pt>
                <c:pt idx="15">
                  <c:v>Apericube Montagne Aperitif 250G</c:v>
                </c:pt>
                <c:pt idx="16">
                  <c:v>Boursin Aperitif Roules Aperitif 100G</c:v>
                </c:pt>
                <c:pt idx="17">
                  <c:v>Apericube Saveurs De L'Authentique Fromage Fondu Cube Assortis 1X250Gr 48P</c:v>
                </c:pt>
                <c:pt idx="18">
                  <c:v>Boursin Aperitif Roules Fromage Frais Roule Jambon Fume &amp; Trio De Noix Boite 1X100Gr 20P</c:v>
                </c:pt>
                <c:pt idx="19">
                  <c:v>Apericube Long Drink Fromage Fondu Cube Assortis 1X125Gr 24P</c:v>
                </c:pt>
              </c:strCache>
            </c:strRef>
          </c:cat>
          <c:val>
            <c:numRef>
              <c:f>Sheet1!$D$2:$D$21</c:f>
              <c:numCache>
                <c:formatCode>General</c:formatCode>
                <c:ptCount val="20"/>
                <c:pt idx="0">
                  <c:v>1315.4</c:v>
                </c:pt>
                <c:pt idx="1">
                  <c:v>1176.0882352941176</c:v>
                </c:pt>
                <c:pt idx="2">
                  <c:v>920.57894736842104</c:v>
                </c:pt>
                <c:pt idx="3">
                  <c:v>956.33333333333337</c:v>
                </c:pt>
                <c:pt idx="4">
                  <c:v>899.87272727272716</c:v>
                </c:pt>
                <c:pt idx="5">
                  <c:v>667.58571428571429</c:v>
                </c:pt>
                <c:pt idx="6">
                  <c:v>530.08695652173913</c:v>
                </c:pt>
                <c:pt idx="7">
                  <c:v>772.36363636363637</c:v>
                </c:pt>
                <c:pt idx="8">
                  <c:v>536.24</c:v>
                </c:pt>
                <c:pt idx="9">
                  <c:v>769.5151515151515</c:v>
                </c:pt>
                <c:pt idx="10">
                  <c:v>645.21052631578948</c:v>
                </c:pt>
                <c:pt idx="11">
                  <c:v>554.93939393939399</c:v>
                </c:pt>
                <c:pt idx="12">
                  <c:v>364.125</c:v>
                </c:pt>
                <c:pt idx="13">
                  <c:v>461</c:v>
                </c:pt>
                <c:pt idx="14">
                  <c:v>323.22222222222223</c:v>
                </c:pt>
                <c:pt idx="15">
                  <c:v>379.5714285714285</c:v>
                </c:pt>
                <c:pt idx="16">
                  <c:v>142.29411764705881</c:v>
                </c:pt>
                <c:pt idx="17">
                  <c:v>114.83333333333333</c:v>
                </c:pt>
                <c:pt idx="18">
                  <c:v>24</c:v>
                </c:pt>
                <c:pt idx="19">
                  <c:v>24.3333333333333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8429999999999999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0.9997293032149563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2059.062870699881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St Moret</c:v>
                </c:pt>
                <c:pt idx="3">
                  <c:v>President</c:v>
                </c:pt>
                <c:pt idx="4">
                  <c:v>Caprice Des Dieux</c:v>
                </c:pt>
                <c:pt idx="5">
                  <c:v>Galbani</c:v>
                </c:pt>
                <c:pt idx="6">
                  <c:v>La Vache Qui Rit</c:v>
                </c:pt>
                <c:pt idx="7">
                  <c:v>Kiri</c:v>
                </c:pt>
                <c:pt idx="8">
                  <c:v>Boursin</c:v>
                </c:pt>
                <c:pt idx="9">
                  <c:v>Others</c:v>
                </c:pt>
              </c:strCache>
            </c:strRef>
          </c:cat>
          <c:val>
            <c:numRef>
              <c:f>Sheet1!$B$2:$B$11</c:f>
              <c:numCache>
                <c:formatCode>General</c:formatCode>
                <c:ptCount val="10"/>
                <c:pt idx="0">
                  <c:v>0.46467741448676525</c:v>
                </c:pt>
                <c:pt idx="1">
                  <c:v>4.589874280968087E-2</c:v>
                </c:pt>
                <c:pt idx="2">
                  <c:v>3.8631488917981481E-2</c:v>
                </c:pt>
                <c:pt idx="3">
                  <c:v>3.4845171611516082E-2</c:v>
                </c:pt>
                <c:pt idx="4">
                  <c:v>3.3212914264300154E-2</c:v>
                </c:pt>
                <c:pt idx="5">
                  <c:v>2.978308989007496E-2</c:v>
                </c:pt>
                <c:pt idx="6">
                  <c:v>2.6084393516767515E-2</c:v>
                </c:pt>
                <c:pt idx="7">
                  <c:v>2.1217281977337788E-2</c:v>
                </c:pt>
                <c:pt idx="8">
                  <c:v>1.8251980070954361E-2</c:v>
                </c:pt>
                <c:pt idx="9">
                  <c:v>0.2873975224546215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St Moret</c:v>
                </c:pt>
                <c:pt idx="3">
                  <c:v>President</c:v>
                </c:pt>
                <c:pt idx="4">
                  <c:v>Caprice Des Dieux</c:v>
                </c:pt>
                <c:pt idx="5">
                  <c:v>Galbani</c:v>
                </c:pt>
                <c:pt idx="6">
                  <c:v>La Vache Qui Rit</c:v>
                </c:pt>
                <c:pt idx="7">
                  <c:v>Kiri</c:v>
                </c:pt>
                <c:pt idx="8">
                  <c:v>Boursin</c:v>
                </c:pt>
                <c:pt idx="9">
                  <c:v>Others</c:v>
                </c:pt>
              </c:strCache>
            </c:strRef>
          </c:cat>
          <c:val>
            <c:numRef>
              <c:f>Sheet1!$C$2:$C$11</c:f>
              <c:numCache>
                <c:formatCode>General</c:formatCode>
                <c:ptCount val="10"/>
                <c:pt idx="0">
                  <c:v>0</c:v>
                </c:pt>
                <c:pt idx="1">
                  <c:v>8.5942561001943418E-2</c:v>
                </c:pt>
                <c:pt idx="2">
                  <c:v>5.7438998056575243E-2</c:v>
                </c:pt>
                <c:pt idx="3">
                  <c:v>8.5294752753185044E-2</c:v>
                </c:pt>
                <c:pt idx="4">
                  <c:v>4.2755344418052246E-2</c:v>
                </c:pt>
                <c:pt idx="5">
                  <c:v>3.3470092852515648E-2</c:v>
                </c:pt>
                <c:pt idx="6">
                  <c:v>4.4050960915568982E-2</c:v>
                </c:pt>
                <c:pt idx="7">
                  <c:v>5.0744979486072116E-2</c:v>
                </c:pt>
                <c:pt idx="8">
                  <c:v>5.1608723817749939E-2</c:v>
                </c:pt>
                <c:pt idx="9">
                  <c:v>0.5486935866983371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St Moret</c:v>
                </c:pt>
                <c:pt idx="3">
                  <c:v>President</c:v>
                </c:pt>
                <c:pt idx="4">
                  <c:v>Caprice Des Dieux</c:v>
                </c:pt>
                <c:pt idx="5">
                  <c:v>Galbani</c:v>
                </c:pt>
                <c:pt idx="6">
                  <c:v>La Vache Qui Rit</c:v>
                </c:pt>
                <c:pt idx="7">
                  <c:v>Kiri</c:v>
                </c:pt>
                <c:pt idx="8">
                  <c:v>Boursin</c:v>
                </c:pt>
                <c:pt idx="9">
                  <c:v>Others</c:v>
                </c:pt>
              </c:strCache>
            </c:strRef>
          </c:cat>
          <c:val>
            <c:numRef>
              <c:f>Sheet1!$D$2:$D$11</c:f>
              <c:numCache>
                <c:formatCode>General</c:formatCode>
                <c:ptCount val="10"/>
                <c:pt idx="0">
                  <c:v>1</c:v>
                </c:pt>
                <c:pt idx="1">
                  <c:v>187.24382355809664</c:v>
                </c:pt>
                <c:pt idx="2">
                  <c:v>148.68440141803487</c:v>
                </c:pt>
                <c:pt idx="3">
                  <c:v>244.78212850871924</c:v>
                </c:pt>
                <c:pt idx="4">
                  <c:v>128.73108357133552</c:v>
                </c:pt>
                <c:pt idx="5">
                  <c:v>112.37951796153078</c:v>
                </c:pt>
                <c:pt idx="6">
                  <c:v>168.87860891706083</c:v>
                </c:pt>
                <c:pt idx="7">
                  <c:v>239.16814387569957</c:v>
                </c:pt>
                <c:pt idx="8">
                  <c:v>282.75684948768094</c:v>
                </c:pt>
                <c:pt idx="9">
                  <c:v>190.917994703650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8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0.9996291269490562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1490.36470588235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9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199.6458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413.9104477611940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4</c:f>
              <c:strCache>
                <c:ptCount val="33"/>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Mini Babybel Rouge Filet Soft Cheese Enfant 352G</c:v>
                </c:pt>
                <c:pt idx="9">
                  <c:v>Mini Babybel Rouge Filet Soft Cheese Enfant 484G</c:v>
                </c:pt>
                <c:pt idx="10">
                  <c:v>Kiri Creme Fromage Blanc Frais Carre 1X216Gr 12P</c:v>
                </c:pt>
                <c:pt idx="11">
                  <c:v>La Vache Qui Rit Nature Fromage Fondu Boite Ronde 1X512Gr 24+8P</c:v>
                </c:pt>
                <c:pt idx="12">
                  <c:v>La Vache Qui Rit Pik Et Croq' Fromage Fondu Dips Boite 1X175Gr 5P</c:v>
                </c:pt>
                <c:pt idx="13">
                  <c:v>Kiri Gouter Fromage Blanc Dips Boite 1X280Gr 8P</c:v>
                </c:pt>
                <c:pt idx="14">
                  <c:v>Kiri Creme Fromage Blanc Frais Carre 1X432Gr 18+6P</c:v>
                </c:pt>
                <c:pt idx="15">
                  <c:v>La Vache Qui Rit Nature Fromage Fondu Boite Ronde 1X128Gr 8P</c:v>
                </c:pt>
                <c:pt idx="16">
                  <c:v>Mini Babybel Aros Soft Cheese Enfant 180G</c:v>
                </c:pt>
                <c:pt idx="17">
                  <c:v>Mini Babybel Rouge Filet St Paulin Ferme 1X396Gr 12+6P</c:v>
                </c:pt>
                <c:pt idx="18">
                  <c:v>Mini Babybel Aros Soft Cheese Enfant 110G</c:v>
                </c:pt>
                <c:pt idx="19">
                  <c:v>Babybel Mini Rolls St Paulin Ferme Sachet 1X85Gr 5P</c:v>
                </c:pt>
                <c:pt idx="20">
                  <c:v>La Vache Qui Rit Pik Et Croq' Fromage Fondu Dips Boite 1X280Gr 8P</c:v>
                </c:pt>
                <c:pt idx="21">
                  <c:v>La Vache Qui Rit Allegee Fromage Fondu Boite Ronde Allege 1X267Gr 16P</c:v>
                </c:pt>
                <c:pt idx="22">
                  <c:v>Kiri Bio Fromage Blanc Frais Carre 1X144Gr 8P</c:v>
                </c:pt>
                <c:pt idx="23">
                  <c:v>Mini Babybel Aros Soft Cheese Enfant 120G</c:v>
                </c:pt>
                <c:pt idx="24">
                  <c:v>Mini Babybel Rouge Filet St Paulin Ferme Sachet 1X40Gr 1P</c:v>
                </c:pt>
                <c:pt idx="25">
                  <c:v>La Vache Qui Rit Pik Et Croq' Fromage Fondu Dips Boite 1X35Gr 1P</c:v>
                </c:pt>
                <c:pt idx="26">
                  <c:v>La Vache Qui Rit Aro Fromage Fondu Boite Ronde Jambon 1X133Gr 8P</c:v>
                </c:pt>
                <c:pt idx="27">
                  <c:v>La Vache Qui Rit Bio Fromage Fondu Boite Ronde 1X128Gr 8P</c:v>
                </c:pt>
                <c:pt idx="28">
                  <c:v>Kiri Chevre Fromage Blanc Frais Carre 1X144Gr 8P</c:v>
                </c:pt>
                <c:pt idx="29">
                  <c:v>Mini Babybel Aros St Paulin Ferme Raclette Filet 1X132Gr 6P</c:v>
                </c:pt>
                <c:pt idx="30">
                  <c:v>Mini Babybel Rouge Filet St Paulin Ferme 1X110Gr 5P</c:v>
                </c:pt>
                <c:pt idx="31">
                  <c:v>Mini Babybel Aros St Paulin Ferme Assortis Filet 1X180Gr 9P</c:v>
                </c:pt>
                <c:pt idx="32">
                  <c:v>Mini Babybel Aros St Paulin Ferme Emmental Filet 1X120Gr 6P</c:v>
                </c:pt>
              </c:strCache>
            </c:strRef>
          </c:cat>
          <c:val>
            <c:numRef>
              <c:f>Sheet1!$B$2:$B$34</c:f>
              <c:numCache>
                <c:formatCode>General</c:formatCode>
                <c:ptCount val="33"/>
                <c:pt idx="0">
                  <c:v>0.98899999999999999</c:v>
                </c:pt>
                <c:pt idx="1">
                  <c:v>0.86199999999999999</c:v>
                </c:pt>
                <c:pt idx="2">
                  <c:v>0.86399999999999999</c:v>
                </c:pt>
                <c:pt idx="3">
                  <c:v>0.80400000000000005</c:v>
                </c:pt>
                <c:pt idx="4">
                  <c:v>0.97799999999999998</c:v>
                </c:pt>
                <c:pt idx="5">
                  <c:v>0.76200000000000001</c:v>
                </c:pt>
                <c:pt idx="6">
                  <c:v>0.98899999999999999</c:v>
                </c:pt>
                <c:pt idx="7">
                  <c:v>0.94699999999999995</c:v>
                </c:pt>
                <c:pt idx="8">
                  <c:v>0.80500000000000005</c:v>
                </c:pt>
                <c:pt idx="9">
                  <c:v>0.438</c:v>
                </c:pt>
                <c:pt idx="10">
                  <c:v>0.82399999999999995</c:v>
                </c:pt>
                <c:pt idx="11">
                  <c:v>0.71699999999999997</c:v>
                </c:pt>
                <c:pt idx="12">
                  <c:v>0.90600000000000003</c:v>
                </c:pt>
                <c:pt idx="13">
                  <c:v>0.72</c:v>
                </c:pt>
                <c:pt idx="14">
                  <c:v>0.71199999999999997</c:v>
                </c:pt>
                <c:pt idx="15">
                  <c:v>0.67800000000000005</c:v>
                </c:pt>
                <c:pt idx="16">
                  <c:v>0.69299999999999995</c:v>
                </c:pt>
                <c:pt idx="17">
                  <c:v>0.41099999999999998</c:v>
                </c:pt>
                <c:pt idx="18">
                  <c:v>0.64100000000000001</c:v>
                </c:pt>
                <c:pt idx="19">
                  <c:v>0.59599999999999997</c:v>
                </c:pt>
                <c:pt idx="20">
                  <c:v>0.42</c:v>
                </c:pt>
                <c:pt idx="21">
                  <c:v>0.48199999999999998</c:v>
                </c:pt>
                <c:pt idx="22">
                  <c:v>0.39200000000000002</c:v>
                </c:pt>
                <c:pt idx="23">
                  <c:v>0.307</c:v>
                </c:pt>
                <c:pt idx="24">
                  <c:v>0.124</c:v>
                </c:pt>
                <c:pt idx="25">
                  <c:v>8.0000000000000002E-3</c:v>
                </c:pt>
                <c:pt idx="26">
                  <c:v>2.7E-2</c:v>
                </c:pt>
                <c:pt idx="27">
                  <c:v>0.155</c:v>
                </c:pt>
                <c:pt idx="28">
                  <c:v>7.9000000000000001E-2</c:v>
                </c:pt>
                <c:pt idx="29">
                  <c:v>0.17799999999999999</c:v>
                </c:pt>
                <c:pt idx="30">
                  <c:v>1.7999999999999999E-2</c:v>
                </c:pt>
                <c:pt idx="31">
                  <c:v>3.6999999999999998E-2</c:v>
                </c:pt>
                <c:pt idx="32">
                  <c:v>3.2000000000000001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4</c:f>
              <c:strCache>
                <c:ptCount val="33"/>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Mini Babybel Rouge Filet Soft Cheese Enfant 352G</c:v>
                </c:pt>
                <c:pt idx="9">
                  <c:v>Mini Babybel Rouge Filet Soft Cheese Enfant 484G</c:v>
                </c:pt>
                <c:pt idx="10">
                  <c:v>Kiri Creme Fromage Blanc Frais Carre 1X216Gr 12P</c:v>
                </c:pt>
                <c:pt idx="11">
                  <c:v>La Vache Qui Rit Nature Fromage Fondu Boite Ronde 1X512Gr 24+8P</c:v>
                </c:pt>
                <c:pt idx="12">
                  <c:v>La Vache Qui Rit Pik Et Croq' Fromage Fondu Dips Boite 1X175Gr 5P</c:v>
                </c:pt>
                <c:pt idx="13">
                  <c:v>Kiri Gouter Fromage Blanc Dips Boite 1X280Gr 8P</c:v>
                </c:pt>
                <c:pt idx="14">
                  <c:v>Kiri Creme Fromage Blanc Frais Carre 1X432Gr 18+6P</c:v>
                </c:pt>
                <c:pt idx="15">
                  <c:v>La Vache Qui Rit Nature Fromage Fondu Boite Ronde 1X128Gr 8P</c:v>
                </c:pt>
                <c:pt idx="16">
                  <c:v>Mini Babybel Aros Soft Cheese Enfant 180G</c:v>
                </c:pt>
                <c:pt idx="17">
                  <c:v>Mini Babybel Rouge Filet St Paulin Ferme 1X396Gr 12+6P</c:v>
                </c:pt>
                <c:pt idx="18">
                  <c:v>Mini Babybel Aros Soft Cheese Enfant 110G</c:v>
                </c:pt>
                <c:pt idx="19">
                  <c:v>Babybel Mini Rolls St Paulin Ferme Sachet 1X85Gr 5P</c:v>
                </c:pt>
                <c:pt idx="20">
                  <c:v>La Vache Qui Rit Pik Et Croq' Fromage Fondu Dips Boite 1X280Gr 8P</c:v>
                </c:pt>
                <c:pt idx="21">
                  <c:v>La Vache Qui Rit Allegee Fromage Fondu Boite Ronde Allege 1X267Gr 16P</c:v>
                </c:pt>
                <c:pt idx="22">
                  <c:v>Kiri Bio Fromage Blanc Frais Carre 1X144Gr 8P</c:v>
                </c:pt>
                <c:pt idx="23">
                  <c:v>Mini Babybel Aros Soft Cheese Enfant 120G</c:v>
                </c:pt>
                <c:pt idx="24">
                  <c:v>Mini Babybel Rouge Filet St Paulin Ferme Sachet 1X40Gr 1P</c:v>
                </c:pt>
                <c:pt idx="25">
                  <c:v>La Vache Qui Rit Pik Et Croq' Fromage Fondu Dips Boite 1X35Gr 1P</c:v>
                </c:pt>
                <c:pt idx="26">
                  <c:v>La Vache Qui Rit Aro Fromage Fondu Boite Ronde Jambon 1X133Gr 8P</c:v>
                </c:pt>
                <c:pt idx="27">
                  <c:v>La Vache Qui Rit Bio Fromage Fondu Boite Ronde 1X128Gr 8P</c:v>
                </c:pt>
                <c:pt idx="28">
                  <c:v>Kiri Chevre Fromage Blanc Frais Carre 1X144Gr 8P</c:v>
                </c:pt>
                <c:pt idx="29">
                  <c:v>Mini Babybel Aros St Paulin Ferme Raclette Filet 1X132Gr 6P</c:v>
                </c:pt>
                <c:pt idx="30">
                  <c:v>Mini Babybel Rouge Filet St Paulin Ferme 1X110Gr 5P</c:v>
                </c:pt>
                <c:pt idx="31">
                  <c:v>Mini Babybel Aros St Paulin Ferme Assortis Filet 1X180Gr 9P</c:v>
                </c:pt>
                <c:pt idx="32">
                  <c:v>Mini Babybel Aros St Paulin Ferme Emmental Filet 1X120Gr 6P</c:v>
                </c:pt>
              </c:strCache>
            </c:strRef>
          </c:cat>
          <c:val>
            <c:numRef>
              <c:f>Sheet1!$C$2:$C$34</c:f>
              <c:numCache>
                <c:formatCode>General</c:formatCode>
                <c:ptCount val="33"/>
                <c:pt idx="0">
                  <c:v>0.1048700147829059</c:v>
                </c:pt>
                <c:pt idx="1">
                  <c:v>0.20805556412270276</c:v>
                </c:pt>
                <c:pt idx="2">
                  <c:v>0.30741811203828767</c:v>
                </c:pt>
                <c:pt idx="3">
                  <c:v>0.39344472760626348</c:v>
                </c:pt>
                <c:pt idx="4">
                  <c:v>0.47303492762544452</c:v>
                </c:pt>
                <c:pt idx="5">
                  <c:v>0.54919900224891138</c:v>
                </c:pt>
                <c:pt idx="6">
                  <c:v>0.6111725539867584</c:v>
                </c:pt>
                <c:pt idx="7">
                  <c:v>0.66920559942169655</c:v>
                </c:pt>
                <c:pt idx="8">
                  <c:v>0.72715710439249615</c:v>
                </c:pt>
                <c:pt idx="9">
                  <c:v>0.77414352938393016</c:v>
                </c:pt>
                <c:pt idx="10">
                  <c:v>0.81795954072016708</c:v>
                </c:pt>
                <c:pt idx="11">
                  <c:v>0.85027364641773306</c:v>
                </c:pt>
                <c:pt idx="12">
                  <c:v>0.87832657631870581</c:v>
                </c:pt>
                <c:pt idx="13">
                  <c:v>0.90244206296529295</c:v>
                </c:pt>
                <c:pt idx="14">
                  <c:v>0.92629296559288155</c:v>
                </c:pt>
                <c:pt idx="15">
                  <c:v>0.94494207247130557</c:v>
                </c:pt>
                <c:pt idx="16">
                  <c:v>0.95707074121126878</c:v>
                </c:pt>
                <c:pt idx="17">
                  <c:v>0.96809158979823173</c:v>
                </c:pt>
                <c:pt idx="18">
                  <c:v>0.97517768850106235</c:v>
                </c:pt>
                <c:pt idx="19">
                  <c:v>0.98187187542645027</c:v>
                </c:pt>
                <c:pt idx="20">
                  <c:v>0.98793549684548254</c:v>
                </c:pt>
                <c:pt idx="21">
                  <c:v>0.99283642729400157</c:v>
                </c:pt>
                <c:pt idx="22">
                  <c:v>0.99651789475196284</c:v>
                </c:pt>
                <c:pt idx="23">
                  <c:v>0.99784773311172359</c:v>
                </c:pt>
                <c:pt idx="24">
                  <c:v>0.99858085793242968</c:v>
                </c:pt>
                <c:pt idx="25">
                  <c:v>0.99896891449362746</c:v>
                </c:pt>
                <c:pt idx="26">
                  <c:v>0.99934635600735644</c:v>
                </c:pt>
                <c:pt idx="27">
                  <c:v>0.99957582059069949</c:v>
                </c:pt>
                <c:pt idx="28">
                  <c:v>0.99971339371834245</c:v>
                </c:pt>
                <c:pt idx="29">
                  <c:v>0.99979060366560313</c:v>
                </c:pt>
                <c:pt idx="30">
                  <c:v>0.99990261618143061</c:v>
                </c:pt>
                <c:pt idx="31">
                  <c:v>0.99998790623945111</c:v>
                </c:pt>
                <c:pt idx="32">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4</c:f>
              <c:strCache>
                <c:ptCount val="33"/>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Mini Babybel Rouge Filet Soft Cheese Enfant 352G</c:v>
                </c:pt>
                <c:pt idx="9">
                  <c:v>Mini Babybel Rouge Filet Soft Cheese Enfant 484G</c:v>
                </c:pt>
                <c:pt idx="10">
                  <c:v>Kiri Creme Fromage Blanc Frais Carre 1X216Gr 12P</c:v>
                </c:pt>
                <c:pt idx="11">
                  <c:v>La Vache Qui Rit Nature Fromage Fondu Boite Ronde 1X512Gr 24+8P</c:v>
                </c:pt>
                <c:pt idx="12">
                  <c:v>La Vache Qui Rit Pik Et Croq' Fromage Fondu Dips Boite 1X175Gr 5P</c:v>
                </c:pt>
                <c:pt idx="13">
                  <c:v>Kiri Gouter Fromage Blanc Dips Boite 1X280Gr 8P</c:v>
                </c:pt>
                <c:pt idx="14">
                  <c:v>Kiri Creme Fromage Blanc Frais Carre 1X432Gr 18+6P</c:v>
                </c:pt>
                <c:pt idx="15">
                  <c:v>La Vache Qui Rit Nature Fromage Fondu Boite Ronde 1X128Gr 8P</c:v>
                </c:pt>
                <c:pt idx="16">
                  <c:v>Mini Babybel Aros Soft Cheese Enfant 180G</c:v>
                </c:pt>
                <c:pt idx="17">
                  <c:v>Mini Babybel Rouge Filet St Paulin Ferme 1X396Gr 12+6P</c:v>
                </c:pt>
                <c:pt idx="18">
                  <c:v>Mini Babybel Aros Soft Cheese Enfant 110G</c:v>
                </c:pt>
                <c:pt idx="19">
                  <c:v>Babybel Mini Rolls St Paulin Ferme Sachet 1X85Gr 5P</c:v>
                </c:pt>
                <c:pt idx="20">
                  <c:v>La Vache Qui Rit Pik Et Croq' Fromage Fondu Dips Boite 1X280Gr 8P</c:v>
                </c:pt>
                <c:pt idx="21">
                  <c:v>La Vache Qui Rit Allegee Fromage Fondu Boite Ronde Allege 1X267Gr 16P</c:v>
                </c:pt>
                <c:pt idx="22">
                  <c:v>Kiri Bio Fromage Blanc Frais Carre 1X144Gr 8P</c:v>
                </c:pt>
                <c:pt idx="23">
                  <c:v>Mini Babybel Aros Soft Cheese Enfant 120G</c:v>
                </c:pt>
                <c:pt idx="24">
                  <c:v>Mini Babybel Rouge Filet St Paulin Ferme Sachet 1X40Gr 1P</c:v>
                </c:pt>
                <c:pt idx="25">
                  <c:v>La Vache Qui Rit Pik Et Croq' Fromage Fondu Dips Boite 1X35Gr 1P</c:v>
                </c:pt>
                <c:pt idx="26">
                  <c:v>La Vache Qui Rit Aro Fromage Fondu Boite Ronde Jambon 1X133Gr 8P</c:v>
                </c:pt>
                <c:pt idx="27">
                  <c:v>La Vache Qui Rit Bio Fromage Fondu Boite Ronde 1X128Gr 8P</c:v>
                </c:pt>
                <c:pt idx="28">
                  <c:v>Kiri Chevre Fromage Blanc Frais Carre 1X144Gr 8P</c:v>
                </c:pt>
                <c:pt idx="29">
                  <c:v>Mini Babybel Aros St Paulin Ferme Raclette Filet 1X132Gr 6P</c:v>
                </c:pt>
                <c:pt idx="30">
                  <c:v>Mini Babybel Rouge Filet St Paulin Ferme 1X110Gr 5P</c:v>
                </c:pt>
                <c:pt idx="31">
                  <c:v>Mini Babybel Aros St Paulin Ferme Assortis Filet 1X180Gr 9P</c:v>
                </c:pt>
                <c:pt idx="32">
                  <c:v>Mini Babybel Aros St Paulin Ferme Emmental Filet 1X120Gr 6P</c:v>
                </c:pt>
              </c:strCache>
            </c:strRef>
          </c:cat>
          <c:val>
            <c:numRef>
              <c:f>Sheet1!$D$2:$D$34</c:f>
              <c:numCache>
                <c:formatCode>General</c:formatCode>
                <c:ptCount val="33"/>
                <c:pt idx="0">
                  <c:v>20078.402426693629</c:v>
                </c:pt>
                <c:pt idx="1">
                  <c:v>22666.566125290021</c:v>
                </c:pt>
                <c:pt idx="2">
                  <c:v>21776.25</c:v>
                </c:pt>
                <c:pt idx="3">
                  <c:v>20260.534825870644</c:v>
                </c:pt>
                <c:pt idx="4">
                  <c:v>15409.723926380369</c:v>
                </c:pt>
                <c:pt idx="5">
                  <c:v>18926.456692913383</c:v>
                </c:pt>
                <c:pt idx="6">
                  <c:v>11865.449949443882</c:v>
                </c:pt>
                <c:pt idx="7">
                  <c:v>11603.780359028513</c:v>
                </c:pt>
                <c:pt idx="8">
                  <c:v>13631.478260869566</c:v>
                </c:pt>
                <c:pt idx="9">
                  <c:v>20312.922374429225</c:v>
                </c:pt>
                <c:pt idx="10">
                  <c:v>10068.847087378641</c:v>
                </c:pt>
                <c:pt idx="11">
                  <c:v>8533.8912133891208</c:v>
                </c:pt>
                <c:pt idx="12">
                  <c:v>5863.0573951434872</c:v>
                </c:pt>
                <c:pt idx="13">
                  <c:v>6342.166666666667</c:v>
                </c:pt>
                <c:pt idx="14">
                  <c:v>6343.0617977528091</c:v>
                </c:pt>
                <c:pt idx="15">
                  <c:v>5208.3775811209434</c:v>
                </c:pt>
                <c:pt idx="16">
                  <c:v>3314.0115440115442</c:v>
                </c:pt>
                <c:pt idx="17">
                  <c:v>5077.4695863746965</c:v>
                </c:pt>
                <c:pt idx="18">
                  <c:v>2093.260530421217</c:v>
                </c:pt>
                <c:pt idx="19">
                  <c:v>2126.7953020134232</c:v>
                </c:pt>
                <c:pt idx="20">
                  <c:v>2733.7380952380954</c:v>
                </c:pt>
                <c:pt idx="21">
                  <c:v>1925.3319502074692</c:v>
                </c:pt>
                <c:pt idx="22">
                  <c:v>1778.3163265306121</c:v>
                </c:pt>
                <c:pt idx="23">
                  <c:v>820.228013029316</c:v>
                </c:pt>
                <c:pt idx="24">
                  <c:v>1119.516129032258</c:v>
                </c:pt>
                <c:pt idx="25">
                  <c:v>9185</c:v>
                </c:pt>
                <c:pt idx="26">
                  <c:v>2647.037037037037</c:v>
                </c:pt>
                <c:pt idx="27">
                  <c:v>280.32258064516128</c:v>
                </c:pt>
                <c:pt idx="28">
                  <c:v>329.74683544303798</c:v>
                </c:pt>
                <c:pt idx="29">
                  <c:v>82.13483146067415</c:v>
                </c:pt>
                <c:pt idx="30">
                  <c:v>553.33333333333337</c:v>
                </c:pt>
                <c:pt idx="31">
                  <c:v>175.67567567567568</c:v>
                </c:pt>
                <c:pt idx="32">
                  <c:v>71.56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6</c:f>
              <c:strCache>
                <c:ptCount val="2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La Vache Qui Rit Pik Et Croq' Fromage Fondu Dips Boite 1X280Gr 8P</c:v>
                </c:pt>
                <c:pt idx="12">
                  <c:v>Kiri Creme Fromage Blanc Frais Carre 1X432Gr 18+6P</c:v>
                </c:pt>
                <c:pt idx="13">
                  <c:v>Mini Babybel Aros Soft Cheese Enfant 180G</c:v>
                </c:pt>
                <c:pt idx="14">
                  <c:v>La Vache Qui Rit Allegee Fromage Fondu Boite Ronde Allege 1X267Gr 16P</c:v>
                </c:pt>
                <c:pt idx="15">
                  <c:v>Babybel Mini Rolls St Paulin Ferme Sachet 1X85Gr 5P</c:v>
                </c:pt>
                <c:pt idx="16">
                  <c:v>Kiri Bio Fromage Blanc Frais Carre 1X144Gr 8P</c:v>
                </c:pt>
                <c:pt idx="17">
                  <c:v>La Vache Qui Rit Aro Fromage Fondu Boite Ronde Jambon 1X133Gr 8P</c:v>
                </c:pt>
                <c:pt idx="18">
                  <c:v>Mini Babybel Aros Soft Cheese Enfant 110G</c:v>
                </c:pt>
                <c:pt idx="19">
                  <c:v>Kiri Chevre Fromage Blanc Frais Carre 1X144Gr 8P</c:v>
                </c:pt>
                <c:pt idx="20">
                  <c:v>Mini Babybel Rouge Filet St Paulin Ferme Sachet 1X40Gr 1P</c:v>
                </c:pt>
                <c:pt idx="21">
                  <c:v>Mini Babybel Aros St Paulin Ferme Raclette Filet 1X132Gr 6P</c:v>
                </c:pt>
                <c:pt idx="22">
                  <c:v>La Vache Qui Rit Nature Fromage Fondu Boite Ronde 1X512Gr 24+8P</c:v>
                </c:pt>
                <c:pt idx="23">
                  <c:v>Mini Babybel Aros St Paulin Ferme Assortis Filet 1X180Gr 9P</c:v>
                </c:pt>
                <c:pt idx="24">
                  <c:v>Mini Babybel Rouge Filet St Paulin Ferme 1X396Gr 12+6P</c:v>
                </c:pt>
              </c:strCache>
            </c:strRef>
          </c:cat>
          <c:val>
            <c:numRef>
              <c:f>Sheet1!$B$2:$B$26</c:f>
              <c:numCache>
                <c:formatCode>General</c:formatCode>
                <c:ptCount val="25"/>
                <c:pt idx="0">
                  <c:v>0.97699999999999998</c:v>
                </c:pt>
                <c:pt idx="1">
                  <c:v>0.94199999999999995</c:v>
                </c:pt>
                <c:pt idx="2">
                  <c:v>0.996</c:v>
                </c:pt>
                <c:pt idx="3">
                  <c:v>0.93799999999999994</c:v>
                </c:pt>
                <c:pt idx="4">
                  <c:v>0.98899999999999999</c:v>
                </c:pt>
                <c:pt idx="5">
                  <c:v>0.97299999999999998</c:v>
                </c:pt>
                <c:pt idx="6">
                  <c:v>0.85299999999999998</c:v>
                </c:pt>
                <c:pt idx="7">
                  <c:v>0.92900000000000005</c:v>
                </c:pt>
                <c:pt idx="8">
                  <c:v>0.98199999999999998</c:v>
                </c:pt>
                <c:pt idx="9">
                  <c:v>0.97799999999999998</c:v>
                </c:pt>
                <c:pt idx="10">
                  <c:v>0.93400000000000005</c:v>
                </c:pt>
                <c:pt idx="11">
                  <c:v>0.81100000000000005</c:v>
                </c:pt>
                <c:pt idx="12">
                  <c:v>0.81599999999999995</c:v>
                </c:pt>
                <c:pt idx="13">
                  <c:v>0.70799999999999996</c:v>
                </c:pt>
                <c:pt idx="14">
                  <c:v>0.80600000000000005</c:v>
                </c:pt>
                <c:pt idx="15">
                  <c:v>0.73399999999999999</c:v>
                </c:pt>
                <c:pt idx="16">
                  <c:v>0.6</c:v>
                </c:pt>
                <c:pt idx="17">
                  <c:v>0.625</c:v>
                </c:pt>
                <c:pt idx="18">
                  <c:v>0.58299999999999996</c:v>
                </c:pt>
                <c:pt idx="19">
                  <c:v>0.54300000000000004</c:v>
                </c:pt>
                <c:pt idx="20">
                  <c:v>0.11</c:v>
                </c:pt>
                <c:pt idx="21">
                  <c:v>0.113</c:v>
                </c:pt>
                <c:pt idx="22">
                  <c:v>1E-3</c:v>
                </c:pt>
                <c:pt idx="23">
                  <c:v>1.9E-2</c:v>
                </c:pt>
                <c:pt idx="24">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6</c:f>
              <c:strCache>
                <c:ptCount val="2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La Vache Qui Rit Pik Et Croq' Fromage Fondu Dips Boite 1X280Gr 8P</c:v>
                </c:pt>
                <c:pt idx="12">
                  <c:v>Kiri Creme Fromage Blanc Frais Carre 1X432Gr 18+6P</c:v>
                </c:pt>
                <c:pt idx="13">
                  <c:v>Mini Babybel Aros Soft Cheese Enfant 180G</c:v>
                </c:pt>
                <c:pt idx="14">
                  <c:v>La Vache Qui Rit Allegee Fromage Fondu Boite Ronde Allege 1X267Gr 16P</c:v>
                </c:pt>
                <c:pt idx="15">
                  <c:v>Babybel Mini Rolls St Paulin Ferme Sachet 1X85Gr 5P</c:v>
                </c:pt>
                <c:pt idx="16">
                  <c:v>Kiri Bio Fromage Blanc Frais Carre 1X144Gr 8P</c:v>
                </c:pt>
                <c:pt idx="17">
                  <c:v>La Vache Qui Rit Aro Fromage Fondu Boite Ronde Jambon 1X133Gr 8P</c:v>
                </c:pt>
                <c:pt idx="18">
                  <c:v>Mini Babybel Aros Soft Cheese Enfant 110G</c:v>
                </c:pt>
                <c:pt idx="19">
                  <c:v>Kiri Chevre Fromage Blanc Frais Carre 1X144Gr 8P</c:v>
                </c:pt>
                <c:pt idx="20">
                  <c:v>Mini Babybel Rouge Filet St Paulin Ferme Sachet 1X40Gr 1P</c:v>
                </c:pt>
                <c:pt idx="21">
                  <c:v>Mini Babybel Aros St Paulin Ferme Raclette Filet 1X132Gr 6P</c:v>
                </c:pt>
                <c:pt idx="22">
                  <c:v>La Vache Qui Rit Nature Fromage Fondu Boite Ronde 1X512Gr 24+8P</c:v>
                </c:pt>
                <c:pt idx="23">
                  <c:v>Mini Babybel Aros St Paulin Ferme Assortis Filet 1X180Gr 9P</c:v>
                </c:pt>
                <c:pt idx="24">
                  <c:v>Mini Babybel Rouge Filet St Paulin Ferme 1X396Gr 12+6P</c:v>
                </c:pt>
              </c:strCache>
            </c:strRef>
          </c:cat>
          <c:val>
            <c:numRef>
              <c:f>Sheet1!$C$2:$C$26</c:f>
              <c:numCache>
                <c:formatCode>General</c:formatCode>
                <c:ptCount val="25"/>
                <c:pt idx="0">
                  <c:v>0.19000272938493021</c:v>
                </c:pt>
                <c:pt idx="1">
                  <c:v>0.3016777988858837</c:v>
                </c:pt>
                <c:pt idx="2">
                  <c:v>0.4009602965159893</c:v>
                </c:pt>
                <c:pt idx="3">
                  <c:v>0.49908278882248952</c:v>
                </c:pt>
                <c:pt idx="4">
                  <c:v>0.59258218884627045</c:v>
                </c:pt>
                <c:pt idx="5">
                  <c:v>0.66840883817530949</c:v>
                </c:pt>
                <c:pt idx="6">
                  <c:v>0.72972337660312891</c:v>
                </c:pt>
                <c:pt idx="7">
                  <c:v>0.78272175549970391</c:v>
                </c:pt>
                <c:pt idx="8">
                  <c:v>0.82663781998759567</c:v>
                </c:pt>
                <c:pt idx="9">
                  <c:v>0.8697574848814893</c:v>
                </c:pt>
                <c:pt idx="10">
                  <c:v>0.89427879031036905</c:v>
                </c:pt>
                <c:pt idx="11">
                  <c:v>0.91695322754953767</c:v>
                </c:pt>
                <c:pt idx="12">
                  <c:v>0.93318674459721973</c:v>
                </c:pt>
                <c:pt idx="13">
                  <c:v>0.94822459164446882</c:v>
                </c:pt>
                <c:pt idx="14">
                  <c:v>0.96270324600082213</c:v>
                </c:pt>
                <c:pt idx="15">
                  <c:v>0.97342820984935252</c:v>
                </c:pt>
                <c:pt idx="16">
                  <c:v>0.98165483966653455</c:v>
                </c:pt>
                <c:pt idx="17">
                  <c:v>0.98947196137455273</c:v>
                </c:pt>
                <c:pt idx="18">
                  <c:v>0.99493615119521162</c:v>
                </c:pt>
                <c:pt idx="19">
                  <c:v>0.99928858002996235</c:v>
                </c:pt>
                <c:pt idx="20">
                  <c:v>0.99983291801493757</c:v>
                </c:pt>
                <c:pt idx="21">
                  <c:v>0.99989768988579875</c:v>
                </c:pt>
                <c:pt idx="22">
                  <c:v>0.99995610501313537</c:v>
                </c:pt>
                <c:pt idx="23">
                  <c:v>0.99998313790138738</c:v>
                </c:pt>
                <c:pt idx="24">
                  <c:v>0.9999949815182700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6</c:f>
              <c:strCache>
                <c:ptCount val="2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La Vache Qui Rit Pik Et Croq' Fromage Fondu Dips Boite 1X280Gr 8P</c:v>
                </c:pt>
                <c:pt idx="12">
                  <c:v>Kiri Creme Fromage Blanc Frais Carre 1X432Gr 18+6P</c:v>
                </c:pt>
                <c:pt idx="13">
                  <c:v>Mini Babybel Aros Soft Cheese Enfant 180G</c:v>
                </c:pt>
                <c:pt idx="14">
                  <c:v>La Vache Qui Rit Allegee Fromage Fondu Boite Ronde Allege 1X267Gr 16P</c:v>
                </c:pt>
                <c:pt idx="15">
                  <c:v>Babybel Mini Rolls St Paulin Ferme Sachet 1X85Gr 5P</c:v>
                </c:pt>
                <c:pt idx="16">
                  <c:v>Kiri Bio Fromage Blanc Frais Carre 1X144Gr 8P</c:v>
                </c:pt>
                <c:pt idx="17">
                  <c:v>La Vache Qui Rit Aro Fromage Fondu Boite Ronde Jambon 1X133Gr 8P</c:v>
                </c:pt>
                <c:pt idx="18">
                  <c:v>Mini Babybel Aros Soft Cheese Enfant 110G</c:v>
                </c:pt>
                <c:pt idx="19">
                  <c:v>Kiri Chevre Fromage Blanc Frais Carre 1X144Gr 8P</c:v>
                </c:pt>
                <c:pt idx="20">
                  <c:v>Mini Babybel Rouge Filet St Paulin Ferme Sachet 1X40Gr 1P</c:v>
                </c:pt>
                <c:pt idx="21">
                  <c:v>Mini Babybel Aros St Paulin Ferme Raclette Filet 1X132Gr 6P</c:v>
                </c:pt>
                <c:pt idx="22">
                  <c:v>La Vache Qui Rit Nature Fromage Fondu Boite Ronde 1X512Gr 24+8P</c:v>
                </c:pt>
                <c:pt idx="23">
                  <c:v>Mini Babybel Aros St Paulin Ferme Assortis Filet 1X180Gr 9P</c:v>
                </c:pt>
                <c:pt idx="24">
                  <c:v>Mini Babybel Rouge Filet St Paulin Ferme 1X396Gr 12+6P</c:v>
                </c:pt>
              </c:strCache>
            </c:strRef>
          </c:cat>
          <c:val>
            <c:numRef>
              <c:f>Sheet1!$D$2:$D$26</c:f>
              <c:numCache>
                <c:formatCode>General</c:formatCode>
                <c:ptCount val="25"/>
                <c:pt idx="0">
                  <c:v>29063.92016376663</c:v>
                </c:pt>
                <c:pt idx="1">
                  <c:v>17717.165605095543</c:v>
                </c:pt>
                <c:pt idx="2">
                  <c:v>14897.118473895584</c:v>
                </c:pt>
                <c:pt idx="3">
                  <c:v>15633.443496801707</c:v>
                </c:pt>
                <c:pt idx="4">
                  <c:v>14128.675429726996</c:v>
                </c:pt>
                <c:pt idx="5">
                  <c:v>11646.567317574512</c:v>
                </c:pt>
                <c:pt idx="6">
                  <c:v>10742.450175849941</c:v>
                </c:pt>
                <c:pt idx="7">
                  <c:v>8525.8127018299238</c:v>
                </c:pt>
                <c:pt idx="8">
                  <c:v>6683.4521384928712</c:v>
                </c:pt>
                <c:pt idx="9">
                  <c:v>6589.0899795501027</c:v>
                </c:pt>
                <c:pt idx="10">
                  <c:v>3923.6081370449679</c:v>
                </c:pt>
                <c:pt idx="11">
                  <c:v>4178.3477188655979</c:v>
                </c:pt>
                <c:pt idx="12">
                  <c:v>2973.1127450980393</c:v>
                </c:pt>
                <c:pt idx="13">
                  <c:v>3174.2514124293784</c:v>
                </c:pt>
                <c:pt idx="14">
                  <c:v>2684.6153846153843</c:v>
                </c:pt>
                <c:pt idx="15">
                  <c:v>2183.6784741144411</c:v>
                </c:pt>
                <c:pt idx="16">
                  <c:v>2049.0833333333335</c:v>
                </c:pt>
                <c:pt idx="17">
                  <c:v>1869.2</c:v>
                </c:pt>
                <c:pt idx="18">
                  <c:v>1400.7032590051458</c:v>
                </c:pt>
                <c:pt idx="19">
                  <c:v>1197.9005524861877</c:v>
                </c:pt>
                <c:pt idx="20">
                  <c:v>739.5454545454545</c:v>
                </c:pt>
                <c:pt idx="21">
                  <c:v>85.663716814159287</c:v>
                </c:pt>
                <c:pt idx="22">
                  <c:v>8730</c:v>
                </c:pt>
                <c:pt idx="23">
                  <c:v>212.63157894736844</c:v>
                </c:pt>
                <c:pt idx="24">
                  <c:v>177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3</c:f>
              <c:strCache>
                <c:ptCount val="32"/>
                <c:pt idx="0">
                  <c:v>La Vache Qui Rit Nature Fromage Fondu Boite Ronde 1X384Gr 24P</c:v>
                </c:pt>
                <c:pt idx="1">
                  <c:v>La Vache Qui Rit Nature Fromage Fondu Boite Ronde 1X512Gr 32P</c:v>
                </c:pt>
                <c:pt idx="2">
                  <c:v>Kiri Creme Fromage Blanc Frais Carre 1X432Gr 24P</c:v>
                </c:pt>
                <c:pt idx="3">
                  <c:v>Mini Babybel Rouge Filet Soft Cheese Enfant 484G</c:v>
                </c:pt>
                <c:pt idx="4">
                  <c:v>Mini Babybel Rouge Filet St Paulin Ferme 1X264Gr 12P</c:v>
                </c:pt>
                <c:pt idx="5">
                  <c:v>Mini Babybel Rouge Filet St Paulin Ferme 1X132Gr 6P</c:v>
                </c:pt>
                <c:pt idx="6">
                  <c:v>Kiri Gouter Fromage Blanc Dips Boite 1X175Gr 5P</c:v>
                </c:pt>
                <c:pt idx="7">
                  <c:v>Mini Babybel Rouge Filet Soft Cheese Enfant 352G</c:v>
                </c:pt>
                <c:pt idx="8">
                  <c:v>Kiri Creme Fromage Blanc Frais Carre 1X216Gr 12P</c:v>
                </c:pt>
                <c:pt idx="9">
                  <c:v>La Vache Qui Rit Nature Fromage Fondu Boite Ronde 1X192Gr 12P</c:v>
                </c:pt>
                <c:pt idx="10">
                  <c:v>La Vache Qui Rit Nature Fromage Fondu Boite Ronde 1X512Gr 24+8P</c:v>
                </c:pt>
                <c:pt idx="11">
                  <c:v>Kiri Creme Fromage Blanc Frais Carre 1X432Gr 18+6P</c:v>
                </c:pt>
                <c:pt idx="12">
                  <c:v>Kiri Creme Fromage Blanc Frais Carre 1X144Gr 8P</c:v>
                </c:pt>
                <c:pt idx="13">
                  <c:v>Kiri Gouter Fromage Blanc Dips Boite 1X280Gr 8P</c:v>
                </c:pt>
                <c:pt idx="14">
                  <c:v>La Vache Qui Rit Pik Et Croq' Fromage Fondu Dips Boite 1X175Gr 5P</c:v>
                </c:pt>
                <c:pt idx="15">
                  <c:v>Mini Babybel Rouge Filet St Paulin Ferme 1X396Gr 12+6P</c:v>
                </c:pt>
                <c:pt idx="16">
                  <c:v>La Vache Qui Rit Nature Fromage Fondu Boite Ronde 1X128Gr 8P</c:v>
                </c:pt>
                <c:pt idx="17">
                  <c:v>Mini Babybel Aros Soft Cheese Enfant 180G</c:v>
                </c:pt>
                <c:pt idx="18">
                  <c:v>La Vache Qui Rit Pik Et Croq' Fromage Fondu Dips Boite 1X280Gr 8P</c:v>
                </c:pt>
                <c:pt idx="19">
                  <c:v>Mini Babybel Aros Soft Cheese Enfant 110G</c:v>
                </c:pt>
                <c:pt idx="20">
                  <c:v>Babybel Mini Rolls St Paulin Ferme Sachet 1X85Gr 5P</c:v>
                </c:pt>
                <c:pt idx="21">
                  <c:v>La Vache Qui Rit Allegee Fromage Fondu Boite Ronde Allege 1X267Gr 16P</c:v>
                </c:pt>
                <c:pt idx="22">
                  <c:v>Kiri Bio Fromage Blanc Frais Carre 1X144Gr 8P</c:v>
                </c:pt>
                <c:pt idx="23">
                  <c:v>Mini Babybel Aros Soft Cheese Enfant 120G</c:v>
                </c:pt>
                <c:pt idx="24">
                  <c:v>La Vache Qui Rit Aro Fromage Fondu Boite Ronde Jambon 1X133Gr 8P</c:v>
                </c:pt>
                <c:pt idx="25">
                  <c:v>Mini Babybel Rouge Filet St Paulin Ferme Sachet 1X40Gr 1P</c:v>
                </c:pt>
                <c:pt idx="26">
                  <c:v>Kiri Chevre Fromage Blanc Frais Carre 1X144Gr 8P</c:v>
                </c:pt>
                <c:pt idx="27">
                  <c:v>Mini Babybel Aros St Paulin Ferme Raclette Filet 1X132Gr 6P</c:v>
                </c:pt>
                <c:pt idx="28">
                  <c:v>Mini Babybel Rouge Filet St Paulin Ferme 1X110Gr 5P</c:v>
                </c:pt>
                <c:pt idx="29">
                  <c:v>La Vache Qui Rit Bio Fromage Fondu Boite Ronde 1X128Gr 8P</c:v>
                </c:pt>
                <c:pt idx="30">
                  <c:v>Mini Babybel Aros St Paulin Ferme Emmental Filet 1X120Gr 6P</c:v>
                </c:pt>
                <c:pt idx="31">
                  <c:v>Mini Babybel Aros St Paulin Ferme Assortis Filet 1X180Gr 9P</c:v>
                </c:pt>
              </c:strCache>
            </c:strRef>
          </c:cat>
          <c:val>
            <c:numRef>
              <c:f>Sheet1!$B$2:$B$33</c:f>
              <c:numCache>
                <c:formatCode>General</c:formatCode>
                <c:ptCount val="32"/>
                <c:pt idx="0">
                  <c:v>0.98</c:v>
                </c:pt>
                <c:pt idx="1">
                  <c:v>0.98</c:v>
                </c:pt>
                <c:pt idx="2">
                  <c:v>0.98</c:v>
                </c:pt>
                <c:pt idx="3">
                  <c:v>0.97</c:v>
                </c:pt>
                <c:pt idx="4">
                  <c:v>1</c:v>
                </c:pt>
                <c:pt idx="5">
                  <c:v>1</c:v>
                </c:pt>
                <c:pt idx="6">
                  <c:v>1</c:v>
                </c:pt>
                <c:pt idx="7">
                  <c:v>0.99</c:v>
                </c:pt>
                <c:pt idx="8">
                  <c:v>1</c:v>
                </c:pt>
                <c:pt idx="9">
                  <c:v>1</c:v>
                </c:pt>
                <c:pt idx="10">
                  <c:v>0.93</c:v>
                </c:pt>
                <c:pt idx="11">
                  <c:v>0.98</c:v>
                </c:pt>
                <c:pt idx="12">
                  <c:v>1</c:v>
                </c:pt>
                <c:pt idx="13">
                  <c:v>0.98</c:v>
                </c:pt>
                <c:pt idx="14">
                  <c:v>1</c:v>
                </c:pt>
                <c:pt idx="15">
                  <c:v>0.91</c:v>
                </c:pt>
                <c:pt idx="16">
                  <c:v>0.93</c:v>
                </c:pt>
                <c:pt idx="17">
                  <c:v>0.96</c:v>
                </c:pt>
                <c:pt idx="18">
                  <c:v>0.93</c:v>
                </c:pt>
                <c:pt idx="19">
                  <c:v>0.94</c:v>
                </c:pt>
                <c:pt idx="20">
                  <c:v>0.92</c:v>
                </c:pt>
                <c:pt idx="21">
                  <c:v>0.84</c:v>
                </c:pt>
                <c:pt idx="22">
                  <c:v>0.54</c:v>
                </c:pt>
                <c:pt idx="23">
                  <c:v>0.68</c:v>
                </c:pt>
                <c:pt idx="24">
                  <c:v>0.06</c:v>
                </c:pt>
                <c:pt idx="25">
                  <c:v>0.21</c:v>
                </c:pt>
                <c:pt idx="26">
                  <c:v>0.15</c:v>
                </c:pt>
                <c:pt idx="27">
                  <c:v>0.38</c:v>
                </c:pt>
                <c:pt idx="28">
                  <c:v>0.04</c:v>
                </c:pt>
                <c:pt idx="29">
                  <c:v>0.19</c:v>
                </c:pt>
                <c:pt idx="30">
                  <c:v>7.0000000000000007E-2</c:v>
                </c:pt>
                <c:pt idx="31">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3</c:f>
              <c:strCache>
                <c:ptCount val="32"/>
                <c:pt idx="0">
                  <c:v>La Vache Qui Rit Nature Fromage Fondu Boite Ronde 1X384Gr 24P</c:v>
                </c:pt>
                <c:pt idx="1">
                  <c:v>La Vache Qui Rit Nature Fromage Fondu Boite Ronde 1X512Gr 32P</c:v>
                </c:pt>
                <c:pt idx="2">
                  <c:v>Kiri Creme Fromage Blanc Frais Carre 1X432Gr 24P</c:v>
                </c:pt>
                <c:pt idx="3">
                  <c:v>Mini Babybel Rouge Filet Soft Cheese Enfant 484G</c:v>
                </c:pt>
                <c:pt idx="4">
                  <c:v>Mini Babybel Rouge Filet St Paulin Ferme 1X264Gr 12P</c:v>
                </c:pt>
                <c:pt idx="5">
                  <c:v>Mini Babybel Rouge Filet St Paulin Ferme 1X132Gr 6P</c:v>
                </c:pt>
                <c:pt idx="6">
                  <c:v>Kiri Gouter Fromage Blanc Dips Boite 1X175Gr 5P</c:v>
                </c:pt>
                <c:pt idx="7">
                  <c:v>Mini Babybel Rouge Filet Soft Cheese Enfant 352G</c:v>
                </c:pt>
                <c:pt idx="8">
                  <c:v>Kiri Creme Fromage Blanc Frais Carre 1X216Gr 12P</c:v>
                </c:pt>
                <c:pt idx="9">
                  <c:v>La Vache Qui Rit Nature Fromage Fondu Boite Ronde 1X192Gr 12P</c:v>
                </c:pt>
                <c:pt idx="10">
                  <c:v>La Vache Qui Rit Nature Fromage Fondu Boite Ronde 1X512Gr 24+8P</c:v>
                </c:pt>
                <c:pt idx="11">
                  <c:v>Kiri Creme Fromage Blanc Frais Carre 1X432Gr 18+6P</c:v>
                </c:pt>
                <c:pt idx="12">
                  <c:v>Kiri Creme Fromage Blanc Frais Carre 1X144Gr 8P</c:v>
                </c:pt>
                <c:pt idx="13">
                  <c:v>Kiri Gouter Fromage Blanc Dips Boite 1X280Gr 8P</c:v>
                </c:pt>
                <c:pt idx="14">
                  <c:v>La Vache Qui Rit Pik Et Croq' Fromage Fondu Dips Boite 1X175Gr 5P</c:v>
                </c:pt>
                <c:pt idx="15">
                  <c:v>Mini Babybel Rouge Filet St Paulin Ferme 1X396Gr 12+6P</c:v>
                </c:pt>
                <c:pt idx="16">
                  <c:v>La Vache Qui Rit Nature Fromage Fondu Boite Ronde 1X128Gr 8P</c:v>
                </c:pt>
                <c:pt idx="17">
                  <c:v>Mini Babybel Aros Soft Cheese Enfant 180G</c:v>
                </c:pt>
                <c:pt idx="18">
                  <c:v>La Vache Qui Rit Pik Et Croq' Fromage Fondu Dips Boite 1X280Gr 8P</c:v>
                </c:pt>
                <c:pt idx="19">
                  <c:v>Mini Babybel Aros Soft Cheese Enfant 110G</c:v>
                </c:pt>
                <c:pt idx="20">
                  <c:v>Babybel Mini Rolls St Paulin Ferme Sachet 1X85Gr 5P</c:v>
                </c:pt>
                <c:pt idx="21">
                  <c:v>La Vache Qui Rit Allegee Fromage Fondu Boite Ronde Allege 1X267Gr 16P</c:v>
                </c:pt>
                <c:pt idx="22">
                  <c:v>Kiri Bio Fromage Blanc Frais Carre 1X144Gr 8P</c:v>
                </c:pt>
                <c:pt idx="23">
                  <c:v>Mini Babybel Aros Soft Cheese Enfant 120G</c:v>
                </c:pt>
                <c:pt idx="24">
                  <c:v>La Vache Qui Rit Aro Fromage Fondu Boite Ronde Jambon 1X133Gr 8P</c:v>
                </c:pt>
                <c:pt idx="25">
                  <c:v>Mini Babybel Rouge Filet St Paulin Ferme Sachet 1X40Gr 1P</c:v>
                </c:pt>
                <c:pt idx="26">
                  <c:v>Kiri Chevre Fromage Blanc Frais Carre 1X144Gr 8P</c:v>
                </c:pt>
                <c:pt idx="27">
                  <c:v>Mini Babybel Aros St Paulin Ferme Raclette Filet 1X132Gr 6P</c:v>
                </c:pt>
                <c:pt idx="28">
                  <c:v>Mini Babybel Rouge Filet St Paulin Ferme 1X110Gr 5P</c:v>
                </c:pt>
                <c:pt idx="29">
                  <c:v>La Vache Qui Rit Bio Fromage Fondu Boite Ronde 1X128Gr 8P</c:v>
                </c:pt>
                <c:pt idx="30">
                  <c:v>Mini Babybel Aros St Paulin Ferme Emmental Filet 1X120Gr 6P</c:v>
                </c:pt>
                <c:pt idx="31">
                  <c:v>Mini Babybel Aros St Paulin Ferme Assortis Filet 1X180Gr 9P</c:v>
                </c:pt>
              </c:strCache>
            </c:strRef>
          </c:cat>
          <c:val>
            <c:numRef>
              <c:f>Sheet1!$C$2:$C$33</c:f>
              <c:numCache>
                <c:formatCode>General</c:formatCode>
                <c:ptCount val="32"/>
                <c:pt idx="0">
                  <c:v>0.11304230814336305</c:v>
                </c:pt>
                <c:pt idx="1">
                  <c:v>0.22585246298097345</c:v>
                </c:pt>
                <c:pt idx="2">
                  <c:v>0.33009419237624793</c:v>
                </c:pt>
                <c:pt idx="3">
                  <c:v>0.42259910883959384</c:v>
                </c:pt>
                <c:pt idx="4">
                  <c:v>0.50875339819739052</c:v>
                </c:pt>
                <c:pt idx="5">
                  <c:v>0.56855813112526965</c:v>
                </c:pt>
                <c:pt idx="6">
                  <c:v>0.62424440816738036</c:v>
                </c:pt>
                <c:pt idx="7">
                  <c:v>0.67734700326431085</c:v>
                </c:pt>
                <c:pt idx="8">
                  <c:v>0.71993270991126934</c:v>
                </c:pt>
                <c:pt idx="9">
                  <c:v>0.76070628763638359</c:v>
                </c:pt>
                <c:pt idx="10">
                  <c:v>0.79273594493477739</c:v>
                </c:pt>
                <c:pt idx="11">
                  <c:v>0.82453667761852589</c:v>
                </c:pt>
                <c:pt idx="12">
                  <c:v>0.85251672305766646</c:v>
                </c:pt>
                <c:pt idx="13">
                  <c:v>0.87858225882146124</c:v>
                </c:pt>
                <c:pt idx="14">
                  <c:v>0.90369512240592909</c:v>
                </c:pt>
                <c:pt idx="15">
                  <c:v>0.92536578466463393</c:v>
                </c:pt>
                <c:pt idx="16">
                  <c:v>0.94461805313259084</c:v>
                </c:pt>
                <c:pt idx="17">
                  <c:v>0.95738513098174927</c:v>
                </c:pt>
                <c:pt idx="18">
                  <c:v>0.9692919188777821</c:v>
                </c:pt>
                <c:pt idx="19">
                  <c:v>0.97809062290200188</c:v>
                </c:pt>
                <c:pt idx="20">
                  <c:v>0.98572106150198313</c:v>
                </c:pt>
                <c:pt idx="21">
                  <c:v>0.99277720969015626</c:v>
                </c:pt>
                <c:pt idx="22">
                  <c:v>0.99580957554793514</c:v>
                </c:pt>
                <c:pt idx="23">
                  <c:v>0.9984322100890558</c:v>
                </c:pt>
                <c:pt idx="24">
                  <c:v>0.99917657961629414</c:v>
                </c:pt>
                <c:pt idx="25">
                  <c:v>0.99950621856322419</c:v>
                </c:pt>
                <c:pt idx="26">
                  <c:v>0.9996503639984694</c:v>
                </c:pt>
                <c:pt idx="27">
                  <c:v>0.9997584730749034</c:v>
                </c:pt>
                <c:pt idx="28">
                  <c:v>0.9998622077956435</c:v>
                </c:pt>
                <c:pt idx="29">
                  <c:v>0.99996344288455852</c:v>
                </c:pt>
                <c:pt idx="30">
                  <c:v>0.99998729353822269</c:v>
                </c:pt>
                <c:pt idx="3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3</c:f>
              <c:strCache>
                <c:ptCount val="32"/>
                <c:pt idx="0">
                  <c:v>La Vache Qui Rit Nature Fromage Fondu Boite Ronde 1X384Gr 24P</c:v>
                </c:pt>
                <c:pt idx="1">
                  <c:v>La Vache Qui Rit Nature Fromage Fondu Boite Ronde 1X512Gr 32P</c:v>
                </c:pt>
                <c:pt idx="2">
                  <c:v>Kiri Creme Fromage Blanc Frais Carre 1X432Gr 24P</c:v>
                </c:pt>
                <c:pt idx="3">
                  <c:v>Mini Babybel Rouge Filet Soft Cheese Enfant 484G</c:v>
                </c:pt>
                <c:pt idx="4">
                  <c:v>Mini Babybel Rouge Filet St Paulin Ferme 1X264Gr 12P</c:v>
                </c:pt>
                <c:pt idx="5">
                  <c:v>Mini Babybel Rouge Filet St Paulin Ferme 1X132Gr 6P</c:v>
                </c:pt>
                <c:pt idx="6">
                  <c:v>Kiri Gouter Fromage Blanc Dips Boite 1X175Gr 5P</c:v>
                </c:pt>
                <c:pt idx="7">
                  <c:v>Mini Babybel Rouge Filet Soft Cheese Enfant 352G</c:v>
                </c:pt>
                <c:pt idx="8">
                  <c:v>Kiri Creme Fromage Blanc Frais Carre 1X216Gr 12P</c:v>
                </c:pt>
                <c:pt idx="9">
                  <c:v>La Vache Qui Rit Nature Fromage Fondu Boite Ronde 1X192Gr 12P</c:v>
                </c:pt>
                <c:pt idx="10">
                  <c:v>La Vache Qui Rit Nature Fromage Fondu Boite Ronde 1X512Gr 24+8P</c:v>
                </c:pt>
                <c:pt idx="11">
                  <c:v>Kiri Creme Fromage Blanc Frais Carre 1X432Gr 18+6P</c:v>
                </c:pt>
                <c:pt idx="12">
                  <c:v>Kiri Creme Fromage Blanc Frais Carre 1X144Gr 8P</c:v>
                </c:pt>
                <c:pt idx="13">
                  <c:v>Kiri Gouter Fromage Blanc Dips Boite 1X280Gr 8P</c:v>
                </c:pt>
                <c:pt idx="14">
                  <c:v>La Vache Qui Rit Pik Et Croq' Fromage Fondu Dips Boite 1X175Gr 5P</c:v>
                </c:pt>
                <c:pt idx="15">
                  <c:v>Mini Babybel Rouge Filet St Paulin Ferme 1X396Gr 12+6P</c:v>
                </c:pt>
                <c:pt idx="16">
                  <c:v>La Vache Qui Rit Nature Fromage Fondu Boite Ronde 1X128Gr 8P</c:v>
                </c:pt>
                <c:pt idx="17">
                  <c:v>Mini Babybel Aros Soft Cheese Enfant 180G</c:v>
                </c:pt>
                <c:pt idx="18">
                  <c:v>La Vache Qui Rit Pik Et Croq' Fromage Fondu Dips Boite 1X280Gr 8P</c:v>
                </c:pt>
                <c:pt idx="19">
                  <c:v>Mini Babybel Aros Soft Cheese Enfant 110G</c:v>
                </c:pt>
                <c:pt idx="20">
                  <c:v>Babybel Mini Rolls St Paulin Ferme Sachet 1X85Gr 5P</c:v>
                </c:pt>
                <c:pt idx="21">
                  <c:v>La Vache Qui Rit Allegee Fromage Fondu Boite Ronde Allege 1X267Gr 16P</c:v>
                </c:pt>
                <c:pt idx="22">
                  <c:v>Kiri Bio Fromage Blanc Frais Carre 1X144Gr 8P</c:v>
                </c:pt>
                <c:pt idx="23">
                  <c:v>Mini Babybel Aros Soft Cheese Enfant 120G</c:v>
                </c:pt>
                <c:pt idx="24">
                  <c:v>La Vache Qui Rit Aro Fromage Fondu Boite Ronde Jambon 1X133Gr 8P</c:v>
                </c:pt>
                <c:pt idx="25">
                  <c:v>Mini Babybel Rouge Filet St Paulin Ferme Sachet 1X40Gr 1P</c:v>
                </c:pt>
                <c:pt idx="26">
                  <c:v>Kiri Chevre Fromage Blanc Frais Carre 1X144Gr 8P</c:v>
                </c:pt>
                <c:pt idx="27">
                  <c:v>Mini Babybel Aros St Paulin Ferme Raclette Filet 1X132Gr 6P</c:v>
                </c:pt>
                <c:pt idx="28">
                  <c:v>Mini Babybel Rouge Filet St Paulin Ferme 1X110Gr 5P</c:v>
                </c:pt>
                <c:pt idx="29">
                  <c:v>La Vache Qui Rit Bio Fromage Fondu Boite Ronde 1X128Gr 8P</c:v>
                </c:pt>
                <c:pt idx="30">
                  <c:v>Mini Babybel Aros St Paulin Ferme Emmental Filet 1X120Gr 6P</c:v>
                </c:pt>
                <c:pt idx="31">
                  <c:v>Mini Babybel Aros St Paulin Ferme Assortis Filet 1X180Gr 9P</c:v>
                </c:pt>
              </c:strCache>
            </c:strRef>
          </c:cat>
          <c:val>
            <c:numRef>
              <c:f>Sheet1!$D$2:$D$33</c:f>
              <c:numCache>
                <c:formatCode>General</c:formatCode>
                <c:ptCount val="32"/>
                <c:pt idx="0">
                  <c:v>11075.163265306122</c:v>
                </c:pt>
                <c:pt idx="1">
                  <c:v>11052.418367346938</c:v>
                </c:pt>
                <c:pt idx="2">
                  <c:v>10212.938775510203</c:v>
                </c:pt>
                <c:pt idx="3">
                  <c:v>9156.4742268041246</c:v>
                </c:pt>
                <c:pt idx="4">
                  <c:v>8272.0300000000007</c:v>
                </c:pt>
                <c:pt idx="5">
                  <c:v>5742.1</c:v>
                </c:pt>
                <c:pt idx="6">
                  <c:v>5346.67</c:v>
                </c:pt>
                <c:pt idx="7">
                  <c:v>5150.1010101010097</c:v>
                </c:pt>
                <c:pt idx="8">
                  <c:v>4088.83</c:v>
                </c:pt>
                <c:pt idx="9">
                  <c:v>3914.84</c:v>
                </c:pt>
                <c:pt idx="10">
                  <c:v>3306.7741935483873</c:v>
                </c:pt>
                <c:pt idx="11">
                  <c:v>3115.6326530612246</c:v>
                </c:pt>
                <c:pt idx="12">
                  <c:v>2686.48</c:v>
                </c:pt>
                <c:pt idx="13">
                  <c:v>2553.7346938775509</c:v>
                </c:pt>
                <c:pt idx="14">
                  <c:v>2411.19</c:v>
                </c:pt>
                <c:pt idx="15">
                  <c:v>2286.4725274725274</c:v>
                </c:pt>
                <c:pt idx="16">
                  <c:v>1987.6236559139784</c:v>
                </c:pt>
                <c:pt idx="17">
                  <c:v>1276.8958333333333</c:v>
                </c:pt>
                <c:pt idx="18">
                  <c:v>1229.2688172043011</c:v>
                </c:pt>
                <c:pt idx="19">
                  <c:v>898.72340425531911</c:v>
                </c:pt>
                <c:pt idx="20">
                  <c:v>796.33695652173913</c:v>
                </c:pt>
                <c:pt idx="21">
                  <c:v>806.53571428571433</c:v>
                </c:pt>
                <c:pt idx="22">
                  <c:v>539.16666666666663</c:v>
                </c:pt>
                <c:pt idx="23">
                  <c:v>370.30882352941177</c:v>
                </c:pt>
                <c:pt idx="24">
                  <c:v>1191.1666666666667</c:v>
                </c:pt>
                <c:pt idx="25">
                  <c:v>150.71428571428572</c:v>
                </c:pt>
                <c:pt idx="26">
                  <c:v>92.266666666666666</c:v>
                </c:pt>
                <c:pt idx="27">
                  <c:v>27.315789473684209</c:v>
                </c:pt>
                <c:pt idx="28">
                  <c:v>249</c:v>
                </c:pt>
                <c:pt idx="29">
                  <c:v>51.157894736842103</c:v>
                </c:pt>
                <c:pt idx="30">
                  <c:v>32.714285714285708</c:v>
                </c:pt>
                <c:pt idx="31">
                  <c:v>3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Mini Babybel Rouge Filet St Paulin Ferme 1X264Gr 12P</c:v>
                </c:pt>
                <c:pt idx="1">
                  <c:v>Mini Babybel Rouge Filet Soft Cheese Enfant 352G</c:v>
                </c:pt>
                <c:pt idx="2">
                  <c:v>La Vache Qui Rit Nature Fromage Fondu Boite Ronde 1X512Gr 32P</c:v>
                </c:pt>
                <c:pt idx="3">
                  <c:v>Mini Babybel Rouge Filet St Paulin Ferme 1X132Gr 6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216Gr 12P</c:v>
                </c:pt>
                <c:pt idx="8">
                  <c:v>Kiri Creme Fromage Blanc Frais Carre 1X144Gr 8P</c:v>
                </c:pt>
                <c:pt idx="9">
                  <c:v>Kiri Gouter Fromage Blanc Dips Boite 1X175Gr 5P</c:v>
                </c:pt>
                <c:pt idx="10">
                  <c:v>La Vache Qui Rit Nature Fromage Fondu Boite Ronde 1X512Gr 24+8P</c:v>
                </c:pt>
                <c:pt idx="11">
                  <c:v>Kiri Gouter Fromage Blanc Dips Boite 1X280Gr 8P</c:v>
                </c:pt>
                <c:pt idx="12">
                  <c:v>La Vache Qui Rit Pik Et Croq' Fromage Fondu Dips Boite 1X175Gr 5P</c:v>
                </c:pt>
                <c:pt idx="13">
                  <c:v>Kiri Creme Fromage Blanc Frais Carre 1X432Gr 18+6P</c:v>
                </c:pt>
                <c:pt idx="14">
                  <c:v>La Vache Qui Rit Nature Fromage Fondu Boite Ronde 1X128Gr 8P</c:v>
                </c:pt>
                <c:pt idx="15">
                  <c:v>Mini Babybel Aros Soft Cheese Enfant 180G</c:v>
                </c:pt>
                <c:pt idx="16">
                  <c:v>Mini Babybel Aros Soft Cheese Enfant 110G</c:v>
                </c:pt>
                <c:pt idx="17">
                  <c:v>Babybel Mini Rolls St Paulin Ferme Sachet 1X85Gr 5P</c:v>
                </c:pt>
                <c:pt idx="18">
                  <c:v>Kiri Bio Fromage Blanc Frais Carre 1X144Gr 8P</c:v>
                </c:pt>
                <c:pt idx="19">
                  <c:v>La Vache Qui Rit Allegee Fromage Fondu Boite Ronde Allege 1X267Gr 16P</c:v>
                </c:pt>
                <c:pt idx="20">
                  <c:v>La Vache Qui Rit Bio Fromage Fondu Boite Ronde 1X128Gr 8P</c:v>
                </c:pt>
                <c:pt idx="21">
                  <c:v>Mini Babybel Rouge Filet St Paulin Ferme Sachet 1X40Gr 1P</c:v>
                </c:pt>
                <c:pt idx="22">
                  <c:v>Kiri Chevre Fromage Blanc Frais Carre 1X144Gr 8P</c:v>
                </c:pt>
                <c:pt idx="23">
                  <c:v>Mini Babybel Aros St Paulin Ferme Assortis Filet 1X180Gr 9P</c:v>
                </c:pt>
              </c:strCache>
            </c:strRef>
          </c:cat>
          <c:val>
            <c:numRef>
              <c:f>Sheet1!$B$2:$B$25</c:f>
              <c:numCache>
                <c:formatCode>General</c:formatCode>
                <c:ptCount val="24"/>
                <c:pt idx="0">
                  <c:v>0.99</c:v>
                </c:pt>
                <c:pt idx="1">
                  <c:v>0.94</c:v>
                </c:pt>
                <c:pt idx="2">
                  <c:v>0.95</c:v>
                </c:pt>
                <c:pt idx="3">
                  <c:v>0.99</c:v>
                </c:pt>
                <c:pt idx="4">
                  <c:v>0.91</c:v>
                </c:pt>
                <c:pt idx="5">
                  <c:v>0.99</c:v>
                </c:pt>
                <c:pt idx="6">
                  <c:v>0.84</c:v>
                </c:pt>
                <c:pt idx="7">
                  <c:v>0.97</c:v>
                </c:pt>
                <c:pt idx="8">
                  <c:v>0.99</c:v>
                </c:pt>
                <c:pt idx="9">
                  <c:v>0.99</c:v>
                </c:pt>
                <c:pt idx="10">
                  <c:v>0.78</c:v>
                </c:pt>
                <c:pt idx="11">
                  <c:v>0.72</c:v>
                </c:pt>
                <c:pt idx="12">
                  <c:v>0.97</c:v>
                </c:pt>
                <c:pt idx="13">
                  <c:v>0.71</c:v>
                </c:pt>
                <c:pt idx="14">
                  <c:v>0.64</c:v>
                </c:pt>
                <c:pt idx="15">
                  <c:v>0.66</c:v>
                </c:pt>
                <c:pt idx="16">
                  <c:v>0.56999999999999995</c:v>
                </c:pt>
                <c:pt idx="17">
                  <c:v>0.44</c:v>
                </c:pt>
                <c:pt idx="18">
                  <c:v>0.39</c:v>
                </c:pt>
                <c:pt idx="19">
                  <c:v>0.27</c:v>
                </c:pt>
                <c:pt idx="20">
                  <c:v>0.16</c:v>
                </c:pt>
                <c:pt idx="21">
                  <c:v>0.05</c:v>
                </c:pt>
                <c:pt idx="22">
                  <c:v>0.03</c:v>
                </c:pt>
                <c:pt idx="23">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Mini Babybel Rouge Filet St Paulin Ferme 1X264Gr 12P</c:v>
                </c:pt>
                <c:pt idx="1">
                  <c:v>Mini Babybel Rouge Filet Soft Cheese Enfant 352G</c:v>
                </c:pt>
                <c:pt idx="2">
                  <c:v>La Vache Qui Rit Nature Fromage Fondu Boite Ronde 1X512Gr 32P</c:v>
                </c:pt>
                <c:pt idx="3">
                  <c:v>Mini Babybel Rouge Filet St Paulin Ferme 1X132Gr 6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216Gr 12P</c:v>
                </c:pt>
                <c:pt idx="8">
                  <c:v>Kiri Creme Fromage Blanc Frais Carre 1X144Gr 8P</c:v>
                </c:pt>
                <c:pt idx="9">
                  <c:v>Kiri Gouter Fromage Blanc Dips Boite 1X175Gr 5P</c:v>
                </c:pt>
                <c:pt idx="10">
                  <c:v>La Vache Qui Rit Nature Fromage Fondu Boite Ronde 1X512Gr 24+8P</c:v>
                </c:pt>
                <c:pt idx="11">
                  <c:v>Kiri Gouter Fromage Blanc Dips Boite 1X280Gr 8P</c:v>
                </c:pt>
                <c:pt idx="12">
                  <c:v>La Vache Qui Rit Pik Et Croq' Fromage Fondu Dips Boite 1X175Gr 5P</c:v>
                </c:pt>
                <c:pt idx="13">
                  <c:v>Kiri Creme Fromage Blanc Frais Carre 1X432Gr 18+6P</c:v>
                </c:pt>
                <c:pt idx="14">
                  <c:v>La Vache Qui Rit Nature Fromage Fondu Boite Ronde 1X128Gr 8P</c:v>
                </c:pt>
                <c:pt idx="15">
                  <c:v>Mini Babybel Aros Soft Cheese Enfant 180G</c:v>
                </c:pt>
                <c:pt idx="16">
                  <c:v>Mini Babybel Aros Soft Cheese Enfant 110G</c:v>
                </c:pt>
                <c:pt idx="17">
                  <c:v>Babybel Mini Rolls St Paulin Ferme Sachet 1X85Gr 5P</c:v>
                </c:pt>
                <c:pt idx="18">
                  <c:v>Kiri Bio Fromage Blanc Frais Carre 1X144Gr 8P</c:v>
                </c:pt>
                <c:pt idx="19">
                  <c:v>La Vache Qui Rit Allegee Fromage Fondu Boite Ronde Allege 1X267Gr 16P</c:v>
                </c:pt>
                <c:pt idx="20">
                  <c:v>La Vache Qui Rit Bio Fromage Fondu Boite Ronde 1X128Gr 8P</c:v>
                </c:pt>
                <c:pt idx="21">
                  <c:v>Mini Babybel Rouge Filet St Paulin Ferme Sachet 1X40Gr 1P</c:v>
                </c:pt>
                <c:pt idx="22">
                  <c:v>Kiri Chevre Fromage Blanc Frais Carre 1X144Gr 8P</c:v>
                </c:pt>
                <c:pt idx="23">
                  <c:v>Mini Babybel Aros St Paulin Ferme Assortis Filet 1X180Gr 9P</c:v>
                </c:pt>
              </c:strCache>
            </c:strRef>
          </c:cat>
          <c:val>
            <c:numRef>
              <c:f>Sheet1!$C$2:$C$25</c:f>
              <c:numCache>
                <c:formatCode>General</c:formatCode>
                <c:ptCount val="24"/>
                <c:pt idx="0">
                  <c:v>0.15683287269264057</c:v>
                </c:pt>
                <c:pt idx="1">
                  <c:v>0.25130663226072153</c:v>
                </c:pt>
                <c:pt idx="2">
                  <c:v>0.33889201702708177</c:v>
                </c:pt>
                <c:pt idx="3">
                  <c:v>0.4178136030038706</c:v>
                </c:pt>
                <c:pt idx="4">
                  <c:v>0.49533717933455379</c:v>
                </c:pt>
                <c:pt idx="5">
                  <c:v>0.56679815572122172</c:v>
                </c:pt>
                <c:pt idx="6">
                  <c:v>0.63778084871572938</c:v>
                </c:pt>
                <c:pt idx="7">
                  <c:v>0.70405181483852897</c:v>
                </c:pt>
                <c:pt idx="8">
                  <c:v>0.75425387469071636</c:v>
                </c:pt>
                <c:pt idx="9">
                  <c:v>0.80415895804040538</c:v>
                </c:pt>
                <c:pt idx="10">
                  <c:v>0.85311857502759003</c:v>
                </c:pt>
                <c:pt idx="11">
                  <c:v>0.88545635603718142</c:v>
                </c:pt>
                <c:pt idx="12">
                  <c:v>0.91139948970234763</c:v>
                </c:pt>
                <c:pt idx="13">
                  <c:v>0.93493463621182804</c:v>
                </c:pt>
                <c:pt idx="14">
                  <c:v>0.95806341075743473</c:v>
                </c:pt>
                <c:pt idx="15">
                  <c:v>0.97324283540165812</c:v>
                </c:pt>
                <c:pt idx="16">
                  <c:v>0.98122645182256041</c:v>
                </c:pt>
                <c:pt idx="17">
                  <c:v>0.98818979469045898</c:v>
                </c:pt>
                <c:pt idx="18">
                  <c:v>0.99472054285888933</c:v>
                </c:pt>
                <c:pt idx="19">
                  <c:v>0.99874533058343151</c:v>
                </c:pt>
                <c:pt idx="20">
                  <c:v>0.99903088491275693</c:v>
                </c:pt>
                <c:pt idx="21">
                  <c:v>0.99929809941473413</c:v>
                </c:pt>
                <c:pt idx="22">
                  <c:v>0.99973648563862805</c:v>
                </c:pt>
                <c:pt idx="23">
                  <c:v>0.9999203665391457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5</c:f>
              <c:strCache>
                <c:ptCount val="24"/>
                <c:pt idx="0">
                  <c:v>Mini Babybel Rouge Filet St Paulin Ferme 1X264Gr 12P</c:v>
                </c:pt>
                <c:pt idx="1">
                  <c:v>Mini Babybel Rouge Filet Soft Cheese Enfant 352G</c:v>
                </c:pt>
                <c:pt idx="2">
                  <c:v>La Vache Qui Rit Nature Fromage Fondu Boite Ronde 1X512Gr 32P</c:v>
                </c:pt>
                <c:pt idx="3">
                  <c:v>Mini Babybel Rouge Filet St Paulin Ferme 1X132Gr 6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216Gr 12P</c:v>
                </c:pt>
                <c:pt idx="8">
                  <c:v>Kiri Creme Fromage Blanc Frais Carre 1X144Gr 8P</c:v>
                </c:pt>
                <c:pt idx="9">
                  <c:v>Kiri Gouter Fromage Blanc Dips Boite 1X175Gr 5P</c:v>
                </c:pt>
                <c:pt idx="10">
                  <c:v>La Vache Qui Rit Nature Fromage Fondu Boite Ronde 1X512Gr 24+8P</c:v>
                </c:pt>
                <c:pt idx="11">
                  <c:v>Kiri Gouter Fromage Blanc Dips Boite 1X280Gr 8P</c:v>
                </c:pt>
                <c:pt idx="12">
                  <c:v>La Vache Qui Rit Pik Et Croq' Fromage Fondu Dips Boite 1X175Gr 5P</c:v>
                </c:pt>
                <c:pt idx="13">
                  <c:v>Kiri Creme Fromage Blanc Frais Carre 1X432Gr 18+6P</c:v>
                </c:pt>
                <c:pt idx="14">
                  <c:v>La Vache Qui Rit Nature Fromage Fondu Boite Ronde 1X128Gr 8P</c:v>
                </c:pt>
                <c:pt idx="15">
                  <c:v>Mini Babybel Aros Soft Cheese Enfant 180G</c:v>
                </c:pt>
                <c:pt idx="16">
                  <c:v>Mini Babybel Aros Soft Cheese Enfant 110G</c:v>
                </c:pt>
                <c:pt idx="17">
                  <c:v>Babybel Mini Rolls St Paulin Ferme Sachet 1X85Gr 5P</c:v>
                </c:pt>
                <c:pt idx="18">
                  <c:v>Kiri Bio Fromage Blanc Frais Carre 1X144Gr 8P</c:v>
                </c:pt>
                <c:pt idx="19">
                  <c:v>La Vache Qui Rit Allegee Fromage Fondu Boite Ronde Allege 1X267Gr 16P</c:v>
                </c:pt>
                <c:pt idx="20">
                  <c:v>La Vache Qui Rit Bio Fromage Fondu Boite Ronde 1X128Gr 8P</c:v>
                </c:pt>
                <c:pt idx="21">
                  <c:v>Mini Babybel Rouge Filet St Paulin Ferme Sachet 1X40Gr 1P</c:v>
                </c:pt>
                <c:pt idx="22">
                  <c:v>Kiri Chevre Fromage Blanc Frais Carre 1X144Gr 8P</c:v>
                </c:pt>
                <c:pt idx="23">
                  <c:v>Mini Babybel Aros St Paulin Ferme Assortis Filet 1X180Gr 9P</c:v>
                </c:pt>
              </c:strCache>
            </c:strRef>
          </c:cat>
          <c:val>
            <c:numRef>
              <c:f>Sheet1!$D$2:$D$25</c:f>
              <c:numCache>
                <c:formatCode>General</c:formatCode>
                <c:ptCount val="24"/>
                <c:pt idx="0">
                  <c:v>9847.1717171717173</c:v>
                </c:pt>
                <c:pt idx="1">
                  <c:v>6247.3085106382978</c:v>
                </c:pt>
                <c:pt idx="2">
                  <c:v>5730.8315789473681</c:v>
                </c:pt>
                <c:pt idx="3">
                  <c:v>4955.30303030303</c:v>
                </c:pt>
                <c:pt idx="4">
                  <c:v>5295.4395604395604</c:v>
                </c:pt>
                <c:pt idx="5">
                  <c:v>4486.8686868686873</c:v>
                </c:pt>
                <c:pt idx="6">
                  <c:v>5252.7023809523807</c:v>
                </c:pt>
                <c:pt idx="7">
                  <c:v>4246.7938144329901</c:v>
                </c:pt>
                <c:pt idx="8">
                  <c:v>3152.0707070707072</c:v>
                </c:pt>
                <c:pt idx="9">
                  <c:v>3133.4242424242425</c:v>
                </c:pt>
                <c:pt idx="10">
                  <c:v>3901.6923076923076</c:v>
                </c:pt>
                <c:pt idx="11">
                  <c:v>2791.8194444444443</c:v>
                </c:pt>
                <c:pt idx="12">
                  <c:v>1662.4948453608247</c:v>
                </c:pt>
                <c:pt idx="13">
                  <c:v>2060.4788732394368</c:v>
                </c:pt>
                <c:pt idx="14">
                  <c:v>2246.375</c:v>
                </c:pt>
                <c:pt idx="15">
                  <c:v>1429.621212121212</c:v>
                </c:pt>
                <c:pt idx="16">
                  <c:v>870.63157894736855</c:v>
                </c:pt>
                <c:pt idx="17">
                  <c:v>983.72727272727275</c:v>
                </c:pt>
                <c:pt idx="18">
                  <c:v>1040.8974358974358</c:v>
                </c:pt>
                <c:pt idx="19">
                  <c:v>926.59259259259261</c:v>
                </c:pt>
                <c:pt idx="20">
                  <c:v>110.9375</c:v>
                </c:pt>
                <c:pt idx="21">
                  <c:v>332.2</c:v>
                </c:pt>
                <c:pt idx="22">
                  <c:v>399</c:v>
                </c:pt>
                <c:pt idx="23">
                  <c:v>105.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Kiri Gouter Fromage Blanc Dips Boite 1X175Gr 5P</c:v>
                </c:pt>
                <c:pt idx="5">
                  <c:v>Mini Babybel Rouge Filet St Paulin Ferme 1X264Gr 12P</c:v>
                </c:pt>
                <c:pt idx="6">
                  <c:v>La Vache Qui Rit Pik Et Croq' Fromage Fondu Dips Boite 1X175Gr 5P</c:v>
                </c:pt>
                <c:pt idx="7">
                  <c:v>La Vache Qui Rit Nature Fromage Fondu Boite Ronde 1X128Gr 8P</c:v>
                </c:pt>
                <c:pt idx="8">
                  <c:v>Mini Babybel Aros Soft Cheese Enfant 180G</c:v>
                </c:pt>
                <c:pt idx="9">
                  <c:v>Babybel Mini Rolls St Paulin Ferme Sachet 1X85Gr 5P</c:v>
                </c:pt>
                <c:pt idx="10">
                  <c:v>Mini Babybel Rouge Filet St Paulin Ferme Sachet 1X40Gr 1P</c:v>
                </c:pt>
                <c:pt idx="11">
                  <c:v>Kiri Creme Fromage Blanc Frais Carre 1X216Gr 12P</c:v>
                </c:pt>
                <c:pt idx="12">
                  <c:v>La Vache Qui Rit Pik Et Croq' Fromage Fondu Dips Boite 1X35Gr 1P</c:v>
                </c:pt>
                <c:pt idx="13">
                  <c:v>Kiri Gouter Fromage Blanc Dips Boite 1X280Gr 8P</c:v>
                </c:pt>
                <c:pt idx="14">
                  <c:v>La Vache Qui Rit Bio Fromage Fondu Boite Ronde 1X128Gr 8P</c:v>
                </c:pt>
                <c:pt idx="15">
                  <c:v>Mini Babybel Aros St Paulin Ferme Raclette Filet 1X132Gr 6P</c:v>
                </c:pt>
              </c:strCache>
            </c:strRef>
          </c:cat>
          <c:val>
            <c:numRef>
              <c:f>Sheet1!$B$2:$B$17</c:f>
              <c:numCache>
                <c:formatCode>General</c:formatCode>
                <c:ptCount val="16"/>
                <c:pt idx="0">
                  <c:v>0.96</c:v>
                </c:pt>
                <c:pt idx="1">
                  <c:v>0.89</c:v>
                </c:pt>
                <c:pt idx="2">
                  <c:v>0.96</c:v>
                </c:pt>
                <c:pt idx="3">
                  <c:v>0.45</c:v>
                </c:pt>
                <c:pt idx="4">
                  <c:v>0.71</c:v>
                </c:pt>
                <c:pt idx="5">
                  <c:v>0.2</c:v>
                </c:pt>
                <c:pt idx="6">
                  <c:v>0.51</c:v>
                </c:pt>
                <c:pt idx="7">
                  <c:v>0.09</c:v>
                </c:pt>
                <c:pt idx="8">
                  <c:v>0.05</c:v>
                </c:pt>
                <c:pt idx="9">
                  <c:v>0.08</c:v>
                </c:pt>
                <c:pt idx="10">
                  <c:v>0.06</c:v>
                </c:pt>
                <c:pt idx="11">
                  <c:v>0.02</c:v>
                </c:pt>
                <c:pt idx="12">
                  <c:v>0.05</c:v>
                </c:pt>
                <c:pt idx="13">
                  <c:v>0.02</c:v>
                </c:pt>
                <c:pt idx="14">
                  <c:v>0.05</c:v>
                </c:pt>
                <c:pt idx="15">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Kiri Gouter Fromage Blanc Dips Boite 1X175Gr 5P</c:v>
                </c:pt>
                <c:pt idx="5">
                  <c:v>Mini Babybel Rouge Filet St Paulin Ferme 1X264Gr 12P</c:v>
                </c:pt>
                <c:pt idx="6">
                  <c:v>La Vache Qui Rit Pik Et Croq' Fromage Fondu Dips Boite 1X175Gr 5P</c:v>
                </c:pt>
                <c:pt idx="7">
                  <c:v>La Vache Qui Rit Nature Fromage Fondu Boite Ronde 1X128Gr 8P</c:v>
                </c:pt>
                <c:pt idx="8">
                  <c:v>Mini Babybel Aros Soft Cheese Enfant 180G</c:v>
                </c:pt>
                <c:pt idx="9">
                  <c:v>Babybel Mini Rolls St Paulin Ferme Sachet 1X85Gr 5P</c:v>
                </c:pt>
                <c:pt idx="10">
                  <c:v>Mini Babybel Rouge Filet St Paulin Ferme Sachet 1X40Gr 1P</c:v>
                </c:pt>
                <c:pt idx="11">
                  <c:v>Kiri Creme Fromage Blanc Frais Carre 1X216Gr 12P</c:v>
                </c:pt>
                <c:pt idx="12">
                  <c:v>La Vache Qui Rit Pik Et Croq' Fromage Fondu Dips Boite 1X35Gr 1P</c:v>
                </c:pt>
                <c:pt idx="13">
                  <c:v>Kiri Gouter Fromage Blanc Dips Boite 1X280Gr 8P</c:v>
                </c:pt>
                <c:pt idx="14">
                  <c:v>La Vache Qui Rit Bio Fromage Fondu Boite Ronde 1X128Gr 8P</c:v>
                </c:pt>
                <c:pt idx="15">
                  <c:v>Mini Babybel Aros St Paulin Ferme Raclette Filet 1X132Gr 6P</c:v>
                </c:pt>
              </c:strCache>
            </c:strRef>
          </c:cat>
          <c:val>
            <c:numRef>
              <c:f>Sheet1!$C$2:$C$17</c:f>
              <c:numCache>
                <c:formatCode>General</c:formatCode>
                <c:ptCount val="16"/>
                <c:pt idx="0">
                  <c:v>0.29537265995080164</c:v>
                </c:pt>
                <c:pt idx="1">
                  <c:v>0.51069952116587924</c:v>
                </c:pt>
                <c:pt idx="2">
                  <c:v>0.70081879672481306</c:v>
                </c:pt>
                <c:pt idx="3">
                  <c:v>0.80159429632551737</c:v>
                </c:pt>
                <c:pt idx="4">
                  <c:v>0.88305767497650722</c:v>
                </c:pt>
                <c:pt idx="5">
                  <c:v>0.93173807484950233</c:v>
                </c:pt>
                <c:pt idx="6">
                  <c:v>0.97305058707693093</c:v>
                </c:pt>
                <c:pt idx="7">
                  <c:v>0.98091174121789992</c:v>
                </c:pt>
                <c:pt idx="8">
                  <c:v>0.98499257534501383</c:v>
                </c:pt>
                <c:pt idx="9">
                  <c:v>0.98826712080539059</c:v>
                </c:pt>
                <c:pt idx="10">
                  <c:v>0.99117155603449647</c:v>
                </c:pt>
                <c:pt idx="11">
                  <c:v>0.99401024377884462</c:v>
                </c:pt>
                <c:pt idx="12">
                  <c:v>0.99636689020811475</c:v>
                </c:pt>
                <c:pt idx="13">
                  <c:v>0.99808562567551518</c:v>
                </c:pt>
                <c:pt idx="14">
                  <c:v>0.99859813533718822</c:v>
                </c:pt>
                <c:pt idx="15">
                  <c:v>0.9998473375475865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7</c:f>
              <c:strCache>
                <c:ptCount val="16"/>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Kiri Gouter Fromage Blanc Dips Boite 1X175Gr 5P</c:v>
                </c:pt>
                <c:pt idx="5">
                  <c:v>Mini Babybel Rouge Filet St Paulin Ferme 1X264Gr 12P</c:v>
                </c:pt>
                <c:pt idx="6">
                  <c:v>La Vache Qui Rit Pik Et Croq' Fromage Fondu Dips Boite 1X175Gr 5P</c:v>
                </c:pt>
                <c:pt idx="7">
                  <c:v>La Vache Qui Rit Nature Fromage Fondu Boite Ronde 1X128Gr 8P</c:v>
                </c:pt>
                <c:pt idx="8">
                  <c:v>Mini Babybel Aros Soft Cheese Enfant 180G</c:v>
                </c:pt>
                <c:pt idx="9">
                  <c:v>Babybel Mini Rolls St Paulin Ferme Sachet 1X85Gr 5P</c:v>
                </c:pt>
                <c:pt idx="10">
                  <c:v>Mini Babybel Rouge Filet St Paulin Ferme Sachet 1X40Gr 1P</c:v>
                </c:pt>
                <c:pt idx="11">
                  <c:v>Kiri Creme Fromage Blanc Frais Carre 1X216Gr 12P</c:v>
                </c:pt>
                <c:pt idx="12">
                  <c:v>La Vache Qui Rit Pik Et Croq' Fromage Fondu Dips Boite 1X35Gr 1P</c:v>
                </c:pt>
                <c:pt idx="13">
                  <c:v>Kiri Gouter Fromage Blanc Dips Boite 1X280Gr 8P</c:v>
                </c:pt>
                <c:pt idx="14">
                  <c:v>La Vache Qui Rit Bio Fromage Fondu Boite Ronde 1X128Gr 8P</c:v>
                </c:pt>
                <c:pt idx="15">
                  <c:v>Mini Babybel Aros St Paulin Ferme Raclette Filet 1X132Gr 6P</c:v>
                </c:pt>
              </c:strCache>
            </c:strRef>
          </c:cat>
          <c:val>
            <c:numRef>
              <c:f>Sheet1!$D$2:$D$17</c:f>
              <c:numCache>
                <c:formatCode>General</c:formatCode>
                <c:ptCount val="16"/>
                <c:pt idx="0">
                  <c:v>9593.4270833333339</c:v>
                </c:pt>
                <c:pt idx="1">
                  <c:v>7543.6741573033705</c:v>
                </c:pt>
                <c:pt idx="2">
                  <c:v>6174.895833333333</c:v>
                </c:pt>
                <c:pt idx="3">
                  <c:v>6982.6</c:v>
                </c:pt>
                <c:pt idx="4">
                  <c:v>3577.4929577464791</c:v>
                </c:pt>
                <c:pt idx="5">
                  <c:v>7589.25</c:v>
                </c:pt>
                <c:pt idx="6">
                  <c:v>2525.7254901960782</c:v>
                </c:pt>
                <c:pt idx="7">
                  <c:v>2723.4444444444443</c:v>
                </c:pt>
                <c:pt idx="8">
                  <c:v>2544.8000000000002</c:v>
                </c:pt>
                <c:pt idx="9">
                  <c:v>1276.25</c:v>
                </c:pt>
                <c:pt idx="10">
                  <c:v>1509.3333333333333</c:v>
                </c:pt>
                <c:pt idx="11">
                  <c:v>4425.5</c:v>
                </c:pt>
                <c:pt idx="12">
                  <c:v>1469.6</c:v>
                </c:pt>
                <c:pt idx="13">
                  <c:v>2679.5</c:v>
                </c:pt>
                <c:pt idx="14">
                  <c:v>319.60000000000002</c:v>
                </c:pt>
                <c:pt idx="15">
                  <c:v>10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La Vache Qui Rit Pik Et Croq' Fromage Fondu Dips Boite 1X280Gr 8P</c:v>
                </c:pt>
                <c:pt idx="12">
                  <c:v>Kiri Creme Fromage Blanc Frais Carre 1X432Gr 18+6P</c:v>
                </c:pt>
                <c:pt idx="13">
                  <c:v>Mini Babybel Aros Soft Cheese Enfant 180G</c:v>
                </c:pt>
                <c:pt idx="14">
                  <c:v>La Vache Qui Rit Allegee Fromage Fondu Boite Ronde Allege 1X267Gr 16P</c:v>
                </c:pt>
                <c:pt idx="15">
                  <c:v>Babybel Mini Rolls St Paulin Ferme Sachet 1X85Gr 5P</c:v>
                </c:pt>
                <c:pt idx="16">
                  <c:v>Kiri Bio Fromage Blanc Frais Carre 1X144Gr 8P</c:v>
                </c:pt>
                <c:pt idx="17">
                  <c:v>La Vache Qui Rit Aro Fromage Fondu Boite Ronde Jambon 1X133Gr 8P</c:v>
                </c:pt>
                <c:pt idx="18">
                  <c:v>Mini Babybel Aros Soft Cheese Enfant 110G</c:v>
                </c:pt>
                <c:pt idx="19">
                  <c:v>Kiri Chevre Fromage Blanc Frais Carre 1X144Gr 8P</c:v>
                </c:pt>
                <c:pt idx="20">
                  <c:v>Mini Babybel Rouge Filet St Paulin Ferme Sachet 1X40Gr 1P</c:v>
                </c:pt>
                <c:pt idx="21">
                  <c:v>Mini Babybel Aros St Paulin Ferme Raclette Filet 1X132Gr 6P</c:v>
                </c:pt>
                <c:pt idx="22">
                  <c:v>Mini Babybel Aros St Paulin Ferme Assortis Filet 1X180Gr 9P</c:v>
                </c:pt>
              </c:strCache>
            </c:strRef>
          </c:cat>
          <c:val>
            <c:numRef>
              <c:f>Sheet1!$B$2:$B$24</c:f>
              <c:numCache>
                <c:formatCode>General</c:formatCode>
                <c:ptCount val="23"/>
                <c:pt idx="0">
                  <c:v>0.99</c:v>
                </c:pt>
                <c:pt idx="1">
                  <c:v>0.98</c:v>
                </c:pt>
                <c:pt idx="2">
                  <c:v>0.97</c:v>
                </c:pt>
                <c:pt idx="3">
                  <c:v>1</c:v>
                </c:pt>
                <c:pt idx="4">
                  <c:v>0.99</c:v>
                </c:pt>
                <c:pt idx="5">
                  <c:v>0.99</c:v>
                </c:pt>
                <c:pt idx="6">
                  <c:v>0.89</c:v>
                </c:pt>
                <c:pt idx="7">
                  <c:v>0.96</c:v>
                </c:pt>
                <c:pt idx="8">
                  <c:v>0.99</c:v>
                </c:pt>
                <c:pt idx="9">
                  <c:v>0.99</c:v>
                </c:pt>
                <c:pt idx="10">
                  <c:v>0.95</c:v>
                </c:pt>
                <c:pt idx="11">
                  <c:v>0.86</c:v>
                </c:pt>
                <c:pt idx="12">
                  <c:v>0.83</c:v>
                </c:pt>
                <c:pt idx="13">
                  <c:v>0.73</c:v>
                </c:pt>
                <c:pt idx="14">
                  <c:v>0.84</c:v>
                </c:pt>
                <c:pt idx="15">
                  <c:v>0.75</c:v>
                </c:pt>
                <c:pt idx="16">
                  <c:v>0.6</c:v>
                </c:pt>
                <c:pt idx="17">
                  <c:v>0.64</c:v>
                </c:pt>
                <c:pt idx="18">
                  <c:v>0.59</c:v>
                </c:pt>
                <c:pt idx="19">
                  <c:v>0.57999999999999996</c:v>
                </c:pt>
                <c:pt idx="20">
                  <c:v>0.09</c:v>
                </c:pt>
                <c:pt idx="21">
                  <c:v>0.11</c:v>
                </c:pt>
                <c:pt idx="22">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La Vache Qui Rit Pik Et Croq' Fromage Fondu Dips Boite 1X280Gr 8P</c:v>
                </c:pt>
                <c:pt idx="12">
                  <c:v>Kiri Creme Fromage Blanc Frais Carre 1X432Gr 18+6P</c:v>
                </c:pt>
                <c:pt idx="13">
                  <c:v>Mini Babybel Aros Soft Cheese Enfant 180G</c:v>
                </c:pt>
                <c:pt idx="14">
                  <c:v>La Vache Qui Rit Allegee Fromage Fondu Boite Ronde Allege 1X267Gr 16P</c:v>
                </c:pt>
                <c:pt idx="15">
                  <c:v>Babybel Mini Rolls St Paulin Ferme Sachet 1X85Gr 5P</c:v>
                </c:pt>
                <c:pt idx="16">
                  <c:v>Kiri Bio Fromage Blanc Frais Carre 1X144Gr 8P</c:v>
                </c:pt>
                <c:pt idx="17">
                  <c:v>La Vache Qui Rit Aro Fromage Fondu Boite Ronde Jambon 1X133Gr 8P</c:v>
                </c:pt>
                <c:pt idx="18">
                  <c:v>Mini Babybel Aros Soft Cheese Enfant 110G</c:v>
                </c:pt>
                <c:pt idx="19">
                  <c:v>Kiri Chevre Fromage Blanc Frais Carre 1X144Gr 8P</c:v>
                </c:pt>
                <c:pt idx="20">
                  <c:v>Mini Babybel Rouge Filet St Paulin Ferme Sachet 1X40Gr 1P</c:v>
                </c:pt>
                <c:pt idx="21">
                  <c:v>Mini Babybel Aros St Paulin Ferme Raclette Filet 1X132Gr 6P</c:v>
                </c:pt>
                <c:pt idx="22">
                  <c:v>Mini Babybel Aros St Paulin Ferme Assortis Filet 1X180Gr 9P</c:v>
                </c:pt>
              </c:strCache>
            </c:strRef>
          </c:cat>
          <c:val>
            <c:numRef>
              <c:f>Sheet1!$C$2:$C$24</c:f>
              <c:numCache>
                <c:formatCode>General</c:formatCode>
                <c:ptCount val="23"/>
                <c:pt idx="0">
                  <c:v>0.19055455365596025</c:v>
                </c:pt>
                <c:pt idx="1">
                  <c:v>0.30501387664141211</c:v>
                </c:pt>
                <c:pt idx="2">
                  <c:v>0.4068339225501979</c:v>
                </c:pt>
                <c:pt idx="3">
                  <c:v>0.50400323755593424</c:v>
                </c:pt>
                <c:pt idx="4">
                  <c:v>0.59295788768920599</c:v>
                </c:pt>
                <c:pt idx="5">
                  <c:v>0.66897203674344108</c:v>
                </c:pt>
                <c:pt idx="6">
                  <c:v>0.73197049021641913</c:v>
                </c:pt>
                <c:pt idx="7">
                  <c:v>0.78618956186134836</c:v>
                </c:pt>
                <c:pt idx="8">
                  <c:v>0.82863788414980166</c:v>
                </c:pt>
                <c:pt idx="9">
                  <c:v>0.86997719902887582</c:v>
                </c:pt>
                <c:pt idx="10">
                  <c:v>0.89385105208972027</c:v>
                </c:pt>
                <c:pt idx="11">
                  <c:v>0.91719292411706221</c:v>
                </c:pt>
                <c:pt idx="12">
                  <c:v>0.93300259050858059</c:v>
                </c:pt>
                <c:pt idx="13">
                  <c:v>0.94811445548744144</c:v>
                </c:pt>
                <c:pt idx="14">
                  <c:v>0.96284374725156507</c:v>
                </c:pt>
                <c:pt idx="15">
                  <c:v>0.97344572607115587</c:v>
                </c:pt>
                <c:pt idx="16">
                  <c:v>0.9815799337182316</c:v>
                </c:pt>
                <c:pt idx="17">
                  <c:v>0.98965500262868555</c:v>
                </c:pt>
                <c:pt idx="18">
                  <c:v>0.99471024962612364</c:v>
                </c:pt>
                <c:pt idx="19">
                  <c:v>0.99945365797615648</c:v>
                </c:pt>
                <c:pt idx="20">
                  <c:v>0.99985023538644358</c:v>
                </c:pt>
                <c:pt idx="21">
                  <c:v>0.99991570723060708</c:v>
                </c:pt>
                <c:pt idx="22">
                  <c:v>0.9999879581758011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4</c:f>
              <c:strCache>
                <c:ptCount val="23"/>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La Vache Qui Rit Pik Et Croq' Fromage Fondu Dips Boite 1X280Gr 8P</c:v>
                </c:pt>
                <c:pt idx="12">
                  <c:v>Kiri Creme Fromage Blanc Frais Carre 1X432Gr 18+6P</c:v>
                </c:pt>
                <c:pt idx="13">
                  <c:v>Mini Babybel Aros Soft Cheese Enfant 180G</c:v>
                </c:pt>
                <c:pt idx="14">
                  <c:v>La Vache Qui Rit Allegee Fromage Fondu Boite Ronde Allege 1X267Gr 16P</c:v>
                </c:pt>
                <c:pt idx="15">
                  <c:v>Babybel Mini Rolls St Paulin Ferme Sachet 1X85Gr 5P</c:v>
                </c:pt>
                <c:pt idx="16">
                  <c:v>Kiri Bio Fromage Blanc Frais Carre 1X144Gr 8P</c:v>
                </c:pt>
                <c:pt idx="17">
                  <c:v>La Vache Qui Rit Aro Fromage Fondu Boite Ronde Jambon 1X133Gr 8P</c:v>
                </c:pt>
                <c:pt idx="18">
                  <c:v>Mini Babybel Aros Soft Cheese Enfant 110G</c:v>
                </c:pt>
                <c:pt idx="19">
                  <c:v>Kiri Chevre Fromage Blanc Frais Carre 1X144Gr 8P</c:v>
                </c:pt>
                <c:pt idx="20">
                  <c:v>Mini Babybel Rouge Filet St Paulin Ferme Sachet 1X40Gr 1P</c:v>
                </c:pt>
                <c:pt idx="21">
                  <c:v>Mini Babybel Aros St Paulin Ferme Raclette Filet 1X132Gr 6P</c:v>
                </c:pt>
                <c:pt idx="22">
                  <c:v>Mini Babybel Aros St Paulin Ferme Assortis Filet 1X180Gr 9P</c:v>
                </c:pt>
              </c:strCache>
            </c:strRef>
          </c:cat>
          <c:val>
            <c:numRef>
              <c:f>Sheet1!$D$2:$D$24</c:f>
              <c:numCache>
                <c:formatCode>General</c:formatCode>
                <c:ptCount val="23"/>
                <c:pt idx="0">
                  <c:v>21578.717171717173</c:v>
                </c:pt>
                <c:pt idx="1">
                  <c:v>13093.826530612245</c:v>
                </c:pt>
                <c:pt idx="2">
                  <c:v>11768.01030927835</c:v>
                </c:pt>
                <c:pt idx="3">
                  <c:v>10893.58</c:v>
                </c:pt>
                <c:pt idx="4">
                  <c:v>10073.373737373737</c:v>
                </c:pt>
                <c:pt idx="5">
                  <c:v>8607.9696969696961</c:v>
                </c:pt>
                <c:pt idx="6">
                  <c:v>7935.6292134831465</c:v>
                </c:pt>
                <c:pt idx="7">
                  <c:v>6331.729166666667</c:v>
                </c:pt>
                <c:pt idx="8">
                  <c:v>4806.9191919191917</c:v>
                </c:pt>
                <c:pt idx="9">
                  <c:v>4681.333333333333</c:v>
                </c:pt>
                <c:pt idx="10">
                  <c:v>2817.3473684210526</c:v>
                </c:pt>
                <c:pt idx="11">
                  <c:v>3042.8372093023254</c:v>
                </c:pt>
                <c:pt idx="12">
                  <c:v>2135.4337349397592</c:v>
                </c:pt>
                <c:pt idx="13">
                  <c:v>2320.794520547945</c:v>
                </c:pt>
                <c:pt idx="14">
                  <c:v>1965.8214285714287</c:v>
                </c:pt>
                <c:pt idx="15">
                  <c:v>1584.7733333333333</c:v>
                </c:pt>
                <c:pt idx="16">
                  <c:v>1519.8666666666666</c:v>
                </c:pt>
                <c:pt idx="17">
                  <c:v>1414.515625</c:v>
                </c:pt>
                <c:pt idx="18">
                  <c:v>960.57627118644064</c:v>
                </c:pt>
                <c:pt idx="19">
                  <c:v>916.86206896551732</c:v>
                </c:pt>
                <c:pt idx="20">
                  <c:v>494</c:v>
                </c:pt>
                <c:pt idx="21">
                  <c:v>66.727272727272734</c:v>
                </c:pt>
                <c:pt idx="22">
                  <c:v>16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6</c:f>
              <c:strCache>
                <c:ptCount val="25"/>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Kiri Gouter Fromage Blanc Dips Boite 1X175Gr 5P</c:v>
                </c:pt>
                <c:pt idx="9">
                  <c:v>Kiri Creme Fromage Blanc Frais Carre 1X144Gr 8P</c:v>
                </c:pt>
                <c:pt idx="10">
                  <c:v>La Vache Qui Rit Pik Et Croq' Fromage Fondu Dips Boite 1X280Gr 8P</c:v>
                </c:pt>
                <c:pt idx="11">
                  <c:v>La Vache Qui Rit Pik Et Croq' Fromage Fondu Dips Boite 1X175Gr 5P</c:v>
                </c:pt>
                <c:pt idx="12">
                  <c:v>Mini Babybel Aros Soft Cheese Enfant 180G</c:v>
                </c:pt>
                <c:pt idx="13">
                  <c:v>Kiri Creme Fromage Blanc Frais Carre 1X432Gr 18+6P</c:v>
                </c:pt>
                <c:pt idx="14">
                  <c:v>La Vache Qui Rit Allegee Fromage Fondu Boite Ronde Allege 1X267Gr 16P</c:v>
                </c:pt>
                <c:pt idx="15">
                  <c:v>Babybel Mini Rolls St Paulin Ferme Sachet 1X85Gr 5P</c:v>
                </c:pt>
                <c:pt idx="16">
                  <c:v>La Vache Qui Rit Aro Fromage Fondu Boite Ronde Jambon 1X133Gr 8P</c:v>
                </c:pt>
                <c:pt idx="17">
                  <c:v>Mini Babybel Aros Soft Cheese Enfant 110G</c:v>
                </c:pt>
                <c:pt idx="18">
                  <c:v>Kiri Bio Fromage Blanc Frais Carre 1X144Gr 8P</c:v>
                </c:pt>
                <c:pt idx="19">
                  <c:v>Kiri Chevre Fromage Blanc Frais Carre 1X144Gr 8P</c:v>
                </c:pt>
                <c:pt idx="20">
                  <c:v>Mini Babybel Rouge Filet St Paulin Ferme Sachet 1X40Gr 1P</c:v>
                </c:pt>
                <c:pt idx="21">
                  <c:v>La Vache Qui Rit Nature Fromage Fondu Boite Ronde 1X512Gr 24+8P</c:v>
                </c:pt>
                <c:pt idx="22">
                  <c:v>Mini Babybel Aros St Paulin Ferme Raclette Filet 1X132Gr 6P</c:v>
                </c:pt>
                <c:pt idx="23">
                  <c:v>Mini Babybel Rouge Filet St Paulin Ferme 1X396Gr 12+6P</c:v>
                </c:pt>
                <c:pt idx="24">
                  <c:v>Mini Babybel Aros St Paulin Ferme Assortis Filet 1X180Gr 9P</c:v>
                </c:pt>
              </c:strCache>
            </c:strRef>
          </c:cat>
          <c:val>
            <c:numRef>
              <c:f>Sheet1!$B$2:$B$26</c:f>
              <c:numCache>
                <c:formatCode>General</c:formatCode>
                <c:ptCount val="25"/>
                <c:pt idx="0">
                  <c:v>0.99</c:v>
                </c:pt>
                <c:pt idx="1">
                  <c:v>0.99</c:v>
                </c:pt>
                <c:pt idx="2">
                  <c:v>0.99</c:v>
                </c:pt>
                <c:pt idx="3">
                  <c:v>0.99</c:v>
                </c:pt>
                <c:pt idx="4">
                  <c:v>0.99</c:v>
                </c:pt>
                <c:pt idx="5">
                  <c:v>0.99</c:v>
                </c:pt>
                <c:pt idx="6">
                  <c:v>0.99</c:v>
                </c:pt>
                <c:pt idx="7">
                  <c:v>0.99</c:v>
                </c:pt>
                <c:pt idx="8">
                  <c:v>0.99</c:v>
                </c:pt>
                <c:pt idx="9">
                  <c:v>0.99</c:v>
                </c:pt>
                <c:pt idx="10">
                  <c:v>0.98</c:v>
                </c:pt>
                <c:pt idx="11">
                  <c:v>0.99</c:v>
                </c:pt>
                <c:pt idx="12">
                  <c:v>0.95</c:v>
                </c:pt>
                <c:pt idx="13">
                  <c:v>0.94</c:v>
                </c:pt>
                <c:pt idx="14">
                  <c:v>0.96</c:v>
                </c:pt>
                <c:pt idx="15">
                  <c:v>0.97</c:v>
                </c:pt>
                <c:pt idx="16">
                  <c:v>0.88</c:v>
                </c:pt>
                <c:pt idx="17">
                  <c:v>0.9</c:v>
                </c:pt>
                <c:pt idx="18">
                  <c:v>0.87</c:v>
                </c:pt>
                <c:pt idx="19">
                  <c:v>0.73</c:v>
                </c:pt>
                <c:pt idx="20">
                  <c:v>0.21</c:v>
                </c:pt>
                <c:pt idx="21">
                  <c:v>0.01</c:v>
                </c:pt>
                <c:pt idx="22">
                  <c:v>0.16</c:v>
                </c:pt>
                <c:pt idx="23">
                  <c:v>0.01</c:v>
                </c:pt>
                <c:pt idx="24">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6</c:f>
              <c:strCache>
                <c:ptCount val="25"/>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Kiri Gouter Fromage Blanc Dips Boite 1X175Gr 5P</c:v>
                </c:pt>
                <c:pt idx="9">
                  <c:v>Kiri Creme Fromage Blanc Frais Carre 1X144Gr 8P</c:v>
                </c:pt>
                <c:pt idx="10">
                  <c:v>La Vache Qui Rit Pik Et Croq' Fromage Fondu Dips Boite 1X280Gr 8P</c:v>
                </c:pt>
                <c:pt idx="11">
                  <c:v>La Vache Qui Rit Pik Et Croq' Fromage Fondu Dips Boite 1X175Gr 5P</c:v>
                </c:pt>
                <c:pt idx="12">
                  <c:v>Mini Babybel Aros Soft Cheese Enfant 180G</c:v>
                </c:pt>
                <c:pt idx="13">
                  <c:v>Kiri Creme Fromage Blanc Frais Carre 1X432Gr 18+6P</c:v>
                </c:pt>
                <c:pt idx="14">
                  <c:v>La Vache Qui Rit Allegee Fromage Fondu Boite Ronde Allege 1X267Gr 16P</c:v>
                </c:pt>
                <c:pt idx="15">
                  <c:v>Babybel Mini Rolls St Paulin Ferme Sachet 1X85Gr 5P</c:v>
                </c:pt>
                <c:pt idx="16">
                  <c:v>La Vache Qui Rit Aro Fromage Fondu Boite Ronde Jambon 1X133Gr 8P</c:v>
                </c:pt>
                <c:pt idx="17">
                  <c:v>Mini Babybel Aros Soft Cheese Enfant 110G</c:v>
                </c:pt>
                <c:pt idx="18">
                  <c:v>Kiri Bio Fromage Blanc Frais Carre 1X144Gr 8P</c:v>
                </c:pt>
                <c:pt idx="19">
                  <c:v>Kiri Chevre Fromage Blanc Frais Carre 1X144Gr 8P</c:v>
                </c:pt>
                <c:pt idx="20">
                  <c:v>Mini Babybel Rouge Filet St Paulin Ferme Sachet 1X40Gr 1P</c:v>
                </c:pt>
                <c:pt idx="21">
                  <c:v>La Vache Qui Rit Nature Fromage Fondu Boite Ronde 1X512Gr 24+8P</c:v>
                </c:pt>
                <c:pt idx="22">
                  <c:v>Mini Babybel Aros St Paulin Ferme Raclette Filet 1X132Gr 6P</c:v>
                </c:pt>
                <c:pt idx="23">
                  <c:v>Mini Babybel Rouge Filet St Paulin Ferme 1X396Gr 12+6P</c:v>
                </c:pt>
                <c:pt idx="24">
                  <c:v>Mini Babybel Aros St Paulin Ferme Assortis Filet 1X180Gr 9P</c:v>
                </c:pt>
              </c:strCache>
            </c:strRef>
          </c:cat>
          <c:val>
            <c:numRef>
              <c:f>Sheet1!$C$2:$C$26</c:f>
              <c:numCache>
                <c:formatCode>General</c:formatCode>
                <c:ptCount val="25"/>
                <c:pt idx="0">
                  <c:v>0.19589250479658787</c:v>
                </c:pt>
                <c:pt idx="1">
                  <c:v>0.31473983202260863</c:v>
                </c:pt>
                <c:pt idx="2">
                  <c:v>0.4116273210202186</c:v>
                </c:pt>
                <c:pt idx="3">
                  <c:v>0.49973058786349722</c:v>
                </c:pt>
                <c:pt idx="4">
                  <c:v>0.57936996286558895</c:v>
                </c:pt>
                <c:pt idx="5">
                  <c:v>0.65084426161711351</c:v>
                </c:pt>
                <c:pt idx="6">
                  <c:v>0.71942315682176872</c:v>
                </c:pt>
                <c:pt idx="7">
                  <c:v>0.77420824625847029</c:v>
                </c:pt>
                <c:pt idx="8">
                  <c:v>0.81498342649208189</c:v>
                </c:pt>
                <c:pt idx="9">
                  <c:v>0.85353302820675747</c:v>
                </c:pt>
                <c:pt idx="10">
                  <c:v>0.8825688196210445</c:v>
                </c:pt>
                <c:pt idx="11">
                  <c:v>0.90823397117314053</c:v>
                </c:pt>
                <c:pt idx="12">
                  <c:v>0.92624322824108551</c:v>
                </c:pt>
                <c:pt idx="13">
                  <c:v>0.94280048059109089</c:v>
                </c:pt>
                <c:pt idx="14">
                  <c:v>0.95636527409039362</c:v>
                </c:pt>
                <c:pt idx="15">
                  <c:v>0.96882899190138061</c:v>
                </c:pt>
                <c:pt idx="16">
                  <c:v>0.97778294131118393</c:v>
                </c:pt>
                <c:pt idx="17">
                  <c:v>0.98646963005673693</c:v>
                </c:pt>
                <c:pt idx="18">
                  <c:v>0.99495551472539345</c:v>
                </c:pt>
                <c:pt idx="19">
                  <c:v>0.99910450943803086</c:v>
                </c:pt>
                <c:pt idx="20">
                  <c:v>0.99977385636101912</c:v>
                </c:pt>
                <c:pt idx="21">
                  <c:v>0.9998823861835322</c:v>
                </c:pt>
                <c:pt idx="22">
                  <c:v>0.99993402151759125</c:v>
                </c:pt>
                <c:pt idx="23">
                  <c:v>0.99998995979615524</c:v>
                </c:pt>
                <c:pt idx="2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6</c:f>
              <c:strCache>
                <c:ptCount val="25"/>
                <c:pt idx="0">
                  <c:v>Mini Babybel Rouge Filet St Paulin Ferme 1X264Gr 12P</c:v>
                </c:pt>
                <c:pt idx="1">
                  <c:v>La Vache Qui Rit Nature Fromage Fondu Boite Ronde 1X512Gr 3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Kiri Gouter Fromage Blanc Dips Boite 1X175Gr 5P</c:v>
                </c:pt>
                <c:pt idx="9">
                  <c:v>Kiri Creme Fromage Blanc Frais Carre 1X144Gr 8P</c:v>
                </c:pt>
                <c:pt idx="10">
                  <c:v>La Vache Qui Rit Pik Et Croq' Fromage Fondu Dips Boite 1X280Gr 8P</c:v>
                </c:pt>
                <c:pt idx="11">
                  <c:v>La Vache Qui Rit Pik Et Croq' Fromage Fondu Dips Boite 1X175Gr 5P</c:v>
                </c:pt>
                <c:pt idx="12">
                  <c:v>Mini Babybel Aros Soft Cheese Enfant 180G</c:v>
                </c:pt>
                <c:pt idx="13">
                  <c:v>Kiri Creme Fromage Blanc Frais Carre 1X432Gr 18+6P</c:v>
                </c:pt>
                <c:pt idx="14">
                  <c:v>La Vache Qui Rit Allegee Fromage Fondu Boite Ronde Allege 1X267Gr 16P</c:v>
                </c:pt>
                <c:pt idx="15">
                  <c:v>Babybel Mini Rolls St Paulin Ferme Sachet 1X85Gr 5P</c:v>
                </c:pt>
                <c:pt idx="16">
                  <c:v>La Vache Qui Rit Aro Fromage Fondu Boite Ronde Jambon 1X133Gr 8P</c:v>
                </c:pt>
                <c:pt idx="17">
                  <c:v>Mini Babybel Aros Soft Cheese Enfant 110G</c:v>
                </c:pt>
                <c:pt idx="18">
                  <c:v>Kiri Bio Fromage Blanc Frais Carre 1X144Gr 8P</c:v>
                </c:pt>
                <c:pt idx="19">
                  <c:v>Kiri Chevre Fromage Blanc Frais Carre 1X144Gr 8P</c:v>
                </c:pt>
                <c:pt idx="20">
                  <c:v>Mini Babybel Rouge Filet St Paulin Ferme Sachet 1X40Gr 1P</c:v>
                </c:pt>
                <c:pt idx="21">
                  <c:v>La Vache Qui Rit Nature Fromage Fondu Boite Ronde 1X512Gr 24+8P</c:v>
                </c:pt>
                <c:pt idx="22">
                  <c:v>Mini Babybel Aros St Paulin Ferme Raclette Filet 1X132Gr 6P</c:v>
                </c:pt>
                <c:pt idx="23">
                  <c:v>Mini Babybel Rouge Filet St Paulin Ferme 1X396Gr 12+6P</c:v>
                </c:pt>
                <c:pt idx="24">
                  <c:v>Mini Babybel Aros St Paulin Ferme Assortis Filet 1X180Gr 9P</c:v>
                </c:pt>
              </c:strCache>
            </c:strRef>
          </c:cat>
          <c:val>
            <c:numRef>
              <c:f>Sheet1!$D$2:$D$26</c:f>
              <c:numCache>
                <c:formatCode>General</c:formatCode>
                <c:ptCount val="25"/>
                <c:pt idx="0">
                  <c:v>4138.6565656565654</c:v>
                </c:pt>
                <c:pt idx="1">
                  <c:v>2510.909090909091</c:v>
                </c:pt>
                <c:pt idx="2">
                  <c:v>2046.9595959595961</c:v>
                </c:pt>
                <c:pt idx="3">
                  <c:v>1861.3737373737374</c:v>
                </c:pt>
                <c:pt idx="4">
                  <c:v>1682.5555555555557</c:v>
                </c:pt>
                <c:pt idx="5">
                  <c:v>1510.0505050505051</c:v>
                </c:pt>
                <c:pt idx="6">
                  <c:v>1448.878787878788</c:v>
                </c:pt>
                <c:pt idx="7">
                  <c:v>1157.4545454545455</c:v>
                </c:pt>
                <c:pt idx="8">
                  <c:v>861.46464646464642</c:v>
                </c:pt>
                <c:pt idx="9">
                  <c:v>814.44444444444446</c:v>
                </c:pt>
                <c:pt idx="10">
                  <c:v>619.70408163265301</c:v>
                </c:pt>
                <c:pt idx="11">
                  <c:v>542.23232323232321</c:v>
                </c:pt>
                <c:pt idx="12">
                  <c:v>396.50526315789472</c:v>
                </c:pt>
                <c:pt idx="13">
                  <c:v>368.41489361702128</c:v>
                </c:pt>
                <c:pt idx="14">
                  <c:v>295.54166666666669</c:v>
                </c:pt>
                <c:pt idx="15">
                  <c:v>268.7525773195876</c:v>
                </c:pt>
                <c:pt idx="16">
                  <c:v>212.81818181818181</c:v>
                </c:pt>
                <c:pt idx="17">
                  <c:v>201.87777777777777</c:v>
                </c:pt>
                <c:pt idx="18">
                  <c:v>204.01149425287358</c:v>
                </c:pt>
                <c:pt idx="19">
                  <c:v>118.87671232876713</c:v>
                </c:pt>
                <c:pt idx="20">
                  <c:v>66.666666666666671</c:v>
                </c:pt>
                <c:pt idx="21">
                  <c:v>227</c:v>
                </c:pt>
                <c:pt idx="22">
                  <c:v>6.75</c:v>
                </c:pt>
                <c:pt idx="23">
                  <c:v>53</c:v>
                </c:pt>
                <c:pt idx="24">
                  <c:v>1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Kiri</c:v>
                </c:pt>
                <c:pt idx="8">
                  <c:v>Boursin</c:v>
                </c:pt>
                <c:pt idx="9">
                  <c:v>Others</c:v>
                </c:pt>
              </c:strCache>
            </c:strRef>
          </c:cat>
          <c:val>
            <c:numRef>
              <c:f>Sheet1!$B$2:$B$11</c:f>
              <c:numCache>
                <c:formatCode>General</c:formatCode>
                <c:ptCount val="10"/>
                <c:pt idx="0">
                  <c:v>0.33488394840298935</c:v>
                </c:pt>
                <c:pt idx="1">
                  <c:v>6.6423463404512412E-2</c:v>
                </c:pt>
                <c:pt idx="2">
                  <c:v>5.7811796181701826E-2</c:v>
                </c:pt>
                <c:pt idx="3">
                  <c:v>4.9670993609390264E-2</c:v>
                </c:pt>
                <c:pt idx="4">
                  <c:v>4.8731537597397193E-2</c:v>
                </c:pt>
                <c:pt idx="5">
                  <c:v>4.3741258420882986E-2</c:v>
                </c:pt>
                <c:pt idx="6">
                  <c:v>3.3245073274329115E-2</c:v>
                </c:pt>
                <c:pt idx="7">
                  <c:v>2.7519787183034213E-2</c:v>
                </c:pt>
                <c:pt idx="8">
                  <c:v>2.4358229830059662E-2</c:v>
                </c:pt>
                <c:pt idx="9">
                  <c:v>0.31361391209570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Kiri</c:v>
                </c:pt>
                <c:pt idx="8">
                  <c:v>Boursin</c:v>
                </c:pt>
                <c:pt idx="9">
                  <c:v>Others</c:v>
                </c:pt>
              </c:strCache>
            </c:strRef>
          </c:cat>
          <c:val>
            <c:numRef>
              <c:f>Sheet1!$C$2:$C$11</c:f>
              <c:numCache>
                <c:formatCode>General</c:formatCode>
                <c:ptCount val="10"/>
                <c:pt idx="0">
                  <c:v>0.25039913700107846</c:v>
                </c:pt>
                <c:pt idx="1">
                  <c:v>4.9449838187702211E-2</c:v>
                </c:pt>
                <c:pt idx="2">
                  <c:v>4.9320388349514521E-2</c:v>
                </c:pt>
                <c:pt idx="3">
                  <c:v>3.5685005393743231E-2</c:v>
                </c:pt>
                <c:pt idx="4">
                  <c:v>5.3851132686084081E-2</c:v>
                </c:pt>
                <c:pt idx="5">
                  <c:v>2.9514563106796086E-2</c:v>
                </c:pt>
                <c:pt idx="6">
                  <c:v>3.115426105717365E-2</c:v>
                </c:pt>
                <c:pt idx="7">
                  <c:v>3.3959007551240525E-2</c:v>
                </c:pt>
                <c:pt idx="8">
                  <c:v>5.5102481121898549E-2</c:v>
                </c:pt>
                <c:pt idx="9">
                  <c:v>0.4115641855447676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Kiri</c:v>
                </c:pt>
                <c:pt idx="8">
                  <c:v>Boursin</c:v>
                </c:pt>
                <c:pt idx="9">
                  <c:v>Others</c:v>
                </c:pt>
              </c:strCache>
            </c:strRef>
          </c:cat>
          <c:val>
            <c:numRef>
              <c:f>Sheet1!$D$2:$D$11</c:f>
              <c:numCache>
                <c:formatCode>General</c:formatCode>
                <c:ptCount val="10"/>
                <c:pt idx="0">
                  <c:v>74.771913731665521</c:v>
                </c:pt>
                <c:pt idx="1">
                  <c:v>74.446341176998743</c:v>
                </c:pt>
                <c:pt idx="2">
                  <c:v>85.311980611190648</c:v>
                </c:pt>
                <c:pt idx="3">
                  <c:v>71.842745233501844</c:v>
                </c:pt>
                <c:pt idx="4">
                  <c:v>110.5057121960386</c:v>
                </c:pt>
                <c:pt idx="5">
                  <c:v>67.475340610468621</c:v>
                </c:pt>
                <c:pt idx="6">
                  <c:v>93.710911087779351</c:v>
                </c:pt>
                <c:pt idx="7">
                  <c:v>123.39851077110093</c:v>
                </c:pt>
                <c:pt idx="8">
                  <c:v>226.21709995485162</c:v>
                </c:pt>
                <c:pt idx="9">
                  <c:v>131.2327577544372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Mini Babybel Rouge Filet St Paulin Ferme 1X264Gr 12P</c:v>
                </c:pt>
                <c:pt idx="1">
                  <c:v>Mini Babybel Rouge Filet St Paulin Ferme 1X132Gr 6P</c:v>
                </c:pt>
                <c:pt idx="2">
                  <c:v>La Vache Qui Rit Nature Fromage Fondu Boite Ronde 1X192Gr 12P</c:v>
                </c:pt>
                <c:pt idx="3">
                  <c:v>Kiri Creme Fromage Blanc Frais Carre 1X216Gr 12P</c:v>
                </c:pt>
                <c:pt idx="4">
                  <c:v>La Vache Qui Rit Nature Fromage Fondu Boite Ronde 1X512Gr 32P</c:v>
                </c:pt>
                <c:pt idx="5">
                  <c:v>La Vache Qui Rit Nature Fromage Fondu Boite Ronde 1X384Gr 24P</c:v>
                </c:pt>
                <c:pt idx="6">
                  <c:v>Kiri Creme Fromage Blanc Frais Carre 1X144Gr 8P</c:v>
                </c:pt>
                <c:pt idx="7">
                  <c:v>Kiri Gouter Fromage Blanc Dips Boite 1X175Gr 5P</c:v>
                </c:pt>
                <c:pt idx="8">
                  <c:v>Kiri Gouter Fromage Blanc Dips Boite 1X280Gr 8P</c:v>
                </c:pt>
                <c:pt idx="9">
                  <c:v>Kiri Creme Fromage Blanc Frais Carre 1X432Gr 24P</c:v>
                </c:pt>
                <c:pt idx="10">
                  <c:v>La Vache Qui Rit Pik Et Croq' Fromage Fondu Dips Boite 1X175Gr 5P</c:v>
                </c:pt>
                <c:pt idx="11">
                  <c:v>Kiri Creme Fromage Blanc Frais Carre 1X432Gr 18+6P</c:v>
                </c:pt>
                <c:pt idx="12">
                  <c:v>La Vache Qui Rit Allegee Fromage Fondu Boite Ronde Allege 1X267Gr 16P</c:v>
                </c:pt>
                <c:pt idx="13">
                  <c:v>Mini Babybel Aros Soft Cheese Enfant 180G</c:v>
                </c:pt>
                <c:pt idx="14">
                  <c:v>La Vache Qui Rit Pik Et Croq' Fromage Fondu Dips Boite 1X280Gr 8P</c:v>
                </c:pt>
                <c:pt idx="15">
                  <c:v>Babybel Mini Rolls St Paulin Ferme Sachet 1X85Gr 5P</c:v>
                </c:pt>
                <c:pt idx="16">
                  <c:v>Kiri Bio Fromage Blanc Frais Carre 1X144Gr 8P</c:v>
                </c:pt>
                <c:pt idx="17">
                  <c:v>La Vache Qui Rit Aro Fromage Fondu Boite Ronde Jambon 1X133Gr 8P</c:v>
                </c:pt>
                <c:pt idx="18">
                  <c:v>Mini Babybel Aros Soft Cheese Enfant 110G</c:v>
                </c:pt>
                <c:pt idx="19">
                  <c:v>Kiri Chevre Fromage Blanc Frais Carre 1X144Gr 8P</c:v>
                </c:pt>
                <c:pt idx="20">
                  <c:v>Mini Babybel Rouge Filet St Paulin Ferme Sachet 1X40Gr 1P</c:v>
                </c:pt>
                <c:pt idx="21">
                  <c:v>Mini Babybel Aros St Paulin Ferme Raclette Filet 1X132Gr 6P</c:v>
                </c:pt>
                <c:pt idx="22">
                  <c:v>Mini Babybel Aros St Paulin Ferme Assortis Filet 1X180Gr 9P</c:v>
                </c:pt>
              </c:strCache>
            </c:strRef>
          </c:cat>
          <c:val>
            <c:numRef>
              <c:f>Sheet1!$B$2:$B$24</c:f>
              <c:numCache>
                <c:formatCode>General</c:formatCode>
                <c:ptCount val="23"/>
                <c:pt idx="0">
                  <c:v>0.88</c:v>
                </c:pt>
                <c:pt idx="1">
                  <c:v>0.98</c:v>
                </c:pt>
                <c:pt idx="2">
                  <c:v>0.98</c:v>
                </c:pt>
                <c:pt idx="3">
                  <c:v>0.85</c:v>
                </c:pt>
                <c:pt idx="4">
                  <c:v>0.65</c:v>
                </c:pt>
                <c:pt idx="5">
                  <c:v>0.68</c:v>
                </c:pt>
                <c:pt idx="6">
                  <c:v>0.92</c:v>
                </c:pt>
                <c:pt idx="7">
                  <c:v>0.89</c:v>
                </c:pt>
                <c:pt idx="8">
                  <c:v>0.67</c:v>
                </c:pt>
                <c:pt idx="9">
                  <c:v>0.47</c:v>
                </c:pt>
                <c:pt idx="10">
                  <c:v>0.77</c:v>
                </c:pt>
                <c:pt idx="11">
                  <c:v>0.59</c:v>
                </c:pt>
                <c:pt idx="12">
                  <c:v>0.42</c:v>
                </c:pt>
                <c:pt idx="13">
                  <c:v>0.3</c:v>
                </c:pt>
                <c:pt idx="14">
                  <c:v>0.32</c:v>
                </c:pt>
                <c:pt idx="15">
                  <c:v>0.37</c:v>
                </c:pt>
                <c:pt idx="16">
                  <c:v>0.3</c:v>
                </c:pt>
                <c:pt idx="17">
                  <c:v>0.25</c:v>
                </c:pt>
                <c:pt idx="18">
                  <c:v>0.19</c:v>
                </c:pt>
                <c:pt idx="19">
                  <c:v>0.1</c:v>
                </c:pt>
                <c:pt idx="20">
                  <c:v>0.13</c:v>
                </c:pt>
                <c:pt idx="21">
                  <c:v>0.08</c:v>
                </c:pt>
                <c:pt idx="2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Mini Babybel Rouge Filet St Paulin Ferme 1X264Gr 12P</c:v>
                </c:pt>
                <c:pt idx="1">
                  <c:v>Mini Babybel Rouge Filet St Paulin Ferme 1X132Gr 6P</c:v>
                </c:pt>
                <c:pt idx="2">
                  <c:v>La Vache Qui Rit Nature Fromage Fondu Boite Ronde 1X192Gr 12P</c:v>
                </c:pt>
                <c:pt idx="3">
                  <c:v>Kiri Creme Fromage Blanc Frais Carre 1X216Gr 12P</c:v>
                </c:pt>
                <c:pt idx="4">
                  <c:v>La Vache Qui Rit Nature Fromage Fondu Boite Ronde 1X512Gr 32P</c:v>
                </c:pt>
                <c:pt idx="5">
                  <c:v>La Vache Qui Rit Nature Fromage Fondu Boite Ronde 1X384Gr 24P</c:v>
                </c:pt>
                <c:pt idx="6">
                  <c:v>Kiri Creme Fromage Blanc Frais Carre 1X144Gr 8P</c:v>
                </c:pt>
                <c:pt idx="7">
                  <c:v>Kiri Gouter Fromage Blanc Dips Boite 1X175Gr 5P</c:v>
                </c:pt>
                <c:pt idx="8">
                  <c:v>Kiri Gouter Fromage Blanc Dips Boite 1X280Gr 8P</c:v>
                </c:pt>
                <c:pt idx="9">
                  <c:v>Kiri Creme Fromage Blanc Frais Carre 1X432Gr 24P</c:v>
                </c:pt>
                <c:pt idx="10">
                  <c:v>La Vache Qui Rit Pik Et Croq' Fromage Fondu Dips Boite 1X175Gr 5P</c:v>
                </c:pt>
                <c:pt idx="11">
                  <c:v>Kiri Creme Fromage Blanc Frais Carre 1X432Gr 18+6P</c:v>
                </c:pt>
                <c:pt idx="12">
                  <c:v>La Vache Qui Rit Allegee Fromage Fondu Boite Ronde Allege 1X267Gr 16P</c:v>
                </c:pt>
                <c:pt idx="13">
                  <c:v>Mini Babybel Aros Soft Cheese Enfant 180G</c:v>
                </c:pt>
                <c:pt idx="14">
                  <c:v>La Vache Qui Rit Pik Et Croq' Fromage Fondu Dips Boite 1X280Gr 8P</c:v>
                </c:pt>
                <c:pt idx="15">
                  <c:v>Babybel Mini Rolls St Paulin Ferme Sachet 1X85Gr 5P</c:v>
                </c:pt>
                <c:pt idx="16">
                  <c:v>Kiri Bio Fromage Blanc Frais Carre 1X144Gr 8P</c:v>
                </c:pt>
                <c:pt idx="17">
                  <c:v>La Vache Qui Rit Aro Fromage Fondu Boite Ronde Jambon 1X133Gr 8P</c:v>
                </c:pt>
                <c:pt idx="18">
                  <c:v>Mini Babybel Aros Soft Cheese Enfant 110G</c:v>
                </c:pt>
                <c:pt idx="19">
                  <c:v>Kiri Chevre Fromage Blanc Frais Carre 1X144Gr 8P</c:v>
                </c:pt>
                <c:pt idx="20">
                  <c:v>Mini Babybel Rouge Filet St Paulin Ferme Sachet 1X40Gr 1P</c:v>
                </c:pt>
                <c:pt idx="21">
                  <c:v>Mini Babybel Aros St Paulin Ferme Raclette Filet 1X132Gr 6P</c:v>
                </c:pt>
                <c:pt idx="22">
                  <c:v>Mini Babybel Aros St Paulin Ferme Assortis Filet 1X180Gr 9P</c:v>
                </c:pt>
              </c:strCache>
            </c:strRef>
          </c:cat>
          <c:val>
            <c:numRef>
              <c:f>Sheet1!$C$2:$C$24</c:f>
              <c:numCache>
                <c:formatCode>General</c:formatCode>
                <c:ptCount val="23"/>
                <c:pt idx="0">
                  <c:v>0.17873431564897257</c:v>
                </c:pt>
                <c:pt idx="1">
                  <c:v>0.32091129078418407</c:v>
                </c:pt>
                <c:pt idx="2">
                  <c:v>0.44885772011676722</c:v>
                </c:pt>
                <c:pt idx="3">
                  <c:v>0.53263526325596355</c:v>
                </c:pt>
                <c:pt idx="4">
                  <c:v>0.61616862800975747</c:v>
                </c:pt>
                <c:pt idx="5">
                  <c:v>0.69062233215323932</c:v>
                </c:pt>
                <c:pt idx="6">
                  <c:v>0.75139291285937149</c:v>
                </c:pt>
                <c:pt idx="7">
                  <c:v>0.80965229241488157</c:v>
                </c:pt>
                <c:pt idx="8">
                  <c:v>0.85204190369019905</c:v>
                </c:pt>
                <c:pt idx="9">
                  <c:v>0.88892136481712192</c:v>
                </c:pt>
                <c:pt idx="10">
                  <c:v>0.91640574288076904</c:v>
                </c:pt>
                <c:pt idx="11">
                  <c:v>0.93512040247417849</c:v>
                </c:pt>
                <c:pt idx="12">
                  <c:v>0.94905196676251113</c:v>
                </c:pt>
                <c:pt idx="13">
                  <c:v>0.95980007818579716</c:v>
                </c:pt>
                <c:pt idx="14">
                  <c:v>0.96981626337653026</c:v>
                </c:pt>
                <c:pt idx="15">
                  <c:v>0.97916628608938261</c:v>
                </c:pt>
                <c:pt idx="16">
                  <c:v>0.98769365294518097</c:v>
                </c:pt>
                <c:pt idx="17">
                  <c:v>0.99230198716145357</c:v>
                </c:pt>
                <c:pt idx="18">
                  <c:v>0.99645362863694864</c:v>
                </c:pt>
                <c:pt idx="19">
                  <c:v>0.99839609509438909</c:v>
                </c:pt>
                <c:pt idx="20">
                  <c:v>0.99978992133924216</c:v>
                </c:pt>
                <c:pt idx="21">
                  <c:v>0.9999677270463182</c:v>
                </c:pt>
                <c:pt idx="22">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4</c:f>
              <c:strCache>
                <c:ptCount val="23"/>
                <c:pt idx="0">
                  <c:v>Mini Babybel Rouge Filet St Paulin Ferme 1X264Gr 12P</c:v>
                </c:pt>
                <c:pt idx="1">
                  <c:v>Mini Babybel Rouge Filet St Paulin Ferme 1X132Gr 6P</c:v>
                </c:pt>
                <c:pt idx="2">
                  <c:v>La Vache Qui Rit Nature Fromage Fondu Boite Ronde 1X192Gr 12P</c:v>
                </c:pt>
                <c:pt idx="3">
                  <c:v>Kiri Creme Fromage Blanc Frais Carre 1X216Gr 12P</c:v>
                </c:pt>
                <c:pt idx="4">
                  <c:v>La Vache Qui Rit Nature Fromage Fondu Boite Ronde 1X512Gr 32P</c:v>
                </c:pt>
                <c:pt idx="5">
                  <c:v>La Vache Qui Rit Nature Fromage Fondu Boite Ronde 1X384Gr 24P</c:v>
                </c:pt>
                <c:pt idx="6">
                  <c:v>Kiri Creme Fromage Blanc Frais Carre 1X144Gr 8P</c:v>
                </c:pt>
                <c:pt idx="7">
                  <c:v>Kiri Gouter Fromage Blanc Dips Boite 1X175Gr 5P</c:v>
                </c:pt>
                <c:pt idx="8">
                  <c:v>Kiri Gouter Fromage Blanc Dips Boite 1X280Gr 8P</c:v>
                </c:pt>
                <c:pt idx="9">
                  <c:v>Kiri Creme Fromage Blanc Frais Carre 1X432Gr 24P</c:v>
                </c:pt>
                <c:pt idx="10">
                  <c:v>La Vache Qui Rit Pik Et Croq' Fromage Fondu Dips Boite 1X175Gr 5P</c:v>
                </c:pt>
                <c:pt idx="11">
                  <c:v>Kiri Creme Fromage Blanc Frais Carre 1X432Gr 18+6P</c:v>
                </c:pt>
                <c:pt idx="12">
                  <c:v>La Vache Qui Rit Allegee Fromage Fondu Boite Ronde Allege 1X267Gr 16P</c:v>
                </c:pt>
                <c:pt idx="13">
                  <c:v>Mini Babybel Aros Soft Cheese Enfant 180G</c:v>
                </c:pt>
                <c:pt idx="14">
                  <c:v>La Vache Qui Rit Pik Et Croq' Fromage Fondu Dips Boite 1X280Gr 8P</c:v>
                </c:pt>
                <c:pt idx="15">
                  <c:v>Babybel Mini Rolls St Paulin Ferme Sachet 1X85Gr 5P</c:v>
                </c:pt>
                <c:pt idx="16">
                  <c:v>Kiri Bio Fromage Blanc Frais Carre 1X144Gr 8P</c:v>
                </c:pt>
                <c:pt idx="17">
                  <c:v>La Vache Qui Rit Aro Fromage Fondu Boite Ronde Jambon 1X133Gr 8P</c:v>
                </c:pt>
                <c:pt idx="18">
                  <c:v>Mini Babybel Aros Soft Cheese Enfant 110G</c:v>
                </c:pt>
                <c:pt idx="19">
                  <c:v>Kiri Chevre Fromage Blanc Frais Carre 1X144Gr 8P</c:v>
                </c:pt>
                <c:pt idx="20">
                  <c:v>Mini Babybel Rouge Filet St Paulin Ferme Sachet 1X40Gr 1P</c:v>
                </c:pt>
                <c:pt idx="21">
                  <c:v>Mini Babybel Aros St Paulin Ferme Raclette Filet 1X132Gr 6P</c:v>
                </c:pt>
                <c:pt idx="22">
                  <c:v>Mini Babybel Aros St Paulin Ferme Assortis Filet 1X180Gr 9P</c:v>
                </c:pt>
              </c:strCache>
            </c:strRef>
          </c:cat>
          <c:val>
            <c:numRef>
              <c:f>Sheet1!$D$2:$D$24</c:f>
              <c:numCache>
                <c:formatCode>General</c:formatCode>
                <c:ptCount val="23"/>
                <c:pt idx="0">
                  <c:v>3335.5113636363635</c:v>
                </c:pt>
                <c:pt idx="1">
                  <c:v>2382.5408163265306</c:v>
                </c:pt>
                <c:pt idx="2">
                  <c:v>2144.0714285714284</c:v>
                </c:pt>
                <c:pt idx="3">
                  <c:v>1618.6235294117646</c:v>
                </c:pt>
                <c:pt idx="4">
                  <c:v>2110.4923076923078</c:v>
                </c:pt>
                <c:pt idx="5">
                  <c:v>1798.1029411764705</c:v>
                </c:pt>
                <c:pt idx="6">
                  <c:v>1084.7826086956522</c:v>
                </c:pt>
                <c:pt idx="7">
                  <c:v>1075.0112359550562</c:v>
                </c:pt>
                <c:pt idx="8">
                  <c:v>1039.0149253731342</c:v>
                </c:pt>
                <c:pt idx="9">
                  <c:v>1288.6170212765958</c:v>
                </c:pt>
                <c:pt idx="10">
                  <c:v>586.18181818181813</c:v>
                </c:pt>
                <c:pt idx="11">
                  <c:v>520.91525423728808</c:v>
                </c:pt>
                <c:pt idx="12">
                  <c:v>544.73809523809518</c:v>
                </c:pt>
                <c:pt idx="13">
                  <c:v>588.36666666666667</c:v>
                </c:pt>
                <c:pt idx="14">
                  <c:v>514.03125</c:v>
                </c:pt>
                <c:pt idx="15">
                  <c:v>415</c:v>
                </c:pt>
                <c:pt idx="16">
                  <c:v>466.8</c:v>
                </c:pt>
                <c:pt idx="17">
                  <c:v>302.72000000000003</c:v>
                </c:pt>
                <c:pt idx="18">
                  <c:v>358.84210526315792</c:v>
                </c:pt>
                <c:pt idx="19">
                  <c:v>319</c:v>
                </c:pt>
                <c:pt idx="20">
                  <c:v>176.07692307692307</c:v>
                </c:pt>
                <c:pt idx="21">
                  <c:v>15.75</c:v>
                </c:pt>
                <c:pt idx="22">
                  <c:v>5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Kiri Delicieusement Fouette Fromage Frais A Tartiner 1X125Gr 1P</c:v>
                </c:pt>
                <c:pt idx="7">
                  <c:v>Boursin Classique Fromage Frais A Tartiner Figue Et 3 Noix Boite 1X150Gr 1P</c:v>
                </c:pt>
                <c:pt idx="8">
                  <c:v>Kiri Delicieusement Fouette Fromage Frais A Tartiner 1X210Gr 1P</c:v>
                </c:pt>
                <c:pt idx="9">
                  <c:v>Boursin Classique Fromage Frais A Tartiner Poivre Boite 1X150Gr 1P</c:v>
                </c:pt>
                <c:pt idx="10">
                  <c:v>Boursin Classique Fromage Frais A Tartiner Afh 1X256Gr 16P</c:v>
                </c:pt>
                <c:pt idx="11">
                  <c:v>Boursin Classique Fromage Frais A Tartiner Afh Boite 1X320Gr 16+4P</c:v>
                </c:pt>
                <c:pt idx="12">
                  <c:v>Boursin Classique Fromage Frais A Tartiner Afh Boite 1X80Gr 1P</c:v>
                </c:pt>
                <c:pt idx="13">
                  <c:v>Boursin Classique Fromage Frais A Tartiner 3 Noix Boite 1X150Gr 1P</c:v>
                </c:pt>
                <c:pt idx="14">
                  <c:v>Boursin Onctueux Fromage Frais A Tartiner Afh 1X210Gr 1P</c:v>
                </c:pt>
                <c:pt idx="15">
                  <c:v>Boursin Classique Fromage Frais A Tartiner 3 Noix 1X160Gr 10P</c:v>
                </c:pt>
                <c:pt idx="16">
                  <c:v>Kiri Delicieusement Fouette Fromage Frais A Tartiner 1X160Gr 10P</c:v>
                </c:pt>
              </c:strCache>
            </c:strRef>
          </c:cat>
          <c:val>
            <c:numRef>
              <c:f>Sheet1!$B$2:$B$18</c:f>
              <c:numCache>
                <c:formatCode>General</c:formatCode>
                <c:ptCount val="17"/>
                <c:pt idx="0">
                  <c:v>0.96799999999999997</c:v>
                </c:pt>
                <c:pt idx="1">
                  <c:v>0.90300000000000002</c:v>
                </c:pt>
                <c:pt idx="2">
                  <c:v>0.80100000000000005</c:v>
                </c:pt>
                <c:pt idx="3">
                  <c:v>0.80500000000000005</c:v>
                </c:pt>
                <c:pt idx="4">
                  <c:v>0.76300000000000001</c:v>
                </c:pt>
                <c:pt idx="5">
                  <c:v>0.78600000000000003</c:v>
                </c:pt>
                <c:pt idx="6">
                  <c:v>0.75</c:v>
                </c:pt>
                <c:pt idx="7">
                  <c:v>0.67200000000000004</c:v>
                </c:pt>
                <c:pt idx="8">
                  <c:v>0.61199999999999999</c:v>
                </c:pt>
                <c:pt idx="9">
                  <c:v>0.39700000000000002</c:v>
                </c:pt>
                <c:pt idx="10">
                  <c:v>0.23899999999999999</c:v>
                </c:pt>
                <c:pt idx="11">
                  <c:v>0.38400000000000001</c:v>
                </c:pt>
                <c:pt idx="12">
                  <c:v>0.36599999999999999</c:v>
                </c:pt>
                <c:pt idx="13">
                  <c:v>0.34</c:v>
                </c:pt>
                <c:pt idx="14">
                  <c:v>0.27400000000000002</c:v>
                </c:pt>
                <c:pt idx="15">
                  <c:v>0.24</c:v>
                </c:pt>
                <c:pt idx="16">
                  <c:v>0.39500000000000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Kiri Delicieusement Fouette Fromage Frais A Tartiner 1X125Gr 1P</c:v>
                </c:pt>
                <c:pt idx="7">
                  <c:v>Boursin Classique Fromage Frais A Tartiner Figue Et 3 Noix Boite 1X150Gr 1P</c:v>
                </c:pt>
                <c:pt idx="8">
                  <c:v>Kiri Delicieusement Fouette Fromage Frais A Tartiner 1X210Gr 1P</c:v>
                </c:pt>
                <c:pt idx="9">
                  <c:v>Boursin Classique Fromage Frais A Tartiner Poivre Boite 1X150Gr 1P</c:v>
                </c:pt>
                <c:pt idx="10">
                  <c:v>Boursin Classique Fromage Frais A Tartiner Afh 1X256Gr 16P</c:v>
                </c:pt>
                <c:pt idx="11">
                  <c:v>Boursin Classique Fromage Frais A Tartiner Afh Boite 1X320Gr 16+4P</c:v>
                </c:pt>
                <c:pt idx="12">
                  <c:v>Boursin Classique Fromage Frais A Tartiner Afh Boite 1X80Gr 1P</c:v>
                </c:pt>
                <c:pt idx="13">
                  <c:v>Boursin Classique Fromage Frais A Tartiner 3 Noix Boite 1X150Gr 1P</c:v>
                </c:pt>
                <c:pt idx="14">
                  <c:v>Boursin Onctueux Fromage Frais A Tartiner Afh 1X210Gr 1P</c:v>
                </c:pt>
                <c:pt idx="15">
                  <c:v>Boursin Classique Fromage Frais A Tartiner 3 Noix 1X160Gr 10P</c:v>
                </c:pt>
                <c:pt idx="16">
                  <c:v>Kiri Delicieusement Fouette Fromage Frais A Tartiner 1X160Gr 10P</c:v>
                </c:pt>
              </c:strCache>
            </c:strRef>
          </c:cat>
          <c:val>
            <c:numRef>
              <c:f>Sheet1!$C$2:$C$18</c:f>
              <c:numCache>
                <c:formatCode>General</c:formatCode>
                <c:ptCount val="17"/>
                <c:pt idx="0">
                  <c:v>0.25369122577773312</c:v>
                </c:pt>
                <c:pt idx="1">
                  <c:v>0.48986386230432527</c:v>
                </c:pt>
                <c:pt idx="2">
                  <c:v>0.63571619173433469</c:v>
                </c:pt>
                <c:pt idx="3">
                  <c:v>0.70996520274070307</c:v>
                </c:pt>
                <c:pt idx="4">
                  <c:v>0.76293320074955318</c:v>
                </c:pt>
                <c:pt idx="5">
                  <c:v>0.81245228539496339</c:v>
                </c:pt>
                <c:pt idx="6">
                  <c:v>0.86179636663005066</c:v>
                </c:pt>
                <c:pt idx="7">
                  <c:v>0.90191612280991462</c:v>
                </c:pt>
                <c:pt idx="8">
                  <c:v>0.94181151564321086</c:v>
                </c:pt>
                <c:pt idx="9">
                  <c:v>0.95870936630218095</c:v>
                </c:pt>
                <c:pt idx="10">
                  <c:v>0.96873511723134431</c:v>
                </c:pt>
                <c:pt idx="11">
                  <c:v>0.97723788976400561</c:v>
                </c:pt>
                <c:pt idx="12">
                  <c:v>0.98534428705106381</c:v>
                </c:pt>
                <c:pt idx="13">
                  <c:v>0.9901624151308247</c:v>
                </c:pt>
                <c:pt idx="14">
                  <c:v>0.99436279612970224</c:v>
                </c:pt>
                <c:pt idx="15">
                  <c:v>0.99743238586187821</c:v>
                </c:pt>
                <c:pt idx="16">
                  <c:v>0.9999922220706521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8</c:f>
              <c:strCache>
                <c:ptCount val="17"/>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Kiri Delicieusement Fouette Fromage Frais A Tartiner 1X125Gr 1P</c:v>
                </c:pt>
                <c:pt idx="7">
                  <c:v>Boursin Classique Fromage Frais A Tartiner Figue Et 3 Noix Boite 1X150Gr 1P</c:v>
                </c:pt>
                <c:pt idx="8">
                  <c:v>Kiri Delicieusement Fouette Fromage Frais A Tartiner 1X210Gr 1P</c:v>
                </c:pt>
                <c:pt idx="9">
                  <c:v>Boursin Classique Fromage Frais A Tartiner Poivre Boite 1X150Gr 1P</c:v>
                </c:pt>
                <c:pt idx="10">
                  <c:v>Boursin Classique Fromage Frais A Tartiner Afh 1X256Gr 16P</c:v>
                </c:pt>
                <c:pt idx="11">
                  <c:v>Boursin Classique Fromage Frais A Tartiner Afh Boite 1X320Gr 16+4P</c:v>
                </c:pt>
                <c:pt idx="12">
                  <c:v>Boursin Classique Fromage Frais A Tartiner Afh Boite 1X80Gr 1P</c:v>
                </c:pt>
                <c:pt idx="13">
                  <c:v>Boursin Classique Fromage Frais A Tartiner 3 Noix Boite 1X150Gr 1P</c:v>
                </c:pt>
                <c:pt idx="14">
                  <c:v>Boursin Onctueux Fromage Frais A Tartiner Afh 1X210Gr 1P</c:v>
                </c:pt>
                <c:pt idx="15">
                  <c:v>Boursin Classique Fromage Frais A Tartiner 3 Noix 1X160Gr 10P</c:v>
                </c:pt>
                <c:pt idx="16">
                  <c:v>Kiri Delicieusement Fouette Fromage Frais A Tartiner 1X160Gr 10P</c:v>
                </c:pt>
              </c:strCache>
            </c:strRef>
          </c:cat>
          <c:val>
            <c:numRef>
              <c:f>Sheet1!$D$2:$D$18</c:f>
              <c:numCache>
                <c:formatCode>General</c:formatCode>
                <c:ptCount val="17"/>
                <c:pt idx="0">
                  <c:v>8760.7128099173551</c:v>
                </c:pt>
                <c:pt idx="1">
                  <c:v>8742.8128460686603</c:v>
                </c:pt>
                <c:pt idx="2">
                  <c:v>6086.816479400748</c:v>
                </c:pt>
                <c:pt idx="3">
                  <c:v>3083.217391304348</c:v>
                </c:pt>
                <c:pt idx="4">
                  <c:v>2320.5897771952818</c:v>
                </c:pt>
                <c:pt idx="5">
                  <c:v>2106.0050890585239</c:v>
                </c:pt>
                <c:pt idx="6">
                  <c:v>2199.2933333333335</c:v>
                </c:pt>
                <c:pt idx="7">
                  <c:v>1995.7142857142856</c:v>
                </c:pt>
                <c:pt idx="8">
                  <c:v>2179.1176470588239</c:v>
                </c:pt>
                <c:pt idx="9">
                  <c:v>1422.8211586901762</c:v>
                </c:pt>
                <c:pt idx="10">
                  <c:v>1402.2594142259416</c:v>
                </c:pt>
                <c:pt idx="11">
                  <c:v>740.18229166666674</c:v>
                </c:pt>
                <c:pt idx="12">
                  <c:v>740.38251366120221</c:v>
                </c:pt>
                <c:pt idx="13">
                  <c:v>473.70588235294116</c:v>
                </c:pt>
                <c:pt idx="14">
                  <c:v>512.44525547445255</c:v>
                </c:pt>
                <c:pt idx="15">
                  <c:v>427.54166666666669</c:v>
                </c:pt>
                <c:pt idx="16">
                  <c:v>216.632911392405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4</c:f>
              <c:strCache>
                <c:ptCount val="13"/>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Kiri Delicieusement Fouette Fromage Frais A Tartiner 1X125Gr 1P</c:v>
                </c:pt>
                <c:pt idx="8">
                  <c:v>Boursin Classique Fromage Frais A Tartiner Poivre Boite 1X150Gr 1P</c:v>
                </c:pt>
                <c:pt idx="9">
                  <c:v>Boursin Classique Fromage Frais A Tartiner Afh 1X256Gr 16P</c:v>
                </c:pt>
                <c:pt idx="10">
                  <c:v>Boursin Classique Fromage Frais A Tartiner Ciboulette &amp; Echalote 1X160Gr 10P</c:v>
                </c:pt>
                <c:pt idx="11">
                  <c:v>Kiri Delicieusement Fouette Fromage Frais A Tartiner 1X160Gr 10P</c:v>
                </c:pt>
                <c:pt idx="12">
                  <c:v>Boursin Classique Fromage Frais A Tartiner Afh Boite 1X80Gr 1P</c:v>
                </c:pt>
              </c:strCache>
            </c:strRef>
          </c:cat>
          <c:val>
            <c:numRef>
              <c:f>Sheet1!$B$2:$B$14</c:f>
              <c:numCache>
                <c:formatCode>General</c:formatCode>
                <c:ptCount val="13"/>
                <c:pt idx="0">
                  <c:v>0.96099999999999997</c:v>
                </c:pt>
                <c:pt idx="1">
                  <c:v>0.97899999999999998</c:v>
                </c:pt>
                <c:pt idx="2">
                  <c:v>0.99399999999999999</c:v>
                </c:pt>
                <c:pt idx="3">
                  <c:v>0.95399999999999996</c:v>
                </c:pt>
                <c:pt idx="4">
                  <c:v>0.88200000000000001</c:v>
                </c:pt>
                <c:pt idx="5">
                  <c:v>0.93899999999999995</c:v>
                </c:pt>
                <c:pt idx="6">
                  <c:v>0.94499999999999995</c:v>
                </c:pt>
                <c:pt idx="7">
                  <c:v>0.83499999999999996</c:v>
                </c:pt>
                <c:pt idx="8">
                  <c:v>0.84199999999999997</c:v>
                </c:pt>
                <c:pt idx="9">
                  <c:v>0.79500000000000004</c:v>
                </c:pt>
                <c:pt idx="10">
                  <c:v>0.80200000000000005</c:v>
                </c:pt>
                <c:pt idx="11">
                  <c:v>9.4E-2</c:v>
                </c:pt>
                <c:pt idx="12">
                  <c:v>6.5000000000000002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4</c:f>
              <c:strCache>
                <c:ptCount val="13"/>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Kiri Delicieusement Fouette Fromage Frais A Tartiner 1X125Gr 1P</c:v>
                </c:pt>
                <c:pt idx="8">
                  <c:v>Boursin Classique Fromage Frais A Tartiner Poivre Boite 1X150Gr 1P</c:v>
                </c:pt>
                <c:pt idx="9">
                  <c:v>Boursin Classique Fromage Frais A Tartiner Afh 1X256Gr 16P</c:v>
                </c:pt>
                <c:pt idx="10">
                  <c:v>Boursin Classique Fromage Frais A Tartiner Ciboulette &amp; Echalote 1X160Gr 10P</c:v>
                </c:pt>
                <c:pt idx="11">
                  <c:v>Kiri Delicieusement Fouette Fromage Frais A Tartiner 1X160Gr 10P</c:v>
                </c:pt>
                <c:pt idx="12">
                  <c:v>Boursin Classique Fromage Frais A Tartiner Afh Boite 1X80Gr 1P</c:v>
                </c:pt>
              </c:strCache>
            </c:strRef>
          </c:cat>
          <c:val>
            <c:numRef>
              <c:f>Sheet1!$C$2:$C$14</c:f>
              <c:numCache>
                <c:formatCode>General</c:formatCode>
                <c:ptCount val="13"/>
                <c:pt idx="0">
                  <c:v>0.19624450132791643</c:v>
                </c:pt>
                <c:pt idx="1">
                  <c:v>0.38525800009607658</c:v>
                </c:pt>
                <c:pt idx="2">
                  <c:v>0.54682459836532449</c:v>
                </c:pt>
                <c:pt idx="3">
                  <c:v>0.63657527948008807</c:v>
                </c:pt>
                <c:pt idx="4">
                  <c:v>0.70312043207038299</c:v>
                </c:pt>
                <c:pt idx="5">
                  <c:v>0.7689746563544404</c:v>
                </c:pt>
                <c:pt idx="6">
                  <c:v>0.82667609132771047</c:v>
                </c:pt>
                <c:pt idx="7">
                  <c:v>0.87426614602277009</c:v>
                </c:pt>
                <c:pt idx="8">
                  <c:v>0.91886986418880423</c:v>
                </c:pt>
                <c:pt idx="9">
                  <c:v>0.96340934825723823</c:v>
                </c:pt>
                <c:pt idx="10">
                  <c:v>0.99967718248385562</c:v>
                </c:pt>
                <c:pt idx="11">
                  <c:v>0.99988004145020826</c:v>
                </c:pt>
                <c:pt idx="1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4</c:f>
              <c:strCache>
                <c:ptCount val="13"/>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Kiri Delicieusement Fouette Fromage Frais A Tartiner 1X125Gr 1P</c:v>
                </c:pt>
                <c:pt idx="8">
                  <c:v>Boursin Classique Fromage Frais A Tartiner Poivre Boite 1X150Gr 1P</c:v>
                </c:pt>
                <c:pt idx="9">
                  <c:v>Boursin Classique Fromage Frais A Tartiner Afh 1X256Gr 16P</c:v>
                </c:pt>
                <c:pt idx="10">
                  <c:v>Boursin Classique Fromage Frais A Tartiner Ciboulette &amp; Echalote 1X160Gr 10P</c:v>
                </c:pt>
                <c:pt idx="11">
                  <c:v>Kiri Delicieusement Fouette Fromage Frais A Tartiner 1X160Gr 10P</c:v>
                </c:pt>
                <c:pt idx="12">
                  <c:v>Boursin Classique Fromage Frais A Tartiner Afh Boite 1X80Gr 1P</c:v>
                </c:pt>
              </c:strCache>
            </c:strRef>
          </c:cat>
          <c:val>
            <c:numRef>
              <c:f>Sheet1!$D$2:$D$14</c:f>
              <c:numCache>
                <c:formatCode>General</c:formatCode>
                <c:ptCount val="13"/>
                <c:pt idx="0">
                  <c:v>7439.1675338189389</c:v>
                </c:pt>
                <c:pt idx="1">
                  <c:v>7033.319713993872</c:v>
                </c:pt>
                <c:pt idx="2">
                  <c:v>5921.2776659959754</c:v>
                </c:pt>
                <c:pt idx="3">
                  <c:v>3427.2012578616354</c:v>
                </c:pt>
                <c:pt idx="4">
                  <c:v>2748.5147392290251</c:v>
                </c:pt>
                <c:pt idx="5">
                  <c:v>2554.8668796592124</c:v>
                </c:pt>
                <c:pt idx="6">
                  <c:v>2224.3597883597886</c:v>
                </c:pt>
                <c:pt idx="7">
                  <c:v>2076.2514970059879</c:v>
                </c:pt>
                <c:pt idx="8">
                  <c:v>1929.7862232779096</c:v>
                </c:pt>
                <c:pt idx="9">
                  <c:v>2040.9308176100628</c:v>
                </c:pt>
                <c:pt idx="10">
                  <c:v>1647.3940149625935</c:v>
                </c:pt>
                <c:pt idx="11">
                  <c:v>78.617021276595736</c:v>
                </c:pt>
                <c:pt idx="12">
                  <c:v>67.2307692307692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Kiri Delicieusement Fouette Fromage Frais A Tartiner 1X210Gr 1P</c:v>
                </c:pt>
                <c:pt idx="5">
                  <c:v>Boursin Classique Fromage Frais A Tartiner Figue Et 3 Noix Boite 1X150Gr 1P</c:v>
                </c:pt>
                <c:pt idx="6">
                  <c:v>Boursin Onctueux Fromage Frais A Tartiner Afh 1X125Gr 1P</c:v>
                </c:pt>
                <c:pt idx="7">
                  <c:v>Boursin Classique Fromage Frais A Tartiner Ciboulette &amp; Echalote Boite 1X150Gr 1P</c:v>
                </c:pt>
                <c:pt idx="8">
                  <c:v>Boursin Classique Fromage Frais A Tartiner Poivre Boite 1X150Gr 1P</c:v>
                </c:pt>
                <c:pt idx="9">
                  <c:v>Kiri Delicieusement Fouette Fromage Frais A Tartiner 1X125Gr 1P</c:v>
                </c:pt>
                <c:pt idx="10">
                  <c:v>Boursin Classique Fromage Frais A Tartiner Afh 1X256Gr 16P</c:v>
                </c:pt>
                <c:pt idx="11">
                  <c:v>Boursin Classique Fromage Frais A Tartiner Afh Boite 1X320Gr 16+4P</c:v>
                </c:pt>
                <c:pt idx="12">
                  <c:v>Boursin Classique Fromage Frais A Tartiner Afh Boite 1X80Gr 1P</c:v>
                </c:pt>
                <c:pt idx="13">
                  <c:v>Boursin Onctueux Fromage Frais A Tartiner Afh 1X210Gr 1P</c:v>
                </c:pt>
                <c:pt idx="14">
                  <c:v>Boursin Classique Fromage Frais A Tartiner 3 Noix Boite 1X150Gr 1P</c:v>
                </c:pt>
                <c:pt idx="15">
                  <c:v>Boursin Classique Fromage Frais A Tartiner 3 Noix 1X160Gr 10P</c:v>
                </c:pt>
                <c:pt idx="16">
                  <c:v>Kiri Delicieusement Fouette Fromage Frais A Tartiner 1X160Gr 10P</c:v>
                </c:pt>
              </c:strCache>
            </c:strRef>
          </c:cat>
          <c:val>
            <c:numRef>
              <c:f>Sheet1!$B$2:$B$18</c:f>
              <c:numCache>
                <c:formatCode>General</c:formatCode>
                <c:ptCount val="17"/>
                <c:pt idx="0">
                  <c:v>1</c:v>
                </c:pt>
                <c:pt idx="1">
                  <c:v>1</c:v>
                </c:pt>
                <c:pt idx="2">
                  <c:v>1</c:v>
                </c:pt>
                <c:pt idx="3">
                  <c:v>1</c:v>
                </c:pt>
                <c:pt idx="4">
                  <c:v>0.96</c:v>
                </c:pt>
                <c:pt idx="5">
                  <c:v>0.94</c:v>
                </c:pt>
                <c:pt idx="6">
                  <c:v>0.99</c:v>
                </c:pt>
                <c:pt idx="7">
                  <c:v>0.97</c:v>
                </c:pt>
                <c:pt idx="8">
                  <c:v>0.88</c:v>
                </c:pt>
                <c:pt idx="9">
                  <c:v>0.98</c:v>
                </c:pt>
                <c:pt idx="10">
                  <c:v>0.53</c:v>
                </c:pt>
                <c:pt idx="11">
                  <c:v>0.85</c:v>
                </c:pt>
                <c:pt idx="12">
                  <c:v>0.77</c:v>
                </c:pt>
                <c:pt idx="13">
                  <c:v>0.59</c:v>
                </c:pt>
                <c:pt idx="14">
                  <c:v>0.67</c:v>
                </c:pt>
                <c:pt idx="15">
                  <c:v>0.49</c:v>
                </c:pt>
                <c:pt idx="16">
                  <c:v>0.56000000000000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Kiri Delicieusement Fouette Fromage Frais A Tartiner 1X210Gr 1P</c:v>
                </c:pt>
                <c:pt idx="5">
                  <c:v>Boursin Classique Fromage Frais A Tartiner Figue Et 3 Noix Boite 1X150Gr 1P</c:v>
                </c:pt>
                <c:pt idx="6">
                  <c:v>Boursin Onctueux Fromage Frais A Tartiner Afh 1X125Gr 1P</c:v>
                </c:pt>
                <c:pt idx="7">
                  <c:v>Boursin Classique Fromage Frais A Tartiner Ciboulette &amp; Echalote Boite 1X150Gr 1P</c:v>
                </c:pt>
                <c:pt idx="8">
                  <c:v>Boursin Classique Fromage Frais A Tartiner Poivre Boite 1X150Gr 1P</c:v>
                </c:pt>
                <c:pt idx="9">
                  <c:v>Kiri Delicieusement Fouette Fromage Frais A Tartiner 1X125Gr 1P</c:v>
                </c:pt>
                <c:pt idx="10">
                  <c:v>Boursin Classique Fromage Frais A Tartiner Afh 1X256Gr 16P</c:v>
                </c:pt>
                <c:pt idx="11">
                  <c:v>Boursin Classique Fromage Frais A Tartiner Afh Boite 1X320Gr 16+4P</c:v>
                </c:pt>
                <c:pt idx="12">
                  <c:v>Boursin Classique Fromage Frais A Tartiner Afh Boite 1X80Gr 1P</c:v>
                </c:pt>
                <c:pt idx="13">
                  <c:v>Boursin Onctueux Fromage Frais A Tartiner Afh 1X210Gr 1P</c:v>
                </c:pt>
                <c:pt idx="14">
                  <c:v>Boursin Classique Fromage Frais A Tartiner 3 Noix Boite 1X150Gr 1P</c:v>
                </c:pt>
                <c:pt idx="15">
                  <c:v>Boursin Classique Fromage Frais A Tartiner 3 Noix 1X160Gr 10P</c:v>
                </c:pt>
                <c:pt idx="16">
                  <c:v>Kiri Delicieusement Fouette Fromage Frais A Tartiner 1X160Gr 10P</c:v>
                </c:pt>
              </c:strCache>
            </c:strRef>
          </c:cat>
          <c:val>
            <c:numRef>
              <c:f>Sheet1!$C$2:$C$18</c:f>
              <c:numCache>
                <c:formatCode>General</c:formatCode>
                <c:ptCount val="17"/>
                <c:pt idx="0">
                  <c:v>0.2210496956662964</c:v>
                </c:pt>
                <c:pt idx="1">
                  <c:v>0.39390331014633473</c:v>
                </c:pt>
                <c:pt idx="2">
                  <c:v>0.54510057862006178</c:v>
                </c:pt>
                <c:pt idx="3">
                  <c:v>0.61974388811258851</c:v>
                </c:pt>
                <c:pt idx="4">
                  <c:v>0.68585709009543505</c:v>
                </c:pt>
                <c:pt idx="5">
                  <c:v>0.73848932797581746</c:v>
                </c:pt>
                <c:pt idx="6">
                  <c:v>0.78981534097824979</c:v>
                </c:pt>
                <c:pt idx="7">
                  <c:v>0.84020028781461908</c:v>
                </c:pt>
                <c:pt idx="8">
                  <c:v>0.87948858305204525</c:v>
                </c:pt>
                <c:pt idx="9">
                  <c:v>0.91676467990187316</c:v>
                </c:pt>
                <c:pt idx="10">
                  <c:v>0.94007502098793172</c:v>
                </c:pt>
                <c:pt idx="11">
                  <c:v>0.95979359142982945</c:v>
                </c:pt>
                <c:pt idx="12">
                  <c:v>0.97483604373836286</c:v>
                </c:pt>
                <c:pt idx="13">
                  <c:v>0.98386207155580574</c:v>
                </c:pt>
                <c:pt idx="14">
                  <c:v>0.99232332056553008</c:v>
                </c:pt>
                <c:pt idx="15">
                  <c:v>0.99766089762271259</c:v>
                </c:pt>
                <c:pt idx="16">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8</c:f>
              <c:strCache>
                <c:ptCount val="17"/>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Kiri Delicieusement Fouette Fromage Frais A Tartiner 1X210Gr 1P</c:v>
                </c:pt>
                <c:pt idx="5">
                  <c:v>Boursin Classique Fromage Frais A Tartiner Figue Et 3 Noix Boite 1X150Gr 1P</c:v>
                </c:pt>
                <c:pt idx="6">
                  <c:v>Boursin Onctueux Fromage Frais A Tartiner Afh 1X125Gr 1P</c:v>
                </c:pt>
                <c:pt idx="7">
                  <c:v>Boursin Classique Fromage Frais A Tartiner Ciboulette &amp; Echalote Boite 1X150Gr 1P</c:v>
                </c:pt>
                <c:pt idx="8">
                  <c:v>Boursin Classique Fromage Frais A Tartiner Poivre Boite 1X150Gr 1P</c:v>
                </c:pt>
                <c:pt idx="9">
                  <c:v>Kiri Delicieusement Fouette Fromage Frais A Tartiner 1X125Gr 1P</c:v>
                </c:pt>
                <c:pt idx="10">
                  <c:v>Boursin Classique Fromage Frais A Tartiner Afh 1X256Gr 16P</c:v>
                </c:pt>
                <c:pt idx="11">
                  <c:v>Boursin Classique Fromage Frais A Tartiner Afh Boite 1X320Gr 16+4P</c:v>
                </c:pt>
                <c:pt idx="12">
                  <c:v>Boursin Classique Fromage Frais A Tartiner Afh Boite 1X80Gr 1P</c:v>
                </c:pt>
                <c:pt idx="13">
                  <c:v>Boursin Onctueux Fromage Frais A Tartiner Afh 1X210Gr 1P</c:v>
                </c:pt>
                <c:pt idx="14">
                  <c:v>Boursin Classique Fromage Frais A Tartiner 3 Noix Boite 1X150Gr 1P</c:v>
                </c:pt>
                <c:pt idx="15">
                  <c:v>Boursin Classique Fromage Frais A Tartiner 3 Noix 1X160Gr 10P</c:v>
                </c:pt>
                <c:pt idx="16">
                  <c:v>Kiri Delicieusement Fouette Fromage Frais A Tartiner 1X160Gr 10P</c:v>
                </c:pt>
              </c:strCache>
            </c:strRef>
          </c:cat>
          <c:val>
            <c:numRef>
              <c:f>Sheet1!$D$2:$D$18</c:f>
              <c:numCache>
                <c:formatCode>General</c:formatCode>
                <c:ptCount val="17"/>
                <c:pt idx="0">
                  <c:v>3178.1</c:v>
                </c:pt>
                <c:pt idx="1">
                  <c:v>2485.17</c:v>
                </c:pt>
                <c:pt idx="2">
                  <c:v>2173.81</c:v>
                </c:pt>
                <c:pt idx="3">
                  <c:v>1073.17</c:v>
                </c:pt>
                <c:pt idx="4">
                  <c:v>990.13541666666663</c:v>
                </c:pt>
                <c:pt idx="5">
                  <c:v>805.01063829787233</c:v>
                </c:pt>
                <c:pt idx="6">
                  <c:v>745.38383838383834</c:v>
                </c:pt>
                <c:pt idx="7">
                  <c:v>746.80412371134025</c:v>
                </c:pt>
                <c:pt idx="8">
                  <c:v>641.88636363636363</c:v>
                </c:pt>
                <c:pt idx="9">
                  <c:v>546.86734693877554</c:v>
                </c:pt>
                <c:pt idx="10">
                  <c:v>632.33962264150944</c:v>
                </c:pt>
                <c:pt idx="11">
                  <c:v>333.52941176470586</c:v>
                </c:pt>
                <c:pt idx="12">
                  <c:v>280.87012987012986</c:v>
                </c:pt>
                <c:pt idx="13">
                  <c:v>219.94915254237287</c:v>
                </c:pt>
                <c:pt idx="14">
                  <c:v>181.56716417910448</c:v>
                </c:pt>
                <c:pt idx="15">
                  <c:v>156.61224489795919</c:v>
                </c:pt>
                <c:pt idx="16">
                  <c:v>60.0535714285714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Kiri Delicieusement Fouette Fromage Frais A Tartiner 1X125Gr 1P</c:v>
                </c:pt>
                <c:pt idx="8">
                  <c:v>Kiri Delicieusement Fouette Fromage Frais A Tartiner 1X210Gr 1P</c:v>
                </c:pt>
                <c:pt idx="9">
                  <c:v>Boursin Classique Fromage Frais A Tartiner 3 Noix Boite 1X150Gr 1P</c:v>
                </c:pt>
                <c:pt idx="10">
                  <c:v>Kiri Delicieusement Fouette Fromage Frais A Tartiner 1X160Gr 10P</c:v>
                </c:pt>
                <c:pt idx="11">
                  <c:v>Boursin Classique Fromage Frais A Tartiner 3 Noix 1X160Gr 10P</c:v>
                </c:pt>
                <c:pt idx="12">
                  <c:v>Boursin Onctueux Fromage Frais A Tartiner Afh 1X210Gr 1P</c:v>
                </c:pt>
              </c:strCache>
            </c:strRef>
          </c:cat>
          <c:val>
            <c:numRef>
              <c:f>Sheet1!$B$2:$B$14</c:f>
              <c:numCache>
                <c:formatCode>General</c:formatCode>
                <c:ptCount val="13"/>
                <c:pt idx="0">
                  <c:v>0.97</c:v>
                </c:pt>
                <c:pt idx="1">
                  <c:v>0.99</c:v>
                </c:pt>
                <c:pt idx="2">
                  <c:v>0.92</c:v>
                </c:pt>
                <c:pt idx="3">
                  <c:v>0.89</c:v>
                </c:pt>
                <c:pt idx="4">
                  <c:v>0.83</c:v>
                </c:pt>
                <c:pt idx="5">
                  <c:v>0.88</c:v>
                </c:pt>
                <c:pt idx="6">
                  <c:v>0.65</c:v>
                </c:pt>
                <c:pt idx="7">
                  <c:v>0.56999999999999995</c:v>
                </c:pt>
                <c:pt idx="8">
                  <c:v>0.47</c:v>
                </c:pt>
                <c:pt idx="9">
                  <c:v>0.1</c:v>
                </c:pt>
                <c:pt idx="10">
                  <c:v>0.33</c:v>
                </c:pt>
                <c:pt idx="11">
                  <c:v>0.05</c:v>
                </c:pt>
                <c:pt idx="12">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Kiri Delicieusement Fouette Fromage Frais A Tartiner 1X125Gr 1P</c:v>
                </c:pt>
                <c:pt idx="8">
                  <c:v>Kiri Delicieusement Fouette Fromage Frais A Tartiner 1X210Gr 1P</c:v>
                </c:pt>
                <c:pt idx="9">
                  <c:v>Boursin Classique Fromage Frais A Tartiner 3 Noix Boite 1X150Gr 1P</c:v>
                </c:pt>
                <c:pt idx="10">
                  <c:v>Kiri Delicieusement Fouette Fromage Frais A Tartiner 1X160Gr 10P</c:v>
                </c:pt>
                <c:pt idx="11">
                  <c:v>Boursin Classique Fromage Frais A Tartiner 3 Noix 1X160Gr 10P</c:v>
                </c:pt>
                <c:pt idx="12">
                  <c:v>Boursin Onctueux Fromage Frais A Tartiner Afh 1X210Gr 1P</c:v>
                </c:pt>
              </c:strCache>
            </c:strRef>
          </c:cat>
          <c:val>
            <c:numRef>
              <c:f>Sheet1!$C$2:$C$14</c:f>
              <c:numCache>
                <c:formatCode>General</c:formatCode>
                <c:ptCount val="13"/>
                <c:pt idx="0">
                  <c:v>0.23482053944489156</c:v>
                </c:pt>
                <c:pt idx="1">
                  <c:v>0.44431944291758912</c:v>
                </c:pt>
                <c:pt idx="2">
                  <c:v>0.63609496656654951</c:v>
                </c:pt>
                <c:pt idx="3">
                  <c:v>0.73532326491505828</c:v>
                </c:pt>
                <c:pt idx="4">
                  <c:v>0.81817948382572081</c:v>
                </c:pt>
                <c:pt idx="5">
                  <c:v>0.88250106122016647</c:v>
                </c:pt>
                <c:pt idx="6">
                  <c:v>0.92939615970701495</c:v>
                </c:pt>
                <c:pt idx="7">
                  <c:v>0.96032280351498589</c:v>
                </c:pt>
                <c:pt idx="8">
                  <c:v>0.99106328242418795</c:v>
                </c:pt>
                <c:pt idx="9">
                  <c:v>0.99422567839853249</c:v>
                </c:pt>
                <c:pt idx="10">
                  <c:v>0.99701173240079699</c:v>
                </c:pt>
                <c:pt idx="11">
                  <c:v>0.99908763150905111</c:v>
                </c:pt>
                <c:pt idx="12">
                  <c:v>0.9999414222516805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Kiri Delicieusement Fouette Fromage Frais A Tartiner 1X125Gr 1P</c:v>
                </c:pt>
                <c:pt idx="8">
                  <c:v>Kiri Delicieusement Fouette Fromage Frais A Tartiner 1X210Gr 1P</c:v>
                </c:pt>
                <c:pt idx="9">
                  <c:v>Boursin Classique Fromage Frais A Tartiner 3 Noix Boite 1X150Gr 1P</c:v>
                </c:pt>
                <c:pt idx="10">
                  <c:v>Kiri Delicieusement Fouette Fromage Frais A Tartiner 1X160Gr 10P</c:v>
                </c:pt>
                <c:pt idx="11">
                  <c:v>Boursin Classique Fromage Frais A Tartiner 3 Noix 1X160Gr 10P</c:v>
                </c:pt>
                <c:pt idx="12">
                  <c:v>Boursin Onctueux Fromage Frais A Tartiner Afh 1X210Gr 1P</c:v>
                </c:pt>
              </c:strCache>
            </c:strRef>
          </c:cat>
          <c:val>
            <c:numRef>
              <c:f>Sheet1!$D$2:$D$14</c:f>
              <c:numCache>
                <c:formatCode>General</c:formatCode>
                <c:ptCount val="13"/>
                <c:pt idx="0">
                  <c:v>3016.855670103093</c:v>
                </c:pt>
                <c:pt idx="1">
                  <c:v>2637.1616161616162</c:v>
                </c:pt>
                <c:pt idx="2">
                  <c:v>2597.7391304347825</c:v>
                </c:pt>
                <c:pt idx="3">
                  <c:v>1389.4269662921349</c:v>
                </c:pt>
                <c:pt idx="4">
                  <c:v>1244.0481927710844</c:v>
                </c:pt>
                <c:pt idx="5">
                  <c:v>910.88636363636363</c:v>
                </c:pt>
                <c:pt idx="6">
                  <c:v>899.09230769230771</c:v>
                </c:pt>
                <c:pt idx="7">
                  <c:v>676.1578947368422</c:v>
                </c:pt>
                <c:pt idx="8">
                  <c:v>815.08510638297878</c:v>
                </c:pt>
                <c:pt idx="9">
                  <c:v>394.1</c:v>
                </c:pt>
                <c:pt idx="10">
                  <c:v>105.21212121212122</c:v>
                </c:pt>
                <c:pt idx="11">
                  <c:v>517.4</c:v>
                </c:pt>
                <c:pt idx="12">
                  <c:v>5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Boursin Classique Fromage Frais A Tartiner Afh Boite 1X150Gr 1P</c:v>
                </c:pt>
                <c:pt idx="1">
                  <c:v>Boursin Classique Fromage Frais A Tartiner Afh 1X160Gr 10P</c:v>
                </c:pt>
                <c:pt idx="2">
                  <c:v>Kiri Delicieusement Fouette Fromage Frais A Tartiner 1X125Gr 1P</c:v>
                </c:pt>
                <c:pt idx="3">
                  <c:v>Boursin Classique Fromage Frais A Tartiner Afh Boite 1X96Gr 6P</c:v>
                </c:pt>
                <c:pt idx="4">
                  <c:v>Boursin Classique Fromage Frais A Tartiner Ciboulette &amp; Echalote Boite 1X150Gr 1P</c:v>
                </c:pt>
                <c:pt idx="5">
                  <c:v>Boursin Classique Fromage Frais A Tartiner Afh Boite 1X80Gr 1P</c:v>
                </c:pt>
                <c:pt idx="6">
                  <c:v>Kiri Delicieusement Fouette Fromage Frais A Tartiner 1X160Gr 10P</c:v>
                </c:pt>
              </c:strCache>
            </c:strRef>
          </c:cat>
          <c:val>
            <c:numRef>
              <c:f>Sheet1!$B$2:$B$8</c:f>
              <c:numCache>
                <c:formatCode>General</c:formatCode>
                <c:ptCount val="7"/>
                <c:pt idx="0">
                  <c:v>0.83</c:v>
                </c:pt>
                <c:pt idx="1">
                  <c:v>0.49</c:v>
                </c:pt>
                <c:pt idx="2">
                  <c:v>0.54</c:v>
                </c:pt>
                <c:pt idx="3">
                  <c:v>0.09</c:v>
                </c:pt>
                <c:pt idx="4">
                  <c:v>0.08</c:v>
                </c:pt>
                <c:pt idx="5">
                  <c:v>0.11</c:v>
                </c:pt>
                <c:pt idx="6">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Boursin Classique Fromage Frais A Tartiner Afh Boite 1X150Gr 1P</c:v>
                </c:pt>
                <c:pt idx="1">
                  <c:v>Boursin Classique Fromage Frais A Tartiner Afh 1X160Gr 10P</c:v>
                </c:pt>
                <c:pt idx="2">
                  <c:v>Kiri Delicieusement Fouette Fromage Frais A Tartiner 1X125Gr 1P</c:v>
                </c:pt>
                <c:pt idx="3">
                  <c:v>Boursin Classique Fromage Frais A Tartiner Afh Boite 1X96Gr 6P</c:v>
                </c:pt>
                <c:pt idx="4">
                  <c:v>Boursin Classique Fromage Frais A Tartiner Ciboulette &amp; Echalote Boite 1X150Gr 1P</c:v>
                </c:pt>
                <c:pt idx="5">
                  <c:v>Boursin Classique Fromage Frais A Tartiner Afh Boite 1X80Gr 1P</c:v>
                </c:pt>
                <c:pt idx="6">
                  <c:v>Kiri Delicieusement Fouette Fromage Frais A Tartiner 1X160Gr 10P</c:v>
                </c:pt>
              </c:strCache>
            </c:strRef>
          </c:cat>
          <c:val>
            <c:numRef>
              <c:f>Sheet1!$C$2:$C$8</c:f>
              <c:numCache>
                <c:formatCode>General</c:formatCode>
                <c:ptCount val="7"/>
                <c:pt idx="0">
                  <c:v>0.56093914585021876</c:v>
                </c:pt>
                <c:pt idx="1">
                  <c:v>0.83267006043827618</c:v>
                </c:pt>
                <c:pt idx="2">
                  <c:v>0.94318468127991939</c:v>
                </c:pt>
                <c:pt idx="3">
                  <c:v>0.96932552583728715</c:v>
                </c:pt>
                <c:pt idx="4">
                  <c:v>0.98895658218664528</c:v>
                </c:pt>
                <c:pt idx="5">
                  <c:v>0.99726039456389426</c:v>
                </c:pt>
                <c:pt idx="6">
                  <c:v>0.999874023683547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c:f>
              <c:strCache>
                <c:ptCount val="7"/>
                <c:pt idx="0">
                  <c:v>Boursin Classique Fromage Frais A Tartiner Afh Boite 1X150Gr 1P</c:v>
                </c:pt>
                <c:pt idx="1">
                  <c:v>Boursin Classique Fromage Frais A Tartiner Afh 1X160Gr 10P</c:v>
                </c:pt>
                <c:pt idx="2">
                  <c:v>Kiri Delicieusement Fouette Fromage Frais A Tartiner 1X125Gr 1P</c:v>
                </c:pt>
                <c:pt idx="3">
                  <c:v>Boursin Classique Fromage Frais A Tartiner Afh Boite 1X96Gr 6P</c:v>
                </c:pt>
                <c:pt idx="4">
                  <c:v>Boursin Classique Fromage Frais A Tartiner Ciboulette &amp; Echalote Boite 1X150Gr 1P</c:v>
                </c:pt>
                <c:pt idx="5">
                  <c:v>Boursin Classique Fromage Frais A Tartiner Afh Boite 1X80Gr 1P</c:v>
                </c:pt>
                <c:pt idx="6">
                  <c:v>Kiri Delicieusement Fouette Fromage Frais A Tartiner 1X160Gr 10P</c:v>
                </c:pt>
              </c:strCache>
            </c:strRef>
          </c:cat>
          <c:val>
            <c:numRef>
              <c:f>Sheet1!$D$2:$D$8</c:f>
              <c:numCache>
                <c:formatCode>General</c:formatCode>
                <c:ptCount val="7"/>
                <c:pt idx="0">
                  <c:v>4452.734939759036</c:v>
                </c:pt>
                <c:pt idx="1">
                  <c:v>3653.6938775510203</c:v>
                </c:pt>
                <c:pt idx="2">
                  <c:v>1348.3888888888889</c:v>
                </c:pt>
                <c:pt idx="3">
                  <c:v>1913.6666666666667</c:v>
                </c:pt>
                <c:pt idx="4">
                  <c:v>1616.75</c:v>
                </c:pt>
                <c:pt idx="5">
                  <c:v>497.36363636363637</c:v>
                </c:pt>
                <c:pt idx="6">
                  <c:v>17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4</c:f>
              <c:strCache>
                <c:ptCount val="13"/>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Kiri Delicieusement Fouette Fromage Frais A Tartiner 1X125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Kiri Delicieusement Fouette Fromage Frais A Tartiner 1X160Gr 10P</c:v>
                </c:pt>
                <c:pt idx="12">
                  <c:v>Boursin Classique Fromage Frais A Tartiner Afh Boite 1X80Gr 1P</c:v>
                </c:pt>
              </c:strCache>
            </c:strRef>
          </c:cat>
          <c:val>
            <c:numRef>
              <c:f>Sheet1!$B$2:$B$14</c:f>
              <c:numCache>
                <c:formatCode>General</c:formatCode>
                <c:ptCount val="13"/>
                <c:pt idx="0">
                  <c:v>0.99</c:v>
                </c:pt>
                <c:pt idx="1">
                  <c:v>0.99</c:v>
                </c:pt>
                <c:pt idx="2">
                  <c:v>1</c:v>
                </c:pt>
                <c:pt idx="3">
                  <c:v>0.97</c:v>
                </c:pt>
                <c:pt idx="4">
                  <c:v>0.9</c:v>
                </c:pt>
                <c:pt idx="5">
                  <c:v>0.95</c:v>
                </c:pt>
                <c:pt idx="6">
                  <c:v>0.96</c:v>
                </c:pt>
                <c:pt idx="7">
                  <c:v>0.87</c:v>
                </c:pt>
                <c:pt idx="8">
                  <c:v>0.84</c:v>
                </c:pt>
                <c:pt idx="9">
                  <c:v>0.86</c:v>
                </c:pt>
                <c:pt idx="10">
                  <c:v>0.83</c:v>
                </c:pt>
                <c:pt idx="11">
                  <c:v>0.09</c:v>
                </c:pt>
                <c:pt idx="1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4</c:f>
              <c:strCache>
                <c:ptCount val="13"/>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Kiri Delicieusement Fouette Fromage Frais A Tartiner 1X125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Kiri Delicieusement Fouette Fromage Frais A Tartiner 1X160Gr 10P</c:v>
                </c:pt>
                <c:pt idx="12">
                  <c:v>Boursin Classique Fromage Frais A Tartiner Afh Boite 1X80Gr 1P</c:v>
                </c:pt>
              </c:strCache>
            </c:strRef>
          </c:cat>
          <c:val>
            <c:numRef>
              <c:f>Sheet1!$C$2:$C$14</c:f>
              <c:numCache>
                <c:formatCode>General</c:formatCode>
                <c:ptCount val="13"/>
                <c:pt idx="0">
                  <c:v>0.20268853070026457</c:v>
                </c:pt>
                <c:pt idx="1">
                  <c:v>0.39053078267790609</c:v>
                </c:pt>
                <c:pt idx="2">
                  <c:v>0.54927110607226615</c:v>
                </c:pt>
                <c:pt idx="3">
                  <c:v>0.63683749613455498</c:v>
                </c:pt>
                <c:pt idx="4">
                  <c:v>0.70309001725853915</c:v>
                </c:pt>
                <c:pt idx="5">
                  <c:v>0.76663663406142912</c:v>
                </c:pt>
                <c:pt idx="6">
                  <c:v>0.82387306268350424</c:v>
                </c:pt>
                <c:pt idx="7">
                  <c:v>0.87261869097191669</c:v>
                </c:pt>
                <c:pt idx="8">
                  <c:v>0.91755882808245337</c:v>
                </c:pt>
                <c:pt idx="9">
                  <c:v>0.96225432382276077</c:v>
                </c:pt>
                <c:pt idx="10">
                  <c:v>0.99969039316726671</c:v>
                </c:pt>
                <c:pt idx="11">
                  <c:v>0.99988269093627846</c:v>
                </c:pt>
                <c:pt idx="1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4</c:f>
              <c:strCache>
                <c:ptCount val="13"/>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Kiri Delicieusement Fouette Fromage Frais A Tartiner 1X125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Kiri Delicieusement Fouette Fromage Frais A Tartiner 1X160Gr 10P</c:v>
                </c:pt>
                <c:pt idx="12">
                  <c:v>Boursin Classique Fromage Frais A Tartiner Afh Boite 1X80Gr 1P</c:v>
                </c:pt>
              </c:strCache>
            </c:strRef>
          </c:cat>
          <c:val>
            <c:numRef>
              <c:f>Sheet1!$D$2:$D$14</c:f>
              <c:numCache>
                <c:formatCode>General</c:formatCode>
                <c:ptCount val="13"/>
                <c:pt idx="0">
                  <c:v>5515.0505050505053</c:v>
                </c:pt>
                <c:pt idx="1">
                  <c:v>5111.090909090909</c:v>
                </c:pt>
                <c:pt idx="2">
                  <c:v>4276.05</c:v>
                </c:pt>
                <c:pt idx="3">
                  <c:v>2431.7628865979382</c:v>
                </c:pt>
                <c:pt idx="4">
                  <c:v>1982.9666666666667</c:v>
                </c:pt>
                <c:pt idx="5">
                  <c:v>1801.8736842105263</c:v>
                </c:pt>
                <c:pt idx="6">
                  <c:v>1606.0416666666667</c:v>
                </c:pt>
                <c:pt idx="7">
                  <c:v>1509.2873563218391</c:v>
                </c:pt>
                <c:pt idx="8">
                  <c:v>1441.1547619047619</c:v>
                </c:pt>
                <c:pt idx="9">
                  <c:v>1399.9767441860465</c:v>
                </c:pt>
                <c:pt idx="10">
                  <c:v>1214.9759036144578</c:v>
                </c:pt>
                <c:pt idx="11">
                  <c:v>57.555555555555557</c:v>
                </c:pt>
                <c:pt idx="12">
                  <c:v>52.6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4</c:f>
              <c:strCache>
                <c:ptCount val="13"/>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Afh 1X256Gr 16P</c:v>
                </c:pt>
                <c:pt idx="6">
                  <c:v>Kiri Delicieusement Fouette Fromage Frais A Tartiner 1X125Gr 1P</c:v>
                </c:pt>
                <c:pt idx="7">
                  <c:v>Boursin Classique Fromage Frais A Tartiner Figue Et 3 Noix Boite 1X150Gr 1P</c:v>
                </c:pt>
                <c:pt idx="8">
                  <c:v>Boursin Classique Fromage Frais A Tartiner Ciboulette &amp; Echalote Boite 1X150Gr 1P</c:v>
                </c:pt>
                <c:pt idx="9">
                  <c:v>Boursin Classique Fromage Frais A Tartiner Poivre Boite 1X150Gr 1P</c:v>
                </c:pt>
                <c:pt idx="10">
                  <c:v>Boursin Classique Fromage Frais A Tartiner Ciboulette &amp; Echalote 1X160Gr 10P</c:v>
                </c:pt>
                <c:pt idx="11">
                  <c:v>Kiri Delicieusement Fouette Fromage Frais A Tartiner 1X160Gr 10P</c:v>
                </c:pt>
                <c:pt idx="12">
                  <c:v>Boursin Classique Fromage Frais A Tartiner Afh Boite 1X80Gr 1P</c:v>
                </c:pt>
              </c:strCache>
            </c:strRef>
          </c:cat>
          <c:val>
            <c:numRef>
              <c:f>Sheet1!$B$2:$B$14</c:f>
              <c:numCache>
                <c:formatCode>General</c:formatCode>
                <c:ptCount val="13"/>
                <c:pt idx="0">
                  <c:v>0.99</c:v>
                </c:pt>
                <c:pt idx="1">
                  <c:v>0.99</c:v>
                </c:pt>
                <c:pt idx="2">
                  <c:v>0.99</c:v>
                </c:pt>
                <c:pt idx="3">
                  <c:v>0.99</c:v>
                </c:pt>
                <c:pt idx="4">
                  <c:v>0.98</c:v>
                </c:pt>
                <c:pt idx="5">
                  <c:v>0.96</c:v>
                </c:pt>
                <c:pt idx="6">
                  <c:v>0.99</c:v>
                </c:pt>
                <c:pt idx="7">
                  <c:v>0.99</c:v>
                </c:pt>
                <c:pt idx="8">
                  <c:v>0.99</c:v>
                </c:pt>
                <c:pt idx="9">
                  <c:v>0.97</c:v>
                </c:pt>
                <c:pt idx="10">
                  <c:v>0.95</c:v>
                </c:pt>
                <c:pt idx="11">
                  <c:v>0.16</c:v>
                </c:pt>
                <c:pt idx="12">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4</c:f>
              <c:strCache>
                <c:ptCount val="13"/>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Afh 1X256Gr 16P</c:v>
                </c:pt>
                <c:pt idx="6">
                  <c:v>Kiri Delicieusement Fouette Fromage Frais A Tartiner 1X125Gr 1P</c:v>
                </c:pt>
                <c:pt idx="7">
                  <c:v>Boursin Classique Fromage Frais A Tartiner Figue Et 3 Noix Boite 1X150Gr 1P</c:v>
                </c:pt>
                <c:pt idx="8">
                  <c:v>Boursin Classique Fromage Frais A Tartiner Ciboulette &amp; Echalote Boite 1X150Gr 1P</c:v>
                </c:pt>
                <c:pt idx="9">
                  <c:v>Boursin Classique Fromage Frais A Tartiner Poivre Boite 1X150Gr 1P</c:v>
                </c:pt>
                <c:pt idx="10">
                  <c:v>Boursin Classique Fromage Frais A Tartiner Ciboulette &amp; Echalote 1X160Gr 10P</c:v>
                </c:pt>
                <c:pt idx="11">
                  <c:v>Kiri Delicieusement Fouette Fromage Frais A Tartiner 1X160Gr 10P</c:v>
                </c:pt>
                <c:pt idx="12">
                  <c:v>Boursin Classique Fromage Frais A Tartiner Afh Boite 1X80Gr 1P</c:v>
                </c:pt>
              </c:strCache>
            </c:strRef>
          </c:cat>
          <c:val>
            <c:numRef>
              <c:f>Sheet1!$C$2:$C$14</c:f>
              <c:numCache>
                <c:formatCode>General</c:formatCode>
                <c:ptCount val="13"/>
                <c:pt idx="0">
                  <c:v>0.21926950612789708</c:v>
                </c:pt>
                <c:pt idx="1">
                  <c:v>0.40566720644046378</c:v>
                </c:pt>
                <c:pt idx="2">
                  <c:v>0.55201494629459935</c:v>
                </c:pt>
                <c:pt idx="3">
                  <c:v>0.62947457832787279</c:v>
                </c:pt>
                <c:pt idx="4">
                  <c:v>0.69540648314357556</c:v>
                </c:pt>
                <c:pt idx="5">
                  <c:v>0.76115009477423634</c:v>
                </c:pt>
                <c:pt idx="6">
                  <c:v>0.81492244412922754</c:v>
                </c:pt>
                <c:pt idx="7">
                  <c:v>0.86868851704471739</c:v>
                </c:pt>
                <c:pt idx="8">
                  <c:v>0.91629321851633327</c:v>
                </c:pt>
                <c:pt idx="9">
                  <c:v>0.95873241027829725</c:v>
                </c:pt>
                <c:pt idx="10">
                  <c:v>0.99953763562339681</c:v>
                </c:pt>
                <c:pt idx="11">
                  <c:v>0.99978241676395141</c:v>
                </c:pt>
                <c:pt idx="1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4</c:f>
              <c:strCache>
                <c:ptCount val="13"/>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Afh 1X256Gr 16P</c:v>
                </c:pt>
                <c:pt idx="6">
                  <c:v>Kiri Delicieusement Fouette Fromage Frais A Tartiner 1X125Gr 1P</c:v>
                </c:pt>
                <c:pt idx="7">
                  <c:v>Boursin Classique Fromage Frais A Tartiner Figue Et 3 Noix Boite 1X150Gr 1P</c:v>
                </c:pt>
                <c:pt idx="8">
                  <c:v>Boursin Classique Fromage Frais A Tartiner Ciboulette &amp; Echalote Boite 1X150Gr 1P</c:v>
                </c:pt>
                <c:pt idx="9">
                  <c:v>Boursin Classique Fromage Frais A Tartiner Poivre Boite 1X150Gr 1P</c:v>
                </c:pt>
                <c:pt idx="10">
                  <c:v>Boursin Classique Fromage Frais A Tartiner Ciboulette &amp; Echalote 1X160Gr 10P</c:v>
                </c:pt>
                <c:pt idx="11">
                  <c:v>Kiri Delicieusement Fouette Fromage Frais A Tartiner 1X160Gr 10P</c:v>
                </c:pt>
                <c:pt idx="12">
                  <c:v>Boursin Classique Fromage Frais A Tartiner Afh Boite 1X80Gr 1P</c:v>
                </c:pt>
              </c:strCache>
            </c:strRef>
          </c:cat>
          <c:val>
            <c:numRef>
              <c:f>Sheet1!$D$2:$D$14</c:f>
              <c:numCache>
                <c:formatCode>General</c:formatCode>
                <c:ptCount val="13"/>
                <c:pt idx="0">
                  <c:v>1058.6464646464647</c:v>
                </c:pt>
                <c:pt idx="1">
                  <c:v>899.93939393939399</c:v>
                </c:pt>
                <c:pt idx="2">
                  <c:v>706.57575757575762</c:v>
                </c:pt>
                <c:pt idx="3">
                  <c:v>373.97979797979798</c:v>
                </c:pt>
                <c:pt idx="4">
                  <c:v>321.57142857142856</c:v>
                </c:pt>
                <c:pt idx="5">
                  <c:v>327.33333333333331</c:v>
                </c:pt>
                <c:pt idx="6">
                  <c:v>259.61616161616161</c:v>
                </c:pt>
                <c:pt idx="7">
                  <c:v>259.5858585858586</c:v>
                </c:pt>
                <c:pt idx="8">
                  <c:v>229.83838383838383</c:v>
                </c:pt>
                <c:pt idx="9">
                  <c:v>209.1237113402062</c:v>
                </c:pt>
                <c:pt idx="10">
                  <c:v>205.30526315789473</c:v>
                </c:pt>
                <c:pt idx="11">
                  <c:v>7.3125</c:v>
                </c:pt>
                <c:pt idx="12">
                  <c:v>7.42857142857142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Ciboulette &amp; Echalote Boite 1X150Gr 1P</c:v>
                </c:pt>
                <c:pt idx="6">
                  <c:v>Boursin Classique Fromage Frais A Tartiner Afh Boite 1X96Gr 6P</c:v>
                </c:pt>
                <c:pt idx="7">
                  <c:v>Boursin Classique Fromage Frais A Tartiner Poivre Boite 1X150Gr 1P</c:v>
                </c:pt>
                <c:pt idx="8">
                  <c:v>Kiri Delicieusement Fouette Fromage Frais A Tartiner 1X125Gr 1P</c:v>
                </c:pt>
                <c:pt idx="9">
                  <c:v>Boursin Classique Fromage Frais A Tartiner Ciboulette &amp; Echalote 1X160Gr 10P</c:v>
                </c:pt>
                <c:pt idx="10">
                  <c:v>Boursin Classique Fromage Frais A Tartiner Afh 1X256Gr 16P</c:v>
                </c:pt>
                <c:pt idx="11">
                  <c:v>Kiri Delicieusement Fouette Fromage Frais A Tartiner 1X160Gr 10P</c:v>
                </c:pt>
                <c:pt idx="12">
                  <c:v>Boursin Classique Fromage Frais A Tartiner Afh Boite 1X80Gr 1P</c:v>
                </c:pt>
              </c:strCache>
            </c:strRef>
          </c:cat>
          <c:val>
            <c:numRef>
              <c:f>Sheet1!$B$2:$B$14</c:f>
              <c:numCache>
                <c:formatCode>General</c:formatCode>
                <c:ptCount val="13"/>
                <c:pt idx="0">
                  <c:v>0.9</c:v>
                </c:pt>
                <c:pt idx="1">
                  <c:v>0.96</c:v>
                </c:pt>
                <c:pt idx="2">
                  <c:v>0.75</c:v>
                </c:pt>
                <c:pt idx="3">
                  <c:v>0.81</c:v>
                </c:pt>
                <c:pt idx="4">
                  <c:v>0.81</c:v>
                </c:pt>
                <c:pt idx="5">
                  <c:v>0.8</c:v>
                </c:pt>
                <c:pt idx="6">
                  <c:v>0.66</c:v>
                </c:pt>
                <c:pt idx="7">
                  <c:v>0.59</c:v>
                </c:pt>
                <c:pt idx="8">
                  <c:v>0.44</c:v>
                </c:pt>
                <c:pt idx="9">
                  <c:v>0.46</c:v>
                </c:pt>
                <c:pt idx="10">
                  <c:v>0.33</c:v>
                </c:pt>
                <c:pt idx="11">
                  <c:v>0.05</c:v>
                </c:pt>
                <c:pt idx="1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Ciboulette &amp; Echalote Boite 1X150Gr 1P</c:v>
                </c:pt>
                <c:pt idx="6">
                  <c:v>Boursin Classique Fromage Frais A Tartiner Afh Boite 1X96Gr 6P</c:v>
                </c:pt>
                <c:pt idx="7">
                  <c:v>Boursin Classique Fromage Frais A Tartiner Poivre Boite 1X150Gr 1P</c:v>
                </c:pt>
                <c:pt idx="8">
                  <c:v>Kiri Delicieusement Fouette Fromage Frais A Tartiner 1X125Gr 1P</c:v>
                </c:pt>
                <c:pt idx="9">
                  <c:v>Boursin Classique Fromage Frais A Tartiner Ciboulette &amp; Echalote 1X160Gr 10P</c:v>
                </c:pt>
                <c:pt idx="10">
                  <c:v>Boursin Classique Fromage Frais A Tartiner Afh 1X256Gr 16P</c:v>
                </c:pt>
                <c:pt idx="11">
                  <c:v>Kiri Delicieusement Fouette Fromage Frais A Tartiner 1X160Gr 10P</c:v>
                </c:pt>
                <c:pt idx="12">
                  <c:v>Boursin Classique Fromage Frais A Tartiner Afh Boite 1X80Gr 1P</c:v>
                </c:pt>
              </c:strCache>
            </c:strRef>
          </c:cat>
          <c:val>
            <c:numRef>
              <c:f>Sheet1!$C$2:$C$14</c:f>
              <c:numCache>
                <c:formatCode>General</c:formatCode>
                <c:ptCount val="13"/>
                <c:pt idx="0">
                  <c:v>0.19836250657883567</c:v>
                </c:pt>
                <c:pt idx="1">
                  <c:v>0.39152348856555919</c:v>
                </c:pt>
                <c:pt idx="2">
                  <c:v>0.52757381029184569</c:v>
                </c:pt>
                <c:pt idx="3">
                  <c:v>0.64227899356547435</c:v>
                </c:pt>
                <c:pt idx="4">
                  <c:v>0.73358686609734991</c:v>
                </c:pt>
                <c:pt idx="5">
                  <c:v>0.80418838389840597</c:v>
                </c:pt>
                <c:pt idx="6">
                  <c:v>0.87302847150303065</c:v>
                </c:pt>
                <c:pt idx="7">
                  <c:v>0.91930315274783125</c:v>
                </c:pt>
                <c:pt idx="8">
                  <c:v>0.9540160608478635</c:v>
                </c:pt>
                <c:pt idx="9">
                  <c:v>0.97900290317651661</c:v>
                </c:pt>
                <c:pt idx="10">
                  <c:v>0.99974321318823123</c:v>
                </c:pt>
                <c:pt idx="11">
                  <c:v>0.99996392251404909</c:v>
                </c:pt>
                <c:pt idx="1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Ciboulette &amp; Echalote Boite 1X150Gr 1P</c:v>
                </c:pt>
                <c:pt idx="6">
                  <c:v>Boursin Classique Fromage Frais A Tartiner Afh Boite 1X96Gr 6P</c:v>
                </c:pt>
                <c:pt idx="7">
                  <c:v>Boursin Classique Fromage Frais A Tartiner Poivre Boite 1X150Gr 1P</c:v>
                </c:pt>
                <c:pt idx="8">
                  <c:v>Kiri Delicieusement Fouette Fromage Frais A Tartiner 1X125Gr 1P</c:v>
                </c:pt>
                <c:pt idx="9">
                  <c:v>Boursin Classique Fromage Frais A Tartiner Ciboulette &amp; Echalote 1X160Gr 10P</c:v>
                </c:pt>
                <c:pt idx="10">
                  <c:v>Boursin Classique Fromage Frais A Tartiner Afh 1X256Gr 16P</c:v>
                </c:pt>
                <c:pt idx="11">
                  <c:v>Kiri Delicieusement Fouette Fromage Frais A Tartiner 1X160Gr 10P</c:v>
                </c:pt>
                <c:pt idx="12">
                  <c:v>Boursin Classique Fromage Frais A Tartiner Afh Boite 1X80Gr 1P</c:v>
                </c:pt>
              </c:strCache>
            </c:strRef>
          </c:cat>
          <c:val>
            <c:numRef>
              <c:f>Sheet1!$D$2:$D$14</c:f>
              <c:numCache>
                <c:formatCode>General</c:formatCode>
                <c:ptCount val="13"/>
                <c:pt idx="0">
                  <c:v>1038.5555555555557</c:v>
                </c:pt>
                <c:pt idx="1">
                  <c:v>948.11458333333337</c:v>
                </c:pt>
                <c:pt idx="2">
                  <c:v>854.77333333333331</c:v>
                </c:pt>
                <c:pt idx="3">
                  <c:v>667.28395061728395</c:v>
                </c:pt>
                <c:pt idx="4">
                  <c:v>531.17283950617286</c:v>
                </c:pt>
                <c:pt idx="5">
                  <c:v>415.85</c:v>
                </c:pt>
                <c:pt idx="6">
                  <c:v>491.4848484848485</c:v>
                </c:pt>
                <c:pt idx="7">
                  <c:v>369.57627118644069</c:v>
                </c:pt>
                <c:pt idx="8">
                  <c:v>371.75</c:v>
                </c:pt>
                <c:pt idx="9">
                  <c:v>255.95652173913044</c:v>
                </c:pt>
                <c:pt idx="10">
                  <c:v>296.15151515151513</c:v>
                </c:pt>
                <c:pt idx="11">
                  <c:v>20.8</c:v>
                </c:pt>
                <c:pt idx="12">
                  <c:v>1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B$2:$B$7</c:f>
              <c:numCache>
                <c:formatCode>General</c:formatCode>
                <c:ptCount val="6"/>
                <c:pt idx="0">
                  <c:v>0.96099999999999997</c:v>
                </c:pt>
                <c:pt idx="1">
                  <c:v>0.79300000000000004</c:v>
                </c:pt>
                <c:pt idx="2">
                  <c:v>0.76600000000000001</c:v>
                </c:pt>
                <c:pt idx="3">
                  <c:v>0.69399999999999995</c:v>
                </c:pt>
                <c:pt idx="4">
                  <c:v>0.69399999999999995</c:v>
                </c:pt>
                <c:pt idx="5">
                  <c:v>1.0999999999999999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C$2:$C$7</c:f>
              <c:numCache>
                <c:formatCode>General</c:formatCode>
                <c:ptCount val="6"/>
                <c:pt idx="0">
                  <c:v>0.57140242294507271</c:v>
                </c:pt>
                <c:pt idx="1">
                  <c:v>0.71195030015356697</c:v>
                </c:pt>
                <c:pt idx="2">
                  <c:v>0.84121333395380593</c:v>
                </c:pt>
                <c:pt idx="3">
                  <c:v>0.92260148603161318</c:v>
                </c:pt>
                <c:pt idx="4">
                  <c:v>0.9998410039244886</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D$2:$D$7</c:f>
              <c:numCache>
                <c:formatCode>General</c:formatCode>
                <c:ptCount val="6"/>
                <c:pt idx="0">
                  <c:v>7666.3059313215408</c:v>
                </c:pt>
                <c:pt idx="1">
                  <c:v>2285.1702395964694</c:v>
                </c:pt>
                <c:pt idx="2">
                  <c:v>2175.7702349869455</c:v>
                </c:pt>
                <c:pt idx="3">
                  <c:v>1512.0605187319886</c:v>
                </c:pt>
                <c:pt idx="4">
                  <c:v>1434.9855907780982</c:v>
                </c:pt>
                <c:pt idx="5">
                  <c:v>186.363636363636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Kiri</c:v>
                </c:pt>
                <c:pt idx="8">
                  <c:v>Boursin</c:v>
                </c:pt>
                <c:pt idx="9">
                  <c:v>Others</c:v>
                </c:pt>
              </c:strCache>
            </c:strRef>
          </c:cat>
          <c:val>
            <c:numRef>
              <c:f>Sheet1!$B$2:$B$11</c:f>
              <c:numCache>
                <c:formatCode>General</c:formatCode>
                <c:ptCount val="10"/>
                <c:pt idx="0">
                  <c:v>0.29715096782122663</c:v>
                </c:pt>
                <c:pt idx="1">
                  <c:v>6.8101710005560576E-2</c:v>
                </c:pt>
                <c:pt idx="2">
                  <c:v>5.7963986388328191E-2</c:v>
                </c:pt>
                <c:pt idx="3">
                  <c:v>5.1846247652117282E-2</c:v>
                </c:pt>
                <c:pt idx="4">
                  <c:v>4.6740855375368991E-2</c:v>
                </c:pt>
                <c:pt idx="5">
                  <c:v>4.4379640693820201E-2</c:v>
                </c:pt>
                <c:pt idx="6">
                  <c:v>3.5197624755852863E-2</c:v>
                </c:pt>
                <c:pt idx="7">
                  <c:v>2.9149945056410106E-2</c:v>
                </c:pt>
                <c:pt idx="8">
                  <c:v>2.4750970364012099E-2</c:v>
                </c:pt>
                <c:pt idx="9">
                  <c:v>0.3447180518873030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Kiri</c:v>
                </c:pt>
                <c:pt idx="8">
                  <c:v>Boursin</c:v>
                </c:pt>
                <c:pt idx="9">
                  <c:v>Others</c:v>
                </c:pt>
              </c:strCache>
            </c:strRef>
          </c:cat>
          <c:val>
            <c:numRef>
              <c:f>Sheet1!$C$2:$C$11</c:f>
              <c:numCache>
                <c:formatCode>General</c:formatCode>
                <c:ptCount val="10"/>
                <c:pt idx="0">
                  <c:v>0.22491336991048208</c:v>
                </c:pt>
                <c:pt idx="1">
                  <c:v>5.0425931273462274E-2</c:v>
                </c:pt>
                <c:pt idx="2">
                  <c:v>4.3856482818365551E-2</c:v>
                </c:pt>
                <c:pt idx="3">
                  <c:v>3.4579844065838854E-2</c:v>
                </c:pt>
                <c:pt idx="4">
                  <c:v>5.1183944556742682E-2</c:v>
                </c:pt>
                <c:pt idx="5">
                  <c:v>2.9057175859081703E-2</c:v>
                </c:pt>
                <c:pt idx="6">
                  <c:v>2.8263066705168909E-2</c:v>
                </c:pt>
                <c:pt idx="7">
                  <c:v>3.1619982673982083E-2</c:v>
                </c:pt>
                <c:pt idx="8">
                  <c:v>5.1653190874963874E-2</c:v>
                </c:pt>
                <c:pt idx="9">
                  <c:v>0.4544470112619113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Kiri</c:v>
                </c:pt>
                <c:pt idx="8">
                  <c:v>Boursin</c:v>
                </c:pt>
                <c:pt idx="9">
                  <c:v>Others</c:v>
                </c:pt>
              </c:strCache>
            </c:strRef>
          </c:cat>
          <c:val>
            <c:numRef>
              <c:f>Sheet1!$D$2:$D$11</c:f>
              <c:numCache>
                <c:formatCode>General</c:formatCode>
                <c:ptCount val="10"/>
                <c:pt idx="0">
                  <c:v>75.689933490573551</c:v>
                </c:pt>
                <c:pt idx="1">
                  <c:v>74.045029514449695</c:v>
                </c:pt>
                <c:pt idx="2">
                  <c:v>75.661605681414329</c:v>
                </c:pt>
                <c:pt idx="3">
                  <c:v>66.696907937997494</c:v>
                </c:pt>
                <c:pt idx="4">
                  <c:v>109.50579347701681</c:v>
                </c:pt>
                <c:pt idx="5">
                  <c:v>65.474112464204495</c:v>
                </c:pt>
                <c:pt idx="6">
                  <c:v>80.298221545387563</c:v>
                </c:pt>
                <c:pt idx="7">
                  <c:v>108.47355839879643</c:v>
                </c:pt>
                <c:pt idx="8">
                  <c:v>208.69157901812039</c:v>
                </c:pt>
                <c:pt idx="9">
                  <c:v>131.831509482561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B$2:$B$6</c:f>
              <c:numCache>
                <c:formatCode>General</c:formatCode>
                <c:ptCount val="5"/>
                <c:pt idx="0">
                  <c:v>0.96499999999999997</c:v>
                </c:pt>
                <c:pt idx="1">
                  <c:v>0.82099999999999995</c:v>
                </c:pt>
                <c:pt idx="2">
                  <c:v>0.51300000000000001</c:v>
                </c:pt>
                <c:pt idx="3">
                  <c:v>0.65</c:v>
                </c:pt>
                <c:pt idx="4">
                  <c:v>0.411999999999999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C$2:$C$6</c:f>
              <c:numCache>
                <c:formatCode>General</c:formatCode>
                <c:ptCount val="5"/>
                <c:pt idx="0">
                  <c:v>0.56458059202005861</c:v>
                </c:pt>
                <c:pt idx="1">
                  <c:v>0.76663178507413199</c:v>
                </c:pt>
                <c:pt idx="2">
                  <c:v>0.86298786742231937</c:v>
                </c:pt>
                <c:pt idx="3">
                  <c:v>0.94041464198016933</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D$2:$D$6</c:f>
              <c:numCache>
                <c:formatCode>General</c:formatCode>
                <c:ptCount val="5"/>
                <c:pt idx="0">
                  <c:v>4517.4404145077724</c:v>
                </c:pt>
                <c:pt idx="1">
                  <c:v>1900.255785627284</c:v>
                </c:pt>
                <c:pt idx="2">
                  <c:v>1450.2923976608186</c:v>
                </c:pt>
                <c:pt idx="3">
                  <c:v>919.7538461538461</c:v>
                </c:pt>
                <c:pt idx="4">
                  <c:v>1116.69902912621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Soft Cheese Salade 120G</c:v>
                </c:pt>
                <c:pt idx="4">
                  <c:v>Boursin Salade &amp; Aperitif Fromage Frais Des Citron Romarin 1X120Gr 1P</c:v>
                </c:pt>
              </c:strCache>
            </c:strRef>
          </c:cat>
          <c:val>
            <c:numRef>
              <c:f>Sheet1!$B$2:$B$6</c:f>
              <c:numCache>
                <c:formatCode>General</c:formatCode>
                <c:ptCount val="5"/>
                <c:pt idx="0">
                  <c:v>1</c:v>
                </c:pt>
                <c:pt idx="1">
                  <c:v>0.99</c:v>
                </c:pt>
                <c:pt idx="2">
                  <c:v>0.99</c:v>
                </c:pt>
                <c:pt idx="3">
                  <c:v>0.94</c:v>
                </c:pt>
                <c:pt idx="4">
                  <c:v>0.9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Soft Cheese Salade 120G</c:v>
                </c:pt>
                <c:pt idx="4">
                  <c:v>Boursin Salade &amp; Aperitif Fromage Frais Des Citron Romarin 1X120Gr 1P</c:v>
                </c:pt>
              </c:strCache>
            </c:strRef>
          </c:cat>
          <c:val>
            <c:numRef>
              <c:f>Sheet1!$C$2:$C$6</c:f>
              <c:numCache>
                <c:formatCode>General</c:formatCode>
                <c:ptCount val="5"/>
                <c:pt idx="0">
                  <c:v>0.44481742477949393</c:v>
                </c:pt>
                <c:pt idx="1">
                  <c:v>0.65375643037621867</c:v>
                </c:pt>
                <c:pt idx="2">
                  <c:v>0.81185027195921722</c:v>
                </c:pt>
                <c:pt idx="3">
                  <c:v>0.9103594951435132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Soft Cheese Salade 120G</c:v>
                </c:pt>
                <c:pt idx="4">
                  <c:v>Boursin Salade &amp; Aperitif Fromage Frais Des Citron Romarin 1X120Gr 1P</c:v>
                </c:pt>
              </c:strCache>
            </c:strRef>
          </c:cat>
          <c:val>
            <c:numRef>
              <c:f>Sheet1!$D$2:$D$6</c:f>
              <c:numCache>
                <c:formatCode>General</c:formatCode>
                <c:ptCount val="5"/>
                <c:pt idx="0">
                  <c:v>2202.34</c:v>
                </c:pt>
                <c:pt idx="1">
                  <c:v>1044.9292929292928</c:v>
                </c:pt>
                <c:pt idx="2">
                  <c:v>790.64646464646466</c:v>
                </c:pt>
                <c:pt idx="3">
                  <c:v>518.86170212765956</c:v>
                </c:pt>
                <c:pt idx="4">
                  <c:v>477.225806451612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B$2:$B$7</c:f>
              <c:numCache>
                <c:formatCode>General</c:formatCode>
                <c:ptCount val="6"/>
                <c:pt idx="0">
                  <c:v>0.99</c:v>
                </c:pt>
                <c:pt idx="1">
                  <c:v>0.91</c:v>
                </c:pt>
                <c:pt idx="2">
                  <c:v>0.84</c:v>
                </c:pt>
                <c:pt idx="3">
                  <c:v>0.71</c:v>
                </c:pt>
                <c:pt idx="4">
                  <c:v>0.72</c:v>
                </c:pt>
                <c:pt idx="5">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C$2:$C$7</c:f>
              <c:numCache>
                <c:formatCode>General</c:formatCode>
                <c:ptCount val="6"/>
                <c:pt idx="0">
                  <c:v>0.51590319144670671</c:v>
                </c:pt>
                <c:pt idx="1">
                  <c:v>0.69535778476257226</c:v>
                </c:pt>
                <c:pt idx="2">
                  <c:v>0.80556180235588637</c:v>
                </c:pt>
                <c:pt idx="3">
                  <c:v>0.90347211689826323</c:v>
                </c:pt>
                <c:pt idx="4">
                  <c:v>0.99964262491131006</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D$2:$D$7</c:f>
              <c:numCache>
                <c:formatCode>General</c:formatCode>
                <c:ptCount val="6"/>
                <c:pt idx="0">
                  <c:v>2989.2525252525252</c:v>
                </c:pt>
                <c:pt idx="1">
                  <c:v>1131.2087912087911</c:v>
                </c:pt>
                <c:pt idx="2">
                  <c:v>752.57142857142856</c:v>
                </c:pt>
                <c:pt idx="3">
                  <c:v>791.04225352112678</c:v>
                </c:pt>
                <c:pt idx="4">
                  <c:v>766.19444444444446</c:v>
                </c:pt>
                <c:pt idx="5">
                  <c:v>68.3333333333333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Salade &amp; Aperitif Fromage Frais Des Afh 1X120Gr 1P</c:v>
                </c:pt>
              </c:strCache>
            </c:strRef>
          </c:cat>
          <c:val>
            <c:numRef>
              <c:f>Sheet1!$B$2:$B$2</c:f>
              <c:numCache>
                <c:formatCode>General</c:formatCode>
                <c:ptCount val="1"/>
                <c:pt idx="0">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Salade &amp; Aperitif Fromage Frais Des Afh 1X120Gr 1P</c:v>
                </c:pt>
              </c:strCache>
            </c:strRef>
          </c:cat>
          <c:val>
            <c:numRef>
              <c:f>Sheet1!$C$2:$C$2</c:f>
              <c:numCache>
                <c:formatCode>General</c:formatCode>
                <c:ptCount val="1"/>
                <c:pt idx="0">
                  <c:v>0.9998186779811606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Salade &amp; Aperitif Fromage Frais Des Afh 1X120Gr 1P</c:v>
                </c:pt>
              </c:strCache>
            </c:strRef>
          </c:cat>
          <c:val>
            <c:numRef>
              <c:f>Sheet1!$D$2:$D$2</c:f>
              <c:numCache>
                <c:formatCode>General</c:formatCode>
                <c:ptCount val="1"/>
                <c:pt idx="0">
                  <c:v>2791.924050632911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B$2:$B$6</c:f>
              <c:numCache>
                <c:formatCode>General</c:formatCode>
                <c:ptCount val="5"/>
                <c:pt idx="0">
                  <c:v>0.98</c:v>
                </c:pt>
                <c:pt idx="1">
                  <c:v>0.86</c:v>
                </c:pt>
                <c:pt idx="2">
                  <c:v>0.51</c:v>
                </c:pt>
                <c:pt idx="3">
                  <c:v>0.67</c:v>
                </c:pt>
                <c:pt idx="4">
                  <c:v>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C$2:$C$6</c:f>
              <c:numCache>
                <c:formatCode>General</c:formatCode>
                <c:ptCount val="5"/>
                <c:pt idx="0">
                  <c:v>0.56132955061202905</c:v>
                </c:pt>
                <c:pt idx="1">
                  <c:v>0.76670479985177342</c:v>
                </c:pt>
                <c:pt idx="2">
                  <c:v>0.86266613858154739</c:v>
                </c:pt>
                <c:pt idx="3">
                  <c:v>0.9401348656867627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D$2:$D$6</c:f>
              <c:numCache>
                <c:formatCode>General</c:formatCode>
                <c:ptCount val="5"/>
                <c:pt idx="0">
                  <c:v>3369.6326530612246</c:v>
                </c:pt>
                <c:pt idx="1">
                  <c:v>1404.8837209302326</c:v>
                </c:pt>
                <c:pt idx="2">
                  <c:v>1106.9215686274511</c:v>
                </c:pt>
                <c:pt idx="3">
                  <c:v>680.20895522388059</c:v>
                </c:pt>
                <c:pt idx="4">
                  <c:v>880.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B$2:$B$6</c:f>
              <c:numCache>
                <c:formatCode>General</c:formatCode>
                <c:ptCount val="5"/>
                <c:pt idx="0">
                  <c:v>0.99</c:v>
                </c:pt>
                <c:pt idx="1">
                  <c:v>0.95</c:v>
                </c:pt>
                <c:pt idx="2">
                  <c:v>0.83</c:v>
                </c:pt>
                <c:pt idx="3">
                  <c:v>0.87</c:v>
                </c:pt>
                <c:pt idx="4">
                  <c:v>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C$2:$C$6</c:f>
              <c:numCache>
                <c:formatCode>General</c:formatCode>
                <c:ptCount val="5"/>
                <c:pt idx="0">
                  <c:v>0.49974195451026654</c:v>
                </c:pt>
                <c:pt idx="1">
                  <c:v>0.72162421203966531</c:v>
                </c:pt>
                <c:pt idx="2">
                  <c:v>0.83982747815829251</c:v>
                </c:pt>
                <c:pt idx="3">
                  <c:v>0.9284015925093080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D$2:$D$6</c:f>
              <c:numCache>
                <c:formatCode>General</c:formatCode>
                <c:ptCount val="5"/>
                <c:pt idx="0">
                  <c:v>547.73737373737379</c:v>
                </c:pt>
                <c:pt idx="1">
                  <c:v>253.43157894736842</c:v>
                </c:pt>
                <c:pt idx="2">
                  <c:v>154.53012048192772</c:v>
                </c:pt>
                <c:pt idx="3">
                  <c:v>110.47126436781609</c:v>
                </c:pt>
                <c:pt idx="4">
                  <c:v>106.4246575342465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B$2:$B$6</c:f>
              <c:numCache>
                <c:formatCode>General</c:formatCode>
                <c:ptCount val="5"/>
                <c:pt idx="0">
                  <c:v>0.84</c:v>
                </c:pt>
                <c:pt idx="1">
                  <c:v>0.43</c:v>
                </c:pt>
                <c:pt idx="2">
                  <c:v>0.18</c:v>
                </c:pt>
                <c:pt idx="3">
                  <c:v>0.28000000000000003</c:v>
                </c:pt>
                <c:pt idx="4">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C$2:$C$6</c:f>
              <c:numCache>
                <c:formatCode>General</c:formatCode>
                <c:ptCount val="5"/>
                <c:pt idx="0">
                  <c:v>0.68335125233942584</c:v>
                </c:pt>
                <c:pt idx="1">
                  <c:v>0.83088440250069695</c:v>
                </c:pt>
                <c:pt idx="2">
                  <c:v>0.89885716561143636</c:v>
                </c:pt>
                <c:pt idx="3">
                  <c:v>0.9599012463664238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D$2:$D$6</c:f>
              <c:numCache>
                <c:formatCode>General</c:formatCode>
                <c:ptCount val="5"/>
                <c:pt idx="0">
                  <c:v>612.89285714285711</c:v>
                </c:pt>
                <c:pt idx="1">
                  <c:v>258.48837209302326</c:v>
                </c:pt>
                <c:pt idx="2">
                  <c:v>284.5</c:v>
                </c:pt>
                <c:pt idx="3">
                  <c:v>164.24999999999997</c:v>
                </c:pt>
                <c:pt idx="4">
                  <c:v>215.785714285714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0.76200000000000001</c:v>
                </c:pt>
                <c:pt idx="1">
                  <c:v>0.98899999999999999</c:v>
                </c:pt>
                <c:pt idx="2">
                  <c:v>0.94699999999999995</c:v>
                </c:pt>
                <c:pt idx="3">
                  <c:v>0.82399999999999995</c:v>
                </c:pt>
                <c:pt idx="4">
                  <c:v>0.72</c:v>
                </c:pt>
                <c:pt idx="5">
                  <c:v>0.71199999999999997</c:v>
                </c:pt>
                <c:pt idx="6">
                  <c:v>0.75</c:v>
                </c:pt>
                <c:pt idx="7">
                  <c:v>0.61199999999999999</c:v>
                </c:pt>
                <c:pt idx="8">
                  <c:v>0.39200000000000002</c:v>
                </c:pt>
                <c:pt idx="9">
                  <c:v>0.39500000000000002</c:v>
                </c:pt>
                <c:pt idx="10">
                  <c:v>7.9000000000000001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C$2:$C$12</c:f>
              <c:numCache>
                <c:formatCode>General</c:formatCode>
                <c:ptCount val="11"/>
                <c:pt idx="0">
                  <c:v>0.24730356571164788</c:v>
                </c:pt>
                <c:pt idx="1">
                  <c:v>0.44853072432092067</c:v>
                </c:pt>
                <c:pt idx="2">
                  <c:v>0.6369631202519066</c:v>
                </c:pt>
                <c:pt idx="3">
                  <c:v>0.77923302758397517</c:v>
                </c:pt>
                <c:pt idx="4">
                  <c:v>0.85753563765382979</c:v>
                </c:pt>
                <c:pt idx="5">
                  <c:v>0.93497914752910938</c:v>
                </c:pt>
                <c:pt idx="6">
                  <c:v>0.96326377822662845</c:v>
                </c:pt>
                <c:pt idx="7">
                  <c:v>0.98613230520246031</c:v>
                </c:pt>
                <c:pt idx="8">
                  <c:v>0.99808597278007039</c:v>
                </c:pt>
                <c:pt idx="9">
                  <c:v>0.99955330219423777</c:v>
                </c:pt>
                <c:pt idx="1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D$2:$D$12</c:f>
              <c:numCache>
                <c:formatCode>General</c:formatCode>
                <c:ptCount val="11"/>
                <c:pt idx="0">
                  <c:v>18926.456692913383</c:v>
                </c:pt>
                <c:pt idx="1">
                  <c:v>11865.449949443882</c:v>
                </c:pt>
                <c:pt idx="2">
                  <c:v>11603.780359028513</c:v>
                </c:pt>
                <c:pt idx="3">
                  <c:v>10068.847087378641</c:v>
                </c:pt>
                <c:pt idx="4">
                  <c:v>6342.166666666667</c:v>
                </c:pt>
                <c:pt idx="5">
                  <c:v>6343.0617977528091</c:v>
                </c:pt>
                <c:pt idx="6">
                  <c:v>2199.2933333333335</c:v>
                </c:pt>
                <c:pt idx="7">
                  <c:v>2179.1176470588239</c:v>
                </c:pt>
                <c:pt idx="8">
                  <c:v>1778.3163265306121</c:v>
                </c:pt>
                <c:pt idx="9">
                  <c:v>216.63291139240508</c:v>
                </c:pt>
                <c:pt idx="10">
                  <c:v>329.7468354430379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0.86399999999999999</c:v>
                </c:pt>
                <c:pt idx="1">
                  <c:v>0.80400000000000005</c:v>
                </c:pt>
                <c:pt idx="2">
                  <c:v>0.97799999999999998</c:v>
                </c:pt>
                <c:pt idx="3">
                  <c:v>0.71699999999999997</c:v>
                </c:pt>
                <c:pt idx="4">
                  <c:v>0.90600000000000003</c:v>
                </c:pt>
                <c:pt idx="5">
                  <c:v>0.67800000000000005</c:v>
                </c:pt>
                <c:pt idx="6">
                  <c:v>0.42</c:v>
                </c:pt>
                <c:pt idx="7">
                  <c:v>0.48199999999999998</c:v>
                </c:pt>
                <c:pt idx="8">
                  <c:v>8.0000000000000002E-3</c:v>
                </c:pt>
                <c:pt idx="9">
                  <c:v>2.7E-2</c:v>
                </c:pt>
                <c:pt idx="10">
                  <c:v>0.15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C$2:$C$12</c:f>
              <c:numCache>
                <c:formatCode>General</c:formatCode>
                <c:ptCount val="11"/>
                <c:pt idx="0">
                  <c:v>0.2791025132855946</c:v>
                </c:pt>
                <c:pt idx="1">
                  <c:v>0.52074531651638534</c:v>
                </c:pt>
                <c:pt idx="2">
                  <c:v>0.74430867438366466</c:v>
                </c:pt>
                <c:pt idx="3">
                  <c:v>0.83507675857600261</c:v>
                </c:pt>
                <c:pt idx="4">
                  <c:v>0.91387549516876676</c:v>
                </c:pt>
                <c:pt idx="5">
                  <c:v>0.9662595443853973</c:v>
                </c:pt>
                <c:pt idx="6">
                  <c:v>0.98329183686547783</c:v>
                </c:pt>
                <c:pt idx="7">
                  <c:v>0.99705821096028913</c:v>
                </c:pt>
                <c:pt idx="8">
                  <c:v>0.99814823495624472</c:v>
                </c:pt>
                <c:pt idx="9">
                  <c:v>0.99920844201926795</c:v>
                </c:pt>
                <c:pt idx="10">
                  <c:v>0.999852992136636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D$2:$D$12</c:f>
              <c:numCache>
                <c:formatCode>General</c:formatCode>
                <c:ptCount val="11"/>
                <c:pt idx="0">
                  <c:v>21776.25</c:v>
                </c:pt>
                <c:pt idx="1">
                  <c:v>20260.534825870644</c:v>
                </c:pt>
                <c:pt idx="2">
                  <c:v>15409.723926380369</c:v>
                </c:pt>
                <c:pt idx="3">
                  <c:v>8533.8912133891208</c:v>
                </c:pt>
                <c:pt idx="4">
                  <c:v>5863.0573951434872</c:v>
                </c:pt>
                <c:pt idx="5">
                  <c:v>5208.3775811209434</c:v>
                </c:pt>
                <c:pt idx="6">
                  <c:v>2733.7380952380954</c:v>
                </c:pt>
                <c:pt idx="7">
                  <c:v>1925.3319502074692</c:v>
                </c:pt>
                <c:pt idx="8">
                  <c:v>9185</c:v>
                </c:pt>
                <c:pt idx="9">
                  <c:v>2647.037037037037</c:v>
                </c:pt>
                <c:pt idx="10">
                  <c:v>280.322580645161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7</c:f>
              <c:strCache>
                <c:ptCount val="26"/>
                <c:pt idx="0">
                  <c:v>Boursin Classique Fromage Frais A Tartiner Afh Boite 1X150Gr 1P</c:v>
                </c:pt>
                <c:pt idx="1">
                  <c:v>Boursin Classique Fromage Frais A Tartiner Afh 1X160Gr 10P</c:v>
                </c:pt>
                <c:pt idx="2">
                  <c:v>Boursin Salade &amp; Aperitif Fromage Frais Des Afh 1X120Gr 1P</c:v>
                </c:pt>
                <c:pt idx="3">
                  <c:v>Boursin Aperitif Roules Fromage Frais Roule Afh Et Jambon Fume Boite 1X100Gr 20P</c:v>
                </c:pt>
                <c:pt idx="4">
                  <c:v>Boursin Classique Fromage Frais A Tartiner Afh Boite 1X250Gr 1P</c:v>
                </c:pt>
                <c:pt idx="5">
                  <c:v>Boursin Aperitif Roules Fromage Frais Roule Ciboulette &amp; Echalote Jambon Fume Boite 1X100Gr 20P</c:v>
                </c:pt>
                <c:pt idx="6">
                  <c:v>Boursin Classique Fromage Frais A Tartiner Afh Boite 1X96Gr 6P</c:v>
                </c:pt>
                <c:pt idx="7">
                  <c:v>Boursin Salade &amp; Aperitif Fromage Frais Des Figue Noix 1X120Gr 1P</c:v>
                </c:pt>
                <c:pt idx="8">
                  <c:v>Boursin Onctueux Fromage Frais A Tartiner Afh 1X125Gr 1P</c:v>
                </c:pt>
                <c:pt idx="9">
                  <c:v>Boursin Salade &amp; Aperitif Fromage Frais Des Ciboulette Echalote 1X120Gr 1P</c:v>
                </c:pt>
                <c:pt idx="10">
                  <c:v>Boursin Classique Fromage Frais A Tartiner Ciboulette &amp; Echalote Boite 1X150Gr 1P</c:v>
                </c:pt>
                <c:pt idx="11">
                  <c:v>Boursin Classique Fromage Frais A Tartiner Figue Et 3 Noix Boite 1X150Gr 1P</c:v>
                </c:pt>
                <c:pt idx="12">
                  <c:v>Boursin Salade &amp; Aperitif Soft Cheese Salade 120G</c:v>
                </c:pt>
                <c:pt idx="13">
                  <c:v>Boursin Salade &amp; Aperitif Fromage Frais Des Citron Romarin 1X120Gr 1P</c:v>
                </c:pt>
                <c:pt idx="14">
                  <c:v>Boursin Classique Fromage Frais A Tartiner Poivre Boite 1X150Gr 1P</c:v>
                </c:pt>
                <c:pt idx="15">
                  <c:v>Boursin Aperitif Roules Aperitif 100G</c:v>
                </c:pt>
                <c:pt idx="16">
                  <c:v>Boursin Vegetal Alternative Vegetale 150G</c:v>
                </c:pt>
                <c:pt idx="17">
                  <c:v>Boursin Classique Fromage Frais A Tartiner Afh 1X256Gr 16P</c:v>
                </c:pt>
                <c:pt idx="18">
                  <c:v>Boursin Classique Fromage Frais A Tartiner Afh Boite 1X320Gr 16+4P</c:v>
                </c:pt>
                <c:pt idx="19">
                  <c:v>Boursin Classique Fromage Frais A Tartiner Afh Boite 1X80Gr 1P</c:v>
                </c:pt>
                <c:pt idx="20">
                  <c:v>Boursin Classique Fromage Frais A Tartiner 3 Noix Boite 1X150Gr 1P</c:v>
                </c:pt>
                <c:pt idx="21">
                  <c:v>Boursin Onctueux Fromage Frais A Tartiner Afh 1X210Gr 1P</c:v>
                </c:pt>
                <c:pt idx="22">
                  <c:v>Boursin Classique Fromage Frais A Tartiner 3 Noix 1X160Gr 10P</c:v>
                </c:pt>
                <c:pt idx="23">
                  <c:v>Boursin Salade &amp; Aperitif Fromage Frais Des Noisette Et 3 Noix 1X120Gr 1P</c:v>
                </c:pt>
                <c:pt idx="24">
                  <c:v>Boursin Aperitif Roules Fromage Frais Roule Jambon Fume &amp; Trio De Noix Boite 1X100Gr 20P</c:v>
                </c:pt>
                <c:pt idx="25">
                  <c:v>Boursin Vegetal Specialite Vegetale A Tartiner Afh 1X130Gr 1P</c:v>
                </c:pt>
              </c:strCache>
            </c:strRef>
          </c:cat>
          <c:val>
            <c:numRef>
              <c:f>Sheet1!$B$2:$B$27</c:f>
              <c:numCache>
                <c:formatCode>General</c:formatCode>
                <c:ptCount val="26"/>
                <c:pt idx="0">
                  <c:v>0.96799999999999997</c:v>
                </c:pt>
                <c:pt idx="1">
                  <c:v>0.90300000000000002</c:v>
                </c:pt>
                <c:pt idx="2">
                  <c:v>0.96099999999999997</c:v>
                </c:pt>
                <c:pt idx="3">
                  <c:v>0.89900000000000002</c:v>
                </c:pt>
                <c:pt idx="4">
                  <c:v>0.80100000000000005</c:v>
                </c:pt>
                <c:pt idx="5">
                  <c:v>0.71899999999999997</c:v>
                </c:pt>
                <c:pt idx="6">
                  <c:v>0.80500000000000005</c:v>
                </c:pt>
                <c:pt idx="7">
                  <c:v>0.79300000000000004</c:v>
                </c:pt>
                <c:pt idx="8">
                  <c:v>0.76300000000000001</c:v>
                </c:pt>
                <c:pt idx="9">
                  <c:v>0.76600000000000001</c:v>
                </c:pt>
                <c:pt idx="10">
                  <c:v>0.78600000000000003</c:v>
                </c:pt>
                <c:pt idx="11">
                  <c:v>0.67200000000000004</c:v>
                </c:pt>
                <c:pt idx="12">
                  <c:v>0.69399999999999995</c:v>
                </c:pt>
                <c:pt idx="13">
                  <c:v>0.69399999999999995</c:v>
                </c:pt>
                <c:pt idx="14">
                  <c:v>0.39700000000000002</c:v>
                </c:pt>
                <c:pt idx="15">
                  <c:v>0.35</c:v>
                </c:pt>
                <c:pt idx="16">
                  <c:v>0.45200000000000001</c:v>
                </c:pt>
                <c:pt idx="17">
                  <c:v>0.23899999999999999</c:v>
                </c:pt>
                <c:pt idx="18">
                  <c:v>0.38400000000000001</c:v>
                </c:pt>
                <c:pt idx="19">
                  <c:v>0.36599999999999999</c:v>
                </c:pt>
                <c:pt idx="20">
                  <c:v>0.34</c:v>
                </c:pt>
                <c:pt idx="21">
                  <c:v>0.27400000000000002</c:v>
                </c:pt>
                <c:pt idx="22">
                  <c:v>0.24</c:v>
                </c:pt>
                <c:pt idx="23">
                  <c:v>1.0999999999999999E-2</c:v>
                </c:pt>
                <c:pt idx="24">
                  <c:v>8.9999999999999993E-3</c:v>
                </c:pt>
                <c:pt idx="25">
                  <c:v>5.000000000000000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7</c:f>
              <c:strCache>
                <c:ptCount val="26"/>
                <c:pt idx="0">
                  <c:v>Boursin Classique Fromage Frais A Tartiner Afh Boite 1X150Gr 1P</c:v>
                </c:pt>
                <c:pt idx="1">
                  <c:v>Boursin Classique Fromage Frais A Tartiner Afh 1X160Gr 10P</c:v>
                </c:pt>
                <c:pt idx="2">
                  <c:v>Boursin Salade &amp; Aperitif Fromage Frais Des Afh 1X120Gr 1P</c:v>
                </c:pt>
                <c:pt idx="3">
                  <c:v>Boursin Aperitif Roules Fromage Frais Roule Afh Et Jambon Fume Boite 1X100Gr 20P</c:v>
                </c:pt>
                <c:pt idx="4">
                  <c:v>Boursin Classique Fromage Frais A Tartiner Afh Boite 1X250Gr 1P</c:v>
                </c:pt>
                <c:pt idx="5">
                  <c:v>Boursin Aperitif Roules Fromage Frais Roule Ciboulette &amp; Echalote Jambon Fume Boite 1X100Gr 20P</c:v>
                </c:pt>
                <c:pt idx="6">
                  <c:v>Boursin Classique Fromage Frais A Tartiner Afh Boite 1X96Gr 6P</c:v>
                </c:pt>
                <c:pt idx="7">
                  <c:v>Boursin Salade &amp; Aperitif Fromage Frais Des Figue Noix 1X120Gr 1P</c:v>
                </c:pt>
                <c:pt idx="8">
                  <c:v>Boursin Onctueux Fromage Frais A Tartiner Afh 1X125Gr 1P</c:v>
                </c:pt>
                <c:pt idx="9">
                  <c:v>Boursin Salade &amp; Aperitif Fromage Frais Des Ciboulette Echalote 1X120Gr 1P</c:v>
                </c:pt>
                <c:pt idx="10">
                  <c:v>Boursin Classique Fromage Frais A Tartiner Ciboulette &amp; Echalote Boite 1X150Gr 1P</c:v>
                </c:pt>
                <c:pt idx="11">
                  <c:v>Boursin Classique Fromage Frais A Tartiner Figue Et 3 Noix Boite 1X150Gr 1P</c:v>
                </c:pt>
                <c:pt idx="12">
                  <c:v>Boursin Salade &amp; Aperitif Soft Cheese Salade 120G</c:v>
                </c:pt>
                <c:pt idx="13">
                  <c:v>Boursin Salade &amp; Aperitif Fromage Frais Des Citron Romarin 1X120Gr 1P</c:v>
                </c:pt>
                <c:pt idx="14">
                  <c:v>Boursin Classique Fromage Frais A Tartiner Poivre Boite 1X150Gr 1P</c:v>
                </c:pt>
                <c:pt idx="15">
                  <c:v>Boursin Aperitif Roules Aperitif 100G</c:v>
                </c:pt>
                <c:pt idx="16">
                  <c:v>Boursin Vegetal Alternative Vegetale 150G</c:v>
                </c:pt>
                <c:pt idx="17">
                  <c:v>Boursin Classique Fromage Frais A Tartiner Afh 1X256Gr 16P</c:v>
                </c:pt>
                <c:pt idx="18">
                  <c:v>Boursin Classique Fromage Frais A Tartiner Afh Boite 1X320Gr 16+4P</c:v>
                </c:pt>
                <c:pt idx="19">
                  <c:v>Boursin Classique Fromage Frais A Tartiner Afh Boite 1X80Gr 1P</c:v>
                </c:pt>
                <c:pt idx="20">
                  <c:v>Boursin Classique Fromage Frais A Tartiner 3 Noix Boite 1X150Gr 1P</c:v>
                </c:pt>
                <c:pt idx="21">
                  <c:v>Boursin Onctueux Fromage Frais A Tartiner Afh 1X210Gr 1P</c:v>
                </c:pt>
                <c:pt idx="22">
                  <c:v>Boursin Classique Fromage Frais A Tartiner 3 Noix 1X160Gr 10P</c:v>
                </c:pt>
                <c:pt idx="23">
                  <c:v>Boursin Salade &amp; Aperitif Fromage Frais Des Noisette Et 3 Noix 1X120Gr 1P</c:v>
                </c:pt>
                <c:pt idx="24">
                  <c:v>Boursin Aperitif Roules Fromage Frais Roule Jambon Fume &amp; Trio De Noix Boite 1X100Gr 20P</c:v>
                </c:pt>
                <c:pt idx="25">
                  <c:v>Boursin Vegetal Specialite Vegetale A Tartiner Afh 1X130Gr 1P</c:v>
                </c:pt>
              </c:strCache>
            </c:strRef>
          </c:cat>
          <c:val>
            <c:numRef>
              <c:f>Sheet1!$C$2:$C$27</c:f>
              <c:numCache>
                <c:formatCode>General</c:formatCode>
                <c:ptCount val="26"/>
                <c:pt idx="0">
                  <c:v>0.1571510134964223</c:v>
                </c:pt>
                <c:pt idx="1">
                  <c:v>0.30344999989807869</c:v>
                </c:pt>
                <c:pt idx="2">
                  <c:v>0.43997491623456658</c:v>
                </c:pt>
                <c:pt idx="3">
                  <c:v>0.57353206880467966</c:v>
                </c:pt>
                <c:pt idx="4">
                  <c:v>0.66388143473356565</c:v>
                </c:pt>
                <c:pt idx="5">
                  <c:v>0.71160693057619462</c:v>
                </c:pt>
                <c:pt idx="6">
                  <c:v>0.75760106101955793</c:v>
                </c:pt>
                <c:pt idx="7">
                  <c:v>0.79118210024277658</c:v>
                </c:pt>
                <c:pt idx="8">
                  <c:v>0.8239935407821517</c:v>
                </c:pt>
                <c:pt idx="9">
                  <c:v>0.85487829759508294</c:v>
                </c:pt>
                <c:pt idx="10">
                  <c:v>0.88555328178337867</c:v>
                </c:pt>
                <c:pt idx="11">
                  <c:v>0.91040577845750037</c:v>
                </c:pt>
                <c:pt idx="12">
                  <c:v>0.92985181194810762</c:v>
                </c:pt>
                <c:pt idx="13">
                  <c:v>0.94830661419386075</c:v>
                </c:pt>
                <c:pt idx="14">
                  <c:v>0.95877411991396366</c:v>
                </c:pt>
                <c:pt idx="15">
                  <c:v>0.96848351626358642</c:v>
                </c:pt>
                <c:pt idx="16">
                  <c:v>0.97596602424726941</c:v>
                </c:pt>
                <c:pt idx="17">
                  <c:v>0.98217655405471782</c:v>
                </c:pt>
                <c:pt idx="18">
                  <c:v>0.98744366298582442</c:v>
                </c:pt>
                <c:pt idx="19">
                  <c:v>0.99246523417166421</c:v>
                </c:pt>
                <c:pt idx="20">
                  <c:v>0.9954498612850724</c:v>
                </c:pt>
                <c:pt idx="21">
                  <c:v>0.99805182013887628</c:v>
                </c:pt>
                <c:pt idx="22">
                  <c:v>0.99995330150052297</c:v>
                </c:pt>
                <c:pt idx="23">
                  <c:v>0.99999129035922463</c:v>
                </c:pt>
                <c:pt idx="24">
                  <c:v>0.99999759095042395</c:v>
                </c:pt>
                <c:pt idx="25">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7</c:f>
              <c:strCache>
                <c:ptCount val="26"/>
                <c:pt idx="0">
                  <c:v>Boursin Classique Fromage Frais A Tartiner Afh Boite 1X150Gr 1P</c:v>
                </c:pt>
                <c:pt idx="1">
                  <c:v>Boursin Classique Fromage Frais A Tartiner Afh 1X160Gr 10P</c:v>
                </c:pt>
                <c:pt idx="2">
                  <c:v>Boursin Salade &amp; Aperitif Fromage Frais Des Afh 1X120Gr 1P</c:v>
                </c:pt>
                <c:pt idx="3">
                  <c:v>Boursin Aperitif Roules Fromage Frais Roule Afh Et Jambon Fume Boite 1X100Gr 20P</c:v>
                </c:pt>
                <c:pt idx="4">
                  <c:v>Boursin Classique Fromage Frais A Tartiner Afh Boite 1X250Gr 1P</c:v>
                </c:pt>
                <c:pt idx="5">
                  <c:v>Boursin Aperitif Roules Fromage Frais Roule Ciboulette &amp; Echalote Jambon Fume Boite 1X100Gr 20P</c:v>
                </c:pt>
                <c:pt idx="6">
                  <c:v>Boursin Classique Fromage Frais A Tartiner Afh Boite 1X96Gr 6P</c:v>
                </c:pt>
                <c:pt idx="7">
                  <c:v>Boursin Salade &amp; Aperitif Fromage Frais Des Figue Noix 1X120Gr 1P</c:v>
                </c:pt>
                <c:pt idx="8">
                  <c:v>Boursin Onctueux Fromage Frais A Tartiner Afh 1X125Gr 1P</c:v>
                </c:pt>
                <c:pt idx="9">
                  <c:v>Boursin Salade &amp; Aperitif Fromage Frais Des Ciboulette Echalote 1X120Gr 1P</c:v>
                </c:pt>
                <c:pt idx="10">
                  <c:v>Boursin Classique Fromage Frais A Tartiner Ciboulette &amp; Echalote Boite 1X150Gr 1P</c:v>
                </c:pt>
                <c:pt idx="11">
                  <c:v>Boursin Classique Fromage Frais A Tartiner Figue Et 3 Noix Boite 1X150Gr 1P</c:v>
                </c:pt>
                <c:pt idx="12">
                  <c:v>Boursin Salade &amp; Aperitif Soft Cheese Salade 120G</c:v>
                </c:pt>
                <c:pt idx="13">
                  <c:v>Boursin Salade &amp; Aperitif Fromage Frais Des Citron Romarin 1X120Gr 1P</c:v>
                </c:pt>
                <c:pt idx="14">
                  <c:v>Boursin Classique Fromage Frais A Tartiner Poivre Boite 1X150Gr 1P</c:v>
                </c:pt>
                <c:pt idx="15">
                  <c:v>Boursin Aperitif Roules Aperitif 100G</c:v>
                </c:pt>
                <c:pt idx="16">
                  <c:v>Boursin Vegetal Alternative Vegetale 150G</c:v>
                </c:pt>
                <c:pt idx="17">
                  <c:v>Boursin Classique Fromage Frais A Tartiner Afh 1X256Gr 16P</c:v>
                </c:pt>
                <c:pt idx="18">
                  <c:v>Boursin Classique Fromage Frais A Tartiner Afh Boite 1X320Gr 16+4P</c:v>
                </c:pt>
                <c:pt idx="19">
                  <c:v>Boursin Classique Fromage Frais A Tartiner Afh Boite 1X80Gr 1P</c:v>
                </c:pt>
                <c:pt idx="20">
                  <c:v>Boursin Classique Fromage Frais A Tartiner 3 Noix Boite 1X150Gr 1P</c:v>
                </c:pt>
                <c:pt idx="21">
                  <c:v>Boursin Onctueux Fromage Frais A Tartiner Afh 1X210Gr 1P</c:v>
                </c:pt>
                <c:pt idx="22">
                  <c:v>Boursin Classique Fromage Frais A Tartiner 3 Noix 1X160Gr 10P</c:v>
                </c:pt>
                <c:pt idx="23">
                  <c:v>Boursin Salade &amp; Aperitif Fromage Frais Des Noisette Et 3 Noix 1X120Gr 1P</c:v>
                </c:pt>
                <c:pt idx="24">
                  <c:v>Boursin Aperitif Roules Fromage Frais Roule Jambon Fume &amp; Trio De Noix Boite 1X100Gr 20P</c:v>
                </c:pt>
                <c:pt idx="25">
                  <c:v>Boursin Vegetal Specialite Vegetale A Tartiner Afh 1X130Gr 1P</c:v>
                </c:pt>
              </c:strCache>
            </c:strRef>
          </c:cat>
          <c:val>
            <c:numRef>
              <c:f>Sheet1!$D$2:$D$27</c:f>
              <c:numCache>
                <c:formatCode>General</c:formatCode>
                <c:ptCount val="26"/>
                <c:pt idx="0">
                  <c:v>8760.7128099173551</c:v>
                </c:pt>
                <c:pt idx="1">
                  <c:v>8742.8128460686603</c:v>
                </c:pt>
                <c:pt idx="2">
                  <c:v>7666.3059313215408</c:v>
                </c:pt>
                <c:pt idx="3">
                  <c:v>8016.8743047830922</c:v>
                </c:pt>
                <c:pt idx="4">
                  <c:v>6086.816479400748</c:v>
                </c:pt>
                <c:pt idx="5">
                  <c:v>3581.9471488178028</c:v>
                </c:pt>
                <c:pt idx="6">
                  <c:v>3083.217391304348</c:v>
                </c:pt>
                <c:pt idx="7">
                  <c:v>2285.1702395964694</c:v>
                </c:pt>
                <c:pt idx="8">
                  <c:v>2320.5897771952818</c:v>
                </c:pt>
                <c:pt idx="9">
                  <c:v>2175.7702349869455</c:v>
                </c:pt>
                <c:pt idx="10">
                  <c:v>2106.0050890585239</c:v>
                </c:pt>
                <c:pt idx="11">
                  <c:v>1995.7142857142856</c:v>
                </c:pt>
                <c:pt idx="12">
                  <c:v>1512.0605187319886</c:v>
                </c:pt>
                <c:pt idx="13">
                  <c:v>1434.9855907780982</c:v>
                </c:pt>
                <c:pt idx="14">
                  <c:v>1422.8211586901762</c:v>
                </c:pt>
                <c:pt idx="15">
                  <c:v>1497</c:v>
                </c:pt>
                <c:pt idx="16">
                  <c:v>893.31858407079642</c:v>
                </c:pt>
                <c:pt idx="17">
                  <c:v>1402.2594142259416</c:v>
                </c:pt>
                <c:pt idx="18">
                  <c:v>740.18229166666674</c:v>
                </c:pt>
                <c:pt idx="19">
                  <c:v>740.38251366120221</c:v>
                </c:pt>
                <c:pt idx="20">
                  <c:v>473.70588235294116</c:v>
                </c:pt>
                <c:pt idx="21">
                  <c:v>512.44525547445255</c:v>
                </c:pt>
                <c:pt idx="22">
                  <c:v>427.54166666666669</c:v>
                </c:pt>
                <c:pt idx="23">
                  <c:v>186.36363636363637</c:v>
                </c:pt>
                <c:pt idx="24">
                  <c:v>37.777777777777779</c:v>
                </c:pt>
                <c:pt idx="25">
                  <c:v>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Boursin</c:v>
                </c:pt>
                <c:pt idx="8">
                  <c:v>Kiri</c:v>
                </c:pt>
                <c:pt idx="9">
                  <c:v>Others</c:v>
                </c:pt>
              </c:strCache>
            </c:strRef>
          </c:cat>
          <c:val>
            <c:numRef>
              <c:f>Sheet1!$B$2:$B$11</c:f>
              <c:numCache>
                <c:formatCode>General</c:formatCode>
                <c:ptCount val="10"/>
                <c:pt idx="0">
                  <c:v>0.40373102689968055</c:v>
                </c:pt>
                <c:pt idx="1">
                  <c:v>6.6977733731090727E-2</c:v>
                </c:pt>
                <c:pt idx="2">
                  <c:v>4.9481180070312616E-2</c:v>
                </c:pt>
                <c:pt idx="3">
                  <c:v>4.6613287917025278E-2</c:v>
                </c:pt>
                <c:pt idx="4">
                  <c:v>4.1053421904859153E-2</c:v>
                </c:pt>
                <c:pt idx="5">
                  <c:v>3.5304098408484197E-2</c:v>
                </c:pt>
                <c:pt idx="6">
                  <c:v>2.5609126781520327E-2</c:v>
                </c:pt>
                <c:pt idx="7">
                  <c:v>2.4164764190164986E-2</c:v>
                </c:pt>
                <c:pt idx="8">
                  <c:v>2.4052666992458172E-2</c:v>
                </c:pt>
                <c:pt idx="9">
                  <c:v>0.2830126931044040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Boursin</c:v>
                </c:pt>
                <c:pt idx="8">
                  <c:v>Kiri</c:v>
                </c:pt>
                <c:pt idx="9">
                  <c:v>Others</c:v>
                </c:pt>
              </c:strCache>
            </c:strRef>
          </c:cat>
          <c:val>
            <c:numRef>
              <c:f>Sheet1!$C$2:$C$11</c:f>
              <c:numCache>
                <c:formatCode>General</c:formatCode>
                <c:ptCount val="10"/>
                <c:pt idx="0">
                  <c:v>0.31109416698436887</c:v>
                </c:pt>
                <c:pt idx="1">
                  <c:v>4.8036599313762841E-2</c:v>
                </c:pt>
                <c:pt idx="2">
                  <c:v>5.3755242089210814E-2</c:v>
                </c:pt>
                <c:pt idx="3">
                  <c:v>3.8759689922480613E-2</c:v>
                </c:pt>
                <c:pt idx="4">
                  <c:v>4.6511627906976723E-2</c:v>
                </c:pt>
                <c:pt idx="5">
                  <c:v>2.4399542508577954E-2</c:v>
                </c:pt>
                <c:pt idx="6">
                  <c:v>2.6496378192908874E-2</c:v>
                </c:pt>
                <c:pt idx="7">
                  <c:v>5.6868725378065831E-2</c:v>
                </c:pt>
                <c:pt idx="8">
                  <c:v>3.4121235226839478E-2</c:v>
                </c:pt>
                <c:pt idx="9">
                  <c:v>0.3599567924768075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President</c:v>
                </c:pt>
                <c:pt idx="3">
                  <c:v>St Moret</c:v>
                </c:pt>
                <c:pt idx="4">
                  <c:v>Soignon</c:v>
                </c:pt>
                <c:pt idx="5">
                  <c:v>Caprice Des Dieux</c:v>
                </c:pt>
                <c:pt idx="6">
                  <c:v>La Vache Qui Rit</c:v>
                </c:pt>
                <c:pt idx="7">
                  <c:v>Boursin</c:v>
                </c:pt>
                <c:pt idx="8">
                  <c:v>Kiri</c:v>
                </c:pt>
                <c:pt idx="9">
                  <c:v>Others</c:v>
                </c:pt>
              </c:strCache>
            </c:strRef>
          </c:cat>
          <c:val>
            <c:numRef>
              <c:f>Sheet1!$D$2:$D$11</c:f>
              <c:numCache>
                <c:formatCode>General</c:formatCode>
                <c:ptCount val="10"/>
                <c:pt idx="0">
                  <c:v>77.054807844052533</c:v>
                </c:pt>
                <c:pt idx="1">
                  <c:v>71.720251847614392</c:v>
                </c:pt>
                <c:pt idx="2">
                  <c:v>108.63775280384334</c:v>
                </c:pt>
                <c:pt idx="3">
                  <c:v>83.151589717239887</c:v>
                </c:pt>
                <c:pt idx="4">
                  <c:v>113.29537404888417</c:v>
                </c:pt>
                <c:pt idx="5">
                  <c:v>69.11249290737959</c:v>
                </c:pt>
                <c:pt idx="6">
                  <c:v>103.46459064753739</c:v>
                </c:pt>
                <c:pt idx="7">
                  <c:v>235.33739013770841</c:v>
                </c:pt>
                <c:pt idx="8">
                  <c:v>141.86050651904154</c:v>
                </c:pt>
                <c:pt idx="9">
                  <c:v>127.187508280421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B$2:$B$11</c:f>
              <c:numCache>
                <c:formatCode>General</c:formatCode>
                <c:ptCount val="10"/>
                <c:pt idx="0">
                  <c:v>0.97299999999999998</c:v>
                </c:pt>
                <c:pt idx="1">
                  <c:v>0.85299999999999998</c:v>
                </c:pt>
                <c:pt idx="2">
                  <c:v>0.92900000000000005</c:v>
                </c:pt>
                <c:pt idx="3">
                  <c:v>0.98199999999999998</c:v>
                </c:pt>
                <c:pt idx="4">
                  <c:v>0.97799999999999998</c:v>
                </c:pt>
                <c:pt idx="5">
                  <c:v>0.81599999999999995</c:v>
                </c:pt>
                <c:pt idx="6">
                  <c:v>0.83499999999999996</c:v>
                </c:pt>
                <c:pt idx="7">
                  <c:v>0.6</c:v>
                </c:pt>
                <c:pt idx="8">
                  <c:v>0.54300000000000004</c:v>
                </c:pt>
                <c:pt idx="9">
                  <c:v>9.4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C$2:$C$11</c:f>
              <c:numCache>
                <c:formatCode>General</c:formatCode>
                <c:ptCount val="10"/>
                <c:pt idx="0">
                  <c:v>0.23872045225837424</c:v>
                </c:pt>
                <c:pt idx="1">
                  <c:v>0.43175330380885191</c:v>
                </c:pt>
                <c:pt idx="2">
                  <c:v>0.59860489346897772</c:v>
                </c:pt>
                <c:pt idx="3">
                  <c:v>0.73686318219363267</c:v>
                </c:pt>
                <c:pt idx="4">
                  <c:v>0.87261421426195507</c:v>
                </c:pt>
                <c:pt idx="5">
                  <c:v>0.92372121378860561</c:v>
                </c:pt>
                <c:pt idx="6">
                  <c:v>0.96024243414975419</c:v>
                </c:pt>
                <c:pt idx="7">
                  <c:v>0.98614183505823971</c:v>
                </c:pt>
                <c:pt idx="8">
                  <c:v>0.99984432341883467</c:v>
                </c:pt>
                <c:pt idx="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D$2:$D$11</c:f>
              <c:numCache>
                <c:formatCode>General</c:formatCode>
                <c:ptCount val="10"/>
                <c:pt idx="0">
                  <c:v>11646.567317574512</c:v>
                </c:pt>
                <c:pt idx="1">
                  <c:v>10742.450175849941</c:v>
                </c:pt>
                <c:pt idx="2">
                  <c:v>8525.8127018299238</c:v>
                </c:pt>
                <c:pt idx="3">
                  <c:v>6683.4521384928712</c:v>
                </c:pt>
                <c:pt idx="4">
                  <c:v>6589.0899795501027</c:v>
                </c:pt>
                <c:pt idx="5">
                  <c:v>2973.1127450980393</c:v>
                </c:pt>
                <c:pt idx="6">
                  <c:v>2076.2514970059879</c:v>
                </c:pt>
                <c:pt idx="7">
                  <c:v>2049.0833333333335</c:v>
                </c:pt>
                <c:pt idx="8">
                  <c:v>1197.9005524861877</c:v>
                </c:pt>
                <c:pt idx="9">
                  <c:v>78.6170212765957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B$2:$B$9</c:f>
              <c:numCache>
                <c:formatCode>General</c:formatCode>
                <c:ptCount val="8"/>
                <c:pt idx="0">
                  <c:v>0.94199999999999995</c:v>
                </c:pt>
                <c:pt idx="1">
                  <c:v>0.996</c:v>
                </c:pt>
                <c:pt idx="2">
                  <c:v>0.93799999999999994</c:v>
                </c:pt>
                <c:pt idx="3">
                  <c:v>0.93400000000000005</c:v>
                </c:pt>
                <c:pt idx="4">
                  <c:v>0.81100000000000005</c:v>
                </c:pt>
                <c:pt idx="5">
                  <c:v>0.80600000000000005</c:v>
                </c:pt>
                <c:pt idx="6">
                  <c:v>0.625</c:v>
                </c:pt>
                <c:pt idx="7">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C$2:$C$9</c:f>
              <c:numCache>
                <c:formatCode>General</c:formatCode>
                <c:ptCount val="8"/>
                <c:pt idx="0">
                  <c:v>0.29493933618383905</c:v>
                </c:pt>
                <c:pt idx="1">
                  <c:v>0.55714928220448534</c:v>
                </c:pt>
                <c:pt idx="2">
                  <c:v>0.81629559726754364</c:v>
                </c:pt>
                <c:pt idx="3">
                  <c:v>0.8810575676685849</c:v>
                </c:pt>
                <c:pt idx="4">
                  <c:v>0.94094186859221596</c:v>
                </c:pt>
                <c:pt idx="5">
                  <c:v>0.97918070492140785</c:v>
                </c:pt>
                <c:pt idx="6">
                  <c:v>0.99982610677997996</c:v>
                </c:pt>
                <c:pt idx="7">
                  <c:v>0.9999803839965221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D$2:$D$9</c:f>
              <c:numCache>
                <c:formatCode>General</c:formatCode>
                <c:ptCount val="8"/>
                <c:pt idx="0">
                  <c:v>17717.165605095543</c:v>
                </c:pt>
                <c:pt idx="1">
                  <c:v>14897.118473895584</c:v>
                </c:pt>
                <c:pt idx="2">
                  <c:v>15633.443496801707</c:v>
                </c:pt>
                <c:pt idx="3">
                  <c:v>3923.6081370449679</c:v>
                </c:pt>
                <c:pt idx="4">
                  <c:v>4178.3477188655979</c:v>
                </c:pt>
                <c:pt idx="5">
                  <c:v>2684.6153846153843</c:v>
                </c:pt>
                <c:pt idx="6">
                  <c:v>1869.2</c:v>
                </c:pt>
                <c:pt idx="7">
                  <c:v>873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Boursin Aperitif Roules Fromage Frais Roule Ciboulette &amp; Echalote Jambon Fume Boite 1X100Gr 20P</c:v>
                </c:pt>
                <c:pt idx="6">
                  <c:v>Boursin Onctueux Fromage Frais A Tartiner Afh 1X125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uisine Sauce Fromage Afh 1X240Gr 1P</c:v>
                </c:pt>
                <c:pt idx="11">
                  <c:v>Boursin Aperitif Roules Fromage Frais Roule Basilic &amp; Jambon Fume Tomate Boite 1X100Gr 20P</c:v>
                </c:pt>
                <c:pt idx="12">
                  <c:v>Boursin Classique Fromage Frais A Tartiner Poivre Boite 1X150Gr 1P</c:v>
                </c:pt>
                <c:pt idx="13">
                  <c:v>Boursin Classique Fromage Frais A Tartiner Afh 1X256Gr 16P</c:v>
                </c:pt>
                <c:pt idx="14">
                  <c:v>Boursin Salade &amp; Aperitif Fromage Frais Des Ciboulette Echalote 1X120Gr 1P</c:v>
                </c:pt>
                <c:pt idx="15">
                  <c:v>Boursin Classique Fromage Frais A Tartiner Ciboulette &amp; Echalote 1X160Gr 10P</c:v>
                </c:pt>
                <c:pt idx="16">
                  <c:v>Boursin Salade &amp; Aperitif Fromage Frais Des Figue Noix 1X120Gr 1P</c:v>
                </c:pt>
                <c:pt idx="17">
                  <c:v>Boursin Salade &amp; Aperitif Fromage Frais Des Citron Romarin 1X120Gr 1P</c:v>
                </c:pt>
                <c:pt idx="18">
                  <c:v>Boursin Aperitif Roules Aperitif 100G</c:v>
                </c:pt>
                <c:pt idx="19">
                  <c:v>Boursin Salade &amp; Aperitif Soft Cheese Salade 120G</c:v>
                </c:pt>
                <c:pt idx="20">
                  <c:v>Boursin Aperitif Roules Fromage Frais Roule Jambon Fume &amp; Trio De Noix Boite 1X100Gr 20P</c:v>
                </c:pt>
                <c:pt idx="21">
                  <c:v>Boursin Classique Fromage Frais A Tartiner Afh Boite 1X80Gr 1P</c:v>
                </c:pt>
              </c:strCache>
            </c:strRef>
          </c:cat>
          <c:val>
            <c:numRef>
              <c:f>Sheet1!$B$2:$B$23</c:f>
              <c:numCache>
                <c:formatCode>General</c:formatCode>
                <c:ptCount val="22"/>
                <c:pt idx="0">
                  <c:v>0.96099999999999997</c:v>
                </c:pt>
                <c:pt idx="1">
                  <c:v>0.97899999999999998</c:v>
                </c:pt>
                <c:pt idx="2">
                  <c:v>0.94799999999999995</c:v>
                </c:pt>
                <c:pt idx="3">
                  <c:v>0.99399999999999999</c:v>
                </c:pt>
                <c:pt idx="4">
                  <c:v>0.96499999999999997</c:v>
                </c:pt>
                <c:pt idx="5">
                  <c:v>0.88700000000000001</c:v>
                </c:pt>
                <c:pt idx="6">
                  <c:v>0.95399999999999996</c:v>
                </c:pt>
                <c:pt idx="7">
                  <c:v>0.88200000000000001</c:v>
                </c:pt>
                <c:pt idx="8">
                  <c:v>0.93899999999999995</c:v>
                </c:pt>
                <c:pt idx="9">
                  <c:v>0.94499999999999995</c:v>
                </c:pt>
                <c:pt idx="10">
                  <c:v>0.84299999999999997</c:v>
                </c:pt>
                <c:pt idx="11">
                  <c:v>0.8</c:v>
                </c:pt>
                <c:pt idx="12">
                  <c:v>0.84199999999999997</c:v>
                </c:pt>
                <c:pt idx="13">
                  <c:v>0.79500000000000004</c:v>
                </c:pt>
                <c:pt idx="14">
                  <c:v>0.82099999999999995</c:v>
                </c:pt>
                <c:pt idx="15">
                  <c:v>0.80200000000000005</c:v>
                </c:pt>
                <c:pt idx="16">
                  <c:v>0.51300000000000001</c:v>
                </c:pt>
                <c:pt idx="17">
                  <c:v>0.65</c:v>
                </c:pt>
                <c:pt idx="18">
                  <c:v>0.65800000000000003</c:v>
                </c:pt>
                <c:pt idx="19">
                  <c:v>0.41199999999999998</c:v>
                </c:pt>
                <c:pt idx="20">
                  <c:v>0.29199999999999998</c:v>
                </c:pt>
                <c:pt idx="21">
                  <c:v>6.5000000000000002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Boursin Aperitif Roules Fromage Frais Roule Ciboulette &amp; Echalote Jambon Fume Boite 1X100Gr 20P</c:v>
                </c:pt>
                <c:pt idx="6">
                  <c:v>Boursin Onctueux Fromage Frais A Tartiner Afh 1X125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uisine Sauce Fromage Afh 1X240Gr 1P</c:v>
                </c:pt>
                <c:pt idx="11">
                  <c:v>Boursin Aperitif Roules Fromage Frais Roule Basilic &amp; Jambon Fume Tomate Boite 1X100Gr 20P</c:v>
                </c:pt>
                <c:pt idx="12">
                  <c:v>Boursin Classique Fromage Frais A Tartiner Poivre Boite 1X150Gr 1P</c:v>
                </c:pt>
                <c:pt idx="13">
                  <c:v>Boursin Classique Fromage Frais A Tartiner Afh 1X256Gr 16P</c:v>
                </c:pt>
                <c:pt idx="14">
                  <c:v>Boursin Salade &amp; Aperitif Fromage Frais Des Ciboulette Echalote 1X120Gr 1P</c:v>
                </c:pt>
                <c:pt idx="15">
                  <c:v>Boursin Classique Fromage Frais A Tartiner Ciboulette &amp; Echalote 1X160Gr 10P</c:v>
                </c:pt>
                <c:pt idx="16">
                  <c:v>Boursin Salade &amp; Aperitif Fromage Frais Des Figue Noix 1X120Gr 1P</c:v>
                </c:pt>
                <c:pt idx="17">
                  <c:v>Boursin Salade &amp; Aperitif Fromage Frais Des Citron Romarin 1X120Gr 1P</c:v>
                </c:pt>
                <c:pt idx="18">
                  <c:v>Boursin Aperitif Roules Aperitif 100G</c:v>
                </c:pt>
                <c:pt idx="19">
                  <c:v>Boursin Salade &amp; Aperitif Soft Cheese Salade 120G</c:v>
                </c:pt>
                <c:pt idx="20">
                  <c:v>Boursin Aperitif Roules Fromage Frais Roule Jambon Fume &amp; Trio De Noix Boite 1X100Gr 20P</c:v>
                </c:pt>
                <c:pt idx="21">
                  <c:v>Boursin Classique Fromage Frais A Tartiner Afh Boite 1X80Gr 1P</c:v>
                </c:pt>
              </c:strCache>
            </c:strRef>
          </c:cat>
          <c:val>
            <c:numRef>
              <c:f>Sheet1!$C$2:$C$23</c:f>
              <c:numCache>
                <c:formatCode>General</c:formatCode>
                <c:ptCount val="22"/>
                <c:pt idx="0">
                  <c:v>0.12783037010162895</c:v>
                </c:pt>
                <c:pt idx="1">
                  <c:v>0.25095058665926162</c:v>
                </c:pt>
                <c:pt idx="2">
                  <c:v>0.35811990096196777</c:v>
                </c:pt>
                <c:pt idx="3">
                  <c:v>0.46336166780418192</c:v>
                </c:pt>
                <c:pt idx="4">
                  <c:v>0.54130986326750763</c:v>
                </c:pt>
                <c:pt idx="5">
                  <c:v>0.60597478918120173</c:v>
                </c:pt>
                <c:pt idx="6">
                  <c:v>0.66443687451934241</c:v>
                </c:pt>
                <c:pt idx="7">
                  <c:v>0.70778326856618901</c:v>
                </c:pt>
                <c:pt idx="8">
                  <c:v>0.75067960352601715</c:v>
                </c:pt>
                <c:pt idx="9">
                  <c:v>0.78826534854367347</c:v>
                </c:pt>
                <c:pt idx="10">
                  <c:v>0.81930261762017975</c:v>
                </c:pt>
                <c:pt idx="11">
                  <c:v>0.84881376261734476</c:v>
                </c:pt>
                <c:pt idx="12">
                  <c:v>0.87786787502554708</c:v>
                </c:pt>
                <c:pt idx="13">
                  <c:v>0.90688014642208381</c:v>
                </c:pt>
                <c:pt idx="14">
                  <c:v>0.93477612108431152</c:v>
                </c:pt>
                <c:pt idx="15">
                  <c:v>0.95840037878632089</c:v>
                </c:pt>
                <c:pt idx="16">
                  <c:v>0.97170367480307451</c:v>
                </c:pt>
                <c:pt idx="17">
                  <c:v>0.98239351686040777</c:v>
                </c:pt>
                <c:pt idx="18">
                  <c:v>0.99102796392160419</c:v>
                </c:pt>
                <c:pt idx="19">
                  <c:v>0.99925455052293211</c:v>
                </c:pt>
                <c:pt idx="20">
                  <c:v>0.99992186101667568</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3</c:f>
              <c:strCache>
                <c:ptCount val="22"/>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Boursin Aperitif Roules Fromage Frais Roule Ciboulette &amp; Echalote Jambon Fume Boite 1X100Gr 20P</c:v>
                </c:pt>
                <c:pt idx="6">
                  <c:v>Boursin Onctueux Fromage Frais A Tartiner Afh 1X125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uisine Sauce Fromage Afh 1X240Gr 1P</c:v>
                </c:pt>
                <c:pt idx="11">
                  <c:v>Boursin Aperitif Roules Fromage Frais Roule Basilic &amp; Jambon Fume Tomate Boite 1X100Gr 20P</c:v>
                </c:pt>
                <c:pt idx="12">
                  <c:v>Boursin Classique Fromage Frais A Tartiner Poivre Boite 1X150Gr 1P</c:v>
                </c:pt>
                <c:pt idx="13">
                  <c:v>Boursin Classique Fromage Frais A Tartiner Afh 1X256Gr 16P</c:v>
                </c:pt>
                <c:pt idx="14">
                  <c:v>Boursin Salade &amp; Aperitif Fromage Frais Des Ciboulette Echalote 1X120Gr 1P</c:v>
                </c:pt>
                <c:pt idx="15">
                  <c:v>Boursin Classique Fromage Frais A Tartiner Ciboulette &amp; Echalote 1X160Gr 10P</c:v>
                </c:pt>
                <c:pt idx="16">
                  <c:v>Boursin Salade &amp; Aperitif Fromage Frais Des Figue Noix 1X120Gr 1P</c:v>
                </c:pt>
                <c:pt idx="17">
                  <c:v>Boursin Salade &amp; Aperitif Fromage Frais Des Citron Romarin 1X120Gr 1P</c:v>
                </c:pt>
                <c:pt idx="18">
                  <c:v>Boursin Aperitif Roules Aperitif 100G</c:v>
                </c:pt>
                <c:pt idx="19">
                  <c:v>Boursin Salade &amp; Aperitif Soft Cheese Salade 120G</c:v>
                </c:pt>
                <c:pt idx="20">
                  <c:v>Boursin Aperitif Roules Fromage Frais Roule Jambon Fume &amp; Trio De Noix Boite 1X100Gr 20P</c:v>
                </c:pt>
                <c:pt idx="21">
                  <c:v>Boursin Classique Fromage Frais A Tartiner Afh Boite 1X80Gr 1P</c:v>
                </c:pt>
              </c:strCache>
            </c:strRef>
          </c:cat>
          <c:val>
            <c:numRef>
              <c:f>Sheet1!$D$2:$D$23</c:f>
              <c:numCache>
                <c:formatCode>General</c:formatCode>
                <c:ptCount val="22"/>
                <c:pt idx="0">
                  <c:v>7439.1675338189389</c:v>
                </c:pt>
                <c:pt idx="1">
                  <c:v>7033.319713993872</c:v>
                </c:pt>
                <c:pt idx="2">
                  <c:v>6322.3101265822788</c:v>
                </c:pt>
                <c:pt idx="3">
                  <c:v>5921.2776659959754</c:v>
                </c:pt>
                <c:pt idx="4">
                  <c:v>4517.4404145077724</c:v>
                </c:pt>
                <c:pt idx="5">
                  <c:v>4077.1702367531002</c:v>
                </c:pt>
                <c:pt idx="6">
                  <c:v>3427.2012578616354</c:v>
                </c:pt>
                <c:pt idx="7">
                  <c:v>2748.5147392290251</c:v>
                </c:pt>
                <c:pt idx="8">
                  <c:v>2554.8668796592124</c:v>
                </c:pt>
                <c:pt idx="9">
                  <c:v>2224.3597883597886</c:v>
                </c:pt>
                <c:pt idx="10">
                  <c:v>2059.0628706998814</c:v>
                </c:pt>
                <c:pt idx="11">
                  <c:v>2063.0500000000002</c:v>
                </c:pt>
                <c:pt idx="12">
                  <c:v>1929.7862232779096</c:v>
                </c:pt>
                <c:pt idx="13">
                  <c:v>2040.9308176100628</c:v>
                </c:pt>
                <c:pt idx="14">
                  <c:v>1900.255785627284</c:v>
                </c:pt>
                <c:pt idx="15">
                  <c:v>1647.3940149625935</c:v>
                </c:pt>
                <c:pt idx="16">
                  <c:v>1450.2923976608186</c:v>
                </c:pt>
                <c:pt idx="17">
                  <c:v>919.7538461538461</c:v>
                </c:pt>
                <c:pt idx="18">
                  <c:v>733.87537993920978</c:v>
                </c:pt>
                <c:pt idx="19">
                  <c:v>1116.6990291262136</c:v>
                </c:pt>
                <c:pt idx="20">
                  <c:v>127.8082191780822</c:v>
                </c:pt>
                <c:pt idx="21">
                  <c:v>67.2307692307692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Gouter Fromage Blanc Dips Boite 1X175Gr 5P</c:v>
                </c:pt>
                <c:pt idx="2">
                  <c:v>Kiri Creme Fromage Blanc Frais Carre 1X216Gr 12P</c:v>
                </c:pt>
                <c:pt idx="3">
                  <c:v>Kiri Creme Fromage Blanc Frais Carre 1X432Gr 18+6P</c:v>
                </c:pt>
                <c:pt idx="4">
                  <c:v>Kiri Creme Fromage Blanc Frais Carre 1X144Gr 8P</c:v>
                </c:pt>
                <c:pt idx="5">
                  <c:v>Kiri Gouter Fromage Blanc Dips Boite 1X280Gr 8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0.98</c:v>
                </c:pt>
                <c:pt idx="1">
                  <c:v>1</c:v>
                </c:pt>
                <c:pt idx="2">
                  <c:v>1</c:v>
                </c:pt>
                <c:pt idx="3">
                  <c:v>0.98</c:v>
                </c:pt>
                <c:pt idx="4">
                  <c:v>1</c:v>
                </c:pt>
                <c:pt idx="5">
                  <c:v>0.98</c:v>
                </c:pt>
                <c:pt idx="6">
                  <c:v>0.96</c:v>
                </c:pt>
                <c:pt idx="7">
                  <c:v>0.98</c:v>
                </c:pt>
                <c:pt idx="8">
                  <c:v>0.54</c:v>
                </c:pt>
                <c:pt idx="9">
                  <c:v>0.56000000000000005</c:v>
                </c:pt>
                <c:pt idx="10">
                  <c:v>0.1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Gouter Fromage Blanc Dips Boite 1X175Gr 5P</c:v>
                </c:pt>
                <c:pt idx="2">
                  <c:v>Kiri Creme Fromage Blanc Frais Carre 1X216Gr 12P</c:v>
                </c:pt>
                <c:pt idx="3">
                  <c:v>Kiri Creme Fromage Blanc Frais Carre 1X432Gr 18+6P</c:v>
                </c:pt>
                <c:pt idx="4">
                  <c:v>Kiri Creme Fromage Blanc Frais Carre 1X144Gr 8P</c:v>
                </c:pt>
                <c:pt idx="5">
                  <c:v>Kiri Gouter Fromage Blanc Dips Boite 1X280Gr 8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C$2:$C$12</c:f>
              <c:numCache>
                <c:formatCode>General</c:formatCode>
                <c:ptCount val="11"/>
                <c:pt idx="0">
                  <c:v>0.33914255082387612</c:v>
                </c:pt>
                <c:pt idx="1">
                  <c:v>0.52031362455322838</c:v>
                </c:pt>
                <c:pt idx="2">
                  <c:v>0.65886298731487014</c:v>
                </c:pt>
                <c:pt idx="3">
                  <c:v>0.76232425626158018</c:v>
                </c:pt>
                <c:pt idx="4">
                  <c:v>0.85335520938799914</c:v>
                </c:pt>
                <c:pt idx="5">
                  <c:v>0.93815745066705714</c:v>
                </c:pt>
                <c:pt idx="6">
                  <c:v>0.97036601052056615</c:v>
                </c:pt>
                <c:pt idx="7">
                  <c:v>0.98852591445025917</c:v>
                </c:pt>
                <c:pt idx="8">
                  <c:v>0.99839148650095633</c:v>
                </c:pt>
                <c:pt idx="9">
                  <c:v>0.99953103377234542</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Gouter Fromage Blanc Dips Boite 1X175Gr 5P</c:v>
                </c:pt>
                <c:pt idx="2">
                  <c:v>Kiri Creme Fromage Blanc Frais Carre 1X216Gr 12P</c:v>
                </c:pt>
                <c:pt idx="3">
                  <c:v>Kiri Creme Fromage Blanc Frais Carre 1X432Gr 18+6P</c:v>
                </c:pt>
                <c:pt idx="4">
                  <c:v>Kiri Creme Fromage Blanc Frais Carre 1X144Gr 8P</c:v>
                </c:pt>
                <c:pt idx="5">
                  <c:v>Kiri Gouter Fromage Blanc Dips Boite 1X280Gr 8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D$2:$D$12</c:f>
              <c:numCache>
                <c:formatCode>General</c:formatCode>
                <c:ptCount val="11"/>
                <c:pt idx="0">
                  <c:v>10212.938775510203</c:v>
                </c:pt>
                <c:pt idx="1">
                  <c:v>5346.67</c:v>
                </c:pt>
                <c:pt idx="2">
                  <c:v>4088.83</c:v>
                </c:pt>
                <c:pt idx="3">
                  <c:v>3115.6326530612246</c:v>
                </c:pt>
                <c:pt idx="4">
                  <c:v>2686.48</c:v>
                </c:pt>
                <c:pt idx="5">
                  <c:v>2553.7346938775509</c:v>
                </c:pt>
                <c:pt idx="6">
                  <c:v>990.13541666666663</c:v>
                </c:pt>
                <c:pt idx="7">
                  <c:v>546.86734693877554</c:v>
                </c:pt>
                <c:pt idx="8">
                  <c:v>539.16666666666663</c:v>
                </c:pt>
                <c:pt idx="9">
                  <c:v>60.053571428571423</c:v>
                </c:pt>
                <c:pt idx="10">
                  <c:v>92.2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Aro Fromage Fondu Boite Ronde Jambon 1X133Gr 8P</c:v>
                </c:pt>
                <c:pt idx="9">
                  <c:v>La Vache Qui Rit Bio Fromage Fondu Boite Ronde 1X128Gr 8P</c:v>
                </c:pt>
              </c:strCache>
            </c:strRef>
          </c:cat>
          <c:val>
            <c:numRef>
              <c:f>Sheet1!$B$2:$B$11</c:f>
              <c:numCache>
                <c:formatCode>General</c:formatCode>
                <c:ptCount val="10"/>
                <c:pt idx="0">
                  <c:v>0.98</c:v>
                </c:pt>
                <c:pt idx="1">
                  <c:v>0.98</c:v>
                </c:pt>
                <c:pt idx="2">
                  <c:v>1</c:v>
                </c:pt>
                <c:pt idx="3">
                  <c:v>0.93</c:v>
                </c:pt>
                <c:pt idx="4">
                  <c:v>1</c:v>
                </c:pt>
                <c:pt idx="5">
                  <c:v>0.93</c:v>
                </c:pt>
                <c:pt idx="6">
                  <c:v>0.93</c:v>
                </c:pt>
                <c:pt idx="7">
                  <c:v>0.84</c:v>
                </c:pt>
                <c:pt idx="8">
                  <c:v>0.06</c:v>
                </c:pt>
                <c:pt idx="9">
                  <c:v>0.1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Aro Fromage Fondu Boite Ronde Jambon 1X133Gr 8P</c:v>
                </c:pt>
                <c:pt idx="9">
                  <c:v>La Vache Qui Rit Bio Fromage Fondu Boite Ronde 1X128Gr 8P</c:v>
                </c:pt>
              </c:strCache>
            </c:strRef>
          </c:cat>
          <c:val>
            <c:numRef>
              <c:f>Sheet1!$C$2:$C$11</c:f>
              <c:numCache>
                <c:formatCode>General</c:formatCode>
                <c:ptCount val="10"/>
                <c:pt idx="0">
                  <c:v>0.31155776586507061</c:v>
                </c:pt>
                <c:pt idx="1">
                  <c:v>0.62247569018349869</c:v>
                </c:pt>
                <c:pt idx="2">
                  <c:v>0.73485241878188978</c:v>
                </c:pt>
                <c:pt idx="3">
                  <c:v>0.82312988438933021</c:v>
                </c:pt>
                <c:pt idx="4">
                  <c:v>0.89234386100884833</c:v>
                </c:pt>
                <c:pt idx="5">
                  <c:v>0.94540535497714329</c:v>
                </c:pt>
                <c:pt idx="6">
                  <c:v>0.97822184905308318</c:v>
                </c:pt>
                <c:pt idx="7">
                  <c:v>0.99766941520090124</c:v>
                </c:pt>
                <c:pt idx="8">
                  <c:v>0.99972098430536704</c:v>
                </c:pt>
                <c:pt idx="9">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Aro Fromage Fondu Boite Ronde Jambon 1X133Gr 8P</c:v>
                </c:pt>
                <c:pt idx="9">
                  <c:v>La Vache Qui Rit Bio Fromage Fondu Boite Ronde 1X128Gr 8P</c:v>
                </c:pt>
              </c:strCache>
            </c:strRef>
          </c:cat>
          <c:val>
            <c:numRef>
              <c:f>Sheet1!$D$2:$D$11</c:f>
              <c:numCache>
                <c:formatCode>General</c:formatCode>
                <c:ptCount val="10"/>
                <c:pt idx="0">
                  <c:v>11075.163265306122</c:v>
                </c:pt>
                <c:pt idx="1">
                  <c:v>11052.418367346938</c:v>
                </c:pt>
                <c:pt idx="2">
                  <c:v>3914.84</c:v>
                </c:pt>
                <c:pt idx="3">
                  <c:v>3306.7741935483873</c:v>
                </c:pt>
                <c:pt idx="4">
                  <c:v>2411.19</c:v>
                </c:pt>
                <c:pt idx="5">
                  <c:v>1987.6236559139784</c:v>
                </c:pt>
                <c:pt idx="6">
                  <c:v>1229.2688172043011</c:v>
                </c:pt>
                <c:pt idx="7">
                  <c:v>806.53571428571433</c:v>
                </c:pt>
                <c:pt idx="8">
                  <c:v>1191.1666666666667</c:v>
                </c:pt>
                <c:pt idx="9">
                  <c:v>51.15789473684210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6</c:f>
              <c:strCache>
                <c:ptCount val="25"/>
                <c:pt idx="0">
                  <c:v>Boursin Classique Fromage Frais A Tartiner Afh 1X160Gr 10P</c:v>
                </c:pt>
                <c:pt idx="1">
                  <c:v>Boursin Classique Fromage Frais A Tartiner Afh Boite 1X250Gr 1P</c:v>
                </c:pt>
                <c:pt idx="2">
                  <c:v>Boursin Salade &amp; Aperitif Fromage Frais Des Afh 1X120Gr 1P</c:v>
                </c:pt>
                <c:pt idx="3">
                  <c:v>Boursin Classique Fromage Frais A Tartiner Afh Boite 1X150Gr 1P</c:v>
                </c:pt>
                <c:pt idx="4">
                  <c:v>Boursin Aperitif Roules Fromage Frais Roule Afh Et Jambon Fume Boite 1X100Gr 20P</c:v>
                </c:pt>
                <c:pt idx="5">
                  <c:v>Boursin Classique Fromage Frais A Tartiner Afh Boite 1X96Gr 6P</c:v>
                </c:pt>
                <c:pt idx="6">
                  <c:v>Boursin Aperitif Roules Fromage Frais Roule Ciboulette &amp; Echalote Jambon Fume Boite 1X100Gr 20P</c:v>
                </c:pt>
                <c:pt idx="7">
                  <c:v>Boursin Salade &amp; Aperitif Fromage Frais Des Ciboulette Echalote 1X120Gr 1P</c:v>
                </c:pt>
                <c:pt idx="8">
                  <c:v>Boursin Salade &amp; Aperitif Fromage Frais Des Figue Noix 1X120Gr 1P</c:v>
                </c:pt>
                <c:pt idx="9">
                  <c:v>Boursin Classique Fromage Frais A Tartiner Figue Et 3 Noix Boite 1X150Gr 1P</c:v>
                </c:pt>
                <c:pt idx="10">
                  <c:v>Boursin Onctueux Fromage Frais A Tartiner Afh 1X125Gr 1P</c:v>
                </c:pt>
                <c:pt idx="11">
                  <c:v>Boursin Classique Fromage Frais A Tartiner Ciboulette &amp; Echalote Boite 1X150Gr 1P</c:v>
                </c:pt>
                <c:pt idx="12">
                  <c:v>Boursin Classique Fromage Frais A Tartiner Poivre Boite 1X150Gr 1P</c:v>
                </c:pt>
                <c:pt idx="13">
                  <c:v>Boursin Salade &amp; Aperitif Soft Cheese Salade 120G</c:v>
                </c:pt>
                <c:pt idx="14">
                  <c:v>Boursin Salade &amp; Aperitif Fromage Frais Des Citron Romarin 1X120Gr 1P</c:v>
                </c:pt>
                <c:pt idx="15">
                  <c:v>Boursin Classique Fromage Frais A Tartiner Afh 1X256Gr 16P</c:v>
                </c:pt>
                <c:pt idx="16">
                  <c:v>Boursin Aperitif Roules Aperitif 100G</c:v>
                </c:pt>
                <c:pt idx="17">
                  <c:v>Boursin Classique Fromage Frais A Tartiner Afh Boite 1X320Gr 16+4P</c:v>
                </c:pt>
                <c:pt idx="18">
                  <c:v>Boursin Vegetal Alternative Vegetale 150G</c:v>
                </c:pt>
                <c:pt idx="19">
                  <c:v>Boursin Classique Fromage Frais A Tartiner Afh Boite 1X80Gr 1P</c:v>
                </c:pt>
                <c:pt idx="20">
                  <c:v>Boursin Onctueux Fromage Frais A Tartiner Afh 1X210Gr 1P</c:v>
                </c:pt>
                <c:pt idx="21">
                  <c:v>Boursin Classique Fromage Frais A Tartiner 3 Noix Boite 1X150Gr 1P</c:v>
                </c:pt>
                <c:pt idx="22">
                  <c:v>Boursin Classique Fromage Frais A Tartiner 3 Noix 1X160Gr 10P</c:v>
                </c:pt>
                <c:pt idx="23">
                  <c:v>Boursin Aperitif Roules Fromage Frais Roule Jambon Fume &amp; Trio De Noix Boite 1X100Gr 20P</c:v>
                </c:pt>
                <c:pt idx="24">
                  <c:v>Boursin Vegetal Specialite Vegetale A Tartiner Afh 1X130Gr 1P</c:v>
                </c:pt>
              </c:strCache>
            </c:strRef>
          </c:cat>
          <c:val>
            <c:numRef>
              <c:f>Sheet1!$B$2:$B$26</c:f>
              <c:numCache>
                <c:formatCode>General</c:formatCode>
                <c:ptCount val="25"/>
                <c:pt idx="0">
                  <c:v>1</c:v>
                </c:pt>
                <c:pt idx="1">
                  <c:v>1</c:v>
                </c:pt>
                <c:pt idx="2">
                  <c:v>1</c:v>
                </c:pt>
                <c:pt idx="3">
                  <c:v>1</c:v>
                </c:pt>
                <c:pt idx="4">
                  <c:v>0.99</c:v>
                </c:pt>
                <c:pt idx="5">
                  <c:v>1</c:v>
                </c:pt>
                <c:pt idx="6">
                  <c:v>0.9</c:v>
                </c:pt>
                <c:pt idx="7">
                  <c:v>0.99</c:v>
                </c:pt>
                <c:pt idx="8">
                  <c:v>0.99</c:v>
                </c:pt>
                <c:pt idx="9">
                  <c:v>0.94</c:v>
                </c:pt>
                <c:pt idx="10">
                  <c:v>0.99</c:v>
                </c:pt>
                <c:pt idx="11">
                  <c:v>0.97</c:v>
                </c:pt>
                <c:pt idx="12">
                  <c:v>0.88</c:v>
                </c:pt>
                <c:pt idx="13">
                  <c:v>0.94</c:v>
                </c:pt>
                <c:pt idx="14">
                  <c:v>0.93</c:v>
                </c:pt>
                <c:pt idx="15">
                  <c:v>0.53</c:v>
                </c:pt>
                <c:pt idx="16">
                  <c:v>0.53</c:v>
                </c:pt>
                <c:pt idx="17">
                  <c:v>0.85</c:v>
                </c:pt>
                <c:pt idx="18">
                  <c:v>0.79</c:v>
                </c:pt>
                <c:pt idx="19">
                  <c:v>0.77</c:v>
                </c:pt>
                <c:pt idx="20">
                  <c:v>0.59</c:v>
                </c:pt>
                <c:pt idx="21">
                  <c:v>0.67</c:v>
                </c:pt>
                <c:pt idx="22">
                  <c:v>0.49</c:v>
                </c:pt>
                <c:pt idx="23">
                  <c:v>0.02</c:v>
                </c:pt>
                <c:pt idx="2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6</c:f>
              <c:strCache>
                <c:ptCount val="25"/>
                <c:pt idx="0">
                  <c:v>Boursin Classique Fromage Frais A Tartiner Afh 1X160Gr 10P</c:v>
                </c:pt>
                <c:pt idx="1">
                  <c:v>Boursin Classique Fromage Frais A Tartiner Afh Boite 1X250Gr 1P</c:v>
                </c:pt>
                <c:pt idx="2">
                  <c:v>Boursin Salade &amp; Aperitif Fromage Frais Des Afh 1X120Gr 1P</c:v>
                </c:pt>
                <c:pt idx="3">
                  <c:v>Boursin Classique Fromage Frais A Tartiner Afh Boite 1X150Gr 1P</c:v>
                </c:pt>
                <c:pt idx="4">
                  <c:v>Boursin Aperitif Roules Fromage Frais Roule Afh Et Jambon Fume Boite 1X100Gr 20P</c:v>
                </c:pt>
                <c:pt idx="5">
                  <c:v>Boursin Classique Fromage Frais A Tartiner Afh Boite 1X96Gr 6P</c:v>
                </c:pt>
                <c:pt idx="6">
                  <c:v>Boursin Aperitif Roules Fromage Frais Roule Ciboulette &amp; Echalote Jambon Fume Boite 1X100Gr 20P</c:v>
                </c:pt>
                <c:pt idx="7">
                  <c:v>Boursin Salade &amp; Aperitif Fromage Frais Des Ciboulette Echalote 1X120Gr 1P</c:v>
                </c:pt>
                <c:pt idx="8">
                  <c:v>Boursin Salade &amp; Aperitif Fromage Frais Des Figue Noix 1X120Gr 1P</c:v>
                </c:pt>
                <c:pt idx="9">
                  <c:v>Boursin Classique Fromage Frais A Tartiner Figue Et 3 Noix Boite 1X150Gr 1P</c:v>
                </c:pt>
                <c:pt idx="10">
                  <c:v>Boursin Onctueux Fromage Frais A Tartiner Afh 1X125Gr 1P</c:v>
                </c:pt>
                <c:pt idx="11">
                  <c:v>Boursin Classique Fromage Frais A Tartiner Ciboulette &amp; Echalote Boite 1X150Gr 1P</c:v>
                </c:pt>
                <c:pt idx="12">
                  <c:v>Boursin Classique Fromage Frais A Tartiner Poivre Boite 1X150Gr 1P</c:v>
                </c:pt>
                <c:pt idx="13">
                  <c:v>Boursin Salade &amp; Aperitif Soft Cheese Salade 120G</c:v>
                </c:pt>
                <c:pt idx="14">
                  <c:v>Boursin Salade &amp; Aperitif Fromage Frais Des Citron Romarin 1X120Gr 1P</c:v>
                </c:pt>
                <c:pt idx="15">
                  <c:v>Boursin Classique Fromage Frais A Tartiner Afh 1X256Gr 16P</c:v>
                </c:pt>
                <c:pt idx="16">
                  <c:v>Boursin Aperitif Roules Aperitif 100G</c:v>
                </c:pt>
                <c:pt idx="17">
                  <c:v>Boursin Classique Fromage Frais A Tartiner Afh Boite 1X320Gr 16+4P</c:v>
                </c:pt>
                <c:pt idx="18">
                  <c:v>Boursin Vegetal Alternative Vegetale 150G</c:v>
                </c:pt>
                <c:pt idx="19">
                  <c:v>Boursin Classique Fromage Frais A Tartiner Afh Boite 1X80Gr 1P</c:v>
                </c:pt>
                <c:pt idx="20">
                  <c:v>Boursin Onctueux Fromage Frais A Tartiner Afh 1X210Gr 1P</c:v>
                </c:pt>
                <c:pt idx="21">
                  <c:v>Boursin Classique Fromage Frais A Tartiner 3 Noix Boite 1X150Gr 1P</c:v>
                </c:pt>
                <c:pt idx="22">
                  <c:v>Boursin Classique Fromage Frais A Tartiner 3 Noix 1X160Gr 10P</c:v>
                </c:pt>
                <c:pt idx="23">
                  <c:v>Boursin Aperitif Roules Fromage Frais Roule Jambon Fume &amp; Trio De Noix Boite 1X100Gr 20P</c:v>
                </c:pt>
                <c:pt idx="24">
                  <c:v>Boursin Vegetal Specialite Vegetale A Tartiner Afh 1X130Gr 1P</c:v>
                </c:pt>
              </c:strCache>
            </c:strRef>
          </c:cat>
          <c:val>
            <c:numRef>
              <c:f>Sheet1!$C$2:$C$26</c:f>
              <c:numCache>
                <c:formatCode>General</c:formatCode>
                <c:ptCount val="25"/>
                <c:pt idx="0">
                  <c:v>0.14750691910070954</c:v>
                </c:pt>
                <c:pt idx="1">
                  <c:v>0.26285249354503487</c:v>
                </c:pt>
                <c:pt idx="2">
                  <c:v>0.36507092223269622</c:v>
                </c:pt>
                <c:pt idx="3">
                  <c:v>0.46596517219660966</c:v>
                </c:pt>
                <c:pt idx="4">
                  <c:v>0.56432617032939236</c:v>
                </c:pt>
                <c:pt idx="5">
                  <c:v>0.61413580513361765</c:v>
                </c:pt>
                <c:pt idx="6">
                  <c:v>0.66258227382790691</c:v>
                </c:pt>
                <c:pt idx="7">
                  <c:v>0.71059616818972748</c:v>
                </c:pt>
                <c:pt idx="8">
                  <c:v>0.74692591421939591</c:v>
                </c:pt>
                <c:pt idx="9">
                  <c:v>0.78204751541278128</c:v>
                </c:pt>
                <c:pt idx="10">
                  <c:v>0.81629747004353126</c:v>
                </c:pt>
                <c:pt idx="11">
                  <c:v>0.84991944927532193</c:v>
                </c:pt>
                <c:pt idx="12">
                  <c:v>0.87613660994466114</c:v>
                </c:pt>
                <c:pt idx="13">
                  <c:v>0.89877389311793732</c:v>
                </c:pt>
                <c:pt idx="14">
                  <c:v>0.91937315709178236</c:v>
                </c:pt>
                <c:pt idx="15">
                  <c:v>0.93492819590975906</c:v>
                </c:pt>
                <c:pt idx="16">
                  <c:v>0.94945610275589765</c:v>
                </c:pt>
                <c:pt idx="17">
                  <c:v>0.96261434559440218</c:v>
                </c:pt>
                <c:pt idx="18">
                  <c:v>0.97470925388817953</c:v>
                </c:pt>
                <c:pt idx="19">
                  <c:v>0.98474711342498156</c:v>
                </c:pt>
                <c:pt idx="20">
                  <c:v>0.99077020045550268</c:v>
                </c:pt>
                <c:pt idx="21">
                  <c:v>0.99641640941953824</c:v>
                </c:pt>
                <c:pt idx="22">
                  <c:v>0.99997818562915675</c:v>
                </c:pt>
                <c:pt idx="23">
                  <c:v>0.99999396623785197</c:v>
                </c:pt>
                <c:pt idx="2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6</c:f>
              <c:strCache>
                <c:ptCount val="25"/>
                <c:pt idx="0">
                  <c:v>Boursin Classique Fromage Frais A Tartiner Afh 1X160Gr 10P</c:v>
                </c:pt>
                <c:pt idx="1">
                  <c:v>Boursin Classique Fromage Frais A Tartiner Afh Boite 1X250Gr 1P</c:v>
                </c:pt>
                <c:pt idx="2">
                  <c:v>Boursin Salade &amp; Aperitif Fromage Frais Des Afh 1X120Gr 1P</c:v>
                </c:pt>
                <c:pt idx="3">
                  <c:v>Boursin Classique Fromage Frais A Tartiner Afh Boite 1X150Gr 1P</c:v>
                </c:pt>
                <c:pt idx="4">
                  <c:v>Boursin Aperitif Roules Fromage Frais Roule Afh Et Jambon Fume Boite 1X100Gr 20P</c:v>
                </c:pt>
                <c:pt idx="5">
                  <c:v>Boursin Classique Fromage Frais A Tartiner Afh Boite 1X96Gr 6P</c:v>
                </c:pt>
                <c:pt idx="6">
                  <c:v>Boursin Aperitif Roules Fromage Frais Roule Ciboulette &amp; Echalote Jambon Fume Boite 1X100Gr 20P</c:v>
                </c:pt>
                <c:pt idx="7">
                  <c:v>Boursin Salade &amp; Aperitif Fromage Frais Des Ciboulette Echalote 1X120Gr 1P</c:v>
                </c:pt>
                <c:pt idx="8">
                  <c:v>Boursin Salade &amp; Aperitif Fromage Frais Des Figue Noix 1X120Gr 1P</c:v>
                </c:pt>
                <c:pt idx="9">
                  <c:v>Boursin Classique Fromage Frais A Tartiner Figue Et 3 Noix Boite 1X150Gr 1P</c:v>
                </c:pt>
                <c:pt idx="10">
                  <c:v>Boursin Onctueux Fromage Frais A Tartiner Afh 1X125Gr 1P</c:v>
                </c:pt>
                <c:pt idx="11">
                  <c:v>Boursin Classique Fromage Frais A Tartiner Ciboulette &amp; Echalote Boite 1X150Gr 1P</c:v>
                </c:pt>
                <c:pt idx="12">
                  <c:v>Boursin Classique Fromage Frais A Tartiner Poivre Boite 1X150Gr 1P</c:v>
                </c:pt>
                <c:pt idx="13">
                  <c:v>Boursin Salade &amp; Aperitif Soft Cheese Salade 120G</c:v>
                </c:pt>
                <c:pt idx="14">
                  <c:v>Boursin Salade &amp; Aperitif Fromage Frais Des Citron Romarin 1X120Gr 1P</c:v>
                </c:pt>
                <c:pt idx="15">
                  <c:v>Boursin Classique Fromage Frais A Tartiner Afh 1X256Gr 16P</c:v>
                </c:pt>
                <c:pt idx="16">
                  <c:v>Boursin Aperitif Roules Aperitif 100G</c:v>
                </c:pt>
                <c:pt idx="17">
                  <c:v>Boursin Classique Fromage Frais A Tartiner Afh Boite 1X320Gr 16+4P</c:v>
                </c:pt>
                <c:pt idx="18">
                  <c:v>Boursin Vegetal Alternative Vegetale 150G</c:v>
                </c:pt>
                <c:pt idx="19">
                  <c:v>Boursin Classique Fromage Frais A Tartiner Afh Boite 1X80Gr 1P</c:v>
                </c:pt>
                <c:pt idx="20">
                  <c:v>Boursin Onctueux Fromage Frais A Tartiner Afh 1X210Gr 1P</c:v>
                </c:pt>
                <c:pt idx="21">
                  <c:v>Boursin Classique Fromage Frais A Tartiner 3 Noix Boite 1X150Gr 1P</c:v>
                </c:pt>
                <c:pt idx="22">
                  <c:v>Boursin Classique Fromage Frais A Tartiner 3 Noix 1X160Gr 10P</c:v>
                </c:pt>
                <c:pt idx="23">
                  <c:v>Boursin Aperitif Roules Fromage Frais Roule Jambon Fume &amp; Trio De Noix Boite 1X100Gr 20P</c:v>
                </c:pt>
                <c:pt idx="24">
                  <c:v>Boursin Vegetal Specialite Vegetale A Tartiner Afh 1X130Gr 1P</c:v>
                </c:pt>
              </c:strCache>
            </c:strRef>
          </c:cat>
          <c:val>
            <c:numRef>
              <c:f>Sheet1!$D$2:$D$26</c:f>
              <c:numCache>
                <c:formatCode>General</c:formatCode>
                <c:ptCount val="25"/>
                <c:pt idx="0">
                  <c:v>3178.1</c:v>
                </c:pt>
                <c:pt idx="1">
                  <c:v>2485.17</c:v>
                </c:pt>
                <c:pt idx="2">
                  <c:v>2202.34</c:v>
                </c:pt>
                <c:pt idx="3">
                  <c:v>2173.81</c:v>
                </c:pt>
                <c:pt idx="4">
                  <c:v>2140.6363636363635</c:v>
                </c:pt>
                <c:pt idx="5">
                  <c:v>1073.17</c:v>
                </c:pt>
                <c:pt idx="6">
                  <c:v>1159.7777777777778</c:v>
                </c:pt>
                <c:pt idx="7">
                  <c:v>1044.9292929292928</c:v>
                </c:pt>
                <c:pt idx="8">
                  <c:v>790.64646464646466</c:v>
                </c:pt>
                <c:pt idx="9">
                  <c:v>805.01063829787233</c:v>
                </c:pt>
                <c:pt idx="10">
                  <c:v>745.38383838383834</c:v>
                </c:pt>
                <c:pt idx="11">
                  <c:v>746.80412371134025</c:v>
                </c:pt>
                <c:pt idx="12">
                  <c:v>641.88636363636363</c:v>
                </c:pt>
                <c:pt idx="13">
                  <c:v>518.86170212765956</c:v>
                </c:pt>
                <c:pt idx="14">
                  <c:v>477.22580645161293</c:v>
                </c:pt>
                <c:pt idx="15">
                  <c:v>632.33962264150944</c:v>
                </c:pt>
                <c:pt idx="16">
                  <c:v>590.58490566037733</c:v>
                </c:pt>
                <c:pt idx="17">
                  <c:v>333.52941176470586</c:v>
                </c:pt>
                <c:pt idx="18">
                  <c:v>329.86075949367091</c:v>
                </c:pt>
                <c:pt idx="19">
                  <c:v>280.87012987012986</c:v>
                </c:pt>
                <c:pt idx="20">
                  <c:v>219.94915254237287</c:v>
                </c:pt>
                <c:pt idx="21">
                  <c:v>181.56716417910448</c:v>
                </c:pt>
                <c:pt idx="22">
                  <c:v>156.61224489795919</c:v>
                </c:pt>
                <c:pt idx="23">
                  <c:v>17</c:v>
                </c:pt>
                <c:pt idx="24">
                  <c:v>1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25Gr 1P</c:v>
                </c:pt>
                <c:pt idx="8">
                  <c:v>Kiri Delicieusement Fouette Fromage Frais A Tartiner 1X210Gr 1P</c:v>
                </c:pt>
                <c:pt idx="9">
                  <c:v>Kiri Delicieusement Fouette Fromage Frais A Tartiner 1X160Gr 10P</c:v>
                </c:pt>
                <c:pt idx="10">
                  <c:v>Kiri Chevre Fromage Blanc Frais Carre 1X144Gr 8P</c:v>
                </c:pt>
              </c:strCache>
            </c:strRef>
          </c:cat>
          <c:val>
            <c:numRef>
              <c:f>Sheet1!$B$2:$B$12</c:f>
              <c:numCache>
                <c:formatCode>General</c:formatCode>
                <c:ptCount val="11"/>
                <c:pt idx="0">
                  <c:v>0.84</c:v>
                </c:pt>
                <c:pt idx="1">
                  <c:v>0.97</c:v>
                </c:pt>
                <c:pt idx="2">
                  <c:v>0.99</c:v>
                </c:pt>
                <c:pt idx="3">
                  <c:v>0.99</c:v>
                </c:pt>
                <c:pt idx="4">
                  <c:v>0.72</c:v>
                </c:pt>
                <c:pt idx="5">
                  <c:v>0.71</c:v>
                </c:pt>
                <c:pt idx="6">
                  <c:v>0.39</c:v>
                </c:pt>
                <c:pt idx="7">
                  <c:v>0.56999999999999995</c:v>
                </c:pt>
                <c:pt idx="8">
                  <c:v>0.47</c:v>
                </c:pt>
                <c:pt idx="9">
                  <c:v>0.33</c:v>
                </c:pt>
                <c:pt idx="1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25Gr 1P</c:v>
                </c:pt>
                <c:pt idx="8">
                  <c:v>Kiri Delicieusement Fouette Fromage Frais A Tartiner 1X210Gr 1P</c:v>
                </c:pt>
                <c:pt idx="9">
                  <c:v>Kiri Delicieusement Fouette Fromage Frais A Tartiner 1X160Gr 10P</c:v>
                </c:pt>
                <c:pt idx="10">
                  <c:v>Kiri Chevre Fromage Blanc Frais Carre 1X144Gr 8P</c:v>
                </c:pt>
              </c:strCache>
            </c:strRef>
          </c:cat>
          <c:val>
            <c:numRef>
              <c:f>Sheet1!$C$2:$C$12</c:f>
              <c:numCache>
                <c:formatCode>General</c:formatCode>
                <c:ptCount val="11"/>
                <c:pt idx="0">
                  <c:v>0.22686954102863516</c:v>
                </c:pt>
                <c:pt idx="1">
                  <c:v>0.43867981524529676</c:v>
                </c:pt>
                <c:pt idx="2">
                  <c:v>0.5991318606225986</c:v>
                </c:pt>
                <c:pt idx="3">
                  <c:v>0.75863473205374832</c:v>
                </c:pt>
                <c:pt idx="4">
                  <c:v>0.86199031390097658</c:v>
                </c:pt>
                <c:pt idx="5">
                  <c:v>0.9372115778654283</c:v>
                </c:pt>
                <c:pt idx="6">
                  <c:v>0.95808466364226752</c:v>
                </c:pt>
                <c:pt idx="7">
                  <c:v>0.97790162629592337</c:v>
                </c:pt>
                <c:pt idx="8">
                  <c:v>0.99759929948289061</c:v>
                </c:pt>
                <c:pt idx="9">
                  <c:v>0.99938452805333489</c:v>
                </c:pt>
                <c:pt idx="1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25Gr 1P</c:v>
                </c:pt>
                <c:pt idx="8">
                  <c:v>Kiri Delicieusement Fouette Fromage Frais A Tartiner 1X210Gr 1P</c:v>
                </c:pt>
                <c:pt idx="9">
                  <c:v>Kiri Delicieusement Fouette Fromage Frais A Tartiner 1X160Gr 10P</c:v>
                </c:pt>
                <c:pt idx="10">
                  <c:v>Kiri Chevre Fromage Blanc Frais Carre 1X144Gr 8P</c:v>
                </c:pt>
              </c:strCache>
            </c:strRef>
          </c:cat>
          <c:val>
            <c:numRef>
              <c:f>Sheet1!$D$2:$D$12</c:f>
              <c:numCache>
                <c:formatCode>General</c:formatCode>
                <c:ptCount val="11"/>
                <c:pt idx="0">
                  <c:v>5252.7023809523807</c:v>
                </c:pt>
                <c:pt idx="1">
                  <c:v>4246.7938144329901</c:v>
                </c:pt>
                <c:pt idx="2">
                  <c:v>3152.0707070707072</c:v>
                </c:pt>
                <c:pt idx="3">
                  <c:v>3133.4242424242425</c:v>
                </c:pt>
                <c:pt idx="4">
                  <c:v>2791.8194444444443</c:v>
                </c:pt>
                <c:pt idx="5">
                  <c:v>2060.4788732394368</c:v>
                </c:pt>
                <c:pt idx="6">
                  <c:v>1040.8974358974358</c:v>
                </c:pt>
                <c:pt idx="7">
                  <c:v>676.1578947368422</c:v>
                </c:pt>
                <c:pt idx="8">
                  <c:v>815.08510638297878</c:v>
                </c:pt>
                <c:pt idx="9">
                  <c:v>105.21212121212122</c:v>
                </c:pt>
                <c:pt idx="10">
                  <c:v>3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Allegee Fromage Fondu Boite Ronde Allege 1X267Gr 16P</c:v>
                </c:pt>
                <c:pt idx="7">
                  <c:v>La Vache Qui Rit Bio Fromage Fondu Boite Ronde 1X128Gr 8P</c:v>
                </c:pt>
              </c:strCache>
            </c:strRef>
          </c:cat>
          <c:val>
            <c:numRef>
              <c:f>Sheet1!$B$2:$B$9</c:f>
              <c:numCache>
                <c:formatCode>General</c:formatCode>
                <c:ptCount val="8"/>
                <c:pt idx="0">
                  <c:v>0.95</c:v>
                </c:pt>
                <c:pt idx="1">
                  <c:v>0.91</c:v>
                </c:pt>
                <c:pt idx="2">
                  <c:v>0.99</c:v>
                </c:pt>
                <c:pt idx="3">
                  <c:v>0.78</c:v>
                </c:pt>
                <c:pt idx="4">
                  <c:v>0.97</c:v>
                </c:pt>
                <c:pt idx="5">
                  <c:v>0.64</c:v>
                </c:pt>
                <c:pt idx="6">
                  <c:v>0.27</c:v>
                </c:pt>
                <c:pt idx="7">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Allegee Fromage Fondu Boite Ronde Allege 1X267Gr 16P</c:v>
                </c:pt>
                <c:pt idx="7">
                  <c:v>La Vache Qui Rit Bio Fromage Fondu Boite Ronde 1X128Gr 8P</c:v>
                </c:pt>
              </c:strCache>
            </c:strRef>
          </c:cat>
          <c:val>
            <c:numRef>
              <c:f>Sheet1!$C$2:$C$9</c:f>
              <c:numCache>
                <c:formatCode>General</c:formatCode>
                <c:ptCount val="8"/>
                <c:pt idx="0">
                  <c:v>0.25837049228251813</c:v>
                </c:pt>
                <c:pt idx="1">
                  <c:v>0.4870593840821123</c:v>
                </c:pt>
                <c:pt idx="2">
                  <c:v>0.69786404855056372</c:v>
                </c:pt>
                <c:pt idx="3">
                  <c:v>0.84229134514446913</c:v>
                </c:pt>
                <c:pt idx="4">
                  <c:v>0.91882169589078033</c:v>
                </c:pt>
                <c:pt idx="5">
                  <c:v>0.98704989265192467</c:v>
                </c:pt>
                <c:pt idx="6">
                  <c:v>0.99892272267369797</c:v>
                </c:pt>
                <c:pt idx="7">
                  <c:v>0.9997650871028548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Allegee Fromage Fondu Boite Ronde Allege 1X267Gr 16P</c:v>
                </c:pt>
                <c:pt idx="7">
                  <c:v>La Vache Qui Rit Bio Fromage Fondu Boite Ronde 1X128Gr 8P</c:v>
                </c:pt>
              </c:strCache>
            </c:strRef>
          </c:cat>
          <c:val>
            <c:numRef>
              <c:f>Sheet1!$D$2:$D$9</c:f>
              <c:numCache>
                <c:formatCode>General</c:formatCode>
                <c:ptCount val="8"/>
                <c:pt idx="0">
                  <c:v>5730.8315789473681</c:v>
                </c:pt>
                <c:pt idx="1">
                  <c:v>5295.4395604395604</c:v>
                </c:pt>
                <c:pt idx="2">
                  <c:v>4486.8686868686873</c:v>
                </c:pt>
                <c:pt idx="3">
                  <c:v>3901.6923076923076</c:v>
                </c:pt>
                <c:pt idx="4">
                  <c:v>1662.4948453608247</c:v>
                </c:pt>
                <c:pt idx="5">
                  <c:v>2246.375</c:v>
                </c:pt>
                <c:pt idx="6">
                  <c:v>926.59259259259261</c:v>
                </c:pt>
                <c:pt idx="7">
                  <c:v>110.9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Boursin Salade &amp; Aperitif Fromage Frais Des Afh 1X12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Classique Fromage Frais A Tartiner Afh Boite 1X250Gr 1P</c:v>
                </c:pt>
                <c:pt idx="5">
                  <c:v>Boursin Aperitif Roules Fromage Frais Roule Ciboulette &amp; Echalote Jambon Fume Boite 1X100Gr 20P</c:v>
                </c:pt>
                <c:pt idx="6">
                  <c:v>Boursin Classique Fromage Frais A Tartiner Afh Boite 1X96Gr 6P</c:v>
                </c:pt>
                <c:pt idx="7">
                  <c:v>Boursin Onctueux Fromage Frais A Tartiner Afh 1X125Gr 1P</c:v>
                </c:pt>
                <c:pt idx="8">
                  <c:v>Boursin Salade &amp; Aperitif Fromage Frais Des Figue Noix 1X120Gr 1P</c:v>
                </c:pt>
                <c:pt idx="9">
                  <c:v>Boursin Classique Fromage Frais A Tartiner Ciboulette &amp; Echalote Boite 1X150Gr 1P</c:v>
                </c:pt>
                <c:pt idx="10">
                  <c:v>Boursin Salade &amp; Aperitif Fromage Frais Des Ciboulette Echalote 1X120Gr 1P</c:v>
                </c:pt>
                <c:pt idx="11">
                  <c:v>Boursin Classique Fromage Frais A Tartiner Figue Et 3 Noix Boite 1X150Gr 1P</c:v>
                </c:pt>
                <c:pt idx="12">
                  <c:v>Boursin Salade &amp; Aperitif Soft Cheese Salade 120G</c:v>
                </c:pt>
                <c:pt idx="13">
                  <c:v>Boursin Salade &amp; Aperitif Fromage Frais Des Citron Romarin 1X120Gr 1P</c:v>
                </c:pt>
                <c:pt idx="14">
                  <c:v>Boursin Aperitif Roules Aperitif 100G</c:v>
                </c:pt>
                <c:pt idx="15">
                  <c:v>Boursin Vegetal Alternative Vegetale 150G</c:v>
                </c:pt>
                <c:pt idx="16">
                  <c:v>Boursin Classique Fromage Frais A Tartiner 3 Noix Boite 1X150Gr 1P</c:v>
                </c:pt>
                <c:pt idx="17">
                  <c:v>Boursin Classique Fromage Frais A Tartiner 3 Noix 1X160Gr 10P</c:v>
                </c:pt>
                <c:pt idx="18">
                  <c:v>Boursin Onctueux Fromage Frais A Tartiner Afh 1X210Gr 1P</c:v>
                </c:pt>
                <c:pt idx="19">
                  <c:v>Boursin Salade &amp; Aperitif Fromage Frais Des Noisette Et 3 Noix 1X120Gr 1P</c:v>
                </c:pt>
              </c:strCache>
            </c:strRef>
          </c:cat>
          <c:val>
            <c:numRef>
              <c:f>Sheet1!$B$2:$B$21</c:f>
              <c:numCache>
                <c:formatCode>General</c:formatCode>
                <c:ptCount val="20"/>
                <c:pt idx="0">
                  <c:v>0.99</c:v>
                </c:pt>
                <c:pt idx="1">
                  <c:v>0.97</c:v>
                </c:pt>
                <c:pt idx="2">
                  <c:v>0.99</c:v>
                </c:pt>
                <c:pt idx="3">
                  <c:v>0.94</c:v>
                </c:pt>
                <c:pt idx="4">
                  <c:v>0.92</c:v>
                </c:pt>
                <c:pt idx="5">
                  <c:v>0.79</c:v>
                </c:pt>
                <c:pt idx="6">
                  <c:v>0.89</c:v>
                </c:pt>
                <c:pt idx="7">
                  <c:v>0.83</c:v>
                </c:pt>
                <c:pt idx="8">
                  <c:v>0.91</c:v>
                </c:pt>
                <c:pt idx="9">
                  <c:v>0.88</c:v>
                </c:pt>
                <c:pt idx="10">
                  <c:v>0.84</c:v>
                </c:pt>
                <c:pt idx="11">
                  <c:v>0.65</c:v>
                </c:pt>
                <c:pt idx="12">
                  <c:v>0.71</c:v>
                </c:pt>
                <c:pt idx="13">
                  <c:v>0.72</c:v>
                </c:pt>
                <c:pt idx="14">
                  <c:v>0.28999999999999998</c:v>
                </c:pt>
                <c:pt idx="15">
                  <c:v>0.25</c:v>
                </c:pt>
                <c:pt idx="16">
                  <c:v>0.1</c:v>
                </c:pt>
                <c:pt idx="17">
                  <c:v>0.05</c:v>
                </c:pt>
                <c:pt idx="18">
                  <c:v>0.02</c:v>
                </c:pt>
                <c:pt idx="19">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Boursin Salade &amp; Aperitif Fromage Frais Des Afh 1X12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Classique Fromage Frais A Tartiner Afh Boite 1X250Gr 1P</c:v>
                </c:pt>
                <c:pt idx="5">
                  <c:v>Boursin Aperitif Roules Fromage Frais Roule Ciboulette &amp; Echalote Jambon Fume Boite 1X100Gr 20P</c:v>
                </c:pt>
                <c:pt idx="6">
                  <c:v>Boursin Classique Fromage Frais A Tartiner Afh Boite 1X96Gr 6P</c:v>
                </c:pt>
                <c:pt idx="7">
                  <c:v>Boursin Onctueux Fromage Frais A Tartiner Afh 1X125Gr 1P</c:v>
                </c:pt>
                <c:pt idx="8">
                  <c:v>Boursin Salade &amp; Aperitif Fromage Frais Des Figue Noix 1X120Gr 1P</c:v>
                </c:pt>
                <c:pt idx="9">
                  <c:v>Boursin Classique Fromage Frais A Tartiner Ciboulette &amp; Echalote Boite 1X150Gr 1P</c:v>
                </c:pt>
                <c:pt idx="10">
                  <c:v>Boursin Salade &amp; Aperitif Fromage Frais Des Ciboulette Echalote 1X120Gr 1P</c:v>
                </c:pt>
                <c:pt idx="11">
                  <c:v>Boursin Classique Fromage Frais A Tartiner Figue Et 3 Noix Boite 1X150Gr 1P</c:v>
                </c:pt>
                <c:pt idx="12">
                  <c:v>Boursin Salade &amp; Aperitif Soft Cheese Salade 120G</c:v>
                </c:pt>
                <c:pt idx="13">
                  <c:v>Boursin Salade &amp; Aperitif Fromage Frais Des Citron Romarin 1X120Gr 1P</c:v>
                </c:pt>
                <c:pt idx="14">
                  <c:v>Boursin Aperitif Roules Aperitif 100G</c:v>
                </c:pt>
                <c:pt idx="15">
                  <c:v>Boursin Vegetal Alternative Vegetale 150G</c:v>
                </c:pt>
                <c:pt idx="16">
                  <c:v>Boursin Classique Fromage Frais A Tartiner 3 Noix Boite 1X150Gr 1P</c:v>
                </c:pt>
                <c:pt idx="17">
                  <c:v>Boursin Classique Fromage Frais A Tartiner 3 Noix 1X160Gr 10P</c:v>
                </c:pt>
                <c:pt idx="18">
                  <c:v>Boursin Onctueux Fromage Frais A Tartiner Afh 1X210Gr 1P</c:v>
                </c:pt>
                <c:pt idx="19">
                  <c:v>Boursin Salade &amp; Aperitif Fromage Frais Des Noisette Et 3 Noix 1X120Gr 1P</c:v>
                </c:pt>
              </c:strCache>
            </c:strRef>
          </c:cat>
          <c:val>
            <c:numRef>
              <c:f>Sheet1!$C$2:$C$21</c:f>
              <c:numCache>
                <c:formatCode>General</c:formatCode>
                <c:ptCount val="20"/>
                <c:pt idx="0">
                  <c:v>0.13672496906852602</c:v>
                </c:pt>
                <c:pt idx="1">
                  <c:v>0.27192484783747645</c:v>
                </c:pt>
                <c:pt idx="2">
                  <c:v>0.3925455840758581</c:v>
                </c:pt>
                <c:pt idx="3">
                  <c:v>0.51100181014958912</c:v>
                </c:pt>
                <c:pt idx="4">
                  <c:v>0.62141816303543329</c:v>
                </c:pt>
                <c:pt idx="5">
                  <c:v>0.68293137047451058</c:v>
                </c:pt>
                <c:pt idx="6">
                  <c:v>0.74006288860696101</c:v>
                </c:pt>
                <c:pt idx="7">
                  <c:v>0.78776804582385829</c:v>
                </c:pt>
                <c:pt idx="8">
                  <c:v>0.83532720833167784</c:v>
                </c:pt>
                <c:pt idx="9">
                  <c:v>0.87236089152870322</c:v>
                </c:pt>
                <c:pt idx="10">
                  <c:v>0.90156722548143609</c:v>
                </c:pt>
                <c:pt idx="11">
                  <c:v>0.92856746849794547</c:v>
                </c:pt>
                <c:pt idx="12">
                  <c:v>0.95451571799366308</c:v>
                </c:pt>
                <c:pt idx="13">
                  <c:v>0.98000288293349569</c:v>
                </c:pt>
                <c:pt idx="14">
                  <c:v>0.98974849177301327</c:v>
                </c:pt>
                <c:pt idx="15">
                  <c:v>0.99636399253024532</c:v>
                </c:pt>
                <c:pt idx="16">
                  <c:v>0.99818476831656078</c:v>
                </c:pt>
                <c:pt idx="17">
                  <c:v>0.99937998449499221</c:v>
                </c:pt>
                <c:pt idx="18">
                  <c:v>0.99987156161669732</c:v>
                </c:pt>
                <c:pt idx="19">
                  <c:v>0.9999662733741686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1</c:f>
              <c:strCache>
                <c:ptCount val="20"/>
                <c:pt idx="0">
                  <c:v>Boursin Salade &amp; Aperitif Fromage Frais Des Afh 1X12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Classique Fromage Frais A Tartiner Afh Boite 1X250Gr 1P</c:v>
                </c:pt>
                <c:pt idx="5">
                  <c:v>Boursin Aperitif Roules Fromage Frais Roule Ciboulette &amp; Echalote Jambon Fume Boite 1X100Gr 20P</c:v>
                </c:pt>
                <c:pt idx="6">
                  <c:v>Boursin Classique Fromage Frais A Tartiner Afh Boite 1X96Gr 6P</c:v>
                </c:pt>
                <c:pt idx="7">
                  <c:v>Boursin Onctueux Fromage Frais A Tartiner Afh 1X125Gr 1P</c:v>
                </c:pt>
                <c:pt idx="8">
                  <c:v>Boursin Salade &amp; Aperitif Fromage Frais Des Figue Noix 1X120Gr 1P</c:v>
                </c:pt>
                <c:pt idx="9">
                  <c:v>Boursin Classique Fromage Frais A Tartiner Ciboulette &amp; Echalote Boite 1X150Gr 1P</c:v>
                </c:pt>
                <c:pt idx="10">
                  <c:v>Boursin Salade &amp; Aperitif Fromage Frais Des Ciboulette Echalote 1X120Gr 1P</c:v>
                </c:pt>
                <c:pt idx="11">
                  <c:v>Boursin Classique Fromage Frais A Tartiner Figue Et 3 Noix Boite 1X150Gr 1P</c:v>
                </c:pt>
                <c:pt idx="12">
                  <c:v>Boursin Salade &amp; Aperitif Soft Cheese Salade 120G</c:v>
                </c:pt>
                <c:pt idx="13">
                  <c:v>Boursin Salade &amp; Aperitif Fromage Frais Des Citron Romarin 1X120Gr 1P</c:v>
                </c:pt>
                <c:pt idx="14">
                  <c:v>Boursin Aperitif Roules Aperitif 100G</c:v>
                </c:pt>
                <c:pt idx="15">
                  <c:v>Boursin Vegetal Alternative Vegetale 150G</c:v>
                </c:pt>
                <c:pt idx="16">
                  <c:v>Boursin Classique Fromage Frais A Tartiner 3 Noix Boite 1X150Gr 1P</c:v>
                </c:pt>
                <c:pt idx="17">
                  <c:v>Boursin Classique Fromage Frais A Tartiner 3 Noix 1X160Gr 10P</c:v>
                </c:pt>
                <c:pt idx="18">
                  <c:v>Boursin Onctueux Fromage Frais A Tartiner Afh 1X210Gr 1P</c:v>
                </c:pt>
                <c:pt idx="19">
                  <c:v>Boursin Salade &amp; Aperitif Fromage Frais Des Noisette Et 3 Noix 1X120Gr 1P</c:v>
                </c:pt>
              </c:strCache>
            </c:strRef>
          </c:cat>
          <c:val>
            <c:numRef>
              <c:f>Sheet1!$D$2:$D$21</c:f>
              <c:numCache>
                <c:formatCode>General</c:formatCode>
                <c:ptCount val="20"/>
                <c:pt idx="0">
                  <c:v>2989.2525252525252</c:v>
                </c:pt>
                <c:pt idx="1">
                  <c:v>3016.855670103093</c:v>
                </c:pt>
                <c:pt idx="2">
                  <c:v>2637.1616161616162</c:v>
                </c:pt>
                <c:pt idx="3">
                  <c:v>2727.5957446808511</c:v>
                </c:pt>
                <c:pt idx="4">
                  <c:v>2597.7391304347825</c:v>
                </c:pt>
                <c:pt idx="5">
                  <c:v>1685.3544303797469</c:v>
                </c:pt>
                <c:pt idx="6">
                  <c:v>1389.4269662921349</c:v>
                </c:pt>
                <c:pt idx="7">
                  <c:v>1244.0481927710844</c:v>
                </c:pt>
                <c:pt idx="8">
                  <c:v>1131.2087912087911</c:v>
                </c:pt>
                <c:pt idx="9">
                  <c:v>910.88636363636363</c:v>
                </c:pt>
                <c:pt idx="10">
                  <c:v>752.57142857142856</c:v>
                </c:pt>
                <c:pt idx="11">
                  <c:v>899.09230769230771</c:v>
                </c:pt>
                <c:pt idx="12">
                  <c:v>791.04225352112678</c:v>
                </c:pt>
                <c:pt idx="13">
                  <c:v>766.19444444444446</c:v>
                </c:pt>
                <c:pt idx="14">
                  <c:v>727.37931034482767</c:v>
                </c:pt>
                <c:pt idx="15">
                  <c:v>572.76</c:v>
                </c:pt>
                <c:pt idx="16">
                  <c:v>394.1</c:v>
                </c:pt>
                <c:pt idx="17">
                  <c:v>517.4</c:v>
                </c:pt>
                <c:pt idx="18">
                  <c:v>532</c:v>
                </c:pt>
                <c:pt idx="19">
                  <c:v>68.3333333333333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Creme Fromage Blanc Frais Carre 1X216Gr 12P</c:v>
                </c:pt>
                <c:pt idx="4">
                  <c:v>Kiri Gouter Fromage Blanc Dips Boite 1X280Gr 8P</c:v>
                </c:pt>
                <c:pt idx="5">
                  <c:v>Kiri Delicieusement Fouette Fromage Frais A Tartiner 1X160Gr 10P</c:v>
                </c:pt>
              </c:strCache>
            </c:strRef>
          </c:cat>
          <c:val>
            <c:numRef>
              <c:f>Sheet1!$B$2:$B$7</c:f>
              <c:numCache>
                <c:formatCode>General</c:formatCode>
                <c:ptCount val="6"/>
                <c:pt idx="0">
                  <c:v>0.96</c:v>
                </c:pt>
                <c:pt idx="1">
                  <c:v>0.71</c:v>
                </c:pt>
                <c:pt idx="2">
                  <c:v>0.54</c:v>
                </c:pt>
                <c:pt idx="3">
                  <c:v>0.02</c:v>
                </c:pt>
                <c:pt idx="4">
                  <c:v>0.02</c:v>
                </c:pt>
                <c:pt idx="5">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Creme Fromage Blanc Frais Carre 1X216Gr 12P</c:v>
                </c:pt>
                <c:pt idx="4">
                  <c:v>Kiri Gouter Fromage Blanc Dips Boite 1X280Gr 8P</c:v>
                </c:pt>
                <c:pt idx="5">
                  <c:v>Kiri Delicieusement Fouette Fromage Frais A Tartiner 1X160Gr 10P</c:v>
                </c:pt>
              </c:strCache>
            </c:strRef>
          </c:cat>
          <c:val>
            <c:numRef>
              <c:f>Sheet1!$C$2:$C$7</c:f>
              <c:numCache>
                <c:formatCode>General</c:formatCode>
                <c:ptCount val="6"/>
                <c:pt idx="0">
                  <c:v>0.6335514320342176</c:v>
                </c:pt>
                <c:pt idx="1">
                  <c:v>0.90501912015236285</c:v>
                </c:pt>
                <c:pt idx="2">
                  <c:v>0.9828388884020085</c:v>
                </c:pt>
                <c:pt idx="3">
                  <c:v>0.99229850095440453</c:v>
                </c:pt>
                <c:pt idx="4">
                  <c:v>0.99802599656713653</c:v>
                </c:pt>
                <c:pt idx="5">
                  <c:v>0.9998664047487234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Creme Fromage Blanc Frais Carre 1X216Gr 12P</c:v>
                </c:pt>
                <c:pt idx="4">
                  <c:v>Kiri Gouter Fromage Blanc Dips Boite 1X280Gr 8P</c:v>
                </c:pt>
                <c:pt idx="5">
                  <c:v>Kiri Delicieusement Fouette Fromage Frais A Tartiner 1X160Gr 10P</c:v>
                </c:pt>
              </c:strCache>
            </c:strRef>
          </c:cat>
          <c:val>
            <c:numRef>
              <c:f>Sheet1!$D$2:$D$7</c:f>
              <c:numCache>
                <c:formatCode>General</c:formatCode>
                <c:ptCount val="6"/>
                <c:pt idx="0">
                  <c:v>6174.895833333333</c:v>
                </c:pt>
                <c:pt idx="1">
                  <c:v>3577.4929577464791</c:v>
                </c:pt>
                <c:pt idx="2">
                  <c:v>1348.3888888888889</c:v>
                </c:pt>
                <c:pt idx="3">
                  <c:v>4425.5</c:v>
                </c:pt>
                <c:pt idx="4">
                  <c:v>2679.5</c:v>
                </c:pt>
                <c:pt idx="5">
                  <c:v>17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Private Label</c:v>
                </c:pt>
                <c:pt idx="4">
                  <c:v>St Moret</c:v>
                </c:pt>
                <c:pt idx="5">
                  <c:v>O'Tapas Apero</c:v>
                </c:pt>
                <c:pt idx="6">
                  <c:v>Leerdammer</c:v>
                </c:pt>
                <c:pt idx="7">
                  <c:v>Others</c:v>
                </c:pt>
              </c:strCache>
            </c:strRef>
          </c:cat>
          <c:val>
            <c:numRef>
              <c:f>Sheet1!$B$2:$B$9</c:f>
              <c:numCache>
                <c:formatCode>General</c:formatCode>
                <c:ptCount val="8"/>
                <c:pt idx="0">
                  <c:v>0.5932997692570855</c:v>
                </c:pt>
                <c:pt idx="1">
                  <c:v>0.16429710758540036</c:v>
                </c:pt>
                <c:pt idx="2">
                  <c:v>0.10003110540656611</c:v>
                </c:pt>
                <c:pt idx="3">
                  <c:v>4.9042210667553085E-2</c:v>
                </c:pt>
                <c:pt idx="4">
                  <c:v>3.3917121803628318E-2</c:v>
                </c:pt>
                <c:pt idx="5">
                  <c:v>1.2450800321244605E-2</c:v>
                </c:pt>
                <c:pt idx="6">
                  <c:v>1.1819860389618268E-2</c:v>
                </c:pt>
                <c:pt idx="7">
                  <c:v>3.514202456890381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Private Label</c:v>
                </c:pt>
                <c:pt idx="4">
                  <c:v>St Moret</c:v>
                </c:pt>
                <c:pt idx="5">
                  <c:v>O'Tapas Apero</c:v>
                </c:pt>
                <c:pt idx="6">
                  <c:v>Leerdammer</c:v>
                </c:pt>
                <c:pt idx="7">
                  <c:v>Others</c:v>
                </c:pt>
              </c:strCache>
            </c:strRef>
          </c:cat>
          <c:val>
            <c:numRef>
              <c:f>Sheet1!$C$2:$C$9</c:f>
              <c:numCache>
                <c:formatCode>General</c:formatCode>
                <c:ptCount val="8"/>
                <c:pt idx="0">
                  <c:v>0.45219470676447926</c:v>
                </c:pt>
                <c:pt idx="1">
                  <c:v>0.21789000121590399</c:v>
                </c:pt>
                <c:pt idx="2">
                  <c:v>8.012807522392898E-2</c:v>
                </c:pt>
                <c:pt idx="3">
                  <c:v>0</c:v>
                </c:pt>
                <c:pt idx="4">
                  <c:v>6.6753130952863449E-2</c:v>
                </c:pt>
                <c:pt idx="5">
                  <c:v>3.2626757994568954E-2</c:v>
                </c:pt>
                <c:pt idx="6">
                  <c:v>3.1248733433307661E-2</c:v>
                </c:pt>
                <c:pt idx="7">
                  <c:v>0.119158594414947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Private Label</c:v>
                </c:pt>
                <c:pt idx="4">
                  <c:v>St Moret</c:v>
                </c:pt>
                <c:pt idx="5">
                  <c:v>O'Tapas Apero</c:v>
                </c:pt>
                <c:pt idx="6">
                  <c:v>Leerdammer</c:v>
                </c:pt>
                <c:pt idx="7">
                  <c:v>Others</c:v>
                </c:pt>
              </c:strCache>
            </c:strRef>
          </c:cat>
          <c:val>
            <c:numRef>
              <c:f>Sheet1!$D$2:$D$9</c:f>
              <c:numCache>
                <c:formatCode>General</c:formatCode>
                <c:ptCount val="8"/>
                <c:pt idx="0">
                  <c:v>76.216902516362964</c:v>
                </c:pt>
                <c:pt idx="1">
                  <c:v>132.61949916108321</c:v>
                </c:pt>
                <c:pt idx="2">
                  <c:v>80.103158810708607</c:v>
                </c:pt>
                <c:pt idx="3">
                  <c:v>1</c:v>
                </c:pt>
                <c:pt idx="4">
                  <c:v>196.81248703633355</c:v>
                </c:pt>
                <c:pt idx="5">
                  <c:v>262.04546818487182</c:v>
                </c:pt>
                <c:pt idx="6">
                  <c:v>264.37480988146314</c:v>
                </c:pt>
                <c:pt idx="7">
                  <c:v>339.0772042211465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Pik Et Croq' Fromage Fondu Dips Boite 1X35Gr 1P</c:v>
                </c:pt>
                <c:pt idx="5">
                  <c:v>La Vache Qui Rit Bio Fromage Fondu Boite Ronde 1X128Gr 8P</c:v>
                </c:pt>
              </c:strCache>
            </c:strRef>
          </c:cat>
          <c:val>
            <c:numRef>
              <c:f>Sheet1!$B$2:$B$7</c:f>
              <c:numCache>
                <c:formatCode>General</c:formatCode>
                <c:ptCount val="6"/>
                <c:pt idx="0">
                  <c:v>0.89</c:v>
                </c:pt>
                <c:pt idx="1">
                  <c:v>0.45</c:v>
                </c:pt>
                <c:pt idx="2">
                  <c:v>0.51</c:v>
                </c:pt>
                <c:pt idx="3">
                  <c:v>0.09</c:v>
                </c:pt>
                <c:pt idx="4">
                  <c:v>0.05</c:v>
                </c:pt>
                <c:pt idx="5">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Pik Et Croq' Fromage Fondu Dips Boite 1X35Gr 1P</c:v>
                </c:pt>
                <c:pt idx="5">
                  <c:v>La Vache Qui Rit Bio Fromage Fondu Boite Ronde 1X128Gr 8P</c:v>
                </c:pt>
              </c:strCache>
            </c:strRef>
          </c:cat>
          <c:val>
            <c:numRef>
              <c:f>Sheet1!$C$2:$C$7</c:f>
              <c:numCache>
                <c:formatCode>General</c:formatCode>
                <c:ptCount val="6"/>
                <c:pt idx="0">
                  <c:v>0.58366404502489355</c:v>
                </c:pt>
                <c:pt idx="1">
                  <c:v>0.85682567197862802</c:v>
                </c:pt>
                <c:pt idx="2">
                  <c:v>0.96880718631796825</c:v>
                </c:pt>
                <c:pt idx="3">
                  <c:v>0.99011559623297285</c:v>
                </c:pt>
                <c:pt idx="4">
                  <c:v>0.99650351170176044</c:v>
                </c:pt>
                <c:pt idx="5">
                  <c:v>0.9978927181414886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Pik Et Croq' Fromage Fondu Dips Boite 1X35Gr 1P</c:v>
                </c:pt>
                <c:pt idx="5">
                  <c:v>La Vache Qui Rit Bio Fromage Fondu Boite Ronde 1X128Gr 8P</c:v>
                </c:pt>
              </c:strCache>
            </c:strRef>
          </c:cat>
          <c:val>
            <c:numRef>
              <c:f>Sheet1!$D$2:$D$7</c:f>
              <c:numCache>
                <c:formatCode>General</c:formatCode>
                <c:ptCount val="6"/>
                <c:pt idx="0">
                  <c:v>7543.6741573033705</c:v>
                </c:pt>
                <c:pt idx="1">
                  <c:v>6982.6</c:v>
                </c:pt>
                <c:pt idx="2">
                  <c:v>2525.7254901960782</c:v>
                </c:pt>
                <c:pt idx="3">
                  <c:v>2723.4444444444443</c:v>
                </c:pt>
                <c:pt idx="4">
                  <c:v>1469.6</c:v>
                </c:pt>
                <c:pt idx="5">
                  <c:v>319.6000000000000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Boursin Classique Fromage Frais A Tartiner Afh Boite 1X150Gr 1P</c:v>
                </c:pt>
                <c:pt idx="1">
                  <c:v>Boursin Aperitif Roules Fromage Frais Roule Afh Et Jambon Fume Boite 1X100Gr 20P</c:v>
                </c:pt>
                <c:pt idx="2">
                  <c:v>Boursin Salade &amp; Aperitif Fromage Frais Des Afh 1X120Gr 1P</c:v>
                </c:pt>
                <c:pt idx="3">
                  <c:v>Boursin Classique Fromage Frais A Tartiner Afh 1X160Gr 10P</c:v>
                </c:pt>
                <c:pt idx="4">
                  <c:v>Boursin Aperitif Roules Fromage Frais Roule Ciboulette &amp; Echalote Jambon Fume Boite 1X100Gr 20P</c:v>
                </c:pt>
                <c:pt idx="5">
                  <c:v>Boursin Classique Fromage Frais A Tartiner Afh Boite 1X96Gr 6P</c:v>
                </c:pt>
                <c:pt idx="6">
                  <c:v>Boursin Classique Fromage Frais A Tartiner Ciboulette &amp; Echalote Boite 1X150Gr 1P</c:v>
                </c:pt>
                <c:pt idx="7">
                  <c:v>Boursin Classique Fromage Frais A Tartiner Afh Boite 1X80Gr 1P</c:v>
                </c:pt>
              </c:strCache>
            </c:strRef>
          </c:cat>
          <c:val>
            <c:numRef>
              <c:f>Sheet1!$B$2:$B$9</c:f>
              <c:numCache>
                <c:formatCode>General</c:formatCode>
                <c:ptCount val="8"/>
                <c:pt idx="0">
                  <c:v>0.83</c:v>
                </c:pt>
                <c:pt idx="1">
                  <c:v>0.56000000000000005</c:v>
                </c:pt>
                <c:pt idx="2">
                  <c:v>0.79</c:v>
                </c:pt>
                <c:pt idx="3">
                  <c:v>0.49</c:v>
                </c:pt>
                <c:pt idx="4">
                  <c:v>7.0000000000000007E-2</c:v>
                </c:pt>
                <c:pt idx="5">
                  <c:v>0.09</c:v>
                </c:pt>
                <c:pt idx="6">
                  <c:v>0.08</c:v>
                </c:pt>
                <c:pt idx="7">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Boursin Classique Fromage Frais A Tartiner Afh Boite 1X150Gr 1P</c:v>
                </c:pt>
                <c:pt idx="1">
                  <c:v>Boursin Aperitif Roules Fromage Frais Roule Afh Et Jambon Fume Boite 1X100Gr 20P</c:v>
                </c:pt>
                <c:pt idx="2">
                  <c:v>Boursin Salade &amp; Aperitif Fromage Frais Des Afh 1X120Gr 1P</c:v>
                </c:pt>
                <c:pt idx="3">
                  <c:v>Boursin Classique Fromage Frais A Tartiner Afh 1X160Gr 10P</c:v>
                </c:pt>
                <c:pt idx="4">
                  <c:v>Boursin Aperitif Roules Fromage Frais Roule Ciboulette &amp; Echalote Jambon Fume Boite 1X100Gr 20P</c:v>
                </c:pt>
                <c:pt idx="5">
                  <c:v>Boursin Classique Fromage Frais A Tartiner Afh Boite 1X96Gr 6P</c:v>
                </c:pt>
                <c:pt idx="6">
                  <c:v>Boursin Classique Fromage Frais A Tartiner Ciboulette &amp; Echalote Boite 1X150Gr 1P</c:v>
                </c:pt>
                <c:pt idx="7">
                  <c:v>Boursin Classique Fromage Frais A Tartiner Afh Boite 1X80Gr 1P</c:v>
                </c:pt>
              </c:strCache>
            </c:strRef>
          </c:cat>
          <c:val>
            <c:numRef>
              <c:f>Sheet1!$C$2:$C$9</c:f>
              <c:numCache>
                <c:formatCode>General</c:formatCode>
                <c:ptCount val="8"/>
                <c:pt idx="0">
                  <c:v>0.34305411421368331</c:v>
                </c:pt>
                <c:pt idx="1">
                  <c:v>0.57734049682822275</c:v>
                </c:pt>
                <c:pt idx="2">
                  <c:v>0.78207375008586166</c:v>
                </c:pt>
                <c:pt idx="3">
                  <c:v>0.94825649717723892</c:v>
                </c:pt>
                <c:pt idx="4">
                  <c:v>0.96683882322145631</c:v>
                </c:pt>
                <c:pt idx="5">
                  <c:v>0.98282580566111644</c:v>
                </c:pt>
                <c:pt idx="6">
                  <c:v>0.99483159041839242</c:v>
                </c:pt>
                <c:pt idx="7">
                  <c:v>0.9999099612554928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Boursin Classique Fromage Frais A Tartiner Afh Boite 1X150Gr 1P</c:v>
                </c:pt>
                <c:pt idx="1">
                  <c:v>Boursin Aperitif Roules Fromage Frais Roule Afh Et Jambon Fume Boite 1X100Gr 20P</c:v>
                </c:pt>
                <c:pt idx="2">
                  <c:v>Boursin Salade &amp; Aperitif Fromage Frais Des Afh 1X120Gr 1P</c:v>
                </c:pt>
                <c:pt idx="3">
                  <c:v>Boursin Classique Fromage Frais A Tartiner Afh 1X160Gr 10P</c:v>
                </c:pt>
                <c:pt idx="4">
                  <c:v>Boursin Aperitif Roules Fromage Frais Roule Ciboulette &amp; Echalote Jambon Fume Boite 1X100Gr 20P</c:v>
                </c:pt>
                <c:pt idx="5">
                  <c:v>Boursin Classique Fromage Frais A Tartiner Afh Boite 1X96Gr 6P</c:v>
                </c:pt>
                <c:pt idx="6">
                  <c:v>Boursin Classique Fromage Frais A Tartiner Ciboulette &amp; Echalote Boite 1X150Gr 1P</c:v>
                </c:pt>
                <c:pt idx="7">
                  <c:v>Boursin Classique Fromage Frais A Tartiner Afh Boite 1X80Gr 1P</c:v>
                </c:pt>
              </c:strCache>
            </c:strRef>
          </c:cat>
          <c:val>
            <c:numRef>
              <c:f>Sheet1!$D$2:$D$9</c:f>
              <c:numCache>
                <c:formatCode>General</c:formatCode>
                <c:ptCount val="8"/>
                <c:pt idx="0">
                  <c:v>4452.734939759036</c:v>
                </c:pt>
                <c:pt idx="1">
                  <c:v>4507.1428571428569</c:v>
                </c:pt>
                <c:pt idx="2">
                  <c:v>2791.9240506329115</c:v>
                </c:pt>
                <c:pt idx="3">
                  <c:v>3653.6938775510203</c:v>
                </c:pt>
                <c:pt idx="4">
                  <c:v>2859.8571428571427</c:v>
                </c:pt>
                <c:pt idx="5">
                  <c:v>1913.6666666666667</c:v>
                </c:pt>
                <c:pt idx="6">
                  <c:v>1616.75</c:v>
                </c:pt>
                <c:pt idx="7">
                  <c:v>497.363636363636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B$2:$B$11</c:f>
              <c:numCache>
                <c:formatCode>General</c:formatCode>
                <c:ptCount val="10"/>
                <c:pt idx="0">
                  <c:v>0.99</c:v>
                </c:pt>
                <c:pt idx="1">
                  <c:v>0.89</c:v>
                </c:pt>
                <c:pt idx="2">
                  <c:v>0.96</c:v>
                </c:pt>
                <c:pt idx="3">
                  <c:v>0.99</c:v>
                </c:pt>
                <c:pt idx="4">
                  <c:v>0.99</c:v>
                </c:pt>
                <c:pt idx="5">
                  <c:v>0.83</c:v>
                </c:pt>
                <c:pt idx="6">
                  <c:v>0.87</c:v>
                </c:pt>
                <c:pt idx="7">
                  <c:v>0.6</c:v>
                </c:pt>
                <c:pt idx="8">
                  <c:v>0.57999999999999996</c:v>
                </c:pt>
                <c:pt idx="9">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C$2:$C$11</c:f>
              <c:numCache>
                <c:formatCode>General</c:formatCode>
                <c:ptCount val="10"/>
                <c:pt idx="0">
                  <c:v>0.23944081054654573</c:v>
                </c:pt>
                <c:pt idx="1">
                  <c:v>0.43788282365105591</c:v>
                </c:pt>
                <c:pt idx="2">
                  <c:v>0.60867021814626254</c:v>
                </c:pt>
                <c:pt idx="3">
                  <c:v>0.74238033424368099</c:v>
                </c:pt>
                <c:pt idx="4">
                  <c:v>0.87259713184306054</c:v>
                </c:pt>
                <c:pt idx="5">
                  <c:v>0.92239679917281991</c:v>
                </c:pt>
                <c:pt idx="6">
                  <c:v>0.95929060318958825</c:v>
                </c:pt>
                <c:pt idx="7">
                  <c:v>0.9849129550333231</c:v>
                </c:pt>
                <c:pt idx="8">
                  <c:v>0.99985445676972684</c:v>
                </c:pt>
                <c:pt idx="9">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D$2:$D$11</c:f>
              <c:numCache>
                <c:formatCode>General</c:formatCode>
                <c:ptCount val="10"/>
                <c:pt idx="0">
                  <c:v>8607.9696969696961</c:v>
                </c:pt>
                <c:pt idx="1">
                  <c:v>7935.6292134831465</c:v>
                </c:pt>
                <c:pt idx="2">
                  <c:v>6331.729166666667</c:v>
                </c:pt>
                <c:pt idx="3">
                  <c:v>4806.9191919191917</c:v>
                </c:pt>
                <c:pt idx="4">
                  <c:v>4681.333333333333</c:v>
                </c:pt>
                <c:pt idx="5">
                  <c:v>2135.4337349397592</c:v>
                </c:pt>
                <c:pt idx="6">
                  <c:v>1509.2873563218391</c:v>
                </c:pt>
                <c:pt idx="7">
                  <c:v>1519.8666666666666</c:v>
                </c:pt>
                <c:pt idx="8">
                  <c:v>916.86206896551732</c:v>
                </c:pt>
                <c:pt idx="9">
                  <c:v>57.5555555555555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0.98</c:v>
                </c:pt>
                <c:pt idx="1">
                  <c:v>0.97</c:v>
                </c:pt>
                <c:pt idx="2">
                  <c:v>1</c:v>
                </c:pt>
                <c:pt idx="3">
                  <c:v>0.95</c:v>
                </c:pt>
                <c:pt idx="4">
                  <c:v>0.86</c:v>
                </c:pt>
                <c:pt idx="5">
                  <c:v>0.84</c:v>
                </c:pt>
                <c:pt idx="6">
                  <c:v>0.6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C$2:$C$8</c:f>
              <c:numCache>
                <c:formatCode>General</c:formatCode>
                <c:ptCount val="7"/>
                <c:pt idx="0">
                  <c:v>0.29844749482913041</c:v>
                </c:pt>
                <c:pt idx="1">
                  <c:v>0.56393864777546199</c:v>
                </c:pt>
                <c:pt idx="2">
                  <c:v>0.81730323076719114</c:v>
                </c:pt>
                <c:pt idx="3">
                  <c:v>0.87955322012658477</c:v>
                </c:pt>
                <c:pt idx="4">
                  <c:v>0.94041609306239438</c:v>
                </c:pt>
                <c:pt idx="5">
                  <c:v>0.97882205347654772</c:v>
                </c:pt>
                <c:pt idx="6">
                  <c:v>0.9998774295179025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c:f>
              <c:strCache>
                <c:ptCount val="7"/>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D$2:$D$8</c:f>
              <c:numCache>
                <c:formatCode>General</c:formatCode>
                <c:ptCount val="7"/>
                <c:pt idx="0">
                  <c:v>13093.826530612245</c:v>
                </c:pt>
                <c:pt idx="1">
                  <c:v>11768.01030927835</c:v>
                </c:pt>
                <c:pt idx="2">
                  <c:v>10893.58</c:v>
                </c:pt>
                <c:pt idx="3">
                  <c:v>2817.3473684210526</c:v>
                </c:pt>
                <c:pt idx="4">
                  <c:v>3042.8372093023254</c:v>
                </c:pt>
                <c:pt idx="5">
                  <c:v>1965.8214285714287</c:v>
                </c:pt>
                <c:pt idx="6">
                  <c:v>1414.5156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Boursin Aperitif Roules Fromage Frais Roule Ciboulette &amp; Echalote Jambon Fume Boite 1X100Gr 20P</c:v>
                </c:pt>
                <c:pt idx="6">
                  <c:v>Boursin Onctueux Fromage Frais A Tartiner Afh 1X125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Aperitif Roules Fromage Frais Roule Basilic &amp; Jambon Fume Tomate Boite 1X100Gr 20P</c:v>
                </c:pt>
                <c:pt idx="11">
                  <c:v>Boursin Cuisine Sauce Fromage Afh 1X240Gr 1P</c:v>
                </c:pt>
                <c:pt idx="12">
                  <c:v>Boursin Classique Fromage Frais A Tartiner Afh 1X256Gr 16P</c:v>
                </c:pt>
                <c:pt idx="13">
                  <c:v>Boursin Salade &amp; Aperitif Fromage Frais Des Ciboulette Echalote 1X120Gr 1P</c:v>
                </c:pt>
                <c:pt idx="14">
                  <c:v>Boursin Classique Fromage Frais A Tartiner Poivre Boite 1X150Gr 1P</c:v>
                </c:pt>
                <c:pt idx="15">
                  <c:v>Boursin Classique Fromage Frais A Tartiner Ciboulette &amp; Echalote 1X160Gr 10P</c:v>
                </c:pt>
                <c:pt idx="16">
                  <c:v>Boursin Salade &amp; Aperitif Fromage Frais Des Figue Noix 1X120Gr 1P</c:v>
                </c:pt>
                <c:pt idx="17">
                  <c:v>Boursin Salade &amp; Aperitif Fromage Frais Des Citron Romarin 1X120Gr 1P</c:v>
                </c:pt>
                <c:pt idx="18">
                  <c:v>Boursin Aperitif Roules Aperitif 100G</c:v>
                </c:pt>
                <c:pt idx="19">
                  <c:v>Boursin Salade &amp; Aperitif Soft Cheese Salade 120G</c:v>
                </c:pt>
                <c:pt idx="20">
                  <c:v>Boursin Aperitif Roules Fromage Frais Roule Jambon Fume &amp; Trio De Noix Boite 1X100Gr 20P</c:v>
                </c:pt>
                <c:pt idx="21">
                  <c:v>Boursin Classique Fromage Frais A Tartiner Afh Boite 1X80Gr 1P</c:v>
                </c:pt>
              </c:strCache>
            </c:strRef>
          </c:cat>
          <c:val>
            <c:numRef>
              <c:f>Sheet1!$B$2:$B$23</c:f>
              <c:numCache>
                <c:formatCode>General</c:formatCode>
                <c:ptCount val="22"/>
                <c:pt idx="0">
                  <c:v>0.99</c:v>
                </c:pt>
                <c:pt idx="1">
                  <c:v>0.99</c:v>
                </c:pt>
                <c:pt idx="2">
                  <c:v>0.97</c:v>
                </c:pt>
                <c:pt idx="3">
                  <c:v>1</c:v>
                </c:pt>
                <c:pt idx="4">
                  <c:v>0.98</c:v>
                </c:pt>
                <c:pt idx="5">
                  <c:v>0.93</c:v>
                </c:pt>
                <c:pt idx="6">
                  <c:v>0.97</c:v>
                </c:pt>
                <c:pt idx="7">
                  <c:v>0.9</c:v>
                </c:pt>
                <c:pt idx="8">
                  <c:v>0.95</c:v>
                </c:pt>
                <c:pt idx="9">
                  <c:v>0.96</c:v>
                </c:pt>
                <c:pt idx="10">
                  <c:v>0.85</c:v>
                </c:pt>
                <c:pt idx="11">
                  <c:v>0.85</c:v>
                </c:pt>
                <c:pt idx="12">
                  <c:v>0.84</c:v>
                </c:pt>
                <c:pt idx="13">
                  <c:v>0.86</c:v>
                </c:pt>
                <c:pt idx="14">
                  <c:v>0.86</c:v>
                </c:pt>
                <c:pt idx="15">
                  <c:v>0.83</c:v>
                </c:pt>
                <c:pt idx="16">
                  <c:v>0.51</c:v>
                </c:pt>
                <c:pt idx="17">
                  <c:v>0.67</c:v>
                </c:pt>
                <c:pt idx="18">
                  <c:v>0.7</c:v>
                </c:pt>
                <c:pt idx="19">
                  <c:v>0.4</c:v>
                </c:pt>
                <c:pt idx="20">
                  <c:v>0.28999999999999998</c:v>
                </c:pt>
                <c:pt idx="21">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Boursin Aperitif Roules Fromage Frais Roule Ciboulette &amp; Echalote Jambon Fume Boite 1X100Gr 20P</c:v>
                </c:pt>
                <c:pt idx="6">
                  <c:v>Boursin Onctueux Fromage Frais A Tartiner Afh 1X125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Aperitif Roules Fromage Frais Roule Basilic &amp; Jambon Fume Tomate Boite 1X100Gr 20P</c:v>
                </c:pt>
                <c:pt idx="11">
                  <c:v>Boursin Cuisine Sauce Fromage Afh 1X240Gr 1P</c:v>
                </c:pt>
                <c:pt idx="12">
                  <c:v>Boursin Classique Fromage Frais A Tartiner Afh 1X256Gr 16P</c:v>
                </c:pt>
                <c:pt idx="13">
                  <c:v>Boursin Salade &amp; Aperitif Fromage Frais Des Ciboulette Echalote 1X120Gr 1P</c:v>
                </c:pt>
                <c:pt idx="14">
                  <c:v>Boursin Classique Fromage Frais A Tartiner Poivre Boite 1X150Gr 1P</c:v>
                </c:pt>
                <c:pt idx="15">
                  <c:v>Boursin Classique Fromage Frais A Tartiner Ciboulette &amp; Echalote 1X160Gr 10P</c:v>
                </c:pt>
                <c:pt idx="16">
                  <c:v>Boursin Salade &amp; Aperitif Fromage Frais Des Figue Noix 1X120Gr 1P</c:v>
                </c:pt>
                <c:pt idx="17">
                  <c:v>Boursin Salade &amp; Aperitif Fromage Frais Des Citron Romarin 1X120Gr 1P</c:v>
                </c:pt>
                <c:pt idx="18">
                  <c:v>Boursin Aperitif Roules Aperitif 100G</c:v>
                </c:pt>
                <c:pt idx="19">
                  <c:v>Boursin Salade &amp; Aperitif Soft Cheese Salade 120G</c:v>
                </c:pt>
                <c:pt idx="20">
                  <c:v>Boursin Aperitif Roules Fromage Frais Roule Jambon Fume &amp; Trio De Noix Boite 1X100Gr 20P</c:v>
                </c:pt>
                <c:pt idx="21">
                  <c:v>Boursin Classique Fromage Frais A Tartiner Afh Boite 1X80Gr 1P</c:v>
                </c:pt>
              </c:strCache>
            </c:strRef>
          </c:cat>
          <c:val>
            <c:numRef>
              <c:f>Sheet1!$C$2:$C$23</c:f>
              <c:numCache>
                <c:formatCode>General</c:formatCode>
                <c:ptCount val="22"/>
                <c:pt idx="0">
                  <c:v>0.13077830324259485</c:v>
                </c:pt>
                <c:pt idx="1">
                  <c:v>0.25197751913326411</c:v>
                </c:pt>
                <c:pt idx="2">
                  <c:v>0.35811228361303477</c:v>
                </c:pt>
                <c:pt idx="3">
                  <c:v>0.46053440921615896</c:v>
                </c:pt>
                <c:pt idx="4">
                  <c:v>0.53963134214530173</c:v>
                </c:pt>
                <c:pt idx="5">
                  <c:v>0.6076430539640445</c:v>
                </c:pt>
                <c:pt idx="6">
                  <c:v>0.66414247143902849</c:v>
                </c:pt>
                <c:pt idx="7">
                  <c:v>0.70688979546473629</c:v>
                </c:pt>
                <c:pt idx="8">
                  <c:v>0.74789122111806494</c:v>
                </c:pt>
                <c:pt idx="9">
                  <c:v>0.7848211993117008</c:v>
                </c:pt>
                <c:pt idx="10">
                  <c:v>0.81580640432601481</c:v>
                </c:pt>
                <c:pt idx="11">
                  <c:v>0.84614968210230224</c:v>
                </c:pt>
                <c:pt idx="12">
                  <c:v>0.87514587077908901</c:v>
                </c:pt>
                <c:pt idx="13">
                  <c:v>0.90408529200982635</c:v>
                </c:pt>
                <c:pt idx="14">
                  <c:v>0.9329236336530834</c:v>
                </c:pt>
                <c:pt idx="15">
                  <c:v>0.9570780621845455</c:v>
                </c:pt>
                <c:pt idx="16">
                  <c:v>0.9705999720234697</c:v>
                </c:pt>
                <c:pt idx="17">
                  <c:v>0.98151608842116567</c:v>
                </c:pt>
                <c:pt idx="18">
                  <c:v>0.99078954175976219</c:v>
                </c:pt>
                <c:pt idx="19">
                  <c:v>0.99922513633768062</c:v>
                </c:pt>
                <c:pt idx="20">
                  <c:v>0.99992431007193427</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3</c:f>
              <c:strCache>
                <c:ptCount val="22"/>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Boursin Aperitif Roules Fromage Frais Roule Ciboulette &amp; Echalote Jambon Fume Boite 1X100Gr 20P</c:v>
                </c:pt>
                <c:pt idx="6">
                  <c:v>Boursin Onctueux Fromage Frais A Tartiner Afh 1X125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Aperitif Roules Fromage Frais Roule Basilic &amp; Jambon Fume Tomate Boite 1X100Gr 20P</c:v>
                </c:pt>
                <c:pt idx="11">
                  <c:v>Boursin Cuisine Sauce Fromage Afh 1X240Gr 1P</c:v>
                </c:pt>
                <c:pt idx="12">
                  <c:v>Boursin Classique Fromage Frais A Tartiner Afh 1X256Gr 16P</c:v>
                </c:pt>
                <c:pt idx="13">
                  <c:v>Boursin Salade &amp; Aperitif Fromage Frais Des Ciboulette Echalote 1X120Gr 1P</c:v>
                </c:pt>
                <c:pt idx="14">
                  <c:v>Boursin Classique Fromage Frais A Tartiner Poivre Boite 1X150Gr 1P</c:v>
                </c:pt>
                <c:pt idx="15">
                  <c:v>Boursin Classique Fromage Frais A Tartiner Ciboulette &amp; Echalote 1X160Gr 10P</c:v>
                </c:pt>
                <c:pt idx="16">
                  <c:v>Boursin Salade &amp; Aperitif Fromage Frais Des Figue Noix 1X120Gr 1P</c:v>
                </c:pt>
                <c:pt idx="17">
                  <c:v>Boursin Salade &amp; Aperitif Fromage Frais Des Citron Romarin 1X120Gr 1P</c:v>
                </c:pt>
                <c:pt idx="18">
                  <c:v>Boursin Aperitif Roules Aperitif 100G</c:v>
                </c:pt>
                <c:pt idx="19">
                  <c:v>Boursin Salade &amp; Aperitif Soft Cheese Salade 120G</c:v>
                </c:pt>
                <c:pt idx="20">
                  <c:v>Boursin Aperitif Roules Fromage Frais Roule Jambon Fume &amp; Trio De Noix Boite 1X100Gr 20P</c:v>
                </c:pt>
                <c:pt idx="21">
                  <c:v>Boursin Classique Fromage Frais A Tartiner Afh Boite 1X80Gr 1P</c:v>
                </c:pt>
              </c:strCache>
            </c:strRef>
          </c:cat>
          <c:val>
            <c:numRef>
              <c:f>Sheet1!$D$2:$D$23</c:f>
              <c:numCache>
                <c:formatCode>General</c:formatCode>
                <c:ptCount val="22"/>
                <c:pt idx="0">
                  <c:v>5515.0505050505053</c:v>
                </c:pt>
                <c:pt idx="1">
                  <c:v>5111.090909090909</c:v>
                </c:pt>
                <c:pt idx="2">
                  <c:v>4568.0927835051543</c:v>
                </c:pt>
                <c:pt idx="3">
                  <c:v>4276.05</c:v>
                </c:pt>
                <c:pt idx="4">
                  <c:v>3369.6326530612246</c:v>
                </c:pt>
                <c:pt idx="5">
                  <c:v>3053.1612903225805</c:v>
                </c:pt>
                <c:pt idx="6">
                  <c:v>2431.7628865979382</c:v>
                </c:pt>
                <c:pt idx="7">
                  <c:v>1982.9666666666667</c:v>
                </c:pt>
                <c:pt idx="8">
                  <c:v>1801.8736842105263</c:v>
                </c:pt>
                <c:pt idx="9">
                  <c:v>1606.0416666666667</c:v>
                </c:pt>
                <c:pt idx="10">
                  <c:v>1521.8941176470589</c:v>
                </c:pt>
                <c:pt idx="11">
                  <c:v>1490.3647058823528</c:v>
                </c:pt>
                <c:pt idx="12">
                  <c:v>1441.1547619047619</c:v>
                </c:pt>
                <c:pt idx="13">
                  <c:v>1404.8837209302326</c:v>
                </c:pt>
                <c:pt idx="14">
                  <c:v>1399.9767441860465</c:v>
                </c:pt>
                <c:pt idx="15">
                  <c:v>1214.9759036144578</c:v>
                </c:pt>
                <c:pt idx="16">
                  <c:v>1106.9215686274511</c:v>
                </c:pt>
                <c:pt idx="17">
                  <c:v>680.20895522388059</c:v>
                </c:pt>
                <c:pt idx="18">
                  <c:v>553.08571428571429</c:v>
                </c:pt>
                <c:pt idx="19">
                  <c:v>880.45</c:v>
                </c:pt>
                <c:pt idx="20">
                  <c:v>100.65517241379311</c:v>
                </c:pt>
                <c:pt idx="21">
                  <c:v>52.6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Kiri Creme Fromage Blanc Frais Carre 1X432Gr 24P</c:v>
                </c:pt>
                <c:pt idx="1">
                  <c:v>Kiri Creme Fromage Blanc Frais Carre 1X216Gr 12P</c:v>
                </c:pt>
                <c:pt idx="2">
                  <c:v>Kiri Gouter Fromage Blanc Dips Boite 1X280Gr 8P</c:v>
                </c:pt>
                <c:pt idx="3">
                  <c:v>Kiri Gouter Fromage Blanc Dips Boite 1X175Gr 5P</c:v>
                </c:pt>
                <c:pt idx="4">
                  <c:v>Kiri Creme Fromage Blanc Frais Carre 1X144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B$2:$B$11</c:f>
              <c:numCache>
                <c:formatCode>General</c:formatCode>
                <c:ptCount val="10"/>
                <c:pt idx="0">
                  <c:v>0.99</c:v>
                </c:pt>
                <c:pt idx="1">
                  <c:v>0.99</c:v>
                </c:pt>
                <c:pt idx="2">
                  <c:v>0.99</c:v>
                </c:pt>
                <c:pt idx="3">
                  <c:v>0.99</c:v>
                </c:pt>
                <c:pt idx="4">
                  <c:v>0.99</c:v>
                </c:pt>
                <c:pt idx="5">
                  <c:v>0.94</c:v>
                </c:pt>
                <c:pt idx="6">
                  <c:v>0.99</c:v>
                </c:pt>
                <c:pt idx="7">
                  <c:v>0.87</c:v>
                </c:pt>
                <c:pt idx="8">
                  <c:v>0.73</c:v>
                </c:pt>
                <c:pt idx="9">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Kiri Creme Fromage Blanc Frais Carre 1X432Gr 24P</c:v>
                </c:pt>
                <c:pt idx="1">
                  <c:v>Kiri Creme Fromage Blanc Frais Carre 1X216Gr 12P</c:v>
                </c:pt>
                <c:pt idx="2">
                  <c:v>Kiri Gouter Fromage Blanc Dips Boite 1X280Gr 8P</c:v>
                </c:pt>
                <c:pt idx="3">
                  <c:v>Kiri Gouter Fromage Blanc Dips Boite 1X175Gr 5P</c:v>
                </c:pt>
                <c:pt idx="4">
                  <c:v>Kiri Creme Fromage Blanc Frais Carre 1X144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C$2:$C$11</c:f>
              <c:numCache>
                <c:formatCode>General</c:formatCode>
                <c:ptCount val="10"/>
                <c:pt idx="0">
                  <c:v>0.22639986430698122</c:v>
                </c:pt>
                <c:pt idx="1">
                  <c:v>0.44362833439848315</c:v>
                </c:pt>
                <c:pt idx="2">
                  <c:v>0.61716395533034285</c:v>
                </c:pt>
                <c:pt idx="3">
                  <c:v>0.74632220428462825</c:v>
                </c:pt>
                <c:pt idx="4">
                  <c:v>0.86843077687282111</c:v>
                </c:pt>
                <c:pt idx="5">
                  <c:v>0.92087703728832038</c:v>
                </c:pt>
                <c:pt idx="6">
                  <c:v>0.95980094318763498</c:v>
                </c:pt>
                <c:pt idx="7">
                  <c:v>0.98668057923957386</c:v>
                </c:pt>
                <c:pt idx="8">
                  <c:v>0.99982281157146446</c:v>
                </c:pt>
                <c:pt idx="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Kiri Creme Fromage Blanc Frais Carre 1X432Gr 24P</c:v>
                </c:pt>
                <c:pt idx="1">
                  <c:v>Kiri Creme Fromage Blanc Frais Carre 1X216Gr 12P</c:v>
                </c:pt>
                <c:pt idx="2">
                  <c:v>Kiri Gouter Fromage Blanc Dips Boite 1X280Gr 8P</c:v>
                </c:pt>
                <c:pt idx="3">
                  <c:v>Kiri Gouter Fromage Blanc Dips Boite 1X175Gr 5P</c:v>
                </c:pt>
                <c:pt idx="4">
                  <c:v>Kiri Creme Fromage Blanc Frais Carre 1X144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D$2:$D$11</c:f>
              <c:numCache>
                <c:formatCode>General</c:formatCode>
                <c:ptCount val="10"/>
                <c:pt idx="0">
                  <c:v>1510.0505050505051</c:v>
                </c:pt>
                <c:pt idx="1">
                  <c:v>1448.878787878788</c:v>
                </c:pt>
                <c:pt idx="2">
                  <c:v>1157.4545454545455</c:v>
                </c:pt>
                <c:pt idx="3">
                  <c:v>861.46464646464642</c:v>
                </c:pt>
                <c:pt idx="4">
                  <c:v>814.44444444444446</c:v>
                </c:pt>
                <c:pt idx="5">
                  <c:v>368.41489361702128</c:v>
                </c:pt>
                <c:pt idx="6">
                  <c:v>259.61616161616161</c:v>
                </c:pt>
                <c:pt idx="7">
                  <c:v>204.01149425287358</c:v>
                </c:pt>
                <c:pt idx="8">
                  <c:v>118.87671232876713</c:v>
                </c:pt>
                <c:pt idx="9">
                  <c:v>7.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B$2:$B$9</c:f>
              <c:numCache>
                <c:formatCode>General</c:formatCode>
                <c:ptCount val="8"/>
                <c:pt idx="0">
                  <c:v>0.99</c:v>
                </c:pt>
                <c:pt idx="1">
                  <c:v>0.99</c:v>
                </c:pt>
                <c:pt idx="2">
                  <c:v>0.99</c:v>
                </c:pt>
                <c:pt idx="3">
                  <c:v>0.98</c:v>
                </c:pt>
                <c:pt idx="4">
                  <c:v>0.99</c:v>
                </c:pt>
                <c:pt idx="5">
                  <c:v>0.96</c:v>
                </c:pt>
                <c:pt idx="6">
                  <c:v>0.88</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C$2:$C$9</c:f>
              <c:numCache>
                <c:formatCode>General</c:formatCode>
                <c:ptCount val="8"/>
                <c:pt idx="0">
                  <c:v>0.31177411991350895</c:v>
                </c:pt>
                <c:pt idx="1">
                  <c:v>0.56594064025445623</c:v>
                </c:pt>
                <c:pt idx="2">
                  <c:v>0.79706336823410773</c:v>
                </c:pt>
                <c:pt idx="3">
                  <c:v>0.87323343049361091</c:v>
                </c:pt>
                <c:pt idx="4">
                  <c:v>0.94056123856778051</c:v>
                </c:pt>
                <c:pt idx="5">
                  <c:v>0.97614598122682816</c:v>
                </c:pt>
                <c:pt idx="6">
                  <c:v>0.99963502184852016</c:v>
                </c:pt>
                <c:pt idx="7">
                  <c:v>0.9999197298910833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D$2:$D$9</c:f>
              <c:numCache>
                <c:formatCode>General</c:formatCode>
                <c:ptCount val="8"/>
                <c:pt idx="0">
                  <c:v>2510.909090909091</c:v>
                </c:pt>
                <c:pt idx="1">
                  <c:v>2046.9595959595961</c:v>
                </c:pt>
                <c:pt idx="2">
                  <c:v>1861.3737373737374</c:v>
                </c:pt>
                <c:pt idx="3">
                  <c:v>619.70408163265301</c:v>
                </c:pt>
                <c:pt idx="4">
                  <c:v>542.23232323232321</c:v>
                </c:pt>
                <c:pt idx="5">
                  <c:v>295.54166666666669</c:v>
                </c:pt>
                <c:pt idx="6">
                  <c:v>212.81818181818181</c:v>
                </c:pt>
                <c:pt idx="7">
                  <c:v>22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Boursin Aperitif Roules Fromage Frais Roule Ciboulette &amp; Echalote Jambon Fume Boite 1X100Gr 20P</c:v>
                </c:pt>
                <c:pt idx="6">
                  <c:v>Boursin Onctueux Fromage Frais A Tartiner Afh 1X125Gr 1P</c:v>
                </c:pt>
                <c:pt idx="7">
                  <c:v>Boursin Classique Fromage Frais A Tartiner Afh Boite 1X96Gr 6P</c:v>
                </c:pt>
                <c:pt idx="8">
                  <c:v>Boursin Classique Fromage Frais A Tartiner Afh 1X256Gr 16P</c:v>
                </c:pt>
                <c:pt idx="9">
                  <c:v>Boursin Classique Fromage Frais A Tartiner Figue Et 3 Noix Boite 1X150Gr 1P</c:v>
                </c:pt>
                <c:pt idx="10">
                  <c:v>Boursin Salade &amp; Aperitif Fromage Frais Des Ciboulette Echalote 1X120Gr 1P</c:v>
                </c:pt>
                <c:pt idx="11">
                  <c:v>Boursin Aperitif Roules Fromage Frais Roule Basilic &amp; Jambon Fume Tomate Boite 1X100Gr 20P</c:v>
                </c:pt>
                <c:pt idx="12">
                  <c:v>Boursin Classique Fromage Frais A Tartiner Ciboulette &amp; Echalote Boite 1X150Gr 1P</c:v>
                </c:pt>
                <c:pt idx="13">
                  <c:v>Boursin Classique Fromage Frais A Tartiner Poivre Boite 1X150Gr 1P</c:v>
                </c:pt>
                <c:pt idx="14">
                  <c:v>Boursin Classique Fromage Frais A Tartiner Ciboulette &amp; Echalote 1X160Gr 10P</c:v>
                </c:pt>
                <c:pt idx="15">
                  <c:v>Boursin Cuisine Sauce Fromage Afh 1X240Gr 1P</c:v>
                </c:pt>
                <c:pt idx="16">
                  <c:v>Boursin Salade &amp; Aperitif Fromage Frais Des Figue Noix 1X120Gr 1P</c:v>
                </c:pt>
                <c:pt idx="17">
                  <c:v>Boursin Salade &amp; Aperitif Fromage Frais Des Citron Romarin 1X120Gr 1P</c:v>
                </c:pt>
                <c:pt idx="18">
                  <c:v>Boursin Salade &amp; Aperitif Soft Cheese Salade 120G</c:v>
                </c:pt>
                <c:pt idx="19">
                  <c:v>Boursin Aperitif Roules Aperitif 100G</c:v>
                </c:pt>
                <c:pt idx="20">
                  <c:v>Boursin Aperitif Roules Fromage Frais Roule Jambon Fume &amp; Trio De Noix Boite 1X100Gr 20P</c:v>
                </c:pt>
                <c:pt idx="21">
                  <c:v>Boursin Classique Fromage Frais A Tartiner Afh Boite 1X80Gr 1P</c:v>
                </c:pt>
              </c:strCache>
            </c:strRef>
          </c:cat>
          <c:val>
            <c:numRef>
              <c:f>Sheet1!$B$2:$B$23</c:f>
              <c:numCache>
                <c:formatCode>General</c:formatCode>
                <c:ptCount val="22"/>
                <c:pt idx="0">
                  <c:v>0.99</c:v>
                </c:pt>
                <c:pt idx="1">
                  <c:v>0.99</c:v>
                </c:pt>
                <c:pt idx="2">
                  <c:v>0.99</c:v>
                </c:pt>
                <c:pt idx="3">
                  <c:v>0.99</c:v>
                </c:pt>
                <c:pt idx="4">
                  <c:v>0.99</c:v>
                </c:pt>
                <c:pt idx="5">
                  <c:v>0.99</c:v>
                </c:pt>
                <c:pt idx="6">
                  <c:v>0.99</c:v>
                </c:pt>
                <c:pt idx="7">
                  <c:v>0.98</c:v>
                </c:pt>
                <c:pt idx="8">
                  <c:v>0.96</c:v>
                </c:pt>
                <c:pt idx="9">
                  <c:v>0.99</c:v>
                </c:pt>
                <c:pt idx="10">
                  <c:v>0.95</c:v>
                </c:pt>
                <c:pt idx="11">
                  <c:v>0.95</c:v>
                </c:pt>
                <c:pt idx="12">
                  <c:v>0.99</c:v>
                </c:pt>
                <c:pt idx="13">
                  <c:v>0.97</c:v>
                </c:pt>
                <c:pt idx="14">
                  <c:v>0.95</c:v>
                </c:pt>
                <c:pt idx="15">
                  <c:v>0.96</c:v>
                </c:pt>
                <c:pt idx="16">
                  <c:v>0.83</c:v>
                </c:pt>
                <c:pt idx="17">
                  <c:v>0.87</c:v>
                </c:pt>
                <c:pt idx="18">
                  <c:v>0.73</c:v>
                </c:pt>
                <c:pt idx="19">
                  <c:v>0.86</c:v>
                </c:pt>
                <c:pt idx="20">
                  <c:v>0.52</c:v>
                </c:pt>
                <c:pt idx="21">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Boursin Aperitif Roules Fromage Frais Roule Ciboulette &amp; Echalote Jambon Fume Boite 1X100Gr 20P</c:v>
                </c:pt>
                <c:pt idx="6">
                  <c:v>Boursin Onctueux Fromage Frais A Tartiner Afh 1X125Gr 1P</c:v>
                </c:pt>
                <c:pt idx="7">
                  <c:v>Boursin Classique Fromage Frais A Tartiner Afh Boite 1X96Gr 6P</c:v>
                </c:pt>
                <c:pt idx="8">
                  <c:v>Boursin Classique Fromage Frais A Tartiner Afh 1X256Gr 16P</c:v>
                </c:pt>
                <c:pt idx="9">
                  <c:v>Boursin Classique Fromage Frais A Tartiner Figue Et 3 Noix Boite 1X150Gr 1P</c:v>
                </c:pt>
                <c:pt idx="10">
                  <c:v>Boursin Salade &amp; Aperitif Fromage Frais Des Ciboulette Echalote 1X120Gr 1P</c:v>
                </c:pt>
                <c:pt idx="11">
                  <c:v>Boursin Aperitif Roules Fromage Frais Roule Basilic &amp; Jambon Fume Tomate Boite 1X100Gr 20P</c:v>
                </c:pt>
                <c:pt idx="12">
                  <c:v>Boursin Classique Fromage Frais A Tartiner Ciboulette &amp; Echalote Boite 1X150Gr 1P</c:v>
                </c:pt>
                <c:pt idx="13">
                  <c:v>Boursin Classique Fromage Frais A Tartiner Poivre Boite 1X150Gr 1P</c:v>
                </c:pt>
                <c:pt idx="14">
                  <c:v>Boursin Classique Fromage Frais A Tartiner Ciboulette &amp; Echalote 1X160Gr 10P</c:v>
                </c:pt>
                <c:pt idx="15">
                  <c:v>Boursin Cuisine Sauce Fromage Afh 1X240Gr 1P</c:v>
                </c:pt>
                <c:pt idx="16">
                  <c:v>Boursin Salade &amp; Aperitif Fromage Frais Des Figue Noix 1X120Gr 1P</c:v>
                </c:pt>
                <c:pt idx="17">
                  <c:v>Boursin Salade &amp; Aperitif Fromage Frais Des Citron Romarin 1X120Gr 1P</c:v>
                </c:pt>
                <c:pt idx="18">
                  <c:v>Boursin Salade &amp; Aperitif Soft Cheese Salade 120G</c:v>
                </c:pt>
                <c:pt idx="19">
                  <c:v>Boursin Aperitif Roules Aperitif 100G</c:v>
                </c:pt>
                <c:pt idx="20">
                  <c:v>Boursin Aperitif Roules Fromage Frais Roule Jambon Fume &amp; Trio De Noix Boite 1X100Gr 20P</c:v>
                </c:pt>
                <c:pt idx="21">
                  <c:v>Boursin Classique Fromage Frais A Tartiner Afh Boite 1X80Gr 1P</c:v>
                </c:pt>
              </c:strCache>
            </c:strRef>
          </c:cat>
          <c:val>
            <c:numRef>
              <c:f>Sheet1!$C$2:$C$23</c:f>
              <c:numCache>
                <c:formatCode>General</c:formatCode>
                <c:ptCount val="22"/>
                <c:pt idx="0">
                  <c:v>0.13994920455182763</c:v>
                </c:pt>
                <c:pt idx="1">
                  <c:v>0.2589179127397227</c:v>
                </c:pt>
                <c:pt idx="2">
                  <c:v>0.37413705156726118</c:v>
                </c:pt>
                <c:pt idx="3">
                  <c:v>0.46754379171195609</c:v>
                </c:pt>
                <c:pt idx="4">
                  <c:v>0.53995267637530941</c:v>
                </c:pt>
                <c:pt idx="5">
                  <c:v>0.60790560913142988</c:v>
                </c:pt>
                <c:pt idx="6">
                  <c:v>0.65734437551242775</c:v>
                </c:pt>
                <c:pt idx="7">
                  <c:v>0.69942554674543245</c:v>
                </c:pt>
                <c:pt idx="8">
                  <c:v>0.74138653947329758</c:v>
                </c:pt>
                <c:pt idx="9">
                  <c:v>0.77570284395755817</c:v>
                </c:pt>
                <c:pt idx="10">
                  <c:v>0.80785192939913408</c:v>
                </c:pt>
                <c:pt idx="11">
                  <c:v>0.83994092558814015</c:v>
                </c:pt>
                <c:pt idx="12">
                  <c:v>0.8703247223208872</c:v>
                </c:pt>
                <c:pt idx="13">
                  <c:v>0.89741162206263692</c:v>
                </c:pt>
                <c:pt idx="14">
                  <c:v>0.92345563944311937</c:v>
                </c:pt>
                <c:pt idx="15">
                  <c:v>0.94904831977096638</c:v>
                </c:pt>
                <c:pt idx="16">
                  <c:v>0.966175092070088</c:v>
                </c:pt>
                <c:pt idx="17">
                  <c:v>0.97900882110227716</c:v>
                </c:pt>
                <c:pt idx="18">
                  <c:v>0.98938289672927515</c:v>
                </c:pt>
                <c:pt idx="19">
                  <c:v>0.9989357525711523</c:v>
                </c:pt>
                <c:pt idx="20">
                  <c:v>0.99986112706072749</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3</c:f>
              <c:strCache>
                <c:ptCount val="22"/>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Boursin Aperitif Roules Fromage Frais Roule Ciboulette &amp; Echalote Jambon Fume Boite 1X100Gr 20P</c:v>
                </c:pt>
                <c:pt idx="6">
                  <c:v>Boursin Onctueux Fromage Frais A Tartiner Afh 1X125Gr 1P</c:v>
                </c:pt>
                <c:pt idx="7">
                  <c:v>Boursin Classique Fromage Frais A Tartiner Afh Boite 1X96Gr 6P</c:v>
                </c:pt>
                <c:pt idx="8">
                  <c:v>Boursin Classique Fromage Frais A Tartiner Afh 1X256Gr 16P</c:v>
                </c:pt>
                <c:pt idx="9">
                  <c:v>Boursin Classique Fromage Frais A Tartiner Figue Et 3 Noix Boite 1X150Gr 1P</c:v>
                </c:pt>
                <c:pt idx="10">
                  <c:v>Boursin Salade &amp; Aperitif Fromage Frais Des Ciboulette Echalote 1X120Gr 1P</c:v>
                </c:pt>
                <c:pt idx="11">
                  <c:v>Boursin Aperitif Roules Fromage Frais Roule Basilic &amp; Jambon Fume Tomate Boite 1X100Gr 20P</c:v>
                </c:pt>
                <c:pt idx="12">
                  <c:v>Boursin Classique Fromage Frais A Tartiner Ciboulette &amp; Echalote Boite 1X150Gr 1P</c:v>
                </c:pt>
                <c:pt idx="13">
                  <c:v>Boursin Classique Fromage Frais A Tartiner Poivre Boite 1X150Gr 1P</c:v>
                </c:pt>
                <c:pt idx="14">
                  <c:v>Boursin Classique Fromage Frais A Tartiner Ciboulette &amp; Echalote 1X160Gr 10P</c:v>
                </c:pt>
                <c:pt idx="15">
                  <c:v>Boursin Cuisine Sauce Fromage Afh 1X240Gr 1P</c:v>
                </c:pt>
                <c:pt idx="16">
                  <c:v>Boursin Salade &amp; Aperitif Fromage Frais Des Figue Noix 1X120Gr 1P</c:v>
                </c:pt>
                <c:pt idx="17">
                  <c:v>Boursin Salade &amp; Aperitif Fromage Frais Des Citron Romarin 1X120Gr 1P</c:v>
                </c:pt>
                <c:pt idx="18">
                  <c:v>Boursin Salade &amp; Aperitif Soft Cheese Salade 120G</c:v>
                </c:pt>
                <c:pt idx="19">
                  <c:v>Boursin Aperitif Roules Aperitif 100G</c:v>
                </c:pt>
                <c:pt idx="20">
                  <c:v>Boursin Aperitif Roules Fromage Frais Roule Jambon Fume &amp; Trio De Noix Boite 1X100Gr 20P</c:v>
                </c:pt>
                <c:pt idx="21">
                  <c:v>Boursin Classique Fromage Frais A Tartiner Afh Boite 1X80Gr 1P</c:v>
                </c:pt>
              </c:strCache>
            </c:strRef>
          </c:cat>
          <c:val>
            <c:numRef>
              <c:f>Sheet1!$D$2:$D$23</c:f>
              <c:numCache>
                <c:formatCode>General</c:formatCode>
                <c:ptCount val="22"/>
                <c:pt idx="0">
                  <c:v>1058.6464646464647</c:v>
                </c:pt>
                <c:pt idx="1">
                  <c:v>899.93939393939399</c:v>
                </c:pt>
                <c:pt idx="2">
                  <c:v>871.57575757575762</c:v>
                </c:pt>
                <c:pt idx="3">
                  <c:v>706.57575757575762</c:v>
                </c:pt>
                <c:pt idx="4">
                  <c:v>547.73737373737379</c:v>
                </c:pt>
                <c:pt idx="5">
                  <c:v>514.030303030303</c:v>
                </c:pt>
                <c:pt idx="6">
                  <c:v>373.97979797979798</c:v>
                </c:pt>
                <c:pt idx="7">
                  <c:v>321.57142857142856</c:v>
                </c:pt>
                <c:pt idx="8">
                  <c:v>327.33333333333331</c:v>
                </c:pt>
                <c:pt idx="9">
                  <c:v>259.5858585858586</c:v>
                </c:pt>
                <c:pt idx="10">
                  <c:v>253.43157894736842</c:v>
                </c:pt>
                <c:pt idx="11">
                  <c:v>252.95789473684209</c:v>
                </c:pt>
                <c:pt idx="12">
                  <c:v>229.83838383838383</c:v>
                </c:pt>
                <c:pt idx="13">
                  <c:v>209.1237113402062</c:v>
                </c:pt>
                <c:pt idx="14">
                  <c:v>205.30526315789473</c:v>
                </c:pt>
                <c:pt idx="15">
                  <c:v>199.64583333333334</c:v>
                </c:pt>
                <c:pt idx="16">
                  <c:v>154.53012048192772</c:v>
                </c:pt>
                <c:pt idx="17">
                  <c:v>110.47126436781609</c:v>
                </c:pt>
                <c:pt idx="18">
                  <c:v>106.42465753424658</c:v>
                </c:pt>
                <c:pt idx="19">
                  <c:v>83.186046511627907</c:v>
                </c:pt>
                <c:pt idx="20">
                  <c:v>13.326923076923077</c:v>
                </c:pt>
                <c:pt idx="21">
                  <c:v>7.42857142857142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Kiri Creme Fromage Blanc Frais Carre 1X216Gr 12P</c:v>
                </c:pt>
                <c:pt idx="1">
                  <c:v>Kiri Creme Fromage Blanc Frais Carre 1X144Gr 8P</c:v>
                </c:pt>
                <c:pt idx="2">
                  <c:v>Kiri Gouter Fromage Blanc Dips Boite 1X175Gr 5P</c:v>
                </c:pt>
                <c:pt idx="3">
                  <c:v>Kiri Gouter Fromage Blanc Dips Boite 1X280Gr 8P</c:v>
                </c:pt>
                <c:pt idx="4">
                  <c:v>Kiri Creme Fromage Blanc Frais Carre 1X432Gr 24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B$2:$B$11</c:f>
              <c:numCache>
                <c:formatCode>General</c:formatCode>
                <c:ptCount val="10"/>
                <c:pt idx="0">
                  <c:v>0.85</c:v>
                </c:pt>
                <c:pt idx="1">
                  <c:v>0.92</c:v>
                </c:pt>
                <c:pt idx="2">
                  <c:v>0.89</c:v>
                </c:pt>
                <c:pt idx="3">
                  <c:v>0.67</c:v>
                </c:pt>
                <c:pt idx="4">
                  <c:v>0.47</c:v>
                </c:pt>
                <c:pt idx="5">
                  <c:v>0.59</c:v>
                </c:pt>
                <c:pt idx="6">
                  <c:v>0.44</c:v>
                </c:pt>
                <c:pt idx="7">
                  <c:v>0.3</c:v>
                </c:pt>
                <c:pt idx="8">
                  <c:v>0.1</c:v>
                </c:pt>
                <c:pt idx="9">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Kiri Creme Fromage Blanc Frais Carre 1X216Gr 12P</c:v>
                </c:pt>
                <c:pt idx="1">
                  <c:v>Kiri Creme Fromage Blanc Frais Carre 1X144Gr 8P</c:v>
                </c:pt>
                <c:pt idx="2">
                  <c:v>Kiri Gouter Fromage Blanc Dips Boite 1X175Gr 5P</c:v>
                </c:pt>
                <c:pt idx="3">
                  <c:v>Kiri Gouter Fromage Blanc Dips Boite 1X280Gr 8P</c:v>
                </c:pt>
                <c:pt idx="4">
                  <c:v>Kiri Creme Fromage Blanc Frais Carre 1X432Gr 24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C$2:$C$11</c:f>
              <c:numCache>
                <c:formatCode>General</c:formatCode>
                <c:ptCount val="10"/>
                <c:pt idx="0">
                  <c:v>0.26075807341170942</c:v>
                </c:pt>
                <c:pt idx="1">
                  <c:v>0.44990684707188983</c:v>
                </c:pt>
                <c:pt idx="2">
                  <c:v>0.63123949305096216</c:v>
                </c:pt>
                <c:pt idx="3">
                  <c:v>0.7631773961529642</c:v>
                </c:pt>
                <c:pt idx="4">
                  <c:v>0.87796492597990639</c:v>
                </c:pt>
                <c:pt idx="5">
                  <c:v>0.93621440904275188</c:v>
                </c:pt>
                <c:pt idx="6">
                  <c:v>0.96721547608443093</c:v>
                </c:pt>
                <c:pt idx="7">
                  <c:v>0.99375695330223823</c:v>
                </c:pt>
                <c:pt idx="8">
                  <c:v>0.99980289105750852</c:v>
                </c:pt>
                <c:pt idx="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Kiri Creme Fromage Blanc Frais Carre 1X216Gr 12P</c:v>
                </c:pt>
                <c:pt idx="1">
                  <c:v>Kiri Creme Fromage Blanc Frais Carre 1X144Gr 8P</c:v>
                </c:pt>
                <c:pt idx="2">
                  <c:v>Kiri Gouter Fromage Blanc Dips Boite 1X175Gr 5P</c:v>
                </c:pt>
                <c:pt idx="3">
                  <c:v>Kiri Gouter Fromage Blanc Dips Boite 1X280Gr 8P</c:v>
                </c:pt>
                <c:pt idx="4">
                  <c:v>Kiri Creme Fromage Blanc Frais Carre 1X432Gr 24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D$2:$D$11</c:f>
              <c:numCache>
                <c:formatCode>General</c:formatCode>
                <c:ptCount val="10"/>
                <c:pt idx="0">
                  <c:v>1618.6235294117646</c:v>
                </c:pt>
                <c:pt idx="1">
                  <c:v>1084.7826086956522</c:v>
                </c:pt>
                <c:pt idx="2">
                  <c:v>1075.0112359550562</c:v>
                </c:pt>
                <c:pt idx="3">
                  <c:v>1039.0149253731342</c:v>
                </c:pt>
                <c:pt idx="4">
                  <c:v>1288.6170212765958</c:v>
                </c:pt>
                <c:pt idx="5">
                  <c:v>520.91525423728808</c:v>
                </c:pt>
                <c:pt idx="6">
                  <c:v>371.75</c:v>
                </c:pt>
                <c:pt idx="7">
                  <c:v>466.8</c:v>
                </c:pt>
                <c:pt idx="8">
                  <c:v>319</c:v>
                </c:pt>
                <c:pt idx="9">
                  <c:v>2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strCache>
            </c:strRef>
          </c:cat>
          <c:val>
            <c:numRef>
              <c:f>Sheet1!$B$2:$B$8</c:f>
              <c:numCache>
                <c:formatCode>General</c:formatCode>
                <c:ptCount val="7"/>
                <c:pt idx="0">
                  <c:v>0.98</c:v>
                </c:pt>
                <c:pt idx="1">
                  <c:v>0.65</c:v>
                </c:pt>
                <c:pt idx="2">
                  <c:v>0.68</c:v>
                </c:pt>
                <c:pt idx="3">
                  <c:v>0.77</c:v>
                </c:pt>
                <c:pt idx="4">
                  <c:v>0.42</c:v>
                </c:pt>
                <c:pt idx="5">
                  <c:v>0.32</c:v>
                </c:pt>
                <c:pt idx="6">
                  <c:v>0.2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strCache>
            </c:strRef>
          </c:cat>
          <c:val>
            <c:numRef>
              <c:f>Sheet1!$C$2:$C$8</c:f>
              <c:numCache>
                <c:formatCode>General</c:formatCode>
                <c:ptCount val="7"/>
                <c:pt idx="0">
                  <c:v>0.37403029709667657</c:v>
                </c:pt>
                <c:pt idx="1">
                  <c:v>0.61822632038022673</c:v>
                </c:pt>
                <c:pt idx="2">
                  <c:v>0.83587945244495065</c:v>
                </c:pt>
                <c:pt idx="3">
                  <c:v>0.916225501539776</c:v>
                </c:pt>
                <c:pt idx="4">
                  <c:v>0.95695213343539165</c:v>
                </c:pt>
                <c:pt idx="5">
                  <c:v>0.98623279990031498</c:v>
                </c:pt>
                <c:pt idx="6">
                  <c:v>0.9997045054025668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c:f>
              <c:strCache>
                <c:ptCount val="7"/>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strCache>
            </c:strRef>
          </c:cat>
          <c:val>
            <c:numRef>
              <c:f>Sheet1!$D$2:$D$8</c:f>
              <c:numCache>
                <c:formatCode>General</c:formatCode>
                <c:ptCount val="7"/>
                <c:pt idx="0">
                  <c:v>2144.0714285714284</c:v>
                </c:pt>
                <c:pt idx="1">
                  <c:v>2110.4923076923078</c:v>
                </c:pt>
                <c:pt idx="2">
                  <c:v>1798.1029411764705</c:v>
                </c:pt>
                <c:pt idx="3">
                  <c:v>586.18181818181813</c:v>
                </c:pt>
                <c:pt idx="4">
                  <c:v>544.73809523809518</c:v>
                </c:pt>
                <c:pt idx="5">
                  <c:v>514.03125</c:v>
                </c:pt>
                <c:pt idx="6">
                  <c:v>302.7200000000000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St Moret</c:v>
                </c:pt>
                <c:pt idx="4">
                  <c:v>Private Label</c:v>
                </c:pt>
                <c:pt idx="5">
                  <c:v>Others</c:v>
                </c:pt>
              </c:strCache>
            </c:strRef>
          </c:cat>
          <c:val>
            <c:numRef>
              <c:f>Sheet1!$B$2:$B$7</c:f>
              <c:numCache>
                <c:formatCode>General</c:formatCode>
                <c:ptCount val="6"/>
                <c:pt idx="0">
                  <c:v>0.57617584110359765</c:v>
                </c:pt>
                <c:pt idx="1">
                  <c:v>0.14372580791832781</c:v>
                </c:pt>
                <c:pt idx="2">
                  <c:v>0.11759484104560203</c:v>
                </c:pt>
                <c:pt idx="3">
                  <c:v>8.0744368211655843E-2</c:v>
                </c:pt>
                <c:pt idx="4">
                  <c:v>7.3483636802119862E-2</c:v>
                </c:pt>
                <c:pt idx="5">
                  <c:v>8.275504918696836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St Moret</c:v>
                </c:pt>
                <c:pt idx="4">
                  <c:v>Private Label</c:v>
                </c:pt>
                <c:pt idx="5">
                  <c:v>Others</c:v>
                </c:pt>
              </c:strCache>
            </c:strRef>
          </c:cat>
          <c:val>
            <c:numRef>
              <c:f>Sheet1!$C$2:$C$7</c:f>
              <c:numCache>
                <c:formatCode>General</c:formatCode>
                <c:ptCount val="6"/>
                <c:pt idx="0">
                  <c:v>0.41000202470135644</c:v>
                </c:pt>
                <c:pt idx="1">
                  <c:v>0.20247013565499086</c:v>
                </c:pt>
                <c:pt idx="2">
                  <c:v>0.14517108726462843</c:v>
                </c:pt>
                <c:pt idx="3">
                  <c:v>0.13861105486940675</c:v>
                </c:pt>
                <c:pt idx="4">
                  <c:v>7.1471957886211773E-2</c:v>
                </c:pt>
                <c:pt idx="5">
                  <c:v>3.227373962340554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St Moret</c:v>
                </c:pt>
                <c:pt idx="4">
                  <c:v>Private Label</c:v>
                </c:pt>
                <c:pt idx="5">
                  <c:v>Others</c:v>
                </c:pt>
              </c:strCache>
            </c:strRef>
          </c:cat>
          <c:val>
            <c:numRef>
              <c:f>Sheet1!$D$2:$D$7</c:f>
              <c:numCache>
                <c:formatCode>General</c:formatCode>
                <c:ptCount val="6"/>
                <c:pt idx="0">
                  <c:v>71.159183612427299</c:v>
                </c:pt>
                <c:pt idx="1">
                  <c:v>140.87249783980656</c:v>
                </c:pt>
                <c:pt idx="2">
                  <c:v>123.45021769138039</c:v>
                </c:pt>
                <c:pt idx="3">
                  <c:v>171.66652973996219</c:v>
                </c:pt>
                <c:pt idx="4">
                  <c:v>97.262412417984649</c:v>
                </c:pt>
                <c:pt idx="5">
                  <c:v>389.991184108772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Boursin Classique Fromage Frais A Tartiner Afh 1X160Gr 10P</c:v>
                </c:pt>
                <c:pt idx="1">
                  <c:v>Boursin Classique Fromage Frais A Tartiner Afh Boite 1X150Gr 1P</c:v>
                </c:pt>
                <c:pt idx="2">
                  <c:v>Boursin Aperitif Roules Fromage Frais Roule Afh Et Jambon Fume Boite 1X100Gr 20P</c:v>
                </c:pt>
                <c:pt idx="3">
                  <c:v>Boursin Classique Fromage Frais A Tartiner Afh Boite 1X250Gr 1P</c:v>
                </c:pt>
                <c:pt idx="4">
                  <c:v>Boursin Onctueux Fromage Frais A Tartiner Afh 1X125Gr 1P</c:v>
                </c:pt>
                <c:pt idx="5">
                  <c:v>Boursin Salade &amp; Aperitif Fromage Frais Des Afh 1X120Gr 1P</c:v>
                </c:pt>
                <c:pt idx="6">
                  <c:v>Boursin Classique Fromage Frais A Tartiner Figue Et 3 Noix Boite 1X150Gr 1P</c:v>
                </c:pt>
                <c:pt idx="7">
                  <c:v>Boursin Classique Fromage Frais A Tartiner Ciboulette &amp; Echalote Boite 1X150Gr 1P</c:v>
                </c:pt>
                <c:pt idx="8">
                  <c:v>Boursin Classique Fromage Frais A Tartiner Afh Boite 1X96Gr 6P</c:v>
                </c:pt>
                <c:pt idx="9">
                  <c:v>Boursin Cuisine Sauce Fromage Afh 1X240Gr 1P</c:v>
                </c:pt>
                <c:pt idx="10">
                  <c:v>Boursin Aperitif Roules Fromage Frais Roule Ciboulette &amp; Echalote Jambon Fume Boite 1X100Gr 20P</c:v>
                </c:pt>
                <c:pt idx="11">
                  <c:v>Boursin Classique Fromage Frais A Tartiner Poivre Boite 1X150Gr 1P</c:v>
                </c:pt>
                <c:pt idx="12">
                  <c:v>Boursin Classique Fromage Frais A Tartiner Ciboulette &amp; Echalote 1X160Gr 10P</c:v>
                </c:pt>
                <c:pt idx="13">
                  <c:v>Boursin Aperitif Roules Fromage Frais Roule Basilic &amp; Jambon Fume Tomate Boite 1X100Gr 20P</c:v>
                </c:pt>
                <c:pt idx="14">
                  <c:v>Boursin Salade &amp; Aperitif Fromage Frais Des Ciboulette Echalote 1X120Gr 1P</c:v>
                </c:pt>
                <c:pt idx="15">
                  <c:v>Boursin Classique Fromage Frais A Tartiner Afh 1X256Gr 16P</c:v>
                </c:pt>
                <c:pt idx="16">
                  <c:v>Boursin Salade &amp; Aperitif Fromage Frais Des Figue Noix 1X120Gr 1P</c:v>
                </c:pt>
                <c:pt idx="17">
                  <c:v>Boursin Salade &amp; Aperitif Fromage Frais Des Citron Romarin 1X120Gr 1P</c:v>
                </c:pt>
                <c:pt idx="18">
                  <c:v>Boursin Salade &amp; Aperitif Soft Cheese Salade 120G</c:v>
                </c:pt>
                <c:pt idx="19">
                  <c:v>Boursin Aperitif Roules Aperitif 100G</c:v>
                </c:pt>
                <c:pt idx="20">
                  <c:v>Boursin Aperitif Roules Fromage Frais Roule Jambon Fume &amp; Trio De Noix Boite 1X100Gr 20P</c:v>
                </c:pt>
                <c:pt idx="21">
                  <c:v>Boursin Classique Fromage Frais A Tartiner Afh Boite 1X80Gr 1P</c:v>
                </c:pt>
              </c:strCache>
            </c:strRef>
          </c:cat>
          <c:val>
            <c:numRef>
              <c:f>Sheet1!$B$2:$B$23</c:f>
              <c:numCache>
                <c:formatCode>General</c:formatCode>
                <c:ptCount val="22"/>
                <c:pt idx="0">
                  <c:v>0.9</c:v>
                </c:pt>
                <c:pt idx="1">
                  <c:v>0.96</c:v>
                </c:pt>
                <c:pt idx="2">
                  <c:v>0.76</c:v>
                </c:pt>
                <c:pt idx="3">
                  <c:v>0.75</c:v>
                </c:pt>
                <c:pt idx="4">
                  <c:v>0.81</c:v>
                </c:pt>
                <c:pt idx="5">
                  <c:v>0.84</c:v>
                </c:pt>
                <c:pt idx="6">
                  <c:v>0.81</c:v>
                </c:pt>
                <c:pt idx="7">
                  <c:v>0.8</c:v>
                </c:pt>
                <c:pt idx="8">
                  <c:v>0.66</c:v>
                </c:pt>
                <c:pt idx="9">
                  <c:v>0.67</c:v>
                </c:pt>
                <c:pt idx="10">
                  <c:v>0.5</c:v>
                </c:pt>
                <c:pt idx="11">
                  <c:v>0.59</c:v>
                </c:pt>
                <c:pt idx="12">
                  <c:v>0.46</c:v>
                </c:pt>
                <c:pt idx="13">
                  <c:v>0.32</c:v>
                </c:pt>
                <c:pt idx="14">
                  <c:v>0.43</c:v>
                </c:pt>
                <c:pt idx="15">
                  <c:v>0.33</c:v>
                </c:pt>
                <c:pt idx="16">
                  <c:v>0.18</c:v>
                </c:pt>
                <c:pt idx="17">
                  <c:v>0.28000000000000003</c:v>
                </c:pt>
                <c:pt idx="18">
                  <c:v>0.14000000000000001</c:v>
                </c:pt>
                <c:pt idx="19">
                  <c:v>0.17</c:v>
                </c:pt>
                <c:pt idx="20">
                  <c:v>0.05</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Boursin Classique Fromage Frais A Tartiner Afh 1X160Gr 10P</c:v>
                </c:pt>
                <c:pt idx="1">
                  <c:v>Boursin Classique Fromage Frais A Tartiner Afh Boite 1X150Gr 1P</c:v>
                </c:pt>
                <c:pt idx="2">
                  <c:v>Boursin Aperitif Roules Fromage Frais Roule Afh Et Jambon Fume Boite 1X100Gr 20P</c:v>
                </c:pt>
                <c:pt idx="3">
                  <c:v>Boursin Classique Fromage Frais A Tartiner Afh Boite 1X250Gr 1P</c:v>
                </c:pt>
                <c:pt idx="4">
                  <c:v>Boursin Onctueux Fromage Frais A Tartiner Afh 1X125Gr 1P</c:v>
                </c:pt>
                <c:pt idx="5">
                  <c:v>Boursin Salade &amp; Aperitif Fromage Frais Des Afh 1X120Gr 1P</c:v>
                </c:pt>
                <c:pt idx="6">
                  <c:v>Boursin Classique Fromage Frais A Tartiner Figue Et 3 Noix Boite 1X150Gr 1P</c:v>
                </c:pt>
                <c:pt idx="7">
                  <c:v>Boursin Classique Fromage Frais A Tartiner Ciboulette &amp; Echalote Boite 1X150Gr 1P</c:v>
                </c:pt>
                <c:pt idx="8">
                  <c:v>Boursin Classique Fromage Frais A Tartiner Afh Boite 1X96Gr 6P</c:v>
                </c:pt>
                <c:pt idx="9">
                  <c:v>Boursin Cuisine Sauce Fromage Afh 1X240Gr 1P</c:v>
                </c:pt>
                <c:pt idx="10">
                  <c:v>Boursin Aperitif Roules Fromage Frais Roule Ciboulette &amp; Echalote Jambon Fume Boite 1X100Gr 20P</c:v>
                </c:pt>
                <c:pt idx="11">
                  <c:v>Boursin Classique Fromage Frais A Tartiner Poivre Boite 1X150Gr 1P</c:v>
                </c:pt>
                <c:pt idx="12">
                  <c:v>Boursin Classique Fromage Frais A Tartiner Ciboulette &amp; Echalote 1X160Gr 10P</c:v>
                </c:pt>
                <c:pt idx="13">
                  <c:v>Boursin Aperitif Roules Fromage Frais Roule Basilic &amp; Jambon Fume Tomate Boite 1X100Gr 20P</c:v>
                </c:pt>
                <c:pt idx="14">
                  <c:v>Boursin Salade &amp; Aperitif Fromage Frais Des Ciboulette Echalote 1X120Gr 1P</c:v>
                </c:pt>
                <c:pt idx="15">
                  <c:v>Boursin Classique Fromage Frais A Tartiner Afh 1X256Gr 16P</c:v>
                </c:pt>
                <c:pt idx="16">
                  <c:v>Boursin Salade &amp; Aperitif Fromage Frais Des Figue Noix 1X120Gr 1P</c:v>
                </c:pt>
                <c:pt idx="17">
                  <c:v>Boursin Salade &amp; Aperitif Fromage Frais Des Citron Romarin 1X120Gr 1P</c:v>
                </c:pt>
                <c:pt idx="18">
                  <c:v>Boursin Salade &amp; Aperitif Soft Cheese Salade 120G</c:v>
                </c:pt>
                <c:pt idx="19">
                  <c:v>Boursin Aperitif Roules Aperitif 100G</c:v>
                </c:pt>
                <c:pt idx="20">
                  <c:v>Boursin Aperitif Roules Fromage Frais Roule Jambon Fume &amp; Trio De Noix Boite 1X100Gr 20P</c:v>
                </c:pt>
                <c:pt idx="21">
                  <c:v>Boursin Classique Fromage Frais A Tartiner Afh Boite 1X80Gr 1P</c:v>
                </c:pt>
              </c:strCache>
            </c:strRef>
          </c:cat>
          <c:val>
            <c:numRef>
              <c:f>Sheet1!$C$2:$C$23</c:f>
              <c:numCache>
                <c:formatCode>General</c:formatCode>
                <c:ptCount val="22"/>
                <c:pt idx="0">
                  <c:v>0.13976090970939839</c:v>
                </c:pt>
                <c:pt idx="1">
                  <c:v>0.27585696449531616</c:v>
                </c:pt>
                <c:pt idx="2">
                  <c:v>0.38047055481208464</c:v>
                </c:pt>
                <c:pt idx="3">
                  <c:v>0.47632796788205478</c:v>
                </c:pt>
                <c:pt idx="4">
                  <c:v>0.55714616805101791</c:v>
                </c:pt>
                <c:pt idx="5">
                  <c:v>0.63412606443027286</c:v>
                </c:pt>
                <c:pt idx="6">
                  <c:v>0.69845914606338366</c:v>
                </c:pt>
                <c:pt idx="7">
                  <c:v>0.74820308469837093</c:v>
                </c:pt>
                <c:pt idx="8">
                  <c:v>0.79670596679052308</c:v>
                </c:pt>
                <c:pt idx="9">
                  <c:v>0.83817220780968471</c:v>
                </c:pt>
                <c:pt idx="10">
                  <c:v>0.87826281988980015</c:v>
                </c:pt>
                <c:pt idx="11">
                  <c:v>0.91086672099404142</c:v>
                </c:pt>
                <c:pt idx="12">
                  <c:v>0.92847178091613891</c:v>
                </c:pt>
                <c:pt idx="13">
                  <c:v>0.94589442047892813</c:v>
                </c:pt>
                <c:pt idx="14">
                  <c:v>0.96251411141099152</c:v>
                </c:pt>
                <c:pt idx="15">
                  <c:v>0.97712717839066365</c:v>
                </c:pt>
                <c:pt idx="16">
                  <c:v>0.98478434773507184</c:v>
                </c:pt>
                <c:pt idx="17">
                  <c:v>0.99166099718145595</c:v>
                </c:pt>
                <c:pt idx="18">
                  <c:v>0.99617814394760651</c:v>
                </c:pt>
                <c:pt idx="19">
                  <c:v>0.99979515090798987</c:v>
                </c:pt>
                <c:pt idx="20">
                  <c:v>0.99997458076960455</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3</c:f>
              <c:strCache>
                <c:ptCount val="22"/>
                <c:pt idx="0">
                  <c:v>Boursin Classique Fromage Frais A Tartiner Afh 1X160Gr 10P</c:v>
                </c:pt>
                <c:pt idx="1">
                  <c:v>Boursin Classique Fromage Frais A Tartiner Afh Boite 1X150Gr 1P</c:v>
                </c:pt>
                <c:pt idx="2">
                  <c:v>Boursin Aperitif Roules Fromage Frais Roule Afh Et Jambon Fume Boite 1X100Gr 20P</c:v>
                </c:pt>
                <c:pt idx="3">
                  <c:v>Boursin Classique Fromage Frais A Tartiner Afh Boite 1X250Gr 1P</c:v>
                </c:pt>
                <c:pt idx="4">
                  <c:v>Boursin Onctueux Fromage Frais A Tartiner Afh 1X125Gr 1P</c:v>
                </c:pt>
                <c:pt idx="5">
                  <c:v>Boursin Salade &amp; Aperitif Fromage Frais Des Afh 1X120Gr 1P</c:v>
                </c:pt>
                <c:pt idx="6">
                  <c:v>Boursin Classique Fromage Frais A Tartiner Figue Et 3 Noix Boite 1X150Gr 1P</c:v>
                </c:pt>
                <c:pt idx="7">
                  <c:v>Boursin Classique Fromage Frais A Tartiner Ciboulette &amp; Echalote Boite 1X150Gr 1P</c:v>
                </c:pt>
                <c:pt idx="8">
                  <c:v>Boursin Classique Fromage Frais A Tartiner Afh Boite 1X96Gr 6P</c:v>
                </c:pt>
                <c:pt idx="9">
                  <c:v>Boursin Cuisine Sauce Fromage Afh 1X240Gr 1P</c:v>
                </c:pt>
                <c:pt idx="10">
                  <c:v>Boursin Aperitif Roules Fromage Frais Roule Ciboulette &amp; Echalote Jambon Fume Boite 1X100Gr 20P</c:v>
                </c:pt>
                <c:pt idx="11">
                  <c:v>Boursin Classique Fromage Frais A Tartiner Poivre Boite 1X150Gr 1P</c:v>
                </c:pt>
                <c:pt idx="12">
                  <c:v>Boursin Classique Fromage Frais A Tartiner Ciboulette &amp; Echalote 1X160Gr 10P</c:v>
                </c:pt>
                <c:pt idx="13">
                  <c:v>Boursin Aperitif Roules Fromage Frais Roule Basilic &amp; Jambon Fume Tomate Boite 1X100Gr 20P</c:v>
                </c:pt>
                <c:pt idx="14">
                  <c:v>Boursin Salade &amp; Aperitif Fromage Frais Des Ciboulette Echalote 1X120Gr 1P</c:v>
                </c:pt>
                <c:pt idx="15">
                  <c:v>Boursin Classique Fromage Frais A Tartiner Afh 1X256Gr 16P</c:v>
                </c:pt>
                <c:pt idx="16">
                  <c:v>Boursin Salade &amp; Aperitif Fromage Frais Des Figue Noix 1X120Gr 1P</c:v>
                </c:pt>
                <c:pt idx="17">
                  <c:v>Boursin Salade &amp; Aperitif Fromage Frais Des Citron Romarin 1X120Gr 1P</c:v>
                </c:pt>
                <c:pt idx="18">
                  <c:v>Boursin Salade &amp; Aperitif Soft Cheese Salade 120G</c:v>
                </c:pt>
                <c:pt idx="19">
                  <c:v>Boursin Aperitif Roules Aperitif 100G</c:v>
                </c:pt>
                <c:pt idx="20">
                  <c:v>Boursin Aperitif Roules Fromage Frais Roule Jambon Fume &amp; Trio De Noix Boite 1X100Gr 20P</c:v>
                </c:pt>
                <c:pt idx="21">
                  <c:v>Boursin Classique Fromage Frais A Tartiner Afh Boite 1X80Gr 1P</c:v>
                </c:pt>
              </c:strCache>
            </c:strRef>
          </c:cat>
          <c:val>
            <c:numRef>
              <c:f>Sheet1!$D$2:$D$23</c:f>
              <c:numCache>
                <c:formatCode>General</c:formatCode>
                <c:ptCount val="22"/>
                <c:pt idx="0">
                  <c:v>1038.5555555555557</c:v>
                </c:pt>
                <c:pt idx="1">
                  <c:v>948.11458333333337</c:v>
                </c:pt>
                <c:pt idx="2">
                  <c:v>920.57894736842104</c:v>
                </c:pt>
                <c:pt idx="3">
                  <c:v>854.77333333333331</c:v>
                </c:pt>
                <c:pt idx="4">
                  <c:v>667.28395061728395</c:v>
                </c:pt>
                <c:pt idx="5">
                  <c:v>612.89285714285711</c:v>
                </c:pt>
                <c:pt idx="6">
                  <c:v>531.17283950617286</c:v>
                </c:pt>
                <c:pt idx="7">
                  <c:v>415.85</c:v>
                </c:pt>
                <c:pt idx="8">
                  <c:v>491.4848484848485</c:v>
                </c:pt>
                <c:pt idx="9">
                  <c:v>413.91044776119401</c:v>
                </c:pt>
                <c:pt idx="10">
                  <c:v>536.24</c:v>
                </c:pt>
                <c:pt idx="11">
                  <c:v>369.57627118644069</c:v>
                </c:pt>
                <c:pt idx="12">
                  <c:v>255.95652173913044</c:v>
                </c:pt>
                <c:pt idx="13">
                  <c:v>364.125</c:v>
                </c:pt>
                <c:pt idx="14">
                  <c:v>258.48837209302326</c:v>
                </c:pt>
                <c:pt idx="15">
                  <c:v>296.15151515151513</c:v>
                </c:pt>
                <c:pt idx="16">
                  <c:v>284.5</c:v>
                </c:pt>
                <c:pt idx="17">
                  <c:v>164.24999999999997</c:v>
                </c:pt>
                <c:pt idx="18">
                  <c:v>215.78571428571425</c:v>
                </c:pt>
                <c:pt idx="19">
                  <c:v>142.29411764705881</c:v>
                </c:pt>
                <c:pt idx="20">
                  <c:v>24</c:v>
                </c:pt>
                <c:pt idx="21">
                  <c:v>1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0.76200000000000001</c:v>
                </c:pt>
                <c:pt idx="1">
                  <c:v>0.98899999999999999</c:v>
                </c:pt>
                <c:pt idx="2">
                  <c:v>0.94699999999999995</c:v>
                </c:pt>
                <c:pt idx="3">
                  <c:v>0.82399999999999995</c:v>
                </c:pt>
                <c:pt idx="4">
                  <c:v>0.72</c:v>
                </c:pt>
                <c:pt idx="5">
                  <c:v>0.71199999999999997</c:v>
                </c:pt>
                <c:pt idx="6">
                  <c:v>0.75</c:v>
                </c:pt>
                <c:pt idx="7">
                  <c:v>0.61199999999999999</c:v>
                </c:pt>
                <c:pt idx="8">
                  <c:v>0.39200000000000002</c:v>
                </c:pt>
                <c:pt idx="9">
                  <c:v>0.39500000000000002</c:v>
                </c:pt>
                <c:pt idx="10">
                  <c:v>7.9000000000000001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C$2:$C$12</c:f>
              <c:numCache>
                <c:formatCode>General</c:formatCode>
                <c:ptCount val="11"/>
                <c:pt idx="0">
                  <c:v>0.24730356571164794</c:v>
                </c:pt>
                <c:pt idx="1">
                  <c:v>0.44853072432092078</c:v>
                </c:pt>
                <c:pt idx="2">
                  <c:v>0.63696312025190671</c:v>
                </c:pt>
                <c:pt idx="3">
                  <c:v>0.77923302758397539</c:v>
                </c:pt>
                <c:pt idx="4">
                  <c:v>0.85753563765383001</c:v>
                </c:pt>
                <c:pt idx="5">
                  <c:v>0.9349791475291096</c:v>
                </c:pt>
                <c:pt idx="6">
                  <c:v>0.96326377822662868</c:v>
                </c:pt>
                <c:pt idx="7">
                  <c:v>0.98613230520246054</c:v>
                </c:pt>
                <c:pt idx="8">
                  <c:v>0.99808597278007061</c:v>
                </c:pt>
                <c:pt idx="9">
                  <c:v>0.99955330219423799</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D$2:$D$12</c:f>
              <c:numCache>
                <c:formatCode>General</c:formatCode>
                <c:ptCount val="11"/>
                <c:pt idx="0">
                  <c:v>18926.456692913383</c:v>
                </c:pt>
                <c:pt idx="1">
                  <c:v>11865.449949443882</c:v>
                </c:pt>
                <c:pt idx="2">
                  <c:v>11603.780359028513</c:v>
                </c:pt>
                <c:pt idx="3">
                  <c:v>10068.847087378641</c:v>
                </c:pt>
                <c:pt idx="4">
                  <c:v>6342.166666666667</c:v>
                </c:pt>
                <c:pt idx="5">
                  <c:v>6343.0617977528091</c:v>
                </c:pt>
                <c:pt idx="6">
                  <c:v>2199.2933333333335</c:v>
                </c:pt>
                <c:pt idx="7">
                  <c:v>2179.1176470588239</c:v>
                </c:pt>
                <c:pt idx="8">
                  <c:v>1778.3163265306121</c:v>
                </c:pt>
                <c:pt idx="9">
                  <c:v>216.63291139240508</c:v>
                </c:pt>
                <c:pt idx="10">
                  <c:v>329.7468354430379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0.86399999999999999</c:v>
                </c:pt>
                <c:pt idx="1">
                  <c:v>0.80400000000000005</c:v>
                </c:pt>
                <c:pt idx="2">
                  <c:v>0.97799999999999998</c:v>
                </c:pt>
                <c:pt idx="3">
                  <c:v>0.71699999999999997</c:v>
                </c:pt>
                <c:pt idx="4">
                  <c:v>0.90600000000000003</c:v>
                </c:pt>
                <c:pt idx="5">
                  <c:v>0.67800000000000005</c:v>
                </c:pt>
                <c:pt idx="6">
                  <c:v>0.42</c:v>
                </c:pt>
                <c:pt idx="7">
                  <c:v>0.48199999999999998</c:v>
                </c:pt>
                <c:pt idx="8">
                  <c:v>8.0000000000000002E-3</c:v>
                </c:pt>
                <c:pt idx="9">
                  <c:v>2.7E-2</c:v>
                </c:pt>
                <c:pt idx="10">
                  <c:v>0.15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C$2:$C$12</c:f>
              <c:numCache>
                <c:formatCode>General</c:formatCode>
                <c:ptCount val="11"/>
                <c:pt idx="0">
                  <c:v>0.2791025132855946</c:v>
                </c:pt>
                <c:pt idx="1">
                  <c:v>0.52074531651638534</c:v>
                </c:pt>
                <c:pt idx="2">
                  <c:v>0.74430867438366466</c:v>
                </c:pt>
                <c:pt idx="3">
                  <c:v>0.83507675857600261</c:v>
                </c:pt>
                <c:pt idx="4">
                  <c:v>0.91387549516876676</c:v>
                </c:pt>
                <c:pt idx="5">
                  <c:v>0.9662595443853973</c:v>
                </c:pt>
                <c:pt idx="6">
                  <c:v>0.98329183686547783</c:v>
                </c:pt>
                <c:pt idx="7">
                  <c:v>0.99705821096028913</c:v>
                </c:pt>
                <c:pt idx="8">
                  <c:v>0.99814823495624472</c:v>
                </c:pt>
                <c:pt idx="9">
                  <c:v>0.99920844201926795</c:v>
                </c:pt>
                <c:pt idx="10">
                  <c:v>0.999852992136636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D$2:$D$12</c:f>
              <c:numCache>
                <c:formatCode>General</c:formatCode>
                <c:ptCount val="11"/>
                <c:pt idx="0">
                  <c:v>21776.25</c:v>
                </c:pt>
                <c:pt idx="1">
                  <c:v>20260.534825870644</c:v>
                </c:pt>
                <c:pt idx="2">
                  <c:v>15409.723926380369</c:v>
                </c:pt>
                <c:pt idx="3">
                  <c:v>8533.8912133891208</c:v>
                </c:pt>
                <c:pt idx="4">
                  <c:v>5863.0573951434872</c:v>
                </c:pt>
                <c:pt idx="5">
                  <c:v>5208.3775811209434</c:v>
                </c:pt>
                <c:pt idx="6">
                  <c:v>2733.7380952380954</c:v>
                </c:pt>
                <c:pt idx="7">
                  <c:v>1925.3319502074692</c:v>
                </c:pt>
                <c:pt idx="8">
                  <c:v>9185</c:v>
                </c:pt>
                <c:pt idx="9">
                  <c:v>2647.037037037037</c:v>
                </c:pt>
                <c:pt idx="10">
                  <c:v>280.322580645161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Boursin Salade &amp; Aperitif Fromage Frais Des Figue Noix 1X120Gr 1P</c:v>
                </c:pt>
                <c:pt idx="6">
                  <c:v>Boursin Onctueux Fromage Frais A Tartiner Afh 1X125Gr 1P</c:v>
                </c:pt>
                <c:pt idx="7">
                  <c:v>Boursin Salade &amp; Aperitif Fromage Frais Des Ciboulette Echalote 1X120Gr 1P</c:v>
                </c:pt>
                <c:pt idx="8">
                  <c:v>Boursin Classique Fromage Frais A Tartiner Ciboulette &amp; Echalote Boite 1X150Gr 1P</c:v>
                </c:pt>
                <c:pt idx="9">
                  <c:v>Boursin Classique Fromage Frais A Tartiner Figue Et 3 Noix Boite 1X150Gr 1P</c:v>
                </c:pt>
                <c:pt idx="10">
                  <c:v>Boursin Salade &amp; Aperitif Soft Cheese Salade 120G</c:v>
                </c:pt>
                <c:pt idx="11">
                  <c:v>Boursin Salade &amp; Aperitif Fromage Frais Des Citron Romarin 1X120Gr 1P</c:v>
                </c:pt>
                <c:pt idx="12">
                  <c:v>Boursin Classique Fromage Frais A Tartiner Poivre Boite 1X150Gr 1P</c:v>
                </c:pt>
                <c:pt idx="13">
                  <c:v>Boursin Classique Fromage Frais A Tartiner Afh 1X256Gr 16P</c:v>
                </c:pt>
                <c:pt idx="14">
                  <c:v>Boursin Classique Fromage Frais A Tartiner Afh Boite 1X320Gr 16+4P</c:v>
                </c:pt>
                <c:pt idx="15">
                  <c:v>Boursin Classique Fromage Frais A Tartiner Afh Boite 1X80Gr 1P</c:v>
                </c:pt>
                <c:pt idx="16">
                  <c:v>Boursin Classique Fromage Frais A Tartiner 3 Noix Boite 1X150Gr 1P</c:v>
                </c:pt>
                <c:pt idx="17">
                  <c:v>Boursin Onctueux Fromage Frais A Tartiner Afh 1X210Gr 1P</c:v>
                </c:pt>
                <c:pt idx="18">
                  <c:v>Boursin Classique Fromage Frais A Tartiner 3 Noix 1X160Gr 10P</c:v>
                </c:pt>
                <c:pt idx="19">
                  <c:v>Boursin Salade &amp; Aperitif Fromage Frais Des Noisette Et 3 Noix 1X120Gr 1P</c:v>
                </c:pt>
              </c:strCache>
            </c:strRef>
          </c:cat>
          <c:val>
            <c:numRef>
              <c:f>Sheet1!$B$2:$B$21</c:f>
              <c:numCache>
                <c:formatCode>General</c:formatCode>
                <c:ptCount val="20"/>
                <c:pt idx="0">
                  <c:v>0.96799999999999997</c:v>
                </c:pt>
                <c:pt idx="1">
                  <c:v>0.90300000000000002</c:v>
                </c:pt>
                <c:pt idx="2">
                  <c:v>0.96099999999999997</c:v>
                </c:pt>
                <c:pt idx="3">
                  <c:v>0.80100000000000005</c:v>
                </c:pt>
                <c:pt idx="4">
                  <c:v>0.80500000000000005</c:v>
                </c:pt>
                <c:pt idx="5">
                  <c:v>0.79300000000000004</c:v>
                </c:pt>
                <c:pt idx="6">
                  <c:v>0.76300000000000001</c:v>
                </c:pt>
                <c:pt idx="7">
                  <c:v>0.76600000000000001</c:v>
                </c:pt>
                <c:pt idx="8">
                  <c:v>0.78600000000000003</c:v>
                </c:pt>
                <c:pt idx="9">
                  <c:v>0.67200000000000004</c:v>
                </c:pt>
                <c:pt idx="10">
                  <c:v>0.69399999999999995</c:v>
                </c:pt>
                <c:pt idx="11">
                  <c:v>0.69399999999999995</c:v>
                </c:pt>
                <c:pt idx="12">
                  <c:v>0.39700000000000002</c:v>
                </c:pt>
                <c:pt idx="13">
                  <c:v>0.23899999999999999</c:v>
                </c:pt>
                <c:pt idx="14">
                  <c:v>0.38400000000000001</c:v>
                </c:pt>
                <c:pt idx="15">
                  <c:v>0.36599999999999999</c:v>
                </c:pt>
                <c:pt idx="16">
                  <c:v>0.34</c:v>
                </c:pt>
                <c:pt idx="17">
                  <c:v>0.27400000000000002</c:v>
                </c:pt>
                <c:pt idx="18">
                  <c:v>0.24</c:v>
                </c:pt>
                <c:pt idx="19">
                  <c:v>1.0999999999999999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Boursin Salade &amp; Aperitif Fromage Frais Des Figue Noix 1X120Gr 1P</c:v>
                </c:pt>
                <c:pt idx="6">
                  <c:v>Boursin Onctueux Fromage Frais A Tartiner Afh 1X125Gr 1P</c:v>
                </c:pt>
                <c:pt idx="7">
                  <c:v>Boursin Salade &amp; Aperitif Fromage Frais Des Ciboulette Echalote 1X120Gr 1P</c:v>
                </c:pt>
                <c:pt idx="8">
                  <c:v>Boursin Classique Fromage Frais A Tartiner Ciboulette &amp; Echalote Boite 1X150Gr 1P</c:v>
                </c:pt>
                <c:pt idx="9">
                  <c:v>Boursin Classique Fromage Frais A Tartiner Figue Et 3 Noix Boite 1X150Gr 1P</c:v>
                </c:pt>
                <c:pt idx="10">
                  <c:v>Boursin Salade &amp; Aperitif Soft Cheese Salade 120G</c:v>
                </c:pt>
                <c:pt idx="11">
                  <c:v>Boursin Salade &amp; Aperitif Fromage Frais Des Citron Romarin 1X120Gr 1P</c:v>
                </c:pt>
                <c:pt idx="12">
                  <c:v>Boursin Classique Fromage Frais A Tartiner Poivre Boite 1X150Gr 1P</c:v>
                </c:pt>
                <c:pt idx="13">
                  <c:v>Boursin Classique Fromage Frais A Tartiner Afh 1X256Gr 16P</c:v>
                </c:pt>
                <c:pt idx="14">
                  <c:v>Boursin Classique Fromage Frais A Tartiner Afh Boite 1X320Gr 16+4P</c:v>
                </c:pt>
                <c:pt idx="15">
                  <c:v>Boursin Classique Fromage Frais A Tartiner Afh Boite 1X80Gr 1P</c:v>
                </c:pt>
                <c:pt idx="16">
                  <c:v>Boursin Classique Fromage Frais A Tartiner 3 Noix Boite 1X150Gr 1P</c:v>
                </c:pt>
                <c:pt idx="17">
                  <c:v>Boursin Onctueux Fromage Frais A Tartiner Afh 1X210Gr 1P</c:v>
                </c:pt>
                <c:pt idx="18">
                  <c:v>Boursin Classique Fromage Frais A Tartiner 3 Noix 1X160Gr 10P</c:v>
                </c:pt>
                <c:pt idx="19">
                  <c:v>Boursin Salade &amp; Aperitif Fromage Frais Des Noisette Et 3 Noix 1X120Gr 1P</c:v>
                </c:pt>
              </c:strCache>
            </c:strRef>
          </c:cat>
          <c:val>
            <c:numRef>
              <c:f>Sheet1!$C$2:$C$21</c:f>
              <c:numCache>
                <c:formatCode>General</c:formatCode>
                <c:ptCount val="20"/>
                <c:pt idx="0">
                  <c:v>0.1960670390544802</c:v>
                </c:pt>
                <c:pt idx="1">
                  <c:v>0.37859471381934873</c:v>
                </c:pt>
                <c:pt idx="2">
                  <c:v>0.54892792076277841</c:v>
                </c:pt>
                <c:pt idx="3">
                  <c:v>0.66165091416892463</c:v>
                </c:pt>
                <c:pt idx="4">
                  <c:v>0.71903478188493575</c:v>
                </c:pt>
                <c:pt idx="5">
                  <c:v>0.76093164772359445</c:v>
                </c:pt>
                <c:pt idx="6">
                  <c:v>0.80186833562993032</c:v>
                </c:pt>
                <c:pt idx="7">
                  <c:v>0.84040122629033298</c:v>
                </c:pt>
                <c:pt idx="8">
                  <c:v>0.87867239736985692</c:v>
                </c:pt>
                <c:pt idx="9">
                  <c:v>0.90967923167269327</c:v>
                </c:pt>
                <c:pt idx="10">
                  <c:v>0.93394077554077914</c:v>
                </c:pt>
                <c:pt idx="11">
                  <c:v>0.95696562502890004</c:v>
                </c:pt>
                <c:pt idx="12">
                  <c:v>0.97002524715391503</c:v>
                </c:pt>
                <c:pt idx="13">
                  <c:v>0.97777371891501963</c:v>
                </c:pt>
                <c:pt idx="14">
                  <c:v>0.98434514616529933</c:v>
                </c:pt>
                <c:pt idx="15">
                  <c:v>0.99061023203336673</c:v>
                </c:pt>
                <c:pt idx="16">
                  <c:v>0.99433395603480945</c:v>
                </c:pt>
                <c:pt idx="17">
                  <c:v>0.99758024988208727</c:v>
                </c:pt>
                <c:pt idx="18">
                  <c:v>0.99995260378614803</c:v>
                </c:pt>
                <c:pt idx="19">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1</c:f>
              <c:strCache>
                <c:ptCount val="20"/>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Boursin Salade &amp; Aperitif Fromage Frais Des Figue Noix 1X120Gr 1P</c:v>
                </c:pt>
                <c:pt idx="6">
                  <c:v>Boursin Onctueux Fromage Frais A Tartiner Afh 1X125Gr 1P</c:v>
                </c:pt>
                <c:pt idx="7">
                  <c:v>Boursin Salade &amp; Aperitif Fromage Frais Des Ciboulette Echalote 1X120Gr 1P</c:v>
                </c:pt>
                <c:pt idx="8">
                  <c:v>Boursin Classique Fromage Frais A Tartiner Ciboulette &amp; Echalote Boite 1X150Gr 1P</c:v>
                </c:pt>
                <c:pt idx="9">
                  <c:v>Boursin Classique Fromage Frais A Tartiner Figue Et 3 Noix Boite 1X150Gr 1P</c:v>
                </c:pt>
                <c:pt idx="10">
                  <c:v>Boursin Salade &amp; Aperitif Soft Cheese Salade 120G</c:v>
                </c:pt>
                <c:pt idx="11">
                  <c:v>Boursin Salade &amp; Aperitif Fromage Frais Des Citron Romarin 1X120Gr 1P</c:v>
                </c:pt>
                <c:pt idx="12">
                  <c:v>Boursin Classique Fromage Frais A Tartiner Poivre Boite 1X150Gr 1P</c:v>
                </c:pt>
                <c:pt idx="13">
                  <c:v>Boursin Classique Fromage Frais A Tartiner Afh 1X256Gr 16P</c:v>
                </c:pt>
                <c:pt idx="14">
                  <c:v>Boursin Classique Fromage Frais A Tartiner Afh Boite 1X320Gr 16+4P</c:v>
                </c:pt>
                <c:pt idx="15">
                  <c:v>Boursin Classique Fromage Frais A Tartiner Afh Boite 1X80Gr 1P</c:v>
                </c:pt>
                <c:pt idx="16">
                  <c:v>Boursin Classique Fromage Frais A Tartiner 3 Noix Boite 1X150Gr 1P</c:v>
                </c:pt>
                <c:pt idx="17">
                  <c:v>Boursin Onctueux Fromage Frais A Tartiner Afh 1X210Gr 1P</c:v>
                </c:pt>
                <c:pt idx="18">
                  <c:v>Boursin Classique Fromage Frais A Tartiner 3 Noix 1X160Gr 10P</c:v>
                </c:pt>
                <c:pt idx="19">
                  <c:v>Boursin Salade &amp; Aperitif Fromage Frais Des Noisette Et 3 Noix 1X120Gr 1P</c:v>
                </c:pt>
              </c:strCache>
            </c:strRef>
          </c:cat>
          <c:val>
            <c:numRef>
              <c:f>Sheet1!$D$2:$D$21</c:f>
              <c:numCache>
                <c:formatCode>General</c:formatCode>
                <c:ptCount val="20"/>
                <c:pt idx="0">
                  <c:v>8760.7128099173551</c:v>
                </c:pt>
                <c:pt idx="1">
                  <c:v>8742.8128460686603</c:v>
                </c:pt>
                <c:pt idx="2">
                  <c:v>7666.3059313215408</c:v>
                </c:pt>
                <c:pt idx="3">
                  <c:v>6086.816479400748</c:v>
                </c:pt>
                <c:pt idx="4">
                  <c:v>3083.217391304348</c:v>
                </c:pt>
                <c:pt idx="5">
                  <c:v>2285.1702395964694</c:v>
                </c:pt>
                <c:pt idx="6">
                  <c:v>2320.5897771952818</c:v>
                </c:pt>
                <c:pt idx="7">
                  <c:v>2175.7702349869455</c:v>
                </c:pt>
                <c:pt idx="8">
                  <c:v>2106.0050890585239</c:v>
                </c:pt>
                <c:pt idx="9">
                  <c:v>1995.7142857142856</c:v>
                </c:pt>
                <c:pt idx="10">
                  <c:v>1512.0605187319886</c:v>
                </c:pt>
                <c:pt idx="11">
                  <c:v>1434.9855907780982</c:v>
                </c:pt>
                <c:pt idx="12">
                  <c:v>1422.8211586901762</c:v>
                </c:pt>
                <c:pt idx="13">
                  <c:v>1402.2594142259416</c:v>
                </c:pt>
                <c:pt idx="14">
                  <c:v>740.18229166666674</c:v>
                </c:pt>
                <c:pt idx="15">
                  <c:v>740.38251366120221</c:v>
                </c:pt>
                <c:pt idx="16">
                  <c:v>473.70588235294116</c:v>
                </c:pt>
                <c:pt idx="17">
                  <c:v>512.44525547445255</c:v>
                </c:pt>
                <c:pt idx="18">
                  <c:v>427.54166666666669</c:v>
                </c:pt>
                <c:pt idx="19">
                  <c:v>186.363636363636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B$2:$B$11</c:f>
              <c:numCache>
                <c:formatCode>General</c:formatCode>
                <c:ptCount val="10"/>
                <c:pt idx="0">
                  <c:v>0.97299999999999998</c:v>
                </c:pt>
                <c:pt idx="1">
                  <c:v>0.85299999999999998</c:v>
                </c:pt>
                <c:pt idx="2">
                  <c:v>0.92900000000000005</c:v>
                </c:pt>
                <c:pt idx="3">
                  <c:v>0.98199999999999998</c:v>
                </c:pt>
                <c:pt idx="4">
                  <c:v>0.97799999999999998</c:v>
                </c:pt>
                <c:pt idx="5">
                  <c:v>0.81599999999999995</c:v>
                </c:pt>
                <c:pt idx="6">
                  <c:v>0.83499999999999996</c:v>
                </c:pt>
                <c:pt idx="7">
                  <c:v>0.6</c:v>
                </c:pt>
                <c:pt idx="8">
                  <c:v>0.54300000000000004</c:v>
                </c:pt>
                <c:pt idx="9">
                  <c:v>9.4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C$2:$C$11</c:f>
              <c:numCache>
                <c:formatCode>General</c:formatCode>
                <c:ptCount val="10"/>
                <c:pt idx="0">
                  <c:v>0.23872045225837427</c:v>
                </c:pt>
                <c:pt idx="1">
                  <c:v>0.43175330380885191</c:v>
                </c:pt>
                <c:pt idx="2">
                  <c:v>0.59860489346897772</c:v>
                </c:pt>
                <c:pt idx="3">
                  <c:v>0.73686318219363256</c:v>
                </c:pt>
                <c:pt idx="4">
                  <c:v>0.87261421426195496</c:v>
                </c:pt>
                <c:pt idx="5">
                  <c:v>0.9237212137886055</c:v>
                </c:pt>
                <c:pt idx="6">
                  <c:v>0.96024243414975408</c:v>
                </c:pt>
                <c:pt idx="7">
                  <c:v>0.9861418350582396</c:v>
                </c:pt>
                <c:pt idx="8">
                  <c:v>0.99984432341883456</c:v>
                </c:pt>
                <c:pt idx="9">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D$2:$D$11</c:f>
              <c:numCache>
                <c:formatCode>General</c:formatCode>
                <c:ptCount val="10"/>
                <c:pt idx="0">
                  <c:v>11646.567317574512</c:v>
                </c:pt>
                <c:pt idx="1">
                  <c:v>10742.450175849941</c:v>
                </c:pt>
                <c:pt idx="2">
                  <c:v>8525.8127018299238</c:v>
                </c:pt>
                <c:pt idx="3">
                  <c:v>6683.4521384928712</c:v>
                </c:pt>
                <c:pt idx="4">
                  <c:v>6589.0899795501027</c:v>
                </c:pt>
                <c:pt idx="5">
                  <c:v>2973.1127450980393</c:v>
                </c:pt>
                <c:pt idx="6">
                  <c:v>2076.2514970059879</c:v>
                </c:pt>
                <c:pt idx="7">
                  <c:v>2049.0833333333335</c:v>
                </c:pt>
                <c:pt idx="8">
                  <c:v>1197.9005524861877</c:v>
                </c:pt>
                <c:pt idx="9">
                  <c:v>78.6170212765957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B$2:$B$9</c:f>
              <c:numCache>
                <c:formatCode>General</c:formatCode>
                <c:ptCount val="8"/>
                <c:pt idx="0">
                  <c:v>0.94199999999999995</c:v>
                </c:pt>
                <c:pt idx="1">
                  <c:v>0.996</c:v>
                </c:pt>
                <c:pt idx="2">
                  <c:v>0.93799999999999994</c:v>
                </c:pt>
                <c:pt idx="3">
                  <c:v>0.93400000000000005</c:v>
                </c:pt>
                <c:pt idx="4">
                  <c:v>0.81100000000000005</c:v>
                </c:pt>
                <c:pt idx="5">
                  <c:v>0.80600000000000005</c:v>
                </c:pt>
                <c:pt idx="6">
                  <c:v>0.625</c:v>
                </c:pt>
                <c:pt idx="7">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C$2:$C$9</c:f>
              <c:numCache>
                <c:formatCode>General</c:formatCode>
                <c:ptCount val="8"/>
                <c:pt idx="0">
                  <c:v>0.29494178593354747</c:v>
                </c:pt>
                <c:pt idx="1">
                  <c:v>0.55715390985540936</c:v>
                </c:pt>
                <c:pt idx="2">
                  <c:v>0.81630237737333511</c:v>
                </c:pt>
                <c:pt idx="3">
                  <c:v>0.88106488568369745</c:v>
                </c:pt>
                <c:pt idx="4">
                  <c:v>0.9409496840029985</c:v>
                </c:pt>
                <c:pt idx="5">
                  <c:v>0.97918883794183631</c:v>
                </c:pt>
                <c:pt idx="6">
                  <c:v>0.99983441127996708</c:v>
                </c:pt>
                <c:pt idx="7">
                  <c:v>0.9999886897779272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D$2:$D$9</c:f>
              <c:numCache>
                <c:formatCode>General</c:formatCode>
                <c:ptCount val="8"/>
                <c:pt idx="0">
                  <c:v>17717.165605095543</c:v>
                </c:pt>
                <c:pt idx="1">
                  <c:v>14897.118473895584</c:v>
                </c:pt>
                <c:pt idx="2">
                  <c:v>15633.443496801707</c:v>
                </c:pt>
                <c:pt idx="3">
                  <c:v>3923.6081370449679</c:v>
                </c:pt>
                <c:pt idx="4">
                  <c:v>4178.3477188655979</c:v>
                </c:pt>
                <c:pt idx="5">
                  <c:v>2684.6153846153843</c:v>
                </c:pt>
                <c:pt idx="6">
                  <c:v>1869.2</c:v>
                </c:pt>
                <c:pt idx="7">
                  <c:v>873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Classique Fromage Frais A Tartiner Ciboulette &amp; Echalote 1X160Gr 10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B$2:$B$17</c:f>
              <c:numCache>
                <c:formatCode>General</c:formatCode>
                <c:ptCount val="16"/>
                <c:pt idx="0">
                  <c:v>0.96099999999999997</c:v>
                </c:pt>
                <c:pt idx="1">
                  <c:v>0.97899999999999998</c:v>
                </c:pt>
                <c:pt idx="2">
                  <c:v>0.99399999999999999</c:v>
                </c:pt>
                <c:pt idx="3">
                  <c:v>0.96499999999999997</c:v>
                </c:pt>
                <c:pt idx="4">
                  <c:v>0.95399999999999996</c:v>
                </c:pt>
                <c:pt idx="5">
                  <c:v>0.88200000000000001</c:v>
                </c:pt>
                <c:pt idx="6">
                  <c:v>0.93899999999999995</c:v>
                </c:pt>
                <c:pt idx="7">
                  <c:v>0.94499999999999995</c:v>
                </c:pt>
                <c:pt idx="8">
                  <c:v>0.84199999999999997</c:v>
                </c:pt>
                <c:pt idx="9">
                  <c:v>0.79500000000000004</c:v>
                </c:pt>
                <c:pt idx="10">
                  <c:v>0.82099999999999995</c:v>
                </c:pt>
                <c:pt idx="11">
                  <c:v>0.80200000000000005</c:v>
                </c:pt>
                <c:pt idx="12">
                  <c:v>0.51300000000000001</c:v>
                </c:pt>
                <c:pt idx="13">
                  <c:v>0.65</c:v>
                </c:pt>
                <c:pt idx="14">
                  <c:v>0.41199999999999998</c:v>
                </c:pt>
                <c:pt idx="15">
                  <c:v>6.5000000000000002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Classique Fromage Frais A Tartiner Ciboulette &amp; Echalote 1X160Gr 10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C$2:$C$17</c:f>
              <c:numCache>
                <c:formatCode>General</c:formatCode>
                <c:ptCount val="16"/>
                <c:pt idx="0">
                  <c:v>0.16857146562507738</c:v>
                </c:pt>
                <c:pt idx="1">
                  <c:v>0.33093159441682357</c:v>
                </c:pt>
                <c:pt idx="2">
                  <c:v>0.46971519386553262</c:v>
                </c:pt>
                <c:pt idx="3">
                  <c:v>0.5725064283870025</c:v>
                </c:pt>
                <c:pt idx="4">
                  <c:v>0.64960109220682605</c:v>
                </c:pt>
                <c:pt idx="5">
                  <c:v>0.70676250985921807</c:v>
                </c:pt>
                <c:pt idx="6">
                  <c:v>0.76333042911325399</c:v>
                </c:pt>
                <c:pt idx="7">
                  <c:v>0.81289520874425691</c:v>
                </c:pt>
                <c:pt idx="8">
                  <c:v>0.85120922056470771</c:v>
                </c:pt>
                <c:pt idx="9">
                  <c:v>0.88946805613358315</c:v>
                </c:pt>
                <c:pt idx="10">
                  <c:v>0.92625481760594019</c:v>
                </c:pt>
                <c:pt idx="11">
                  <c:v>0.95740841390677334</c:v>
                </c:pt>
                <c:pt idx="12">
                  <c:v>0.97495163235639137</c:v>
                </c:pt>
                <c:pt idx="13">
                  <c:v>0.98904845724606838</c:v>
                </c:pt>
                <c:pt idx="14">
                  <c:v>0.99989695717120319</c:v>
                </c:pt>
                <c:pt idx="1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7</c:f>
              <c:strCache>
                <c:ptCount val="16"/>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Classique Fromage Frais A Tartiner Ciboulette &amp; Echalote 1X160Gr 10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D$2:$D$17</c:f>
              <c:numCache>
                <c:formatCode>General</c:formatCode>
                <c:ptCount val="16"/>
                <c:pt idx="0">
                  <c:v>7439.1675338189389</c:v>
                </c:pt>
                <c:pt idx="1">
                  <c:v>7033.319713993872</c:v>
                </c:pt>
                <c:pt idx="2">
                  <c:v>5921.2776659959754</c:v>
                </c:pt>
                <c:pt idx="3">
                  <c:v>4517.4404145077724</c:v>
                </c:pt>
                <c:pt idx="4">
                  <c:v>3427.2012578616354</c:v>
                </c:pt>
                <c:pt idx="5">
                  <c:v>2748.5147392290251</c:v>
                </c:pt>
                <c:pt idx="6">
                  <c:v>2554.8668796592124</c:v>
                </c:pt>
                <c:pt idx="7">
                  <c:v>2224.3597883597886</c:v>
                </c:pt>
                <c:pt idx="8">
                  <c:v>1929.7862232779096</c:v>
                </c:pt>
                <c:pt idx="9">
                  <c:v>2040.9308176100628</c:v>
                </c:pt>
                <c:pt idx="10">
                  <c:v>1900.255785627284</c:v>
                </c:pt>
                <c:pt idx="11">
                  <c:v>1647.3940149625935</c:v>
                </c:pt>
                <c:pt idx="12">
                  <c:v>1450.2923976608186</c:v>
                </c:pt>
                <c:pt idx="13">
                  <c:v>919.7538461538461</c:v>
                </c:pt>
                <c:pt idx="14">
                  <c:v>1116.6990291262136</c:v>
                </c:pt>
                <c:pt idx="15">
                  <c:v>67.2307692307692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Gouter Fromage Blanc Dips Boite 1X175Gr 5P</c:v>
                </c:pt>
                <c:pt idx="2">
                  <c:v>Kiri Creme Fromage Blanc Frais Carre 1X216Gr 12P</c:v>
                </c:pt>
                <c:pt idx="3">
                  <c:v>Kiri Creme Fromage Blanc Frais Carre 1X432Gr 18+6P</c:v>
                </c:pt>
                <c:pt idx="4">
                  <c:v>Kiri Creme Fromage Blanc Frais Carre 1X144Gr 8P</c:v>
                </c:pt>
                <c:pt idx="5">
                  <c:v>Kiri Gouter Fromage Blanc Dips Boite 1X280Gr 8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0.98</c:v>
                </c:pt>
                <c:pt idx="1">
                  <c:v>1</c:v>
                </c:pt>
                <c:pt idx="2">
                  <c:v>1</c:v>
                </c:pt>
                <c:pt idx="3">
                  <c:v>0.98</c:v>
                </c:pt>
                <c:pt idx="4">
                  <c:v>1</c:v>
                </c:pt>
                <c:pt idx="5">
                  <c:v>0.98</c:v>
                </c:pt>
                <c:pt idx="6">
                  <c:v>0.96</c:v>
                </c:pt>
                <c:pt idx="7">
                  <c:v>0.98</c:v>
                </c:pt>
                <c:pt idx="8">
                  <c:v>0.54</c:v>
                </c:pt>
                <c:pt idx="9">
                  <c:v>0.56000000000000005</c:v>
                </c:pt>
                <c:pt idx="10">
                  <c:v>0.1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Gouter Fromage Blanc Dips Boite 1X175Gr 5P</c:v>
                </c:pt>
                <c:pt idx="2">
                  <c:v>Kiri Creme Fromage Blanc Frais Carre 1X216Gr 12P</c:v>
                </c:pt>
                <c:pt idx="3">
                  <c:v>Kiri Creme Fromage Blanc Frais Carre 1X432Gr 18+6P</c:v>
                </c:pt>
                <c:pt idx="4">
                  <c:v>Kiri Creme Fromage Blanc Frais Carre 1X144Gr 8P</c:v>
                </c:pt>
                <c:pt idx="5">
                  <c:v>Kiri Gouter Fromage Blanc Dips Boite 1X280Gr 8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C$2:$C$12</c:f>
              <c:numCache>
                <c:formatCode>General</c:formatCode>
                <c:ptCount val="11"/>
                <c:pt idx="0">
                  <c:v>0.33914255082387607</c:v>
                </c:pt>
                <c:pt idx="1">
                  <c:v>0.52031362455322838</c:v>
                </c:pt>
                <c:pt idx="2">
                  <c:v>0.65886298731487014</c:v>
                </c:pt>
                <c:pt idx="3">
                  <c:v>0.76232425626158018</c:v>
                </c:pt>
                <c:pt idx="4">
                  <c:v>0.85335520938799914</c:v>
                </c:pt>
                <c:pt idx="5">
                  <c:v>0.93815745066705714</c:v>
                </c:pt>
                <c:pt idx="6">
                  <c:v>0.97036601052056615</c:v>
                </c:pt>
                <c:pt idx="7">
                  <c:v>0.98852591445025917</c:v>
                </c:pt>
                <c:pt idx="8">
                  <c:v>0.99839148650095633</c:v>
                </c:pt>
                <c:pt idx="9">
                  <c:v>0.99953103377234542</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Gouter Fromage Blanc Dips Boite 1X175Gr 5P</c:v>
                </c:pt>
                <c:pt idx="2">
                  <c:v>Kiri Creme Fromage Blanc Frais Carre 1X216Gr 12P</c:v>
                </c:pt>
                <c:pt idx="3">
                  <c:v>Kiri Creme Fromage Blanc Frais Carre 1X432Gr 18+6P</c:v>
                </c:pt>
                <c:pt idx="4">
                  <c:v>Kiri Creme Fromage Blanc Frais Carre 1X144Gr 8P</c:v>
                </c:pt>
                <c:pt idx="5">
                  <c:v>Kiri Gouter Fromage Blanc Dips Boite 1X280Gr 8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D$2:$D$12</c:f>
              <c:numCache>
                <c:formatCode>General</c:formatCode>
                <c:ptCount val="11"/>
                <c:pt idx="0">
                  <c:v>10212.938775510203</c:v>
                </c:pt>
                <c:pt idx="1">
                  <c:v>5346.67</c:v>
                </c:pt>
                <c:pt idx="2">
                  <c:v>4088.83</c:v>
                </c:pt>
                <c:pt idx="3">
                  <c:v>3115.6326530612246</c:v>
                </c:pt>
                <c:pt idx="4">
                  <c:v>2686.48</c:v>
                </c:pt>
                <c:pt idx="5">
                  <c:v>2553.7346938775509</c:v>
                </c:pt>
                <c:pt idx="6">
                  <c:v>990.13541666666663</c:v>
                </c:pt>
                <c:pt idx="7">
                  <c:v>546.86734693877554</c:v>
                </c:pt>
                <c:pt idx="8">
                  <c:v>539.16666666666663</c:v>
                </c:pt>
                <c:pt idx="9">
                  <c:v>60.053571428571423</c:v>
                </c:pt>
                <c:pt idx="10">
                  <c:v>92.2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Aro Fromage Fondu Boite Ronde Jambon 1X133Gr 8P</c:v>
                </c:pt>
                <c:pt idx="9">
                  <c:v>La Vache Qui Rit Bio Fromage Fondu Boite Ronde 1X128Gr 8P</c:v>
                </c:pt>
              </c:strCache>
            </c:strRef>
          </c:cat>
          <c:val>
            <c:numRef>
              <c:f>Sheet1!$B$2:$B$11</c:f>
              <c:numCache>
                <c:formatCode>General</c:formatCode>
                <c:ptCount val="10"/>
                <c:pt idx="0">
                  <c:v>0.98</c:v>
                </c:pt>
                <c:pt idx="1">
                  <c:v>0.98</c:v>
                </c:pt>
                <c:pt idx="2">
                  <c:v>1</c:v>
                </c:pt>
                <c:pt idx="3">
                  <c:v>0.93</c:v>
                </c:pt>
                <c:pt idx="4">
                  <c:v>1</c:v>
                </c:pt>
                <c:pt idx="5">
                  <c:v>0.93</c:v>
                </c:pt>
                <c:pt idx="6">
                  <c:v>0.93</c:v>
                </c:pt>
                <c:pt idx="7">
                  <c:v>0.84</c:v>
                </c:pt>
                <c:pt idx="8">
                  <c:v>0.06</c:v>
                </c:pt>
                <c:pt idx="9">
                  <c:v>0.1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Aro Fromage Fondu Boite Ronde Jambon 1X133Gr 8P</c:v>
                </c:pt>
                <c:pt idx="9">
                  <c:v>La Vache Qui Rit Bio Fromage Fondu Boite Ronde 1X128Gr 8P</c:v>
                </c:pt>
              </c:strCache>
            </c:strRef>
          </c:cat>
          <c:val>
            <c:numRef>
              <c:f>Sheet1!$C$2:$C$11</c:f>
              <c:numCache>
                <c:formatCode>General</c:formatCode>
                <c:ptCount val="10"/>
                <c:pt idx="0">
                  <c:v>0.31155776586507067</c:v>
                </c:pt>
                <c:pt idx="1">
                  <c:v>0.62247569018349869</c:v>
                </c:pt>
                <c:pt idx="2">
                  <c:v>0.73485241878188978</c:v>
                </c:pt>
                <c:pt idx="3">
                  <c:v>0.82312988438933021</c:v>
                </c:pt>
                <c:pt idx="4">
                  <c:v>0.89234386100884833</c:v>
                </c:pt>
                <c:pt idx="5">
                  <c:v>0.94540535497714329</c:v>
                </c:pt>
                <c:pt idx="6">
                  <c:v>0.97822184905308318</c:v>
                </c:pt>
                <c:pt idx="7">
                  <c:v>0.99766941520090124</c:v>
                </c:pt>
                <c:pt idx="8">
                  <c:v>0.99972098430536704</c:v>
                </c:pt>
                <c:pt idx="9">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Aro Fromage Fondu Boite Ronde Jambon 1X133Gr 8P</c:v>
                </c:pt>
                <c:pt idx="9">
                  <c:v>La Vache Qui Rit Bio Fromage Fondu Boite Ronde 1X128Gr 8P</c:v>
                </c:pt>
              </c:strCache>
            </c:strRef>
          </c:cat>
          <c:val>
            <c:numRef>
              <c:f>Sheet1!$D$2:$D$11</c:f>
              <c:numCache>
                <c:formatCode>General</c:formatCode>
                <c:ptCount val="10"/>
                <c:pt idx="0">
                  <c:v>11075.163265306122</c:v>
                </c:pt>
                <c:pt idx="1">
                  <c:v>11052.418367346938</c:v>
                </c:pt>
                <c:pt idx="2">
                  <c:v>3914.84</c:v>
                </c:pt>
                <c:pt idx="3">
                  <c:v>3306.7741935483873</c:v>
                </c:pt>
                <c:pt idx="4">
                  <c:v>2411.19</c:v>
                </c:pt>
                <c:pt idx="5">
                  <c:v>1987.6236559139784</c:v>
                </c:pt>
                <c:pt idx="6">
                  <c:v>1229.2688172043011</c:v>
                </c:pt>
                <c:pt idx="7">
                  <c:v>806.53571428571433</c:v>
                </c:pt>
                <c:pt idx="8">
                  <c:v>1191.1666666666667</c:v>
                </c:pt>
                <c:pt idx="9">
                  <c:v>51.15789473684210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Boursin Classique Fromage Frais A Tartiner Afh 1X160Gr 10P</c:v>
                </c:pt>
                <c:pt idx="1">
                  <c:v>Boursin Classique Fromage Frais A Tartiner Afh Boite 1X250Gr 1P</c:v>
                </c:pt>
                <c:pt idx="2">
                  <c:v>Boursin Salade &amp; Aperitif Fromage Frais Des Afh 1X120Gr 1P</c:v>
                </c:pt>
                <c:pt idx="3">
                  <c:v>Boursin Classique Fromage Frais A Tartiner Afh Boite 1X150Gr 1P</c:v>
                </c:pt>
                <c:pt idx="4">
                  <c:v>Boursin Classique Fromage Frais A Tartiner Afh Boite 1X96Gr 6P</c:v>
                </c:pt>
                <c:pt idx="5">
                  <c:v>Boursin Salade &amp; Aperitif Fromage Frais Des Ciboulette Echalote 1X120Gr 1P</c:v>
                </c:pt>
                <c:pt idx="6">
                  <c:v>Boursin Salade &amp; Aperitif Fromage Frais Des Figue Noix 1X120Gr 1P</c:v>
                </c:pt>
                <c:pt idx="7">
                  <c:v>Boursin Classique Fromage Frais A Tartiner Figue Et 3 Noix Boite 1X150Gr 1P</c:v>
                </c:pt>
                <c:pt idx="8">
                  <c:v>Boursin Onctueux Fromage Frais A Tartiner Afh 1X125Gr 1P</c:v>
                </c:pt>
                <c:pt idx="9">
                  <c:v>Boursin Classique Fromage Frais A Tartiner Ciboulette &amp; Echalote Boite 1X150Gr 1P</c:v>
                </c:pt>
                <c:pt idx="10">
                  <c:v>Boursin Classique Fromage Frais A Tartiner Poivre Boite 1X150Gr 1P</c:v>
                </c:pt>
                <c:pt idx="11">
                  <c:v>Boursin Salade &amp; Aperitif Soft Cheese Salade 120G</c:v>
                </c:pt>
                <c:pt idx="12">
                  <c:v>Boursin Salade &amp; Aperitif Fromage Frais Des Citron Romarin 1X120Gr 1P</c:v>
                </c:pt>
                <c:pt idx="13">
                  <c:v>Boursin Classique Fromage Frais A Tartiner Afh 1X256Gr 16P</c:v>
                </c:pt>
                <c:pt idx="14">
                  <c:v>Boursin Classique Fromage Frais A Tartiner Afh Boite 1X320Gr 16+4P</c:v>
                </c:pt>
                <c:pt idx="15">
                  <c:v>Boursin Classique Fromage Frais A Tartiner Afh Boite 1X80Gr 1P</c:v>
                </c:pt>
                <c:pt idx="16">
                  <c:v>Boursin Onctueux Fromage Frais A Tartiner Afh 1X210Gr 1P</c:v>
                </c:pt>
                <c:pt idx="17">
                  <c:v>Boursin Classique Fromage Frais A Tartiner 3 Noix Boite 1X150Gr 1P</c:v>
                </c:pt>
                <c:pt idx="18">
                  <c:v>Boursin Classique Fromage Frais A Tartiner 3 Noix 1X160Gr 10P</c:v>
                </c:pt>
              </c:strCache>
            </c:strRef>
          </c:cat>
          <c:val>
            <c:numRef>
              <c:f>Sheet1!$B$2:$B$20</c:f>
              <c:numCache>
                <c:formatCode>General</c:formatCode>
                <c:ptCount val="19"/>
                <c:pt idx="0">
                  <c:v>1</c:v>
                </c:pt>
                <c:pt idx="1">
                  <c:v>1</c:v>
                </c:pt>
                <c:pt idx="2">
                  <c:v>1</c:v>
                </c:pt>
                <c:pt idx="3">
                  <c:v>1</c:v>
                </c:pt>
                <c:pt idx="4">
                  <c:v>1</c:v>
                </c:pt>
                <c:pt idx="5">
                  <c:v>0.99</c:v>
                </c:pt>
                <c:pt idx="6">
                  <c:v>0.99</c:v>
                </c:pt>
                <c:pt idx="7">
                  <c:v>0.94</c:v>
                </c:pt>
                <c:pt idx="8">
                  <c:v>0.99</c:v>
                </c:pt>
                <c:pt idx="9">
                  <c:v>0.97</c:v>
                </c:pt>
                <c:pt idx="10">
                  <c:v>0.88</c:v>
                </c:pt>
                <c:pt idx="11">
                  <c:v>0.94</c:v>
                </c:pt>
                <c:pt idx="12">
                  <c:v>0.93</c:v>
                </c:pt>
                <c:pt idx="13">
                  <c:v>0.53</c:v>
                </c:pt>
                <c:pt idx="14">
                  <c:v>0.85</c:v>
                </c:pt>
                <c:pt idx="15">
                  <c:v>0.77</c:v>
                </c:pt>
                <c:pt idx="16">
                  <c:v>0.59</c:v>
                </c:pt>
                <c:pt idx="17">
                  <c:v>0.67</c:v>
                </c:pt>
                <c:pt idx="18">
                  <c:v>0.4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Boursin Classique Fromage Frais A Tartiner Afh 1X160Gr 10P</c:v>
                </c:pt>
                <c:pt idx="1">
                  <c:v>Boursin Classique Fromage Frais A Tartiner Afh Boite 1X250Gr 1P</c:v>
                </c:pt>
                <c:pt idx="2">
                  <c:v>Boursin Salade &amp; Aperitif Fromage Frais Des Afh 1X120Gr 1P</c:v>
                </c:pt>
                <c:pt idx="3">
                  <c:v>Boursin Classique Fromage Frais A Tartiner Afh Boite 1X150Gr 1P</c:v>
                </c:pt>
                <c:pt idx="4">
                  <c:v>Boursin Classique Fromage Frais A Tartiner Afh Boite 1X96Gr 6P</c:v>
                </c:pt>
                <c:pt idx="5">
                  <c:v>Boursin Salade &amp; Aperitif Fromage Frais Des Ciboulette Echalote 1X120Gr 1P</c:v>
                </c:pt>
                <c:pt idx="6">
                  <c:v>Boursin Salade &amp; Aperitif Fromage Frais Des Figue Noix 1X120Gr 1P</c:v>
                </c:pt>
                <c:pt idx="7">
                  <c:v>Boursin Classique Fromage Frais A Tartiner Figue Et 3 Noix Boite 1X150Gr 1P</c:v>
                </c:pt>
                <c:pt idx="8">
                  <c:v>Boursin Onctueux Fromage Frais A Tartiner Afh 1X125Gr 1P</c:v>
                </c:pt>
                <c:pt idx="9">
                  <c:v>Boursin Classique Fromage Frais A Tartiner Ciboulette &amp; Echalote Boite 1X150Gr 1P</c:v>
                </c:pt>
                <c:pt idx="10">
                  <c:v>Boursin Classique Fromage Frais A Tartiner Poivre Boite 1X150Gr 1P</c:v>
                </c:pt>
                <c:pt idx="11">
                  <c:v>Boursin Salade &amp; Aperitif Soft Cheese Salade 120G</c:v>
                </c:pt>
                <c:pt idx="12">
                  <c:v>Boursin Salade &amp; Aperitif Fromage Frais Des Citron Romarin 1X120Gr 1P</c:v>
                </c:pt>
                <c:pt idx="13">
                  <c:v>Boursin Classique Fromage Frais A Tartiner Afh 1X256Gr 16P</c:v>
                </c:pt>
                <c:pt idx="14">
                  <c:v>Boursin Classique Fromage Frais A Tartiner Afh Boite 1X320Gr 16+4P</c:v>
                </c:pt>
                <c:pt idx="15">
                  <c:v>Boursin Classique Fromage Frais A Tartiner Afh Boite 1X80Gr 1P</c:v>
                </c:pt>
                <c:pt idx="16">
                  <c:v>Boursin Onctueux Fromage Frais A Tartiner Afh 1X210Gr 1P</c:v>
                </c:pt>
                <c:pt idx="17">
                  <c:v>Boursin Classique Fromage Frais A Tartiner 3 Noix Boite 1X150Gr 1P</c:v>
                </c:pt>
                <c:pt idx="18">
                  <c:v>Boursin Classique Fromage Frais A Tartiner 3 Noix 1X160Gr 10P</c:v>
                </c:pt>
              </c:strCache>
            </c:strRef>
          </c:cat>
          <c:val>
            <c:numRef>
              <c:f>Sheet1!$C$2:$C$20</c:f>
              <c:numCache>
                <c:formatCode>General</c:formatCode>
                <c:ptCount val="19"/>
                <c:pt idx="0">
                  <c:v>0.17846142788234495</c:v>
                </c:pt>
                <c:pt idx="1">
                  <c:v>0.31801241329198193</c:v>
                </c:pt>
                <c:pt idx="2">
                  <c:v>0.44168150522817134</c:v>
                </c:pt>
                <c:pt idx="3">
                  <c:v>0.56374853790332957</c:v>
                </c:pt>
                <c:pt idx="4">
                  <c:v>0.62401078596364745</c:v>
                </c:pt>
                <c:pt idx="5">
                  <c:v>0.68210045523639784</c:v>
                </c:pt>
                <c:pt idx="6">
                  <c:v>0.72605404324830014</c:v>
                </c:pt>
                <c:pt idx="7">
                  <c:v>0.76854595574093698</c:v>
                </c:pt>
                <c:pt idx="8">
                  <c:v>0.80998330556542919</c:v>
                </c:pt>
                <c:pt idx="9">
                  <c:v>0.85066089857948501</c:v>
                </c:pt>
                <c:pt idx="10">
                  <c:v>0.88237976272901508</c:v>
                </c:pt>
                <c:pt idx="11">
                  <c:v>0.90976750767758685</c:v>
                </c:pt>
                <c:pt idx="12">
                  <c:v>0.93468955258578434</c:v>
                </c:pt>
                <c:pt idx="13">
                  <c:v>0.95350883547193932</c:v>
                </c:pt>
                <c:pt idx="14">
                  <c:v>0.9694283517881801</c:v>
                </c:pt>
                <c:pt idx="15">
                  <c:v>0.98157266852085523</c:v>
                </c:pt>
                <c:pt idx="16">
                  <c:v>0.98885970778843391</c:v>
                </c:pt>
                <c:pt idx="17">
                  <c:v>0.99569078066275729</c:v>
                </c:pt>
                <c:pt idx="1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0</c:f>
              <c:strCache>
                <c:ptCount val="19"/>
                <c:pt idx="0">
                  <c:v>Boursin Classique Fromage Frais A Tartiner Afh 1X160Gr 10P</c:v>
                </c:pt>
                <c:pt idx="1">
                  <c:v>Boursin Classique Fromage Frais A Tartiner Afh Boite 1X250Gr 1P</c:v>
                </c:pt>
                <c:pt idx="2">
                  <c:v>Boursin Salade &amp; Aperitif Fromage Frais Des Afh 1X120Gr 1P</c:v>
                </c:pt>
                <c:pt idx="3">
                  <c:v>Boursin Classique Fromage Frais A Tartiner Afh Boite 1X150Gr 1P</c:v>
                </c:pt>
                <c:pt idx="4">
                  <c:v>Boursin Classique Fromage Frais A Tartiner Afh Boite 1X96Gr 6P</c:v>
                </c:pt>
                <c:pt idx="5">
                  <c:v>Boursin Salade &amp; Aperitif Fromage Frais Des Ciboulette Echalote 1X120Gr 1P</c:v>
                </c:pt>
                <c:pt idx="6">
                  <c:v>Boursin Salade &amp; Aperitif Fromage Frais Des Figue Noix 1X120Gr 1P</c:v>
                </c:pt>
                <c:pt idx="7">
                  <c:v>Boursin Classique Fromage Frais A Tartiner Figue Et 3 Noix Boite 1X150Gr 1P</c:v>
                </c:pt>
                <c:pt idx="8">
                  <c:v>Boursin Onctueux Fromage Frais A Tartiner Afh 1X125Gr 1P</c:v>
                </c:pt>
                <c:pt idx="9">
                  <c:v>Boursin Classique Fromage Frais A Tartiner Ciboulette &amp; Echalote Boite 1X150Gr 1P</c:v>
                </c:pt>
                <c:pt idx="10">
                  <c:v>Boursin Classique Fromage Frais A Tartiner Poivre Boite 1X150Gr 1P</c:v>
                </c:pt>
                <c:pt idx="11">
                  <c:v>Boursin Salade &amp; Aperitif Soft Cheese Salade 120G</c:v>
                </c:pt>
                <c:pt idx="12">
                  <c:v>Boursin Salade &amp; Aperitif Fromage Frais Des Citron Romarin 1X120Gr 1P</c:v>
                </c:pt>
                <c:pt idx="13">
                  <c:v>Boursin Classique Fromage Frais A Tartiner Afh 1X256Gr 16P</c:v>
                </c:pt>
                <c:pt idx="14">
                  <c:v>Boursin Classique Fromage Frais A Tartiner Afh Boite 1X320Gr 16+4P</c:v>
                </c:pt>
                <c:pt idx="15">
                  <c:v>Boursin Classique Fromage Frais A Tartiner Afh Boite 1X80Gr 1P</c:v>
                </c:pt>
                <c:pt idx="16">
                  <c:v>Boursin Onctueux Fromage Frais A Tartiner Afh 1X210Gr 1P</c:v>
                </c:pt>
                <c:pt idx="17">
                  <c:v>Boursin Classique Fromage Frais A Tartiner 3 Noix Boite 1X150Gr 1P</c:v>
                </c:pt>
                <c:pt idx="18">
                  <c:v>Boursin Classique Fromage Frais A Tartiner 3 Noix 1X160Gr 10P</c:v>
                </c:pt>
              </c:strCache>
            </c:strRef>
          </c:cat>
          <c:val>
            <c:numRef>
              <c:f>Sheet1!$D$2:$D$20</c:f>
              <c:numCache>
                <c:formatCode>General</c:formatCode>
                <c:ptCount val="19"/>
                <c:pt idx="0">
                  <c:v>3178.1</c:v>
                </c:pt>
                <c:pt idx="1">
                  <c:v>2485.17</c:v>
                </c:pt>
                <c:pt idx="2">
                  <c:v>2202.34</c:v>
                </c:pt>
                <c:pt idx="3">
                  <c:v>2173.81</c:v>
                </c:pt>
                <c:pt idx="4">
                  <c:v>1073.17</c:v>
                </c:pt>
                <c:pt idx="5">
                  <c:v>1044.9292929292928</c:v>
                </c:pt>
                <c:pt idx="6">
                  <c:v>790.64646464646466</c:v>
                </c:pt>
                <c:pt idx="7">
                  <c:v>805.01063829787233</c:v>
                </c:pt>
                <c:pt idx="8">
                  <c:v>745.38383838383834</c:v>
                </c:pt>
                <c:pt idx="9">
                  <c:v>746.80412371134025</c:v>
                </c:pt>
                <c:pt idx="10">
                  <c:v>641.88636363636363</c:v>
                </c:pt>
                <c:pt idx="11">
                  <c:v>518.86170212765956</c:v>
                </c:pt>
                <c:pt idx="12">
                  <c:v>477.22580645161293</c:v>
                </c:pt>
                <c:pt idx="13">
                  <c:v>632.33962264150944</c:v>
                </c:pt>
                <c:pt idx="14">
                  <c:v>333.52941176470586</c:v>
                </c:pt>
                <c:pt idx="15">
                  <c:v>280.87012987012986</c:v>
                </c:pt>
                <c:pt idx="16">
                  <c:v>219.94915254237287</c:v>
                </c:pt>
                <c:pt idx="17">
                  <c:v>181.56716417910448</c:v>
                </c:pt>
                <c:pt idx="18">
                  <c:v>156.6122448979591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St Moret</c:v>
                </c:pt>
                <c:pt idx="4">
                  <c:v>Private Label</c:v>
                </c:pt>
                <c:pt idx="5">
                  <c:v>O'Tapas Apero</c:v>
                </c:pt>
                <c:pt idx="6">
                  <c:v>Leerdammer</c:v>
                </c:pt>
                <c:pt idx="7">
                  <c:v>Others</c:v>
                </c:pt>
              </c:strCache>
            </c:strRef>
          </c:cat>
          <c:val>
            <c:numRef>
              <c:f>Sheet1!$B$2:$B$9</c:f>
              <c:numCache>
                <c:formatCode>General</c:formatCode>
                <c:ptCount val="8"/>
                <c:pt idx="0">
                  <c:v>0.63013002925318373</c:v>
                </c:pt>
                <c:pt idx="1">
                  <c:v>0.13881481717580454</c:v>
                </c:pt>
                <c:pt idx="2">
                  <c:v>8.1473468004535393E-2</c:v>
                </c:pt>
                <c:pt idx="3">
                  <c:v>3.8807223816150704E-2</c:v>
                </c:pt>
                <c:pt idx="4">
                  <c:v>3.740174919133063E-2</c:v>
                </c:pt>
                <c:pt idx="5">
                  <c:v>1.8356946963195172E-2</c:v>
                </c:pt>
                <c:pt idx="6">
                  <c:v>1.1689086607891563E-2</c:v>
                </c:pt>
                <c:pt idx="7">
                  <c:v>4.332667898790827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St Moret</c:v>
                </c:pt>
                <c:pt idx="4">
                  <c:v>Private Label</c:v>
                </c:pt>
                <c:pt idx="5">
                  <c:v>O'Tapas Apero</c:v>
                </c:pt>
                <c:pt idx="6">
                  <c:v>Leerdammer</c:v>
                </c:pt>
                <c:pt idx="7">
                  <c:v>Others</c:v>
                </c:pt>
              </c:strCache>
            </c:strRef>
          </c:cat>
          <c:val>
            <c:numRef>
              <c:f>Sheet1!$C$2:$C$9</c:f>
              <c:numCache>
                <c:formatCode>General</c:formatCode>
                <c:ptCount val="8"/>
                <c:pt idx="0">
                  <c:v>0.45616013532562738</c:v>
                </c:pt>
                <c:pt idx="1">
                  <c:v>0.19904144347335781</c:v>
                </c:pt>
                <c:pt idx="2">
                  <c:v>6.8790527206089677E-2</c:v>
                </c:pt>
                <c:pt idx="3">
                  <c:v>7.1609811107978594E-2</c:v>
                </c:pt>
                <c:pt idx="4">
                  <c:v>0</c:v>
                </c:pt>
                <c:pt idx="5">
                  <c:v>4.0597688187200456E-2</c:v>
                </c:pt>
                <c:pt idx="6">
                  <c:v>2.7065125458133641E-2</c:v>
                </c:pt>
                <c:pt idx="7">
                  <c:v>0.1367352692416126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St Moret</c:v>
                </c:pt>
                <c:pt idx="4">
                  <c:v>Private Label</c:v>
                </c:pt>
                <c:pt idx="5">
                  <c:v>O'Tapas Apero</c:v>
                </c:pt>
                <c:pt idx="6">
                  <c:v>Leerdammer</c:v>
                </c:pt>
                <c:pt idx="7">
                  <c:v>Others</c:v>
                </c:pt>
              </c:strCache>
            </c:strRef>
          </c:cat>
          <c:val>
            <c:numRef>
              <c:f>Sheet1!$D$2:$D$9</c:f>
              <c:numCache>
                <c:formatCode>General</c:formatCode>
                <c:ptCount val="8"/>
                <c:pt idx="0">
                  <c:v>72.39142941120555</c:v>
                </c:pt>
                <c:pt idx="1">
                  <c:v>143.38630956180864</c:v>
                </c:pt>
                <c:pt idx="2">
                  <c:v>84.433041689424954</c:v>
                </c:pt>
                <c:pt idx="3">
                  <c:v>184.52701344272967</c:v>
                </c:pt>
                <c:pt idx="4">
                  <c:v>1</c:v>
                </c:pt>
                <c:pt idx="5">
                  <c:v>221.15708166830211</c:v>
                </c:pt>
                <c:pt idx="6">
                  <c:v>231.54183355833271</c:v>
                </c:pt>
                <c:pt idx="7">
                  <c:v>315.591391806819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25Gr 1P</c:v>
                </c:pt>
                <c:pt idx="8">
                  <c:v>Kiri Delicieusement Fouette Fromage Frais A Tartiner 1X210Gr 1P</c:v>
                </c:pt>
                <c:pt idx="9">
                  <c:v>Kiri Delicieusement Fouette Fromage Frais A Tartiner 1X160Gr 10P</c:v>
                </c:pt>
                <c:pt idx="10">
                  <c:v>Kiri Chevre Fromage Blanc Frais Carre 1X144Gr 8P</c:v>
                </c:pt>
              </c:strCache>
            </c:strRef>
          </c:cat>
          <c:val>
            <c:numRef>
              <c:f>Sheet1!$B$2:$B$12</c:f>
              <c:numCache>
                <c:formatCode>General</c:formatCode>
                <c:ptCount val="11"/>
                <c:pt idx="0">
                  <c:v>0.84</c:v>
                </c:pt>
                <c:pt idx="1">
                  <c:v>0.97</c:v>
                </c:pt>
                <c:pt idx="2">
                  <c:v>0.99</c:v>
                </c:pt>
                <c:pt idx="3">
                  <c:v>0.99</c:v>
                </c:pt>
                <c:pt idx="4">
                  <c:v>0.72</c:v>
                </c:pt>
                <c:pt idx="5">
                  <c:v>0.71</c:v>
                </c:pt>
                <c:pt idx="6">
                  <c:v>0.39</c:v>
                </c:pt>
                <c:pt idx="7">
                  <c:v>0.56999999999999995</c:v>
                </c:pt>
                <c:pt idx="8">
                  <c:v>0.47</c:v>
                </c:pt>
                <c:pt idx="9">
                  <c:v>0.33</c:v>
                </c:pt>
                <c:pt idx="1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25Gr 1P</c:v>
                </c:pt>
                <c:pt idx="8">
                  <c:v>Kiri Delicieusement Fouette Fromage Frais A Tartiner 1X210Gr 1P</c:v>
                </c:pt>
                <c:pt idx="9">
                  <c:v>Kiri Delicieusement Fouette Fromage Frais A Tartiner 1X160Gr 10P</c:v>
                </c:pt>
                <c:pt idx="10">
                  <c:v>Kiri Chevre Fromage Blanc Frais Carre 1X144Gr 8P</c:v>
                </c:pt>
              </c:strCache>
            </c:strRef>
          </c:cat>
          <c:val>
            <c:numRef>
              <c:f>Sheet1!$C$2:$C$12</c:f>
              <c:numCache>
                <c:formatCode>General</c:formatCode>
                <c:ptCount val="11"/>
                <c:pt idx="0">
                  <c:v>0.22686954102863513</c:v>
                </c:pt>
                <c:pt idx="1">
                  <c:v>0.43867981524529664</c:v>
                </c:pt>
                <c:pt idx="2">
                  <c:v>0.59913186062259838</c:v>
                </c:pt>
                <c:pt idx="3">
                  <c:v>0.7586347320537481</c:v>
                </c:pt>
                <c:pt idx="4">
                  <c:v>0.86199031390097636</c:v>
                </c:pt>
                <c:pt idx="5">
                  <c:v>0.93721157786542808</c:v>
                </c:pt>
                <c:pt idx="6">
                  <c:v>0.9580846636422673</c:v>
                </c:pt>
                <c:pt idx="7">
                  <c:v>0.97790162629592314</c:v>
                </c:pt>
                <c:pt idx="8">
                  <c:v>0.99759929948289039</c:v>
                </c:pt>
                <c:pt idx="9">
                  <c:v>0.99938452805333466</c:v>
                </c:pt>
                <c:pt idx="1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25Gr 1P</c:v>
                </c:pt>
                <c:pt idx="8">
                  <c:v>Kiri Delicieusement Fouette Fromage Frais A Tartiner 1X210Gr 1P</c:v>
                </c:pt>
                <c:pt idx="9">
                  <c:v>Kiri Delicieusement Fouette Fromage Frais A Tartiner 1X160Gr 10P</c:v>
                </c:pt>
                <c:pt idx="10">
                  <c:v>Kiri Chevre Fromage Blanc Frais Carre 1X144Gr 8P</c:v>
                </c:pt>
              </c:strCache>
            </c:strRef>
          </c:cat>
          <c:val>
            <c:numRef>
              <c:f>Sheet1!$D$2:$D$12</c:f>
              <c:numCache>
                <c:formatCode>General</c:formatCode>
                <c:ptCount val="11"/>
                <c:pt idx="0">
                  <c:v>5252.7023809523807</c:v>
                </c:pt>
                <c:pt idx="1">
                  <c:v>4246.7938144329901</c:v>
                </c:pt>
                <c:pt idx="2">
                  <c:v>3152.0707070707072</c:v>
                </c:pt>
                <c:pt idx="3">
                  <c:v>3133.4242424242425</c:v>
                </c:pt>
                <c:pt idx="4">
                  <c:v>2791.8194444444443</c:v>
                </c:pt>
                <c:pt idx="5">
                  <c:v>2060.4788732394368</c:v>
                </c:pt>
                <c:pt idx="6">
                  <c:v>1040.8974358974358</c:v>
                </c:pt>
                <c:pt idx="7">
                  <c:v>676.1578947368422</c:v>
                </c:pt>
                <c:pt idx="8">
                  <c:v>815.08510638297878</c:v>
                </c:pt>
                <c:pt idx="9">
                  <c:v>105.21212121212122</c:v>
                </c:pt>
                <c:pt idx="10">
                  <c:v>3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Allegee Fromage Fondu Boite Ronde Allege 1X267Gr 16P</c:v>
                </c:pt>
                <c:pt idx="7">
                  <c:v>La Vache Qui Rit Bio Fromage Fondu Boite Ronde 1X128Gr 8P</c:v>
                </c:pt>
              </c:strCache>
            </c:strRef>
          </c:cat>
          <c:val>
            <c:numRef>
              <c:f>Sheet1!$B$2:$B$9</c:f>
              <c:numCache>
                <c:formatCode>General</c:formatCode>
                <c:ptCount val="8"/>
                <c:pt idx="0">
                  <c:v>0.95</c:v>
                </c:pt>
                <c:pt idx="1">
                  <c:v>0.91</c:v>
                </c:pt>
                <c:pt idx="2">
                  <c:v>0.99</c:v>
                </c:pt>
                <c:pt idx="3">
                  <c:v>0.78</c:v>
                </c:pt>
                <c:pt idx="4">
                  <c:v>0.97</c:v>
                </c:pt>
                <c:pt idx="5">
                  <c:v>0.64</c:v>
                </c:pt>
                <c:pt idx="6">
                  <c:v>0.27</c:v>
                </c:pt>
                <c:pt idx="7">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Allegee Fromage Fondu Boite Ronde Allege 1X267Gr 16P</c:v>
                </c:pt>
                <c:pt idx="7">
                  <c:v>La Vache Qui Rit Bio Fromage Fondu Boite Ronde 1X128Gr 8P</c:v>
                </c:pt>
              </c:strCache>
            </c:strRef>
          </c:cat>
          <c:val>
            <c:numRef>
              <c:f>Sheet1!$C$2:$C$9</c:f>
              <c:numCache>
                <c:formatCode>General</c:formatCode>
                <c:ptCount val="8"/>
                <c:pt idx="0">
                  <c:v>0.25837049228251813</c:v>
                </c:pt>
                <c:pt idx="1">
                  <c:v>0.48705938408211225</c:v>
                </c:pt>
                <c:pt idx="2">
                  <c:v>0.69786404855056361</c:v>
                </c:pt>
                <c:pt idx="3">
                  <c:v>0.84229134514446891</c:v>
                </c:pt>
                <c:pt idx="4">
                  <c:v>0.91882169589078</c:v>
                </c:pt>
                <c:pt idx="5">
                  <c:v>0.98704989265192433</c:v>
                </c:pt>
                <c:pt idx="6">
                  <c:v>0.99892272267369764</c:v>
                </c:pt>
                <c:pt idx="7">
                  <c:v>0.999765087102854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Allegee Fromage Fondu Boite Ronde Allege 1X267Gr 16P</c:v>
                </c:pt>
                <c:pt idx="7">
                  <c:v>La Vache Qui Rit Bio Fromage Fondu Boite Ronde 1X128Gr 8P</c:v>
                </c:pt>
              </c:strCache>
            </c:strRef>
          </c:cat>
          <c:val>
            <c:numRef>
              <c:f>Sheet1!$D$2:$D$9</c:f>
              <c:numCache>
                <c:formatCode>General</c:formatCode>
                <c:ptCount val="8"/>
                <c:pt idx="0">
                  <c:v>5730.8315789473681</c:v>
                </c:pt>
                <c:pt idx="1">
                  <c:v>5295.4395604395604</c:v>
                </c:pt>
                <c:pt idx="2">
                  <c:v>4486.8686868686873</c:v>
                </c:pt>
                <c:pt idx="3">
                  <c:v>3901.6923076923076</c:v>
                </c:pt>
                <c:pt idx="4">
                  <c:v>1662.4948453608247</c:v>
                </c:pt>
                <c:pt idx="5">
                  <c:v>2246.375</c:v>
                </c:pt>
                <c:pt idx="6">
                  <c:v>926.59259259259261</c:v>
                </c:pt>
                <c:pt idx="7">
                  <c:v>110.9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Boursin Salade &amp; Aperitif Fromage Frais Des Afh 1X120Gr 1P</c:v>
                </c:pt>
                <c:pt idx="1">
                  <c:v>Boursin Classique Fromage Frais A Tartiner Afh 1X160Gr 10P</c:v>
                </c:pt>
                <c:pt idx="2">
                  <c:v>Boursin Classique Fromage Frais A Tartiner Afh Boite 1X150Gr 1P</c:v>
                </c:pt>
                <c:pt idx="3">
                  <c:v>Boursin Classique Fromage Frais A Tartiner Afh Boite 1X250Gr 1P</c:v>
                </c:pt>
                <c:pt idx="4">
                  <c:v>Boursin Classique Fromage Frais A Tartiner Afh Boite 1X96Gr 6P</c:v>
                </c:pt>
                <c:pt idx="5">
                  <c:v>Boursin Onctueux Fromage Frais A Tartiner Afh 1X125Gr 1P</c:v>
                </c:pt>
                <c:pt idx="6">
                  <c:v>Boursin Salade &amp; Aperitif Fromage Frais Des Figue Noix 1X120Gr 1P</c:v>
                </c:pt>
                <c:pt idx="7">
                  <c:v>Boursin Classique Fromage Frais A Tartiner Ciboulette &amp; Echalote Boite 1X150Gr 1P</c:v>
                </c:pt>
                <c:pt idx="8">
                  <c:v>Boursin Salade &amp; Aperitif Fromage Frais Des Ciboulette Echalote 1X120Gr 1P</c:v>
                </c:pt>
                <c:pt idx="9">
                  <c:v>Boursin Classique Fromage Frais A Tartiner Figue Et 3 Noix Boite 1X150Gr 1P</c:v>
                </c:pt>
                <c:pt idx="10">
                  <c:v>Boursin Salade &amp; Aperitif Soft Cheese Salade 120G</c:v>
                </c:pt>
                <c:pt idx="11">
                  <c:v>Boursin Salade &amp; Aperitif Fromage Frais Des Citron Romarin 1X120Gr 1P</c:v>
                </c:pt>
                <c:pt idx="12">
                  <c:v>Boursin Classique Fromage Frais A Tartiner 3 Noix Boite 1X150Gr 1P</c:v>
                </c:pt>
                <c:pt idx="13">
                  <c:v>Boursin Classique Fromage Frais A Tartiner 3 Noix 1X160Gr 10P</c:v>
                </c:pt>
                <c:pt idx="14">
                  <c:v>Boursin Onctueux Fromage Frais A Tartiner Afh 1X210Gr 1P</c:v>
                </c:pt>
                <c:pt idx="15">
                  <c:v>Boursin Salade &amp; Aperitif Fromage Frais Des Noisette Et 3 Noix 1X120Gr 1P</c:v>
                </c:pt>
              </c:strCache>
            </c:strRef>
          </c:cat>
          <c:val>
            <c:numRef>
              <c:f>Sheet1!$B$2:$B$17</c:f>
              <c:numCache>
                <c:formatCode>General</c:formatCode>
                <c:ptCount val="16"/>
                <c:pt idx="0">
                  <c:v>0.99</c:v>
                </c:pt>
                <c:pt idx="1">
                  <c:v>0.97</c:v>
                </c:pt>
                <c:pt idx="2">
                  <c:v>0.99</c:v>
                </c:pt>
                <c:pt idx="3">
                  <c:v>0.92</c:v>
                </c:pt>
                <c:pt idx="4">
                  <c:v>0.89</c:v>
                </c:pt>
                <c:pt idx="5">
                  <c:v>0.83</c:v>
                </c:pt>
                <c:pt idx="6">
                  <c:v>0.91</c:v>
                </c:pt>
                <c:pt idx="7">
                  <c:v>0.88</c:v>
                </c:pt>
                <c:pt idx="8">
                  <c:v>0.84</c:v>
                </c:pt>
                <c:pt idx="9">
                  <c:v>0.65</c:v>
                </c:pt>
                <c:pt idx="10">
                  <c:v>0.71</c:v>
                </c:pt>
                <c:pt idx="11">
                  <c:v>0.72</c:v>
                </c:pt>
                <c:pt idx="12">
                  <c:v>0.1</c:v>
                </c:pt>
                <c:pt idx="13">
                  <c:v>0.05</c:v>
                </c:pt>
                <c:pt idx="14">
                  <c:v>0.02</c:v>
                </c:pt>
                <c:pt idx="15">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Boursin Salade &amp; Aperitif Fromage Frais Des Afh 1X120Gr 1P</c:v>
                </c:pt>
                <c:pt idx="1">
                  <c:v>Boursin Classique Fromage Frais A Tartiner Afh 1X160Gr 10P</c:v>
                </c:pt>
                <c:pt idx="2">
                  <c:v>Boursin Classique Fromage Frais A Tartiner Afh Boite 1X150Gr 1P</c:v>
                </c:pt>
                <c:pt idx="3">
                  <c:v>Boursin Classique Fromage Frais A Tartiner Afh Boite 1X250Gr 1P</c:v>
                </c:pt>
                <c:pt idx="4">
                  <c:v>Boursin Classique Fromage Frais A Tartiner Afh Boite 1X96Gr 6P</c:v>
                </c:pt>
                <c:pt idx="5">
                  <c:v>Boursin Onctueux Fromage Frais A Tartiner Afh 1X125Gr 1P</c:v>
                </c:pt>
                <c:pt idx="6">
                  <c:v>Boursin Salade &amp; Aperitif Fromage Frais Des Figue Noix 1X120Gr 1P</c:v>
                </c:pt>
                <c:pt idx="7">
                  <c:v>Boursin Classique Fromage Frais A Tartiner Ciboulette &amp; Echalote Boite 1X150Gr 1P</c:v>
                </c:pt>
                <c:pt idx="8">
                  <c:v>Boursin Salade &amp; Aperitif Fromage Frais Des Ciboulette Echalote 1X120Gr 1P</c:v>
                </c:pt>
                <c:pt idx="9">
                  <c:v>Boursin Classique Fromage Frais A Tartiner Figue Et 3 Noix Boite 1X150Gr 1P</c:v>
                </c:pt>
                <c:pt idx="10">
                  <c:v>Boursin Salade &amp; Aperitif Soft Cheese Salade 120G</c:v>
                </c:pt>
                <c:pt idx="11">
                  <c:v>Boursin Salade &amp; Aperitif Fromage Frais Des Citron Romarin 1X120Gr 1P</c:v>
                </c:pt>
                <c:pt idx="12">
                  <c:v>Boursin Classique Fromage Frais A Tartiner 3 Noix Boite 1X150Gr 1P</c:v>
                </c:pt>
                <c:pt idx="13">
                  <c:v>Boursin Classique Fromage Frais A Tartiner 3 Noix 1X160Gr 10P</c:v>
                </c:pt>
                <c:pt idx="14">
                  <c:v>Boursin Onctueux Fromage Frais A Tartiner Afh 1X210Gr 1P</c:v>
                </c:pt>
                <c:pt idx="15">
                  <c:v>Boursin Salade &amp; Aperitif Fromage Frais Des Noisette Et 3 Noix 1X120Gr 1P</c:v>
                </c:pt>
              </c:strCache>
            </c:strRef>
          </c:cat>
          <c:val>
            <c:numRef>
              <c:f>Sheet1!$C$2:$C$17</c:f>
              <c:numCache>
                <c:formatCode>General</c:formatCode>
                <c:ptCount val="16"/>
                <c:pt idx="0">
                  <c:v>0.17012587438316035</c:v>
                </c:pt>
                <c:pt idx="1">
                  <c:v>0.33835409011262929</c:v>
                </c:pt>
                <c:pt idx="2">
                  <c:v>0.48844158591605003</c:v>
                </c:pt>
                <c:pt idx="3">
                  <c:v>0.6258318424937569</c:v>
                </c:pt>
                <c:pt idx="4">
                  <c:v>0.69692017071454526</c:v>
                </c:pt>
                <c:pt idx="5">
                  <c:v>0.75627934731119995</c:v>
                </c:pt>
                <c:pt idx="6">
                  <c:v>0.81545686376409021</c:v>
                </c:pt>
                <c:pt idx="7">
                  <c:v>0.86153760364975929</c:v>
                </c:pt>
                <c:pt idx="8">
                  <c:v>0.89787883038461369</c:v>
                </c:pt>
                <c:pt idx="9">
                  <c:v>0.93147503437745771</c:v>
                </c:pt>
                <c:pt idx="10">
                  <c:v>0.96376225056222675</c:v>
                </c:pt>
                <c:pt idx="11">
                  <c:v>0.99547574262206884</c:v>
                </c:pt>
                <c:pt idx="12">
                  <c:v>0.99774132055427056</c:v>
                </c:pt>
                <c:pt idx="13">
                  <c:v>0.99922851926287393</c:v>
                </c:pt>
                <c:pt idx="14">
                  <c:v>0.99984018506339734</c:v>
                </c:pt>
                <c:pt idx="15">
                  <c:v>0.9999580342072951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7</c:f>
              <c:strCache>
                <c:ptCount val="16"/>
                <c:pt idx="0">
                  <c:v>Boursin Salade &amp; Aperitif Fromage Frais Des Afh 1X120Gr 1P</c:v>
                </c:pt>
                <c:pt idx="1">
                  <c:v>Boursin Classique Fromage Frais A Tartiner Afh 1X160Gr 10P</c:v>
                </c:pt>
                <c:pt idx="2">
                  <c:v>Boursin Classique Fromage Frais A Tartiner Afh Boite 1X150Gr 1P</c:v>
                </c:pt>
                <c:pt idx="3">
                  <c:v>Boursin Classique Fromage Frais A Tartiner Afh Boite 1X250Gr 1P</c:v>
                </c:pt>
                <c:pt idx="4">
                  <c:v>Boursin Classique Fromage Frais A Tartiner Afh Boite 1X96Gr 6P</c:v>
                </c:pt>
                <c:pt idx="5">
                  <c:v>Boursin Onctueux Fromage Frais A Tartiner Afh 1X125Gr 1P</c:v>
                </c:pt>
                <c:pt idx="6">
                  <c:v>Boursin Salade &amp; Aperitif Fromage Frais Des Figue Noix 1X120Gr 1P</c:v>
                </c:pt>
                <c:pt idx="7">
                  <c:v>Boursin Classique Fromage Frais A Tartiner Ciboulette &amp; Echalote Boite 1X150Gr 1P</c:v>
                </c:pt>
                <c:pt idx="8">
                  <c:v>Boursin Salade &amp; Aperitif Fromage Frais Des Ciboulette Echalote 1X120Gr 1P</c:v>
                </c:pt>
                <c:pt idx="9">
                  <c:v>Boursin Classique Fromage Frais A Tartiner Figue Et 3 Noix Boite 1X150Gr 1P</c:v>
                </c:pt>
                <c:pt idx="10">
                  <c:v>Boursin Salade &amp; Aperitif Soft Cheese Salade 120G</c:v>
                </c:pt>
                <c:pt idx="11">
                  <c:v>Boursin Salade &amp; Aperitif Fromage Frais Des Citron Romarin 1X120Gr 1P</c:v>
                </c:pt>
                <c:pt idx="12">
                  <c:v>Boursin Classique Fromage Frais A Tartiner 3 Noix Boite 1X150Gr 1P</c:v>
                </c:pt>
                <c:pt idx="13">
                  <c:v>Boursin Classique Fromage Frais A Tartiner 3 Noix 1X160Gr 10P</c:v>
                </c:pt>
                <c:pt idx="14">
                  <c:v>Boursin Onctueux Fromage Frais A Tartiner Afh 1X210Gr 1P</c:v>
                </c:pt>
                <c:pt idx="15">
                  <c:v>Boursin Salade &amp; Aperitif Fromage Frais Des Noisette Et 3 Noix 1X120Gr 1P</c:v>
                </c:pt>
              </c:strCache>
            </c:strRef>
          </c:cat>
          <c:val>
            <c:numRef>
              <c:f>Sheet1!$D$2:$D$17</c:f>
              <c:numCache>
                <c:formatCode>General</c:formatCode>
                <c:ptCount val="16"/>
                <c:pt idx="0">
                  <c:v>2989.2525252525252</c:v>
                </c:pt>
                <c:pt idx="1">
                  <c:v>3016.855670103093</c:v>
                </c:pt>
                <c:pt idx="2">
                  <c:v>2637.1616161616162</c:v>
                </c:pt>
                <c:pt idx="3">
                  <c:v>2597.7391304347825</c:v>
                </c:pt>
                <c:pt idx="4">
                  <c:v>1389.4269662921349</c:v>
                </c:pt>
                <c:pt idx="5">
                  <c:v>1244.0481927710844</c:v>
                </c:pt>
                <c:pt idx="6">
                  <c:v>1131.2087912087911</c:v>
                </c:pt>
                <c:pt idx="7">
                  <c:v>910.88636363636363</c:v>
                </c:pt>
                <c:pt idx="8">
                  <c:v>752.57142857142856</c:v>
                </c:pt>
                <c:pt idx="9">
                  <c:v>899.09230769230771</c:v>
                </c:pt>
                <c:pt idx="10">
                  <c:v>791.04225352112678</c:v>
                </c:pt>
                <c:pt idx="11">
                  <c:v>766.19444444444446</c:v>
                </c:pt>
                <c:pt idx="12">
                  <c:v>394.1</c:v>
                </c:pt>
                <c:pt idx="13">
                  <c:v>517.4</c:v>
                </c:pt>
                <c:pt idx="14">
                  <c:v>532</c:v>
                </c:pt>
                <c:pt idx="15">
                  <c:v>68.3333333333333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Creme Fromage Blanc Frais Carre 1X216Gr 12P</c:v>
                </c:pt>
                <c:pt idx="4">
                  <c:v>Kiri Gouter Fromage Blanc Dips Boite 1X280Gr 8P</c:v>
                </c:pt>
                <c:pt idx="5">
                  <c:v>Kiri Delicieusement Fouette Fromage Frais A Tartiner 1X160Gr 10P</c:v>
                </c:pt>
              </c:strCache>
            </c:strRef>
          </c:cat>
          <c:val>
            <c:numRef>
              <c:f>Sheet1!$B$2:$B$7</c:f>
              <c:numCache>
                <c:formatCode>General</c:formatCode>
                <c:ptCount val="6"/>
                <c:pt idx="0">
                  <c:v>0.96</c:v>
                </c:pt>
                <c:pt idx="1">
                  <c:v>0.71</c:v>
                </c:pt>
                <c:pt idx="2">
                  <c:v>0.54</c:v>
                </c:pt>
                <c:pt idx="3">
                  <c:v>0.02</c:v>
                </c:pt>
                <c:pt idx="4">
                  <c:v>0.02</c:v>
                </c:pt>
                <c:pt idx="5">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Creme Fromage Blanc Frais Carre 1X216Gr 12P</c:v>
                </c:pt>
                <c:pt idx="4">
                  <c:v>Kiri Gouter Fromage Blanc Dips Boite 1X280Gr 8P</c:v>
                </c:pt>
                <c:pt idx="5">
                  <c:v>Kiri Delicieusement Fouette Fromage Frais A Tartiner 1X160Gr 10P</c:v>
                </c:pt>
              </c:strCache>
            </c:strRef>
          </c:cat>
          <c:val>
            <c:numRef>
              <c:f>Sheet1!$C$2:$C$7</c:f>
              <c:numCache>
                <c:formatCode>General</c:formatCode>
                <c:ptCount val="6"/>
                <c:pt idx="0">
                  <c:v>0.63355143203421749</c:v>
                </c:pt>
                <c:pt idx="1">
                  <c:v>0.90501912015236274</c:v>
                </c:pt>
                <c:pt idx="2">
                  <c:v>0.9828388884020085</c:v>
                </c:pt>
                <c:pt idx="3">
                  <c:v>0.99229850095440453</c:v>
                </c:pt>
                <c:pt idx="4">
                  <c:v>0.99802599656713653</c:v>
                </c:pt>
                <c:pt idx="5">
                  <c:v>0.9998664047487234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Creme Fromage Blanc Frais Carre 1X216Gr 12P</c:v>
                </c:pt>
                <c:pt idx="4">
                  <c:v>Kiri Gouter Fromage Blanc Dips Boite 1X280Gr 8P</c:v>
                </c:pt>
                <c:pt idx="5">
                  <c:v>Kiri Delicieusement Fouette Fromage Frais A Tartiner 1X160Gr 10P</c:v>
                </c:pt>
              </c:strCache>
            </c:strRef>
          </c:cat>
          <c:val>
            <c:numRef>
              <c:f>Sheet1!$D$2:$D$7</c:f>
              <c:numCache>
                <c:formatCode>General</c:formatCode>
                <c:ptCount val="6"/>
                <c:pt idx="0">
                  <c:v>6174.895833333333</c:v>
                </c:pt>
                <c:pt idx="1">
                  <c:v>3577.4929577464791</c:v>
                </c:pt>
                <c:pt idx="2">
                  <c:v>1348.3888888888889</c:v>
                </c:pt>
                <c:pt idx="3">
                  <c:v>4425.5</c:v>
                </c:pt>
                <c:pt idx="4">
                  <c:v>2679.5</c:v>
                </c:pt>
                <c:pt idx="5">
                  <c:v>17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Pik Et Croq' Fromage Fondu Dips Boite 1X35Gr 1P</c:v>
                </c:pt>
                <c:pt idx="5">
                  <c:v>La Vache Qui Rit Bio Fromage Fondu Boite Ronde 1X128Gr 8P</c:v>
                </c:pt>
              </c:strCache>
            </c:strRef>
          </c:cat>
          <c:val>
            <c:numRef>
              <c:f>Sheet1!$B$2:$B$7</c:f>
              <c:numCache>
                <c:formatCode>General</c:formatCode>
                <c:ptCount val="6"/>
                <c:pt idx="0">
                  <c:v>0.89</c:v>
                </c:pt>
                <c:pt idx="1">
                  <c:v>0.45</c:v>
                </c:pt>
                <c:pt idx="2">
                  <c:v>0.51</c:v>
                </c:pt>
                <c:pt idx="3">
                  <c:v>0.09</c:v>
                </c:pt>
                <c:pt idx="4">
                  <c:v>0.05</c:v>
                </c:pt>
                <c:pt idx="5">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Pik Et Croq' Fromage Fondu Dips Boite 1X35Gr 1P</c:v>
                </c:pt>
                <c:pt idx="5">
                  <c:v>La Vache Qui Rit Bio Fromage Fondu Boite Ronde 1X128Gr 8P</c:v>
                </c:pt>
              </c:strCache>
            </c:strRef>
          </c:cat>
          <c:val>
            <c:numRef>
              <c:f>Sheet1!$C$2:$C$7</c:f>
              <c:numCache>
                <c:formatCode>General</c:formatCode>
                <c:ptCount val="6"/>
                <c:pt idx="0">
                  <c:v>0.58366404502489355</c:v>
                </c:pt>
                <c:pt idx="1">
                  <c:v>0.85682567197862813</c:v>
                </c:pt>
                <c:pt idx="2">
                  <c:v>0.96880718631796836</c:v>
                </c:pt>
                <c:pt idx="3">
                  <c:v>0.99011559623297296</c:v>
                </c:pt>
                <c:pt idx="4">
                  <c:v>0.99650351170176055</c:v>
                </c:pt>
                <c:pt idx="5">
                  <c:v>0.9978927181414887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Pik Et Croq' Fromage Fondu Dips Boite 1X35Gr 1P</c:v>
                </c:pt>
                <c:pt idx="5">
                  <c:v>La Vache Qui Rit Bio Fromage Fondu Boite Ronde 1X128Gr 8P</c:v>
                </c:pt>
              </c:strCache>
            </c:strRef>
          </c:cat>
          <c:val>
            <c:numRef>
              <c:f>Sheet1!$D$2:$D$7</c:f>
              <c:numCache>
                <c:formatCode>General</c:formatCode>
                <c:ptCount val="6"/>
                <c:pt idx="0">
                  <c:v>7543.6741573033705</c:v>
                </c:pt>
                <c:pt idx="1">
                  <c:v>6982.6</c:v>
                </c:pt>
                <c:pt idx="2">
                  <c:v>2525.7254901960782</c:v>
                </c:pt>
                <c:pt idx="3">
                  <c:v>2723.4444444444443</c:v>
                </c:pt>
                <c:pt idx="4">
                  <c:v>1469.6</c:v>
                </c:pt>
                <c:pt idx="5">
                  <c:v>319.6000000000000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Classique Fromage Frais A Tartiner Afh Boite 1X150Gr 1P</c:v>
                </c:pt>
                <c:pt idx="1">
                  <c:v>Boursin Salade &amp; Aperitif Fromage Frais Des Afh 1X120Gr 1P</c:v>
                </c:pt>
                <c:pt idx="2">
                  <c:v>Boursin Classique Fromage Frais A Tartiner Afh 1X160Gr 10P</c:v>
                </c:pt>
                <c:pt idx="3">
                  <c:v>Boursin Classique Fromage Frais A Tartiner Afh Boite 1X96Gr 6P</c:v>
                </c:pt>
                <c:pt idx="4">
                  <c:v>Boursin Classique Fromage Frais A Tartiner Ciboulette &amp; Echalote Boite 1X150Gr 1P</c:v>
                </c:pt>
                <c:pt idx="5">
                  <c:v>Boursin Classique Fromage Frais A Tartiner Afh Boite 1X80Gr 1P</c:v>
                </c:pt>
              </c:strCache>
            </c:strRef>
          </c:cat>
          <c:val>
            <c:numRef>
              <c:f>Sheet1!$B$2:$B$7</c:f>
              <c:numCache>
                <c:formatCode>General</c:formatCode>
                <c:ptCount val="6"/>
                <c:pt idx="0">
                  <c:v>0.83</c:v>
                </c:pt>
                <c:pt idx="1">
                  <c:v>0.79</c:v>
                </c:pt>
                <c:pt idx="2">
                  <c:v>0.49</c:v>
                </c:pt>
                <c:pt idx="3">
                  <c:v>0.09</c:v>
                </c:pt>
                <c:pt idx="4">
                  <c:v>0.08</c:v>
                </c:pt>
                <c:pt idx="5">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Classique Fromage Frais A Tartiner Afh Boite 1X150Gr 1P</c:v>
                </c:pt>
                <c:pt idx="1">
                  <c:v>Boursin Salade &amp; Aperitif Fromage Frais Des Afh 1X120Gr 1P</c:v>
                </c:pt>
                <c:pt idx="2">
                  <c:v>Boursin Classique Fromage Frais A Tartiner Afh 1X160Gr 10P</c:v>
                </c:pt>
                <c:pt idx="3">
                  <c:v>Boursin Classique Fromage Frais A Tartiner Afh Boite 1X96Gr 6P</c:v>
                </c:pt>
                <c:pt idx="4">
                  <c:v>Boursin Classique Fromage Frais A Tartiner Ciboulette &amp; Echalote Boite 1X150Gr 1P</c:v>
                </c:pt>
                <c:pt idx="5">
                  <c:v>Boursin Classique Fromage Frais A Tartiner Afh Boite 1X80Gr 1P</c:v>
                </c:pt>
              </c:strCache>
            </c:strRef>
          </c:cat>
          <c:val>
            <c:numRef>
              <c:f>Sheet1!$C$2:$C$7</c:f>
              <c:numCache>
                <c:formatCode>General</c:formatCode>
                <c:ptCount val="6"/>
                <c:pt idx="0">
                  <c:v>0.45916175401760473</c:v>
                </c:pt>
                <c:pt idx="1">
                  <c:v>0.73318755862565921</c:v>
                </c:pt>
                <c:pt idx="2">
                  <c:v>0.95561532870747112</c:v>
                </c:pt>
                <c:pt idx="3">
                  <c:v>0.97701315078364259</c:v>
                </c:pt>
                <c:pt idx="4">
                  <c:v>0.99308232750855707</c:v>
                </c:pt>
                <c:pt idx="5">
                  <c:v>0.9998794873865536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Classique Fromage Frais A Tartiner Afh Boite 1X150Gr 1P</c:v>
                </c:pt>
                <c:pt idx="1">
                  <c:v>Boursin Salade &amp; Aperitif Fromage Frais Des Afh 1X120Gr 1P</c:v>
                </c:pt>
                <c:pt idx="2">
                  <c:v>Boursin Classique Fromage Frais A Tartiner Afh 1X160Gr 10P</c:v>
                </c:pt>
                <c:pt idx="3">
                  <c:v>Boursin Classique Fromage Frais A Tartiner Afh Boite 1X96Gr 6P</c:v>
                </c:pt>
                <c:pt idx="4">
                  <c:v>Boursin Classique Fromage Frais A Tartiner Ciboulette &amp; Echalote Boite 1X150Gr 1P</c:v>
                </c:pt>
                <c:pt idx="5">
                  <c:v>Boursin Classique Fromage Frais A Tartiner Afh Boite 1X80Gr 1P</c:v>
                </c:pt>
              </c:strCache>
            </c:strRef>
          </c:cat>
          <c:val>
            <c:numRef>
              <c:f>Sheet1!$D$2:$D$7</c:f>
              <c:numCache>
                <c:formatCode>General</c:formatCode>
                <c:ptCount val="6"/>
                <c:pt idx="0">
                  <c:v>4452.734939759036</c:v>
                </c:pt>
                <c:pt idx="1">
                  <c:v>2791.9240506329115</c:v>
                </c:pt>
                <c:pt idx="2">
                  <c:v>3653.6938775510203</c:v>
                </c:pt>
                <c:pt idx="3">
                  <c:v>1913.6666666666667</c:v>
                </c:pt>
                <c:pt idx="4">
                  <c:v>1616.75</c:v>
                </c:pt>
                <c:pt idx="5">
                  <c:v>497.363636363636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B$2:$B$11</c:f>
              <c:numCache>
                <c:formatCode>General</c:formatCode>
                <c:ptCount val="10"/>
                <c:pt idx="0">
                  <c:v>0.99</c:v>
                </c:pt>
                <c:pt idx="1">
                  <c:v>0.89</c:v>
                </c:pt>
                <c:pt idx="2">
                  <c:v>0.96</c:v>
                </c:pt>
                <c:pt idx="3">
                  <c:v>0.99</c:v>
                </c:pt>
                <c:pt idx="4">
                  <c:v>0.99</c:v>
                </c:pt>
                <c:pt idx="5">
                  <c:v>0.83</c:v>
                </c:pt>
                <c:pt idx="6">
                  <c:v>0.87</c:v>
                </c:pt>
                <c:pt idx="7">
                  <c:v>0.6</c:v>
                </c:pt>
                <c:pt idx="8">
                  <c:v>0.57999999999999996</c:v>
                </c:pt>
                <c:pt idx="9">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C$2:$C$11</c:f>
              <c:numCache>
                <c:formatCode>General</c:formatCode>
                <c:ptCount val="10"/>
                <c:pt idx="0">
                  <c:v>0.2394408105465457</c:v>
                </c:pt>
                <c:pt idx="1">
                  <c:v>0.43788282365105585</c:v>
                </c:pt>
                <c:pt idx="2">
                  <c:v>0.60867021814626243</c:v>
                </c:pt>
                <c:pt idx="3">
                  <c:v>0.74238033424368088</c:v>
                </c:pt>
                <c:pt idx="4">
                  <c:v>0.87259713184306054</c:v>
                </c:pt>
                <c:pt idx="5">
                  <c:v>0.92239679917281991</c:v>
                </c:pt>
                <c:pt idx="6">
                  <c:v>0.95929060318958825</c:v>
                </c:pt>
                <c:pt idx="7">
                  <c:v>0.9849129550333231</c:v>
                </c:pt>
                <c:pt idx="8">
                  <c:v>0.99985445676972684</c:v>
                </c:pt>
                <c:pt idx="9">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D$2:$D$11</c:f>
              <c:numCache>
                <c:formatCode>General</c:formatCode>
                <c:ptCount val="10"/>
                <c:pt idx="0">
                  <c:v>8607.9696969696961</c:v>
                </c:pt>
                <c:pt idx="1">
                  <c:v>7935.6292134831465</c:v>
                </c:pt>
                <c:pt idx="2">
                  <c:v>6331.729166666667</c:v>
                </c:pt>
                <c:pt idx="3">
                  <c:v>4806.9191919191917</c:v>
                </c:pt>
                <c:pt idx="4">
                  <c:v>4681.333333333333</c:v>
                </c:pt>
                <c:pt idx="5">
                  <c:v>2135.4337349397592</c:v>
                </c:pt>
                <c:pt idx="6">
                  <c:v>1509.2873563218391</c:v>
                </c:pt>
                <c:pt idx="7">
                  <c:v>1519.8666666666666</c:v>
                </c:pt>
                <c:pt idx="8">
                  <c:v>916.86206896551732</c:v>
                </c:pt>
                <c:pt idx="9">
                  <c:v>57.5555555555555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0.98</c:v>
                </c:pt>
                <c:pt idx="1">
                  <c:v>0.97</c:v>
                </c:pt>
                <c:pt idx="2">
                  <c:v>1</c:v>
                </c:pt>
                <c:pt idx="3">
                  <c:v>0.95</c:v>
                </c:pt>
                <c:pt idx="4">
                  <c:v>0.86</c:v>
                </c:pt>
                <c:pt idx="5">
                  <c:v>0.84</c:v>
                </c:pt>
                <c:pt idx="6">
                  <c:v>0.6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C$2:$C$8</c:f>
              <c:numCache>
                <c:formatCode>General</c:formatCode>
                <c:ptCount val="7"/>
                <c:pt idx="0">
                  <c:v>0.29845075729383741</c:v>
                </c:pt>
                <c:pt idx="1">
                  <c:v>0.56394481244417971</c:v>
                </c:pt>
                <c:pt idx="2">
                  <c:v>0.81731216507889237</c:v>
                </c:pt>
                <c:pt idx="3">
                  <c:v>0.87956283492110732</c:v>
                </c:pt>
                <c:pt idx="4">
                  <c:v>0.94042637317654043</c:v>
                </c:pt>
                <c:pt idx="5">
                  <c:v>0.97883275342363774</c:v>
                </c:pt>
                <c:pt idx="6">
                  <c:v>0.9998883596308422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c:f>
              <c:strCache>
                <c:ptCount val="7"/>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D$2:$D$8</c:f>
              <c:numCache>
                <c:formatCode>General</c:formatCode>
                <c:ptCount val="7"/>
                <c:pt idx="0">
                  <c:v>13093.826530612245</c:v>
                </c:pt>
                <c:pt idx="1">
                  <c:v>11768.01030927835</c:v>
                </c:pt>
                <c:pt idx="2">
                  <c:v>10893.58</c:v>
                </c:pt>
                <c:pt idx="3">
                  <c:v>2817.3473684210526</c:v>
                </c:pt>
                <c:pt idx="4">
                  <c:v>3042.8372093023254</c:v>
                </c:pt>
                <c:pt idx="5">
                  <c:v>1965.8214285714287</c:v>
                </c:pt>
                <c:pt idx="6">
                  <c:v>1414.5156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Salade &amp; Aperitif Fromage Frais Des Ciboulette Echalote 1X120Gr 1P</c:v>
                </c:pt>
                <c:pt idx="10">
                  <c:v>Boursin Classique Fromage Frais A Tartiner Poivre Boite 1X150Gr 1P</c:v>
                </c:pt>
                <c:pt idx="11">
                  <c:v>Boursin Classique Fromage Frais A Tartiner Ciboulette &amp; Echalote 1X160Gr 10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B$2:$B$17</c:f>
              <c:numCache>
                <c:formatCode>General</c:formatCode>
                <c:ptCount val="16"/>
                <c:pt idx="0">
                  <c:v>0.99</c:v>
                </c:pt>
                <c:pt idx="1">
                  <c:v>0.99</c:v>
                </c:pt>
                <c:pt idx="2">
                  <c:v>1</c:v>
                </c:pt>
                <c:pt idx="3">
                  <c:v>0.98</c:v>
                </c:pt>
                <c:pt idx="4">
                  <c:v>0.97</c:v>
                </c:pt>
                <c:pt idx="5">
                  <c:v>0.9</c:v>
                </c:pt>
                <c:pt idx="6">
                  <c:v>0.95</c:v>
                </c:pt>
                <c:pt idx="7">
                  <c:v>0.96</c:v>
                </c:pt>
                <c:pt idx="8">
                  <c:v>0.84</c:v>
                </c:pt>
                <c:pt idx="9">
                  <c:v>0.86</c:v>
                </c:pt>
                <c:pt idx="10">
                  <c:v>0.86</c:v>
                </c:pt>
                <c:pt idx="11">
                  <c:v>0.83</c:v>
                </c:pt>
                <c:pt idx="12">
                  <c:v>0.51</c:v>
                </c:pt>
                <c:pt idx="13">
                  <c:v>0.67</c:v>
                </c:pt>
                <c:pt idx="14">
                  <c:v>0.4</c:v>
                </c:pt>
                <c:pt idx="15">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Salade &amp; Aperitif Fromage Frais Des Ciboulette Echalote 1X120Gr 1P</c:v>
                </c:pt>
                <c:pt idx="10">
                  <c:v>Boursin Classique Fromage Frais A Tartiner Poivre Boite 1X150Gr 1P</c:v>
                </c:pt>
                <c:pt idx="11">
                  <c:v>Boursin Classique Fromage Frais A Tartiner Ciboulette &amp; Echalote 1X160Gr 10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C$2:$C$17</c:f>
              <c:numCache>
                <c:formatCode>General</c:formatCode>
                <c:ptCount val="16"/>
                <c:pt idx="0">
                  <c:v>0.17331904430255582</c:v>
                </c:pt>
                <c:pt idx="1">
                  <c:v>0.33394302968508049</c:v>
                </c:pt>
                <c:pt idx="2">
                  <c:v>0.4696819442054827</c:v>
                </c:pt>
                <c:pt idx="3">
                  <c:v>0.57450823788442773</c:v>
                </c:pt>
                <c:pt idx="4">
                  <c:v>0.64938629332341224</c:v>
                </c:pt>
                <c:pt idx="5">
                  <c:v>0.70603885084194595</c:v>
                </c:pt>
                <c:pt idx="6">
                  <c:v>0.76037758848480186</c:v>
                </c:pt>
                <c:pt idx="7">
                  <c:v>0.80932048167069914</c:v>
                </c:pt>
                <c:pt idx="8">
                  <c:v>0.84774881102862598</c:v>
                </c:pt>
                <c:pt idx="9">
                  <c:v>0.8861019071157975</c:v>
                </c:pt>
                <c:pt idx="10">
                  <c:v>0.92432104353943001</c:v>
                </c:pt>
                <c:pt idx="11">
                  <c:v>0.95633264152584485</c:v>
                </c:pt>
                <c:pt idx="12">
                  <c:v>0.97425307964378138</c:v>
                </c:pt>
                <c:pt idx="13">
                  <c:v>0.98872008842607539</c:v>
                </c:pt>
                <c:pt idx="14">
                  <c:v>0.99989968897232606</c:v>
                </c:pt>
                <c:pt idx="15">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7</c:f>
              <c:strCache>
                <c:ptCount val="16"/>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Salade &amp; Aperitif Fromage Frais Des Ciboulette Echalote 1X120Gr 1P</c:v>
                </c:pt>
                <c:pt idx="10">
                  <c:v>Boursin Classique Fromage Frais A Tartiner Poivre Boite 1X150Gr 1P</c:v>
                </c:pt>
                <c:pt idx="11">
                  <c:v>Boursin Classique Fromage Frais A Tartiner Ciboulette &amp; Echalote 1X160Gr 10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D$2:$D$17</c:f>
              <c:numCache>
                <c:formatCode>General</c:formatCode>
                <c:ptCount val="16"/>
                <c:pt idx="0">
                  <c:v>5515.0505050505053</c:v>
                </c:pt>
                <c:pt idx="1">
                  <c:v>5111.090909090909</c:v>
                </c:pt>
                <c:pt idx="2">
                  <c:v>4276.05</c:v>
                </c:pt>
                <c:pt idx="3">
                  <c:v>3369.6326530612246</c:v>
                </c:pt>
                <c:pt idx="4">
                  <c:v>2431.7628865979382</c:v>
                </c:pt>
                <c:pt idx="5">
                  <c:v>1982.9666666666667</c:v>
                </c:pt>
                <c:pt idx="6">
                  <c:v>1801.8736842105263</c:v>
                </c:pt>
                <c:pt idx="7">
                  <c:v>1606.0416666666667</c:v>
                </c:pt>
                <c:pt idx="8">
                  <c:v>1441.1547619047619</c:v>
                </c:pt>
                <c:pt idx="9">
                  <c:v>1404.8837209302326</c:v>
                </c:pt>
                <c:pt idx="10">
                  <c:v>1399.9767441860465</c:v>
                </c:pt>
                <c:pt idx="11">
                  <c:v>1214.9759036144578</c:v>
                </c:pt>
                <c:pt idx="12">
                  <c:v>1106.9215686274511</c:v>
                </c:pt>
                <c:pt idx="13">
                  <c:v>680.20895522388059</c:v>
                </c:pt>
                <c:pt idx="14">
                  <c:v>880.45</c:v>
                </c:pt>
                <c:pt idx="15">
                  <c:v>52.6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Kiri Creme Fromage Blanc Frais Carre 1X432Gr 24P</c:v>
                </c:pt>
                <c:pt idx="1">
                  <c:v>Kiri Creme Fromage Blanc Frais Carre 1X216Gr 12P</c:v>
                </c:pt>
                <c:pt idx="2">
                  <c:v>Kiri Gouter Fromage Blanc Dips Boite 1X280Gr 8P</c:v>
                </c:pt>
                <c:pt idx="3">
                  <c:v>Kiri Gouter Fromage Blanc Dips Boite 1X175Gr 5P</c:v>
                </c:pt>
                <c:pt idx="4">
                  <c:v>Kiri Creme Fromage Blanc Frais Carre 1X144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B$2:$B$11</c:f>
              <c:numCache>
                <c:formatCode>General</c:formatCode>
                <c:ptCount val="10"/>
                <c:pt idx="0">
                  <c:v>0.99</c:v>
                </c:pt>
                <c:pt idx="1">
                  <c:v>0.99</c:v>
                </c:pt>
                <c:pt idx="2">
                  <c:v>0.99</c:v>
                </c:pt>
                <c:pt idx="3">
                  <c:v>0.99</c:v>
                </c:pt>
                <c:pt idx="4">
                  <c:v>0.99</c:v>
                </c:pt>
                <c:pt idx="5">
                  <c:v>0.94</c:v>
                </c:pt>
                <c:pt idx="6">
                  <c:v>0.99</c:v>
                </c:pt>
                <c:pt idx="7">
                  <c:v>0.87</c:v>
                </c:pt>
                <c:pt idx="8">
                  <c:v>0.73</c:v>
                </c:pt>
                <c:pt idx="9">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Kiri Creme Fromage Blanc Frais Carre 1X432Gr 24P</c:v>
                </c:pt>
                <c:pt idx="1">
                  <c:v>Kiri Creme Fromage Blanc Frais Carre 1X216Gr 12P</c:v>
                </c:pt>
                <c:pt idx="2">
                  <c:v>Kiri Gouter Fromage Blanc Dips Boite 1X280Gr 8P</c:v>
                </c:pt>
                <c:pt idx="3">
                  <c:v>Kiri Gouter Fromage Blanc Dips Boite 1X175Gr 5P</c:v>
                </c:pt>
                <c:pt idx="4">
                  <c:v>Kiri Creme Fromage Blanc Frais Carre 1X144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C$2:$C$11</c:f>
              <c:numCache>
                <c:formatCode>General</c:formatCode>
                <c:ptCount val="10"/>
                <c:pt idx="0">
                  <c:v>0.22639986430698122</c:v>
                </c:pt>
                <c:pt idx="1">
                  <c:v>0.44362833439848315</c:v>
                </c:pt>
                <c:pt idx="2">
                  <c:v>0.61716395533034285</c:v>
                </c:pt>
                <c:pt idx="3">
                  <c:v>0.74632220428462825</c:v>
                </c:pt>
                <c:pt idx="4">
                  <c:v>0.86843077687282111</c:v>
                </c:pt>
                <c:pt idx="5">
                  <c:v>0.92087703728832038</c:v>
                </c:pt>
                <c:pt idx="6">
                  <c:v>0.95980094318763498</c:v>
                </c:pt>
                <c:pt idx="7">
                  <c:v>0.98668057923957386</c:v>
                </c:pt>
                <c:pt idx="8">
                  <c:v>0.99982281157146446</c:v>
                </c:pt>
                <c:pt idx="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Kiri Creme Fromage Blanc Frais Carre 1X432Gr 24P</c:v>
                </c:pt>
                <c:pt idx="1">
                  <c:v>Kiri Creme Fromage Blanc Frais Carre 1X216Gr 12P</c:v>
                </c:pt>
                <c:pt idx="2">
                  <c:v>Kiri Gouter Fromage Blanc Dips Boite 1X280Gr 8P</c:v>
                </c:pt>
                <c:pt idx="3">
                  <c:v>Kiri Gouter Fromage Blanc Dips Boite 1X175Gr 5P</c:v>
                </c:pt>
                <c:pt idx="4">
                  <c:v>Kiri Creme Fromage Blanc Frais Carre 1X144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D$2:$D$11</c:f>
              <c:numCache>
                <c:formatCode>General</c:formatCode>
                <c:ptCount val="10"/>
                <c:pt idx="0">
                  <c:v>1510.0505050505051</c:v>
                </c:pt>
                <c:pt idx="1">
                  <c:v>1448.878787878788</c:v>
                </c:pt>
                <c:pt idx="2">
                  <c:v>1157.4545454545455</c:v>
                </c:pt>
                <c:pt idx="3">
                  <c:v>861.46464646464642</c:v>
                </c:pt>
                <c:pt idx="4">
                  <c:v>814.44444444444446</c:v>
                </c:pt>
                <c:pt idx="5">
                  <c:v>368.41489361702128</c:v>
                </c:pt>
                <c:pt idx="6">
                  <c:v>259.61616161616161</c:v>
                </c:pt>
                <c:pt idx="7">
                  <c:v>204.01149425287358</c:v>
                </c:pt>
                <c:pt idx="8">
                  <c:v>118.87671232876713</c:v>
                </c:pt>
                <c:pt idx="9">
                  <c:v>7.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t Moret</c:v>
                </c:pt>
                <c:pt idx="5">
                  <c:v>Soignon</c:v>
                </c:pt>
                <c:pt idx="6">
                  <c:v>La Vache Qui Rit</c:v>
                </c:pt>
                <c:pt idx="7">
                  <c:v>Boursin</c:v>
                </c:pt>
                <c:pt idx="8">
                  <c:v>Kiri</c:v>
                </c:pt>
                <c:pt idx="9">
                  <c:v>Others</c:v>
                </c:pt>
              </c:strCache>
            </c:strRef>
          </c:cat>
          <c:val>
            <c:numRef>
              <c:f>Sheet1!$B$2:$B$11</c:f>
              <c:numCache>
                <c:formatCode>General</c:formatCode>
                <c:ptCount val="10"/>
                <c:pt idx="0">
                  <c:v>0.44255324624968673</c:v>
                </c:pt>
                <c:pt idx="1">
                  <c:v>7.1221559932408862E-2</c:v>
                </c:pt>
                <c:pt idx="2">
                  <c:v>4.070629358325497E-2</c:v>
                </c:pt>
                <c:pt idx="3">
                  <c:v>3.8350201518098738E-2</c:v>
                </c:pt>
                <c:pt idx="4">
                  <c:v>2.5984560867509717E-2</c:v>
                </c:pt>
                <c:pt idx="5">
                  <c:v>2.5138107833638658E-2</c:v>
                </c:pt>
                <c:pt idx="6">
                  <c:v>1.559299170781899E-2</c:v>
                </c:pt>
                <c:pt idx="7">
                  <c:v>1.5410995005369091E-2</c:v>
                </c:pt>
                <c:pt idx="8">
                  <c:v>1.3080915853502493E-2</c:v>
                </c:pt>
                <c:pt idx="9">
                  <c:v>0.3119611274487116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t Moret</c:v>
                </c:pt>
                <c:pt idx="5">
                  <c:v>Soignon</c:v>
                </c:pt>
                <c:pt idx="6">
                  <c:v>La Vache Qui Rit</c:v>
                </c:pt>
                <c:pt idx="7">
                  <c:v>Boursin</c:v>
                </c:pt>
                <c:pt idx="8">
                  <c:v>Kiri</c:v>
                </c:pt>
                <c:pt idx="9">
                  <c:v>Others</c:v>
                </c:pt>
              </c:strCache>
            </c:strRef>
          </c:cat>
          <c:val>
            <c:numRef>
              <c:f>Sheet1!$C$2:$C$11</c:f>
              <c:numCache>
                <c:formatCode>General</c:formatCode>
                <c:ptCount val="10"/>
                <c:pt idx="0">
                  <c:v>0.31951108713551624</c:v>
                </c:pt>
                <c:pt idx="1">
                  <c:v>6.28764495207811E-2</c:v>
                </c:pt>
                <c:pt idx="2">
                  <c:v>3.6595456444410229E-2</c:v>
                </c:pt>
                <c:pt idx="3">
                  <c:v>3.5362425825501878E-2</c:v>
                </c:pt>
                <c:pt idx="4">
                  <c:v>2.3539122358008847E-2</c:v>
                </c:pt>
                <c:pt idx="5">
                  <c:v>2.9077620088664671E-2</c:v>
                </c:pt>
                <c:pt idx="6">
                  <c:v>1.4066283507809888E-2</c:v>
                </c:pt>
                <c:pt idx="7">
                  <c:v>3.4368700491184276E-2</c:v>
                </c:pt>
                <c:pt idx="8">
                  <c:v>1.5593375705240805E-2</c:v>
                </c:pt>
                <c:pt idx="9">
                  <c:v>0.4290094789228832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t Moret</c:v>
                </c:pt>
                <c:pt idx="5">
                  <c:v>Soignon</c:v>
                </c:pt>
                <c:pt idx="6">
                  <c:v>La Vache Qui Rit</c:v>
                </c:pt>
                <c:pt idx="7">
                  <c:v>Boursin</c:v>
                </c:pt>
                <c:pt idx="8">
                  <c:v>Kiri</c:v>
                </c:pt>
                <c:pt idx="9">
                  <c:v>Others</c:v>
                </c:pt>
              </c:strCache>
            </c:strRef>
          </c:cat>
          <c:val>
            <c:numRef>
              <c:f>Sheet1!$D$2:$D$11</c:f>
              <c:numCache>
                <c:formatCode>General</c:formatCode>
                <c:ptCount val="10"/>
                <c:pt idx="0">
                  <c:v>72.197207871174314</c:v>
                </c:pt>
                <c:pt idx="1">
                  <c:v>88.282887345422523</c:v>
                </c:pt>
                <c:pt idx="2">
                  <c:v>89.901224658449905</c:v>
                </c:pt>
                <c:pt idx="3">
                  <c:v>92.209230788039463</c:v>
                </c:pt>
                <c:pt idx="4">
                  <c:v>90.588878827047765</c:v>
                </c:pt>
                <c:pt idx="5">
                  <c:v>115.67147488226755</c:v>
                </c:pt>
                <c:pt idx="6">
                  <c:v>90.209010377119967</c:v>
                </c:pt>
                <c:pt idx="7">
                  <c:v>223.01415631638611</c:v>
                </c:pt>
                <c:pt idx="8">
                  <c:v>119.20706378571792</c:v>
                </c:pt>
                <c:pt idx="9">
                  <c:v>137.520171962263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Leerdammer</c:v>
                </c:pt>
                <c:pt idx="6">
                  <c:v>Others</c:v>
                </c:pt>
              </c:strCache>
            </c:strRef>
          </c:cat>
          <c:val>
            <c:numRef>
              <c:f>Sheet1!$B$2:$B$8</c:f>
              <c:numCache>
                <c:formatCode>General</c:formatCode>
                <c:ptCount val="7"/>
                <c:pt idx="0">
                  <c:v>0.62400226971399075</c:v>
                </c:pt>
                <c:pt idx="1">
                  <c:v>0.14783968861365313</c:v>
                </c:pt>
                <c:pt idx="2">
                  <c:v>9.0875090265171016E-2</c:v>
                </c:pt>
                <c:pt idx="3">
                  <c:v>4.8253552901310157E-2</c:v>
                </c:pt>
                <c:pt idx="4">
                  <c:v>3.056080481012944E-2</c:v>
                </c:pt>
                <c:pt idx="5">
                  <c:v>1.4250776396656421E-2</c:v>
                </c:pt>
                <c:pt idx="6">
                  <c:v>4.421781729908903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Leerdammer</c:v>
                </c:pt>
                <c:pt idx="6">
                  <c:v>Others</c:v>
                </c:pt>
              </c:strCache>
            </c:strRef>
          </c:cat>
          <c:val>
            <c:numRef>
              <c:f>Sheet1!$C$2:$C$8</c:f>
              <c:numCache>
                <c:formatCode>General</c:formatCode>
                <c:ptCount val="7"/>
                <c:pt idx="0">
                  <c:v>0.44229840656687597</c:v>
                </c:pt>
                <c:pt idx="1">
                  <c:v>0.24722356349589575</c:v>
                </c:pt>
                <c:pt idx="2">
                  <c:v>9.753742153549011E-2</c:v>
                </c:pt>
                <c:pt idx="3">
                  <c:v>0</c:v>
                </c:pt>
                <c:pt idx="4">
                  <c:v>5.8425881216803484E-2</c:v>
                </c:pt>
                <c:pt idx="5">
                  <c:v>4.1525832930951238E-2</c:v>
                </c:pt>
                <c:pt idx="6">
                  <c:v>0.1129888942539835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Leerdammer</c:v>
                </c:pt>
                <c:pt idx="6">
                  <c:v>Others</c:v>
                </c:pt>
              </c:strCache>
            </c:strRef>
          </c:cat>
          <c:val>
            <c:numRef>
              <c:f>Sheet1!$D$2:$D$8</c:f>
              <c:numCache>
                <c:formatCode>General</c:formatCode>
                <c:ptCount val="7"/>
                <c:pt idx="0">
                  <c:v>70.880897079044587</c:v>
                </c:pt>
                <c:pt idx="1">
                  <c:v>167.22408293348124</c:v>
                </c:pt>
                <c:pt idx="2">
                  <c:v>107.33130635785734</c:v>
                </c:pt>
                <c:pt idx="3">
                  <c:v>1</c:v>
                </c:pt>
                <c:pt idx="4">
                  <c:v>191.17913150454112</c:v>
                </c:pt>
                <c:pt idx="5">
                  <c:v>291.39347762620298</c:v>
                </c:pt>
                <c:pt idx="6">
                  <c:v>255.527977533869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B$2:$B$9</c:f>
              <c:numCache>
                <c:formatCode>General</c:formatCode>
                <c:ptCount val="8"/>
                <c:pt idx="0">
                  <c:v>0.99</c:v>
                </c:pt>
                <c:pt idx="1">
                  <c:v>0.99</c:v>
                </c:pt>
                <c:pt idx="2">
                  <c:v>0.99</c:v>
                </c:pt>
                <c:pt idx="3">
                  <c:v>0.98</c:v>
                </c:pt>
                <c:pt idx="4">
                  <c:v>0.99</c:v>
                </c:pt>
                <c:pt idx="5">
                  <c:v>0.96</c:v>
                </c:pt>
                <c:pt idx="6">
                  <c:v>0.88</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C$2:$C$9</c:f>
              <c:numCache>
                <c:formatCode>General</c:formatCode>
                <c:ptCount val="8"/>
                <c:pt idx="0">
                  <c:v>0.31177411991350895</c:v>
                </c:pt>
                <c:pt idx="1">
                  <c:v>0.56594064025445623</c:v>
                </c:pt>
                <c:pt idx="2">
                  <c:v>0.79706336823410773</c:v>
                </c:pt>
                <c:pt idx="3">
                  <c:v>0.87323343049361091</c:v>
                </c:pt>
                <c:pt idx="4">
                  <c:v>0.94056123856778051</c:v>
                </c:pt>
                <c:pt idx="5">
                  <c:v>0.97614598122682816</c:v>
                </c:pt>
                <c:pt idx="6">
                  <c:v>0.99963502184852016</c:v>
                </c:pt>
                <c:pt idx="7">
                  <c:v>0.9999197298910833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D$2:$D$9</c:f>
              <c:numCache>
                <c:formatCode>General</c:formatCode>
                <c:ptCount val="8"/>
                <c:pt idx="0">
                  <c:v>2510.909090909091</c:v>
                </c:pt>
                <c:pt idx="1">
                  <c:v>2046.9595959595961</c:v>
                </c:pt>
                <c:pt idx="2">
                  <c:v>1861.3737373737374</c:v>
                </c:pt>
                <c:pt idx="3">
                  <c:v>619.70408163265301</c:v>
                </c:pt>
                <c:pt idx="4">
                  <c:v>542.23232323232321</c:v>
                </c:pt>
                <c:pt idx="5">
                  <c:v>295.54166666666669</c:v>
                </c:pt>
                <c:pt idx="6">
                  <c:v>212.81818181818181</c:v>
                </c:pt>
                <c:pt idx="7">
                  <c:v>22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Afh 1X256Gr 16P</c:v>
                </c:pt>
                <c:pt idx="7">
                  <c:v>Boursin Classique Fromage Frais A Tartiner Figue Et 3 Noix Boite 1X150Gr 1P</c:v>
                </c:pt>
                <c:pt idx="8">
                  <c:v>Boursin Salade &amp; Aperitif Fromage Frais Des Ciboulette Echalote 1X120Gr 1P</c:v>
                </c:pt>
                <c:pt idx="9">
                  <c:v>Boursin Classique Fromage Frais A Tartiner Ciboulette &amp; Echalote Boite 1X150Gr 1P</c:v>
                </c:pt>
                <c:pt idx="10">
                  <c:v>Boursin Classique Fromage Frais A Tartiner Poivre Boite 1X150Gr 1P</c:v>
                </c:pt>
                <c:pt idx="11">
                  <c:v>Boursin Classique Fromage Frais A Tartiner Ciboulette &amp; Echalote 1X160Gr 10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B$2:$B$17</c:f>
              <c:numCache>
                <c:formatCode>General</c:formatCode>
                <c:ptCount val="16"/>
                <c:pt idx="0">
                  <c:v>0.99</c:v>
                </c:pt>
                <c:pt idx="1">
                  <c:v>0.99</c:v>
                </c:pt>
                <c:pt idx="2">
                  <c:v>0.99</c:v>
                </c:pt>
                <c:pt idx="3">
                  <c:v>0.99</c:v>
                </c:pt>
                <c:pt idx="4">
                  <c:v>0.99</c:v>
                </c:pt>
                <c:pt idx="5">
                  <c:v>0.98</c:v>
                </c:pt>
                <c:pt idx="6">
                  <c:v>0.96</c:v>
                </c:pt>
                <c:pt idx="7">
                  <c:v>0.99</c:v>
                </c:pt>
                <c:pt idx="8">
                  <c:v>0.95</c:v>
                </c:pt>
                <c:pt idx="9">
                  <c:v>0.99</c:v>
                </c:pt>
                <c:pt idx="10">
                  <c:v>0.97</c:v>
                </c:pt>
                <c:pt idx="11">
                  <c:v>0.95</c:v>
                </c:pt>
                <c:pt idx="12">
                  <c:v>0.83</c:v>
                </c:pt>
                <c:pt idx="13">
                  <c:v>0.87</c:v>
                </c:pt>
                <c:pt idx="14">
                  <c:v>0.73</c:v>
                </c:pt>
                <c:pt idx="15">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Afh 1X256Gr 16P</c:v>
                </c:pt>
                <c:pt idx="7">
                  <c:v>Boursin Classique Fromage Frais A Tartiner Figue Et 3 Noix Boite 1X150Gr 1P</c:v>
                </c:pt>
                <c:pt idx="8">
                  <c:v>Boursin Salade &amp; Aperitif Fromage Frais Des Ciboulette Echalote 1X120Gr 1P</c:v>
                </c:pt>
                <c:pt idx="9">
                  <c:v>Boursin Classique Fromage Frais A Tartiner Ciboulette &amp; Echalote Boite 1X150Gr 1P</c:v>
                </c:pt>
                <c:pt idx="10">
                  <c:v>Boursin Classique Fromage Frais A Tartiner Poivre Boite 1X150Gr 1P</c:v>
                </c:pt>
                <c:pt idx="11">
                  <c:v>Boursin Classique Fromage Frais A Tartiner Ciboulette &amp; Echalote 1X160Gr 10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C$2:$C$17</c:f>
              <c:numCache>
                <c:formatCode>General</c:formatCode>
                <c:ptCount val="16"/>
                <c:pt idx="0">
                  <c:v>0.18693092334665676</c:v>
                </c:pt>
                <c:pt idx="1">
                  <c:v>0.3458380821414494</c:v>
                </c:pt>
                <c:pt idx="2">
                  <c:v>0.47060197942807408</c:v>
                </c:pt>
                <c:pt idx="3">
                  <c:v>0.56731892549409901</c:v>
                </c:pt>
                <c:pt idx="4">
                  <c:v>0.63335455805317598</c:v>
                </c:pt>
                <c:pt idx="5">
                  <c:v>0.68956261024815091</c:v>
                </c:pt>
                <c:pt idx="6">
                  <c:v>0.74561013935187914</c:v>
                </c:pt>
                <c:pt idx="7">
                  <c:v>0.79144661626241608</c:v>
                </c:pt>
                <c:pt idx="8">
                  <c:v>0.83438832676080466</c:v>
                </c:pt>
                <c:pt idx="9">
                  <c:v>0.87497213140776975</c:v>
                </c:pt>
                <c:pt idx="10">
                  <c:v>0.91115225258486776</c:v>
                </c:pt>
                <c:pt idx="11">
                  <c:v>0.94593939004792515</c:v>
                </c:pt>
                <c:pt idx="12">
                  <c:v>0.96881571414047918</c:v>
                </c:pt>
                <c:pt idx="13">
                  <c:v>0.98595779669572137</c:v>
                </c:pt>
                <c:pt idx="14">
                  <c:v>0.99981450665011495</c:v>
                </c:pt>
                <c:pt idx="1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7</c:f>
              <c:strCache>
                <c:ptCount val="16"/>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Afh 1X256Gr 16P</c:v>
                </c:pt>
                <c:pt idx="7">
                  <c:v>Boursin Classique Fromage Frais A Tartiner Figue Et 3 Noix Boite 1X150Gr 1P</c:v>
                </c:pt>
                <c:pt idx="8">
                  <c:v>Boursin Salade &amp; Aperitif Fromage Frais Des Ciboulette Echalote 1X120Gr 1P</c:v>
                </c:pt>
                <c:pt idx="9">
                  <c:v>Boursin Classique Fromage Frais A Tartiner Ciboulette &amp; Echalote Boite 1X150Gr 1P</c:v>
                </c:pt>
                <c:pt idx="10">
                  <c:v>Boursin Classique Fromage Frais A Tartiner Poivre Boite 1X150Gr 1P</c:v>
                </c:pt>
                <c:pt idx="11">
                  <c:v>Boursin Classique Fromage Frais A Tartiner Ciboulette &amp; Echalote 1X160Gr 10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D$2:$D$17</c:f>
              <c:numCache>
                <c:formatCode>General</c:formatCode>
                <c:ptCount val="16"/>
                <c:pt idx="0">
                  <c:v>1058.6464646464647</c:v>
                </c:pt>
                <c:pt idx="1">
                  <c:v>899.93939393939399</c:v>
                </c:pt>
                <c:pt idx="2">
                  <c:v>706.57575757575762</c:v>
                </c:pt>
                <c:pt idx="3">
                  <c:v>547.73737373737379</c:v>
                </c:pt>
                <c:pt idx="4">
                  <c:v>373.97979797979798</c:v>
                </c:pt>
                <c:pt idx="5">
                  <c:v>321.57142857142856</c:v>
                </c:pt>
                <c:pt idx="6">
                  <c:v>327.33333333333331</c:v>
                </c:pt>
                <c:pt idx="7">
                  <c:v>259.5858585858586</c:v>
                </c:pt>
                <c:pt idx="8">
                  <c:v>253.43157894736842</c:v>
                </c:pt>
                <c:pt idx="9">
                  <c:v>229.83838383838383</c:v>
                </c:pt>
                <c:pt idx="10">
                  <c:v>209.1237113402062</c:v>
                </c:pt>
                <c:pt idx="11">
                  <c:v>205.30526315789473</c:v>
                </c:pt>
                <c:pt idx="12">
                  <c:v>154.53012048192772</c:v>
                </c:pt>
                <c:pt idx="13">
                  <c:v>110.47126436781609</c:v>
                </c:pt>
                <c:pt idx="14">
                  <c:v>106.42465753424658</c:v>
                </c:pt>
                <c:pt idx="15">
                  <c:v>7.42857142857142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Kiri Creme Fromage Blanc Frais Carre 1X216Gr 12P</c:v>
                </c:pt>
                <c:pt idx="1">
                  <c:v>Kiri Creme Fromage Blanc Frais Carre 1X144Gr 8P</c:v>
                </c:pt>
                <c:pt idx="2">
                  <c:v>Kiri Gouter Fromage Blanc Dips Boite 1X175Gr 5P</c:v>
                </c:pt>
                <c:pt idx="3">
                  <c:v>Kiri Gouter Fromage Blanc Dips Boite 1X280Gr 8P</c:v>
                </c:pt>
                <c:pt idx="4">
                  <c:v>Kiri Creme Fromage Blanc Frais Carre 1X432Gr 24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B$2:$B$11</c:f>
              <c:numCache>
                <c:formatCode>General</c:formatCode>
                <c:ptCount val="10"/>
                <c:pt idx="0">
                  <c:v>0.85</c:v>
                </c:pt>
                <c:pt idx="1">
                  <c:v>0.92</c:v>
                </c:pt>
                <c:pt idx="2">
                  <c:v>0.89</c:v>
                </c:pt>
                <c:pt idx="3">
                  <c:v>0.67</c:v>
                </c:pt>
                <c:pt idx="4">
                  <c:v>0.47</c:v>
                </c:pt>
                <c:pt idx="5">
                  <c:v>0.59</c:v>
                </c:pt>
                <c:pt idx="6">
                  <c:v>0.44</c:v>
                </c:pt>
                <c:pt idx="7">
                  <c:v>0.3</c:v>
                </c:pt>
                <c:pt idx="8">
                  <c:v>0.1</c:v>
                </c:pt>
                <c:pt idx="9">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Kiri Creme Fromage Blanc Frais Carre 1X216Gr 12P</c:v>
                </c:pt>
                <c:pt idx="1">
                  <c:v>Kiri Creme Fromage Blanc Frais Carre 1X144Gr 8P</c:v>
                </c:pt>
                <c:pt idx="2">
                  <c:v>Kiri Gouter Fromage Blanc Dips Boite 1X175Gr 5P</c:v>
                </c:pt>
                <c:pt idx="3">
                  <c:v>Kiri Gouter Fromage Blanc Dips Boite 1X280Gr 8P</c:v>
                </c:pt>
                <c:pt idx="4">
                  <c:v>Kiri Creme Fromage Blanc Frais Carre 1X432Gr 24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C$2:$C$11</c:f>
              <c:numCache>
                <c:formatCode>General</c:formatCode>
                <c:ptCount val="10"/>
                <c:pt idx="0">
                  <c:v>0.26075807341170942</c:v>
                </c:pt>
                <c:pt idx="1">
                  <c:v>0.44990684707188977</c:v>
                </c:pt>
                <c:pt idx="2">
                  <c:v>0.63123949305096216</c:v>
                </c:pt>
                <c:pt idx="3">
                  <c:v>0.7631773961529642</c:v>
                </c:pt>
                <c:pt idx="4">
                  <c:v>0.87796492597990639</c:v>
                </c:pt>
                <c:pt idx="5">
                  <c:v>0.93621440904275188</c:v>
                </c:pt>
                <c:pt idx="6">
                  <c:v>0.96721547608443093</c:v>
                </c:pt>
                <c:pt idx="7">
                  <c:v>0.99375695330223823</c:v>
                </c:pt>
                <c:pt idx="8">
                  <c:v>0.99980289105750852</c:v>
                </c:pt>
                <c:pt idx="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Kiri Creme Fromage Blanc Frais Carre 1X216Gr 12P</c:v>
                </c:pt>
                <c:pt idx="1">
                  <c:v>Kiri Creme Fromage Blanc Frais Carre 1X144Gr 8P</c:v>
                </c:pt>
                <c:pt idx="2">
                  <c:v>Kiri Gouter Fromage Blanc Dips Boite 1X175Gr 5P</c:v>
                </c:pt>
                <c:pt idx="3">
                  <c:v>Kiri Gouter Fromage Blanc Dips Boite 1X280Gr 8P</c:v>
                </c:pt>
                <c:pt idx="4">
                  <c:v>Kiri Creme Fromage Blanc Frais Carre 1X432Gr 24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160Gr 10P</c:v>
                </c:pt>
              </c:strCache>
            </c:strRef>
          </c:cat>
          <c:val>
            <c:numRef>
              <c:f>Sheet1!$D$2:$D$11</c:f>
              <c:numCache>
                <c:formatCode>General</c:formatCode>
                <c:ptCount val="10"/>
                <c:pt idx="0">
                  <c:v>1618.6235294117646</c:v>
                </c:pt>
                <c:pt idx="1">
                  <c:v>1084.7826086956522</c:v>
                </c:pt>
                <c:pt idx="2">
                  <c:v>1075.0112359550562</c:v>
                </c:pt>
                <c:pt idx="3">
                  <c:v>1039.0149253731342</c:v>
                </c:pt>
                <c:pt idx="4">
                  <c:v>1288.6170212765958</c:v>
                </c:pt>
                <c:pt idx="5">
                  <c:v>520.91525423728808</c:v>
                </c:pt>
                <c:pt idx="6">
                  <c:v>371.75</c:v>
                </c:pt>
                <c:pt idx="7">
                  <c:v>466.8</c:v>
                </c:pt>
                <c:pt idx="8">
                  <c:v>319</c:v>
                </c:pt>
                <c:pt idx="9">
                  <c:v>2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strCache>
            </c:strRef>
          </c:cat>
          <c:val>
            <c:numRef>
              <c:f>Sheet1!$B$2:$B$8</c:f>
              <c:numCache>
                <c:formatCode>General</c:formatCode>
                <c:ptCount val="7"/>
                <c:pt idx="0">
                  <c:v>0.98</c:v>
                </c:pt>
                <c:pt idx="1">
                  <c:v>0.65</c:v>
                </c:pt>
                <c:pt idx="2">
                  <c:v>0.68</c:v>
                </c:pt>
                <c:pt idx="3">
                  <c:v>0.77</c:v>
                </c:pt>
                <c:pt idx="4">
                  <c:v>0.42</c:v>
                </c:pt>
                <c:pt idx="5">
                  <c:v>0.32</c:v>
                </c:pt>
                <c:pt idx="6">
                  <c:v>0.2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strCache>
            </c:strRef>
          </c:cat>
          <c:val>
            <c:numRef>
              <c:f>Sheet1!$C$2:$C$8</c:f>
              <c:numCache>
                <c:formatCode>General</c:formatCode>
                <c:ptCount val="7"/>
                <c:pt idx="0">
                  <c:v>0.37403029709667657</c:v>
                </c:pt>
                <c:pt idx="1">
                  <c:v>0.61822632038022673</c:v>
                </c:pt>
                <c:pt idx="2">
                  <c:v>0.83587945244495077</c:v>
                </c:pt>
                <c:pt idx="3">
                  <c:v>0.916225501539776</c:v>
                </c:pt>
                <c:pt idx="4">
                  <c:v>0.95695213343539165</c:v>
                </c:pt>
                <c:pt idx="5">
                  <c:v>0.98623279990031498</c:v>
                </c:pt>
                <c:pt idx="6">
                  <c:v>0.9997045054025668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c:f>
              <c:strCache>
                <c:ptCount val="7"/>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strCache>
            </c:strRef>
          </c:cat>
          <c:val>
            <c:numRef>
              <c:f>Sheet1!$D$2:$D$8</c:f>
              <c:numCache>
                <c:formatCode>General</c:formatCode>
                <c:ptCount val="7"/>
                <c:pt idx="0">
                  <c:v>2144.0714285714284</c:v>
                </c:pt>
                <c:pt idx="1">
                  <c:v>2110.4923076923078</c:v>
                </c:pt>
                <c:pt idx="2">
                  <c:v>1798.1029411764705</c:v>
                </c:pt>
                <c:pt idx="3">
                  <c:v>586.18181818181813</c:v>
                </c:pt>
                <c:pt idx="4">
                  <c:v>544.73809523809518</c:v>
                </c:pt>
                <c:pt idx="5">
                  <c:v>514.03125</c:v>
                </c:pt>
                <c:pt idx="6">
                  <c:v>302.7200000000000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Boursin Classique Fromage Frais A Tartiner Afh 1X160Gr 10P</c:v>
                </c:pt>
                <c:pt idx="1">
                  <c:v>Boursin Classique Fromage Frais A Tartiner Afh Boite 1X150Gr 1P</c:v>
                </c:pt>
                <c:pt idx="2">
                  <c:v>Boursin Classique Fromage Frais A Tartiner Afh Boite 1X250Gr 1P</c:v>
                </c:pt>
                <c:pt idx="3">
                  <c:v>Boursin Onctueux Fromage Frais A Tartiner Afh 1X125Gr 1P</c:v>
                </c:pt>
                <c:pt idx="4">
                  <c:v>Boursin Salade &amp; Aperitif Fromage Frais Des Afh 1X120Gr 1P</c:v>
                </c:pt>
                <c:pt idx="5">
                  <c:v>Boursin Classique Fromage Frais A Tartiner Figue Et 3 Noix Boite 1X150Gr 1P</c:v>
                </c:pt>
                <c:pt idx="6">
                  <c:v>Boursin Classique Fromage Frais A Tartiner Ciboulette &amp; Echalote Boite 1X150Gr 1P</c:v>
                </c:pt>
                <c:pt idx="7">
                  <c:v>Boursin Classique Fromage Frais A Tartiner Afh Boite 1X96Gr 6P</c:v>
                </c:pt>
                <c:pt idx="8">
                  <c:v>Boursin Classique Fromage Frais A Tartiner Poivre Boite 1X150Gr 1P</c:v>
                </c:pt>
                <c:pt idx="9">
                  <c:v>Boursin Classique Fromage Frais A Tartiner Ciboulette &amp; Echalote 1X160Gr 10P</c:v>
                </c:pt>
                <c:pt idx="10">
                  <c:v>Boursin Salade &amp; Aperitif Fromage Frais Des Ciboulette Echalote 1X120Gr 1P</c:v>
                </c:pt>
                <c:pt idx="11">
                  <c:v>Boursin Classique Fromage Frais A Tartiner Afh 1X256Gr 16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B$2:$B$17</c:f>
              <c:numCache>
                <c:formatCode>General</c:formatCode>
                <c:ptCount val="16"/>
                <c:pt idx="0">
                  <c:v>0.9</c:v>
                </c:pt>
                <c:pt idx="1">
                  <c:v>0.96</c:v>
                </c:pt>
                <c:pt idx="2">
                  <c:v>0.75</c:v>
                </c:pt>
                <c:pt idx="3">
                  <c:v>0.81</c:v>
                </c:pt>
                <c:pt idx="4">
                  <c:v>0.84</c:v>
                </c:pt>
                <c:pt idx="5">
                  <c:v>0.81</c:v>
                </c:pt>
                <c:pt idx="6">
                  <c:v>0.8</c:v>
                </c:pt>
                <c:pt idx="7">
                  <c:v>0.66</c:v>
                </c:pt>
                <c:pt idx="8">
                  <c:v>0.59</c:v>
                </c:pt>
                <c:pt idx="9">
                  <c:v>0.46</c:v>
                </c:pt>
                <c:pt idx="10">
                  <c:v>0.43</c:v>
                </c:pt>
                <c:pt idx="11">
                  <c:v>0.33</c:v>
                </c:pt>
                <c:pt idx="12">
                  <c:v>0.18</c:v>
                </c:pt>
                <c:pt idx="13">
                  <c:v>0.28000000000000003</c:v>
                </c:pt>
                <c:pt idx="14">
                  <c:v>0.14000000000000001</c:v>
                </c:pt>
                <c:pt idx="15">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Boursin Classique Fromage Frais A Tartiner Afh 1X160Gr 10P</c:v>
                </c:pt>
                <c:pt idx="1">
                  <c:v>Boursin Classique Fromage Frais A Tartiner Afh Boite 1X150Gr 1P</c:v>
                </c:pt>
                <c:pt idx="2">
                  <c:v>Boursin Classique Fromage Frais A Tartiner Afh Boite 1X250Gr 1P</c:v>
                </c:pt>
                <c:pt idx="3">
                  <c:v>Boursin Onctueux Fromage Frais A Tartiner Afh 1X125Gr 1P</c:v>
                </c:pt>
                <c:pt idx="4">
                  <c:v>Boursin Salade &amp; Aperitif Fromage Frais Des Afh 1X120Gr 1P</c:v>
                </c:pt>
                <c:pt idx="5">
                  <c:v>Boursin Classique Fromage Frais A Tartiner Figue Et 3 Noix Boite 1X150Gr 1P</c:v>
                </c:pt>
                <c:pt idx="6">
                  <c:v>Boursin Classique Fromage Frais A Tartiner Ciboulette &amp; Echalote Boite 1X150Gr 1P</c:v>
                </c:pt>
                <c:pt idx="7">
                  <c:v>Boursin Classique Fromage Frais A Tartiner Afh Boite 1X96Gr 6P</c:v>
                </c:pt>
                <c:pt idx="8">
                  <c:v>Boursin Classique Fromage Frais A Tartiner Poivre Boite 1X150Gr 1P</c:v>
                </c:pt>
                <c:pt idx="9">
                  <c:v>Boursin Classique Fromage Frais A Tartiner Ciboulette &amp; Echalote 1X160Gr 10P</c:v>
                </c:pt>
                <c:pt idx="10">
                  <c:v>Boursin Salade &amp; Aperitif Fromage Frais Des Ciboulette Echalote 1X120Gr 1P</c:v>
                </c:pt>
                <c:pt idx="11">
                  <c:v>Boursin Classique Fromage Frais A Tartiner Afh 1X256Gr 16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C$2:$C$17</c:f>
              <c:numCache>
                <c:formatCode>General</c:formatCode>
                <c:ptCount val="16"/>
                <c:pt idx="0">
                  <c:v>0.17632987854800919</c:v>
                </c:pt>
                <c:pt idx="1">
                  <c:v>0.34803597906754752</c:v>
                </c:pt>
                <c:pt idx="2">
                  <c:v>0.46897484559109276</c:v>
                </c:pt>
                <c:pt idx="3">
                  <c:v>0.57093943246944834</c:v>
                </c:pt>
                <c:pt idx="4">
                  <c:v>0.66806140890346088</c:v>
                </c:pt>
                <c:pt idx="5">
                  <c:v>0.74922748384224436</c:v>
                </c:pt>
                <c:pt idx="6">
                  <c:v>0.81198711152529957</c:v>
                </c:pt>
                <c:pt idx="7">
                  <c:v>0.87318095554306274</c:v>
                </c:pt>
                <c:pt idx="8">
                  <c:v>0.91431579026799414</c:v>
                </c:pt>
                <c:pt idx="9">
                  <c:v>0.93652728047901646</c:v>
                </c:pt>
                <c:pt idx="10">
                  <c:v>0.95749557618952386</c:v>
                </c:pt>
                <c:pt idx="11">
                  <c:v>0.97593220722675178</c:v>
                </c:pt>
                <c:pt idx="12">
                  <c:v>0.98559290379296938</c:v>
                </c:pt>
                <c:pt idx="13">
                  <c:v>0.99426885448776225</c:v>
                </c:pt>
                <c:pt idx="14">
                  <c:v>0.99996792973215654</c:v>
                </c:pt>
                <c:pt idx="15">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7</c:f>
              <c:strCache>
                <c:ptCount val="16"/>
                <c:pt idx="0">
                  <c:v>Boursin Classique Fromage Frais A Tartiner Afh 1X160Gr 10P</c:v>
                </c:pt>
                <c:pt idx="1">
                  <c:v>Boursin Classique Fromage Frais A Tartiner Afh Boite 1X150Gr 1P</c:v>
                </c:pt>
                <c:pt idx="2">
                  <c:v>Boursin Classique Fromage Frais A Tartiner Afh Boite 1X250Gr 1P</c:v>
                </c:pt>
                <c:pt idx="3">
                  <c:v>Boursin Onctueux Fromage Frais A Tartiner Afh 1X125Gr 1P</c:v>
                </c:pt>
                <c:pt idx="4">
                  <c:v>Boursin Salade &amp; Aperitif Fromage Frais Des Afh 1X120Gr 1P</c:v>
                </c:pt>
                <c:pt idx="5">
                  <c:v>Boursin Classique Fromage Frais A Tartiner Figue Et 3 Noix Boite 1X150Gr 1P</c:v>
                </c:pt>
                <c:pt idx="6">
                  <c:v>Boursin Classique Fromage Frais A Tartiner Ciboulette &amp; Echalote Boite 1X150Gr 1P</c:v>
                </c:pt>
                <c:pt idx="7">
                  <c:v>Boursin Classique Fromage Frais A Tartiner Afh Boite 1X96Gr 6P</c:v>
                </c:pt>
                <c:pt idx="8">
                  <c:v>Boursin Classique Fromage Frais A Tartiner Poivre Boite 1X150Gr 1P</c:v>
                </c:pt>
                <c:pt idx="9">
                  <c:v>Boursin Classique Fromage Frais A Tartiner Ciboulette &amp; Echalote 1X160Gr 10P</c:v>
                </c:pt>
                <c:pt idx="10">
                  <c:v>Boursin Salade &amp; Aperitif Fromage Frais Des Ciboulette Echalote 1X120Gr 1P</c:v>
                </c:pt>
                <c:pt idx="11">
                  <c:v>Boursin Classique Fromage Frais A Tartiner Afh 1X256Gr 16P</c:v>
                </c:pt>
                <c:pt idx="12">
                  <c:v>Boursin Salade &amp; Aperitif Fromage Frais Des Figue Noix 1X120Gr 1P</c:v>
                </c:pt>
                <c:pt idx="13">
                  <c:v>Boursin Salade &amp; Aperitif Fromage Frais Des Citron Romarin 1X120Gr 1P</c:v>
                </c:pt>
                <c:pt idx="14">
                  <c:v>Boursin Salade &amp; Aperitif Soft Cheese Salade 120G</c:v>
                </c:pt>
                <c:pt idx="15">
                  <c:v>Boursin Classique Fromage Frais A Tartiner Afh Boite 1X80Gr 1P</c:v>
                </c:pt>
              </c:strCache>
            </c:strRef>
          </c:cat>
          <c:val>
            <c:numRef>
              <c:f>Sheet1!$D$2:$D$17</c:f>
              <c:numCache>
                <c:formatCode>General</c:formatCode>
                <c:ptCount val="16"/>
                <c:pt idx="0">
                  <c:v>1038.5555555555557</c:v>
                </c:pt>
                <c:pt idx="1">
                  <c:v>948.11458333333337</c:v>
                </c:pt>
                <c:pt idx="2">
                  <c:v>854.77333333333331</c:v>
                </c:pt>
                <c:pt idx="3">
                  <c:v>667.28395061728395</c:v>
                </c:pt>
                <c:pt idx="4">
                  <c:v>612.89285714285711</c:v>
                </c:pt>
                <c:pt idx="5">
                  <c:v>531.17283950617286</c:v>
                </c:pt>
                <c:pt idx="6">
                  <c:v>415.85</c:v>
                </c:pt>
                <c:pt idx="7">
                  <c:v>491.4848484848485</c:v>
                </c:pt>
                <c:pt idx="8">
                  <c:v>369.57627118644069</c:v>
                </c:pt>
                <c:pt idx="9">
                  <c:v>255.95652173913044</c:v>
                </c:pt>
                <c:pt idx="10">
                  <c:v>258.48837209302326</c:v>
                </c:pt>
                <c:pt idx="11">
                  <c:v>296.15151515151513</c:v>
                </c:pt>
                <c:pt idx="12">
                  <c:v>284.5</c:v>
                </c:pt>
                <c:pt idx="13">
                  <c:v>164.24999999999997</c:v>
                </c:pt>
                <c:pt idx="14">
                  <c:v>215.78571428571425</c:v>
                </c:pt>
                <c:pt idx="15">
                  <c:v>1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strCache>
            </c:strRef>
          </c:cat>
          <c:val>
            <c:numRef>
              <c:f>Sheet1!$B$2:$B$5</c:f>
              <c:numCache>
                <c:formatCode>General</c:formatCode>
                <c:ptCount val="4"/>
                <c:pt idx="0">
                  <c:v>0.89900000000000002</c:v>
                </c:pt>
                <c:pt idx="1">
                  <c:v>0.71899999999999997</c:v>
                </c:pt>
                <c:pt idx="2">
                  <c:v>0.35</c:v>
                </c:pt>
                <c:pt idx="3">
                  <c:v>8.9999999999999993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strCache>
            </c:strRef>
          </c:cat>
          <c:val>
            <c:numRef>
              <c:f>Sheet1!$C$2:$C$5</c:f>
              <c:numCache>
                <c:formatCode>General</c:formatCode>
                <c:ptCount val="4"/>
                <c:pt idx="0">
                  <c:v>0.69925816541960328</c:v>
                </c:pt>
                <c:pt idx="1">
                  <c:v>0.94913203607687302</c:v>
                </c:pt>
                <c:pt idx="2">
                  <c:v>0.99996701232574758</c:v>
                </c:pt>
                <c:pt idx="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strCache>
            </c:strRef>
          </c:cat>
          <c:val>
            <c:numRef>
              <c:f>Sheet1!$D$2:$D$5</c:f>
              <c:numCache>
                <c:formatCode>General</c:formatCode>
                <c:ptCount val="4"/>
                <c:pt idx="0">
                  <c:v>8016.8743047830922</c:v>
                </c:pt>
                <c:pt idx="1">
                  <c:v>3581.9471488178028</c:v>
                </c:pt>
                <c:pt idx="2">
                  <c:v>1497</c:v>
                </c:pt>
                <c:pt idx="3">
                  <c:v>37.7777777777777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B$2:$B$6</c:f>
              <c:numCache>
                <c:formatCode>General</c:formatCode>
                <c:ptCount val="5"/>
                <c:pt idx="0">
                  <c:v>0.94799999999999995</c:v>
                </c:pt>
                <c:pt idx="1">
                  <c:v>0.88700000000000001</c:v>
                </c:pt>
                <c:pt idx="2">
                  <c:v>0.8</c:v>
                </c:pt>
                <c:pt idx="3">
                  <c:v>0.65800000000000003</c:v>
                </c:pt>
                <c:pt idx="4">
                  <c:v>0.291999999999999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C$2:$C$6</c:f>
              <c:numCache>
                <c:formatCode>General</c:formatCode>
                <c:ptCount val="5"/>
                <c:pt idx="0">
                  <c:v>0.50876224996074071</c:v>
                </c:pt>
                <c:pt idx="1">
                  <c:v>0.81574446231744424</c:v>
                </c:pt>
                <c:pt idx="2">
                  <c:v>0.95584199513609169</c:v>
                </c:pt>
                <c:pt idx="3">
                  <c:v>0.99683209330554756</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D$2:$D$6</c:f>
              <c:numCache>
                <c:formatCode>General</c:formatCode>
                <c:ptCount val="5"/>
                <c:pt idx="0">
                  <c:v>6322.3101265822788</c:v>
                </c:pt>
                <c:pt idx="1">
                  <c:v>4077.1702367531002</c:v>
                </c:pt>
                <c:pt idx="2">
                  <c:v>2063.0500000000002</c:v>
                </c:pt>
                <c:pt idx="3">
                  <c:v>733.87537993920978</c:v>
                </c:pt>
                <c:pt idx="4">
                  <c:v>127.80821917808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strCache>
            </c:strRef>
          </c:cat>
          <c:val>
            <c:numRef>
              <c:f>Sheet1!$B$2:$B$5</c:f>
              <c:numCache>
                <c:formatCode>General</c:formatCode>
                <c:ptCount val="4"/>
                <c:pt idx="0">
                  <c:v>0.99</c:v>
                </c:pt>
                <c:pt idx="1">
                  <c:v>0.9</c:v>
                </c:pt>
                <c:pt idx="2">
                  <c:v>0.53</c:v>
                </c:pt>
                <c:pt idx="3">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strCache>
            </c:strRef>
          </c:cat>
          <c:val>
            <c:numRef>
              <c:f>Sheet1!$C$2:$C$5</c:f>
              <c:numCache>
                <c:formatCode>General</c:formatCode>
                <c:ptCount val="4"/>
                <c:pt idx="0">
                  <c:v>0.60960827067236611</c:v>
                </c:pt>
                <c:pt idx="1">
                  <c:v>0.90986313348943448</c:v>
                </c:pt>
                <c:pt idx="2">
                  <c:v>0.99990219711308903</c:v>
                </c:pt>
                <c:pt idx="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strCache>
            </c:strRef>
          </c:cat>
          <c:val>
            <c:numRef>
              <c:f>Sheet1!$D$2:$D$5</c:f>
              <c:numCache>
                <c:formatCode>General</c:formatCode>
                <c:ptCount val="4"/>
                <c:pt idx="0">
                  <c:v>2140.6363636363635</c:v>
                </c:pt>
                <c:pt idx="1">
                  <c:v>1159.7777777777778</c:v>
                </c:pt>
                <c:pt idx="2">
                  <c:v>590.58490566037733</c:v>
                </c:pt>
                <c:pt idx="3">
                  <c:v>1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Boursin Aperitif Roules Fromage Frais Roule Afh Et Jambon Fume Boite 1X100Gr 20P</c:v>
                </c:pt>
                <c:pt idx="1">
                  <c:v>Boursin Aperitif Roules Fromage Frais Roule Ciboulette &amp; Echalote Jambon Fume Boite 1X100Gr 20P</c:v>
                </c:pt>
                <c:pt idx="2">
                  <c:v>Boursin Aperitif Roules Aperitif 100G</c:v>
                </c:pt>
              </c:strCache>
            </c:strRef>
          </c:cat>
          <c:val>
            <c:numRef>
              <c:f>Sheet1!$B$2:$B$4</c:f>
              <c:numCache>
                <c:formatCode>General</c:formatCode>
                <c:ptCount val="3"/>
                <c:pt idx="0">
                  <c:v>0.94</c:v>
                </c:pt>
                <c:pt idx="1">
                  <c:v>0.79</c:v>
                </c:pt>
                <c:pt idx="2">
                  <c:v>0.289999999999999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Boursin Aperitif Roules Fromage Frais Roule Afh Et Jambon Fume Boite 1X100Gr 20P</c:v>
                </c:pt>
                <c:pt idx="1">
                  <c:v>Boursin Aperitif Roules Fromage Frais Roule Ciboulette &amp; Echalote Jambon Fume Boite 1X100Gr 20P</c:v>
                </c:pt>
                <c:pt idx="2">
                  <c:v>Boursin Aperitif Roules Aperitif 100G</c:v>
                </c:pt>
              </c:strCache>
            </c:strRef>
          </c:cat>
          <c:val>
            <c:numRef>
              <c:f>Sheet1!$C$2:$C$4</c:f>
              <c:numCache>
                <c:formatCode>General</c:formatCode>
                <c:ptCount val="3"/>
                <c:pt idx="0">
                  <c:v>0.62439026766123362</c:v>
                </c:pt>
                <c:pt idx="1">
                  <c:v>0.94863027876609429</c:v>
                </c:pt>
                <c:pt idx="2">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Boursin Aperitif Roules Fromage Frais Roule Afh Et Jambon Fume Boite 1X100Gr 20P</c:v>
                </c:pt>
                <c:pt idx="1">
                  <c:v>Boursin Aperitif Roules Fromage Frais Roule Ciboulette &amp; Echalote Jambon Fume Boite 1X100Gr 20P</c:v>
                </c:pt>
                <c:pt idx="2">
                  <c:v>Boursin Aperitif Roules Aperitif 100G</c:v>
                </c:pt>
              </c:strCache>
            </c:strRef>
          </c:cat>
          <c:val>
            <c:numRef>
              <c:f>Sheet1!$D$2:$D$4</c:f>
              <c:numCache>
                <c:formatCode>General</c:formatCode>
                <c:ptCount val="3"/>
                <c:pt idx="0">
                  <c:v>2727.5957446808511</c:v>
                </c:pt>
                <c:pt idx="1">
                  <c:v>1685.3544303797469</c:v>
                </c:pt>
                <c:pt idx="2">
                  <c:v>727.379310344827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Boursin Aperitif Roules Fromage Frais Roule Afh Et Jambon Fume Boite 1X100Gr 20P</c:v>
                </c:pt>
                <c:pt idx="1">
                  <c:v>Boursin Aperitif Roules Fromage Frais Roule Ciboulette &amp; Echalote Jambon Fume Boite 1X100Gr 20P</c:v>
                </c:pt>
              </c:strCache>
            </c:strRef>
          </c:cat>
          <c:val>
            <c:numRef>
              <c:f>Sheet1!$B$2:$B$3</c:f>
              <c:numCache>
                <c:formatCode>General</c:formatCode>
                <c:ptCount val="2"/>
                <c:pt idx="0">
                  <c:v>0.56000000000000005</c:v>
                </c:pt>
                <c:pt idx="1">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Boursin Aperitif Roules Fromage Frais Roule Afh Et Jambon Fume Boite 1X100Gr 20P</c:v>
                </c:pt>
                <c:pt idx="1">
                  <c:v>Boursin Aperitif Roules Fromage Frais Roule Ciboulette &amp; Echalote Jambon Fume Boite 1X100Gr 20P</c:v>
                </c:pt>
              </c:strCache>
            </c:strRef>
          </c:cat>
          <c:val>
            <c:numRef>
              <c:f>Sheet1!$C$2:$C$3</c:f>
              <c:numCache>
                <c:formatCode>General</c:formatCode>
                <c:ptCount val="2"/>
                <c:pt idx="0">
                  <c:v>0.92651393625261091</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Boursin Aperitif Roules Fromage Frais Roule Afh Et Jambon Fume Boite 1X100Gr 20P</c:v>
                </c:pt>
                <c:pt idx="1">
                  <c:v>Boursin Aperitif Roules Fromage Frais Roule Ciboulette &amp; Echalote Jambon Fume Boite 1X100Gr 20P</c:v>
                </c:pt>
              </c:strCache>
            </c:strRef>
          </c:cat>
          <c:val>
            <c:numRef>
              <c:f>Sheet1!$D$2:$D$3</c:f>
              <c:numCache>
                <c:formatCode>General</c:formatCode>
                <c:ptCount val="2"/>
                <c:pt idx="0">
                  <c:v>4507.1428571428569</c:v>
                </c:pt>
                <c:pt idx="1">
                  <c:v>2859.857142857142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B$2:$B$7</c:f>
              <c:numCache>
                <c:formatCode>General</c:formatCode>
                <c:ptCount val="6"/>
                <c:pt idx="0">
                  <c:v>0.39840319650523859</c:v>
                </c:pt>
                <c:pt idx="1">
                  <c:v>0.28490051760093482</c:v>
                </c:pt>
                <c:pt idx="2">
                  <c:v>0.17944047984465386</c:v>
                </c:pt>
                <c:pt idx="3">
                  <c:v>8.4105870403475794E-2</c:v>
                </c:pt>
                <c:pt idx="4">
                  <c:v>3.0162868423444726E-2</c:v>
                </c:pt>
                <c:pt idx="5">
                  <c:v>2.29870672222522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C$2:$C$7</c:f>
              <c:numCache>
                <c:formatCode>General</c:formatCode>
                <c:ptCount val="6"/>
                <c:pt idx="0">
                  <c:v>0.47413793103448265</c:v>
                </c:pt>
                <c:pt idx="1">
                  <c:v>0.31034482758620685</c:v>
                </c:pt>
                <c:pt idx="2">
                  <c:v>0.13577586206896552</c:v>
                </c:pt>
                <c:pt idx="3">
                  <c:v>0</c:v>
                </c:pt>
                <c:pt idx="4">
                  <c:v>5.1724137931034475E-2</c:v>
                </c:pt>
                <c:pt idx="5">
                  <c:v>2.801724137931034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D$2:$D$7</c:f>
              <c:numCache>
                <c:formatCode>General</c:formatCode>
                <c:ptCount val="6"/>
                <c:pt idx="0">
                  <c:v>119.00957000184316</c:v>
                </c:pt>
                <c:pt idx="1">
                  <c:v>108.93094551021922</c:v>
                </c:pt>
                <c:pt idx="2">
                  <c:v>75.666238847839736</c:v>
                </c:pt>
                <c:pt idx="3">
                  <c:v>1</c:v>
                </c:pt>
                <c:pt idx="4">
                  <c:v>171.48282187522591</c:v>
                </c:pt>
                <c:pt idx="5">
                  <c:v>121.8826269067884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B$2:$B$6</c:f>
              <c:numCache>
                <c:formatCode>General</c:formatCode>
                <c:ptCount val="5"/>
                <c:pt idx="0">
                  <c:v>0.97</c:v>
                </c:pt>
                <c:pt idx="1">
                  <c:v>0.93</c:v>
                </c:pt>
                <c:pt idx="2">
                  <c:v>0.85</c:v>
                </c:pt>
                <c:pt idx="3">
                  <c:v>0.7</c:v>
                </c:pt>
                <c:pt idx="4">
                  <c:v>0.289999999999999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C$2:$C$6</c:f>
              <c:numCache>
                <c:formatCode>General</c:formatCode>
                <c:ptCount val="5"/>
                <c:pt idx="0">
                  <c:v>0.49341068654688797</c:v>
                </c:pt>
                <c:pt idx="1">
                  <c:v>0.80959083342148774</c:v>
                </c:pt>
                <c:pt idx="2">
                  <c:v>0.9536381807147748</c:v>
                </c:pt>
                <c:pt idx="3">
                  <c:v>0.9967496060887817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D$2:$D$6</c:f>
              <c:numCache>
                <c:formatCode>General</c:formatCode>
                <c:ptCount val="5"/>
                <c:pt idx="0">
                  <c:v>4568.0927835051543</c:v>
                </c:pt>
                <c:pt idx="1">
                  <c:v>3053.1612903225805</c:v>
                </c:pt>
                <c:pt idx="2">
                  <c:v>1521.8941176470589</c:v>
                </c:pt>
                <c:pt idx="3">
                  <c:v>553.08571428571429</c:v>
                </c:pt>
                <c:pt idx="4">
                  <c:v>100.655172413793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B$2:$B$6</c:f>
              <c:numCache>
                <c:formatCode>General</c:formatCode>
                <c:ptCount val="5"/>
                <c:pt idx="0">
                  <c:v>0.99</c:v>
                </c:pt>
                <c:pt idx="1">
                  <c:v>0.99</c:v>
                </c:pt>
                <c:pt idx="2">
                  <c:v>0.95</c:v>
                </c:pt>
                <c:pt idx="3">
                  <c:v>0.86</c:v>
                </c:pt>
                <c:pt idx="4">
                  <c:v>0.5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C$2:$C$6</c:f>
              <c:numCache>
                <c:formatCode>General</c:formatCode>
                <c:ptCount val="5"/>
                <c:pt idx="0">
                  <c:v>0.51040797856293585</c:v>
                </c:pt>
                <c:pt idx="1">
                  <c:v>0.81143191780092638</c:v>
                </c:pt>
                <c:pt idx="2">
                  <c:v>0.95358260427203312</c:v>
                </c:pt>
                <c:pt idx="3">
                  <c:v>0.9959006938652376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D$2:$D$6</c:f>
              <c:numCache>
                <c:formatCode>General</c:formatCode>
                <c:ptCount val="5"/>
                <c:pt idx="0">
                  <c:v>871.57575757575762</c:v>
                </c:pt>
                <c:pt idx="1">
                  <c:v>514.030303030303</c:v>
                </c:pt>
                <c:pt idx="2">
                  <c:v>252.95789473684209</c:v>
                </c:pt>
                <c:pt idx="3">
                  <c:v>83.186046511627907</c:v>
                </c:pt>
                <c:pt idx="4">
                  <c:v>13.32692307692307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B$2:$B$6</c:f>
              <c:numCache>
                <c:formatCode>General</c:formatCode>
                <c:ptCount val="5"/>
                <c:pt idx="0">
                  <c:v>0.76</c:v>
                </c:pt>
                <c:pt idx="1">
                  <c:v>0.5</c:v>
                </c:pt>
                <c:pt idx="2">
                  <c:v>0.32</c:v>
                </c:pt>
                <c:pt idx="3">
                  <c:v>0.17</c:v>
                </c:pt>
                <c:pt idx="4">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C$2:$C$6</c:f>
              <c:numCache>
                <c:formatCode>General</c:formatCode>
                <c:ptCount val="5"/>
                <c:pt idx="0">
                  <c:v>0.63049375039426137</c:v>
                </c:pt>
                <c:pt idx="1">
                  <c:v>0.87211513332792634</c:v>
                </c:pt>
                <c:pt idx="2">
                  <c:v>0.97711932376292054</c:v>
                </c:pt>
                <c:pt idx="3">
                  <c:v>0.99891859742085487</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Aperitif 100G</c:v>
                </c:pt>
                <c:pt idx="4">
                  <c:v>Boursin Aperitif Roules Fromage Frais Roule Jambon Fume &amp; Trio De Noix Boite 1X100Gr 20P</c:v>
                </c:pt>
              </c:strCache>
            </c:strRef>
          </c:cat>
          <c:val>
            <c:numRef>
              <c:f>Sheet1!$D$2:$D$6</c:f>
              <c:numCache>
                <c:formatCode>General</c:formatCode>
                <c:ptCount val="5"/>
                <c:pt idx="0">
                  <c:v>920.57894736842104</c:v>
                </c:pt>
                <c:pt idx="1">
                  <c:v>536.24</c:v>
                </c:pt>
                <c:pt idx="2">
                  <c:v>364.125</c:v>
                </c:pt>
                <c:pt idx="3">
                  <c:v>142.29411764705881</c:v>
                </c:pt>
                <c:pt idx="4">
                  <c:v>2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8429999999999999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2059.062870699881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8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1490.36470588235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9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199.6458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413.9104477611940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76200000000000001</c:v>
                </c:pt>
                <c:pt idx="1">
                  <c:v>0.98899999999999999</c:v>
                </c:pt>
                <c:pt idx="2">
                  <c:v>0.94699999999999995</c:v>
                </c:pt>
                <c:pt idx="3">
                  <c:v>0.82399999999999995</c:v>
                </c:pt>
                <c:pt idx="4">
                  <c:v>0.72</c:v>
                </c:pt>
                <c:pt idx="5">
                  <c:v>0.71199999999999997</c:v>
                </c:pt>
                <c:pt idx="6">
                  <c:v>0.39200000000000002</c:v>
                </c:pt>
                <c:pt idx="7">
                  <c:v>7.9000000000000001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26103959642464175</c:v>
                </c:pt>
                <c:pt idx="1">
                  <c:v>0.47344355478199551</c:v>
                </c:pt>
                <c:pt idx="2">
                  <c:v>0.67234208843478438</c:v>
                </c:pt>
                <c:pt idx="3">
                  <c:v>0.82251412128220724</c:v>
                </c:pt>
                <c:pt idx="4">
                  <c:v>0.9051659086626761</c:v>
                </c:pt>
                <c:pt idx="5">
                  <c:v>0.9869108786770675</c:v>
                </c:pt>
                <c:pt idx="6">
                  <c:v>0.99952849116993381</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18926.456692913383</c:v>
                </c:pt>
                <c:pt idx="1">
                  <c:v>11865.449949443882</c:v>
                </c:pt>
                <c:pt idx="2">
                  <c:v>11603.780359028513</c:v>
                </c:pt>
                <c:pt idx="3">
                  <c:v>10068.847087378641</c:v>
                </c:pt>
                <c:pt idx="4">
                  <c:v>6342.166666666667</c:v>
                </c:pt>
                <c:pt idx="5">
                  <c:v>6343.0617977528091</c:v>
                </c:pt>
                <c:pt idx="6">
                  <c:v>1778.3163265306121</c:v>
                </c:pt>
                <c:pt idx="7">
                  <c:v>329.7468354430379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0.86399999999999999</c:v>
                </c:pt>
                <c:pt idx="1">
                  <c:v>0.80400000000000005</c:v>
                </c:pt>
                <c:pt idx="2">
                  <c:v>0.97799999999999998</c:v>
                </c:pt>
                <c:pt idx="3">
                  <c:v>0.71699999999999997</c:v>
                </c:pt>
                <c:pt idx="4">
                  <c:v>0.90600000000000003</c:v>
                </c:pt>
                <c:pt idx="5">
                  <c:v>0.67800000000000005</c:v>
                </c:pt>
                <c:pt idx="6">
                  <c:v>0.42</c:v>
                </c:pt>
                <c:pt idx="7">
                  <c:v>0.48199999999999998</c:v>
                </c:pt>
                <c:pt idx="8">
                  <c:v>8.0000000000000002E-3</c:v>
                </c:pt>
                <c:pt idx="9">
                  <c:v>2.7E-2</c:v>
                </c:pt>
                <c:pt idx="10">
                  <c:v>0.15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C$2:$C$12</c:f>
              <c:numCache>
                <c:formatCode>General</c:formatCode>
                <c:ptCount val="11"/>
                <c:pt idx="0">
                  <c:v>0.27910358976489036</c:v>
                </c:pt>
                <c:pt idx="1">
                  <c:v>0.52074732499543841</c:v>
                </c:pt>
                <c:pt idx="2">
                  <c:v>0.74431154513129139</c:v>
                </c:pt>
                <c:pt idx="3">
                  <c:v>0.83507997940991907</c:v>
                </c:pt>
                <c:pt idx="4">
                  <c:v>0.91387901992401832</c:v>
                </c:pt>
                <c:pt idx="5">
                  <c:v>0.96626327118234223</c:v>
                </c:pt>
                <c:pt idx="6">
                  <c:v>0.98329562935480941</c:v>
                </c:pt>
                <c:pt idx="7">
                  <c:v>0.99706205654558366</c:v>
                </c:pt>
                <c:pt idx="8">
                  <c:v>0.99815208474568717</c:v>
                </c:pt>
                <c:pt idx="9">
                  <c:v>0.99921229589785643</c:v>
                </c:pt>
                <c:pt idx="10">
                  <c:v>0.9998568485012110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D$2:$D$12</c:f>
              <c:numCache>
                <c:formatCode>General</c:formatCode>
                <c:ptCount val="11"/>
                <c:pt idx="0">
                  <c:v>21776.25</c:v>
                </c:pt>
                <c:pt idx="1">
                  <c:v>20260.534825870644</c:v>
                </c:pt>
                <c:pt idx="2">
                  <c:v>15409.723926380369</c:v>
                </c:pt>
                <c:pt idx="3">
                  <c:v>8533.8912133891208</c:v>
                </c:pt>
                <c:pt idx="4">
                  <c:v>5863.0573951434872</c:v>
                </c:pt>
                <c:pt idx="5">
                  <c:v>5208.3775811209434</c:v>
                </c:pt>
                <c:pt idx="6">
                  <c:v>2733.7380952380954</c:v>
                </c:pt>
                <c:pt idx="7">
                  <c:v>1925.3319502074692</c:v>
                </c:pt>
                <c:pt idx="8">
                  <c:v>9185</c:v>
                </c:pt>
                <c:pt idx="9">
                  <c:v>2647.037037037037</c:v>
                </c:pt>
                <c:pt idx="10">
                  <c:v>280.322580645161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97299999999999998</c:v>
                </c:pt>
                <c:pt idx="1">
                  <c:v>0.85299999999999998</c:v>
                </c:pt>
                <c:pt idx="2">
                  <c:v>0.92900000000000005</c:v>
                </c:pt>
                <c:pt idx="3">
                  <c:v>0.98199999999999998</c:v>
                </c:pt>
                <c:pt idx="4">
                  <c:v>0.97799999999999998</c:v>
                </c:pt>
                <c:pt idx="5">
                  <c:v>0.81599999999999995</c:v>
                </c:pt>
                <c:pt idx="6">
                  <c:v>0.6</c:v>
                </c:pt>
                <c:pt idx="7">
                  <c:v>0.54300000000000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24780932949770551</c:v>
                </c:pt>
                <c:pt idx="1">
                  <c:v>0.44819158020649852</c:v>
                </c:pt>
                <c:pt idx="2">
                  <c:v>0.62139576178433231</c:v>
                </c:pt>
                <c:pt idx="3">
                  <c:v>0.76491800088127593</c:v>
                </c:pt>
                <c:pt idx="4">
                  <c:v>0.90583752376766236</c:v>
                </c:pt>
                <c:pt idx="5">
                  <c:v>0.95889033581424532</c:v>
                </c:pt>
                <c:pt idx="6">
                  <c:v>0.9857758125834396</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11646.567317574512</c:v>
                </c:pt>
                <c:pt idx="1">
                  <c:v>10742.450175849941</c:v>
                </c:pt>
                <c:pt idx="2">
                  <c:v>8525.8127018299238</c:v>
                </c:pt>
                <c:pt idx="3">
                  <c:v>6683.4521384928712</c:v>
                </c:pt>
                <c:pt idx="4">
                  <c:v>6589.0899795501027</c:v>
                </c:pt>
                <c:pt idx="5">
                  <c:v>2973.1127450980393</c:v>
                </c:pt>
                <c:pt idx="6">
                  <c:v>2049.0833333333335</c:v>
                </c:pt>
                <c:pt idx="7">
                  <c:v>1197.900552486187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St Moret</c:v>
                </c:pt>
                <c:pt idx="4">
                  <c:v>Private Label</c:v>
                </c:pt>
                <c:pt idx="5">
                  <c:v>Others</c:v>
                </c:pt>
              </c:strCache>
            </c:strRef>
          </c:cat>
          <c:val>
            <c:numRef>
              <c:f>Sheet1!$B$2:$B$7</c:f>
              <c:numCache>
                <c:formatCode>General</c:formatCode>
                <c:ptCount val="6"/>
                <c:pt idx="0">
                  <c:v>0.57868353943876305</c:v>
                </c:pt>
                <c:pt idx="1">
                  <c:v>0.14180269971278547</c:v>
                </c:pt>
                <c:pt idx="2">
                  <c:v>0.11660559678818318</c:v>
                </c:pt>
                <c:pt idx="3">
                  <c:v>8.1646965030461358E-2</c:v>
                </c:pt>
                <c:pt idx="4">
                  <c:v>7.3120250962142738E-2</c:v>
                </c:pt>
                <c:pt idx="5">
                  <c:v>8.140948067664213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St Moret</c:v>
                </c:pt>
                <c:pt idx="4">
                  <c:v>Private Label</c:v>
                </c:pt>
                <c:pt idx="5">
                  <c:v>Others</c:v>
                </c:pt>
              </c:strCache>
            </c:strRef>
          </c:cat>
          <c:val>
            <c:numRef>
              <c:f>Sheet1!$C$2:$C$7</c:f>
              <c:numCache>
                <c:formatCode>General</c:formatCode>
                <c:ptCount val="6"/>
                <c:pt idx="0">
                  <c:v>0.40959119496855345</c:v>
                </c:pt>
                <c:pt idx="1">
                  <c:v>0.20007861635220128</c:v>
                </c:pt>
                <c:pt idx="2">
                  <c:v>0.1470125786163522</c:v>
                </c:pt>
                <c:pt idx="3">
                  <c:v>0.14111635220125784</c:v>
                </c:pt>
                <c:pt idx="4">
                  <c:v>7.1147798742138363E-2</c:v>
                </c:pt>
                <c:pt idx="5">
                  <c:v>3.105345911949685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St Moret</c:v>
                </c:pt>
                <c:pt idx="4">
                  <c:v>Private Label</c:v>
                </c:pt>
                <c:pt idx="5">
                  <c:v>Others</c:v>
                </c:pt>
              </c:strCache>
            </c:strRef>
          </c:cat>
          <c:val>
            <c:numRef>
              <c:f>Sheet1!$D$2:$D$7</c:f>
              <c:numCache>
                <c:formatCode>General</c:formatCode>
                <c:ptCount val="6"/>
                <c:pt idx="0">
                  <c:v>70.779824732149109</c:v>
                </c:pt>
                <c:pt idx="1">
                  <c:v>141.09647895100085</c:v>
                </c:pt>
                <c:pt idx="2">
                  <c:v>126.07677732948275</c:v>
                </c:pt>
                <c:pt idx="3">
                  <c:v>172.83722934295142</c:v>
                </c:pt>
                <c:pt idx="4">
                  <c:v>97.302454253028216</c:v>
                </c:pt>
                <c:pt idx="5">
                  <c:v>381.447699474229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B$2:$B$9</c:f>
              <c:numCache>
                <c:formatCode>General</c:formatCode>
                <c:ptCount val="8"/>
                <c:pt idx="0">
                  <c:v>0.94199999999999995</c:v>
                </c:pt>
                <c:pt idx="1">
                  <c:v>0.996</c:v>
                </c:pt>
                <c:pt idx="2">
                  <c:v>0.93799999999999994</c:v>
                </c:pt>
                <c:pt idx="3">
                  <c:v>0.93400000000000005</c:v>
                </c:pt>
                <c:pt idx="4">
                  <c:v>0.81100000000000005</c:v>
                </c:pt>
                <c:pt idx="5">
                  <c:v>0.80600000000000005</c:v>
                </c:pt>
                <c:pt idx="6">
                  <c:v>0.625</c:v>
                </c:pt>
                <c:pt idx="7">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C$2:$C$9</c:f>
              <c:numCache>
                <c:formatCode>General</c:formatCode>
                <c:ptCount val="8"/>
                <c:pt idx="0">
                  <c:v>0.29494178593354753</c:v>
                </c:pt>
                <c:pt idx="1">
                  <c:v>0.55715390985540947</c:v>
                </c:pt>
                <c:pt idx="2">
                  <c:v>0.81630237737333533</c:v>
                </c:pt>
                <c:pt idx="3">
                  <c:v>0.88106488568369778</c:v>
                </c:pt>
                <c:pt idx="4">
                  <c:v>0.94094968400299883</c:v>
                </c:pt>
                <c:pt idx="5">
                  <c:v>0.97918883794183664</c:v>
                </c:pt>
                <c:pt idx="6">
                  <c:v>0.99983441127996742</c:v>
                </c:pt>
                <c:pt idx="7">
                  <c:v>0.9999886897779275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D$2:$D$9</c:f>
              <c:numCache>
                <c:formatCode>General</c:formatCode>
                <c:ptCount val="8"/>
                <c:pt idx="0">
                  <c:v>17717.165605095543</c:v>
                </c:pt>
                <c:pt idx="1">
                  <c:v>14897.118473895584</c:v>
                </c:pt>
                <c:pt idx="2">
                  <c:v>15633.443496801707</c:v>
                </c:pt>
                <c:pt idx="3">
                  <c:v>3923.6081370449679</c:v>
                </c:pt>
                <c:pt idx="4">
                  <c:v>4178.3477188655979</c:v>
                </c:pt>
                <c:pt idx="5">
                  <c:v>2684.6153846153843</c:v>
                </c:pt>
                <c:pt idx="6">
                  <c:v>1869.2</c:v>
                </c:pt>
                <c:pt idx="7">
                  <c:v>873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Gouter Fromage Blanc Dips Boite 1X175Gr 5P</c:v>
                </c:pt>
                <c:pt idx="2">
                  <c:v>Kiri Creme Fromage Blanc Frais Carre 1X216Gr 12P</c:v>
                </c:pt>
                <c:pt idx="3">
                  <c:v>Kiri Creme Fromage Blanc Frais Carre 1X432Gr 18+6P</c:v>
                </c:pt>
                <c:pt idx="4">
                  <c:v>Kiri Creme Fromage Blanc Frais Carre 1X144Gr 8P</c:v>
                </c:pt>
                <c:pt idx="5">
                  <c:v>Kiri Gouter Fromage Blanc Dips Boite 1X280Gr 8P</c:v>
                </c:pt>
                <c:pt idx="6">
                  <c:v>Kiri Bio Fromage Blanc Frais Carre 1X144Gr 8P</c:v>
                </c:pt>
                <c:pt idx="7">
                  <c:v>Kiri Chevre Fromage Blanc Frais Carre 1X144Gr 8P</c:v>
                </c:pt>
              </c:strCache>
            </c:strRef>
          </c:cat>
          <c:val>
            <c:numRef>
              <c:f>Sheet1!$B$2:$B$9</c:f>
              <c:numCache>
                <c:formatCode>General</c:formatCode>
                <c:ptCount val="8"/>
                <c:pt idx="0">
                  <c:v>0.98</c:v>
                </c:pt>
                <c:pt idx="1">
                  <c:v>1</c:v>
                </c:pt>
                <c:pt idx="2">
                  <c:v>1</c:v>
                </c:pt>
                <c:pt idx="3">
                  <c:v>0.98</c:v>
                </c:pt>
                <c:pt idx="4">
                  <c:v>1</c:v>
                </c:pt>
                <c:pt idx="5">
                  <c:v>0.98</c:v>
                </c:pt>
                <c:pt idx="6">
                  <c:v>0.54</c:v>
                </c:pt>
                <c:pt idx="7">
                  <c:v>0.1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Gouter Fromage Blanc Dips Boite 1X175Gr 5P</c:v>
                </c:pt>
                <c:pt idx="2">
                  <c:v>Kiri Creme Fromage Blanc Frais Carre 1X216Gr 12P</c:v>
                </c:pt>
                <c:pt idx="3">
                  <c:v>Kiri Creme Fromage Blanc Frais Carre 1X432Gr 18+6P</c:v>
                </c:pt>
                <c:pt idx="4">
                  <c:v>Kiri Creme Fromage Blanc Frais Carre 1X144Gr 8P</c:v>
                </c:pt>
                <c:pt idx="5">
                  <c:v>Kiri Gouter Fromage Blanc Dips Boite 1X280Gr 8P</c:v>
                </c:pt>
                <c:pt idx="6">
                  <c:v>Kiri Bio Fromage Blanc Frais Carre 1X144Gr 8P</c:v>
                </c:pt>
                <c:pt idx="7">
                  <c:v>Kiri Chevre Fromage Blanc Frais Carre 1X144Gr 8P</c:v>
                </c:pt>
              </c:strCache>
            </c:strRef>
          </c:cat>
          <c:val>
            <c:numRef>
              <c:f>Sheet1!$C$2:$C$9</c:f>
              <c:numCache>
                <c:formatCode>General</c:formatCode>
                <c:ptCount val="8"/>
                <c:pt idx="0">
                  <c:v>0.35755974196572332</c:v>
                </c:pt>
                <c:pt idx="1">
                  <c:v>0.54856934019205028</c:v>
                </c:pt>
                <c:pt idx="2">
                  <c:v>0.6946426485345798</c:v>
                </c:pt>
                <c:pt idx="3">
                  <c:v>0.80372239844553528</c:v>
                </c:pt>
                <c:pt idx="4">
                  <c:v>0.89969680222266435</c:v>
                </c:pt>
                <c:pt idx="5">
                  <c:v>0.98910424294690946</c:v>
                </c:pt>
                <c:pt idx="6">
                  <c:v>0.99950556648541011</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Gouter Fromage Blanc Dips Boite 1X175Gr 5P</c:v>
                </c:pt>
                <c:pt idx="2">
                  <c:v>Kiri Creme Fromage Blanc Frais Carre 1X216Gr 12P</c:v>
                </c:pt>
                <c:pt idx="3">
                  <c:v>Kiri Creme Fromage Blanc Frais Carre 1X432Gr 18+6P</c:v>
                </c:pt>
                <c:pt idx="4">
                  <c:v>Kiri Creme Fromage Blanc Frais Carre 1X144Gr 8P</c:v>
                </c:pt>
                <c:pt idx="5">
                  <c:v>Kiri Gouter Fromage Blanc Dips Boite 1X280Gr 8P</c:v>
                </c:pt>
                <c:pt idx="6">
                  <c:v>Kiri Bio Fromage Blanc Frais Carre 1X144Gr 8P</c:v>
                </c:pt>
                <c:pt idx="7">
                  <c:v>Kiri Chevre Fromage Blanc Frais Carre 1X144Gr 8P</c:v>
                </c:pt>
              </c:strCache>
            </c:strRef>
          </c:cat>
          <c:val>
            <c:numRef>
              <c:f>Sheet1!$D$2:$D$9</c:f>
              <c:numCache>
                <c:formatCode>General</c:formatCode>
                <c:ptCount val="8"/>
                <c:pt idx="0">
                  <c:v>10212.938775510203</c:v>
                </c:pt>
                <c:pt idx="1">
                  <c:v>5346.67</c:v>
                </c:pt>
                <c:pt idx="2">
                  <c:v>4088.83</c:v>
                </c:pt>
                <c:pt idx="3">
                  <c:v>3115.6326530612246</c:v>
                </c:pt>
                <c:pt idx="4">
                  <c:v>2686.48</c:v>
                </c:pt>
                <c:pt idx="5">
                  <c:v>2553.7346938775509</c:v>
                </c:pt>
                <c:pt idx="6">
                  <c:v>539.16666666666663</c:v>
                </c:pt>
                <c:pt idx="7">
                  <c:v>92.2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Aro Fromage Fondu Boite Ronde Jambon 1X133Gr 8P</c:v>
                </c:pt>
                <c:pt idx="9">
                  <c:v>La Vache Qui Rit Bio Fromage Fondu Boite Ronde 1X128Gr 8P</c:v>
                </c:pt>
              </c:strCache>
            </c:strRef>
          </c:cat>
          <c:val>
            <c:numRef>
              <c:f>Sheet1!$B$2:$B$11</c:f>
              <c:numCache>
                <c:formatCode>General</c:formatCode>
                <c:ptCount val="10"/>
                <c:pt idx="0">
                  <c:v>0.98</c:v>
                </c:pt>
                <c:pt idx="1">
                  <c:v>0.98</c:v>
                </c:pt>
                <c:pt idx="2">
                  <c:v>1</c:v>
                </c:pt>
                <c:pt idx="3">
                  <c:v>0.93</c:v>
                </c:pt>
                <c:pt idx="4">
                  <c:v>1</c:v>
                </c:pt>
                <c:pt idx="5">
                  <c:v>0.93</c:v>
                </c:pt>
                <c:pt idx="6">
                  <c:v>0.93</c:v>
                </c:pt>
                <c:pt idx="7">
                  <c:v>0.84</c:v>
                </c:pt>
                <c:pt idx="8">
                  <c:v>0.06</c:v>
                </c:pt>
                <c:pt idx="9">
                  <c:v>0.1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Aro Fromage Fondu Boite Ronde Jambon 1X133Gr 8P</c:v>
                </c:pt>
                <c:pt idx="9">
                  <c:v>La Vache Qui Rit Bio Fromage Fondu Boite Ronde 1X128Gr 8P</c:v>
                </c:pt>
              </c:strCache>
            </c:strRef>
          </c:cat>
          <c:val>
            <c:numRef>
              <c:f>Sheet1!$C$2:$C$11</c:f>
              <c:numCache>
                <c:formatCode>General</c:formatCode>
                <c:ptCount val="10"/>
                <c:pt idx="0">
                  <c:v>0.31155776586507067</c:v>
                </c:pt>
                <c:pt idx="1">
                  <c:v>0.6224756901834988</c:v>
                </c:pt>
                <c:pt idx="2">
                  <c:v>0.73485241878188989</c:v>
                </c:pt>
                <c:pt idx="3">
                  <c:v>0.82312988438933032</c:v>
                </c:pt>
                <c:pt idx="4">
                  <c:v>0.89234386100884855</c:v>
                </c:pt>
                <c:pt idx="5">
                  <c:v>0.94540535497714351</c:v>
                </c:pt>
                <c:pt idx="6">
                  <c:v>0.9782218490530834</c:v>
                </c:pt>
                <c:pt idx="7">
                  <c:v>0.99766941520090147</c:v>
                </c:pt>
                <c:pt idx="8">
                  <c:v>0.99972098430536727</c:v>
                </c:pt>
                <c:pt idx="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Aro Fromage Fondu Boite Ronde Jambon 1X133Gr 8P</c:v>
                </c:pt>
                <c:pt idx="9">
                  <c:v>La Vache Qui Rit Bio Fromage Fondu Boite Ronde 1X128Gr 8P</c:v>
                </c:pt>
              </c:strCache>
            </c:strRef>
          </c:cat>
          <c:val>
            <c:numRef>
              <c:f>Sheet1!$D$2:$D$11</c:f>
              <c:numCache>
                <c:formatCode>General</c:formatCode>
                <c:ptCount val="10"/>
                <c:pt idx="0">
                  <c:v>11075.163265306122</c:v>
                </c:pt>
                <c:pt idx="1">
                  <c:v>11052.418367346938</c:v>
                </c:pt>
                <c:pt idx="2">
                  <c:v>3914.84</c:v>
                </c:pt>
                <c:pt idx="3">
                  <c:v>3306.7741935483873</c:v>
                </c:pt>
                <c:pt idx="4">
                  <c:v>2411.19</c:v>
                </c:pt>
                <c:pt idx="5">
                  <c:v>1987.6236559139784</c:v>
                </c:pt>
                <c:pt idx="6">
                  <c:v>1229.2688172043011</c:v>
                </c:pt>
                <c:pt idx="7">
                  <c:v>806.53571428571433</c:v>
                </c:pt>
                <c:pt idx="8">
                  <c:v>1191.1666666666667</c:v>
                </c:pt>
                <c:pt idx="9">
                  <c:v>51.15789473684210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84</c:v>
                </c:pt>
                <c:pt idx="1">
                  <c:v>0.97</c:v>
                </c:pt>
                <c:pt idx="2">
                  <c:v>0.99</c:v>
                </c:pt>
                <c:pt idx="3">
                  <c:v>0.99</c:v>
                </c:pt>
                <c:pt idx="4">
                  <c:v>0.72</c:v>
                </c:pt>
                <c:pt idx="5">
                  <c:v>0.71</c:v>
                </c:pt>
                <c:pt idx="6">
                  <c:v>0.39</c:v>
                </c:pt>
                <c:pt idx="7">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23664285902000881</c:v>
                </c:pt>
                <c:pt idx="1">
                  <c:v>0.45757771273894127</c:v>
                </c:pt>
                <c:pt idx="2">
                  <c:v>0.62494187533889289</c:v>
                </c:pt>
                <c:pt idx="3">
                  <c:v>0.79131597450720736</c:v>
                </c:pt>
                <c:pt idx="4">
                  <c:v>0.89912401375791273</c:v>
                </c:pt>
                <c:pt idx="5">
                  <c:v>0.97758573622157241</c:v>
                </c:pt>
                <c:pt idx="6">
                  <c:v>0.99935801412368919</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5252.7023809523807</c:v>
                </c:pt>
                <c:pt idx="1">
                  <c:v>4246.7938144329901</c:v>
                </c:pt>
                <c:pt idx="2">
                  <c:v>3152.0707070707072</c:v>
                </c:pt>
                <c:pt idx="3">
                  <c:v>3133.4242424242425</c:v>
                </c:pt>
                <c:pt idx="4">
                  <c:v>2791.8194444444443</c:v>
                </c:pt>
                <c:pt idx="5">
                  <c:v>2060.4788732394368</c:v>
                </c:pt>
                <c:pt idx="6">
                  <c:v>1040.8974358974358</c:v>
                </c:pt>
                <c:pt idx="7">
                  <c:v>3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Allegee Fromage Fondu Boite Ronde Allege 1X267Gr 16P</c:v>
                </c:pt>
                <c:pt idx="7">
                  <c:v>La Vache Qui Rit Bio Fromage Fondu Boite Ronde 1X128Gr 8P</c:v>
                </c:pt>
              </c:strCache>
            </c:strRef>
          </c:cat>
          <c:val>
            <c:numRef>
              <c:f>Sheet1!$B$2:$B$9</c:f>
              <c:numCache>
                <c:formatCode>General</c:formatCode>
                <c:ptCount val="8"/>
                <c:pt idx="0">
                  <c:v>0.95</c:v>
                </c:pt>
                <c:pt idx="1">
                  <c:v>0.91</c:v>
                </c:pt>
                <c:pt idx="2">
                  <c:v>0.99</c:v>
                </c:pt>
                <c:pt idx="3">
                  <c:v>0.78</c:v>
                </c:pt>
                <c:pt idx="4">
                  <c:v>0.97</c:v>
                </c:pt>
                <c:pt idx="5">
                  <c:v>0.64</c:v>
                </c:pt>
                <c:pt idx="6">
                  <c:v>0.27</c:v>
                </c:pt>
                <c:pt idx="7">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Allegee Fromage Fondu Boite Ronde Allege 1X267Gr 16P</c:v>
                </c:pt>
                <c:pt idx="7">
                  <c:v>La Vache Qui Rit Bio Fromage Fondu Boite Ronde 1X128Gr 8P</c:v>
                </c:pt>
              </c:strCache>
            </c:strRef>
          </c:cat>
          <c:val>
            <c:numRef>
              <c:f>Sheet1!$C$2:$C$9</c:f>
              <c:numCache>
                <c:formatCode>General</c:formatCode>
                <c:ptCount val="8"/>
                <c:pt idx="0">
                  <c:v>0.25837049228251807</c:v>
                </c:pt>
                <c:pt idx="1">
                  <c:v>0.48705938408211219</c:v>
                </c:pt>
                <c:pt idx="2">
                  <c:v>0.69786404855056361</c:v>
                </c:pt>
                <c:pt idx="3">
                  <c:v>0.84229134514446891</c:v>
                </c:pt>
                <c:pt idx="4">
                  <c:v>0.91882169589078</c:v>
                </c:pt>
                <c:pt idx="5">
                  <c:v>0.98704989265192433</c:v>
                </c:pt>
                <c:pt idx="6">
                  <c:v>0.99892272267369764</c:v>
                </c:pt>
                <c:pt idx="7">
                  <c:v>0.999765087102854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Allegee Fromage Fondu Boite Ronde Allege 1X267Gr 16P</c:v>
                </c:pt>
                <c:pt idx="7">
                  <c:v>La Vache Qui Rit Bio Fromage Fondu Boite Ronde 1X128Gr 8P</c:v>
                </c:pt>
              </c:strCache>
            </c:strRef>
          </c:cat>
          <c:val>
            <c:numRef>
              <c:f>Sheet1!$D$2:$D$9</c:f>
              <c:numCache>
                <c:formatCode>General</c:formatCode>
                <c:ptCount val="8"/>
                <c:pt idx="0">
                  <c:v>5730.8315789473681</c:v>
                </c:pt>
                <c:pt idx="1">
                  <c:v>5295.4395604395604</c:v>
                </c:pt>
                <c:pt idx="2">
                  <c:v>4486.8686868686873</c:v>
                </c:pt>
                <c:pt idx="3">
                  <c:v>3901.6923076923076</c:v>
                </c:pt>
                <c:pt idx="4">
                  <c:v>1662.4948453608247</c:v>
                </c:pt>
                <c:pt idx="5">
                  <c:v>2246.375</c:v>
                </c:pt>
                <c:pt idx="6">
                  <c:v>926.59259259259261</c:v>
                </c:pt>
                <c:pt idx="7">
                  <c:v>110.9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Kiri Creme Fromage Blanc Frais Carre 1X144Gr 8P</c:v>
                </c:pt>
                <c:pt idx="1">
                  <c:v>Kiri Gouter Fromage Blanc Dips Boite 1X175Gr 5P</c:v>
                </c:pt>
                <c:pt idx="2">
                  <c:v>Kiri Creme Fromage Blanc Frais Carre 1X216Gr 12P</c:v>
                </c:pt>
                <c:pt idx="3">
                  <c:v>Kiri Gouter Fromage Blanc Dips Boite 1X280Gr 8P</c:v>
                </c:pt>
              </c:strCache>
            </c:strRef>
          </c:cat>
          <c:val>
            <c:numRef>
              <c:f>Sheet1!$B$2:$B$5</c:f>
              <c:numCache>
                <c:formatCode>General</c:formatCode>
                <c:ptCount val="4"/>
                <c:pt idx="0">
                  <c:v>0.96</c:v>
                </c:pt>
                <c:pt idx="1">
                  <c:v>0.71</c:v>
                </c:pt>
                <c:pt idx="2">
                  <c:v>0.02</c:v>
                </c:pt>
                <c:pt idx="3">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Kiri Creme Fromage Blanc Frais Carre 1X144Gr 8P</c:v>
                </c:pt>
                <c:pt idx="1">
                  <c:v>Kiri Gouter Fromage Blanc Dips Boite 1X175Gr 5P</c:v>
                </c:pt>
                <c:pt idx="2">
                  <c:v>Kiri Creme Fromage Blanc Frais Carre 1X216Gr 12P</c:v>
                </c:pt>
                <c:pt idx="3">
                  <c:v>Kiri Gouter Fromage Blanc Dips Boite 1X280Gr 8P</c:v>
                </c:pt>
              </c:strCache>
            </c:strRef>
          </c:cat>
          <c:val>
            <c:numRef>
              <c:f>Sheet1!$C$2:$C$5</c:f>
              <c:numCache>
                <c:formatCode>General</c:formatCode>
                <c:ptCount val="4"/>
                <c:pt idx="0">
                  <c:v>0.68838858844281969</c:v>
                </c:pt>
                <c:pt idx="1">
                  <c:v>0.98335321038592449</c:v>
                </c:pt>
                <c:pt idx="2">
                  <c:v>0.99363160137819395</c:v>
                </c:pt>
                <c:pt idx="3">
                  <c:v>0.99985484138808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c:f>
              <c:strCache>
                <c:ptCount val="4"/>
                <c:pt idx="0">
                  <c:v>Kiri Creme Fromage Blanc Frais Carre 1X144Gr 8P</c:v>
                </c:pt>
                <c:pt idx="1">
                  <c:v>Kiri Gouter Fromage Blanc Dips Boite 1X175Gr 5P</c:v>
                </c:pt>
                <c:pt idx="2">
                  <c:v>Kiri Creme Fromage Blanc Frais Carre 1X216Gr 12P</c:v>
                </c:pt>
                <c:pt idx="3">
                  <c:v>Kiri Gouter Fromage Blanc Dips Boite 1X280Gr 8P</c:v>
                </c:pt>
              </c:strCache>
            </c:strRef>
          </c:cat>
          <c:val>
            <c:numRef>
              <c:f>Sheet1!$D$2:$D$5</c:f>
              <c:numCache>
                <c:formatCode>General</c:formatCode>
                <c:ptCount val="4"/>
                <c:pt idx="0">
                  <c:v>6174.895833333333</c:v>
                </c:pt>
                <c:pt idx="1">
                  <c:v>3577.4929577464791</c:v>
                </c:pt>
                <c:pt idx="2">
                  <c:v>4425.5</c:v>
                </c:pt>
                <c:pt idx="3">
                  <c:v>2679.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Pik Et Croq' Fromage Fondu Dips Boite 1X35Gr 1P</c:v>
                </c:pt>
                <c:pt idx="5">
                  <c:v>La Vache Qui Rit Bio Fromage Fondu Boite Ronde 1X128Gr 8P</c:v>
                </c:pt>
              </c:strCache>
            </c:strRef>
          </c:cat>
          <c:val>
            <c:numRef>
              <c:f>Sheet1!$B$2:$B$7</c:f>
              <c:numCache>
                <c:formatCode>General</c:formatCode>
                <c:ptCount val="6"/>
                <c:pt idx="0">
                  <c:v>0.89</c:v>
                </c:pt>
                <c:pt idx="1">
                  <c:v>0.45</c:v>
                </c:pt>
                <c:pt idx="2">
                  <c:v>0.51</c:v>
                </c:pt>
                <c:pt idx="3">
                  <c:v>0.09</c:v>
                </c:pt>
                <c:pt idx="4">
                  <c:v>0.05</c:v>
                </c:pt>
                <c:pt idx="5">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Pik Et Croq' Fromage Fondu Dips Boite 1X35Gr 1P</c:v>
                </c:pt>
                <c:pt idx="5">
                  <c:v>La Vache Qui Rit Bio Fromage Fondu Boite Ronde 1X128Gr 8P</c:v>
                </c:pt>
              </c:strCache>
            </c:strRef>
          </c:cat>
          <c:val>
            <c:numRef>
              <c:f>Sheet1!$C$2:$C$7</c:f>
              <c:numCache>
                <c:formatCode>General</c:formatCode>
                <c:ptCount val="6"/>
                <c:pt idx="0">
                  <c:v>0.58367723779874481</c:v>
                </c:pt>
                <c:pt idx="1">
                  <c:v>0.85684503912556265</c:v>
                </c:pt>
                <c:pt idx="2">
                  <c:v>0.96882908462440598</c:v>
                </c:pt>
                <c:pt idx="3">
                  <c:v>0.9901379761812652</c:v>
                </c:pt>
                <c:pt idx="4">
                  <c:v>0.99652603603846401</c:v>
                </c:pt>
                <c:pt idx="5">
                  <c:v>0.9979152738789380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Pik Et Croq' Fromage Fondu Dips Boite 1X35Gr 1P</c:v>
                </c:pt>
                <c:pt idx="5">
                  <c:v>La Vache Qui Rit Bio Fromage Fondu Boite Ronde 1X128Gr 8P</c:v>
                </c:pt>
              </c:strCache>
            </c:strRef>
          </c:cat>
          <c:val>
            <c:numRef>
              <c:f>Sheet1!$D$2:$D$7</c:f>
              <c:numCache>
                <c:formatCode>General</c:formatCode>
                <c:ptCount val="6"/>
                <c:pt idx="0">
                  <c:v>7543.6741573033705</c:v>
                </c:pt>
                <c:pt idx="1">
                  <c:v>6982.6</c:v>
                </c:pt>
                <c:pt idx="2">
                  <c:v>2525.7254901960782</c:v>
                </c:pt>
                <c:pt idx="3">
                  <c:v>2723.4444444444443</c:v>
                </c:pt>
                <c:pt idx="4">
                  <c:v>1469.6</c:v>
                </c:pt>
                <c:pt idx="5">
                  <c:v>319.6000000000000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99</c:v>
                </c:pt>
                <c:pt idx="1">
                  <c:v>0.89</c:v>
                </c:pt>
                <c:pt idx="2">
                  <c:v>0.96</c:v>
                </c:pt>
                <c:pt idx="3">
                  <c:v>0.99</c:v>
                </c:pt>
                <c:pt idx="4">
                  <c:v>0.99</c:v>
                </c:pt>
                <c:pt idx="5">
                  <c:v>0.83</c:v>
                </c:pt>
                <c:pt idx="6">
                  <c:v>0.6</c:v>
                </c:pt>
                <c:pt idx="7">
                  <c:v>0.5799999999999999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24865066901957078</c:v>
                </c:pt>
                <c:pt idx="1">
                  <c:v>0.4547255616303898</c:v>
                </c:pt>
                <c:pt idx="2">
                  <c:v>0.63208212755751392</c:v>
                </c:pt>
                <c:pt idx="3">
                  <c:v>0.77093527354552649</c:v>
                </c:pt>
                <c:pt idx="4">
                  <c:v>0.90616073392867869</c:v>
                </c:pt>
                <c:pt idx="5">
                  <c:v>0.95787589714681187</c:v>
                </c:pt>
                <c:pt idx="6">
                  <c:v>0.98448378789549873</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8607.9696969696961</c:v>
                </c:pt>
                <c:pt idx="1">
                  <c:v>7935.6292134831465</c:v>
                </c:pt>
                <c:pt idx="2">
                  <c:v>6331.729166666667</c:v>
                </c:pt>
                <c:pt idx="3">
                  <c:v>4806.9191919191917</c:v>
                </c:pt>
                <c:pt idx="4">
                  <c:v>4681.333333333333</c:v>
                </c:pt>
                <c:pt idx="5">
                  <c:v>2135.4337349397592</c:v>
                </c:pt>
                <c:pt idx="6">
                  <c:v>1519.8666666666666</c:v>
                </c:pt>
                <c:pt idx="7">
                  <c:v>916.862068965517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0.98</c:v>
                </c:pt>
                <c:pt idx="1">
                  <c:v>0.97</c:v>
                </c:pt>
                <c:pt idx="2">
                  <c:v>1</c:v>
                </c:pt>
                <c:pt idx="3">
                  <c:v>0.95</c:v>
                </c:pt>
                <c:pt idx="4">
                  <c:v>0.86</c:v>
                </c:pt>
                <c:pt idx="5">
                  <c:v>0.84</c:v>
                </c:pt>
                <c:pt idx="6">
                  <c:v>0.6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C$2:$C$8</c:f>
              <c:numCache>
                <c:formatCode>General</c:formatCode>
                <c:ptCount val="7"/>
                <c:pt idx="0">
                  <c:v>0.29845075729383747</c:v>
                </c:pt>
                <c:pt idx="1">
                  <c:v>0.56394481244417982</c:v>
                </c:pt>
                <c:pt idx="2">
                  <c:v>0.81731216507889259</c:v>
                </c:pt>
                <c:pt idx="3">
                  <c:v>0.87956283492110754</c:v>
                </c:pt>
                <c:pt idx="4">
                  <c:v>0.94042637317654065</c:v>
                </c:pt>
                <c:pt idx="5">
                  <c:v>0.97883275342363796</c:v>
                </c:pt>
                <c:pt idx="6">
                  <c:v>0.999888359630842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c:f>
              <c:strCache>
                <c:ptCount val="7"/>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D$2:$D$8</c:f>
              <c:numCache>
                <c:formatCode>General</c:formatCode>
                <c:ptCount val="7"/>
                <c:pt idx="0">
                  <c:v>13093.826530612245</c:v>
                </c:pt>
                <c:pt idx="1">
                  <c:v>11768.01030927835</c:v>
                </c:pt>
                <c:pt idx="2">
                  <c:v>10893.58</c:v>
                </c:pt>
                <c:pt idx="3">
                  <c:v>2817.3473684210526</c:v>
                </c:pt>
                <c:pt idx="4">
                  <c:v>3042.8372093023254</c:v>
                </c:pt>
                <c:pt idx="5">
                  <c:v>1965.8214285714287</c:v>
                </c:pt>
                <c:pt idx="6">
                  <c:v>1414.5156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Creme Fromage Blanc Frais Carre 1X216Gr 12P</c:v>
                </c:pt>
                <c:pt idx="2">
                  <c:v>Kiri Gouter Fromage Blanc Dips Boite 1X280Gr 8P</c:v>
                </c:pt>
                <c:pt idx="3">
                  <c:v>Kiri Gouter Fromage Blanc Dips Boite 1X175Gr 5P</c:v>
                </c:pt>
                <c:pt idx="4">
                  <c:v>Kiri Creme Fromage Blanc Frais Carre 1X144Gr 8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99</c:v>
                </c:pt>
                <c:pt idx="1">
                  <c:v>0.99</c:v>
                </c:pt>
                <c:pt idx="2">
                  <c:v>0.99</c:v>
                </c:pt>
                <c:pt idx="3">
                  <c:v>0.99</c:v>
                </c:pt>
                <c:pt idx="4">
                  <c:v>0.99</c:v>
                </c:pt>
                <c:pt idx="5">
                  <c:v>0.94</c:v>
                </c:pt>
                <c:pt idx="6">
                  <c:v>0.87</c:v>
                </c:pt>
                <c:pt idx="7">
                  <c:v>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Creme Fromage Blanc Frais Carre 1X216Gr 12P</c:v>
                </c:pt>
                <c:pt idx="2">
                  <c:v>Kiri Gouter Fromage Blanc Dips Boite 1X280Gr 8P</c:v>
                </c:pt>
                <c:pt idx="3">
                  <c:v>Kiri Gouter Fromage Blanc Dips Boite 1X175Gr 5P</c:v>
                </c:pt>
                <c:pt idx="4">
                  <c:v>Kiri Creme Fromage Blanc Frais Carre 1X144Gr 8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23561257377914718</c:v>
                </c:pt>
                <c:pt idx="1">
                  <c:v>0.46168054909810163</c:v>
                </c:pt>
                <c:pt idx="2">
                  <c:v>0.64227771692448321</c:v>
                </c:pt>
                <c:pt idx="3">
                  <c:v>0.77669169969818519</c:v>
                </c:pt>
                <c:pt idx="4">
                  <c:v>0.90376913923671587</c:v>
                </c:pt>
                <c:pt idx="5">
                  <c:v>0.95834955358198259</c:v>
                </c:pt>
                <c:pt idx="6">
                  <c:v>0.98632298126856799</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Creme Fromage Blanc Frais Carre 1X216Gr 12P</c:v>
                </c:pt>
                <c:pt idx="2">
                  <c:v>Kiri Gouter Fromage Blanc Dips Boite 1X280Gr 8P</c:v>
                </c:pt>
                <c:pt idx="3">
                  <c:v>Kiri Gouter Fromage Blanc Dips Boite 1X175Gr 5P</c:v>
                </c:pt>
                <c:pt idx="4">
                  <c:v>Kiri Creme Fromage Blanc Frais Carre 1X144Gr 8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1510.0505050505051</c:v>
                </c:pt>
                <c:pt idx="1">
                  <c:v>1448.878787878788</c:v>
                </c:pt>
                <c:pt idx="2">
                  <c:v>1157.4545454545455</c:v>
                </c:pt>
                <c:pt idx="3">
                  <c:v>861.46464646464642</c:v>
                </c:pt>
                <c:pt idx="4">
                  <c:v>814.44444444444446</c:v>
                </c:pt>
                <c:pt idx="5">
                  <c:v>368.41489361702128</c:v>
                </c:pt>
                <c:pt idx="6">
                  <c:v>204.01149425287358</c:v>
                </c:pt>
                <c:pt idx="7">
                  <c:v>118.8767123287671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St Moret</c:v>
                </c:pt>
                <c:pt idx="4">
                  <c:v>Private Label</c:v>
                </c:pt>
                <c:pt idx="5">
                  <c:v>Others</c:v>
                </c:pt>
              </c:strCache>
            </c:strRef>
          </c:cat>
          <c:val>
            <c:numRef>
              <c:f>Sheet1!$B$2:$B$7</c:f>
              <c:numCache>
                <c:formatCode>General</c:formatCode>
                <c:ptCount val="6"/>
                <c:pt idx="0">
                  <c:v>0.58653872451974354</c:v>
                </c:pt>
                <c:pt idx="1">
                  <c:v>0.13437572100701495</c:v>
                </c:pt>
                <c:pt idx="2">
                  <c:v>0.11855406579581292</c:v>
                </c:pt>
                <c:pt idx="3">
                  <c:v>8.3430987049399108E-2</c:v>
                </c:pt>
                <c:pt idx="4">
                  <c:v>6.6995007563341674E-2</c:v>
                </c:pt>
                <c:pt idx="5">
                  <c:v>1.010549406468778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St Moret</c:v>
                </c:pt>
                <c:pt idx="4">
                  <c:v>Private Label</c:v>
                </c:pt>
                <c:pt idx="5">
                  <c:v>Others</c:v>
                </c:pt>
              </c:strCache>
            </c:strRef>
          </c:cat>
          <c:val>
            <c:numRef>
              <c:f>Sheet1!$C$2:$C$7</c:f>
              <c:numCache>
                <c:formatCode>General</c:formatCode>
                <c:ptCount val="6"/>
                <c:pt idx="0">
                  <c:v>0.4151830702049043</c:v>
                </c:pt>
                <c:pt idx="1">
                  <c:v>0.19751427611689626</c:v>
                </c:pt>
                <c:pt idx="2">
                  <c:v>0.14477662075915351</c:v>
                </c:pt>
                <c:pt idx="3">
                  <c:v>0.13066845817937522</c:v>
                </c:pt>
                <c:pt idx="4">
                  <c:v>6.6174000671817279E-2</c:v>
                </c:pt>
                <c:pt idx="5">
                  <c:v>4.568357406785354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St Moret</c:v>
                </c:pt>
                <c:pt idx="4">
                  <c:v>Private Label</c:v>
                </c:pt>
                <c:pt idx="5">
                  <c:v>Others</c:v>
                </c:pt>
              </c:strCache>
            </c:strRef>
          </c:cat>
          <c:val>
            <c:numRef>
              <c:f>Sheet1!$D$2:$D$7</c:f>
              <c:numCache>
                <c:formatCode>General</c:formatCode>
                <c:ptCount val="6"/>
                <c:pt idx="0">
                  <c:v>70.785278592620656</c:v>
                </c:pt>
                <c:pt idx="1">
                  <c:v>146.98657959690891</c:v>
                </c:pt>
                <c:pt idx="2">
                  <c:v>122.1186467012477</c:v>
                </c:pt>
                <c:pt idx="3">
                  <c:v>156.61861713562973</c:v>
                </c:pt>
                <c:pt idx="4">
                  <c:v>98.774525264814457</c:v>
                </c:pt>
                <c:pt idx="5">
                  <c:v>452.0667052538114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B$2:$B$9</c:f>
              <c:numCache>
                <c:formatCode>General</c:formatCode>
                <c:ptCount val="8"/>
                <c:pt idx="0">
                  <c:v>0.99</c:v>
                </c:pt>
                <c:pt idx="1">
                  <c:v>0.99</c:v>
                </c:pt>
                <c:pt idx="2">
                  <c:v>0.99</c:v>
                </c:pt>
                <c:pt idx="3">
                  <c:v>0.98</c:v>
                </c:pt>
                <c:pt idx="4">
                  <c:v>0.99</c:v>
                </c:pt>
                <c:pt idx="5">
                  <c:v>0.96</c:v>
                </c:pt>
                <c:pt idx="6">
                  <c:v>0.88</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C$2:$C$9</c:f>
              <c:numCache>
                <c:formatCode>General</c:formatCode>
                <c:ptCount val="8"/>
                <c:pt idx="0">
                  <c:v>0.31177411991350895</c:v>
                </c:pt>
                <c:pt idx="1">
                  <c:v>0.56594064025445623</c:v>
                </c:pt>
                <c:pt idx="2">
                  <c:v>0.79706336823410773</c:v>
                </c:pt>
                <c:pt idx="3">
                  <c:v>0.87323343049361091</c:v>
                </c:pt>
                <c:pt idx="4">
                  <c:v>0.94056123856778051</c:v>
                </c:pt>
                <c:pt idx="5">
                  <c:v>0.97614598122682816</c:v>
                </c:pt>
                <c:pt idx="6">
                  <c:v>0.99963502184852016</c:v>
                </c:pt>
                <c:pt idx="7">
                  <c:v>0.9999197298910833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strCache>
            </c:strRef>
          </c:cat>
          <c:val>
            <c:numRef>
              <c:f>Sheet1!$D$2:$D$9</c:f>
              <c:numCache>
                <c:formatCode>General</c:formatCode>
                <c:ptCount val="8"/>
                <c:pt idx="0">
                  <c:v>2510.909090909091</c:v>
                </c:pt>
                <c:pt idx="1">
                  <c:v>2046.9595959595961</c:v>
                </c:pt>
                <c:pt idx="2">
                  <c:v>1861.3737373737374</c:v>
                </c:pt>
                <c:pt idx="3">
                  <c:v>619.70408163265301</c:v>
                </c:pt>
                <c:pt idx="4">
                  <c:v>542.23232323232321</c:v>
                </c:pt>
                <c:pt idx="5">
                  <c:v>295.54166666666669</c:v>
                </c:pt>
                <c:pt idx="6">
                  <c:v>212.81818181818181</c:v>
                </c:pt>
                <c:pt idx="7">
                  <c:v>22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216Gr 12P</c:v>
                </c:pt>
                <c:pt idx="1">
                  <c:v>Kiri Creme Fromage Blanc Frais Carre 1X144Gr 8P</c:v>
                </c:pt>
                <c:pt idx="2">
                  <c:v>Kiri Gouter Fromage Blanc Dips Boite 1X175Gr 5P</c:v>
                </c:pt>
                <c:pt idx="3">
                  <c:v>Kiri Gouter Fromage Blanc Dips Boite 1X280Gr 8P</c:v>
                </c:pt>
                <c:pt idx="4">
                  <c:v>Kiri Creme Fromage Blanc Frais Carre 1X432Gr 24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85</c:v>
                </c:pt>
                <c:pt idx="1">
                  <c:v>0.92</c:v>
                </c:pt>
                <c:pt idx="2">
                  <c:v>0.89</c:v>
                </c:pt>
                <c:pt idx="3">
                  <c:v>0.67</c:v>
                </c:pt>
                <c:pt idx="4">
                  <c:v>0.47</c:v>
                </c:pt>
                <c:pt idx="5">
                  <c:v>0.59</c:v>
                </c:pt>
                <c:pt idx="6">
                  <c:v>0.3</c:v>
                </c:pt>
                <c:pt idx="7">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216Gr 12P</c:v>
                </c:pt>
                <c:pt idx="1">
                  <c:v>Kiri Creme Fromage Blanc Frais Carre 1X144Gr 8P</c:v>
                </c:pt>
                <c:pt idx="2">
                  <c:v>Kiri Gouter Fromage Blanc Dips Boite 1X175Gr 5P</c:v>
                </c:pt>
                <c:pt idx="3">
                  <c:v>Kiri Gouter Fromage Blanc Dips Boite 1X280Gr 8P</c:v>
                </c:pt>
                <c:pt idx="4">
                  <c:v>Kiri Creme Fromage Blanc Frais Carre 1X432Gr 24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26915522550404369</c:v>
                </c:pt>
                <c:pt idx="1">
                  <c:v>0.46439512800147115</c:v>
                </c:pt>
                <c:pt idx="2">
                  <c:v>0.65156720126142975</c:v>
                </c:pt>
                <c:pt idx="3">
                  <c:v>0.78775388034415439</c:v>
                </c:pt>
                <c:pt idx="4">
                  <c:v>0.90623789532167631</c:v>
                </c:pt>
                <c:pt idx="5">
                  <c:v>0.96636317751963152</c:v>
                </c:pt>
                <c:pt idx="6">
                  <c:v>0.99375936584201607</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216Gr 12P</c:v>
                </c:pt>
                <c:pt idx="1">
                  <c:v>Kiri Creme Fromage Blanc Frais Carre 1X144Gr 8P</c:v>
                </c:pt>
                <c:pt idx="2">
                  <c:v>Kiri Gouter Fromage Blanc Dips Boite 1X175Gr 5P</c:v>
                </c:pt>
                <c:pt idx="3">
                  <c:v>Kiri Gouter Fromage Blanc Dips Boite 1X280Gr 8P</c:v>
                </c:pt>
                <c:pt idx="4">
                  <c:v>Kiri Creme Fromage Blanc Frais Carre 1X432Gr 24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1618.6235294117646</c:v>
                </c:pt>
                <c:pt idx="1">
                  <c:v>1084.7826086956522</c:v>
                </c:pt>
                <c:pt idx="2">
                  <c:v>1075.0112359550562</c:v>
                </c:pt>
                <c:pt idx="3">
                  <c:v>1039.0149253731342</c:v>
                </c:pt>
                <c:pt idx="4">
                  <c:v>1288.6170212765958</c:v>
                </c:pt>
                <c:pt idx="5">
                  <c:v>520.91525423728808</c:v>
                </c:pt>
                <c:pt idx="6">
                  <c:v>466.8</c:v>
                </c:pt>
                <c:pt idx="7">
                  <c:v>31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strCache>
            </c:strRef>
          </c:cat>
          <c:val>
            <c:numRef>
              <c:f>Sheet1!$B$2:$B$8</c:f>
              <c:numCache>
                <c:formatCode>General</c:formatCode>
                <c:ptCount val="7"/>
                <c:pt idx="0">
                  <c:v>0.98</c:v>
                </c:pt>
                <c:pt idx="1">
                  <c:v>0.65</c:v>
                </c:pt>
                <c:pt idx="2">
                  <c:v>0.68</c:v>
                </c:pt>
                <c:pt idx="3">
                  <c:v>0.77</c:v>
                </c:pt>
                <c:pt idx="4">
                  <c:v>0.42</c:v>
                </c:pt>
                <c:pt idx="5">
                  <c:v>0.32</c:v>
                </c:pt>
                <c:pt idx="6">
                  <c:v>0.2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strCache>
            </c:strRef>
          </c:cat>
          <c:val>
            <c:numRef>
              <c:f>Sheet1!$C$2:$C$8</c:f>
              <c:numCache>
                <c:formatCode>General</c:formatCode>
                <c:ptCount val="7"/>
                <c:pt idx="0">
                  <c:v>0.37403029709667657</c:v>
                </c:pt>
                <c:pt idx="1">
                  <c:v>0.61822632038022673</c:v>
                </c:pt>
                <c:pt idx="2">
                  <c:v>0.83587945244495065</c:v>
                </c:pt>
                <c:pt idx="3">
                  <c:v>0.91622550153977589</c:v>
                </c:pt>
                <c:pt idx="4">
                  <c:v>0.95695213343539154</c:v>
                </c:pt>
                <c:pt idx="5">
                  <c:v>0.98623279990031487</c:v>
                </c:pt>
                <c:pt idx="6">
                  <c:v>0.9997045054025667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c:f>
              <c:strCache>
                <c:ptCount val="7"/>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strCache>
            </c:strRef>
          </c:cat>
          <c:val>
            <c:numRef>
              <c:f>Sheet1!$D$2:$D$8</c:f>
              <c:numCache>
                <c:formatCode>General</c:formatCode>
                <c:ptCount val="7"/>
                <c:pt idx="0">
                  <c:v>2144.0714285714284</c:v>
                </c:pt>
                <c:pt idx="1">
                  <c:v>2110.4923076923078</c:v>
                </c:pt>
                <c:pt idx="2">
                  <c:v>1798.1029411764705</c:v>
                </c:pt>
                <c:pt idx="3">
                  <c:v>586.18181818181813</c:v>
                </c:pt>
                <c:pt idx="4">
                  <c:v>544.73809523809518</c:v>
                </c:pt>
                <c:pt idx="5">
                  <c:v>514.03125</c:v>
                </c:pt>
                <c:pt idx="6">
                  <c:v>302.7200000000000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B$2:$B$4</c:f>
              <c:numCache>
                <c:formatCode>General</c:formatCode>
                <c:ptCount val="3"/>
                <c:pt idx="0">
                  <c:v>0.75</c:v>
                </c:pt>
                <c:pt idx="1">
                  <c:v>0.61199999999999999</c:v>
                </c:pt>
                <c:pt idx="2">
                  <c:v>0.39500000000000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C$2:$C$4</c:f>
              <c:numCache>
                <c:formatCode>General</c:formatCode>
                <c:ptCount val="3"/>
                <c:pt idx="0">
                  <c:v>0.53752126335273376</c:v>
                </c:pt>
                <c:pt idx="1">
                  <c:v>0.97211486446853024</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D$2:$D$4</c:f>
              <c:numCache>
                <c:formatCode>General</c:formatCode>
                <c:ptCount val="3"/>
                <c:pt idx="0">
                  <c:v>2199.2933333333335</c:v>
                </c:pt>
                <c:pt idx="1">
                  <c:v>2179.1176470588239</c:v>
                </c:pt>
                <c:pt idx="2">
                  <c:v>216.632911392405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5</c:f>
              <c:strCache>
                <c:ptCount val="14"/>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Classique Fromage Frais A Tartiner Afh Boite 1X80Gr 1P</c:v>
                </c:pt>
                <c:pt idx="11">
                  <c:v>Boursin Classique Fromage Frais A Tartiner 3 Noix Boite 1X150Gr 1P</c:v>
                </c:pt>
                <c:pt idx="12">
                  <c:v>Boursin Onctueux Fromage Frais A Tartiner Afh 1X210Gr 1P</c:v>
                </c:pt>
                <c:pt idx="13">
                  <c:v>Boursin Classique Fromage Frais A Tartiner 3 Noix 1X160Gr 10P</c:v>
                </c:pt>
              </c:strCache>
            </c:strRef>
          </c:cat>
          <c:val>
            <c:numRef>
              <c:f>Sheet1!$B$2:$B$15</c:f>
              <c:numCache>
                <c:formatCode>General</c:formatCode>
                <c:ptCount val="14"/>
                <c:pt idx="0">
                  <c:v>0.96799999999999997</c:v>
                </c:pt>
                <c:pt idx="1">
                  <c:v>0.90300000000000002</c:v>
                </c:pt>
                <c:pt idx="2">
                  <c:v>0.80100000000000005</c:v>
                </c:pt>
                <c:pt idx="3">
                  <c:v>0.80500000000000005</c:v>
                </c:pt>
                <c:pt idx="4">
                  <c:v>0.76300000000000001</c:v>
                </c:pt>
                <c:pt idx="5">
                  <c:v>0.78600000000000003</c:v>
                </c:pt>
                <c:pt idx="6">
                  <c:v>0.67200000000000004</c:v>
                </c:pt>
                <c:pt idx="7">
                  <c:v>0.39700000000000002</c:v>
                </c:pt>
                <c:pt idx="8">
                  <c:v>0.23899999999999999</c:v>
                </c:pt>
                <c:pt idx="9">
                  <c:v>0.38400000000000001</c:v>
                </c:pt>
                <c:pt idx="10">
                  <c:v>0.36599999999999999</c:v>
                </c:pt>
                <c:pt idx="11">
                  <c:v>0.34</c:v>
                </c:pt>
                <c:pt idx="12">
                  <c:v>0.27400000000000002</c:v>
                </c:pt>
                <c:pt idx="13">
                  <c:v>0.2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5</c:f>
              <c:strCache>
                <c:ptCount val="14"/>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Classique Fromage Frais A Tartiner Afh Boite 1X80Gr 1P</c:v>
                </c:pt>
                <c:pt idx="11">
                  <c:v>Boursin Classique Fromage Frais A Tartiner 3 Noix Boite 1X150Gr 1P</c:v>
                </c:pt>
                <c:pt idx="12">
                  <c:v>Boursin Onctueux Fromage Frais A Tartiner Afh 1X210Gr 1P</c:v>
                </c:pt>
                <c:pt idx="13">
                  <c:v>Boursin Classique Fromage Frais A Tartiner 3 Noix 1X160Gr 10P</c:v>
                </c:pt>
              </c:strCache>
            </c:strRef>
          </c:cat>
          <c:val>
            <c:numRef>
              <c:f>Sheet1!$C$2:$C$15</c:f>
              <c:numCache>
                <c:formatCode>General</c:formatCode>
                <c:ptCount val="14"/>
                <c:pt idx="0">
                  <c:v>0.27933627589841564</c:v>
                </c:pt>
                <c:pt idx="1">
                  <c:v>0.53938304950755955</c:v>
                </c:pt>
                <c:pt idx="2">
                  <c:v>0.69997924832833758</c:v>
                </c:pt>
                <c:pt idx="3">
                  <c:v>0.78173391745446164</c:v>
                </c:pt>
                <c:pt idx="4">
                  <c:v>0.84005632596594093</c:v>
                </c:pt>
                <c:pt idx="5">
                  <c:v>0.89458117856319386</c:v>
                </c:pt>
                <c:pt idx="6">
                  <c:v>0.9387565466583222</c:v>
                </c:pt>
                <c:pt idx="7">
                  <c:v>0.95736256134918818</c:v>
                </c:pt>
                <c:pt idx="8">
                  <c:v>0.96840179189037856</c:v>
                </c:pt>
                <c:pt idx="9">
                  <c:v>0.97776408972627571</c:v>
                </c:pt>
                <c:pt idx="10">
                  <c:v>0.98668994367403418</c:v>
                </c:pt>
                <c:pt idx="11">
                  <c:v>0.99199512500411746</c:v>
                </c:pt>
                <c:pt idx="12">
                  <c:v>0.99662011265193196</c:v>
                </c:pt>
                <c:pt idx="1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5</c:f>
              <c:strCache>
                <c:ptCount val="14"/>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Classique Fromage Frais A Tartiner Afh Boite 1X80Gr 1P</c:v>
                </c:pt>
                <c:pt idx="11">
                  <c:v>Boursin Classique Fromage Frais A Tartiner 3 Noix Boite 1X150Gr 1P</c:v>
                </c:pt>
                <c:pt idx="12">
                  <c:v>Boursin Onctueux Fromage Frais A Tartiner Afh 1X210Gr 1P</c:v>
                </c:pt>
                <c:pt idx="13">
                  <c:v>Boursin Classique Fromage Frais A Tartiner 3 Noix 1X160Gr 10P</c:v>
                </c:pt>
              </c:strCache>
            </c:strRef>
          </c:cat>
          <c:val>
            <c:numRef>
              <c:f>Sheet1!$D$2:$D$15</c:f>
              <c:numCache>
                <c:formatCode>General</c:formatCode>
                <c:ptCount val="14"/>
                <c:pt idx="0">
                  <c:v>8760.7128099173551</c:v>
                </c:pt>
                <c:pt idx="1">
                  <c:v>8742.8128460686603</c:v>
                </c:pt>
                <c:pt idx="2">
                  <c:v>6086.816479400748</c:v>
                </c:pt>
                <c:pt idx="3">
                  <c:v>3083.217391304348</c:v>
                </c:pt>
                <c:pt idx="4">
                  <c:v>2320.5897771952818</c:v>
                </c:pt>
                <c:pt idx="5">
                  <c:v>2106.0050890585239</c:v>
                </c:pt>
                <c:pt idx="6">
                  <c:v>1995.7142857142856</c:v>
                </c:pt>
                <c:pt idx="7">
                  <c:v>1422.8211586901762</c:v>
                </c:pt>
                <c:pt idx="8">
                  <c:v>1402.2594142259416</c:v>
                </c:pt>
                <c:pt idx="9">
                  <c:v>740.18229166666674</c:v>
                </c:pt>
                <c:pt idx="10">
                  <c:v>740.38251366120221</c:v>
                </c:pt>
                <c:pt idx="11">
                  <c:v>473.70588235294116</c:v>
                </c:pt>
                <c:pt idx="12">
                  <c:v>512.44525547445255</c:v>
                </c:pt>
                <c:pt idx="13">
                  <c:v>427.54166666666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Kiri Delicieusement Fouette Fromage Frais A Tartiner 1X125Gr 1P</c:v>
                </c:pt>
                <c:pt idx="1">
                  <c:v>Kiri Delicieusement Fouette Fromage Frais A Tartiner 1X160Gr 10P</c:v>
                </c:pt>
              </c:strCache>
            </c:strRef>
          </c:cat>
          <c:val>
            <c:numRef>
              <c:f>Sheet1!$B$2:$B$3</c:f>
              <c:numCache>
                <c:formatCode>General</c:formatCode>
                <c:ptCount val="2"/>
                <c:pt idx="0">
                  <c:v>0.83499999999999996</c:v>
                </c:pt>
                <c:pt idx="1">
                  <c:v>9.4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Kiri Delicieusement Fouette Fromage Frais A Tartiner 1X125Gr 1P</c:v>
                </c:pt>
                <c:pt idx="1">
                  <c:v>Kiri Delicieusement Fouette Fromage Frais A Tartiner 1X160Gr 10P</c:v>
                </c:pt>
              </c:strCache>
            </c:strRef>
          </c:cat>
          <c:val>
            <c:numRef>
              <c:f>Sheet1!$C$2:$C$3</c:f>
              <c:numCache>
                <c:formatCode>General</c:formatCode>
                <c:ptCount val="2"/>
                <c:pt idx="0">
                  <c:v>0.99575545931788678</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Kiri Delicieusement Fouette Fromage Frais A Tartiner 1X125Gr 1P</c:v>
                </c:pt>
                <c:pt idx="1">
                  <c:v>Kiri Delicieusement Fouette Fromage Frais A Tartiner 1X160Gr 10P</c:v>
                </c:pt>
              </c:strCache>
            </c:strRef>
          </c:cat>
          <c:val>
            <c:numRef>
              <c:f>Sheet1!$D$2:$D$3</c:f>
              <c:numCache>
                <c:formatCode>General</c:formatCode>
                <c:ptCount val="2"/>
                <c:pt idx="0">
                  <c:v>2076.2514970059879</c:v>
                </c:pt>
                <c:pt idx="1">
                  <c:v>78.6170212765957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Classique Fromage Frais A Tartiner Afh Boite 1X80Gr 1P</c:v>
                </c:pt>
              </c:strCache>
            </c:strRef>
          </c:cat>
          <c:val>
            <c:numRef>
              <c:f>Sheet1!$B$2:$B$12</c:f>
              <c:numCache>
                <c:formatCode>General</c:formatCode>
                <c:ptCount val="11"/>
                <c:pt idx="0">
                  <c:v>0.96099999999999997</c:v>
                </c:pt>
                <c:pt idx="1">
                  <c:v>0.97899999999999998</c:v>
                </c:pt>
                <c:pt idx="2">
                  <c:v>0.99399999999999999</c:v>
                </c:pt>
                <c:pt idx="3">
                  <c:v>0.95399999999999996</c:v>
                </c:pt>
                <c:pt idx="4">
                  <c:v>0.88200000000000001</c:v>
                </c:pt>
                <c:pt idx="5">
                  <c:v>0.93899999999999995</c:v>
                </c:pt>
                <c:pt idx="6">
                  <c:v>0.94499999999999995</c:v>
                </c:pt>
                <c:pt idx="7">
                  <c:v>0.84199999999999997</c:v>
                </c:pt>
                <c:pt idx="8">
                  <c:v>0.79500000000000004</c:v>
                </c:pt>
                <c:pt idx="9">
                  <c:v>0.80200000000000005</c:v>
                </c:pt>
                <c:pt idx="10">
                  <c:v>6.5000000000000002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Classique Fromage Frais A Tartiner Afh Boite 1X80Gr 1P</c:v>
                </c:pt>
              </c:strCache>
            </c:strRef>
          </c:cat>
          <c:val>
            <c:numRef>
              <c:f>Sheet1!$C$2:$C$12</c:f>
              <c:numCache>
                <c:formatCode>General</c:formatCode>
                <c:ptCount val="11"/>
                <c:pt idx="0">
                  <c:v>0.20609435084390393</c:v>
                </c:pt>
                <c:pt idx="1">
                  <c:v>0.40459476265553201</c:v>
                </c:pt>
                <c:pt idx="2">
                  <c:v>0.57427066676007021</c:v>
                </c:pt>
                <c:pt idx="3">
                  <c:v>0.66852608913869538</c:v>
                </c:pt>
                <c:pt idx="4">
                  <c:v>0.73841125754903902</c:v>
                </c:pt>
                <c:pt idx="5">
                  <c:v>0.80757081877146086</c:v>
                </c:pt>
                <c:pt idx="6">
                  <c:v>0.86816838814593678</c:v>
                </c:pt>
                <c:pt idx="7">
                  <c:v>0.91501084374826136</c:v>
                </c:pt>
                <c:pt idx="8">
                  <c:v>0.96178584123299604</c:v>
                </c:pt>
                <c:pt idx="9">
                  <c:v>0.99987402052398822</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Classique Fromage Frais A Tartiner Afh Boite 1X80Gr 1P</c:v>
                </c:pt>
              </c:strCache>
            </c:strRef>
          </c:cat>
          <c:val>
            <c:numRef>
              <c:f>Sheet1!$D$2:$D$12</c:f>
              <c:numCache>
                <c:formatCode>General</c:formatCode>
                <c:ptCount val="11"/>
                <c:pt idx="0">
                  <c:v>7439.1675338189389</c:v>
                </c:pt>
                <c:pt idx="1">
                  <c:v>7033.319713993872</c:v>
                </c:pt>
                <c:pt idx="2">
                  <c:v>5921.2776659959754</c:v>
                </c:pt>
                <c:pt idx="3">
                  <c:v>3427.2012578616354</c:v>
                </c:pt>
                <c:pt idx="4">
                  <c:v>2748.5147392290251</c:v>
                </c:pt>
                <c:pt idx="5">
                  <c:v>2554.8668796592124</c:v>
                </c:pt>
                <c:pt idx="6">
                  <c:v>2224.3597883597886</c:v>
                </c:pt>
                <c:pt idx="7">
                  <c:v>1929.7862232779096</c:v>
                </c:pt>
                <c:pt idx="8">
                  <c:v>2040.9308176100628</c:v>
                </c:pt>
                <c:pt idx="9">
                  <c:v>1647.3940149625935</c:v>
                </c:pt>
                <c:pt idx="10">
                  <c:v>67.2307692307692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210Gr 1P</c:v>
                </c:pt>
                <c:pt idx="1">
                  <c:v>Kiri Delicieusement Fouette Fromage Frais A Tartiner 1X125Gr 1P</c:v>
                </c:pt>
                <c:pt idx="2">
                  <c:v>Kiri Delicieusement Fouette Fromage Frais A Tartiner 1X160Gr 10P</c:v>
                </c:pt>
              </c:strCache>
            </c:strRef>
          </c:cat>
          <c:val>
            <c:numRef>
              <c:f>Sheet1!$B$2:$B$4</c:f>
              <c:numCache>
                <c:formatCode>General</c:formatCode>
                <c:ptCount val="3"/>
                <c:pt idx="0">
                  <c:v>0.96</c:v>
                </c:pt>
                <c:pt idx="1">
                  <c:v>0.98</c:v>
                </c:pt>
                <c:pt idx="2">
                  <c:v>0.56000000000000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210Gr 1P</c:v>
                </c:pt>
                <c:pt idx="1">
                  <c:v>Kiri Delicieusement Fouette Fromage Frais A Tartiner 1X125Gr 1P</c:v>
                </c:pt>
                <c:pt idx="2">
                  <c:v>Kiri Delicieusement Fouette Fromage Frais A Tartiner 1X160Gr 10P</c:v>
                </c:pt>
              </c:strCache>
            </c:strRef>
          </c:cat>
          <c:val>
            <c:numRef>
              <c:f>Sheet1!$C$2:$C$4</c:f>
              <c:numCache>
                <c:formatCode>General</c:formatCode>
                <c:ptCount val="3"/>
                <c:pt idx="0">
                  <c:v>0.62531165917807496</c:v>
                </c:pt>
                <c:pt idx="1">
                  <c:v>0.97787630995533159</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210Gr 1P</c:v>
                </c:pt>
                <c:pt idx="1">
                  <c:v>Kiri Delicieusement Fouette Fromage Frais A Tartiner 1X125Gr 1P</c:v>
                </c:pt>
                <c:pt idx="2">
                  <c:v>Kiri Delicieusement Fouette Fromage Frais A Tartiner 1X160Gr 10P</c:v>
                </c:pt>
              </c:strCache>
            </c:strRef>
          </c:cat>
          <c:val>
            <c:numRef>
              <c:f>Sheet1!$D$2:$D$4</c:f>
              <c:numCache>
                <c:formatCode>General</c:formatCode>
                <c:ptCount val="3"/>
                <c:pt idx="0">
                  <c:v>990.13541666666663</c:v>
                </c:pt>
                <c:pt idx="1">
                  <c:v>546.86734693877554</c:v>
                </c:pt>
                <c:pt idx="2">
                  <c:v>60.0535714285714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5</c:f>
              <c:strCache>
                <c:ptCount val="14"/>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Boursin Onctueux Fromage Frais A Tartiner Afh 1X125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Classique Fromage Frais A Tartiner Afh Boite 1X80Gr 1P</c:v>
                </c:pt>
                <c:pt idx="11">
                  <c:v>Boursin Onctueux Fromage Frais A Tartiner Afh 1X210Gr 1P</c:v>
                </c:pt>
                <c:pt idx="12">
                  <c:v>Boursin Classique Fromage Frais A Tartiner 3 Noix Boite 1X150Gr 1P</c:v>
                </c:pt>
                <c:pt idx="13">
                  <c:v>Boursin Classique Fromage Frais A Tartiner 3 Noix 1X160Gr 10P</c:v>
                </c:pt>
              </c:strCache>
            </c:strRef>
          </c:cat>
          <c:val>
            <c:numRef>
              <c:f>Sheet1!$B$2:$B$15</c:f>
              <c:numCache>
                <c:formatCode>General</c:formatCode>
                <c:ptCount val="14"/>
                <c:pt idx="0">
                  <c:v>1</c:v>
                </c:pt>
                <c:pt idx="1">
                  <c:v>1</c:v>
                </c:pt>
                <c:pt idx="2">
                  <c:v>1</c:v>
                </c:pt>
                <c:pt idx="3">
                  <c:v>1</c:v>
                </c:pt>
                <c:pt idx="4">
                  <c:v>0.94</c:v>
                </c:pt>
                <c:pt idx="5">
                  <c:v>0.99</c:v>
                </c:pt>
                <c:pt idx="6">
                  <c:v>0.97</c:v>
                </c:pt>
                <c:pt idx="7">
                  <c:v>0.88</c:v>
                </c:pt>
                <c:pt idx="8">
                  <c:v>0.53</c:v>
                </c:pt>
                <c:pt idx="9">
                  <c:v>0.85</c:v>
                </c:pt>
                <c:pt idx="10">
                  <c:v>0.77</c:v>
                </c:pt>
                <c:pt idx="11">
                  <c:v>0.59</c:v>
                </c:pt>
                <c:pt idx="12">
                  <c:v>0.67</c:v>
                </c:pt>
                <c:pt idx="13">
                  <c:v>0.4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5</c:f>
              <c:strCache>
                <c:ptCount val="14"/>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Boursin Onctueux Fromage Frais A Tartiner Afh 1X125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Classique Fromage Frais A Tartiner Afh Boite 1X80Gr 1P</c:v>
                </c:pt>
                <c:pt idx="11">
                  <c:v>Boursin Onctueux Fromage Frais A Tartiner Afh 1X210Gr 1P</c:v>
                </c:pt>
                <c:pt idx="12">
                  <c:v>Boursin Classique Fromage Frais A Tartiner 3 Noix Boite 1X150Gr 1P</c:v>
                </c:pt>
                <c:pt idx="13">
                  <c:v>Boursin Classique Fromage Frais A Tartiner 3 Noix 1X160Gr 10P</c:v>
                </c:pt>
              </c:strCache>
            </c:strRef>
          </c:cat>
          <c:val>
            <c:numRef>
              <c:f>Sheet1!$C$2:$C$15</c:f>
              <c:numCache>
                <c:formatCode>General</c:formatCode>
                <c:ptCount val="14"/>
                <c:pt idx="0">
                  <c:v>0.24718407245112084</c:v>
                </c:pt>
                <c:pt idx="1">
                  <c:v>0.44047391271207925</c:v>
                </c:pt>
                <c:pt idx="2">
                  <c:v>0.60954700938461037</c:v>
                </c:pt>
                <c:pt idx="3">
                  <c:v>0.69301528635272636</c:v>
                </c:pt>
                <c:pt idx="4">
                  <c:v>0.75187015544573399</c:v>
                </c:pt>
                <c:pt idx="5">
                  <c:v>0.80926436663602241</c:v>
                </c:pt>
                <c:pt idx="6">
                  <c:v>0.86560625080693965</c:v>
                </c:pt>
                <c:pt idx="7">
                  <c:v>0.90953954276274351</c:v>
                </c:pt>
                <c:pt idx="8">
                  <c:v>0.93560583080945969</c:v>
                </c:pt>
                <c:pt idx="9">
                  <c:v>0.95765569851025345</c:v>
                </c:pt>
                <c:pt idx="10">
                  <c:v>0.97447659758485905</c:v>
                </c:pt>
                <c:pt idx="11">
                  <c:v>0.9845697592481113</c:v>
                </c:pt>
                <c:pt idx="12">
                  <c:v>0.99403136914511858</c:v>
                </c:pt>
                <c:pt idx="1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5</c:f>
              <c:strCache>
                <c:ptCount val="14"/>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Boursin Onctueux Fromage Frais A Tartiner Afh 1X125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Classique Fromage Frais A Tartiner Afh Boite 1X80Gr 1P</c:v>
                </c:pt>
                <c:pt idx="11">
                  <c:v>Boursin Onctueux Fromage Frais A Tartiner Afh 1X210Gr 1P</c:v>
                </c:pt>
                <c:pt idx="12">
                  <c:v>Boursin Classique Fromage Frais A Tartiner 3 Noix Boite 1X150Gr 1P</c:v>
                </c:pt>
                <c:pt idx="13">
                  <c:v>Boursin Classique Fromage Frais A Tartiner 3 Noix 1X160Gr 10P</c:v>
                </c:pt>
              </c:strCache>
            </c:strRef>
          </c:cat>
          <c:val>
            <c:numRef>
              <c:f>Sheet1!$D$2:$D$15</c:f>
              <c:numCache>
                <c:formatCode>General</c:formatCode>
                <c:ptCount val="14"/>
                <c:pt idx="0">
                  <c:v>3178.1</c:v>
                </c:pt>
                <c:pt idx="1">
                  <c:v>2485.17</c:v>
                </c:pt>
                <c:pt idx="2">
                  <c:v>2173.81</c:v>
                </c:pt>
                <c:pt idx="3">
                  <c:v>1073.17</c:v>
                </c:pt>
                <c:pt idx="4">
                  <c:v>805.01063829787233</c:v>
                </c:pt>
                <c:pt idx="5">
                  <c:v>745.38383838383834</c:v>
                </c:pt>
                <c:pt idx="6">
                  <c:v>746.80412371134025</c:v>
                </c:pt>
                <c:pt idx="7">
                  <c:v>641.88636363636363</c:v>
                </c:pt>
                <c:pt idx="8">
                  <c:v>632.33962264150944</c:v>
                </c:pt>
                <c:pt idx="9">
                  <c:v>333.52941176470586</c:v>
                </c:pt>
                <c:pt idx="10">
                  <c:v>280.87012987012986</c:v>
                </c:pt>
                <c:pt idx="11">
                  <c:v>219.94915254237287</c:v>
                </c:pt>
                <c:pt idx="12">
                  <c:v>181.56716417910448</c:v>
                </c:pt>
                <c:pt idx="13">
                  <c:v>156.6122448979591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B$2:$B$4</c:f>
              <c:numCache>
                <c:formatCode>General</c:formatCode>
                <c:ptCount val="3"/>
                <c:pt idx="0">
                  <c:v>0.56999999999999995</c:v>
                </c:pt>
                <c:pt idx="1">
                  <c:v>0.47</c:v>
                </c:pt>
                <c:pt idx="2">
                  <c:v>0.3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C$2:$C$4</c:f>
              <c:numCache>
                <c:formatCode>General</c:formatCode>
                <c:ptCount val="3"/>
                <c:pt idx="0">
                  <c:v>0.47983117950250243</c:v>
                </c:pt>
                <c:pt idx="1">
                  <c:v>0.95677398471153607</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D$2:$D$4</c:f>
              <c:numCache>
                <c:formatCode>General</c:formatCode>
                <c:ptCount val="3"/>
                <c:pt idx="0">
                  <c:v>676.1578947368422</c:v>
                </c:pt>
                <c:pt idx="1">
                  <c:v>815.08510638297878</c:v>
                </c:pt>
                <c:pt idx="2">
                  <c:v>105.212121212121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B$2:$B$7</c:f>
              <c:numCache>
                <c:formatCode>General</c:formatCode>
                <c:ptCount val="6"/>
                <c:pt idx="0">
                  <c:v>0.53789296134003828</c:v>
                </c:pt>
                <c:pt idx="1">
                  <c:v>0.17533088821559559</c:v>
                </c:pt>
                <c:pt idx="2">
                  <c:v>0.12461453460036249</c:v>
                </c:pt>
                <c:pt idx="3">
                  <c:v>8.7016918927052989E-2</c:v>
                </c:pt>
                <c:pt idx="4">
                  <c:v>6.8635862375657233E-2</c:v>
                </c:pt>
                <c:pt idx="5">
                  <c:v>6.508834541293367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C$2:$C$7</c:f>
              <c:numCache>
                <c:formatCode>General</c:formatCode>
                <c:ptCount val="6"/>
                <c:pt idx="0">
                  <c:v>0.40277777777777779</c:v>
                </c:pt>
                <c:pt idx="1">
                  <c:v>0.24097222222222223</c:v>
                </c:pt>
                <c:pt idx="2">
                  <c:v>0.12500000000000003</c:v>
                </c:pt>
                <c:pt idx="3">
                  <c:v>8.6805555555555566E-2</c:v>
                </c:pt>
                <c:pt idx="4">
                  <c:v>0.12916666666666668</c:v>
                </c:pt>
                <c:pt idx="5">
                  <c:v>1.527777777777777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D$2:$D$7</c:f>
              <c:numCache>
                <c:formatCode>General</c:formatCode>
                <c:ptCount val="6"/>
                <c:pt idx="0">
                  <c:v>74.880655953249203</c:v>
                </c:pt>
                <c:pt idx="1">
                  <c:v>137.43854529836796</c:v>
                </c:pt>
                <c:pt idx="2">
                  <c:v>100.30932619607633</c:v>
                </c:pt>
                <c:pt idx="3">
                  <c:v>99.7571008326845</c:v>
                </c:pt>
                <c:pt idx="4">
                  <c:v>188.19121986070891</c:v>
                </c:pt>
                <c:pt idx="5">
                  <c:v>234.7237079211716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Onctueux Fromage Frais A Tartiner Afh 1X210Gr 1P</c:v>
                </c:pt>
              </c:strCache>
            </c:strRef>
          </c:cat>
          <c:val>
            <c:numRef>
              <c:f>Sheet1!$B$2:$B$11</c:f>
              <c:numCache>
                <c:formatCode>General</c:formatCode>
                <c:ptCount val="10"/>
                <c:pt idx="0">
                  <c:v>0.97</c:v>
                </c:pt>
                <c:pt idx="1">
                  <c:v>0.99</c:v>
                </c:pt>
                <c:pt idx="2">
                  <c:v>0.92</c:v>
                </c:pt>
                <c:pt idx="3">
                  <c:v>0.89</c:v>
                </c:pt>
                <c:pt idx="4">
                  <c:v>0.83</c:v>
                </c:pt>
                <c:pt idx="5">
                  <c:v>0.88</c:v>
                </c:pt>
                <c:pt idx="6">
                  <c:v>0.65</c:v>
                </c:pt>
                <c:pt idx="7">
                  <c:v>0.1</c:v>
                </c:pt>
                <c:pt idx="8">
                  <c:v>0.05</c:v>
                </c:pt>
                <c:pt idx="9">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Onctueux Fromage Frais A Tartiner Afh 1X210Gr 1P</c:v>
                </c:pt>
              </c:strCache>
            </c:strRef>
          </c:cat>
          <c:val>
            <c:numRef>
              <c:f>Sheet1!$C$2:$C$11</c:f>
              <c:numCache>
                <c:formatCode>General</c:formatCode>
                <c:ptCount val="10"/>
                <c:pt idx="0">
                  <c:v>0.25099816877307796</c:v>
                </c:pt>
                <c:pt idx="1">
                  <c:v>0.47493020323616819</c:v>
                </c:pt>
                <c:pt idx="2">
                  <c:v>0.67991783066082845</c:v>
                </c:pt>
                <c:pt idx="3">
                  <c:v>0.78598232244175026</c:v>
                </c:pt>
                <c:pt idx="4">
                  <c:v>0.87454680350120295</c:v>
                </c:pt>
                <c:pt idx="5">
                  <c:v>0.94329972510153226</c:v>
                </c:pt>
                <c:pt idx="6">
                  <c:v>0.99342559514874962</c:v>
                </c:pt>
                <c:pt idx="7">
                  <c:v>0.99680585992615045</c:v>
                </c:pt>
                <c:pt idx="8">
                  <c:v>0.99902477517079291</c:v>
                </c:pt>
                <c:pt idx="9">
                  <c:v>0.9999373866204641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Onctueux Fromage Frais A Tartiner Afh 1X210Gr 1P</c:v>
                </c:pt>
              </c:strCache>
            </c:strRef>
          </c:cat>
          <c:val>
            <c:numRef>
              <c:f>Sheet1!$D$2:$D$11</c:f>
              <c:numCache>
                <c:formatCode>General</c:formatCode>
                <c:ptCount val="10"/>
                <c:pt idx="0">
                  <c:v>3016.855670103093</c:v>
                </c:pt>
                <c:pt idx="1">
                  <c:v>2637.1616161616162</c:v>
                </c:pt>
                <c:pt idx="2">
                  <c:v>2597.7391304347825</c:v>
                </c:pt>
                <c:pt idx="3">
                  <c:v>1389.4269662921349</c:v>
                </c:pt>
                <c:pt idx="4">
                  <c:v>1244.0481927710844</c:v>
                </c:pt>
                <c:pt idx="5">
                  <c:v>910.88636363636363</c:v>
                </c:pt>
                <c:pt idx="6">
                  <c:v>899.09230769230771</c:v>
                </c:pt>
                <c:pt idx="7">
                  <c:v>394.1</c:v>
                </c:pt>
                <c:pt idx="8">
                  <c:v>517.4</c:v>
                </c:pt>
                <c:pt idx="9">
                  <c:v>5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Kiri Delicieusement Fouette Fromage Frais A Tartiner 1X125Gr 1P</c:v>
                </c:pt>
                <c:pt idx="1">
                  <c:v>Kiri Delicieusement Fouette Fromage Frais A Tartiner 1X160Gr 10P</c:v>
                </c:pt>
              </c:strCache>
            </c:strRef>
          </c:cat>
          <c:val>
            <c:numRef>
              <c:f>Sheet1!$B$2:$B$3</c:f>
              <c:numCache>
                <c:formatCode>General</c:formatCode>
                <c:ptCount val="2"/>
                <c:pt idx="0">
                  <c:v>0.54</c:v>
                </c:pt>
                <c:pt idx="1">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Kiri Delicieusement Fouette Fromage Frais A Tartiner 1X125Gr 1P</c:v>
                </c:pt>
                <c:pt idx="1">
                  <c:v>Kiri Delicieusement Fouette Fromage Frais A Tartiner 1X160Gr 10P</c:v>
                </c:pt>
              </c:strCache>
            </c:strRef>
          </c:cat>
          <c:val>
            <c:numRef>
              <c:f>Sheet1!$C$2:$C$3</c:f>
              <c:numCache>
                <c:formatCode>General</c:formatCode>
                <c:ptCount val="2"/>
                <c:pt idx="0">
                  <c:v>0.97689675991145097</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Kiri Delicieusement Fouette Fromage Frais A Tartiner 1X125Gr 1P</c:v>
                </c:pt>
                <c:pt idx="1">
                  <c:v>Kiri Delicieusement Fouette Fromage Frais A Tartiner 1X160Gr 10P</c:v>
                </c:pt>
              </c:strCache>
            </c:strRef>
          </c:cat>
          <c:val>
            <c:numRef>
              <c:f>Sheet1!$D$2:$D$3</c:f>
              <c:numCache>
                <c:formatCode>General</c:formatCode>
                <c:ptCount val="2"/>
                <c:pt idx="0">
                  <c:v>1348.3888888888889</c:v>
                </c:pt>
                <c:pt idx="1">
                  <c:v>17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Classique Fromage Frais A Tartiner Afh Boite 1X150Gr 1P</c:v>
                </c:pt>
                <c:pt idx="1">
                  <c:v>Boursin Classique Fromage Frais A Tartiner Afh 1X160Gr 10P</c:v>
                </c:pt>
                <c:pt idx="2">
                  <c:v>Boursin Classique Fromage Frais A Tartiner Afh Boite 1X96Gr 6P</c:v>
                </c:pt>
                <c:pt idx="3">
                  <c:v>Boursin Classique Fromage Frais A Tartiner Ciboulette &amp; Echalote Boite 1X150Gr 1P</c:v>
                </c:pt>
                <c:pt idx="4">
                  <c:v>Boursin Classique Fromage Frais A Tartiner Afh Boite 1X80Gr 1P</c:v>
                </c:pt>
              </c:strCache>
            </c:strRef>
          </c:cat>
          <c:val>
            <c:numRef>
              <c:f>Sheet1!$B$2:$B$6</c:f>
              <c:numCache>
                <c:formatCode>General</c:formatCode>
                <c:ptCount val="5"/>
                <c:pt idx="0">
                  <c:v>0.83</c:v>
                </c:pt>
                <c:pt idx="1">
                  <c:v>0.49</c:v>
                </c:pt>
                <c:pt idx="2">
                  <c:v>0.09</c:v>
                </c:pt>
                <c:pt idx="3">
                  <c:v>0.08</c:v>
                </c:pt>
                <c:pt idx="4">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Classique Fromage Frais A Tartiner Afh Boite 1X150Gr 1P</c:v>
                </c:pt>
                <c:pt idx="1">
                  <c:v>Boursin Classique Fromage Frais A Tartiner Afh 1X160Gr 10P</c:v>
                </c:pt>
                <c:pt idx="2">
                  <c:v>Boursin Classique Fromage Frais A Tartiner Afh Boite 1X96Gr 6P</c:v>
                </c:pt>
                <c:pt idx="3">
                  <c:v>Boursin Classique Fromage Frais A Tartiner Ciboulette &amp; Echalote Boite 1X150Gr 1P</c:v>
                </c:pt>
                <c:pt idx="4">
                  <c:v>Boursin Classique Fromage Frais A Tartiner Afh Boite 1X80Gr 1P</c:v>
                </c:pt>
              </c:strCache>
            </c:strRef>
          </c:cat>
          <c:val>
            <c:numRef>
              <c:f>Sheet1!$C$2:$C$6</c:f>
              <c:numCache>
                <c:formatCode>General</c:formatCode>
                <c:ptCount val="5"/>
                <c:pt idx="0">
                  <c:v>0.63251998569210988</c:v>
                </c:pt>
                <c:pt idx="1">
                  <c:v>0.93892618942893369</c:v>
                </c:pt>
                <c:pt idx="2">
                  <c:v>0.96840283898660429</c:v>
                </c:pt>
                <c:pt idx="3">
                  <c:v>0.99053899327905692</c:v>
                </c:pt>
                <c:pt idx="4">
                  <c:v>0.9999024462042160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Classique Fromage Frais A Tartiner Afh Boite 1X150Gr 1P</c:v>
                </c:pt>
                <c:pt idx="1">
                  <c:v>Boursin Classique Fromage Frais A Tartiner Afh 1X160Gr 10P</c:v>
                </c:pt>
                <c:pt idx="2">
                  <c:v>Boursin Classique Fromage Frais A Tartiner Afh Boite 1X96Gr 6P</c:v>
                </c:pt>
                <c:pt idx="3">
                  <c:v>Boursin Classique Fromage Frais A Tartiner Ciboulette &amp; Echalote Boite 1X150Gr 1P</c:v>
                </c:pt>
                <c:pt idx="4">
                  <c:v>Boursin Classique Fromage Frais A Tartiner Afh Boite 1X80Gr 1P</c:v>
                </c:pt>
              </c:strCache>
            </c:strRef>
          </c:cat>
          <c:val>
            <c:numRef>
              <c:f>Sheet1!$D$2:$D$6</c:f>
              <c:numCache>
                <c:formatCode>General</c:formatCode>
                <c:ptCount val="5"/>
                <c:pt idx="0">
                  <c:v>4452.734939759036</c:v>
                </c:pt>
                <c:pt idx="1">
                  <c:v>3653.6938775510203</c:v>
                </c:pt>
                <c:pt idx="2">
                  <c:v>1913.6666666666667</c:v>
                </c:pt>
                <c:pt idx="3">
                  <c:v>1616.75</c:v>
                </c:pt>
                <c:pt idx="4">
                  <c:v>497.363636363636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Kiri Delicieusement Fouette Fromage Frais A Tartiner 1X125Gr 1P</c:v>
                </c:pt>
                <c:pt idx="1">
                  <c:v>Kiri Delicieusement Fouette Fromage Frais A Tartiner 1X160Gr 10P</c:v>
                </c:pt>
              </c:strCache>
            </c:strRef>
          </c:cat>
          <c:val>
            <c:numRef>
              <c:f>Sheet1!$B$2:$B$3</c:f>
              <c:numCache>
                <c:formatCode>General</c:formatCode>
                <c:ptCount val="2"/>
                <c:pt idx="0">
                  <c:v>0.87</c:v>
                </c:pt>
                <c:pt idx="1">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Kiri Delicieusement Fouette Fromage Frais A Tartiner 1X125Gr 1P</c:v>
                </c:pt>
                <c:pt idx="1">
                  <c:v>Kiri Delicieusement Fouette Fromage Frais A Tartiner 1X160Gr 10P</c:v>
                </c:pt>
              </c:strCache>
            </c:strRef>
          </c:cat>
          <c:val>
            <c:numRef>
              <c:f>Sheet1!$C$2:$C$3</c:f>
              <c:numCache>
                <c:formatCode>General</c:formatCode>
                <c:ptCount val="2"/>
                <c:pt idx="0">
                  <c:v>0.99607057788296693</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Kiri Delicieusement Fouette Fromage Frais A Tartiner 1X125Gr 1P</c:v>
                </c:pt>
                <c:pt idx="1">
                  <c:v>Kiri Delicieusement Fouette Fromage Frais A Tartiner 1X160Gr 10P</c:v>
                </c:pt>
              </c:strCache>
            </c:strRef>
          </c:cat>
          <c:val>
            <c:numRef>
              <c:f>Sheet1!$D$2:$D$3</c:f>
              <c:numCache>
                <c:formatCode>General</c:formatCode>
                <c:ptCount val="2"/>
                <c:pt idx="0">
                  <c:v>1509.2873563218391</c:v>
                </c:pt>
                <c:pt idx="1">
                  <c:v>57.5555555555555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strCache>
            </c:strRef>
          </c:cat>
          <c:val>
            <c:numRef>
              <c:f>Sheet1!$B$2:$B$12</c:f>
              <c:numCache>
                <c:formatCode>General</c:formatCode>
                <c:ptCount val="11"/>
                <c:pt idx="0">
                  <c:v>0.99</c:v>
                </c:pt>
                <c:pt idx="1">
                  <c:v>0.99</c:v>
                </c:pt>
                <c:pt idx="2">
                  <c:v>1</c:v>
                </c:pt>
                <c:pt idx="3">
                  <c:v>0.97</c:v>
                </c:pt>
                <c:pt idx="4">
                  <c:v>0.9</c:v>
                </c:pt>
                <c:pt idx="5">
                  <c:v>0.95</c:v>
                </c:pt>
                <c:pt idx="6">
                  <c:v>0.96</c:v>
                </c:pt>
                <c:pt idx="7">
                  <c:v>0.84</c:v>
                </c:pt>
                <c:pt idx="8">
                  <c:v>0.86</c:v>
                </c:pt>
                <c:pt idx="9">
                  <c:v>0.83</c:v>
                </c:pt>
                <c:pt idx="10">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strCache>
            </c:strRef>
          </c:cat>
          <c:val>
            <c:numRef>
              <c:f>Sheet1!$C$2:$C$12</c:f>
              <c:numCache>
                <c:formatCode>General</c:formatCode>
                <c:ptCount val="11"/>
                <c:pt idx="0">
                  <c:v>0.21311808792882506</c:v>
                </c:pt>
                <c:pt idx="1">
                  <c:v>0.41062596583100208</c:v>
                </c:pt>
                <c:pt idx="2">
                  <c:v>0.57753444398775444</c:v>
                </c:pt>
                <c:pt idx="3">
                  <c:v>0.66960665721279367</c:v>
                </c:pt>
                <c:pt idx="4">
                  <c:v>0.73926827335666745</c:v>
                </c:pt>
                <c:pt idx="5">
                  <c:v>0.80608474995052526</c:v>
                </c:pt>
                <c:pt idx="6">
                  <c:v>0.8662663408164134</c:v>
                </c:pt>
                <c:pt idx="7">
                  <c:v>0.91351892121239098</c:v>
                </c:pt>
                <c:pt idx="8">
                  <c:v>0.96051427195224826</c:v>
                </c:pt>
                <c:pt idx="9">
                  <c:v>0.99987665467172393</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strCache>
            </c:strRef>
          </c:cat>
          <c:val>
            <c:numRef>
              <c:f>Sheet1!$D$2:$D$12</c:f>
              <c:numCache>
                <c:formatCode>General</c:formatCode>
                <c:ptCount val="11"/>
                <c:pt idx="0">
                  <c:v>5515.0505050505053</c:v>
                </c:pt>
                <c:pt idx="1">
                  <c:v>5111.090909090909</c:v>
                </c:pt>
                <c:pt idx="2">
                  <c:v>4276.05</c:v>
                </c:pt>
                <c:pt idx="3">
                  <c:v>2431.7628865979382</c:v>
                </c:pt>
                <c:pt idx="4">
                  <c:v>1982.9666666666667</c:v>
                </c:pt>
                <c:pt idx="5">
                  <c:v>1801.8736842105263</c:v>
                </c:pt>
                <c:pt idx="6">
                  <c:v>1606.0416666666667</c:v>
                </c:pt>
                <c:pt idx="7">
                  <c:v>1441.1547619047619</c:v>
                </c:pt>
                <c:pt idx="8">
                  <c:v>1399.9767441860465</c:v>
                </c:pt>
                <c:pt idx="9">
                  <c:v>1214.9759036144578</c:v>
                </c:pt>
                <c:pt idx="10">
                  <c:v>52.6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Kiri Delicieusement Fouette Fromage Frais A Tartiner 1X125Gr 1P</c:v>
                </c:pt>
                <c:pt idx="1">
                  <c:v>Kiri Delicieusement Fouette Fromage Frais A Tartiner 1X160Gr 10P</c:v>
                </c:pt>
              </c:strCache>
            </c:strRef>
          </c:cat>
          <c:val>
            <c:numRef>
              <c:f>Sheet1!$B$2:$B$3</c:f>
              <c:numCache>
                <c:formatCode>General</c:formatCode>
                <c:ptCount val="2"/>
                <c:pt idx="0">
                  <c:v>0.99</c:v>
                </c:pt>
                <c:pt idx="1">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Kiri Delicieusement Fouette Fromage Frais A Tartiner 1X125Gr 1P</c:v>
                </c:pt>
                <c:pt idx="1">
                  <c:v>Kiri Delicieusement Fouette Fromage Frais A Tartiner 1X160Gr 10P</c:v>
                </c:pt>
              </c:strCache>
            </c:strRef>
          </c:cat>
          <c:val>
            <c:numRef>
              <c:f>Sheet1!$C$2:$C$3</c:f>
              <c:numCache>
                <c:formatCode>General</c:formatCode>
                <c:ptCount val="2"/>
                <c:pt idx="0">
                  <c:v>0.99546845346450286</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Kiri Delicieusement Fouette Fromage Frais A Tartiner 1X125Gr 1P</c:v>
                </c:pt>
                <c:pt idx="1">
                  <c:v>Kiri Delicieusement Fouette Fromage Frais A Tartiner 1X160Gr 10P</c:v>
                </c:pt>
              </c:strCache>
            </c:strRef>
          </c:cat>
          <c:val>
            <c:numRef>
              <c:f>Sheet1!$D$2:$D$3</c:f>
              <c:numCache>
                <c:formatCode>General</c:formatCode>
                <c:ptCount val="2"/>
                <c:pt idx="0">
                  <c:v>259.61616161616161</c:v>
                </c:pt>
                <c:pt idx="1">
                  <c:v>7.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Afh 1X256Gr 1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Ciboulette &amp; Echalote 1X160Gr 10P</c:v>
                </c:pt>
                <c:pt idx="10">
                  <c:v>Boursin Classique Fromage Frais A Tartiner Afh Boite 1X80Gr 1P</c:v>
                </c:pt>
              </c:strCache>
            </c:strRef>
          </c:cat>
          <c:val>
            <c:numRef>
              <c:f>Sheet1!$B$2:$B$12</c:f>
              <c:numCache>
                <c:formatCode>General</c:formatCode>
                <c:ptCount val="11"/>
                <c:pt idx="0">
                  <c:v>0.99</c:v>
                </c:pt>
                <c:pt idx="1">
                  <c:v>0.99</c:v>
                </c:pt>
                <c:pt idx="2">
                  <c:v>0.99</c:v>
                </c:pt>
                <c:pt idx="3">
                  <c:v>0.99</c:v>
                </c:pt>
                <c:pt idx="4">
                  <c:v>0.98</c:v>
                </c:pt>
                <c:pt idx="5">
                  <c:v>0.96</c:v>
                </c:pt>
                <c:pt idx="6">
                  <c:v>0.99</c:v>
                </c:pt>
                <c:pt idx="7">
                  <c:v>0.99</c:v>
                </c:pt>
                <c:pt idx="8">
                  <c:v>0.97</c:v>
                </c:pt>
                <c:pt idx="9">
                  <c:v>0.95</c:v>
                </c:pt>
                <c:pt idx="10">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Afh 1X256Gr 1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Ciboulette &amp; Echalote 1X160Gr 10P</c:v>
                </c:pt>
                <c:pt idx="10">
                  <c:v>Boursin Classique Fromage Frais A Tartiner Afh Boite 1X80Gr 1P</c:v>
                </c:pt>
              </c:strCache>
            </c:strRef>
          </c:cat>
          <c:val>
            <c:numRef>
              <c:f>Sheet1!$C$2:$C$12</c:f>
              <c:numCache>
                <c:formatCode>General</c:formatCode>
                <c:ptCount val="11"/>
                <c:pt idx="0">
                  <c:v>0.2317901446172696</c:v>
                </c:pt>
                <c:pt idx="1">
                  <c:v>0.42883145088342822</c:v>
                </c:pt>
                <c:pt idx="2">
                  <c:v>0.58353588007758339</c:v>
                </c:pt>
                <c:pt idx="3">
                  <c:v>0.66541858063203441</c:v>
                </c:pt>
                <c:pt idx="4">
                  <c:v>0.73511530236045297</c:v>
                </c:pt>
                <c:pt idx="5">
                  <c:v>0.80461297906267504</c:v>
                </c:pt>
                <c:pt idx="6">
                  <c:v>0.86144918048739516</c:v>
                </c:pt>
                <c:pt idx="7">
                  <c:v>0.91177218633268409</c:v>
                </c:pt>
                <c:pt idx="8">
                  <c:v>0.95663472362598134</c:v>
                </c:pt>
                <c:pt idx="9">
                  <c:v>0.99976999241417308</c:v>
                </c:pt>
                <c:pt idx="1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Afh 1X256Gr 1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Ciboulette &amp; Echalote 1X160Gr 10P</c:v>
                </c:pt>
                <c:pt idx="10">
                  <c:v>Boursin Classique Fromage Frais A Tartiner Afh Boite 1X80Gr 1P</c:v>
                </c:pt>
              </c:strCache>
            </c:strRef>
          </c:cat>
          <c:val>
            <c:numRef>
              <c:f>Sheet1!$D$2:$D$12</c:f>
              <c:numCache>
                <c:formatCode>General</c:formatCode>
                <c:ptCount val="11"/>
                <c:pt idx="0">
                  <c:v>1058.6464646464647</c:v>
                </c:pt>
                <c:pt idx="1">
                  <c:v>899.93939393939399</c:v>
                </c:pt>
                <c:pt idx="2">
                  <c:v>706.57575757575762</c:v>
                </c:pt>
                <c:pt idx="3">
                  <c:v>373.97979797979798</c:v>
                </c:pt>
                <c:pt idx="4">
                  <c:v>321.57142857142856</c:v>
                </c:pt>
                <c:pt idx="5">
                  <c:v>327.33333333333331</c:v>
                </c:pt>
                <c:pt idx="6">
                  <c:v>259.5858585858586</c:v>
                </c:pt>
                <c:pt idx="7">
                  <c:v>229.83838383838383</c:v>
                </c:pt>
                <c:pt idx="8">
                  <c:v>209.1237113402062</c:v>
                </c:pt>
                <c:pt idx="9">
                  <c:v>205.30526315789473</c:v>
                </c:pt>
                <c:pt idx="10">
                  <c:v>7.42857142857142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Kiri Delicieusement Fouette Fromage Frais A Tartiner 1X125Gr 1P</c:v>
                </c:pt>
                <c:pt idx="1">
                  <c:v>Kiri Delicieusement Fouette Fromage Frais A Tartiner 1X160Gr 10P</c:v>
                </c:pt>
              </c:strCache>
            </c:strRef>
          </c:cat>
          <c:val>
            <c:numRef>
              <c:f>Sheet1!$B$2:$B$3</c:f>
              <c:numCache>
                <c:formatCode>General</c:formatCode>
                <c:ptCount val="2"/>
                <c:pt idx="0">
                  <c:v>0.44</c:v>
                </c:pt>
                <c:pt idx="1">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Kiri Delicieusement Fouette Fromage Frais A Tartiner 1X125Gr 1P</c:v>
                </c:pt>
                <c:pt idx="1">
                  <c:v>Kiri Delicieusement Fouette Fromage Frais A Tartiner 1X160Gr 10P</c:v>
                </c:pt>
              </c:strCache>
            </c:strRef>
          </c:cat>
          <c:val>
            <c:numRef>
              <c:f>Sheet1!$C$2:$C$3</c:f>
              <c:numCache>
                <c:formatCode>General</c:formatCode>
                <c:ptCount val="2"/>
                <c:pt idx="0">
                  <c:v>0.99368203632829122</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Kiri Delicieusement Fouette Fromage Frais A Tartiner 1X125Gr 1P</c:v>
                </c:pt>
                <c:pt idx="1">
                  <c:v>Kiri Delicieusement Fouette Fromage Frais A Tartiner 1X160Gr 10P</c:v>
                </c:pt>
              </c:strCache>
            </c:strRef>
          </c:cat>
          <c:val>
            <c:numRef>
              <c:f>Sheet1!$D$2:$D$3</c:f>
              <c:numCache>
                <c:formatCode>General</c:formatCode>
                <c:ptCount val="2"/>
                <c:pt idx="0">
                  <c:v>371.75</c:v>
                </c:pt>
                <c:pt idx="1">
                  <c:v>2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Boursin Classique Fromage Frais A Tartiner Afh 1X160Gr 10P</c:v>
                </c:pt>
                <c:pt idx="1">
                  <c:v>Boursin Classique Fromage Frais A Tartiner Afh Boite 1X150Gr 1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Ciboulette &amp; Echalote Boite 1X150Gr 1P</c:v>
                </c:pt>
                <c:pt idx="6">
                  <c:v>Boursin Classique Fromage Frais A Tartiner Afh Boite 1X96Gr 6P</c:v>
                </c:pt>
                <c:pt idx="7">
                  <c:v>Boursin Classique Fromage Frais A Tartiner Poivre Boite 1X150Gr 1P</c:v>
                </c:pt>
                <c:pt idx="8">
                  <c:v>Boursin Classique Fromage Frais A Tartiner Ciboulette &amp; Echalote 1X160Gr 10P</c:v>
                </c:pt>
                <c:pt idx="9">
                  <c:v>Boursin Classique Fromage Frais A Tartiner Afh 1X256Gr 16P</c:v>
                </c:pt>
                <c:pt idx="10">
                  <c:v>Boursin Classique Fromage Frais A Tartiner Afh Boite 1X80Gr 1P</c:v>
                </c:pt>
              </c:strCache>
            </c:strRef>
          </c:cat>
          <c:val>
            <c:numRef>
              <c:f>Sheet1!$B$2:$B$12</c:f>
              <c:numCache>
                <c:formatCode>General</c:formatCode>
                <c:ptCount val="11"/>
                <c:pt idx="0">
                  <c:v>0.9</c:v>
                </c:pt>
                <c:pt idx="1">
                  <c:v>0.96</c:v>
                </c:pt>
                <c:pt idx="2">
                  <c:v>0.75</c:v>
                </c:pt>
                <c:pt idx="3">
                  <c:v>0.81</c:v>
                </c:pt>
                <c:pt idx="4">
                  <c:v>0.81</c:v>
                </c:pt>
                <c:pt idx="5">
                  <c:v>0.8</c:v>
                </c:pt>
                <c:pt idx="6">
                  <c:v>0.66</c:v>
                </c:pt>
                <c:pt idx="7">
                  <c:v>0.59</c:v>
                </c:pt>
                <c:pt idx="8">
                  <c:v>0.46</c:v>
                </c:pt>
                <c:pt idx="9">
                  <c:v>0.33</c:v>
                </c:pt>
                <c:pt idx="1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Boursin Classique Fromage Frais A Tartiner Afh 1X160Gr 10P</c:v>
                </c:pt>
                <c:pt idx="1">
                  <c:v>Boursin Classique Fromage Frais A Tartiner Afh Boite 1X150Gr 1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Ciboulette &amp; Echalote Boite 1X150Gr 1P</c:v>
                </c:pt>
                <c:pt idx="6">
                  <c:v>Boursin Classique Fromage Frais A Tartiner Afh Boite 1X96Gr 6P</c:v>
                </c:pt>
                <c:pt idx="7">
                  <c:v>Boursin Classique Fromage Frais A Tartiner Poivre Boite 1X150Gr 1P</c:v>
                </c:pt>
                <c:pt idx="8">
                  <c:v>Boursin Classique Fromage Frais A Tartiner Ciboulette &amp; Echalote 1X160Gr 10P</c:v>
                </c:pt>
                <c:pt idx="9">
                  <c:v>Boursin Classique Fromage Frais A Tartiner Afh 1X256Gr 16P</c:v>
                </c:pt>
                <c:pt idx="10">
                  <c:v>Boursin Classique Fromage Frais A Tartiner Afh Boite 1X80Gr 1P</c:v>
                </c:pt>
              </c:strCache>
            </c:strRef>
          </c:cat>
          <c:val>
            <c:numRef>
              <c:f>Sheet1!$C$2:$C$12</c:f>
              <c:numCache>
                <c:formatCode>General</c:formatCode>
                <c:ptCount val="11"/>
                <c:pt idx="0">
                  <c:v>0.20554286229485846</c:v>
                </c:pt>
                <c:pt idx="1">
                  <c:v>0.40569591443154107</c:v>
                </c:pt>
                <c:pt idx="2">
                  <c:v>0.54667100607590591</c:v>
                </c:pt>
                <c:pt idx="3">
                  <c:v>0.66552830474967395</c:v>
                </c:pt>
                <c:pt idx="4">
                  <c:v>0.76014135332393606</c:v>
                </c:pt>
                <c:pt idx="5">
                  <c:v>0.83329851543825462</c:v>
                </c:pt>
                <c:pt idx="6">
                  <c:v>0.9046304868421341</c:v>
                </c:pt>
                <c:pt idx="7">
                  <c:v>0.95258022592782354</c:v>
                </c:pt>
                <c:pt idx="8">
                  <c:v>0.9784715457166292</c:v>
                </c:pt>
                <c:pt idx="9">
                  <c:v>0.9999626165758102</c:v>
                </c:pt>
                <c:pt idx="1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Boursin Classique Fromage Frais A Tartiner Afh 1X160Gr 10P</c:v>
                </c:pt>
                <c:pt idx="1">
                  <c:v>Boursin Classique Fromage Frais A Tartiner Afh Boite 1X150Gr 1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Ciboulette &amp; Echalote Boite 1X150Gr 1P</c:v>
                </c:pt>
                <c:pt idx="6">
                  <c:v>Boursin Classique Fromage Frais A Tartiner Afh Boite 1X96Gr 6P</c:v>
                </c:pt>
                <c:pt idx="7">
                  <c:v>Boursin Classique Fromage Frais A Tartiner Poivre Boite 1X150Gr 1P</c:v>
                </c:pt>
                <c:pt idx="8">
                  <c:v>Boursin Classique Fromage Frais A Tartiner Ciboulette &amp; Echalote 1X160Gr 10P</c:v>
                </c:pt>
                <c:pt idx="9">
                  <c:v>Boursin Classique Fromage Frais A Tartiner Afh 1X256Gr 16P</c:v>
                </c:pt>
                <c:pt idx="10">
                  <c:v>Boursin Classique Fromage Frais A Tartiner Afh Boite 1X80Gr 1P</c:v>
                </c:pt>
              </c:strCache>
            </c:strRef>
          </c:cat>
          <c:val>
            <c:numRef>
              <c:f>Sheet1!$D$2:$D$12</c:f>
              <c:numCache>
                <c:formatCode>General</c:formatCode>
                <c:ptCount val="11"/>
                <c:pt idx="0">
                  <c:v>1038.5555555555557</c:v>
                </c:pt>
                <c:pt idx="1">
                  <c:v>948.11458333333337</c:v>
                </c:pt>
                <c:pt idx="2">
                  <c:v>854.77333333333331</c:v>
                </c:pt>
                <c:pt idx="3">
                  <c:v>667.28395061728395</c:v>
                </c:pt>
                <c:pt idx="4">
                  <c:v>531.17283950617286</c:v>
                </c:pt>
                <c:pt idx="5">
                  <c:v>415.85</c:v>
                </c:pt>
                <c:pt idx="6">
                  <c:v>491.4848484848485</c:v>
                </c:pt>
                <c:pt idx="7">
                  <c:v>369.57627118644069</c:v>
                </c:pt>
                <c:pt idx="8">
                  <c:v>255.95652173913044</c:v>
                </c:pt>
                <c:pt idx="9">
                  <c:v>296.15151515151513</c:v>
                </c:pt>
                <c:pt idx="10">
                  <c:v>1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B$2:$B$7</c:f>
              <c:numCache>
                <c:formatCode>General</c:formatCode>
                <c:ptCount val="6"/>
                <c:pt idx="0">
                  <c:v>0.96099999999999997</c:v>
                </c:pt>
                <c:pt idx="1">
                  <c:v>0.79300000000000004</c:v>
                </c:pt>
                <c:pt idx="2">
                  <c:v>0.76600000000000001</c:v>
                </c:pt>
                <c:pt idx="3">
                  <c:v>0.69399999999999995</c:v>
                </c:pt>
                <c:pt idx="4">
                  <c:v>0.69399999999999995</c:v>
                </c:pt>
                <c:pt idx="5">
                  <c:v>1.0999999999999999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C$2:$C$7</c:f>
              <c:numCache>
                <c:formatCode>General</c:formatCode>
                <c:ptCount val="6"/>
                <c:pt idx="0">
                  <c:v>0.57140242294507271</c:v>
                </c:pt>
                <c:pt idx="1">
                  <c:v>0.71195030015356697</c:v>
                </c:pt>
                <c:pt idx="2">
                  <c:v>0.84121333395380593</c:v>
                </c:pt>
                <c:pt idx="3">
                  <c:v>0.92260148603161318</c:v>
                </c:pt>
                <c:pt idx="4">
                  <c:v>0.9998410039244886</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D$2:$D$7</c:f>
              <c:numCache>
                <c:formatCode>General</c:formatCode>
                <c:ptCount val="6"/>
                <c:pt idx="0">
                  <c:v>7666.3059313215408</c:v>
                </c:pt>
                <c:pt idx="1">
                  <c:v>2285.1702395964694</c:v>
                </c:pt>
                <c:pt idx="2">
                  <c:v>2175.7702349869455</c:v>
                </c:pt>
                <c:pt idx="3">
                  <c:v>1512.0605187319886</c:v>
                </c:pt>
                <c:pt idx="4">
                  <c:v>1434.9855907780982</c:v>
                </c:pt>
                <c:pt idx="5">
                  <c:v>186.363636363636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B$2:$B$8</c:f>
              <c:numCache>
                <c:formatCode>General</c:formatCode>
                <c:ptCount val="7"/>
                <c:pt idx="0">
                  <c:v>0.47148417670046305</c:v>
                </c:pt>
                <c:pt idx="1">
                  <c:v>0.34802117401507782</c:v>
                </c:pt>
                <c:pt idx="2">
                  <c:v>5.4439276656194656E-2</c:v>
                </c:pt>
                <c:pt idx="3">
                  <c:v>3.2693882080756444E-2</c:v>
                </c:pt>
                <c:pt idx="4">
                  <c:v>2.1356477565972556E-2</c:v>
                </c:pt>
                <c:pt idx="5">
                  <c:v>5.7826951739594654E-6</c:v>
                </c:pt>
                <c:pt idx="6">
                  <c:v>7.199923028636151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C$2:$C$8</c:f>
              <c:numCache>
                <c:formatCode>General</c:formatCode>
                <c:ptCount val="7"/>
                <c:pt idx="0">
                  <c:v>0.39211775225256201</c:v>
                </c:pt>
                <c:pt idx="1">
                  <c:v>0.31295137217140101</c:v>
                </c:pt>
                <c:pt idx="2">
                  <c:v>4.2231240112800057E-2</c:v>
                </c:pt>
                <c:pt idx="3">
                  <c:v>2.5448792901850197E-2</c:v>
                </c:pt>
                <c:pt idx="4">
                  <c:v>5.7981979503404626E-2</c:v>
                </c:pt>
                <c:pt idx="5">
                  <c:v>0</c:v>
                </c:pt>
                <c:pt idx="6">
                  <c:v>0.1692688630579819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D$2:$D$8</c:f>
              <c:numCache>
                <c:formatCode>General</c:formatCode>
                <c:ptCount val="7"/>
                <c:pt idx="0">
                  <c:v>83.16668334379267</c:v>
                </c:pt>
                <c:pt idx="1">
                  <c:v>89.923083863237167</c:v>
                </c:pt>
                <c:pt idx="2">
                  <c:v>77.574947182907792</c:v>
                </c:pt>
                <c:pt idx="3">
                  <c:v>77.839617941331312</c:v>
                </c:pt>
                <c:pt idx="4">
                  <c:v>271.4959867529268</c:v>
                </c:pt>
                <c:pt idx="5">
                  <c:v>1</c:v>
                </c:pt>
                <c:pt idx="6">
                  <c:v>235.09815644521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B$2:$B$6</c:f>
              <c:numCache>
                <c:formatCode>General</c:formatCode>
                <c:ptCount val="5"/>
                <c:pt idx="0">
                  <c:v>0.96499999999999997</c:v>
                </c:pt>
                <c:pt idx="1">
                  <c:v>0.82099999999999995</c:v>
                </c:pt>
                <c:pt idx="2">
                  <c:v>0.51300000000000001</c:v>
                </c:pt>
                <c:pt idx="3">
                  <c:v>0.65</c:v>
                </c:pt>
                <c:pt idx="4">
                  <c:v>0.411999999999999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C$2:$C$6</c:f>
              <c:numCache>
                <c:formatCode>General</c:formatCode>
                <c:ptCount val="5"/>
                <c:pt idx="0">
                  <c:v>0.56458059202005861</c:v>
                </c:pt>
                <c:pt idx="1">
                  <c:v>0.76663178507413199</c:v>
                </c:pt>
                <c:pt idx="2">
                  <c:v>0.86298786742231937</c:v>
                </c:pt>
                <c:pt idx="3">
                  <c:v>0.94041464198016933</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D$2:$D$6</c:f>
              <c:numCache>
                <c:formatCode>General</c:formatCode>
                <c:ptCount val="5"/>
                <c:pt idx="0">
                  <c:v>4517.4404145077724</c:v>
                </c:pt>
                <c:pt idx="1">
                  <c:v>1900.255785627284</c:v>
                </c:pt>
                <c:pt idx="2">
                  <c:v>1450.2923976608186</c:v>
                </c:pt>
                <c:pt idx="3">
                  <c:v>919.7538461538461</c:v>
                </c:pt>
                <c:pt idx="4">
                  <c:v>1116.69902912621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Soft Cheese Salade 120G</c:v>
                </c:pt>
                <c:pt idx="4">
                  <c:v>Boursin Salade &amp; Aperitif Fromage Frais Des Citron Romarin 1X120Gr 1P</c:v>
                </c:pt>
              </c:strCache>
            </c:strRef>
          </c:cat>
          <c:val>
            <c:numRef>
              <c:f>Sheet1!$B$2:$B$6</c:f>
              <c:numCache>
                <c:formatCode>General</c:formatCode>
                <c:ptCount val="5"/>
                <c:pt idx="0">
                  <c:v>1</c:v>
                </c:pt>
                <c:pt idx="1">
                  <c:v>0.99</c:v>
                </c:pt>
                <c:pt idx="2">
                  <c:v>0.99</c:v>
                </c:pt>
                <c:pt idx="3">
                  <c:v>0.94</c:v>
                </c:pt>
                <c:pt idx="4">
                  <c:v>0.9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Soft Cheese Salade 120G</c:v>
                </c:pt>
                <c:pt idx="4">
                  <c:v>Boursin Salade &amp; Aperitif Fromage Frais Des Citron Romarin 1X120Gr 1P</c:v>
                </c:pt>
              </c:strCache>
            </c:strRef>
          </c:cat>
          <c:val>
            <c:numRef>
              <c:f>Sheet1!$C$2:$C$6</c:f>
              <c:numCache>
                <c:formatCode>General</c:formatCode>
                <c:ptCount val="5"/>
                <c:pt idx="0">
                  <c:v>0.44481742477949393</c:v>
                </c:pt>
                <c:pt idx="1">
                  <c:v>0.65375643037621867</c:v>
                </c:pt>
                <c:pt idx="2">
                  <c:v>0.81185027195921722</c:v>
                </c:pt>
                <c:pt idx="3">
                  <c:v>0.9103594951435132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Soft Cheese Salade 120G</c:v>
                </c:pt>
                <c:pt idx="4">
                  <c:v>Boursin Salade &amp; Aperitif Fromage Frais Des Citron Romarin 1X120Gr 1P</c:v>
                </c:pt>
              </c:strCache>
            </c:strRef>
          </c:cat>
          <c:val>
            <c:numRef>
              <c:f>Sheet1!$D$2:$D$6</c:f>
              <c:numCache>
                <c:formatCode>General</c:formatCode>
                <c:ptCount val="5"/>
                <c:pt idx="0">
                  <c:v>2202.34</c:v>
                </c:pt>
                <c:pt idx="1">
                  <c:v>1044.9292929292928</c:v>
                </c:pt>
                <c:pt idx="2">
                  <c:v>790.64646464646466</c:v>
                </c:pt>
                <c:pt idx="3">
                  <c:v>518.86170212765956</c:v>
                </c:pt>
                <c:pt idx="4">
                  <c:v>477.225806451612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B$2:$B$7</c:f>
              <c:numCache>
                <c:formatCode>General</c:formatCode>
                <c:ptCount val="6"/>
                <c:pt idx="0">
                  <c:v>0.99</c:v>
                </c:pt>
                <c:pt idx="1">
                  <c:v>0.91</c:v>
                </c:pt>
                <c:pt idx="2">
                  <c:v>0.84</c:v>
                </c:pt>
                <c:pt idx="3">
                  <c:v>0.71</c:v>
                </c:pt>
                <c:pt idx="4">
                  <c:v>0.72</c:v>
                </c:pt>
                <c:pt idx="5">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C$2:$C$7</c:f>
              <c:numCache>
                <c:formatCode>General</c:formatCode>
                <c:ptCount val="6"/>
                <c:pt idx="0">
                  <c:v>0.51590319144670671</c:v>
                </c:pt>
                <c:pt idx="1">
                  <c:v>0.69535778476257226</c:v>
                </c:pt>
                <c:pt idx="2">
                  <c:v>0.80556180235588637</c:v>
                </c:pt>
                <c:pt idx="3">
                  <c:v>0.90347211689826323</c:v>
                </c:pt>
                <c:pt idx="4">
                  <c:v>0.99964262491131006</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Soft Cheese Salade 120G</c:v>
                </c:pt>
                <c:pt idx="4">
                  <c:v>Boursin Salade &amp; Aperitif Fromage Frais Des Citron Romarin 1X120Gr 1P</c:v>
                </c:pt>
                <c:pt idx="5">
                  <c:v>Boursin Salade &amp; Aperitif Fromage Frais Des Noisette Et 3 Noix 1X120Gr 1P</c:v>
                </c:pt>
              </c:strCache>
            </c:strRef>
          </c:cat>
          <c:val>
            <c:numRef>
              <c:f>Sheet1!$D$2:$D$7</c:f>
              <c:numCache>
                <c:formatCode>General</c:formatCode>
                <c:ptCount val="6"/>
                <c:pt idx="0">
                  <c:v>2989.2525252525252</c:v>
                </c:pt>
                <c:pt idx="1">
                  <c:v>1131.2087912087911</c:v>
                </c:pt>
                <c:pt idx="2">
                  <c:v>752.57142857142856</c:v>
                </c:pt>
                <c:pt idx="3">
                  <c:v>791.04225352112678</c:v>
                </c:pt>
                <c:pt idx="4">
                  <c:v>766.19444444444446</c:v>
                </c:pt>
                <c:pt idx="5">
                  <c:v>68.3333333333333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Salade &amp; Aperitif Fromage Frais Des Afh 1X120Gr 1P</c:v>
                </c:pt>
              </c:strCache>
            </c:strRef>
          </c:cat>
          <c:val>
            <c:numRef>
              <c:f>Sheet1!$B$2:$B$2</c:f>
              <c:numCache>
                <c:formatCode>General</c:formatCode>
                <c:ptCount val="1"/>
                <c:pt idx="0">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Salade &amp; Aperitif Fromage Frais Des Afh 1X120Gr 1P</c:v>
                </c:pt>
              </c:strCache>
            </c:strRef>
          </c:cat>
          <c:val>
            <c:numRef>
              <c:f>Sheet1!$C$2:$C$2</c:f>
              <c:numCache>
                <c:formatCode>General</c:formatCode>
                <c:ptCount val="1"/>
                <c:pt idx="0">
                  <c:v>0.9998186779811606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Salade &amp; Aperitif Fromage Frais Des Afh 1X120Gr 1P</c:v>
                </c:pt>
              </c:strCache>
            </c:strRef>
          </c:cat>
          <c:val>
            <c:numRef>
              <c:f>Sheet1!$D$2:$D$2</c:f>
              <c:numCache>
                <c:formatCode>General</c:formatCode>
                <c:ptCount val="1"/>
                <c:pt idx="0">
                  <c:v>2791.924050632911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B$2:$B$6</c:f>
              <c:numCache>
                <c:formatCode>General</c:formatCode>
                <c:ptCount val="5"/>
                <c:pt idx="0">
                  <c:v>0.98</c:v>
                </c:pt>
                <c:pt idx="1">
                  <c:v>0.86</c:v>
                </c:pt>
                <c:pt idx="2">
                  <c:v>0.51</c:v>
                </c:pt>
                <c:pt idx="3">
                  <c:v>0.67</c:v>
                </c:pt>
                <c:pt idx="4">
                  <c:v>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C$2:$C$6</c:f>
              <c:numCache>
                <c:formatCode>General</c:formatCode>
                <c:ptCount val="5"/>
                <c:pt idx="0">
                  <c:v>0.56132955061202905</c:v>
                </c:pt>
                <c:pt idx="1">
                  <c:v>0.76670479985177342</c:v>
                </c:pt>
                <c:pt idx="2">
                  <c:v>0.86266613858154739</c:v>
                </c:pt>
                <c:pt idx="3">
                  <c:v>0.9401348656867627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D$2:$D$6</c:f>
              <c:numCache>
                <c:formatCode>General</c:formatCode>
                <c:ptCount val="5"/>
                <c:pt idx="0">
                  <c:v>3369.6326530612246</c:v>
                </c:pt>
                <c:pt idx="1">
                  <c:v>1404.8837209302326</c:v>
                </c:pt>
                <c:pt idx="2">
                  <c:v>1106.9215686274511</c:v>
                </c:pt>
                <c:pt idx="3">
                  <c:v>680.20895522388059</c:v>
                </c:pt>
                <c:pt idx="4">
                  <c:v>880.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B$2:$B$6</c:f>
              <c:numCache>
                <c:formatCode>General</c:formatCode>
                <c:ptCount val="5"/>
                <c:pt idx="0">
                  <c:v>0.99</c:v>
                </c:pt>
                <c:pt idx="1">
                  <c:v>0.95</c:v>
                </c:pt>
                <c:pt idx="2">
                  <c:v>0.83</c:v>
                </c:pt>
                <c:pt idx="3">
                  <c:v>0.87</c:v>
                </c:pt>
                <c:pt idx="4">
                  <c:v>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C$2:$C$6</c:f>
              <c:numCache>
                <c:formatCode>General</c:formatCode>
                <c:ptCount val="5"/>
                <c:pt idx="0">
                  <c:v>0.49974195451026654</c:v>
                </c:pt>
                <c:pt idx="1">
                  <c:v>0.72162421203966531</c:v>
                </c:pt>
                <c:pt idx="2">
                  <c:v>0.83982747815829251</c:v>
                </c:pt>
                <c:pt idx="3">
                  <c:v>0.9284015925093080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D$2:$D$6</c:f>
              <c:numCache>
                <c:formatCode>General</c:formatCode>
                <c:ptCount val="5"/>
                <c:pt idx="0">
                  <c:v>547.73737373737379</c:v>
                </c:pt>
                <c:pt idx="1">
                  <c:v>253.43157894736842</c:v>
                </c:pt>
                <c:pt idx="2">
                  <c:v>154.53012048192772</c:v>
                </c:pt>
                <c:pt idx="3">
                  <c:v>110.47126436781609</c:v>
                </c:pt>
                <c:pt idx="4">
                  <c:v>106.4246575342465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B$2:$B$6</c:f>
              <c:numCache>
                <c:formatCode>General</c:formatCode>
                <c:ptCount val="5"/>
                <c:pt idx="0">
                  <c:v>0.84</c:v>
                </c:pt>
                <c:pt idx="1">
                  <c:v>0.43</c:v>
                </c:pt>
                <c:pt idx="2">
                  <c:v>0.18</c:v>
                </c:pt>
                <c:pt idx="3">
                  <c:v>0.28000000000000003</c:v>
                </c:pt>
                <c:pt idx="4">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C$2:$C$6</c:f>
              <c:numCache>
                <c:formatCode>General</c:formatCode>
                <c:ptCount val="5"/>
                <c:pt idx="0">
                  <c:v>0.68335125233942584</c:v>
                </c:pt>
                <c:pt idx="1">
                  <c:v>0.83088440250069695</c:v>
                </c:pt>
                <c:pt idx="2">
                  <c:v>0.89885716561143636</c:v>
                </c:pt>
                <c:pt idx="3">
                  <c:v>0.9599012463664238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Soft Cheese Salade 120G</c:v>
                </c:pt>
              </c:strCache>
            </c:strRef>
          </c:cat>
          <c:val>
            <c:numRef>
              <c:f>Sheet1!$D$2:$D$6</c:f>
              <c:numCache>
                <c:formatCode>General</c:formatCode>
                <c:ptCount val="5"/>
                <c:pt idx="0">
                  <c:v>612.89285714285711</c:v>
                </c:pt>
                <c:pt idx="1">
                  <c:v>258.48837209302326</c:v>
                </c:pt>
                <c:pt idx="2">
                  <c:v>284.5</c:v>
                </c:pt>
                <c:pt idx="3">
                  <c:v>164.24999999999997</c:v>
                </c:pt>
                <c:pt idx="4">
                  <c:v>215.785714285714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7622A89-FDF2-4ED2-BD74-D41171FD1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7EF822B-52A8-4A70-8E22-37131307B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8A3F2C3-7B6E-4417-8308-703E33310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230DBD4-4F3D-4A9E-B1CD-272AEF63E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A485174-4450-43EE-955B-6B0B92C41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B329371-B5EB-4A08-9AAA-A44F685EF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63FC5D6-64AF-4D82-98D9-9310538B9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9760000000000001</c:v>
                </c:pt>
                <c:pt idx="1">
                  <c:v>0.30159999999999998</c:v>
                </c:pt>
                <c:pt idx="2">
                  <c:v>0.40649999999999997</c:v>
                </c:pt>
                <c:pt idx="3">
                  <c:v>0.39529999999999998</c:v>
                </c:pt>
                <c:pt idx="4">
                  <c:v>0.2487</c:v>
                </c:pt>
                <c:pt idx="5">
                  <c:v>0.34449999999999997</c:v>
                </c:pt>
                <c:pt idx="6">
                  <c:v>0.34870000000000001</c:v>
                </c:pt>
                <c:pt idx="7">
                  <c:v>0.32169999999999999</c:v>
                </c:pt>
                <c:pt idx="8">
                  <c:v>0.37290000000000001</c:v>
                </c:pt>
                <c:pt idx="9">
                  <c:v>0.33200000000000002</c:v>
                </c:pt>
              </c:numCache>
            </c:numRef>
          </c:xVal>
          <c:yVal>
            <c:numRef>
              <c:f>Sheet1!$B$2:$B$11</c:f>
              <c:numCache>
                <c:formatCode>General</c:formatCode>
                <c:ptCount val="10"/>
                <c:pt idx="0">
                  <c:v>18926.45669291338</c:v>
                </c:pt>
                <c:pt idx="1">
                  <c:v>10068.847087378639</c:v>
                </c:pt>
                <c:pt idx="2">
                  <c:v>2199.293333333334</c:v>
                </c:pt>
                <c:pt idx="3">
                  <c:v>2179.1176470588239</c:v>
                </c:pt>
                <c:pt idx="4">
                  <c:v>6343.0617977528091</c:v>
                </c:pt>
                <c:pt idx="5">
                  <c:v>11865.449949443881</c:v>
                </c:pt>
                <c:pt idx="6">
                  <c:v>1778.3163265306121</c:v>
                </c:pt>
                <c:pt idx="7">
                  <c:v>216.63291139240511</c:v>
                </c:pt>
                <c:pt idx="8">
                  <c:v>11603.780359028509</c:v>
                </c:pt>
                <c:pt idx="9">
                  <c:v>6342.166666666667</c:v>
                </c:pt>
              </c:numCache>
            </c:numRef>
          </c:yVal>
          <c:bubbleSize>
            <c:numRef>
              <c:f>Sheet1!$C$2:$C$11</c:f>
              <c:numCache>
                <c:formatCode>General</c:formatCode>
                <c:ptCount val="10"/>
                <c:pt idx="0">
                  <c:v>823427.75609999988</c:v>
                </c:pt>
                <c:pt idx="1">
                  <c:v>549238.52140000009</c:v>
                </c:pt>
                <c:pt idx="2">
                  <c:v>92796.757600000012</c:v>
                </c:pt>
                <c:pt idx="3">
                  <c:v>76442.335200000001</c:v>
                </c:pt>
                <c:pt idx="4">
                  <c:v>321620.14799999999</c:v>
                </c:pt>
                <c:pt idx="5">
                  <c:v>729116.22960000008</c:v>
                </c:pt>
                <c:pt idx="6">
                  <c:v>43037.490400000002</c:v>
                </c:pt>
                <c:pt idx="7">
                  <c:v>5501.8664000000008</c:v>
                </c:pt>
                <c:pt idx="8">
                  <c:v>653215.72479999985</c:v>
                </c:pt>
                <c:pt idx="9">
                  <c:v>289115.1395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4EACF91-F315-4BEA-AB5D-83F680D03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85F07C5-0A41-44E4-AE17-A2F41D206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AD2D249-8E17-4DD6-A105-3CFEAD913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2AB966A-61D5-4E05-8652-189204C93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E75F9ED-5805-41B1-9670-07E0528BC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8BC4961-FA6E-4954-A7A0-1639C7F92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18DF328-00E9-4DAD-9256-64EFB3125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2580000000000001</c:v>
                </c:pt>
                <c:pt idx="1">
                  <c:v>0.40760000000000002</c:v>
                </c:pt>
                <c:pt idx="2">
                  <c:v>0.25290000000000001</c:v>
                </c:pt>
                <c:pt idx="3">
                  <c:v>0.30990000000000001</c:v>
                </c:pt>
                <c:pt idx="4">
                  <c:v>0.3337</c:v>
                </c:pt>
                <c:pt idx="5">
                  <c:v>0.36580000000000001</c:v>
                </c:pt>
                <c:pt idx="6">
                  <c:v>0.40570000000000001</c:v>
                </c:pt>
                <c:pt idx="7">
                  <c:v>0.58560000000000001</c:v>
                </c:pt>
                <c:pt idx="8">
                  <c:v>0.4738</c:v>
                </c:pt>
                <c:pt idx="9">
                  <c:v>0.33339999999999997</c:v>
                </c:pt>
                <c:pt idx="10">
                  <c:v>0.32900000000000001</c:v>
                </c:pt>
              </c:numCache>
            </c:numRef>
          </c:xVal>
          <c:yVal>
            <c:numRef>
              <c:f>Sheet1!$B$2:$B$12</c:f>
              <c:numCache>
                <c:formatCode>General</c:formatCode>
                <c:ptCount val="11"/>
                <c:pt idx="0">
                  <c:v>2647.037037037037</c:v>
                </c:pt>
                <c:pt idx="1">
                  <c:v>15409.723926380369</c:v>
                </c:pt>
                <c:pt idx="2">
                  <c:v>8533.8912133891208</c:v>
                </c:pt>
                <c:pt idx="3">
                  <c:v>21776.25</c:v>
                </c:pt>
                <c:pt idx="4">
                  <c:v>20260.53482587064</c:v>
                </c:pt>
                <c:pt idx="5">
                  <c:v>1925.3319502074689</c:v>
                </c:pt>
                <c:pt idx="6">
                  <c:v>5208.3775811209434</c:v>
                </c:pt>
                <c:pt idx="7">
                  <c:v>9185</c:v>
                </c:pt>
                <c:pt idx="8">
                  <c:v>280.32258064516128</c:v>
                </c:pt>
                <c:pt idx="9">
                  <c:v>5863.0573951434872</c:v>
                </c:pt>
                <c:pt idx="10">
                  <c:v>2733.738095238095</c:v>
                </c:pt>
              </c:numCache>
            </c:numRef>
          </c:yVal>
          <c:bubbleSize>
            <c:numRef>
              <c:f>Sheet1!$C$2:$C$12</c:f>
              <c:numCache>
                <c:formatCode>General</c:formatCode>
                <c:ptCount val="11"/>
                <c:pt idx="0">
                  <c:v>3889.534900000001</c:v>
                </c:pt>
                <c:pt idx="1">
                  <c:v>846236.03999999992</c:v>
                </c:pt>
                <c:pt idx="2">
                  <c:v>433293.50400000002</c:v>
                </c:pt>
                <c:pt idx="3">
                  <c:v>1230767.2871999999</c:v>
                </c:pt>
                <c:pt idx="4">
                  <c:v>1028571.7537999999</c:v>
                </c:pt>
                <c:pt idx="5">
                  <c:v>55785.224399999999</c:v>
                </c:pt>
                <c:pt idx="6">
                  <c:v>198907.008</c:v>
                </c:pt>
                <c:pt idx="7">
                  <c:v>2886.078</c:v>
                </c:pt>
                <c:pt idx="8">
                  <c:v>2167.2575999999999</c:v>
                </c:pt>
                <c:pt idx="9">
                  <c:v>335628.37400000001</c:v>
                </c:pt>
                <c:pt idx="10">
                  <c:v>73020.837499999994</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35Gr 1P</c:v>
                  </c:pt>
                  <c:pt idx="8">
                    <c:v>La Vache Qui Rit Bio Fromage Fondu Boite Ronde 1X128Gr 8P</c:v>
                  </c:pt>
                  <c:pt idx="9">
                    <c:v>La Vache Qui Rit Pik Et Croq' Fromage Fondu Dips Boite 1X175Gr 5P</c:v>
                  </c:pt>
                  <c:pt idx="10">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A421B93-BEA1-4B08-AC72-8BF6D5527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228CDAA-83C4-4903-A108-5776D69B5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E35E2E8-4079-4C91-9096-B1E8897F9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9E22E1D-BF71-4830-84BB-6ED7D9FA8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CA1C3E7-CF7E-4346-B97C-A83C6BD38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4695843-67F8-49E8-AF14-22709D5FB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4F98AED-FA0A-44BB-AC98-2C2404E3E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4</c:f>
              <c:numCache>
                <c:formatCode>General</c:formatCode>
                <c:ptCount val="23"/>
                <c:pt idx="0">
                  <c:v>0.3478</c:v>
                </c:pt>
                <c:pt idx="1">
                  <c:v>0.28489999999999999</c:v>
                </c:pt>
                <c:pt idx="2">
                  <c:v>0.3614</c:v>
                </c:pt>
                <c:pt idx="3">
                  <c:v>0.36880000000000002</c:v>
                </c:pt>
                <c:pt idx="4">
                  <c:v>0.3624</c:v>
                </c:pt>
                <c:pt idx="5">
                  <c:v>0.45269999999999999</c:v>
                </c:pt>
                <c:pt idx="6">
                  <c:v>0.47899999999999998</c:v>
                </c:pt>
                <c:pt idx="7">
                  <c:v>0.36649999999999999</c:v>
                </c:pt>
                <c:pt idx="8">
                  <c:v>0.46160000000000001</c:v>
                </c:pt>
                <c:pt idx="9">
                  <c:v>0.4204</c:v>
                </c:pt>
                <c:pt idx="10">
                  <c:v>0.40529999999999999</c:v>
                </c:pt>
                <c:pt idx="11">
                  <c:v>0.32529999999999998</c:v>
                </c:pt>
                <c:pt idx="12">
                  <c:v>0.35189999999999999</c:v>
                </c:pt>
                <c:pt idx="13">
                  <c:v>0.3715</c:v>
                </c:pt>
                <c:pt idx="14">
                  <c:v>0.34599999999999997</c:v>
                </c:pt>
                <c:pt idx="15">
                  <c:v>0.2762</c:v>
                </c:pt>
                <c:pt idx="16">
                  <c:v>0.3276</c:v>
                </c:pt>
                <c:pt idx="17">
                  <c:v>0.32869999999999999</c:v>
                </c:pt>
                <c:pt idx="18">
                  <c:v>0.38500000000000001</c:v>
                </c:pt>
                <c:pt idx="19">
                  <c:v>0.44579999999999997</c:v>
                </c:pt>
                <c:pt idx="20">
                  <c:v>0.3715</c:v>
                </c:pt>
                <c:pt idx="21">
                  <c:v>0.33329999999999999</c:v>
                </c:pt>
                <c:pt idx="22">
                  <c:v>0.4259</c:v>
                </c:pt>
              </c:numCache>
            </c:numRef>
          </c:xVal>
          <c:yVal>
            <c:numRef>
              <c:f>Sheet1!$B$2:$B$24</c:f>
              <c:numCache>
                <c:formatCode>General</c:formatCode>
                <c:ptCount val="23"/>
                <c:pt idx="0">
                  <c:v>8742.8128460686603</c:v>
                </c:pt>
                <c:pt idx="1">
                  <c:v>740.18229166666674</c:v>
                </c:pt>
                <c:pt idx="2">
                  <c:v>8760.7128099173551</c:v>
                </c:pt>
                <c:pt idx="3">
                  <c:v>2106.0050890585239</c:v>
                </c:pt>
                <c:pt idx="4">
                  <c:v>1995.714285714286</c:v>
                </c:pt>
                <c:pt idx="5">
                  <c:v>473.70588235294122</c:v>
                </c:pt>
                <c:pt idx="6">
                  <c:v>427.54166666666669</c:v>
                </c:pt>
                <c:pt idx="7">
                  <c:v>7666.3059313215408</c:v>
                </c:pt>
                <c:pt idx="8">
                  <c:v>2285.1702395964689</c:v>
                </c:pt>
                <c:pt idx="9">
                  <c:v>2175.770234986946</c:v>
                </c:pt>
                <c:pt idx="10">
                  <c:v>1434.985590778098</c:v>
                </c:pt>
                <c:pt idx="11">
                  <c:v>740.38251366120221</c:v>
                </c:pt>
                <c:pt idx="12">
                  <c:v>1422.8211586901759</c:v>
                </c:pt>
                <c:pt idx="13">
                  <c:v>3083.217391304348</c:v>
                </c:pt>
                <c:pt idx="14">
                  <c:v>8016.8743047830922</c:v>
                </c:pt>
                <c:pt idx="15">
                  <c:v>1402.259414225942</c:v>
                </c:pt>
                <c:pt idx="16">
                  <c:v>3581.9471488178028</c:v>
                </c:pt>
                <c:pt idx="17">
                  <c:v>6086.816479400748</c:v>
                </c:pt>
                <c:pt idx="18">
                  <c:v>2320.5897771952818</c:v>
                </c:pt>
                <c:pt idx="19">
                  <c:v>512.44525547445255</c:v>
                </c:pt>
                <c:pt idx="20">
                  <c:v>1512.0605187319891</c:v>
                </c:pt>
                <c:pt idx="21">
                  <c:v>893.31858407079642</c:v>
                </c:pt>
                <c:pt idx="22">
                  <c:v>1497</c:v>
                </c:pt>
              </c:numCache>
            </c:numRef>
          </c:yVal>
          <c:bubbleSize>
            <c:numRef>
              <c:f>Sheet1!$C$2:$C$24</c:f>
              <c:numCache>
                <c:formatCode>General</c:formatCode>
                <c:ptCount val="23"/>
                <c:pt idx="0">
                  <c:v>488089.85969999997</c:v>
                </c:pt>
                <c:pt idx="1">
                  <c:v>19264.3325</c:v>
                </c:pt>
                <c:pt idx="2">
                  <c:v>513331.86839999992</c:v>
                </c:pt>
                <c:pt idx="3">
                  <c:v>99038.94</c:v>
                </c:pt>
                <c:pt idx="4">
                  <c:v>81048.707600000009</c:v>
                </c:pt>
                <c:pt idx="5">
                  <c:v>8354.5730999999996</c:v>
                </c:pt>
                <c:pt idx="6">
                  <c:v>5066.8152</c:v>
                </c:pt>
                <c:pt idx="7">
                  <c:v>442372.5882</c:v>
                </c:pt>
                <c:pt idx="8">
                  <c:v>92475.308799999999</c:v>
                </c:pt>
                <c:pt idx="9">
                  <c:v>91560.826499999996</c:v>
                </c:pt>
                <c:pt idx="10">
                  <c:v>56139.6077</c:v>
                </c:pt>
                <c:pt idx="11">
                  <c:v>17329.854599999999</c:v>
                </c:pt>
                <c:pt idx="12">
                  <c:v>34700.419800000003</c:v>
                </c:pt>
                <c:pt idx="13">
                  <c:v>147853.2156</c:v>
                </c:pt>
                <c:pt idx="14">
                  <c:v>446772.16639999987</c:v>
                </c:pt>
                <c:pt idx="15">
                  <c:v>22991.651699999999</c:v>
                </c:pt>
                <c:pt idx="16">
                  <c:v>164137.07250000001</c:v>
                </c:pt>
                <c:pt idx="17">
                  <c:v>310224.93550000002</c:v>
                </c:pt>
                <c:pt idx="18">
                  <c:v>103208.8308</c:v>
                </c:pt>
                <c:pt idx="19">
                  <c:v>7375.5604999999996</c:v>
                </c:pt>
                <c:pt idx="20">
                  <c:v>62509.884800000007</c:v>
                </c:pt>
                <c:pt idx="21">
                  <c:v>25515.644</c:v>
                </c:pt>
                <c:pt idx="22">
                  <c:v>28513.120200000001</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Salade &amp; Aperitif Fromage Frais Des Afh 1X120Gr 1P</c:v>
                  </c:pt>
                  <c:pt idx="8">
                    <c:v>Boursin Salade &amp; Aperitif Fromage Frais Des Figue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Classique Fromage Frais A Tartiner Afh 1X256Gr 16P</c:v>
                  </c:pt>
                  <c:pt idx="16">
                    <c:v>Boursin Aperitif Roules Fromage Frais Roule Ciboulette &amp; Echalote Jambon Fume Boite 1X100Gr 20P</c:v>
                  </c:pt>
                  <c:pt idx="17">
                    <c:v>Boursin Classique Fromage Frais A Tartiner Afh Boite 1X250Gr 1P</c:v>
                  </c:pt>
                  <c:pt idx="18">
                    <c:v>Boursin Onctueux Fromage Frais A Tartiner Afh 1X125Gr 1P</c:v>
                  </c:pt>
                  <c:pt idx="19">
                    <c:v>Boursin Onctueux Fromage Frais A Tartiner Afh 1X210Gr 1P</c:v>
                  </c:pt>
                  <c:pt idx="20">
                    <c:v>Boursin Salade &amp; Aperitif Soft Cheese Salade 120G</c:v>
                  </c:pt>
                  <c:pt idx="21">
                    <c:v>Boursin Vegetal Alternative Vegetale 150G</c:v>
                  </c:pt>
                  <c:pt idx="22">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B$2:$B$8</c:f>
              <c:numCache>
                <c:formatCode>General</c:formatCode>
                <c:ptCount val="7"/>
                <c:pt idx="0">
                  <c:v>0.47060788287422578</c:v>
                </c:pt>
                <c:pt idx="1">
                  <c:v>0.35154648091179119</c:v>
                </c:pt>
                <c:pt idx="2">
                  <c:v>5.3601132449093473E-2</c:v>
                </c:pt>
                <c:pt idx="3">
                  <c:v>3.1806722856146892E-2</c:v>
                </c:pt>
                <c:pt idx="4">
                  <c:v>2.0988381263163196E-2</c:v>
                </c:pt>
                <c:pt idx="5">
                  <c:v>7.7869129496030987E-6</c:v>
                </c:pt>
                <c:pt idx="6">
                  <c:v>7.144161273262988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C$2:$C$8</c:f>
              <c:numCache>
                <c:formatCode>General</c:formatCode>
                <c:ptCount val="7"/>
                <c:pt idx="0">
                  <c:v>0.39903514817367336</c:v>
                </c:pt>
                <c:pt idx="1">
                  <c:v>0.31702274293590627</c:v>
                </c:pt>
                <c:pt idx="2">
                  <c:v>3.8594073053066856E-2</c:v>
                </c:pt>
                <c:pt idx="3">
                  <c:v>2.1364576154376296E-2</c:v>
                </c:pt>
                <c:pt idx="4">
                  <c:v>5.8580289455547906E-2</c:v>
                </c:pt>
                <c:pt idx="5">
                  <c:v>0</c:v>
                </c:pt>
                <c:pt idx="6">
                  <c:v>0.165403170227429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D$2:$D$8</c:f>
              <c:numCache>
                <c:formatCode>General</c:formatCode>
                <c:ptCount val="7"/>
                <c:pt idx="0">
                  <c:v>84.791428850825085</c:v>
                </c:pt>
                <c:pt idx="1">
                  <c:v>90.179467054728534</c:v>
                </c:pt>
                <c:pt idx="2">
                  <c:v>72.002346386470009</c:v>
                </c:pt>
                <c:pt idx="3">
                  <c:v>67.170001295016874</c:v>
                </c:pt>
                <c:pt idx="4">
                  <c:v>279.10818238451975</c:v>
                </c:pt>
                <c:pt idx="5">
                  <c:v>1</c:v>
                </c:pt>
                <c:pt idx="6">
                  <c:v>231.5221674046616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660BB94-9BFC-4FF2-8E50-C9625C183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79D644E-F41A-4265-844E-3D3672AE4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58DE04-5006-46C7-A0AA-4BAC1790E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156CEBC-F39B-4C01-AF92-DC1DA8755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E75C97B-76BC-49F2-9B67-C3F8DE7AC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2988E2E-8C1D-4B9B-86A8-F25AEE667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A035D94-0E49-4667-B585-B845905C6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34920000000000001</c:v>
                </c:pt>
                <c:pt idx="1">
                  <c:v>0.30590000000000001</c:v>
                </c:pt>
                <c:pt idx="2">
                  <c:v>0.46589999999999998</c:v>
                </c:pt>
                <c:pt idx="3">
                  <c:v>0.27979999999999999</c:v>
                </c:pt>
                <c:pt idx="4">
                  <c:v>0.32190000000000002</c:v>
                </c:pt>
                <c:pt idx="5">
                  <c:v>0.47699999999999998</c:v>
                </c:pt>
                <c:pt idx="6">
                  <c:v>0.35870000000000002</c:v>
                </c:pt>
                <c:pt idx="7">
                  <c:v>0.35970000000000002</c:v>
                </c:pt>
                <c:pt idx="8">
                  <c:v>0.49249999999999999</c:v>
                </c:pt>
              </c:numCache>
            </c:numRef>
          </c:xVal>
          <c:yVal>
            <c:numRef>
              <c:f>Sheet1!$B$2:$B$10</c:f>
              <c:numCache>
                <c:formatCode>General</c:formatCode>
                <c:ptCount val="9"/>
                <c:pt idx="0">
                  <c:v>10742.450175849939</c:v>
                </c:pt>
                <c:pt idx="1">
                  <c:v>11646.567317574511</c:v>
                </c:pt>
                <c:pt idx="2">
                  <c:v>2076.2514970059879</c:v>
                </c:pt>
                <c:pt idx="3">
                  <c:v>2973.1127450980389</c:v>
                </c:pt>
                <c:pt idx="4">
                  <c:v>6683.4521384928712</c:v>
                </c:pt>
                <c:pt idx="5">
                  <c:v>2049.083333333333</c:v>
                </c:pt>
                <c:pt idx="6">
                  <c:v>6589.0899795501027</c:v>
                </c:pt>
                <c:pt idx="7">
                  <c:v>8525.8127018299238</c:v>
                </c:pt>
                <c:pt idx="8">
                  <c:v>1197.900552486188</c:v>
                </c:pt>
              </c:numCache>
            </c:numRef>
          </c:yVal>
          <c:bubbleSize>
            <c:numRef>
              <c:f>Sheet1!$C$2:$C$10</c:f>
              <c:numCache>
                <c:formatCode>General</c:formatCode>
                <c:ptCount val="9"/>
                <c:pt idx="0">
                  <c:v>565301.65779999993</c:v>
                </c:pt>
                <c:pt idx="1">
                  <c:v>745588.13170000003</c:v>
                </c:pt>
                <c:pt idx="2">
                  <c:v>87767.423200000005</c:v>
                </c:pt>
                <c:pt idx="3">
                  <c:v>165609.193</c:v>
                </c:pt>
                <c:pt idx="4">
                  <c:v>421827.73999999987</c:v>
                </c:pt>
                <c:pt idx="5">
                  <c:v>60948.513500000008</c:v>
                </c:pt>
                <c:pt idx="6">
                  <c:v>391727.74859999999</c:v>
                </c:pt>
                <c:pt idx="7">
                  <c:v>480680.67700000003</c:v>
                </c:pt>
                <c:pt idx="8">
                  <c:v>31288.9553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CFC1CAF-E078-44AE-A694-9AF42D5F2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F876C13-5F8E-45C9-A3D5-E36C0C6E9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6162890-997C-4AF0-B44E-9A1C0870F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4727D9C-03C2-4F30-830C-DDCCB9D4E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45381BA-9A60-40FA-AACD-CF4A85A96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4F789F1-AA38-4BFB-B6DA-CB7BE5FEA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844E644-0F25-4F0D-8187-0510FBC15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7799999999999996</c:v>
                </c:pt>
                <c:pt idx="1">
                  <c:v>0.39800000000000002</c:v>
                </c:pt>
                <c:pt idx="2">
                  <c:v>0.36180000000000001</c:v>
                </c:pt>
                <c:pt idx="3">
                  <c:v>0.35049999999999998</c:v>
                </c:pt>
                <c:pt idx="4">
                  <c:v>0.45760000000000001</c:v>
                </c:pt>
                <c:pt idx="5">
                  <c:v>0.44950000000000001</c:v>
                </c:pt>
                <c:pt idx="6">
                  <c:v>0.48909999999999998</c:v>
                </c:pt>
              </c:numCache>
            </c:numRef>
          </c:xVal>
          <c:yVal>
            <c:numRef>
              <c:f>Sheet1!$B$2:$B$8</c:f>
              <c:numCache>
                <c:formatCode>General</c:formatCode>
                <c:ptCount val="7"/>
                <c:pt idx="0">
                  <c:v>1869.2</c:v>
                </c:pt>
                <c:pt idx="1">
                  <c:v>14897.11847389558</c:v>
                </c:pt>
                <c:pt idx="2">
                  <c:v>15633.44349680171</c:v>
                </c:pt>
                <c:pt idx="3">
                  <c:v>17717.165605095539</c:v>
                </c:pt>
                <c:pt idx="4">
                  <c:v>2684.6153846153838</c:v>
                </c:pt>
                <c:pt idx="5">
                  <c:v>3923.6081370449679</c:v>
                </c:pt>
                <c:pt idx="6">
                  <c:v>4178.3477188655979</c:v>
                </c:pt>
              </c:numCache>
            </c:numRef>
          </c:yVal>
          <c:bubbleSize>
            <c:numRef>
              <c:f>Sheet1!$C$2:$C$8</c:f>
              <c:numCache>
                <c:formatCode>General</c:formatCode>
                <c:ptCount val="7"/>
                <c:pt idx="0">
                  <c:v>46729.859799999998</c:v>
                </c:pt>
                <c:pt idx="1">
                  <c:v>846615.50340000005</c:v>
                </c:pt>
                <c:pt idx="2">
                  <c:v>887062.91590000014</c:v>
                </c:pt>
                <c:pt idx="3">
                  <c:v>1027438.6584</c:v>
                </c:pt>
                <c:pt idx="4">
                  <c:v>111248.41740000001</c:v>
                </c:pt>
                <c:pt idx="5">
                  <c:v>191192.29300000001</c:v>
                </c:pt>
                <c:pt idx="6">
                  <c:v>164092.8708</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3C980B5-C7C0-41B7-A251-78D79465E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414737E-6BD3-4257-998A-64410A12A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9409079-BCCF-442A-BEF2-DBE0D377C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0E0F2F3-59E3-402F-A0C7-1DAFDC661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C17622C-2ED6-489F-980C-061C488A6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399A217-277A-459E-914B-D8703D3F2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DD4EB5B-1A0F-4521-9DB3-1CBF591A8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35610000000000003</c:v>
                </c:pt>
                <c:pt idx="1">
                  <c:v>0.40629999999999999</c:v>
                </c:pt>
                <c:pt idx="2">
                  <c:v>0.34189999999999998</c:v>
                </c:pt>
                <c:pt idx="3">
                  <c:v>0.45</c:v>
                </c:pt>
                <c:pt idx="4">
                  <c:v>0.43980000000000002</c:v>
                </c:pt>
                <c:pt idx="5">
                  <c:v>0.45379999999999998</c:v>
                </c:pt>
                <c:pt idx="6">
                  <c:v>0.36959999999999998</c:v>
                </c:pt>
                <c:pt idx="7">
                  <c:v>0.4234</c:v>
                </c:pt>
                <c:pt idx="8">
                  <c:v>0.53500000000000003</c:v>
                </c:pt>
                <c:pt idx="9">
                  <c:v>0.42670000000000002</c:v>
                </c:pt>
                <c:pt idx="10">
                  <c:v>0.42020000000000002</c:v>
                </c:pt>
                <c:pt idx="11">
                  <c:v>0.42770000000000002</c:v>
                </c:pt>
                <c:pt idx="12">
                  <c:v>0.43380000000000002</c:v>
                </c:pt>
                <c:pt idx="13">
                  <c:v>0.38869999999999999</c:v>
                </c:pt>
                <c:pt idx="14">
                  <c:v>0.45639999999999997</c:v>
                </c:pt>
                <c:pt idx="15">
                  <c:v>0.4607</c:v>
                </c:pt>
                <c:pt idx="16">
                  <c:v>0.38</c:v>
                </c:pt>
                <c:pt idx="17">
                  <c:v>0.50380000000000003</c:v>
                </c:pt>
                <c:pt idx="18">
                  <c:v>0.25890000000000002</c:v>
                </c:pt>
                <c:pt idx="19">
                  <c:v>0.47799999999999998</c:v>
                </c:pt>
                <c:pt idx="20">
                  <c:v>0.42380000000000001</c:v>
                </c:pt>
              </c:numCache>
            </c:numRef>
          </c:xVal>
          <c:yVal>
            <c:numRef>
              <c:f>Sheet1!$B$2:$B$22</c:f>
              <c:numCache>
                <c:formatCode>General</c:formatCode>
                <c:ptCount val="21"/>
                <c:pt idx="0">
                  <c:v>7033.319713993872</c:v>
                </c:pt>
                <c:pt idx="1">
                  <c:v>2059.0628706998809</c:v>
                </c:pt>
                <c:pt idx="2">
                  <c:v>5921.2776659959754</c:v>
                </c:pt>
                <c:pt idx="3">
                  <c:v>2224.359788359789</c:v>
                </c:pt>
                <c:pt idx="4">
                  <c:v>2554.8668796592119</c:v>
                </c:pt>
                <c:pt idx="5">
                  <c:v>4517.4404145077724</c:v>
                </c:pt>
                <c:pt idx="6">
                  <c:v>1450.292397660819</c:v>
                </c:pt>
                <c:pt idx="7">
                  <c:v>1900.255785627284</c:v>
                </c:pt>
                <c:pt idx="8">
                  <c:v>919.7538461538461</c:v>
                </c:pt>
                <c:pt idx="9">
                  <c:v>1929.78622327791</c:v>
                </c:pt>
                <c:pt idx="10">
                  <c:v>2748.5147392290251</c:v>
                </c:pt>
                <c:pt idx="11">
                  <c:v>6322.3101265822788</c:v>
                </c:pt>
                <c:pt idx="12">
                  <c:v>2063.0500000000002</c:v>
                </c:pt>
                <c:pt idx="13">
                  <c:v>2040.9308176100631</c:v>
                </c:pt>
                <c:pt idx="14">
                  <c:v>1647.394014962593</c:v>
                </c:pt>
                <c:pt idx="15">
                  <c:v>4077.1702367531002</c:v>
                </c:pt>
                <c:pt idx="16">
                  <c:v>7439.1675338189389</c:v>
                </c:pt>
                <c:pt idx="17">
                  <c:v>3427.201257861635</c:v>
                </c:pt>
                <c:pt idx="18">
                  <c:v>127.8082191780822</c:v>
                </c:pt>
                <c:pt idx="19">
                  <c:v>1116.6990291262141</c:v>
                </c:pt>
                <c:pt idx="20">
                  <c:v>733.87537993920978</c:v>
                </c:pt>
              </c:numCache>
            </c:numRef>
          </c:yVal>
          <c:bubbleSize>
            <c:numRef>
              <c:f>Sheet1!$C$2:$C$22</c:f>
              <c:numCache>
                <c:formatCode>General</c:formatCode>
                <c:ptCount val="21"/>
                <c:pt idx="0">
                  <c:v>420188.06489999988</c:v>
                </c:pt>
                <c:pt idx="1">
                  <c:v>97682.337500000009</c:v>
                </c:pt>
                <c:pt idx="2">
                  <c:v>367128.10499999998</c:v>
                </c:pt>
                <c:pt idx="3">
                  <c:v>109593.68</c:v>
                </c:pt>
                <c:pt idx="4">
                  <c:v>127395.8285</c:v>
                </c:pt>
                <c:pt idx="5">
                  <c:v>225695.9712</c:v>
                </c:pt>
                <c:pt idx="6">
                  <c:v>44456.160000000003</c:v>
                </c:pt>
                <c:pt idx="7">
                  <c:v>85260.665099999984</c:v>
                </c:pt>
                <c:pt idx="8">
                  <c:v>26352.17909999999</c:v>
                </c:pt>
                <c:pt idx="9">
                  <c:v>88297.983399999997</c:v>
                </c:pt>
                <c:pt idx="10">
                  <c:v>133230.94289999999</c:v>
                </c:pt>
                <c:pt idx="11">
                  <c:v>325139.99699999997</c:v>
                </c:pt>
                <c:pt idx="12">
                  <c:v>88570.481599999999</c:v>
                </c:pt>
                <c:pt idx="13">
                  <c:v>94014.723599999983</c:v>
                </c:pt>
                <c:pt idx="14">
                  <c:v>68079.811799999996</c:v>
                </c:pt>
                <c:pt idx="15">
                  <c:v>184870.6992</c:v>
                </c:pt>
                <c:pt idx="16">
                  <c:v>420137.65220000001</c:v>
                </c:pt>
                <c:pt idx="17">
                  <c:v>153786.6434</c:v>
                </c:pt>
                <c:pt idx="18">
                  <c:v>2621.6628999999998</c:v>
                </c:pt>
                <c:pt idx="19">
                  <c:v>22765.070899999999</c:v>
                </c:pt>
                <c:pt idx="20">
                  <c:v>26373.204000000002</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Ciboulette Echalote 1X120Gr 1P</c:v>
                  </c:pt>
                  <c:pt idx="8">
                    <c:v>Boursin Salade &amp; Aperitif Fromage Frais Des Citron Romarin 1X120Gr 1P</c:v>
                  </c:pt>
                  <c:pt idx="9">
                    <c:v>Boursin Classique Fromage Frais A Tartiner Poivre Boite 1X150Gr 1P</c:v>
                  </c:pt>
                  <c:pt idx="10">
                    <c:v>Boursin Classique Fromage Frais A Tartiner Afh Boite 1X96Gr 6P</c:v>
                  </c:pt>
                  <c:pt idx="11">
                    <c:v>Boursin Aperitif Roules Fromage Frais Roule Afh Et Jambon Fume Boite 1X100Gr 20P</c:v>
                  </c:pt>
                  <c:pt idx="12">
                    <c:v>Boursin Aperitif Roules Fromage Frais Roule Basilic &amp; Jambon Fume Tomate Boite 1X100Gr 20P</c:v>
                  </c:pt>
                  <c:pt idx="13">
                    <c:v>Boursin Classique Fromage Frais A Tartiner Afh 1X256Gr 16P</c:v>
                  </c:pt>
                  <c:pt idx="14">
                    <c:v>Boursin Classique Fromage Frais A Tartiner Ciboulette &amp; Echalote 1X160Gr 10P</c:v>
                  </c:pt>
                  <c:pt idx="15">
                    <c:v>Boursin Aperitif Roules Fromage Frais Roule Ciboulette &amp; Echalote Jambon Fume Boite 1X100Gr 20P</c:v>
                  </c:pt>
                  <c:pt idx="16">
                    <c:v>Boursin Classique Fromage Frais A Tartiner Afh Boite 1X250Gr 1P</c:v>
                  </c:pt>
                  <c:pt idx="17">
                    <c:v>Boursin Onctueux Fromage Frais A Tartiner Afh 1X125Gr 1P</c:v>
                  </c:pt>
                  <c:pt idx="18">
                    <c:v>Boursin Aperitif Roules Fromage Frais Roule Jambon Fume &amp; Trio De Noix Boite 1X100Gr 20P</c:v>
                  </c:pt>
                  <c:pt idx="19">
                    <c:v>Boursin Salade &amp; Aperitif Soft Cheese Salade 120G</c:v>
                  </c:pt>
                  <c:pt idx="20">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48042F7-26F6-44BF-99F0-5AA99C069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D89CC20-1F7E-471D-B331-8A3785751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0D495F2-DEBF-4EE1-898A-A8AD46D98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A33AD93-80FE-42EA-801D-8B30F188E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3B4F37C-5F08-48C5-9AC7-739F05937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36EC78C-4B3C-4A78-9B9D-FEF774A59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3BD6B28-582B-4422-8B8B-8BC628A11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8979999999999998</c:v>
                </c:pt>
                <c:pt idx="1">
                  <c:v>0.29809999999999998</c:v>
                </c:pt>
                <c:pt idx="2">
                  <c:v>0.33429999999999999</c:v>
                </c:pt>
                <c:pt idx="3">
                  <c:v>0.39190000000000003</c:v>
                </c:pt>
                <c:pt idx="4">
                  <c:v>0.24060000000000001</c:v>
                </c:pt>
                <c:pt idx="5">
                  <c:v>0.28129999999999999</c:v>
                </c:pt>
                <c:pt idx="6">
                  <c:v>0.34410000000000002</c:v>
                </c:pt>
                <c:pt idx="7">
                  <c:v>0.34560000000000002</c:v>
                </c:pt>
                <c:pt idx="8">
                  <c:v>0.28120000000000001</c:v>
                </c:pt>
                <c:pt idx="9">
                  <c:v>0.32550000000000001</c:v>
                </c:pt>
              </c:numCache>
            </c:numRef>
          </c:xVal>
          <c:yVal>
            <c:numRef>
              <c:f>Sheet1!$B$2:$B$11</c:f>
              <c:numCache>
                <c:formatCode>General</c:formatCode>
                <c:ptCount val="10"/>
                <c:pt idx="0">
                  <c:v>10212.9387755102</c:v>
                </c:pt>
                <c:pt idx="1">
                  <c:v>4088.83</c:v>
                </c:pt>
                <c:pt idx="2">
                  <c:v>546.86734693877554</c:v>
                </c:pt>
                <c:pt idx="3">
                  <c:v>990.13541666666663</c:v>
                </c:pt>
                <c:pt idx="4">
                  <c:v>3115.632653061225</c:v>
                </c:pt>
                <c:pt idx="5">
                  <c:v>2686.48</c:v>
                </c:pt>
                <c:pt idx="6">
                  <c:v>539.16666666666663</c:v>
                </c:pt>
                <c:pt idx="7">
                  <c:v>60.053571428571423</c:v>
                </c:pt>
                <c:pt idx="8">
                  <c:v>5346.67</c:v>
                </c:pt>
                <c:pt idx="9">
                  <c:v>2553.7346938775509</c:v>
                </c:pt>
              </c:numCache>
            </c:numRef>
          </c:yVal>
          <c:bubbleSize>
            <c:numRef>
              <c:f>Sheet1!$C$2:$C$11</c:f>
              <c:numCache>
                <c:formatCode>General</c:formatCode>
                <c:ptCount val="10"/>
                <c:pt idx="0">
                  <c:v>578870.25989999995</c:v>
                </c:pt>
                <c:pt idx="1">
                  <c:v>272050.62839999999</c:v>
                </c:pt>
                <c:pt idx="2">
                  <c:v>33818.056600000004</c:v>
                </c:pt>
                <c:pt idx="3">
                  <c:v>54786.758399999999</c:v>
                </c:pt>
                <c:pt idx="4">
                  <c:v>219771.3</c:v>
                </c:pt>
                <c:pt idx="5">
                  <c:v>183002.0808</c:v>
                </c:pt>
                <c:pt idx="6">
                  <c:v>18100.8024</c:v>
                </c:pt>
                <c:pt idx="7">
                  <c:v>2086.1754000000001</c:v>
                </c:pt>
                <c:pt idx="8">
                  <c:v>364262.10820000002</c:v>
                </c:pt>
                <c:pt idx="9">
                  <c:v>160006.31280000001</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D398CF0-D55B-4EB9-B074-C4BE1EE50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C47215E-1BD6-4334-B833-BF92E3400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FC7A01A-0ADF-4DE8-B86C-84B985DF3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FFC7810-84FD-429F-990B-72570E4C3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BB3827-795F-4B84-A69F-30AB41FFF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547EAF3-351D-453B-BC16-6A84FE332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8A90B7A-0F74-463C-AB1D-065BF9EB8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42580000000000001</c:v>
                </c:pt>
                <c:pt idx="1">
                  <c:v>0.35930000000000001</c:v>
                </c:pt>
                <c:pt idx="2">
                  <c:v>0.25569999999999998</c:v>
                </c:pt>
                <c:pt idx="3">
                  <c:v>0.26960000000000001</c:v>
                </c:pt>
                <c:pt idx="4">
                  <c:v>0.32369999999999999</c:v>
                </c:pt>
                <c:pt idx="5">
                  <c:v>0.36499999999999999</c:v>
                </c:pt>
                <c:pt idx="6">
                  <c:v>0.40079999999999999</c:v>
                </c:pt>
                <c:pt idx="7">
                  <c:v>0.223</c:v>
                </c:pt>
                <c:pt idx="8">
                  <c:v>0.3291</c:v>
                </c:pt>
              </c:numCache>
            </c:numRef>
          </c:xVal>
          <c:yVal>
            <c:numRef>
              <c:f>Sheet1!$B$2:$B$10</c:f>
              <c:numCache>
                <c:formatCode>General</c:formatCode>
                <c:ptCount val="9"/>
                <c:pt idx="0">
                  <c:v>1191.166666666667</c:v>
                </c:pt>
                <c:pt idx="1">
                  <c:v>3914.84</c:v>
                </c:pt>
                <c:pt idx="2">
                  <c:v>3306.7741935483868</c:v>
                </c:pt>
                <c:pt idx="3">
                  <c:v>11075.163265306121</c:v>
                </c:pt>
                <c:pt idx="4">
                  <c:v>11052.41836734694</c:v>
                </c:pt>
                <c:pt idx="5">
                  <c:v>806.53571428571433</c:v>
                </c:pt>
                <c:pt idx="6">
                  <c:v>1987.6236559139779</c:v>
                </c:pt>
                <c:pt idx="7">
                  <c:v>2411.19</c:v>
                </c:pt>
                <c:pt idx="8">
                  <c:v>1229.2688172043011</c:v>
                </c:pt>
              </c:numCache>
            </c:numRef>
          </c:yVal>
          <c:bubbleSize>
            <c:numRef>
              <c:f>Sheet1!$C$2:$C$10</c:f>
              <c:numCache>
                <c:formatCode>General</c:formatCode>
                <c:ptCount val="9"/>
                <c:pt idx="0">
                  <c:v>3889.534900000001</c:v>
                </c:pt>
                <c:pt idx="1">
                  <c:v>237742.44</c:v>
                </c:pt>
                <c:pt idx="2">
                  <c:v>216946.611</c:v>
                </c:pt>
                <c:pt idx="3">
                  <c:v>751445.16359999997</c:v>
                </c:pt>
                <c:pt idx="4">
                  <c:v>694359.92899999989</c:v>
                </c:pt>
                <c:pt idx="5">
                  <c:v>40778.109600000003</c:v>
                </c:pt>
                <c:pt idx="6">
                  <c:v>104988.6</c:v>
                </c:pt>
                <c:pt idx="7">
                  <c:v>177587</c:v>
                </c:pt>
                <c:pt idx="8">
                  <c:v>72704.710000000006</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175Gr 5P</c:v>
                  </c:pt>
                  <c:pt idx="8">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C493A87-C063-4C4B-ABAD-9426FCF44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A9DE0FC-7F98-47C8-85EA-94FBE5F90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155F2AA-0E05-4497-BB2A-FFBD068D0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BBA0196-BBC4-4479-B6FA-D6C6688D3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C85FFD8-5701-44D4-955E-025B31CCE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997EB24-69DD-4769-80C4-72C948B33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379EF21-A7BF-4CE4-8F64-4E87852DE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4</c:f>
              <c:numCache>
                <c:formatCode>General</c:formatCode>
                <c:ptCount val="23"/>
                <c:pt idx="0">
                  <c:v>0.3241</c:v>
                </c:pt>
                <c:pt idx="1">
                  <c:v>0.28520000000000001</c:v>
                </c:pt>
                <c:pt idx="2">
                  <c:v>0.30170000000000002</c:v>
                </c:pt>
                <c:pt idx="3">
                  <c:v>0.34739999999999999</c:v>
                </c:pt>
                <c:pt idx="4">
                  <c:v>0.35899999999999999</c:v>
                </c:pt>
                <c:pt idx="5">
                  <c:v>0.42899999999999999</c:v>
                </c:pt>
                <c:pt idx="6">
                  <c:v>0.46479999999999999</c:v>
                </c:pt>
                <c:pt idx="7">
                  <c:v>0.31480000000000002</c:v>
                </c:pt>
                <c:pt idx="8">
                  <c:v>0.4864</c:v>
                </c:pt>
                <c:pt idx="9">
                  <c:v>0.45519999999999999</c:v>
                </c:pt>
                <c:pt idx="10">
                  <c:v>0.39090000000000003</c:v>
                </c:pt>
                <c:pt idx="11">
                  <c:v>0.2949</c:v>
                </c:pt>
                <c:pt idx="12">
                  <c:v>0.35189999999999999</c:v>
                </c:pt>
                <c:pt idx="13">
                  <c:v>0.36070000000000002</c:v>
                </c:pt>
                <c:pt idx="14">
                  <c:v>0.29370000000000002</c:v>
                </c:pt>
                <c:pt idx="15">
                  <c:v>0.2762</c:v>
                </c:pt>
                <c:pt idx="16">
                  <c:v>0.31459999999999999</c:v>
                </c:pt>
                <c:pt idx="17">
                  <c:v>0.32169999999999999</c:v>
                </c:pt>
                <c:pt idx="18">
                  <c:v>0.38100000000000001</c:v>
                </c:pt>
                <c:pt idx="19">
                  <c:v>0.44769999999999999</c:v>
                </c:pt>
                <c:pt idx="20">
                  <c:v>0.35859999999999997</c:v>
                </c:pt>
                <c:pt idx="21">
                  <c:v>0.33429999999999999</c:v>
                </c:pt>
                <c:pt idx="22">
                  <c:v>0.40500000000000003</c:v>
                </c:pt>
              </c:numCache>
            </c:numRef>
          </c:xVal>
          <c:yVal>
            <c:numRef>
              <c:f>Sheet1!$B$2:$B$24</c:f>
              <c:numCache>
                <c:formatCode>General</c:formatCode>
                <c:ptCount val="23"/>
                <c:pt idx="0">
                  <c:v>3178.1</c:v>
                </c:pt>
                <c:pt idx="1">
                  <c:v>333.52941176470591</c:v>
                </c:pt>
                <c:pt idx="2">
                  <c:v>2173.81</c:v>
                </c:pt>
                <c:pt idx="3">
                  <c:v>746.80412371134025</c:v>
                </c:pt>
                <c:pt idx="4">
                  <c:v>805.01063829787233</c:v>
                </c:pt>
                <c:pt idx="5">
                  <c:v>181.56716417910451</c:v>
                </c:pt>
                <c:pt idx="6">
                  <c:v>156.61224489795919</c:v>
                </c:pt>
                <c:pt idx="7">
                  <c:v>2202.34</c:v>
                </c:pt>
                <c:pt idx="8">
                  <c:v>790.64646464646466</c:v>
                </c:pt>
                <c:pt idx="9">
                  <c:v>1044.9292929292931</c:v>
                </c:pt>
                <c:pt idx="10">
                  <c:v>477.22580645161293</c:v>
                </c:pt>
                <c:pt idx="11">
                  <c:v>280.87012987012992</c:v>
                </c:pt>
                <c:pt idx="12">
                  <c:v>641.88636363636363</c:v>
                </c:pt>
                <c:pt idx="13">
                  <c:v>1073.17</c:v>
                </c:pt>
                <c:pt idx="14">
                  <c:v>2140.636363636364</c:v>
                </c:pt>
                <c:pt idx="15">
                  <c:v>632.33962264150944</c:v>
                </c:pt>
                <c:pt idx="16">
                  <c:v>1159.7777777777781</c:v>
                </c:pt>
                <c:pt idx="17">
                  <c:v>2485.17</c:v>
                </c:pt>
                <c:pt idx="18">
                  <c:v>745.38383838383834</c:v>
                </c:pt>
                <c:pt idx="19">
                  <c:v>219.9491525423729</c:v>
                </c:pt>
                <c:pt idx="20">
                  <c:v>518.86170212765956</c:v>
                </c:pt>
                <c:pt idx="21">
                  <c:v>329.86075949367091</c:v>
                </c:pt>
                <c:pt idx="22">
                  <c:v>590.58490566037733</c:v>
                </c:pt>
              </c:numCache>
            </c:numRef>
          </c:yVal>
          <c:bubbleSize>
            <c:numRef>
              <c:f>Sheet1!$C$2:$C$24</c:f>
              <c:numCache>
                <c:formatCode>General</c:formatCode>
                <c:ptCount val="23"/>
                <c:pt idx="0">
                  <c:v>203609.8308</c:v>
                </c:pt>
                <c:pt idx="1">
                  <c:v>19208.837500000001</c:v>
                </c:pt>
                <c:pt idx="2">
                  <c:v>143874.3254</c:v>
                </c:pt>
                <c:pt idx="3">
                  <c:v>44811.284000000007</c:v>
                </c:pt>
                <c:pt idx="4">
                  <c:v>45977.733800000002</c:v>
                </c:pt>
                <c:pt idx="5">
                  <c:v>6584.1922000000004</c:v>
                </c:pt>
                <c:pt idx="6">
                  <c:v>3893.0088000000001</c:v>
                </c:pt>
                <c:pt idx="7">
                  <c:v>143034.28020000001</c:v>
                </c:pt>
                <c:pt idx="8">
                  <c:v>38107.283199999998</c:v>
                </c:pt>
                <c:pt idx="9">
                  <c:v>53421.076500000003</c:v>
                </c:pt>
                <c:pt idx="10">
                  <c:v>25623.770700000001</c:v>
                </c:pt>
                <c:pt idx="11">
                  <c:v>14453.8038</c:v>
                </c:pt>
                <c:pt idx="12">
                  <c:v>34700.419800000003</c:v>
                </c:pt>
                <c:pt idx="13">
                  <c:v>65034.166400000002</c:v>
                </c:pt>
                <c:pt idx="14">
                  <c:v>141887.92000000001</c:v>
                </c:pt>
                <c:pt idx="15">
                  <c:v>22991.651699999999</c:v>
                </c:pt>
                <c:pt idx="16">
                  <c:v>67815.993400000007</c:v>
                </c:pt>
                <c:pt idx="17">
                  <c:v>159788.61799999999</c:v>
                </c:pt>
                <c:pt idx="18">
                  <c:v>43296.037199999999</c:v>
                </c:pt>
                <c:pt idx="19">
                  <c:v>6793.1632999999993</c:v>
                </c:pt>
                <c:pt idx="20">
                  <c:v>29652.6384</c:v>
                </c:pt>
                <c:pt idx="21">
                  <c:v>16443.003499999999</c:v>
                </c:pt>
                <c:pt idx="22">
                  <c:v>17652.18</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Salade &amp; Aperitif Fromage Frais Des Afh 1X120Gr 1P</c:v>
                  </c:pt>
                  <c:pt idx="8">
                    <c:v>Boursin Salade &amp; Aperitif Fromage Frais Des Figue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Classique Fromage Frais A Tartiner Afh 1X256Gr 16P</c:v>
                  </c:pt>
                  <c:pt idx="16">
                    <c:v>Boursin Aperitif Roules Fromage Frais Roule Ciboulette &amp; Echalote Jambon Fume Boite 1X100Gr 20P</c:v>
                  </c:pt>
                  <c:pt idx="17">
                    <c:v>Boursin Classique Fromage Frais A Tartiner Afh Boite 1X250Gr 1P</c:v>
                  </c:pt>
                  <c:pt idx="18">
                    <c:v>Boursin Onctueux Fromage Frais A Tartiner Afh 1X125Gr 1P</c:v>
                  </c:pt>
                  <c:pt idx="19">
                    <c:v>Boursin Onctueux Fromage Frais A Tartiner Afh 1X210Gr 1P</c:v>
                  </c:pt>
                  <c:pt idx="20">
                    <c:v>Boursin Salade &amp; Aperitif Soft Cheese Salade 120G</c:v>
                  </c:pt>
                  <c:pt idx="21">
                    <c:v>Boursin Vegetal Alternative Vegetale 150G</c:v>
                  </c:pt>
                  <c:pt idx="22">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19850F4-97ED-4BDA-BE87-A54F1BB4F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0C518FD-7A10-41AD-A247-1F6D3F4FA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236B631-7209-454A-B466-A4257ABFD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46861F1-393B-4E55-8A8F-4A57C4EED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567C372-F6A8-43E9-94EC-35AA535D6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5ADAA77-AEF8-473D-8763-432616ACD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4BD64BF-C77B-4EB9-9378-B4E5DB41F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1539999999999999</c:v>
                </c:pt>
                <c:pt idx="1">
                  <c:v>0.30370000000000003</c:v>
                </c:pt>
                <c:pt idx="2">
                  <c:v>0.39269999999999999</c:v>
                </c:pt>
                <c:pt idx="3">
                  <c:v>0.40360000000000001</c:v>
                </c:pt>
                <c:pt idx="4">
                  <c:v>0.26550000000000001</c:v>
                </c:pt>
                <c:pt idx="5">
                  <c:v>0.27829999999999999</c:v>
                </c:pt>
                <c:pt idx="6">
                  <c:v>0.35189999999999999</c:v>
                </c:pt>
                <c:pt idx="7">
                  <c:v>0.26650000000000001</c:v>
                </c:pt>
                <c:pt idx="8">
                  <c:v>0.4163</c:v>
                </c:pt>
                <c:pt idx="9">
                  <c:v>0.33839999999999998</c:v>
                </c:pt>
              </c:numCache>
            </c:numRef>
          </c:xVal>
          <c:yVal>
            <c:numRef>
              <c:f>Sheet1!$B$2:$B$11</c:f>
              <c:numCache>
                <c:formatCode>General</c:formatCode>
                <c:ptCount val="10"/>
                <c:pt idx="0">
                  <c:v>5252.7023809523807</c:v>
                </c:pt>
                <c:pt idx="1">
                  <c:v>4246.7938144329901</c:v>
                </c:pt>
                <c:pt idx="2">
                  <c:v>676.1578947368422</c:v>
                </c:pt>
                <c:pt idx="3">
                  <c:v>815.08510638297878</c:v>
                </c:pt>
                <c:pt idx="4">
                  <c:v>2060.4788732394368</c:v>
                </c:pt>
                <c:pt idx="5">
                  <c:v>3152.0707070707072</c:v>
                </c:pt>
                <c:pt idx="6">
                  <c:v>1040.897435897436</c:v>
                </c:pt>
                <c:pt idx="7">
                  <c:v>105.2121212121212</c:v>
                </c:pt>
                <c:pt idx="8">
                  <c:v>3133.424242424242</c:v>
                </c:pt>
                <c:pt idx="9">
                  <c:v>2791.8194444444439</c:v>
                </c:pt>
              </c:numCache>
            </c:numRef>
          </c:yVal>
          <c:bubbleSize>
            <c:numRef>
              <c:f>Sheet1!$C$2:$C$11</c:f>
              <c:numCache>
                <c:formatCode>General</c:formatCode>
                <c:ptCount val="10"/>
                <c:pt idx="0">
                  <c:v>244511.87400000001</c:v>
                </c:pt>
                <c:pt idx="1">
                  <c:v>271889.77860000002</c:v>
                </c:pt>
                <c:pt idx="2">
                  <c:v>22184.3776</c:v>
                </c:pt>
                <c:pt idx="3">
                  <c:v>21655.576799999999</c:v>
                </c:pt>
                <c:pt idx="4">
                  <c:v>101848.848</c:v>
                </c:pt>
                <c:pt idx="5">
                  <c:v>213476.2311</c:v>
                </c:pt>
                <c:pt idx="6">
                  <c:v>24936.687999999998</c:v>
                </c:pt>
                <c:pt idx="7">
                  <c:v>2413.9591999999998</c:v>
                </c:pt>
                <c:pt idx="8">
                  <c:v>171614.7591</c:v>
                </c:pt>
                <c:pt idx="9">
                  <c:v>126058.0727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B2748E3-70D1-43FC-AE03-D86122B22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605B351-8FE9-4CBA-AC19-BD26DB8CF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CCB4DAE-6EC4-4403-8CD5-CEEE61477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036936B-C55D-4C72-8D0B-9DB3A7812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A563D57-002B-4859-B0BF-063627F11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9ABBAA8-A2A4-4016-AB3C-A2CCA4082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1D5F9FC-4D5B-4DC9-9D96-E6E8D0FD4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765</c:v>
                </c:pt>
                <c:pt idx="1">
                  <c:v>0.25</c:v>
                </c:pt>
                <c:pt idx="2">
                  <c:v>0.32650000000000001</c:v>
                </c:pt>
                <c:pt idx="3">
                  <c:v>0.35310000000000002</c:v>
                </c:pt>
                <c:pt idx="4">
                  <c:v>0.36780000000000002</c:v>
                </c:pt>
                <c:pt idx="5">
                  <c:v>0.40189999999999998</c:v>
                </c:pt>
                <c:pt idx="6">
                  <c:v>0.3841</c:v>
                </c:pt>
              </c:numCache>
            </c:numRef>
          </c:xVal>
          <c:yVal>
            <c:numRef>
              <c:f>Sheet1!$B$2:$B$8</c:f>
              <c:numCache>
                <c:formatCode>General</c:formatCode>
                <c:ptCount val="7"/>
                <c:pt idx="0">
                  <c:v>4486.8686868686873</c:v>
                </c:pt>
                <c:pt idx="1">
                  <c:v>3901.6923076923081</c:v>
                </c:pt>
                <c:pt idx="2">
                  <c:v>5295.4395604395604</c:v>
                </c:pt>
                <c:pt idx="3">
                  <c:v>5730.8315789473681</c:v>
                </c:pt>
                <c:pt idx="4">
                  <c:v>926.59259259259261</c:v>
                </c:pt>
                <c:pt idx="5">
                  <c:v>2246.375</c:v>
                </c:pt>
                <c:pt idx="6">
                  <c:v>1662.4948453608249</c:v>
                </c:pt>
              </c:numCache>
            </c:numRef>
          </c:yVal>
          <c:bubbleSize>
            <c:numRef>
              <c:f>Sheet1!$C$2:$C$8</c:f>
              <c:numCache>
                <c:formatCode>General</c:formatCode>
                <c:ptCount val="7"/>
                <c:pt idx="0">
                  <c:v>262527.71999999997</c:v>
                </c:pt>
                <c:pt idx="1">
                  <c:v>216338.64</c:v>
                </c:pt>
                <c:pt idx="2">
                  <c:v>307633.60200000001</c:v>
                </c:pt>
                <c:pt idx="3">
                  <c:v>333576.64069999999</c:v>
                </c:pt>
                <c:pt idx="4">
                  <c:v>14992.007600000001</c:v>
                </c:pt>
                <c:pt idx="5">
                  <c:v>81508.151999999987</c:v>
                </c:pt>
                <c:pt idx="6">
                  <c:v>94145.98599999999</c:v>
                </c:pt>
              </c:numCache>
            </c:numRef>
          </c:bubbleSize>
          <c:bubble3D val="0"/>
          <c:extLst>
            <c:ext xmlns:c15="http://schemas.microsoft.com/office/drawing/2012/chart" uri="{02D57815-91ED-43cb-92C2-25804820EDAC}">
              <c15:datalabelsRange>
                <c15:f>Sheet1!$E$2:$E$50</c15:f>
                <c15:dlblRangeCache>
                  <c:ptCount val="49"/>
                  <c:pt idx="0">
                    <c:v>La Vache Qui Rit Nature Fromage Fondu Boite Ronde 1X192Gr 12P</c:v>
                  </c:pt>
                  <c:pt idx="1">
                    <c:v>La Vache Qui Rit Nature Fromage Fondu Boite Ronde 1X512Gr 24+8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Nature Fromage Fondu Boite Ronde 1X128Gr 8P</c:v>
                  </c:pt>
                  <c:pt idx="6">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FC86BD9-3DD0-488D-9D25-EDB9EAED4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78F913C-D95A-4875-A22C-D33E4D152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76A256A-B5F5-4FF7-88C7-BACDC8006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4219036-D191-47B4-B612-6D87CCFF1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EB65BE6-5CB7-4B03-BAE2-480D5F65A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39CBCB9-6B18-4C65-A615-0A481B525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2B1F949-574F-446E-9DAD-4B9834A12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4200000000000003</c:v>
                </c:pt>
                <c:pt idx="1">
                  <c:v>0.31640000000000001</c:v>
                </c:pt>
                <c:pt idx="2">
                  <c:v>0.36919999999999997</c:v>
                </c:pt>
                <c:pt idx="3">
                  <c:v>0.3669</c:v>
                </c:pt>
                <c:pt idx="4">
                  <c:v>0.52610000000000001</c:v>
                </c:pt>
                <c:pt idx="5">
                  <c:v>0.52129999999999999</c:v>
                </c:pt>
                <c:pt idx="6">
                  <c:v>0.29770000000000002</c:v>
                </c:pt>
                <c:pt idx="7">
                  <c:v>0.44280000000000003</c:v>
                </c:pt>
                <c:pt idx="8">
                  <c:v>0.36349999999999999</c:v>
                </c:pt>
                <c:pt idx="9">
                  <c:v>0.41670000000000001</c:v>
                </c:pt>
                <c:pt idx="10">
                  <c:v>0.37109999999999999</c:v>
                </c:pt>
                <c:pt idx="11">
                  <c:v>0.31259999999999999</c:v>
                </c:pt>
                <c:pt idx="12">
                  <c:v>0.31480000000000002</c:v>
                </c:pt>
                <c:pt idx="13">
                  <c:v>0.33600000000000002</c:v>
                </c:pt>
                <c:pt idx="14">
                  <c:v>0.38790000000000002</c:v>
                </c:pt>
                <c:pt idx="15">
                  <c:v>0.38279999999999997</c:v>
                </c:pt>
                <c:pt idx="16">
                  <c:v>0.33150000000000002</c:v>
                </c:pt>
                <c:pt idx="17">
                  <c:v>0.45679999999999998</c:v>
                </c:pt>
              </c:numCache>
            </c:numRef>
          </c:xVal>
          <c:yVal>
            <c:numRef>
              <c:f>Sheet1!$B$2:$B$19</c:f>
              <c:numCache>
                <c:formatCode>General</c:formatCode>
                <c:ptCount val="18"/>
                <c:pt idx="0">
                  <c:v>3016.855670103093</c:v>
                </c:pt>
                <c:pt idx="1">
                  <c:v>2637.1616161616162</c:v>
                </c:pt>
                <c:pt idx="2">
                  <c:v>910.88636363636363</c:v>
                </c:pt>
                <c:pt idx="3">
                  <c:v>899.09230769230771</c:v>
                </c:pt>
                <c:pt idx="4">
                  <c:v>394.1</c:v>
                </c:pt>
                <c:pt idx="5">
                  <c:v>517.4</c:v>
                </c:pt>
                <c:pt idx="6">
                  <c:v>2989.2525252525252</c:v>
                </c:pt>
                <c:pt idx="7">
                  <c:v>1131.2087912087909</c:v>
                </c:pt>
                <c:pt idx="8">
                  <c:v>752.57142857142856</c:v>
                </c:pt>
                <c:pt idx="9">
                  <c:v>766.19444444444446</c:v>
                </c:pt>
                <c:pt idx="10">
                  <c:v>1389.4269662921349</c:v>
                </c:pt>
                <c:pt idx="11">
                  <c:v>2727.5957446808511</c:v>
                </c:pt>
                <c:pt idx="12">
                  <c:v>1685.3544303797471</c:v>
                </c:pt>
                <c:pt idx="13">
                  <c:v>2597.739130434783</c:v>
                </c:pt>
                <c:pt idx="14">
                  <c:v>1244.0481927710839</c:v>
                </c:pt>
                <c:pt idx="15">
                  <c:v>791.04225352112678</c:v>
                </c:pt>
                <c:pt idx="16">
                  <c:v>572.76</c:v>
                </c:pt>
                <c:pt idx="17">
                  <c:v>727.37931034482767</c:v>
                </c:pt>
              </c:numCache>
            </c:numRef>
          </c:yVal>
          <c:bubbleSize>
            <c:numRef>
              <c:f>Sheet1!$C$2:$C$19</c:f>
              <c:numCache>
                <c:formatCode>General</c:formatCode>
                <c:ptCount val="18"/>
                <c:pt idx="0">
                  <c:v>182514.58350000001</c:v>
                </c:pt>
                <c:pt idx="1">
                  <c:v>169175.82759999999</c:v>
                </c:pt>
                <c:pt idx="2">
                  <c:v>47929.252</c:v>
                </c:pt>
                <c:pt idx="3">
                  <c:v>35070.9738</c:v>
                </c:pt>
                <c:pt idx="4">
                  <c:v>1770.3809000000001</c:v>
                </c:pt>
                <c:pt idx="5">
                  <c:v>1173.8063999999999</c:v>
                </c:pt>
                <c:pt idx="6">
                  <c:v>197011.77119999999</c:v>
                </c:pt>
                <c:pt idx="7">
                  <c:v>54368.025600000001</c:v>
                </c:pt>
                <c:pt idx="8">
                  <c:v>38139.75</c:v>
                </c:pt>
                <c:pt idx="9">
                  <c:v>30499.949700000001</c:v>
                </c:pt>
                <c:pt idx="10">
                  <c:v>73719.119200000001</c:v>
                </c:pt>
                <c:pt idx="11">
                  <c:v>167052.128</c:v>
                </c:pt>
                <c:pt idx="12">
                  <c:v>86476.008199999997</c:v>
                </c:pt>
                <c:pt idx="13">
                  <c:v>150414.5325</c:v>
                </c:pt>
                <c:pt idx="14">
                  <c:v>59907.712800000001</c:v>
                </c:pt>
                <c:pt idx="15">
                  <c:v>32857.246400000004</c:v>
                </c:pt>
                <c:pt idx="16">
                  <c:v>9072.6405000000013</c:v>
                </c:pt>
                <c:pt idx="17">
                  <c:v>10860.940199999999</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3 Noix Boite 1X150Gr 1P</c:v>
                  </c:pt>
                  <c:pt idx="5">
                    <c:v>Boursin Classique Fromage Frais A Tartiner 3 Noix 1X160Gr 10P</c:v>
                  </c:pt>
                  <c:pt idx="6">
                    <c:v>Boursin Salade &amp; Aperitif Fromage Frais Des Afh 1X120Gr 1P</c:v>
                  </c:pt>
                  <c:pt idx="7">
                    <c:v>Boursin Salade &amp; Aperitif Fromage Frais Des Figue Noix 1X120Gr 1P</c:v>
                  </c:pt>
                  <c:pt idx="8">
                    <c:v>Boursin Salade &amp; Aperitif Fromage Frais Des Ciboulette Echalote 1X120Gr 1P</c:v>
                  </c:pt>
                  <c:pt idx="9">
                    <c:v>Boursin Salade &amp; Aperitif Fromage Frais Des Citron Romarin 1X120Gr 1P</c:v>
                  </c:pt>
                  <c:pt idx="10">
                    <c:v>Boursin Classique Fromage Frais A Tartiner Afh Boite 1X96Gr 6P</c:v>
                  </c:pt>
                  <c:pt idx="11">
                    <c:v>Boursin Aperitif Roules Fromage Frais Roule Afh Et Jambon Fume Boite 1X100Gr 20P</c:v>
                  </c:pt>
                  <c:pt idx="12">
                    <c:v>Boursin Aperitif Roules Fromage Frais Roule Ciboulette &amp; Echalote Jambon Fume Boite 1X100Gr 20P</c:v>
                  </c:pt>
                  <c:pt idx="13">
                    <c:v>Boursin Classique Fromage Frais A Tartiner Afh Boite 1X250Gr 1P</c:v>
                  </c:pt>
                  <c:pt idx="14">
                    <c:v>Boursin Onctueux Fromage Frais A Tartiner Afh 1X125Gr 1P</c:v>
                  </c:pt>
                  <c:pt idx="15">
                    <c:v>Boursin Salade &amp; Aperitif Soft Cheese Salade 120G</c:v>
                  </c:pt>
                  <c:pt idx="16">
                    <c:v>Boursin Vegetal Alternative Vegetale 150G</c:v>
                  </c:pt>
                  <c:pt idx="17">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365194F-A4C7-4501-B7AC-EFC79E065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A46335B-31B6-4FF6-8F07-D237EB8C0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507129A-643E-403E-BFC6-1E9CA9BD3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0FEDF30-ABA9-4545-AAD1-4E0FD9140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D9B6C7E-A41F-41CE-A124-D35989658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E1EFA6C-1547-4140-A641-51B8EF1BE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2117616-EA59-429C-9FBA-4436E605A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6849999999999999</c:v>
                </c:pt>
                <c:pt idx="1">
                  <c:v>0.46689999999999998</c:v>
                </c:pt>
                <c:pt idx="2">
                  <c:v>0.40799999999999997</c:v>
                </c:pt>
                <c:pt idx="3">
                  <c:v>0.38629999999999998</c:v>
                </c:pt>
                <c:pt idx="4">
                  <c:v>0.51259999999999994</c:v>
                </c:pt>
                <c:pt idx="5">
                  <c:v>0.39939999999999998</c:v>
                </c:pt>
              </c:numCache>
            </c:numRef>
          </c:xVal>
          <c:yVal>
            <c:numRef>
              <c:f>Sheet1!$B$2:$B$7</c:f>
              <c:numCache>
                <c:formatCode>General</c:formatCode>
                <c:ptCount val="6"/>
                <c:pt idx="0">
                  <c:v>4425.5</c:v>
                </c:pt>
                <c:pt idx="1">
                  <c:v>1348.3888888888889</c:v>
                </c:pt>
                <c:pt idx="2">
                  <c:v>6174.895833333333</c:v>
                </c:pt>
                <c:pt idx="3">
                  <c:v>172.2</c:v>
                </c:pt>
                <c:pt idx="4">
                  <c:v>3577.4929577464791</c:v>
                </c:pt>
                <c:pt idx="5">
                  <c:v>2679.5</c:v>
                </c:pt>
              </c:numCache>
            </c:numRef>
          </c:yVal>
          <c:bubbleSize>
            <c:numRef>
              <c:f>Sheet1!$C$2:$C$7</c:f>
              <c:numCache>
                <c:formatCode>General</c:formatCode>
                <c:ptCount val="6"/>
                <c:pt idx="0">
                  <c:v>5298.1144000000004</c:v>
                </c:pt>
                <c:pt idx="1">
                  <c:v>36794.323400000001</c:v>
                </c:pt>
                <c:pt idx="2">
                  <c:v>332637.91769999999</c:v>
                </c:pt>
                <c:pt idx="3">
                  <c:v>1001.7318</c:v>
                </c:pt>
                <c:pt idx="4">
                  <c:v>117338.8575</c:v>
                </c:pt>
                <c:pt idx="5">
                  <c:v>3050.75399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216Gr 12P</c:v>
                  </c:pt>
                  <c:pt idx="1">
                    <c:v>Kiri Delicieusement Fouette Fromage Frais A Tartiner 1X125Gr 1P</c:v>
                  </c:pt>
                  <c:pt idx="2">
                    <c:v>Kiri Creme Fromage Blanc Frais Carre 1X144Gr 8P</c:v>
                  </c:pt>
                  <c:pt idx="3">
                    <c:v>Kiri Delicieusement Fouette Fromage Frais A Tartiner 1X160Gr 10P</c:v>
                  </c:pt>
                  <c:pt idx="4">
                    <c:v>Kiri Gouter Fromage Blanc Dips Boite 1X175Gr 5P</c:v>
                  </c:pt>
                  <c:pt idx="5">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Richesmonts</c:v>
                </c:pt>
                <c:pt idx="6">
                  <c:v>Others</c:v>
                </c:pt>
              </c:strCache>
            </c:strRef>
          </c:cat>
          <c:val>
            <c:numRef>
              <c:f>Sheet1!$B$2:$B$8</c:f>
              <c:numCache>
                <c:formatCode>General</c:formatCode>
                <c:ptCount val="7"/>
                <c:pt idx="0">
                  <c:v>0.44122185120588292</c:v>
                </c:pt>
                <c:pt idx="1">
                  <c:v>0.33727271257649594</c:v>
                </c:pt>
                <c:pt idx="2">
                  <c:v>7.3592358220965673E-2</c:v>
                </c:pt>
                <c:pt idx="3">
                  <c:v>4.3728636374250306E-2</c:v>
                </c:pt>
                <c:pt idx="4">
                  <c:v>1.7213042611396209E-2</c:v>
                </c:pt>
                <c:pt idx="5">
                  <c:v>1.0676648782441726E-2</c:v>
                </c:pt>
                <c:pt idx="6">
                  <c:v>7.629475022856722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Richesmonts</c:v>
                </c:pt>
                <c:pt idx="6">
                  <c:v>Others</c:v>
                </c:pt>
              </c:strCache>
            </c:strRef>
          </c:cat>
          <c:val>
            <c:numRef>
              <c:f>Sheet1!$C$2:$C$8</c:f>
              <c:numCache>
                <c:formatCode>General</c:formatCode>
                <c:ptCount val="7"/>
                <c:pt idx="0">
                  <c:v>0.32133115111838517</c:v>
                </c:pt>
                <c:pt idx="1">
                  <c:v>0.29132569558101468</c:v>
                </c:pt>
                <c:pt idx="2">
                  <c:v>6.6557555919258049E-2</c:v>
                </c:pt>
                <c:pt idx="3">
                  <c:v>5.1282051282051287E-2</c:v>
                </c:pt>
                <c:pt idx="4">
                  <c:v>5.2373158756137475E-2</c:v>
                </c:pt>
                <c:pt idx="5">
                  <c:v>4.0370976541189305E-2</c:v>
                </c:pt>
                <c:pt idx="6">
                  <c:v>0.17675941080196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Richesmonts</c:v>
                </c:pt>
                <c:pt idx="6">
                  <c:v>Others</c:v>
                </c:pt>
              </c:strCache>
            </c:strRef>
          </c:cat>
          <c:val>
            <c:numRef>
              <c:f>Sheet1!$D$2:$D$8</c:f>
              <c:numCache>
                <c:formatCode>General</c:formatCode>
                <c:ptCount val="7"/>
                <c:pt idx="0">
                  <c:v>72.827569677288182</c:v>
                </c:pt>
                <c:pt idx="1">
                  <c:v>86.37689463684076</c:v>
                </c:pt>
                <c:pt idx="2">
                  <c:v>90.440852186601788</c:v>
                </c:pt>
                <c:pt idx="3">
                  <c:v>117.27338315138687</c:v>
                </c:pt>
                <c:pt idx="4">
                  <c:v>304.26438799066744</c:v>
                </c:pt>
                <c:pt idx="5">
                  <c:v>378.12404775908107</c:v>
                </c:pt>
                <c:pt idx="6">
                  <c:v>231.679650660655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6D8DED1-F35A-4D37-BF76-56B41F43B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A68E9ED-B4F1-4C9F-A341-18C13F246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E5534E2-7806-4998-B117-9C52B32C0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8E8957C-19B7-4BF4-8E1B-9689B3C39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EAA023B-F58E-4BA8-B646-65E067931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0A58157-E862-4092-A42E-EC918B892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4971E57-04BC-4F23-A9E6-ED8DCFB8C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5639999999999997</c:v>
                </c:pt>
                <c:pt idx="1">
                  <c:v>0.42349999999999999</c:v>
                </c:pt>
                <c:pt idx="2">
                  <c:v>0.46579999999999999</c:v>
                </c:pt>
                <c:pt idx="3">
                  <c:v>0.58560000000000001</c:v>
                </c:pt>
                <c:pt idx="4">
                  <c:v>0.47670000000000001</c:v>
                </c:pt>
              </c:numCache>
            </c:numRef>
          </c:xVal>
          <c:yVal>
            <c:numRef>
              <c:f>Sheet1!$B$2:$B$6</c:f>
              <c:numCache>
                <c:formatCode>General</c:formatCode>
                <c:ptCount val="5"/>
                <c:pt idx="0">
                  <c:v>7543.6741573033714</c:v>
                </c:pt>
                <c:pt idx="1">
                  <c:v>6982.6</c:v>
                </c:pt>
                <c:pt idx="2">
                  <c:v>2723.4444444444439</c:v>
                </c:pt>
                <c:pt idx="3">
                  <c:v>1469.6</c:v>
                </c:pt>
                <c:pt idx="4">
                  <c:v>2525.7254901960782</c:v>
                </c:pt>
              </c:numCache>
            </c:numRef>
          </c:yVal>
          <c:bubbleSize>
            <c:numRef>
              <c:f>Sheet1!$C$2:$C$6</c:f>
              <c:numCache>
                <c:formatCode>General</c:formatCode>
                <c:ptCount val="5"/>
                <c:pt idx="0">
                  <c:v>345965.88</c:v>
                </c:pt>
                <c:pt idx="1">
                  <c:v>171688.52160000001</c:v>
                </c:pt>
                <c:pt idx="2">
                  <c:v>12410.255999999999</c:v>
                </c:pt>
                <c:pt idx="3">
                  <c:v>2886.078</c:v>
                </c:pt>
                <c:pt idx="4">
                  <c:v>63895.387999999992</c:v>
                </c:pt>
              </c:numCache>
            </c:numRef>
          </c:bubbleSize>
          <c:bubble3D val="0"/>
          <c:extLst>
            <c:ext xmlns:c15="http://schemas.microsoft.com/office/drawing/2012/chart" uri="{02D57815-91ED-43cb-92C2-25804820EDAC}">
              <c15:datalabelsRange>
                <c15:f>Sheet1!$E$2:$E$50</c15:f>
                <c15:dlblRangeCache>
                  <c:ptCount val="49"/>
                  <c:pt idx="0">
                    <c:v>La Vache Qui Rit Nature Fromage Fondu Boite Ronde 1X192Gr 12P</c:v>
                  </c:pt>
                  <c:pt idx="1">
                    <c:v>La Vache Qui Rit Nature Fromage Fondu Boite Ronde 1X384Gr 24P</c:v>
                  </c:pt>
                  <c:pt idx="2">
                    <c:v>La Vache Qui Rit Nature Fromage Fondu Boite Ronde 1X128Gr 8P</c:v>
                  </c:pt>
                  <c:pt idx="3">
                    <c:v>La Vache Qui Rit Pik Et Croq' Fromage Fondu Dips Boite 1X35Gr 1P</c:v>
                  </c:pt>
                  <c:pt idx="4">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8DB2CDC-8448-443D-B9B6-38742EEA8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C10F64B-827A-43C6-AE81-97797B416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73F55F-98ED-4757-8A1B-E3B721ACE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54AC045-591E-4AF5-B6D4-9DA73D7EC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E600227-F027-4CB4-A9BB-88D1E8F45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1763400-9CB6-4676-A335-96C999388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4E88F59-5659-4822-9A9C-8D40E502F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9910000000000001</c:v>
                </c:pt>
                <c:pt idx="1">
                  <c:v>0.42830000000000001</c:v>
                </c:pt>
                <c:pt idx="2">
                  <c:v>0.48630000000000001</c:v>
                </c:pt>
                <c:pt idx="3">
                  <c:v>0.51049999999999995</c:v>
                </c:pt>
                <c:pt idx="4">
                  <c:v>0.44540000000000002</c:v>
                </c:pt>
                <c:pt idx="5">
                  <c:v>0.44259999999999999</c:v>
                </c:pt>
                <c:pt idx="6">
                  <c:v>0.4239</c:v>
                </c:pt>
                <c:pt idx="7">
                  <c:v>0.48120000000000002</c:v>
                </c:pt>
              </c:numCache>
            </c:numRef>
          </c:xVal>
          <c:yVal>
            <c:numRef>
              <c:f>Sheet1!$B$2:$B$9</c:f>
              <c:numCache>
                <c:formatCode>General</c:formatCode>
                <c:ptCount val="8"/>
                <c:pt idx="0">
                  <c:v>3653.6938775510198</c:v>
                </c:pt>
                <c:pt idx="1">
                  <c:v>4452.734939759036</c:v>
                </c:pt>
                <c:pt idx="2">
                  <c:v>1616.75</c:v>
                </c:pt>
                <c:pt idx="3">
                  <c:v>2791.924050632912</c:v>
                </c:pt>
                <c:pt idx="4">
                  <c:v>497.36363636363637</c:v>
                </c:pt>
                <c:pt idx="5">
                  <c:v>1913.666666666667</c:v>
                </c:pt>
                <c:pt idx="6">
                  <c:v>4507.1428571428569</c:v>
                </c:pt>
                <c:pt idx="7">
                  <c:v>2859.8571428571431</c:v>
                </c:pt>
              </c:numCache>
            </c:numRef>
          </c:yVal>
          <c:bubbleSize>
            <c:numRef>
              <c:f>Sheet1!$C$2:$C$9</c:f>
              <c:numCache>
                <c:formatCode>General</c:formatCode>
                <c:ptCount val="8"/>
                <c:pt idx="0">
                  <c:v>101965.4454</c:v>
                </c:pt>
                <c:pt idx="1">
                  <c:v>200281.71539999999</c:v>
                </c:pt>
                <c:pt idx="2">
                  <c:v>6298.4040000000005</c:v>
                </c:pt>
                <c:pt idx="3">
                  <c:v>102326.5368</c:v>
                </c:pt>
                <c:pt idx="4">
                  <c:v>2876.0508</c:v>
                </c:pt>
                <c:pt idx="5">
                  <c:v>9099.93</c:v>
                </c:pt>
                <c:pt idx="6">
                  <c:v>137832.11840000001</c:v>
                </c:pt>
                <c:pt idx="7">
                  <c:v>9845.0709000000006</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Salade &amp; Aperitif Fromage Frais Des Afh 1X120Gr 1P</c:v>
                  </c:pt>
                  <c:pt idx="4">
                    <c:v>Boursin Classique Fromage Frais A Tartiner Afh Boite 1X80Gr 1P</c:v>
                  </c:pt>
                  <c:pt idx="5">
                    <c:v>Boursin Classique Fromage Frais A Tartiner Afh Boite 1X96Gr 6P</c:v>
                  </c:pt>
                  <c:pt idx="6">
                    <c:v>Boursin Aperitif Roules Fromage Frais Roule Afh Et Jambon Fume Boite 1X100Gr 20P</c:v>
                  </c:pt>
                  <c:pt idx="7">
                    <c:v>Boursin Aperitif Roules Fromage Frais Roule Ciboulette &amp; Echalote Jambon Fume Boite 1X100Gr 2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16DBE3A-C48A-4FDD-8218-4AD9DD462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47A0BC7-C704-4C09-959B-21C169E04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228E974-6756-4759-86CB-DC3BEC6A0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46A5A0C-B60D-4DA7-AB47-FBEAD2741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5BAE2F0-2222-4E3C-B163-AE9F62919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ABB05ED-7EF2-468F-BFB4-EF555789C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10A35F8-A0B6-46D5-9513-10AD4B13A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3503</c:v>
                </c:pt>
                <c:pt idx="1">
                  <c:v>0.30299999999999999</c:v>
                </c:pt>
                <c:pt idx="2">
                  <c:v>0.46439999999999998</c:v>
                </c:pt>
                <c:pt idx="3">
                  <c:v>0.28000000000000003</c:v>
                </c:pt>
                <c:pt idx="4">
                  <c:v>0.31609999999999999</c:v>
                </c:pt>
                <c:pt idx="5">
                  <c:v>0.47620000000000001</c:v>
                </c:pt>
                <c:pt idx="6">
                  <c:v>0.35659999999999997</c:v>
                </c:pt>
                <c:pt idx="7">
                  <c:v>0.36020000000000002</c:v>
                </c:pt>
                <c:pt idx="8">
                  <c:v>0.4929</c:v>
                </c:pt>
              </c:numCache>
            </c:numRef>
          </c:xVal>
          <c:yVal>
            <c:numRef>
              <c:f>Sheet1!$B$2:$B$10</c:f>
              <c:numCache>
                <c:formatCode>General</c:formatCode>
                <c:ptCount val="9"/>
                <c:pt idx="0">
                  <c:v>7935.6292134831456</c:v>
                </c:pt>
                <c:pt idx="1">
                  <c:v>8607.9696969696961</c:v>
                </c:pt>
                <c:pt idx="2">
                  <c:v>1509.2873563218391</c:v>
                </c:pt>
                <c:pt idx="3">
                  <c:v>2135.4337349397588</c:v>
                </c:pt>
                <c:pt idx="4">
                  <c:v>4806.9191919191917</c:v>
                </c:pt>
                <c:pt idx="5">
                  <c:v>1519.866666666667</c:v>
                </c:pt>
                <c:pt idx="6">
                  <c:v>4681.333333333333</c:v>
                </c:pt>
                <c:pt idx="7">
                  <c:v>6331.729166666667</c:v>
                </c:pt>
                <c:pt idx="8">
                  <c:v>916.86206896551732</c:v>
                </c:pt>
              </c:numCache>
            </c:numRef>
          </c:yVal>
          <c:bubbleSize>
            <c:numRef>
              <c:f>Sheet1!$C$2:$C$10</c:f>
              <c:numCache>
                <c:formatCode>General</c:formatCode>
                <c:ptCount val="9"/>
                <c:pt idx="0">
                  <c:v>434940.5233</c:v>
                </c:pt>
                <c:pt idx="1">
                  <c:v>563044.1581</c:v>
                </c:pt>
                <c:pt idx="2">
                  <c:v>66663.609600000011</c:v>
                </c:pt>
                <c:pt idx="3">
                  <c:v>120956.976</c:v>
                </c:pt>
                <c:pt idx="4">
                  <c:v>308470.04639999999</c:v>
                </c:pt>
                <c:pt idx="5">
                  <c:v>45274.047000000013</c:v>
                </c:pt>
                <c:pt idx="6">
                  <c:v>282659.23139999999</c:v>
                </c:pt>
                <c:pt idx="7">
                  <c:v>368627.39450000011</c:v>
                </c:pt>
                <c:pt idx="8">
                  <c:v>25561.6981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8E23F31-4856-40AD-A1D0-640C87BB3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0F37AAB-6298-4A93-AA0D-94E2CBCE0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EA52563-D0ED-47DC-BC16-C471DE04A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4495014-9511-49FC-8FAF-372AE2388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5A172B7-1875-43C0-BF7D-9A007149B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B339B6A-F706-4B36-96D5-ECAEDC735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4B1F303-0C0E-4B4D-BB56-7C8F23DDF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7830000000000004</c:v>
                </c:pt>
                <c:pt idx="1">
                  <c:v>0.3982</c:v>
                </c:pt>
                <c:pt idx="2">
                  <c:v>0.35980000000000001</c:v>
                </c:pt>
                <c:pt idx="3">
                  <c:v>0.34810000000000002</c:v>
                </c:pt>
                <c:pt idx="4">
                  <c:v>0.45569999999999999</c:v>
                </c:pt>
                <c:pt idx="5">
                  <c:v>0.44890000000000002</c:v>
                </c:pt>
                <c:pt idx="6">
                  <c:v>0.49070000000000003</c:v>
                </c:pt>
              </c:numCache>
            </c:numRef>
          </c:xVal>
          <c:yVal>
            <c:numRef>
              <c:f>Sheet1!$B$2:$B$8</c:f>
              <c:numCache>
                <c:formatCode>General</c:formatCode>
                <c:ptCount val="7"/>
                <c:pt idx="0">
                  <c:v>1414.515625</c:v>
                </c:pt>
                <c:pt idx="1">
                  <c:v>10893.58</c:v>
                </c:pt>
                <c:pt idx="2">
                  <c:v>11768.01030927835</c:v>
                </c:pt>
                <c:pt idx="3">
                  <c:v>13093.826530612239</c:v>
                </c:pt>
                <c:pt idx="4">
                  <c:v>1965.8214285714289</c:v>
                </c:pt>
                <c:pt idx="5">
                  <c:v>2817.347368421053</c:v>
                </c:pt>
                <c:pt idx="6">
                  <c:v>3042.8372093023249</c:v>
                </c:pt>
              </c:numCache>
            </c:numRef>
          </c:yVal>
          <c:bubbleSize>
            <c:numRef>
              <c:f>Sheet1!$C$2:$C$8</c:f>
              <c:numCache>
                <c:formatCode>General</c:formatCode>
                <c:ptCount val="7"/>
                <c:pt idx="0">
                  <c:v>36184.439199999993</c:v>
                </c:pt>
                <c:pt idx="1">
                  <c:v>621385.28460000013</c:v>
                </c:pt>
                <c:pt idx="2">
                  <c:v>692633.15520000004</c:v>
                </c:pt>
                <c:pt idx="3">
                  <c:v>792886.2220999999</c:v>
                </c:pt>
                <c:pt idx="4">
                  <c:v>85195.458899999998</c:v>
                </c:pt>
                <c:pt idx="5">
                  <c:v>139805.39300000001</c:v>
                </c:pt>
                <c:pt idx="6">
                  <c:v>126337.8342</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AF758AA-4264-4E20-B58F-A501BBA3B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C625849-B346-4AFE-88B4-0148DD7F8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B6FC434-CA5C-4D64-A166-990506ACC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855390-9280-4BF8-A4A8-5F93CA27A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3509ED2-3EB8-4FFB-ABFD-91DDA69BC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B47FBBA-06F5-4925-8107-BF664B5F0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4FB5A44-2F82-4745-9A67-2C514E3CA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3528</c:v>
                </c:pt>
                <c:pt idx="1">
                  <c:v>0.40260000000000001</c:v>
                </c:pt>
                <c:pt idx="2">
                  <c:v>0.33660000000000001</c:v>
                </c:pt>
                <c:pt idx="3">
                  <c:v>0.44619999999999999</c:v>
                </c:pt>
                <c:pt idx="4">
                  <c:v>0.43509999999999999</c:v>
                </c:pt>
                <c:pt idx="5">
                  <c:v>0.45240000000000002</c:v>
                </c:pt>
                <c:pt idx="6">
                  <c:v>0.36959999999999998</c:v>
                </c:pt>
                <c:pt idx="7">
                  <c:v>0.42359999999999998</c:v>
                </c:pt>
                <c:pt idx="8">
                  <c:v>0.53490000000000004</c:v>
                </c:pt>
                <c:pt idx="9">
                  <c:v>0.42349999999999999</c:v>
                </c:pt>
                <c:pt idx="10">
                  <c:v>0.41889999999999999</c:v>
                </c:pt>
                <c:pt idx="11">
                  <c:v>0.42599999999999999</c:v>
                </c:pt>
                <c:pt idx="12">
                  <c:v>0.43430000000000002</c:v>
                </c:pt>
                <c:pt idx="13">
                  <c:v>0.38750000000000001</c:v>
                </c:pt>
                <c:pt idx="14">
                  <c:v>0.45639999999999997</c:v>
                </c:pt>
                <c:pt idx="15">
                  <c:v>0.46129999999999999</c:v>
                </c:pt>
                <c:pt idx="16">
                  <c:v>0.3795</c:v>
                </c:pt>
                <c:pt idx="17">
                  <c:v>0.50139999999999996</c:v>
                </c:pt>
                <c:pt idx="18">
                  <c:v>0.25840000000000002</c:v>
                </c:pt>
                <c:pt idx="19">
                  <c:v>0.4773</c:v>
                </c:pt>
                <c:pt idx="20">
                  <c:v>0.42370000000000002</c:v>
                </c:pt>
              </c:numCache>
            </c:numRef>
          </c:xVal>
          <c:yVal>
            <c:numRef>
              <c:f>Sheet1!$B$2:$B$22</c:f>
              <c:numCache>
                <c:formatCode>General</c:formatCode>
                <c:ptCount val="21"/>
                <c:pt idx="0">
                  <c:v>5111.090909090909</c:v>
                </c:pt>
                <c:pt idx="1">
                  <c:v>1490.3647058823531</c:v>
                </c:pt>
                <c:pt idx="2">
                  <c:v>4276.05</c:v>
                </c:pt>
                <c:pt idx="3">
                  <c:v>1606.041666666667</c:v>
                </c:pt>
                <c:pt idx="4">
                  <c:v>1801.8736842105261</c:v>
                </c:pt>
                <c:pt idx="5">
                  <c:v>3369.632653061225</c:v>
                </c:pt>
                <c:pt idx="6">
                  <c:v>1106.9215686274511</c:v>
                </c:pt>
                <c:pt idx="7">
                  <c:v>1404.883720930233</c:v>
                </c:pt>
                <c:pt idx="8">
                  <c:v>680.20895522388059</c:v>
                </c:pt>
                <c:pt idx="9">
                  <c:v>1399.976744186047</c:v>
                </c:pt>
                <c:pt idx="10">
                  <c:v>1982.9666666666669</c:v>
                </c:pt>
                <c:pt idx="11">
                  <c:v>4568.0927835051543</c:v>
                </c:pt>
                <c:pt idx="12">
                  <c:v>1521.8941176470589</c:v>
                </c:pt>
                <c:pt idx="13">
                  <c:v>1441.1547619047619</c:v>
                </c:pt>
                <c:pt idx="14">
                  <c:v>1214.975903614458</c:v>
                </c:pt>
                <c:pt idx="15">
                  <c:v>3053.16129032258</c:v>
                </c:pt>
                <c:pt idx="16">
                  <c:v>5515.0505050505053</c:v>
                </c:pt>
                <c:pt idx="17">
                  <c:v>2431.7628865979382</c:v>
                </c:pt>
                <c:pt idx="18">
                  <c:v>100.6551724137931</c:v>
                </c:pt>
                <c:pt idx="19">
                  <c:v>880.45</c:v>
                </c:pt>
                <c:pt idx="20">
                  <c:v>553.08571428571429</c:v>
                </c:pt>
              </c:numCache>
            </c:numRef>
          </c:yVal>
          <c:bubbleSize>
            <c:numRef>
              <c:f>Sheet1!$C$2:$C$22</c:f>
              <c:numCache>
                <c:formatCode>General</c:formatCode>
                <c:ptCount val="21"/>
                <c:pt idx="0">
                  <c:v>310396.17109999998</c:v>
                </c:pt>
                <c:pt idx="1">
                  <c:v>71735.347500000003</c:v>
                </c:pt>
                <c:pt idx="2">
                  <c:v>268889.32500000001</c:v>
                </c:pt>
                <c:pt idx="3">
                  <c:v>80927.763000000006</c:v>
                </c:pt>
                <c:pt idx="4">
                  <c:v>91664.386599999998</c:v>
                </c:pt>
                <c:pt idx="5">
                  <c:v>171405.6588</c:v>
                </c:pt>
                <c:pt idx="6">
                  <c:v>33731.386499999993</c:v>
                </c:pt>
                <c:pt idx="7">
                  <c:v>66011.255999999994</c:v>
                </c:pt>
                <c:pt idx="8">
                  <c:v>20091.8835</c:v>
                </c:pt>
                <c:pt idx="9">
                  <c:v>65796.493399999992</c:v>
                </c:pt>
                <c:pt idx="10">
                  <c:v>98304.178500000009</c:v>
                </c:pt>
                <c:pt idx="11">
                  <c:v>241072.77720000001</c:v>
                </c:pt>
                <c:pt idx="12">
                  <c:v>69362.099199999997</c:v>
                </c:pt>
                <c:pt idx="13">
                  <c:v>70284.431699999986</c:v>
                </c:pt>
                <c:pt idx="14">
                  <c:v>51962.308199999999</c:v>
                </c:pt>
                <c:pt idx="15">
                  <c:v>144999.24479999999</c:v>
                </c:pt>
                <c:pt idx="16">
                  <c:v>321142.08559999999</c:v>
                </c:pt>
                <c:pt idx="17">
                  <c:v>111472.8284</c:v>
                </c:pt>
                <c:pt idx="18">
                  <c:v>2051.9259999999999</c:v>
                </c:pt>
                <c:pt idx="19">
                  <c:v>17448.064399999999</c:v>
                </c:pt>
                <c:pt idx="20">
                  <c:v>21148.5615</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Ciboulette Echalote 1X120Gr 1P</c:v>
                  </c:pt>
                  <c:pt idx="8">
                    <c:v>Boursin Salade &amp; Aperitif Fromage Frais Des Citron Romarin 1X120Gr 1P</c:v>
                  </c:pt>
                  <c:pt idx="9">
                    <c:v>Boursin Classique Fromage Frais A Tartiner Poivre Boite 1X150Gr 1P</c:v>
                  </c:pt>
                  <c:pt idx="10">
                    <c:v>Boursin Classique Fromage Frais A Tartiner Afh Boite 1X96Gr 6P</c:v>
                  </c:pt>
                  <c:pt idx="11">
                    <c:v>Boursin Aperitif Roules Fromage Frais Roule Afh Et Jambon Fume Boite 1X100Gr 20P</c:v>
                  </c:pt>
                  <c:pt idx="12">
                    <c:v>Boursin Aperitif Roules Fromage Frais Roule Basilic &amp; Jambon Fume Tomate Boite 1X100Gr 20P</c:v>
                  </c:pt>
                  <c:pt idx="13">
                    <c:v>Boursin Classique Fromage Frais A Tartiner Afh 1X256Gr 16P</c:v>
                  </c:pt>
                  <c:pt idx="14">
                    <c:v>Boursin Classique Fromage Frais A Tartiner Ciboulette &amp; Echalote 1X160Gr 10P</c:v>
                  </c:pt>
                  <c:pt idx="15">
                    <c:v>Boursin Aperitif Roules Fromage Frais Roule Ciboulette &amp; Echalote Jambon Fume Boite 1X100Gr 20P</c:v>
                  </c:pt>
                  <c:pt idx="16">
                    <c:v>Boursin Classique Fromage Frais A Tartiner Afh Boite 1X250Gr 1P</c:v>
                  </c:pt>
                  <c:pt idx="17">
                    <c:v>Boursin Onctueux Fromage Frais A Tartiner Afh 1X125Gr 1P</c:v>
                  </c:pt>
                  <c:pt idx="18">
                    <c:v>Boursin Aperitif Roules Fromage Frais Roule Jambon Fume &amp; Trio De Noix Boite 1X100Gr 20P</c:v>
                  </c:pt>
                  <c:pt idx="19">
                    <c:v>Boursin Salade &amp; Aperitif Soft Cheese Salade 120G</c:v>
                  </c:pt>
                  <c:pt idx="20">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28BC3D6-F60A-4AB4-A760-CE7C127E6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CA1FA49-D3E7-4A20-8A6E-79990912B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66852F-B2B8-495A-8D36-47290CAF1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B1A152F-F434-4E85-82DB-A82478659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552DCF3-1C65-449A-82A8-8FDDC7296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178FCC0-72A4-4979-9201-7DA8F168A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9F56BF0-3D62-49F1-95C5-A9D239CB8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33100000000000002</c:v>
                </c:pt>
                <c:pt idx="1">
                  <c:v>0.30280000000000001</c:v>
                </c:pt>
                <c:pt idx="2">
                  <c:v>0.45019999999999999</c:v>
                </c:pt>
                <c:pt idx="3">
                  <c:v>0.2777</c:v>
                </c:pt>
                <c:pt idx="4">
                  <c:v>0.31280000000000002</c:v>
                </c:pt>
                <c:pt idx="5">
                  <c:v>0.44729999999999998</c:v>
                </c:pt>
                <c:pt idx="6">
                  <c:v>0.34210000000000002</c:v>
                </c:pt>
                <c:pt idx="7">
                  <c:v>0.33700000000000002</c:v>
                </c:pt>
                <c:pt idx="8">
                  <c:v>0.48359999999999997</c:v>
                </c:pt>
              </c:numCache>
            </c:numRef>
          </c:xVal>
          <c:yVal>
            <c:numRef>
              <c:f>Sheet1!$B$2:$B$10</c:f>
              <c:numCache>
                <c:formatCode>General</c:formatCode>
                <c:ptCount val="9"/>
                <c:pt idx="0">
                  <c:v>1510.0505050505051</c:v>
                </c:pt>
                <c:pt idx="1">
                  <c:v>1448.878787878788</c:v>
                </c:pt>
                <c:pt idx="2">
                  <c:v>259.61616161616161</c:v>
                </c:pt>
                <c:pt idx="3">
                  <c:v>368.41489361702128</c:v>
                </c:pt>
                <c:pt idx="4">
                  <c:v>814.44444444444446</c:v>
                </c:pt>
                <c:pt idx="5">
                  <c:v>204.0114942528736</c:v>
                </c:pt>
                <c:pt idx="6">
                  <c:v>861.46464646464642</c:v>
                </c:pt>
                <c:pt idx="7">
                  <c:v>1157.454545454545</c:v>
                </c:pt>
                <c:pt idx="8">
                  <c:v>118.8767123287671</c:v>
                </c:pt>
              </c:numCache>
            </c:numRef>
          </c:yVal>
          <c:bubbleSize>
            <c:numRef>
              <c:f>Sheet1!$C$2:$C$10</c:f>
              <c:numCache>
                <c:formatCode>General</c:formatCode>
                <c:ptCount val="9"/>
                <c:pt idx="0">
                  <c:v>94800.4</c:v>
                </c:pt>
                <c:pt idx="1">
                  <c:v>94792.401599999997</c:v>
                </c:pt>
                <c:pt idx="2">
                  <c:v>13395.286</c:v>
                </c:pt>
                <c:pt idx="3">
                  <c:v>23711.407200000001</c:v>
                </c:pt>
                <c:pt idx="4">
                  <c:v>52523.159199999987</c:v>
                </c:pt>
                <c:pt idx="5">
                  <c:v>9299.048499999999</c:v>
                </c:pt>
                <c:pt idx="6">
                  <c:v>53180.887199999997</c:v>
                </c:pt>
                <c:pt idx="7">
                  <c:v>72012.494500000001</c:v>
                </c:pt>
                <c:pt idx="8">
                  <c:v>4247.692</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BBE676A-4676-49CD-A00D-60FCBF6B4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61EB826-8052-4173-BC09-6DDC5FB61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C9441C9-EA70-4910-8CBA-49E668C39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ABFE4A2-B8C5-4994-A9A6-37DB27F28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F1DDDAB-D33E-4306-BC2A-9FF495507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30509E4-66AA-47A5-9540-92460CFB1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72EF1CF-10D0-4D19-A0D6-6250C2D93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6879999999999997</c:v>
                </c:pt>
                <c:pt idx="1">
                  <c:v>0.39439999999999997</c:v>
                </c:pt>
                <c:pt idx="2">
                  <c:v>0.35649999999999998</c:v>
                </c:pt>
                <c:pt idx="3">
                  <c:v>0.34329999999999999</c:v>
                </c:pt>
                <c:pt idx="4">
                  <c:v>0.4365</c:v>
                </c:pt>
                <c:pt idx="5">
                  <c:v>0.43080000000000002</c:v>
                </c:pt>
                <c:pt idx="6">
                  <c:v>0.47510000000000002</c:v>
                </c:pt>
              </c:numCache>
            </c:numRef>
          </c:xVal>
          <c:yVal>
            <c:numRef>
              <c:f>Sheet1!$B$2:$B$8</c:f>
              <c:numCache>
                <c:formatCode>General</c:formatCode>
                <c:ptCount val="7"/>
                <c:pt idx="0">
                  <c:v>212.81818181818181</c:v>
                </c:pt>
                <c:pt idx="1">
                  <c:v>1861.373737373737</c:v>
                </c:pt>
                <c:pt idx="2">
                  <c:v>2046.9595959595961</c:v>
                </c:pt>
                <c:pt idx="3">
                  <c:v>2510.909090909091</c:v>
                </c:pt>
                <c:pt idx="4">
                  <c:v>295.54166666666669</c:v>
                </c:pt>
                <c:pt idx="5">
                  <c:v>542.23232323232321</c:v>
                </c:pt>
                <c:pt idx="6">
                  <c:v>619.70408163265301</c:v>
                </c:pt>
              </c:numCache>
            </c:numRef>
          </c:yVal>
          <c:bubbleSize>
            <c:numRef>
              <c:f>Sheet1!$C$2:$C$8</c:f>
              <c:numCache>
                <c:formatCode>General</c:formatCode>
                <c:ptCount val="7"/>
                <c:pt idx="0">
                  <c:v>7654.3233</c:v>
                </c:pt>
                <c:pt idx="1">
                  <c:v>105773.54399999999</c:v>
                </c:pt>
                <c:pt idx="2">
                  <c:v>123606.6195</c:v>
                </c:pt>
                <c:pt idx="3">
                  <c:v>154735.0969</c:v>
                </c:pt>
                <c:pt idx="4">
                  <c:v>15154.5465</c:v>
                </c:pt>
                <c:pt idx="5">
                  <c:v>28961.603999999999</c:v>
                </c:pt>
                <c:pt idx="6">
                  <c:v>30217.781999999999</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54C20BE-964F-4717-B449-70EDD8F41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17C3F61-94AE-4694-A9D6-63DFAC332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28E555E-DA62-438D-8906-6F9969069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30819EB-F03A-49EC-AE3F-41C0B5372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55BA291-DA67-4156-815F-DA38B4B7A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AB8C912-8555-4298-9ED1-C28927389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5A40222-DBF7-4AB1-A060-EB0296467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0.34670000000000001</c:v>
                </c:pt>
                <c:pt idx="1">
                  <c:v>0.38469999999999999</c:v>
                </c:pt>
                <c:pt idx="2">
                  <c:v>0.33479999999999999</c:v>
                </c:pt>
                <c:pt idx="3">
                  <c:v>0.4274</c:v>
                </c:pt>
                <c:pt idx="4">
                  <c:v>0.41710000000000003</c:v>
                </c:pt>
                <c:pt idx="5">
                  <c:v>0.43909999999999999</c:v>
                </c:pt>
                <c:pt idx="6">
                  <c:v>0.3528</c:v>
                </c:pt>
                <c:pt idx="7">
                  <c:v>0.40849999999999997</c:v>
                </c:pt>
                <c:pt idx="8">
                  <c:v>0.52359999999999995</c:v>
                </c:pt>
                <c:pt idx="9">
                  <c:v>0.40560000000000002</c:v>
                </c:pt>
                <c:pt idx="10">
                  <c:v>0.3977</c:v>
                </c:pt>
                <c:pt idx="11">
                  <c:v>0.41489999999999999</c:v>
                </c:pt>
                <c:pt idx="12">
                  <c:v>0.42059999999999997</c:v>
                </c:pt>
                <c:pt idx="13">
                  <c:v>0.38679999999999998</c:v>
                </c:pt>
                <c:pt idx="14">
                  <c:v>0.43819999999999998</c:v>
                </c:pt>
                <c:pt idx="15">
                  <c:v>0.44429999999999997</c:v>
                </c:pt>
                <c:pt idx="16">
                  <c:v>0.3664</c:v>
                </c:pt>
                <c:pt idx="17">
                  <c:v>0.48130000000000001</c:v>
                </c:pt>
                <c:pt idx="18">
                  <c:v>0.46750000000000003</c:v>
                </c:pt>
                <c:pt idx="19">
                  <c:v>0.42370000000000002</c:v>
                </c:pt>
              </c:numCache>
            </c:numRef>
          </c:xVal>
          <c:yVal>
            <c:numRef>
              <c:f>Sheet1!$B$2:$B$21</c:f>
              <c:numCache>
                <c:formatCode>General</c:formatCode>
                <c:ptCount val="20"/>
                <c:pt idx="0">
                  <c:v>899.93939393939399</c:v>
                </c:pt>
                <c:pt idx="1">
                  <c:v>199.64583333333329</c:v>
                </c:pt>
                <c:pt idx="2">
                  <c:v>706.57575757575762</c:v>
                </c:pt>
                <c:pt idx="3">
                  <c:v>229.83838383838381</c:v>
                </c:pt>
                <c:pt idx="4">
                  <c:v>259.5858585858586</c:v>
                </c:pt>
                <c:pt idx="5">
                  <c:v>547.73737373737379</c:v>
                </c:pt>
                <c:pt idx="6">
                  <c:v>154.5301204819277</c:v>
                </c:pt>
                <c:pt idx="7">
                  <c:v>253.43157894736839</c:v>
                </c:pt>
                <c:pt idx="8">
                  <c:v>110.4712643678161</c:v>
                </c:pt>
                <c:pt idx="9">
                  <c:v>209.1237113402062</c:v>
                </c:pt>
                <c:pt idx="10">
                  <c:v>321.57142857142861</c:v>
                </c:pt>
                <c:pt idx="11">
                  <c:v>871.57575757575762</c:v>
                </c:pt>
                <c:pt idx="12">
                  <c:v>252.95789473684209</c:v>
                </c:pt>
                <c:pt idx="13">
                  <c:v>327.33333333333331</c:v>
                </c:pt>
                <c:pt idx="14">
                  <c:v>205.3052631578947</c:v>
                </c:pt>
                <c:pt idx="15">
                  <c:v>514.030303030303</c:v>
                </c:pt>
                <c:pt idx="16">
                  <c:v>1058.6464646464649</c:v>
                </c:pt>
                <c:pt idx="17">
                  <c:v>373.97979797979798</c:v>
                </c:pt>
                <c:pt idx="18">
                  <c:v>106.42465753424661</c:v>
                </c:pt>
                <c:pt idx="19">
                  <c:v>83.186046511627907</c:v>
                </c:pt>
              </c:numCache>
            </c:numRef>
          </c:yVal>
          <c:bubbleSize>
            <c:numRef>
              <c:f>Sheet1!$C$2:$C$21</c:f>
              <c:numCache>
                <c:formatCode>General</c:formatCode>
                <c:ptCount val="20"/>
                <c:pt idx="0">
                  <c:v>55170.794599999987</c:v>
                </c:pt>
                <c:pt idx="1">
                  <c:v>11177.634</c:v>
                </c:pt>
                <c:pt idx="2">
                  <c:v>44106.495000000003</c:v>
                </c:pt>
                <c:pt idx="3">
                  <c:v>12349.773800000001</c:v>
                </c:pt>
                <c:pt idx="4">
                  <c:v>14198.6855</c:v>
                </c:pt>
                <c:pt idx="5">
                  <c:v>28831.452000000001</c:v>
                </c:pt>
                <c:pt idx="6">
                  <c:v>7867.86</c:v>
                </c:pt>
                <c:pt idx="7">
                  <c:v>13497.9589</c:v>
                </c:pt>
                <c:pt idx="8">
                  <c:v>4340.1383999999998</c:v>
                </c:pt>
                <c:pt idx="9">
                  <c:v>11428.3532</c:v>
                </c:pt>
                <c:pt idx="10">
                  <c:v>17992.606500000002</c:v>
                </c:pt>
                <c:pt idx="11">
                  <c:v>47854.768199999999</c:v>
                </c:pt>
                <c:pt idx="12">
                  <c:v>13196.82</c:v>
                </c:pt>
                <c:pt idx="13">
                  <c:v>18264.846600000001</c:v>
                </c:pt>
                <c:pt idx="14">
                  <c:v>10385.634599999999</c:v>
                </c:pt>
                <c:pt idx="15">
                  <c:v>26803.497599999999</c:v>
                </c:pt>
                <c:pt idx="16">
                  <c:v>62945.8802</c:v>
                </c:pt>
                <c:pt idx="17">
                  <c:v>18204.570100000001</c:v>
                </c:pt>
                <c:pt idx="18">
                  <c:v>3921.063900000001</c:v>
                </c:pt>
                <c:pt idx="19">
                  <c:v>3908.1405</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Ciboulette Echalote 1X120Gr 1P</c:v>
                  </c:pt>
                  <c:pt idx="8">
                    <c:v>Boursin Salade &amp; Aperitif Fromage Frais Des Citron Romarin 1X120Gr 1P</c:v>
                  </c:pt>
                  <c:pt idx="9">
                    <c:v>Boursin Classique Fromage Frais A Tartiner Poivre Boite 1X150Gr 1P</c:v>
                  </c:pt>
                  <c:pt idx="10">
                    <c:v>Boursin Classique Fromage Frais A Tartiner Afh Boite 1X96Gr 6P</c:v>
                  </c:pt>
                  <c:pt idx="11">
                    <c:v>Boursin Aperitif Roules Fromage Frais Roule Afh Et Jambon Fume Boite 1X100Gr 20P</c:v>
                  </c:pt>
                  <c:pt idx="12">
                    <c:v>Boursin Aperitif Roules Fromage Frais Roule Basilic &amp; Jambon Fume Tomate Boite 1X100Gr 20P</c:v>
                  </c:pt>
                  <c:pt idx="13">
                    <c:v>Boursin Classique Fromage Frais A Tartiner Afh 1X256Gr 16P</c:v>
                  </c:pt>
                  <c:pt idx="14">
                    <c:v>Boursin Classique Fromage Frais A Tartiner Ciboulette &amp; Echalote 1X160Gr 10P</c:v>
                  </c:pt>
                  <c:pt idx="15">
                    <c:v>Boursin Aperitif Roules Fromage Frais Roule Ciboulette &amp; Echalote Jambon Fume Boite 1X100Gr 20P</c:v>
                  </c:pt>
                  <c:pt idx="16">
                    <c:v>Boursin Classique Fromage Frais A Tartiner Afh Boite 1X250Gr 1P</c:v>
                  </c:pt>
                  <c:pt idx="17">
                    <c:v>Boursin Onctueux Fromage Frais A Tartiner Afh 1X125Gr 1P</c:v>
                  </c:pt>
                  <c:pt idx="18">
                    <c:v>Boursin Salade &amp; Aperitif Soft Cheese Salade 120G</c:v>
                  </c:pt>
                  <c:pt idx="19">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F4C185D-06ED-4CCD-93F1-59795B5C6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89F8DDF-5E80-4A14-9AF1-A51FE7C55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6F3182B-152E-4D8C-8C5C-9807644E4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F996115-DF8E-47D0-95DB-433C0F753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55833E7-DA03-4B6C-B148-6C6821510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AE4E2A9-87F7-49DB-A60D-237559E54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5070961-6A04-4C54-A9AF-20A871833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38059999999999999</c:v>
                </c:pt>
                <c:pt idx="1">
                  <c:v>0.3271</c:v>
                </c:pt>
                <c:pt idx="2">
                  <c:v>0.50280000000000002</c:v>
                </c:pt>
                <c:pt idx="3">
                  <c:v>0.28120000000000001</c:v>
                </c:pt>
                <c:pt idx="4">
                  <c:v>0.3569</c:v>
                </c:pt>
                <c:pt idx="5">
                  <c:v>0.51970000000000005</c:v>
                </c:pt>
                <c:pt idx="6">
                  <c:v>0.38369999999999999</c:v>
                </c:pt>
                <c:pt idx="7">
                  <c:v>0.39319999999999999</c:v>
                </c:pt>
                <c:pt idx="8">
                  <c:v>0.51070000000000004</c:v>
                </c:pt>
              </c:numCache>
            </c:numRef>
          </c:xVal>
          <c:yVal>
            <c:numRef>
              <c:f>Sheet1!$B$2:$B$10</c:f>
              <c:numCache>
                <c:formatCode>General</c:formatCode>
                <c:ptCount val="9"/>
                <c:pt idx="0">
                  <c:v>1288.617021276596</c:v>
                </c:pt>
                <c:pt idx="1">
                  <c:v>1618.623529411765</c:v>
                </c:pt>
                <c:pt idx="2">
                  <c:v>371.75</c:v>
                </c:pt>
                <c:pt idx="3">
                  <c:v>520.91525423728808</c:v>
                </c:pt>
                <c:pt idx="4">
                  <c:v>1084.782608695652</c:v>
                </c:pt>
                <c:pt idx="5">
                  <c:v>466.8</c:v>
                </c:pt>
                <c:pt idx="6">
                  <c:v>1075.011235955056</c:v>
                </c:pt>
                <c:pt idx="7">
                  <c:v>1039.014925373134</c:v>
                </c:pt>
                <c:pt idx="8">
                  <c:v>319</c:v>
                </c:pt>
              </c:numCache>
            </c:numRef>
          </c:yVal>
          <c:bubbleSize>
            <c:numRef>
              <c:f>Sheet1!$C$2:$C$10</c:f>
              <c:numCache>
                <c:formatCode>General</c:formatCode>
                <c:ptCount val="9"/>
                <c:pt idx="0">
                  <c:v>35560.734499999999</c:v>
                </c:pt>
                <c:pt idx="1">
                  <c:v>87751.572</c:v>
                </c:pt>
                <c:pt idx="2">
                  <c:v>7708.5276000000013</c:v>
                </c:pt>
                <c:pt idx="3">
                  <c:v>20940.809799999999</c:v>
                </c:pt>
                <c:pt idx="4">
                  <c:v>60834.53439999999</c:v>
                </c:pt>
                <c:pt idx="5">
                  <c:v>6375.4179999999997</c:v>
                </c:pt>
                <c:pt idx="6">
                  <c:v>55887.63</c:v>
                </c:pt>
                <c:pt idx="7">
                  <c:v>40040.788</c:v>
                </c:pt>
                <c:pt idx="8">
                  <c:v>1479.5652</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CD4BB9E-C94E-483D-94A5-80404C877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CB00273-A2F0-445E-A9B4-12B02F0B2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5FD128C-88B7-415F-88EE-5F56BB940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B45EE69-F93E-4F82-A737-E0062D897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44E03A3-ACBB-48AE-9B5F-B883893C6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109017B-0B82-4D20-AA9A-EB7C8E04D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1EC7425-2147-4DE6-99F3-FE6C89BAC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9699999999999998</c:v>
                </c:pt>
                <c:pt idx="1">
                  <c:v>0.4002</c:v>
                </c:pt>
                <c:pt idx="2">
                  <c:v>0.38890000000000002</c:v>
                </c:pt>
                <c:pt idx="3">
                  <c:v>0.38619999999999999</c:v>
                </c:pt>
                <c:pt idx="4">
                  <c:v>0.4975</c:v>
                </c:pt>
                <c:pt idx="5">
                  <c:v>0.47520000000000001</c:v>
                </c:pt>
                <c:pt idx="6">
                  <c:v>0.51659999999999995</c:v>
                </c:pt>
              </c:numCache>
            </c:numRef>
          </c:xVal>
          <c:yVal>
            <c:numRef>
              <c:f>Sheet1!$B$2:$B$8</c:f>
              <c:numCache>
                <c:formatCode>General</c:formatCode>
                <c:ptCount val="7"/>
                <c:pt idx="0">
                  <c:v>302.72000000000003</c:v>
                </c:pt>
                <c:pt idx="1">
                  <c:v>2144.071428571428</c:v>
                </c:pt>
                <c:pt idx="2">
                  <c:v>1798.10294117647</c:v>
                </c:pt>
                <c:pt idx="3">
                  <c:v>2110.4923076923078</c:v>
                </c:pt>
                <c:pt idx="4">
                  <c:v>544.73809523809518</c:v>
                </c:pt>
                <c:pt idx="5">
                  <c:v>586.18181818181813</c:v>
                </c:pt>
                <c:pt idx="6">
                  <c:v>514.03125</c:v>
                </c:pt>
              </c:numCache>
            </c:numRef>
          </c:yVal>
          <c:bubbleSize>
            <c:numRef>
              <c:f>Sheet1!$C$2:$C$8</c:f>
              <c:numCache>
                <c:formatCode>General</c:formatCode>
                <c:ptCount val="7"/>
                <c:pt idx="0">
                  <c:v>2891.0972999999999</c:v>
                </c:pt>
                <c:pt idx="1">
                  <c:v>119456.67479999999</c:v>
                </c:pt>
                <c:pt idx="2">
                  <c:v>70823.141200000013</c:v>
                </c:pt>
                <c:pt idx="3">
                  <c:v>79817.339399999997</c:v>
                </c:pt>
                <c:pt idx="4">
                  <c:v>10898.412</c:v>
                </c:pt>
                <c:pt idx="5">
                  <c:v>22425.295999999998</c:v>
                </c:pt>
                <c:pt idx="6">
                  <c:v>7537.2546000000002</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Belle Etoile</c:v>
                </c:pt>
                <c:pt idx="3">
                  <c:v>Boursin</c:v>
                </c:pt>
                <c:pt idx="4">
                  <c:v>Raguin</c:v>
                </c:pt>
                <c:pt idx="5">
                  <c:v>Others</c:v>
                </c:pt>
              </c:strCache>
            </c:strRef>
          </c:cat>
          <c:val>
            <c:numRef>
              <c:f>Sheet1!$B$2:$B$7</c:f>
              <c:numCache>
                <c:formatCode>General</c:formatCode>
                <c:ptCount val="6"/>
                <c:pt idx="0">
                  <c:v>0.51132684430418041</c:v>
                </c:pt>
                <c:pt idx="1">
                  <c:v>0.33850636502628589</c:v>
                </c:pt>
                <c:pt idx="2">
                  <c:v>3.7814061107522751E-2</c:v>
                </c:pt>
                <c:pt idx="3">
                  <c:v>2.8342149800914079E-2</c:v>
                </c:pt>
                <c:pt idx="4">
                  <c:v>2.5609317384656893E-2</c:v>
                </c:pt>
                <c:pt idx="5">
                  <c:v>5.84012623764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Belle Etoile</c:v>
                </c:pt>
                <c:pt idx="3">
                  <c:v>Boursin</c:v>
                </c:pt>
                <c:pt idx="4">
                  <c:v>Raguin</c:v>
                </c:pt>
                <c:pt idx="5">
                  <c:v>Others</c:v>
                </c:pt>
              </c:strCache>
            </c:strRef>
          </c:cat>
          <c:val>
            <c:numRef>
              <c:f>Sheet1!$C$2:$C$7</c:f>
              <c:numCache>
                <c:formatCode>General</c:formatCode>
                <c:ptCount val="6"/>
                <c:pt idx="0">
                  <c:v>0.46857142857142875</c:v>
                </c:pt>
                <c:pt idx="1">
                  <c:v>0.32095238095238104</c:v>
                </c:pt>
                <c:pt idx="2">
                  <c:v>2.6666666666666679E-2</c:v>
                </c:pt>
                <c:pt idx="3">
                  <c:v>6.380952380952383E-2</c:v>
                </c:pt>
                <c:pt idx="4">
                  <c:v>1.0476190476190479E-2</c:v>
                </c:pt>
                <c:pt idx="5">
                  <c:v>0.109523809523809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Belle Etoile</c:v>
                </c:pt>
                <c:pt idx="3">
                  <c:v>Boursin</c:v>
                </c:pt>
                <c:pt idx="4">
                  <c:v>Raguin</c:v>
                </c:pt>
                <c:pt idx="5">
                  <c:v>Others</c:v>
                </c:pt>
              </c:strCache>
            </c:strRef>
          </c:cat>
          <c:val>
            <c:numRef>
              <c:f>Sheet1!$D$2:$D$7</c:f>
              <c:numCache>
                <c:formatCode>General</c:formatCode>
                <c:ptCount val="6"/>
                <c:pt idx="0">
                  <c:v>91.638339310948226</c:v>
                </c:pt>
                <c:pt idx="1">
                  <c:v>94.814282421974042</c:v>
                </c:pt>
                <c:pt idx="2">
                  <c:v>70.52050450450453</c:v>
                </c:pt>
                <c:pt idx="3">
                  <c:v>225.14002733647916</c:v>
                </c:pt>
                <c:pt idx="4">
                  <c:v>40.907730256281631</c:v>
                </c:pt>
                <c:pt idx="5">
                  <c:v>187.536715932348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1536993-1BFA-48ED-A945-C948A451B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F68AF93-382E-4F5C-9D08-6601CD21B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A9E1C55-82EC-41A4-9380-6B3994373B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CB31D3A-3558-42DB-B4E1-A94608BBF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DDD6C38-D7DA-4A64-B9C6-51A2E223A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791443F-6B1D-46BE-AB3E-5C81FCA90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3DE0A65-D254-4E4B-83B6-AF622106A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0.38300000000000001</c:v>
                </c:pt>
                <c:pt idx="1">
                  <c:v>0.43809999999999999</c:v>
                </c:pt>
                <c:pt idx="2">
                  <c:v>0.37259999999999999</c:v>
                </c:pt>
                <c:pt idx="3">
                  <c:v>0.48259999999999997</c:v>
                </c:pt>
                <c:pt idx="4">
                  <c:v>0.47199999999999998</c:v>
                </c:pt>
                <c:pt idx="5">
                  <c:v>0.4783</c:v>
                </c:pt>
                <c:pt idx="6">
                  <c:v>0.41139999999999999</c:v>
                </c:pt>
                <c:pt idx="7">
                  <c:v>0.4541</c:v>
                </c:pt>
                <c:pt idx="8">
                  <c:v>0.5595</c:v>
                </c:pt>
                <c:pt idx="9">
                  <c:v>0.4642</c:v>
                </c:pt>
                <c:pt idx="10">
                  <c:v>0.44919999999999999</c:v>
                </c:pt>
                <c:pt idx="11">
                  <c:v>0.45390000000000003</c:v>
                </c:pt>
                <c:pt idx="12">
                  <c:v>0.45569999999999999</c:v>
                </c:pt>
                <c:pt idx="13">
                  <c:v>0.41</c:v>
                </c:pt>
                <c:pt idx="14">
                  <c:v>0.4864</c:v>
                </c:pt>
                <c:pt idx="15">
                  <c:v>0.48580000000000001</c:v>
                </c:pt>
                <c:pt idx="16">
                  <c:v>0.40670000000000001</c:v>
                </c:pt>
                <c:pt idx="17">
                  <c:v>0.52939999999999998</c:v>
                </c:pt>
                <c:pt idx="18">
                  <c:v>0.51249999999999996</c:v>
                </c:pt>
                <c:pt idx="19">
                  <c:v>0.42580000000000001</c:v>
                </c:pt>
              </c:numCache>
            </c:numRef>
          </c:xVal>
          <c:yVal>
            <c:numRef>
              <c:f>Sheet1!$B$2:$B$21</c:f>
              <c:numCache>
                <c:formatCode>General</c:formatCode>
                <c:ptCount val="20"/>
                <c:pt idx="0">
                  <c:v>1038.5555555555561</c:v>
                </c:pt>
                <c:pt idx="1">
                  <c:v>413.91044776119401</c:v>
                </c:pt>
                <c:pt idx="2">
                  <c:v>948.11458333333337</c:v>
                </c:pt>
                <c:pt idx="3">
                  <c:v>415.85</c:v>
                </c:pt>
                <c:pt idx="4">
                  <c:v>531.17283950617286</c:v>
                </c:pt>
                <c:pt idx="5">
                  <c:v>612.89285714285711</c:v>
                </c:pt>
                <c:pt idx="6">
                  <c:v>284.5</c:v>
                </c:pt>
                <c:pt idx="7">
                  <c:v>258.48837209302332</c:v>
                </c:pt>
                <c:pt idx="8">
                  <c:v>164.25</c:v>
                </c:pt>
                <c:pt idx="9">
                  <c:v>369.57627118644069</c:v>
                </c:pt>
                <c:pt idx="10">
                  <c:v>491.4848484848485</c:v>
                </c:pt>
                <c:pt idx="11">
                  <c:v>920.57894736842104</c:v>
                </c:pt>
                <c:pt idx="12">
                  <c:v>364.125</c:v>
                </c:pt>
                <c:pt idx="13">
                  <c:v>296.15151515151513</c:v>
                </c:pt>
                <c:pt idx="14">
                  <c:v>255.95652173913041</c:v>
                </c:pt>
                <c:pt idx="15">
                  <c:v>536.24</c:v>
                </c:pt>
                <c:pt idx="16">
                  <c:v>854.77333333333331</c:v>
                </c:pt>
                <c:pt idx="17">
                  <c:v>667.28395061728395</c:v>
                </c:pt>
                <c:pt idx="18">
                  <c:v>215.78571428571419</c:v>
                </c:pt>
                <c:pt idx="19">
                  <c:v>142.29411764705881</c:v>
                </c:pt>
              </c:numCache>
            </c:numRef>
          </c:yVal>
          <c:bubbleSize>
            <c:numRef>
              <c:f>Sheet1!$C$2:$C$21</c:f>
              <c:numCache>
                <c:formatCode>General</c:formatCode>
                <c:ptCount val="20"/>
                <c:pt idx="0">
                  <c:v>54621.099199999997</c:v>
                </c:pt>
                <c:pt idx="1">
                  <c:v>14769.356</c:v>
                </c:pt>
                <c:pt idx="2">
                  <c:v>54132.285000000003</c:v>
                </c:pt>
                <c:pt idx="3">
                  <c:v>16316.1432</c:v>
                </c:pt>
                <c:pt idx="4">
                  <c:v>21532.756399999998</c:v>
                </c:pt>
                <c:pt idx="5">
                  <c:v>25458.860400000001</c:v>
                </c:pt>
                <c:pt idx="6">
                  <c:v>2856.9135000000001</c:v>
                </c:pt>
                <c:pt idx="7">
                  <c:v>5751.4501999999993</c:v>
                </c:pt>
                <c:pt idx="8">
                  <c:v>1920.1572000000001</c:v>
                </c:pt>
                <c:pt idx="9">
                  <c:v>11073.1368</c:v>
                </c:pt>
                <c:pt idx="10">
                  <c:v>16934.157899999998</c:v>
                </c:pt>
                <c:pt idx="11">
                  <c:v>36212.4516</c:v>
                </c:pt>
                <c:pt idx="12">
                  <c:v>6011.5624000000007</c:v>
                </c:pt>
                <c:pt idx="13">
                  <c:v>5465.4452999999994</c:v>
                </c:pt>
                <c:pt idx="14">
                  <c:v>5731.8689999999997</c:v>
                </c:pt>
                <c:pt idx="15">
                  <c:v>13067.9568</c:v>
                </c:pt>
                <c:pt idx="16">
                  <c:v>36049.686399999999</c:v>
                </c:pt>
                <c:pt idx="17">
                  <c:v>24109.244900000002</c:v>
                </c:pt>
                <c:pt idx="18">
                  <c:v>1395.9426000000001</c:v>
                </c:pt>
                <c:pt idx="19">
                  <c:v>1316.502</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Ciboulette Echalote 1X120Gr 1P</c:v>
                  </c:pt>
                  <c:pt idx="8">
                    <c:v>Boursin Salade &amp; Aperitif Fromage Frais Des Citron Romarin 1X120Gr 1P</c:v>
                  </c:pt>
                  <c:pt idx="9">
                    <c:v>Boursin Classique Fromage Frais A Tartiner Poivre Boite 1X150Gr 1P</c:v>
                  </c:pt>
                  <c:pt idx="10">
                    <c:v>Boursin Classique Fromage Frais A Tartiner Afh Boite 1X96Gr 6P</c:v>
                  </c:pt>
                  <c:pt idx="11">
                    <c:v>Boursin Aperitif Roules Fromage Frais Roule Afh Et Jambon Fume Boite 1X100Gr 20P</c:v>
                  </c:pt>
                  <c:pt idx="12">
                    <c:v>Boursin Aperitif Roules Fromage Frais Roule Basilic &amp; Jambon Fume Tomate Boite 1X100Gr 20P</c:v>
                  </c:pt>
                  <c:pt idx="13">
                    <c:v>Boursin Classique Fromage Frais A Tartiner Afh 1X256Gr 16P</c:v>
                  </c:pt>
                  <c:pt idx="14">
                    <c:v>Boursin Classique Fromage Frais A Tartiner Ciboulette &amp; Echalote 1X160Gr 10P</c:v>
                  </c:pt>
                  <c:pt idx="15">
                    <c:v>Boursin Aperitif Roules Fromage Frais Roule Ciboulette &amp; Echalote Jambon Fume Boite 1X100Gr 20P</c:v>
                  </c:pt>
                  <c:pt idx="16">
                    <c:v>Boursin Classique Fromage Frais A Tartiner Afh Boite 1X250Gr 1P</c:v>
                  </c:pt>
                  <c:pt idx="17">
                    <c:v>Boursin Onctueux Fromage Frais A Tartiner Afh 1X125Gr 1P</c:v>
                  </c:pt>
                  <c:pt idx="18">
                    <c:v>Boursin Salade &amp; Aperitif Soft Cheese Salade 120G</c:v>
                  </c:pt>
                  <c:pt idx="19">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0220216-39D6-4E82-95A2-02A1F6C57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B07AC1C-55AF-44E3-B373-6846241DD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3660F5A-BF70-40C5-BAAD-2FFA25A8E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A8DBFBB-38A4-499D-A73A-B12C37F8C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8D5C8D7-E019-48CC-85EE-B06F737D6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8B10AE9-5B46-4DD8-8D48-37343D02C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153DD98-D97C-47A7-BF48-6FD9CEDFF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9760000000000001</c:v>
                </c:pt>
                <c:pt idx="1">
                  <c:v>0.30159999999999998</c:v>
                </c:pt>
                <c:pt idx="2">
                  <c:v>0.40649999999999997</c:v>
                </c:pt>
                <c:pt idx="3">
                  <c:v>0.39529999999999998</c:v>
                </c:pt>
                <c:pt idx="4">
                  <c:v>0.2487</c:v>
                </c:pt>
                <c:pt idx="5">
                  <c:v>0.34449999999999997</c:v>
                </c:pt>
                <c:pt idx="6">
                  <c:v>0.34870000000000001</c:v>
                </c:pt>
                <c:pt idx="7">
                  <c:v>0.32169999999999999</c:v>
                </c:pt>
                <c:pt idx="8">
                  <c:v>0.37290000000000001</c:v>
                </c:pt>
                <c:pt idx="9">
                  <c:v>0.33200000000000002</c:v>
                </c:pt>
              </c:numCache>
            </c:numRef>
          </c:xVal>
          <c:yVal>
            <c:numRef>
              <c:f>Sheet1!$B$2:$B$11</c:f>
              <c:numCache>
                <c:formatCode>General</c:formatCode>
                <c:ptCount val="10"/>
                <c:pt idx="0">
                  <c:v>18926.45669291338</c:v>
                </c:pt>
                <c:pt idx="1">
                  <c:v>10068.847087378639</c:v>
                </c:pt>
                <c:pt idx="2">
                  <c:v>2199.293333333334</c:v>
                </c:pt>
                <c:pt idx="3">
                  <c:v>2179.1176470588239</c:v>
                </c:pt>
                <c:pt idx="4">
                  <c:v>6343.0617977528091</c:v>
                </c:pt>
                <c:pt idx="5">
                  <c:v>11865.449949443881</c:v>
                </c:pt>
                <c:pt idx="6">
                  <c:v>1778.3163265306121</c:v>
                </c:pt>
                <c:pt idx="7">
                  <c:v>216.63291139240511</c:v>
                </c:pt>
                <c:pt idx="8">
                  <c:v>11603.780359028509</c:v>
                </c:pt>
                <c:pt idx="9">
                  <c:v>6342.166666666667</c:v>
                </c:pt>
              </c:numCache>
            </c:numRef>
          </c:yVal>
          <c:bubbleSize>
            <c:numRef>
              <c:f>Sheet1!$C$2:$C$11</c:f>
              <c:numCache>
                <c:formatCode>General</c:formatCode>
                <c:ptCount val="10"/>
                <c:pt idx="0">
                  <c:v>823427.75609999988</c:v>
                </c:pt>
                <c:pt idx="1">
                  <c:v>549238.52140000009</c:v>
                </c:pt>
                <c:pt idx="2">
                  <c:v>92796.757600000012</c:v>
                </c:pt>
                <c:pt idx="3">
                  <c:v>76442.335200000001</c:v>
                </c:pt>
                <c:pt idx="4">
                  <c:v>321620.14799999999</c:v>
                </c:pt>
                <c:pt idx="5">
                  <c:v>729116.22960000008</c:v>
                </c:pt>
                <c:pt idx="6">
                  <c:v>43037.490400000002</c:v>
                </c:pt>
                <c:pt idx="7">
                  <c:v>5501.8664000000008</c:v>
                </c:pt>
                <c:pt idx="8">
                  <c:v>653215.72479999985</c:v>
                </c:pt>
                <c:pt idx="9">
                  <c:v>289115.1395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4ED9ED5-0D01-463B-86C6-A856C8847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1180E4D-F1EC-4790-BCCD-75B7FAFB0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337CA8C-B434-4679-96AE-026FE1EAD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F1BAEE0-C134-46A2-B26F-5C278FCF3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77DAD42-4664-4B13-AA84-4E97B23B4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D9A35A4-96CE-4DA2-B46D-5378551C7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2A100ED-5CD8-4758-AF2E-8554AB0A1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2580000000000001</c:v>
                </c:pt>
                <c:pt idx="1">
                  <c:v>0.40760000000000002</c:v>
                </c:pt>
                <c:pt idx="2">
                  <c:v>0.25290000000000001</c:v>
                </c:pt>
                <c:pt idx="3">
                  <c:v>0.30990000000000001</c:v>
                </c:pt>
                <c:pt idx="4">
                  <c:v>0.3337</c:v>
                </c:pt>
                <c:pt idx="5">
                  <c:v>0.36580000000000001</c:v>
                </c:pt>
                <c:pt idx="6">
                  <c:v>0.40570000000000001</c:v>
                </c:pt>
                <c:pt idx="7">
                  <c:v>0.58560000000000001</c:v>
                </c:pt>
                <c:pt idx="8">
                  <c:v>0.4738</c:v>
                </c:pt>
                <c:pt idx="9">
                  <c:v>0.33339999999999997</c:v>
                </c:pt>
                <c:pt idx="10">
                  <c:v>0.32900000000000001</c:v>
                </c:pt>
              </c:numCache>
            </c:numRef>
          </c:xVal>
          <c:yVal>
            <c:numRef>
              <c:f>Sheet1!$B$2:$B$12</c:f>
              <c:numCache>
                <c:formatCode>General</c:formatCode>
                <c:ptCount val="11"/>
                <c:pt idx="0">
                  <c:v>2647.037037037037</c:v>
                </c:pt>
                <c:pt idx="1">
                  <c:v>15409.723926380369</c:v>
                </c:pt>
                <c:pt idx="2">
                  <c:v>8533.8912133891208</c:v>
                </c:pt>
                <c:pt idx="3">
                  <c:v>21776.25</c:v>
                </c:pt>
                <c:pt idx="4">
                  <c:v>20260.53482587064</c:v>
                </c:pt>
                <c:pt idx="5">
                  <c:v>1925.3319502074689</c:v>
                </c:pt>
                <c:pt idx="6">
                  <c:v>5208.3775811209434</c:v>
                </c:pt>
                <c:pt idx="7">
                  <c:v>9185</c:v>
                </c:pt>
                <c:pt idx="8">
                  <c:v>280.32258064516128</c:v>
                </c:pt>
                <c:pt idx="9">
                  <c:v>5863.0573951434872</c:v>
                </c:pt>
                <c:pt idx="10">
                  <c:v>2733.738095238095</c:v>
                </c:pt>
              </c:numCache>
            </c:numRef>
          </c:yVal>
          <c:bubbleSize>
            <c:numRef>
              <c:f>Sheet1!$C$2:$C$12</c:f>
              <c:numCache>
                <c:formatCode>General</c:formatCode>
                <c:ptCount val="11"/>
                <c:pt idx="0">
                  <c:v>3889.534900000001</c:v>
                </c:pt>
                <c:pt idx="1">
                  <c:v>846236.03999999992</c:v>
                </c:pt>
                <c:pt idx="2">
                  <c:v>433293.50400000002</c:v>
                </c:pt>
                <c:pt idx="3">
                  <c:v>1230767.2871999999</c:v>
                </c:pt>
                <c:pt idx="4">
                  <c:v>1028571.7537999999</c:v>
                </c:pt>
                <c:pt idx="5">
                  <c:v>55785.224399999999</c:v>
                </c:pt>
                <c:pt idx="6">
                  <c:v>198907.008</c:v>
                </c:pt>
                <c:pt idx="7">
                  <c:v>2886.078</c:v>
                </c:pt>
                <c:pt idx="8">
                  <c:v>2167.2575999999999</c:v>
                </c:pt>
                <c:pt idx="9">
                  <c:v>335628.37400000001</c:v>
                </c:pt>
                <c:pt idx="10">
                  <c:v>73020.837499999994</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35Gr 1P</c:v>
                  </c:pt>
                  <c:pt idx="8">
                    <c:v>La Vache Qui Rit Bio Fromage Fondu Boite Ronde 1X128Gr 8P</c:v>
                  </c:pt>
                  <c:pt idx="9">
                    <c:v>La Vache Qui Rit Pik Et Croq' Fromage Fondu Dips Boite 1X175Gr 5P</c:v>
                  </c:pt>
                  <c:pt idx="10">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0CF458B-8D9A-4CC5-885A-473275B3F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6CF4EF5-6DB7-4FE7-AA12-F1278F5F1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5FEF9B0-2107-4571-AF05-81D7D02C6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CA5B2D2-8C9E-4882-B574-7F36F8539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5E467D0-DC0B-478C-B349-7E6F6D06F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7ECDB69-5A0E-4A27-AC4E-0CA345EE9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AAF461A-6FFD-4D37-9B86-CB5E82BE6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0.3478</c:v>
                </c:pt>
                <c:pt idx="1">
                  <c:v>0.28489999999999999</c:v>
                </c:pt>
                <c:pt idx="2">
                  <c:v>0.3614</c:v>
                </c:pt>
                <c:pt idx="3">
                  <c:v>0.36880000000000002</c:v>
                </c:pt>
                <c:pt idx="4">
                  <c:v>0.3624</c:v>
                </c:pt>
                <c:pt idx="5">
                  <c:v>0.45269999999999999</c:v>
                </c:pt>
                <c:pt idx="6">
                  <c:v>0.47899999999999998</c:v>
                </c:pt>
                <c:pt idx="7">
                  <c:v>0.36649999999999999</c:v>
                </c:pt>
                <c:pt idx="8">
                  <c:v>0.46160000000000001</c:v>
                </c:pt>
                <c:pt idx="9">
                  <c:v>0.4204</c:v>
                </c:pt>
                <c:pt idx="10">
                  <c:v>0.40529999999999999</c:v>
                </c:pt>
                <c:pt idx="11">
                  <c:v>0.32529999999999998</c:v>
                </c:pt>
                <c:pt idx="12">
                  <c:v>0.35189999999999999</c:v>
                </c:pt>
                <c:pt idx="13">
                  <c:v>0.3715</c:v>
                </c:pt>
                <c:pt idx="14">
                  <c:v>0.2762</c:v>
                </c:pt>
                <c:pt idx="15">
                  <c:v>0.32869999999999999</c:v>
                </c:pt>
                <c:pt idx="16">
                  <c:v>0.38500000000000001</c:v>
                </c:pt>
                <c:pt idx="17">
                  <c:v>0.44579999999999997</c:v>
                </c:pt>
                <c:pt idx="18">
                  <c:v>0.3715</c:v>
                </c:pt>
              </c:numCache>
            </c:numRef>
          </c:xVal>
          <c:yVal>
            <c:numRef>
              <c:f>Sheet1!$B$2:$B$20</c:f>
              <c:numCache>
                <c:formatCode>General</c:formatCode>
                <c:ptCount val="19"/>
                <c:pt idx="0">
                  <c:v>8742.8128460686603</c:v>
                </c:pt>
                <c:pt idx="1">
                  <c:v>740.18229166666674</c:v>
                </c:pt>
                <c:pt idx="2">
                  <c:v>8760.7128099173551</c:v>
                </c:pt>
                <c:pt idx="3">
                  <c:v>2106.0050890585239</c:v>
                </c:pt>
                <c:pt idx="4">
                  <c:v>1995.714285714286</c:v>
                </c:pt>
                <c:pt idx="5">
                  <c:v>473.70588235294122</c:v>
                </c:pt>
                <c:pt idx="6">
                  <c:v>427.54166666666669</c:v>
                </c:pt>
                <c:pt idx="7">
                  <c:v>7666.3059313215408</c:v>
                </c:pt>
                <c:pt idx="8">
                  <c:v>2285.1702395964689</c:v>
                </c:pt>
                <c:pt idx="9">
                  <c:v>2175.770234986946</c:v>
                </c:pt>
                <c:pt idx="10">
                  <c:v>1434.985590778098</c:v>
                </c:pt>
                <c:pt idx="11">
                  <c:v>740.38251366120221</c:v>
                </c:pt>
                <c:pt idx="12">
                  <c:v>1422.8211586901759</c:v>
                </c:pt>
                <c:pt idx="13">
                  <c:v>3083.217391304348</c:v>
                </c:pt>
                <c:pt idx="14">
                  <c:v>1402.259414225942</c:v>
                </c:pt>
                <c:pt idx="15">
                  <c:v>6086.816479400748</c:v>
                </c:pt>
                <c:pt idx="16">
                  <c:v>2320.5897771952818</c:v>
                </c:pt>
                <c:pt idx="17">
                  <c:v>512.44525547445255</c:v>
                </c:pt>
                <c:pt idx="18">
                  <c:v>1512.0605187319891</c:v>
                </c:pt>
              </c:numCache>
            </c:numRef>
          </c:yVal>
          <c:bubbleSize>
            <c:numRef>
              <c:f>Sheet1!$C$2:$C$20</c:f>
              <c:numCache>
                <c:formatCode>General</c:formatCode>
                <c:ptCount val="19"/>
                <c:pt idx="0">
                  <c:v>488089.85969999997</c:v>
                </c:pt>
                <c:pt idx="1">
                  <c:v>19264.3325</c:v>
                </c:pt>
                <c:pt idx="2">
                  <c:v>513331.86839999992</c:v>
                </c:pt>
                <c:pt idx="3">
                  <c:v>99038.94</c:v>
                </c:pt>
                <c:pt idx="4">
                  <c:v>81048.707600000009</c:v>
                </c:pt>
                <c:pt idx="5">
                  <c:v>8354.5730999999996</c:v>
                </c:pt>
                <c:pt idx="6">
                  <c:v>5066.8152</c:v>
                </c:pt>
                <c:pt idx="7">
                  <c:v>442372.5882</c:v>
                </c:pt>
                <c:pt idx="8">
                  <c:v>92475.308799999999</c:v>
                </c:pt>
                <c:pt idx="9">
                  <c:v>91560.826499999996</c:v>
                </c:pt>
                <c:pt idx="10">
                  <c:v>56139.6077</c:v>
                </c:pt>
                <c:pt idx="11">
                  <c:v>17329.854599999999</c:v>
                </c:pt>
                <c:pt idx="12">
                  <c:v>34700.419800000003</c:v>
                </c:pt>
                <c:pt idx="13">
                  <c:v>147853.2156</c:v>
                </c:pt>
                <c:pt idx="14">
                  <c:v>22991.651699999999</c:v>
                </c:pt>
                <c:pt idx="15">
                  <c:v>310224.93550000002</c:v>
                </c:pt>
                <c:pt idx="16">
                  <c:v>103208.8308</c:v>
                </c:pt>
                <c:pt idx="17">
                  <c:v>7375.5604999999996</c:v>
                </c:pt>
                <c:pt idx="18">
                  <c:v>62509.884800000007</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Salade &amp; Aperitif Fromage Frais Des Afh 1X120Gr 1P</c:v>
                  </c:pt>
                  <c:pt idx="8">
                    <c:v>Boursin Salade &amp; Aperitif Fromage Frais Des Figue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Classique Fromage Frais A Tartiner Afh 1X256Gr 16P</c:v>
                  </c:pt>
                  <c:pt idx="15">
                    <c:v>Boursin Classique Fromage Frais A Tartiner Afh Boite 1X250Gr 1P</c:v>
                  </c:pt>
                  <c:pt idx="16">
                    <c:v>Boursin Onctueux Fromage Frais A Tartiner Afh 1X125Gr 1P</c:v>
                  </c:pt>
                  <c:pt idx="17">
                    <c:v>Boursin Onctueux Fromage Frais A Tartiner Afh 1X210Gr 1P</c:v>
                  </c:pt>
                  <c:pt idx="18">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AACDCD4-FFD8-41EC-9A8F-115ADAC8A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E47C6DA-AE13-4AE1-9A81-70DEAD845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DF864CA-12EF-4F66-AA41-8BCAA8054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9386895-C197-4FA6-AD39-4FB686CF6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2C43B9E-06FD-4D52-AF7A-F1BEF0942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C4331F5-EECC-478D-BCB5-8C6E3D757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6D54C83-A882-441C-8639-101876B52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34920000000000001</c:v>
                </c:pt>
                <c:pt idx="1">
                  <c:v>0.30590000000000001</c:v>
                </c:pt>
                <c:pt idx="2">
                  <c:v>0.46589999999999998</c:v>
                </c:pt>
                <c:pt idx="3">
                  <c:v>0.27979999999999999</c:v>
                </c:pt>
                <c:pt idx="4">
                  <c:v>0.32190000000000002</c:v>
                </c:pt>
                <c:pt idx="5">
                  <c:v>0.47699999999999998</c:v>
                </c:pt>
                <c:pt idx="6">
                  <c:v>0.35870000000000002</c:v>
                </c:pt>
                <c:pt idx="7">
                  <c:v>0.35970000000000002</c:v>
                </c:pt>
                <c:pt idx="8">
                  <c:v>0.49249999999999999</c:v>
                </c:pt>
              </c:numCache>
            </c:numRef>
          </c:xVal>
          <c:yVal>
            <c:numRef>
              <c:f>Sheet1!$B$2:$B$10</c:f>
              <c:numCache>
                <c:formatCode>General</c:formatCode>
                <c:ptCount val="9"/>
                <c:pt idx="0">
                  <c:v>10742.450175849939</c:v>
                </c:pt>
                <c:pt idx="1">
                  <c:v>11646.567317574511</c:v>
                </c:pt>
                <c:pt idx="2">
                  <c:v>2076.2514970059879</c:v>
                </c:pt>
                <c:pt idx="3">
                  <c:v>2973.1127450980389</c:v>
                </c:pt>
                <c:pt idx="4">
                  <c:v>6683.4521384928712</c:v>
                </c:pt>
                <c:pt idx="5">
                  <c:v>2049.083333333333</c:v>
                </c:pt>
                <c:pt idx="6">
                  <c:v>6589.0899795501027</c:v>
                </c:pt>
                <c:pt idx="7">
                  <c:v>8525.8127018299238</c:v>
                </c:pt>
                <c:pt idx="8">
                  <c:v>1197.900552486188</c:v>
                </c:pt>
              </c:numCache>
            </c:numRef>
          </c:yVal>
          <c:bubbleSize>
            <c:numRef>
              <c:f>Sheet1!$C$2:$C$10</c:f>
              <c:numCache>
                <c:formatCode>General</c:formatCode>
                <c:ptCount val="9"/>
                <c:pt idx="0">
                  <c:v>565301.65779999993</c:v>
                </c:pt>
                <c:pt idx="1">
                  <c:v>745588.13170000003</c:v>
                </c:pt>
                <c:pt idx="2">
                  <c:v>87767.423200000005</c:v>
                </c:pt>
                <c:pt idx="3">
                  <c:v>165609.193</c:v>
                </c:pt>
                <c:pt idx="4">
                  <c:v>421827.73999999987</c:v>
                </c:pt>
                <c:pt idx="5">
                  <c:v>60948.513500000008</c:v>
                </c:pt>
                <c:pt idx="6">
                  <c:v>391727.74859999999</c:v>
                </c:pt>
                <c:pt idx="7">
                  <c:v>480680.67700000003</c:v>
                </c:pt>
                <c:pt idx="8">
                  <c:v>31288.9553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C5F41B3-BBE7-4218-A9A3-BE751234B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654CC85-A72B-4A2D-84D3-1254AA010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E16448C-43B6-4CE5-BEB2-2A6203F22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88E5FAE-8995-4887-AB73-385D269DA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B890583-6C9F-4345-BC23-D6C1B7509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25A60F3-DBB1-4CEE-9D00-D63C88936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1C0562B-E60D-455C-860B-1644EF1F3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7799999999999996</c:v>
                </c:pt>
                <c:pt idx="1">
                  <c:v>0.39800000000000002</c:v>
                </c:pt>
                <c:pt idx="2">
                  <c:v>0.36180000000000001</c:v>
                </c:pt>
                <c:pt idx="3">
                  <c:v>0.35049999999999998</c:v>
                </c:pt>
                <c:pt idx="4">
                  <c:v>0.45760000000000001</c:v>
                </c:pt>
                <c:pt idx="5">
                  <c:v>0.44950000000000001</c:v>
                </c:pt>
                <c:pt idx="6">
                  <c:v>0.48909999999999998</c:v>
                </c:pt>
              </c:numCache>
            </c:numRef>
          </c:xVal>
          <c:yVal>
            <c:numRef>
              <c:f>Sheet1!$B$2:$B$8</c:f>
              <c:numCache>
                <c:formatCode>General</c:formatCode>
                <c:ptCount val="7"/>
                <c:pt idx="0">
                  <c:v>1869.2</c:v>
                </c:pt>
                <c:pt idx="1">
                  <c:v>14897.11847389558</c:v>
                </c:pt>
                <c:pt idx="2">
                  <c:v>15633.44349680171</c:v>
                </c:pt>
                <c:pt idx="3">
                  <c:v>17717.165605095539</c:v>
                </c:pt>
                <c:pt idx="4">
                  <c:v>2684.6153846153838</c:v>
                </c:pt>
                <c:pt idx="5">
                  <c:v>3923.6081370449679</c:v>
                </c:pt>
                <c:pt idx="6">
                  <c:v>4178.3477188655979</c:v>
                </c:pt>
              </c:numCache>
            </c:numRef>
          </c:yVal>
          <c:bubbleSize>
            <c:numRef>
              <c:f>Sheet1!$C$2:$C$8</c:f>
              <c:numCache>
                <c:formatCode>General</c:formatCode>
                <c:ptCount val="7"/>
                <c:pt idx="0">
                  <c:v>46729.859799999998</c:v>
                </c:pt>
                <c:pt idx="1">
                  <c:v>846615.50340000005</c:v>
                </c:pt>
                <c:pt idx="2">
                  <c:v>887062.91590000014</c:v>
                </c:pt>
                <c:pt idx="3">
                  <c:v>1027438.6584</c:v>
                </c:pt>
                <c:pt idx="4">
                  <c:v>111248.41740000001</c:v>
                </c:pt>
                <c:pt idx="5">
                  <c:v>191192.29300000001</c:v>
                </c:pt>
                <c:pt idx="6">
                  <c:v>164092.8708</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C95EA38-F365-4D1B-A749-9BD9A8FC0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CB0279C-91C8-47E8-9211-F754788D6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31F03DB-8A41-478D-AD91-2C323230B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EB8618A-02C6-4445-ADCB-CED4B757F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F7192D6-1720-4963-B5AF-D1708CB66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E4CC1D1-D3E4-4982-BCC7-89274710D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3450029-D974-42F2-994A-87AD41795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35610000000000003</c:v>
                </c:pt>
                <c:pt idx="1">
                  <c:v>0.34189999999999998</c:v>
                </c:pt>
                <c:pt idx="2">
                  <c:v>0.45</c:v>
                </c:pt>
                <c:pt idx="3">
                  <c:v>0.43980000000000002</c:v>
                </c:pt>
                <c:pt idx="4">
                  <c:v>0.45379999999999998</c:v>
                </c:pt>
                <c:pt idx="5">
                  <c:v>0.36959999999999998</c:v>
                </c:pt>
                <c:pt idx="6">
                  <c:v>0.4234</c:v>
                </c:pt>
                <c:pt idx="7">
                  <c:v>0.53500000000000003</c:v>
                </c:pt>
                <c:pt idx="8">
                  <c:v>0.42670000000000002</c:v>
                </c:pt>
                <c:pt idx="9">
                  <c:v>0.42020000000000002</c:v>
                </c:pt>
                <c:pt idx="10">
                  <c:v>0.38869999999999999</c:v>
                </c:pt>
                <c:pt idx="11">
                  <c:v>0.45639999999999997</c:v>
                </c:pt>
                <c:pt idx="12">
                  <c:v>0.38</c:v>
                </c:pt>
                <c:pt idx="13">
                  <c:v>0.50380000000000003</c:v>
                </c:pt>
                <c:pt idx="14">
                  <c:v>0.47799999999999998</c:v>
                </c:pt>
              </c:numCache>
            </c:numRef>
          </c:xVal>
          <c:yVal>
            <c:numRef>
              <c:f>Sheet1!$B$2:$B$16</c:f>
              <c:numCache>
                <c:formatCode>General</c:formatCode>
                <c:ptCount val="15"/>
                <c:pt idx="0">
                  <c:v>7033.319713993872</c:v>
                </c:pt>
                <c:pt idx="1">
                  <c:v>5921.2776659959754</c:v>
                </c:pt>
                <c:pt idx="2">
                  <c:v>2224.359788359789</c:v>
                </c:pt>
                <c:pt idx="3">
                  <c:v>2554.8668796592119</c:v>
                </c:pt>
                <c:pt idx="4">
                  <c:v>4517.4404145077724</c:v>
                </c:pt>
                <c:pt idx="5">
                  <c:v>1450.292397660819</c:v>
                </c:pt>
                <c:pt idx="6">
                  <c:v>1900.255785627284</c:v>
                </c:pt>
                <c:pt idx="7">
                  <c:v>919.7538461538461</c:v>
                </c:pt>
                <c:pt idx="8">
                  <c:v>1929.78622327791</c:v>
                </c:pt>
                <c:pt idx="9">
                  <c:v>2748.5147392290251</c:v>
                </c:pt>
                <c:pt idx="10">
                  <c:v>2040.9308176100631</c:v>
                </c:pt>
                <c:pt idx="11">
                  <c:v>1647.394014962593</c:v>
                </c:pt>
                <c:pt idx="12">
                  <c:v>7439.1675338189389</c:v>
                </c:pt>
                <c:pt idx="13">
                  <c:v>3427.201257861635</c:v>
                </c:pt>
                <c:pt idx="14">
                  <c:v>1116.6990291262141</c:v>
                </c:pt>
              </c:numCache>
            </c:numRef>
          </c:yVal>
          <c:bubbleSize>
            <c:numRef>
              <c:f>Sheet1!$C$2:$C$16</c:f>
              <c:numCache>
                <c:formatCode>General</c:formatCode>
                <c:ptCount val="15"/>
                <c:pt idx="0">
                  <c:v>420188.06489999988</c:v>
                </c:pt>
                <c:pt idx="1">
                  <c:v>367128.10499999998</c:v>
                </c:pt>
                <c:pt idx="2">
                  <c:v>109593.68</c:v>
                </c:pt>
                <c:pt idx="3">
                  <c:v>127395.8285</c:v>
                </c:pt>
                <c:pt idx="4">
                  <c:v>225695.9712</c:v>
                </c:pt>
                <c:pt idx="5">
                  <c:v>44456.160000000003</c:v>
                </c:pt>
                <c:pt idx="6">
                  <c:v>85260.665099999984</c:v>
                </c:pt>
                <c:pt idx="7">
                  <c:v>26352.17909999999</c:v>
                </c:pt>
                <c:pt idx="8">
                  <c:v>88297.983399999997</c:v>
                </c:pt>
                <c:pt idx="9">
                  <c:v>133230.94289999999</c:v>
                </c:pt>
                <c:pt idx="10">
                  <c:v>94014.723599999983</c:v>
                </c:pt>
                <c:pt idx="11">
                  <c:v>68079.811799999996</c:v>
                </c:pt>
                <c:pt idx="12">
                  <c:v>420137.65220000001</c:v>
                </c:pt>
                <c:pt idx="13">
                  <c:v>153786.6434</c:v>
                </c:pt>
                <c:pt idx="14">
                  <c:v>22765.070899999999</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Salade &amp; Aperitif Fromage Frais Des Afh 1X120Gr 1P</c:v>
                  </c:pt>
                  <c:pt idx="5">
                    <c:v>Boursin Salade &amp; Aperitif Fromage Frais Des Figue Noix 1X120Gr 1P</c:v>
                  </c:pt>
                  <c:pt idx="6">
                    <c:v>Boursin Salade &amp; Aperitif Fromage Frais Des Ciboulette Echalote 1X120Gr 1P</c:v>
                  </c:pt>
                  <c:pt idx="7">
                    <c:v>Boursin Salade &amp; Aperitif Fromage Frais Des Citron Romarin 1X12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Ciboulette &amp; Echalote 1X160Gr 10P</c:v>
                  </c:pt>
                  <c:pt idx="12">
                    <c:v>Boursin Classique Fromage Frais A Tartiner Afh Boite 1X250Gr 1P</c:v>
                  </c:pt>
                  <c:pt idx="13">
                    <c:v>Boursin Onctueux Fromage Frais A Tartiner Afh 1X125Gr 1P</c:v>
                  </c:pt>
                  <c:pt idx="14">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33A40CD-8AFB-4E94-9E40-33D7F30D5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1BF6D3-820A-42E6-A9B5-D40DF149B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7E168E0-5BD5-4694-B9A3-A61A9A6F8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2EE2BB2-625C-4BC9-865B-DD7A1B09D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C7A7BC4-D982-4752-A3F3-78CD5BCB4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F5F4285-C2AA-4B00-8943-8AA6FD71D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69A316B-9110-4015-BD75-F58B6B9FC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8979999999999998</c:v>
                </c:pt>
                <c:pt idx="1">
                  <c:v>0.29809999999999998</c:v>
                </c:pt>
                <c:pt idx="2">
                  <c:v>0.33429999999999999</c:v>
                </c:pt>
                <c:pt idx="3">
                  <c:v>0.39190000000000003</c:v>
                </c:pt>
                <c:pt idx="4">
                  <c:v>0.24060000000000001</c:v>
                </c:pt>
                <c:pt idx="5">
                  <c:v>0.28129999999999999</c:v>
                </c:pt>
                <c:pt idx="6">
                  <c:v>0.34410000000000002</c:v>
                </c:pt>
                <c:pt idx="7">
                  <c:v>0.34560000000000002</c:v>
                </c:pt>
                <c:pt idx="8">
                  <c:v>0.28120000000000001</c:v>
                </c:pt>
                <c:pt idx="9">
                  <c:v>0.32550000000000001</c:v>
                </c:pt>
              </c:numCache>
            </c:numRef>
          </c:xVal>
          <c:yVal>
            <c:numRef>
              <c:f>Sheet1!$B$2:$B$11</c:f>
              <c:numCache>
                <c:formatCode>General</c:formatCode>
                <c:ptCount val="10"/>
                <c:pt idx="0">
                  <c:v>10212.9387755102</c:v>
                </c:pt>
                <c:pt idx="1">
                  <c:v>4088.83</c:v>
                </c:pt>
                <c:pt idx="2">
                  <c:v>546.86734693877554</c:v>
                </c:pt>
                <c:pt idx="3">
                  <c:v>990.13541666666663</c:v>
                </c:pt>
                <c:pt idx="4">
                  <c:v>3115.632653061225</c:v>
                </c:pt>
                <c:pt idx="5">
                  <c:v>2686.48</c:v>
                </c:pt>
                <c:pt idx="6">
                  <c:v>539.16666666666663</c:v>
                </c:pt>
                <c:pt idx="7">
                  <c:v>60.053571428571423</c:v>
                </c:pt>
                <c:pt idx="8">
                  <c:v>5346.67</c:v>
                </c:pt>
                <c:pt idx="9">
                  <c:v>2553.7346938775509</c:v>
                </c:pt>
              </c:numCache>
            </c:numRef>
          </c:yVal>
          <c:bubbleSize>
            <c:numRef>
              <c:f>Sheet1!$C$2:$C$11</c:f>
              <c:numCache>
                <c:formatCode>General</c:formatCode>
                <c:ptCount val="10"/>
                <c:pt idx="0">
                  <c:v>578870.25989999995</c:v>
                </c:pt>
                <c:pt idx="1">
                  <c:v>272050.62839999999</c:v>
                </c:pt>
                <c:pt idx="2">
                  <c:v>33818.056600000004</c:v>
                </c:pt>
                <c:pt idx="3">
                  <c:v>54786.758399999999</c:v>
                </c:pt>
                <c:pt idx="4">
                  <c:v>219771.3</c:v>
                </c:pt>
                <c:pt idx="5">
                  <c:v>183002.0808</c:v>
                </c:pt>
                <c:pt idx="6">
                  <c:v>18100.8024</c:v>
                </c:pt>
                <c:pt idx="7">
                  <c:v>2086.1754000000001</c:v>
                </c:pt>
                <c:pt idx="8">
                  <c:v>364262.10820000002</c:v>
                </c:pt>
                <c:pt idx="9">
                  <c:v>160006.31280000001</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0D7AA83-BB06-4F42-A561-6E5EDD21A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B576B77-96F2-49C0-8324-1E87E1818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6898443-6619-4AA6-8F50-A05F04D3F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6090220-A470-4423-83CC-31EE3B65D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495D992-EEE9-41B1-A6AA-031E010F1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C01B58A-9BEA-40F1-8FBF-57BAFF270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5B16CF6-DB87-4F56-A60E-23AF3956F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42580000000000001</c:v>
                </c:pt>
                <c:pt idx="1">
                  <c:v>0.35930000000000001</c:v>
                </c:pt>
                <c:pt idx="2">
                  <c:v>0.25569999999999998</c:v>
                </c:pt>
                <c:pt idx="3">
                  <c:v>0.26960000000000001</c:v>
                </c:pt>
                <c:pt idx="4">
                  <c:v>0.32369999999999999</c:v>
                </c:pt>
                <c:pt idx="5">
                  <c:v>0.36499999999999999</c:v>
                </c:pt>
                <c:pt idx="6">
                  <c:v>0.40079999999999999</c:v>
                </c:pt>
                <c:pt idx="7">
                  <c:v>0.223</c:v>
                </c:pt>
                <c:pt idx="8">
                  <c:v>0.3291</c:v>
                </c:pt>
              </c:numCache>
            </c:numRef>
          </c:xVal>
          <c:yVal>
            <c:numRef>
              <c:f>Sheet1!$B$2:$B$10</c:f>
              <c:numCache>
                <c:formatCode>General</c:formatCode>
                <c:ptCount val="9"/>
                <c:pt idx="0">
                  <c:v>1191.166666666667</c:v>
                </c:pt>
                <c:pt idx="1">
                  <c:v>3914.84</c:v>
                </c:pt>
                <c:pt idx="2">
                  <c:v>3306.7741935483868</c:v>
                </c:pt>
                <c:pt idx="3">
                  <c:v>11075.163265306121</c:v>
                </c:pt>
                <c:pt idx="4">
                  <c:v>11052.41836734694</c:v>
                </c:pt>
                <c:pt idx="5">
                  <c:v>806.53571428571433</c:v>
                </c:pt>
                <c:pt idx="6">
                  <c:v>1987.6236559139779</c:v>
                </c:pt>
                <c:pt idx="7">
                  <c:v>2411.19</c:v>
                </c:pt>
                <c:pt idx="8">
                  <c:v>1229.2688172043011</c:v>
                </c:pt>
              </c:numCache>
            </c:numRef>
          </c:yVal>
          <c:bubbleSize>
            <c:numRef>
              <c:f>Sheet1!$C$2:$C$10</c:f>
              <c:numCache>
                <c:formatCode>General</c:formatCode>
                <c:ptCount val="9"/>
                <c:pt idx="0">
                  <c:v>3889.534900000001</c:v>
                </c:pt>
                <c:pt idx="1">
                  <c:v>237742.44</c:v>
                </c:pt>
                <c:pt idx="2">
                  <c:v>216946.611</c:v>
                </c:pt>
                <c:pt idx="3">
                  <c:v>751445.16359999997</c:v>
                </c:pt>
                <c:pt idx="4">
                  <c:v>694359.92899999989</c:v>
                </c:pt>
                <c:pt idx="5">
                  <c:v>40778.109600000003</c:v>
                </c:pt>
                <c:pt idx="6">
                  <c:v>104988.6</c:v>
                </c:pt>
                <c:pt idx="7">
                  <c:v>177587</c:v>
                </c:pt>
                <c:pt idx="8">
                  <c:v>72704.710000000006</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175Gr 5P</c:v>
                  </c:pt>
                  <c:pt idx="8">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A4486BE-CDAC-4C38-9FC6-ADAC26FBC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E7D1ED0-E49C-4A3A-954B-0209960CB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46A0397-0249-4927-A1B6-B9F54B417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2687D9F-9AF5-4BAC-B950-CA7853A96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A969ACF-27B1-452B-ACFF-33BDBD2D9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72CEF4C-417C-42B5-813B-C1C131DD0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4902C46-B425-4A7E-B31F-47FB141C9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0.3241</c:v>
                </c:pt>
                <c:pt idx="1">
                  <c:v>0.28520000000000001</c:v>
                </c:pt>
                <c:pt idx="2">
                  <c:v>0.30170000000000002</c:v>
                </c:pt>
                <c:pt idx="3">
                  <c:v>0.34739999999999999</c:v>
                </c:pt>
                <c:pt idx="4">
                  <c:v>0.35899999999999999</c:v>
                </c:pt>
                <c:pt idx="5">
                  <c:v>0.42899999999999999</c:v>
                </c:pt>
                <c:pt idx="6">
                  <c:v>0.46479999999999999</c:v>
                </c:pt>
                <c:pt idx="7">
                  <c:v>0.31480000000000002</c:v>
                </c:pt>
                <c:pt idx="8">
                  <c:v>0.4864</c:v>
                </c:pt>
                <c:pt idx="9">
                  <c:v>0.45519999999999999</c:v>
                </c:pt>
                <c:pt idx="10">
                  <c:v>0.39090000000000003</c:v>
                </c:pt>
                <c:pt idx="11">
                  <c:v>0.2949</c:v>
                </c:pt>
                <c:pt idx="12">
                  <c:v>0.35189999999999999</c:v>
                </c:pt>
                <c:pt idx="13">
                  <c:v>0.36070000000000002</c:v>
                </c:pt>
                <c:pt idx="14">
                  <c:v>0.2762</c:v>
                </c:pt>
                <c:pt idx="15">
                  <c:v>0.32169999999999999</c:v>
                </c:pt>
                <c:pt idx="16">
                  <c:v>0.38100000000000001</c:v>
                </c:pt>
                <c:pt idx="17">
                  <c:v>0.44769999999999999</c:v>
                </c:pt>
                <c:pt idx="18">
                  <c:v>0.35859999999999997</c:v>
                </c:pt>
              </c:numCache>
            </c:numRef>
          </c:xVal>
          <c:yVal>
            <c:numRef>
              <c:f>Sheet1!$B$2:$B$20</c:f>
              <c:numCache>
                <c:formatCode>General</c:formatCode>
                <c:ptCount val="19"/>
                <c:pt idx="0">
                  <c:v>3178.1</c:v>
                </c:pt>
                <c:pt idx="1">
                  <c:v>333.52941176470591</c:v>
                </c:pt>
                <c:pt idx="2">
                  <c:v>2173.81</c:v>
                </c:pt>
                <c:pt idx="3">
                  <c:v>746.80412371134025</c:v>
                </c:pt>
                <c:pt idx="4">
                  <c:v>805.01063829787233</c:v>
                </c:pt>
                <c:pt idx="5">
                  <c:v>181.56716417910451</c:v>
                </c:pt>
                <c:pt idx="6">
                  <c:v>156.61224489795919</c:v>
                </c:pt>
                <c:pt idx="7">
                  <c:v>2202.34</c:v>
                </c:pt>
                <c:pt idx="8">
                  <c:v>790.64646464646466</c:v>
                </c:pt>
                <c:pt idx="9">
                  <c:v>1044.9292929292931</c:v>
                </c:pt>
                <c:pt idx="10">
                  <c:v>477.22580645161293</c:v>
                </c:pt>
                <c:pt idx="11">
                  <c:v>280.87012987012992</c:v>
                </c:pt>
                <c:pt idx="12">
                  <c:v>641.88636363636363</c:v>
                </c:pt>
                <c:pt idx="13">
                  <c:v>1073.17</c:v>
                </c:pt>
                <c:pt idx="14">
                  <c:v>632.33962264150944</c:v>
                </c:pt>
                <c:pt idx="15">
                  <c:v>2485.17</c:v>
                </c:pt>
                <c:pt idx="16">
                  <c:v>745.38383838383834</c:v>
                </c:pt>
                <c:pt idx="17">
                  <c:v>219.9491525423729</c:v>
                </c:pt>
                <c:pt idx="18">
                  <c:v>518.86170212765956</c:v>
                </c:pt>
              </c:numCache>
            </c:numRef>
          </c:yVal>
          <c:bubbleSize>
            <c:numRef>
              <c:f>Sheet1!$C$2:$C$20</c:f>
              <c:numCache>
                <c:formatCode>General</c:formatCode>
                <c:ptCount val="19"/>
                <c:pt idx="0">
                  <c:v>203609.8308</c:v>
                </c:pt>
                <c:pt idx="1">
                  <c:v>19208.837500000001</c:v>
                </c:pt>
                <c:pt idx="2">
                  <c:v>143874.3254</c:v>
                </c:pt>
                <c:pt idx="3">
                  <c:v>44811.284000000007</c:v>
                </c:pt>
                <c:pt idx="4">
                  <c:v>45977.733800000002</c:v>
                </c:pt>
                <c:pt idx="5">
                  <c:v>6584.1922000000004</c:v>
                </c:pt>
                <c:pt idx="6">
                  <c:v>3893.0088000000001</c:v>
                </c:pt>
                <c:pt idx="7">
                  <c:v>143034.28020000001</c:v>
                </c:pt>
                <c:pt idx="8">
                  <c:v>38107.283199999998</c:v>
                </c:pt>
                <c:pt idx="9">
                  <c:v>53421.076500000003</c:v>
                </c:pt>
                <c:pt idx="10">
                  <c:v>25623.770700000001</c:v>
                </c:pt>
                <c:pt idx="11">
                  <c:v>14453.8038</c:v>
                </c:pt>
                <c:pt idx="12">
                  <c:v>34700.419800000003</c:v>
                </c:pt>
                <c:pt idx="13">
                  <c:v>65034.166400000002</c:v>
                </c:pt>
                <c:pt idx="14">
                  <c:v>22991.651699999999</c:v>
                </c:pt>
                <c:pt idx="15">
                  <c:v>159788.61799999999</c:v>
                </c:pt>
                <c:pt idx="16">
                  <c:v>43296.037199999999</c:v>
                </c:pt>
                <c:pt idx="17">
                  <c:v>6793.1632999999993</c:v>
                </c:pt>
                <c:pt idx="18">
                  <c:v>29652.6384</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Salade &amp; Aperitif Fromage Frais Des Afh 1X120Gr 1P</c:v>
                  </c:pt>
                  <c:pt idx="8">
                    <c:v>Boursin Salade &amp; Aperitif Fromage Frais Des Figue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Classique Fromage Frais A Tartiner Afh 1X256Gr 16P</c:v>
                  </c:pt>
                  <c:pt idx="15">
                    <c:v>Boursin Classique Fromage Frais A Tartiner Afh Boite 1X250Gr 1P</c:v>
                  </c:pt>
                  <c:pt idx="16">
                    <c:v>Boursin Onctueux Fromage Frais A Tartiner Afh 1X125Gr 1P</c:v>
                  </c:pt>
                  <c:pt idx="17">
                    <c:v>Boursin Onctueux Fromage Frais A Tartiner Afh 1X210Gr 1P</c:v>
                  </c:pt>
                  <c:pt idx="18">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27875153603401298</c:v>
                </c:pt>
                <c:pt idx="1">
                  <c:v>0.27578861393194892</c:v>
                </c:pt>
                <c:pt idx="2">
                  <c:v>0.22845662287914417</c:v>
                </c:pt>
                <c:pt idx="3">
                  <c:v>0.10358334814043174</c:v>
                </c:pt>
                <c:pt idx="4">
                  <c:v>9.5725379179225134E-2</c:v>
                </c:pt>
                <c:pt idx="5">
                  <c:v>1.7640743555211277E-2</c:v>
                </c:pt>
                <c:pt idx="6">
                  <c:v>5.3756280025725276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9577640786404535</c:v>
                </c:pt>
                <c:pt idx="1">
                  <c:v>0.25537320893035659</c:v>
                </c:pt>
                <c:pt idx="2">
                  <c:v>0.25883038987004325</c:v>
                </c:pt>
                <c:pt idx="3">
                  <c:v>0</c:v>
                </c:pt>
                <c:pt idx="4">
                  <c:v>0.12170943018993668</c:v>
                </c:pt>
                <c:pt idx="5">
                  <c:v>6.8102299233588806E-2</c:v>
                </c:pt>
                <c:pt idx="6">
                  <c:v>2.0826391202932357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106.1075436829001</c:v>
                </c:pt>
                <c:pt idx="1">
                  <c:v>92.597444575202857</c:v>
                </c:pt>
                <c:pt idx="2">
                  <c:v>113.2952009042728</c:v>
                </c:pt>
                <c:pt idx="3">
                  <c:v>1</c:v>
                </c:pt>
                <c:pt idx="4">
                  <c:v>127.14436989804136</c:v>
                </c:pt>
                <c:pt idx="5">
                  <c:v>386.05118327606215</c:v>
                </c:pt>
                <c:pt idx="6">
                  <c:v>387.422477763822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1B667D1-7E64-4650-AAB3-CF3A4930F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F454F77-5448-4ABE-8786-7C79B8C45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521625F-C076-4B16-AEE8-1A89F3B3C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3C17DD2-593C-44CF-8C75-49074412C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DF8C1A5-1141-492D-8A3B-65665A565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C1BDB00-7DB3-43EF-8770-69FA458A5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D87DB0B-3E0C-44A1-AB08-C6020E837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1539999999999999</c:v>
                </c:pt>
                <c:pt idx="1">
                  <c:v>0.30370000000000003</c:v>
                </c:pt>
                <c:pt idx="2">
                  <c:v>0.39269999999999999</c:v>
                </c:pt>
                <c:pt idx="3">
                  <c:v>0.40360000000000001</c:v>
                </c:pt>
                <c:pt idx="4">
                  <c:v>0.26550000000000001</c:v>
                </c:pt>
                <c:pt idx="5">
                  <c:v>0.27829999999999999</c:v>
                </c:pt>
                <c:pt idx="6">
                  <c:v>0.35189999999999999</c:v>
                </c:pt>
                <c:pt idx="7">
                  <c:v>0.26650000000000001</c:v>
                </c:pt>
                <c:pt idx="8">
                  <c:v>0.4163</c:v>
                </c:pt>
                <c:pt idx="9">
                  <c:v>0.33839999999999998</c:v>
                </c:pt>
              </c:numCache>
            </c:numRef>
          </c:xVal>
          <c:yVal>
            <c:numRef>
              <c:f>Sheet1!$B$2:$B$11</c:f>
              <c:numCache>
                <c:formatCode>General</c:formatCode>
                <c:ptCount val="10"/>
                <c:pt idx="0">
                  <c:v>5252.7023809523807</c:v>
                </c:pt>
                <c:pt idx="1">
                  <c:v>4246.7938144329901</c:v>
                </c:pt>
                <c:pt idx="2">
                  <c:v>676.1578947368422</c:v>
                </c:pt>
                <c:pt idx="3">
                  <c:v>815.08510638297878</c:v>
                </c:pt>
                <c:pt idx="4">
                  <c:v>2060.4788732394368</c:v>
                </c:pt>
                <c:pt idx="5">
                  <c:v>3152.0707070707072</c:v>
                </c:pt>
                <c:pt idx="6">
                  <c:v>1040.897435897436</c:v>
                </c:pt>
                <c:pt idx="7">
                  <c:v>105.2121212121212</c:v>
                </c:pt>
                <c:pt idx="8">
                  <c:v>3133.424242424242</c:v>
                </c:pt>
                <c:pt idx="9">
                  <c:v>2791.8194444444439</c:v>
                </c:pt>
              </c:numCache>
            </c:numRef>
          </c:yVal>
          <c:bubbleSize>
            <c:numRef>
              <c:f>Sheet1!$C$2:$C$11</c:f>
              <c:numCache>
                <c:formatCode>General</c:formatCode>
                <c:ptCount val="10"/>
                <c:pt idx="0">
                  <c:v>244511.87400000001</c:v>
                </c:pt>
                <c:pt idx="1">
                  <c:v>271889.77860000002</c:v>
                </c:pt>
                <c:pt idx="2">
                  <c:v>22184.3776</c:v>
                </c:pt>
                <c:pt idx="3">
                  <c:v>21655.576799999999</c:v>
                </c:pt>
                <c:pt idx="4">
                  <c:v>101848.848</c:v>
                </c:pt>
                <c:pt idx="5">
                  <c:v>213476.2311</c:v>
                </c:pt>
                <c:pt idx="6">
                  <c:v>24936.687999999998</c:v>
                </c:pt>
                <c:pt idx="7">
                  <c:v>2413.9591999999998</c:v>
                </c:pt>
                <c:pt idx="8">
                  <c:v>171614.7591</c:v>
                </c:pt>
                <c:pt idx="9">
                  <c:v>126058.0727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55B2C83-7B41-4D52-92CA-EFDFF7C12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BB1124E-BF53-4C15-9278-7FE9F00A9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9664127-96E6-4376-8ADF-F632474E1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4596E50-7AE5-4D3F-B557-60DEB7227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9051888-5164-4F5C-856F-6B05CF8DB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D7C46DA-4778-4CB0-B30C-33C07E205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64B3979-527D-49CC-B321-00C65C5F0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765</c:v>
                </c:pt>
                <c:pt idx="1">
                  <c:v>0.25</c:v>
                </c:pt>
                <c:pt idx="2">
                  <c:v>0.32650000000000001</c:v>
                </c:pt>
                <c:pt idx="3">
                  <c:v>0.35310000000000002</c:v>
                </c:pt>
                <c:pt idx="4">
                  <c:v>0.36780000000000002</c:v>
                </c:pt>
                <c:pt idx="5">
                  <c:v>0.40189999999999998</c:v>
                </c:pt>
                <c:pt idx="6">
                  <c:v>0.3841</c:v>
                </c:pt>
              </c:numCache>
            </c:numRef>
          </c:xVal>
          <c:yVal>
            <c:numRef>
              <c:f>Sheet1!$B$2:$B$8</c:f>
              <c:numCache>
                <c:formatCode>General</c:formatCode>
                <c:ptCount val="7"/>
                <c:pt idx="0">
                  <c:v>4486.8686868686873</c:v>
                </c:pt>
                <c:pt idx="1">
                  <c:v>3901.6923076923081</c:v>
                </c:pt>
                <c:pt idx="2">
                  <c:v>5295.4395604395604</c:v>
                </c:pt>
                <c:pt idx="3">
                  <c:v>5730.8315789473681</c:v>
                </c:pt>
                <c:pt idx="4">
                  <c:v>926.59259259259261</c:v>
                </c:pt>
                <c:pt idx="5">
                  <c:v>2246.375</c:v>
                </c:pt>
                <c:pt idx="6">
                  <c:v>1662.4948453608249</c:v>
                </c:pt>
              </c:numCache>
            </c:numRef>
          </c:yVal>
          <c:bubbleSize>
            <c:numRef>
              <c:f>Sheet1!$C$2:$C$8</c:f>
              <c:numCache>
                <c:formatCode>General</c:formatCode>
                <c:ptCount val="7"/>
                <c:pt idx="0">
                  <c:v>262527.71999999997</c:v>
                </c:pt>
                <c:pt idx="1">
                  <c:v>216338.64</c:v>
                </c:pt>
                <c:pt idx="2">
                  <c:v>307633.60200000001</c:v>
                </c:pt>
                <c:pt idx="3">
                  <c:v>333576.64069999999</c:v>
                </c:pt>
                <c:pt idx="4">
                  <c:v>14992.007600000001</c:v>
                </c:pt>
                <c:pt idx="5">
                  <c:v>81508.151999999987</c:v>
                </c:pt>
                <c:pt idx="6">
                  <c:v>94145.98599999999</c:v>
                </c:pt>
              </c:numCache>
            </c:numRef>
          </c:bubbleSize>
          <c:bubble3D val="0"/>
          <c:extLst>
            <c:ext xmlns:c15="http://schemas.microsoft.com/office/drawing/2012/chart" uri="{02D57815-91ED-43cb-92C2-25804820EDAC}">
              <c15:datalabelsRange>
                <c15:f>Sheet1!$E$2:$E$50</c15:f>
                <c15:dlblRangeCache>
                  <c:ptCount val="49"/>
                  <c:pt idx="0">
                    <c:v>La Vache Qui Rit Nature Fromage Fondu Boite Ronde 1X192Gr 12P</c:v>
                  </c:pt>
                  <c:pt idx="1">
                    <c:v>La Vache Qui Rit Nature Fromage Fondu Boite Ronde 1X512Gr 24+8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Nature Fromage Fondu Boite Ronde 1X128Gr 8P</c:v>
                  </c:pt>
                  <c:pt idx="6">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9E259FE-A44A-4E00-B5D1-97014AB45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98E370B-BDB9-4B77-9C19-9B0D1CFD4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EB9EDC-83DB-43E4-B6BD-205F2F9A1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798CEB-0659-418F-9CF4-E8A0A92BA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CD96C19-41F4-4FB1-9E54-ED5F40F7A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D02DD15-5C6A-4538-84D9-D58C86D43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403F60F-4C01-4FD6-A40E-1B8100C1E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5</c:f>
              <c:numCache>
                <c:formatCode>General</c:formatCode>
                <c:ptCount val="14"/>
                <c:pt idx="0">
                  <c:v>0.34200000000000003</c:v>
                </c:pt>
                <c:pt idx="1">
                  <c:v>0.31640000000000001</c:v>
                </c:pt>
                <c:pt idx="2">
                  <c:v>0.36919999999999997</c:v>
                </c:pt>
                <c:pt idx="3">
                  <c:v>0.3669</c:v>
                </c:pt>
                <c:pt idx="4">
                  <c:v>0.52610000000000001</c:v>
                </c:pt>
                <c:pt idx="5">
                  <c:v>0.52129999999999999</c:v>
                </c:pt>
                <c:pt idx="6">
                  <c:v>0.29770000000000002</c:v>
                </c:pt>
                <c:pt idx="7">
                  <c:v>0.44280000000000003</c:v>
                </c:pt>
                <c:pt idx="8">
                  <c:v>0.36349999999999999</c:v>
                </c:pt>
                <c:pt idx="9">
                  <c:v>0.41670000000000001</c:v>
                </c:pt>
                <c:pt idx="10">
                  <c:v>0.37109999999999999</c:v>
                </c:pt>
                <c:pt idx="11">
                  <c:v>0.33600000000000002</c:v>
                </c:pt>
                <c:pt idx="12">
                  <c:v>0.38790000000000002</c:v>
                </c:pt>
                <c:pt idx="13">
                  <c:v>0.38279999999999997</c:v>
                </c:pt>
              </c:numCache>
            </c:numRef>
          </c:xVal>
          <c:yVal>
            <c:numRef>
              <c:f>Sheet1!$B$2:$B$15</c:f>
              <c:numCache>
                <c:formatCode>General</c:formatCode>
                <c:ptCount val="14"/>
                <c:pt idx="0">
                  <c:v>3016.855670103093</c:v>
                </c:pt>
                <c:pt idx="1">
                  <c:v>2637.1616161616162</c:v>
                </c:pt>
                <c:pt idx="2">
                  <c:v>910.88636363636363</c:v>
                </c:pt>
                <c:pt idx="3">
                  <c:v>899.09230769230771</c:v>
                </c:pt>
                <c:pt idx="4">
                  <c:v>394.1</c:v>
                </c:pt>
                <c:pt idx="5">
                  <c:v>517.4</c:v>
                </c:pt>
                <c:pt idx="6">
                  <c:v>2989.2525252525252</c:v>
                </c:pt>
                <c:pt idx="7">
                  <c:v>1131.2087912087909</c:v>
                </c:pt>
                <c:pt idx="8">
                  <c:v>752.57142857142856</c:v>
                </c:pt>
                <c:pt idx="9">
                  <c:v>766.19444444444446</c:v>
                </c:pt>
                <c:pt idx="10">
                  <c:v>1389.4269662921349</c:v>
                </c:pt>
                <c:pt idx="11">
                  <c:v>2597.739130434783</c:v>
                </c:pt>
                <c:pt idx="12">
                  <c:v>1244.0481927710839</c:v>
                </c:pt>
                <c:pt idx="13">
                  <c:v>791.04225352112678</c:v>
                </c:pt>
              </c:numCache>
            </c:numRef>
          </c:yVal>
          <c:bubbleSize>
            <c:numRef>
              <c:f>Sheet1!$C$2:$C$15</c:f>
              <c:numCache>
                <c:formatCode>General</c:formatCode>
                <c:ptCount val="14"/>
                <c:pt idx="0">
                  <c:v>182514.58350000001</c:v>
                </c:pt>
                <c:pt idx="1">
                  <c:v>169175.82759999999</c:v>
                </c:pt>
                <c:pt idx="2">
                  <c:v>47929.252</c:v>
                </c:pt>
                <c:pt idx="3">
                  <c:v>35070.9738</c:v>
                </c:pt>
                <c:pt idx="4">
                  <c:v>1770.3809000000001</c:v>
                </c:pt>
                <c:pt idx="5">
                  <c:v>1173.8063999999999</c:v>
                </c:pt>
                <c:pt idx="6">
                  <c:v>197011.77119999999</c:v>
                </c:pt>
                <c:pt idx="7">
                  <c:v>54368.025600000001</c:v>
                </c:pt>
                <c:pt idx="8">
                  <c:v>38139.75</c:v>
                </c:pt>
                <c:pt idx="9">
                  <c:v>30499.949700000001</c:v>
                </c:pt>
                <c:pt idx="10">
                  <c:v>73719.119200000001</c:v>
                </c:pt>
                <c:pt idx="11">
                  <c:v>150414.5325</c:v>
                </c:pt>
                <c:pt idx="12">
                  <c:v>59907.712800000001</c:v>
                </c:pt>
                <c:pt idx="13">
                  <c:v>32857.246400000004</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3 Noix Boite 1X150Gr 1P</c:v>
                  </c:pt>
                  <c:pt idx="5">
                    <c:v>Boursin Classique Fromage Frais A Tartiner 3 Noix 1X160Gr 10P</c:v>
                  </c:pt>
                  <c:pt idx="6">
                    <c:v>Boursin Salade &amp; Aperitif Fromage Frais Des Afh 1X120Gr 1P</c:v>
                  </c:pt>
                  <c:pt idx="7">
                    <c:v>Boursin Salade &amp; Aperitif Fromage Frais Des Figue Noix 1X120Gr 1P</c:v>
                  </c:pt>
                  <c:pt idx="8">
                    <c:v>Boursin Salade &amp; Aperitif Fromage Frais Des Ciboulette Echalote 1X120Gr 1P</c:v>
                  </c:pt>
                  <c:pt idx="9">
                    <c:v>Boursin Salade &amp; Aperitif Fromage Frais Des Citron Romarin 1X120Gr 1P</c:v>
                  </c:pt>
                  <c:pt idx="10">
                    <c:v>Boursin Classique Fromage Frais A Tartiner Afh Boite 1X96Gr 6P</c:v>
                  </c:pt>
                  <c:pt idx="11">
                    <c:v>Boursin Classique Fromage Frais A Tartiner Afh Boite 1X250Gr 1P</c:v>
                  </c:pt>
                  <c:pt idx="12">
                    <c:v>Boursin Onctueux Fromage Frais A Tartiner Afh 1X125Gr 1P</c:v>
                  </c:pt>
                  <c:pt idx="13">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E514239-14C2-4B4A-ADCB-085EE06B4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FE61133-751C-4982-B351-13057AE54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280A1D2-21FB-4D57-8A25-513AF7810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02320EB-8BCC-4845-B7B1-C81BACCA7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6F69D97-6E59-48FC-8DA3-28FE176BB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D4411D3-02AA-4C63-B654-69FEFEF82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0B9DA15-754A-4B17-A2AB-1AEF3E787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6849999999999999</c:v>
                </c:pt>
                <c:pt idx="1">
                  <c:v>0.46689999999999998</c:v>
                </c:pt>
                <c:pt idx="2">
                  <c:v>0.40799999999999997</c:v>
                </c:pt>
                <c:pt idx="3">
                  <c:v>0.38629999999999998</c:v>
                </c:pt>
                <c:pt idx="4">
                  <c:v>0.51259999999999994</c:v>
                </c:pt>
                <c:pt idx="5">
                  <c:v>0.39939999999999998</c:v>
                </c:pt>
              </c:numCache>
            </c:numRef>
          </c:xVal>
          <c:yVal>
            <c:numRef>
              <c:f>Sheet1!$B$2:$B$7</c:f>
              <c:numCache>
                <c:formatCode>General</c:formatCode>
                <c:ptCount val="6"/>
                <c:pt idx="0">
                  <c:v>4425.5</c:v>
                </c:pt>
                <c:pt idx="1">
                  <c:v>1348.3888888888889</c:v>
                </c:pt>
                <c:pt idx="2">
                  <c:v>6174.895833333333</c:v>
                </c:pt>
                <c:pt idx="3">
                  <c:v>172.2</c:v>
                </c:pt>
                <c:pt idx="4">
                  <c:v>3577.4929577464791</c:v>
                </c:pt>
                <c:pt idx="5">
                  <c:v>2679.5</c:v>
                </c:pt>
              </c:numCache>
            </c:numRef>
          </c:yVal>
          <c:bubbleSize>
            <c:numRef>
              <c:f>Sheet1!$C$2:$C$7</c:f>
              <c:numCache>
                <c:formatCode>General</c:formatCode>
                <c:ptCount val="6"/>
                <c:pt idx="0">
                  <c:v>5298.1144000000004</c:v>
                </c:pt>
                <c:pt idx="1">
                  <c:v>36794.323400000001</c:v>
                </c:pt>
                <c:pt idx="2">
                  <c:v>332637.91769999999</c:v>
                </c:pt>
                <c:pt idx="3">
                  <c:v>1001.7318</c:v>
                </c:pt>
                <c:pt idx="4">
                  <c:v>117338.8575</c:v>
                </c:pt>
                <c:pt idx="5">
                  <c:v>3050.75399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216Gr 12P</c:v>
                  </c:pt>
                  <c:pt idx="1">
                    <c:v>Kiri Delicieusement Fouette Fromage Frais A Tartiner 1X125Gr 1P</c:v>
                  </c:pt>
                  <c:pt idx="2">
                    <c:v>Kiri Creme Fromage Blanc Frais Carre 1X144Gr 8P</c:v>
                  </c:pt>
                  <c:pt idx="3">
                    <c:v>Kiri Delicieusement Fouette Fromage Frais A Tartiner 1X160Gr 10P</c:v>
                  </c:pt>
                  <c:pt idx="4">
                    <c:v>Kiri Gouter Fromage Blanc Dips Boite 1X175Gr 5P</c:v>
                  </c:pt>
                  <c:pt idx="5">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9F91A5F-2C0A-4771-9E50-5F78BA52C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FEB5471-6F79-4078-82F5-A62EC7CF4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E044B16-A32E-4C6E-BD6C-CBCB5BF15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547FD09-F600-42CC-AC8F-E693B1BAA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7DF7FF2-3079-4A87-8EB9-CC455146B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B5E442D-B146-4E9D-B78C-E9B2F1E8D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C639E60-3B5B-4809-8D04-B00B04DB8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5639999999999997</c:v>
                </c:pt>
                <c:pt idx="1">
                  <c:v>0.42349999999999999</c:v>
                </c:pt>
                <c:pt idx="2">
                  <c:v>0.46579999999999999</c:v>
                </c:pt>
                <c:pt idx="3">
                  <c:v>0.58560000000000001</c:v>
                </c:pt>
                <c:pt idx="4">
                  <c:v>0.47670000000000001</c:v>
                </c:pt>
              </c:numCache>
            </c:numRef>
          </c:xVal>
          <c:yVal>
            <c:numRef>
              <c:f>Sheet1!$B$2:$B$6</c:f>
              <c:numCache>
                <c:formatCode>General</c:formatCode>
                <c:ptCount val="5"/>
                <c:pt idx="0">
                  <c:v>7543.6741573033714</c:v>
                </c:pt>
                <c:pt idx="1">
                  <c:v>6982.6</c:v>
                </c:pt>
                <c:pt idx="2">
                  <c:v>2723.4444444444439</c:v>
                </c:pt>
                <c:pt idx="3">
                  <c:v>1469.6</c:v>
                </c:pt>
                <c:pt idx="4">
                  <c:v>2525.7254901960782</c:v>
                </c:pt>
              </c:numCache>
            </c:numRef>
          </c:yVal>
          <c:bubbleSize>
            <c:numRef>
              <c:f>Sheet1!$C$2:$C$6</c:f>
              <c:numCache>
                <c:formatCode>General</c:formatCode>
                <c:ptCount val="5"/>
                <c:pt idx="0">
                  <c:v>345965.88</c:v>
                </c:pt>
                <c:pt idx="1">
                  <c:v>171688.52160000001</c:v>
                </c:pt>
                <c:pt idx="2">
                  <c:v>12410.255999999999</c:v>
                </c:pt>
                <c:pt idx="3">
                  <c:v>2886.078</c:v>
                </c:pt>
                <c:pt idx="4">
                  <c:v>63895.387999999992</c:v>
                </c:pt>
              </c:numCache>
            </c:numRef>
          </c:bubbleSize>
          <c:bubble3D val="0"/>
          <c:extLst>
            <c:ext xmlns:c15="http://schemas.microsoft.com/office/drawing/2012/chart" uri="{02D57815-91ED-43cb-92C2-25804820EDAC}">
              <c15:datalabelsRange>
                <c15:f>Sheet1!$E$2:$E$50</c15:f>
                <c15:dlblRangeCache>
                  <c:ptCount val="49"/>
                  <c:pt idx="0">
                    <c:v>La Vache Qui Rit Nature Fromage Fondu Boite Ronde 1X192Gr 12P</c:v>
                  </c:pt>
                  <c:pt idx="1">
                    <c:v>La Vache Qui Rit Nature Fromage Fondu Boite Ronde 1X384Gr 24P</c:v>
                  </c:pt>
                  <c:pt idx="2">
                    <c:v>La Vache Qui Rit Nature Fromage Fondu Boite Ronde 1X128Gr 8P</c:v>
                  </c:pt>
                  <c:pt idx="3">
                    <c:v>La Vache Qui Rit Pik Et Croq' Fromage Fondu Dips Boite 1X35Gr 1P</c:v>
                  </c:pt>
                  <c:pt idx="4">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B62324B-2B83-4B79-B9C5-FF6C94C7C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6A356ED-12B8-4CA8-836C-AE8453BB2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35FEDD4-037F-4850-B8A6-9949D9BE2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F13ECEA-8037-491F-B130-AA553FB42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EEE8812-733A-4C2D-9D81-E8CA2EBEE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B612C6F-0374-4136-B2B5-AF75B260F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F61285F-9069-4890-81E5-FA2BFB4C65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9910000000000001</c:v>
                </c:pt>
                <c:pt idx="1">
                  <c:v>0.42830000000000001</c:v>
                </c:pt>
                <c:pt idx="2">
                  <c:v>0.48630000000000001</c:v>
                </c:pt>
                <c:pt idx="3">
                  <c:v>0.51049999999999995</c:v>
                </c:pt>
                <c:pt idx="4">
                  <c:v>0.44540000000000002</c:v>
                </c:pt>
                <c:pt idx="5">
                  <c:v>0.44259999999999999</c:v>
                </c:pt>
              </c:numCache>
            </c:numRef>
          </c:xVal>
          <c:yVal>
            <c:numRef>
              <c:f>Sheet1!$B$2:$B$7</c:f>
              <c:numCache>
                <c:formatCode>General</c:formatCode>
                <c:ptCount val="6"/>
                <c:pt idx="0">
                  <c:v>3653.6938775510198</c:v>
                </c:pt>
                <c:pt idx="1">
                  <c:v>4452.734939759036</c:v>
                </c:pt>
                <c:pt idx="2">
                  <c:v>1616.75</c:v>
                </c:pt>
                <c:pt idx="3">
                  <c:v>2791.924050632912</c:v>
                </c:pt>
                <c:pt idx="4">
                  <c:v>497.36363636363637</c:v>
                </c:pt>
                <c:pt idx="5">
                  <c:v>1913.666666666667</c:v>
                </c:pt>
              </c:numCache>
            </c:numRef>
          </c:yVal>
          <c:bubbleSize>
            <c:numRef>
              <c:f>Sheet1!$C$2:$C$7</c:f>
              <c:numCache>
                <c:formatCode>General</c:formatCode>
                <c:ptCount val="6"/>
                <c:pt idx="0">
                  <c:v>101965.4454</c:v>
                </c:pt>
                <c:pt idx="1">
                  <c:v>200281.71539999999</c:v>
                </c:pt>
                <c:pt idx="2">
                  <c:v>6298.4040000000005</c:v>
                </c:pt>
                <c:pt idx="3">
                  <c:v>102326.5368</c:v>
                </c:pt>
                <c:pt idx="4">
                  <c:v>2876.0508</c:v>
                </c:pt>
                <c:pt idx="5">
                  <c:v>9099.93</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Salade &amp; Aperitif Fromage Frais Des Afh 1X120Gr 1P</c:v>
                  </c:pt>
                  <c:pt idx="4">
                    <c:v>Boursin Classique Fromage Frais A Tartiner Afh Boite 1X80Gr 1P</c:v>
                  </c:pt>
                  <c:pt idx="5">
                    <c:v>Boursin Classique Fromage Frais A Tartiner Afh Boite 1X96Gr 6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0D8948-39BA-42EF-8FE7-AAB58D72A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DD96A5C-17D7-44D6-B8B7-F8A977BBE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7B9B6FE-CC7B-478C-92C6-6B3A6A1FA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FAB51DE-CD65-43D2-BF89-1BDF17A07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7494B93-9AEC-4A86-8D2A-FF014DDEB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5DAA94F-A6E6-4CFC-B64A-4355145B3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F3C8867-12B0-4836-B6B5-FABEB8D96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3503</c:v>
                </c:pt>
                <c:pt idx="1">
                  <c:v>0.30299999999999999</c:v>
                </c:pt>
                <c:pt idx="2">
                  <c:v>0.46439999999999998</c:v>
                </c:pt>
                <c:pt idx="3">
                  <c:v>0.28000000000000003</c:v>
                </c:pt>
                <c:pt idx="4">
                  <c:v>0.31609999999999999</c:v>
                </c:pt>
                <c:pt idx="5">
                  <c:v>0.47620000000000001</c:v>
                </c:pt>
                <c:pt idx="6">
                  <c:v>0.35659999999999997</c:v>
                </c:pt>
                <c:pt idx="7">
                  <c:v>0.36020000000000002</c:v>
                </c:pt>
                <c:pt idx="8">
                  <c:v>0.4929</c:v>
                </c:pt>
              </c:numCache>
            </c:numRef>
          </c:xVal>
          <c:yVal>
            <c:numRef>
              <c:f>Sheet1!$B$2:$B$10</c:f>
              <c:numCache>
                <c:formatCode>General</c:formatCode>
                <c:ptCount val="9"/>
                <c:pt idx="0">
                  <c:v>7935.6292134831456</c:v>
                </c:pt>
                <c:pt idx="1">
                  <c:v>8607.9696969696961</c:v>
                </c:pt>
                <c:pt idx="2">
                  <c:v>1509.2873563218391</c:v>
                </c:pt>
                <c:pt idx="3">
                  <c:v>2135.4337349397588</c:v>
                </c:pt>
                <c:pt idx="4">
                  <c:v>4806.9191919191917</c:v>
                </c:pt>
                <c:pt idx="5">
                  <c:v>1519.866666666667</c:v>
                </c:pt>
                <c:pt idx="6">
                  <c:v>4681.333333333333</c:v>
                </c:pt>
                <c:pt idx="7">
                  <c:v>6331.729166666667</c:v>
                </c:pt>
                <c:pt idx="8">
                  <c:v>916.86206896551732</c:v>
                </c:pt>
              </c:numCache>
            </c:numRef>
          </c:yVal>
          <c:bubbleSize>
            <c:numRef>
              <c:f>Sheet1!$C$2:$C$10</c:f>
              <c:numCache>
                <c:formatCode>General</c:formatCode>
                <c:ptCount val="9"/>
                <c:pt idx="0">
                  <c:v>434940.5233</c:v>
                </c:pt>
                <c:pt idx="1">
                  <c:v>563044.1581</c:v>
                </c:pt>
                <c:pt idx="2">
                  <c:v>66663.609600000011</c:v>
                </c:pt>
                <c:pt idx="3">
                  <c:v>120956.976</c:v>
                </c:pt>
                <c:pt idx="4">
                  <c:v>308470.04639999999</c:v>
                </c:pt>
                <c:pt idx="5">
                  <c:v>45274.047000000013</c:v>
                </c:pt>
                <c:pt idx="6">
                  <c:v>282659.23139999999</c:v>
                </c:pt>
                <c:pt idx="7">
                  <c:v>368627.39450000011</c:v>
                </c:pt>
                <c:pt idx="8">
                  <c:v>25561.6981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41527EA-BA10-44DD-A497-5B7DAB96B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EBB8780-62F9-43BF-AC5A-2FBA5EAEB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3B9CBF6-C668-4407-8CF3-97F6D6CE7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0615F51-5F7F-4123-A59F-BF8885DC2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623E8B4-5DF9-4CA8-89AD-C5E5AF411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4D535F1-7755-4771-BE80-34E979C22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0033485-AA62-4F92-AA91-4CDF4070B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7830000000000004</c:v>
                </c:pt>
                <c:pt idx="1">
                  <c:v>0.3982</c:v>
                </c:pt>
                <c:pt idx="2">
                  <c:v>0.35980000000000001</c:v>
                </c:pt>
                <c:pt idx="3">
                  <c:v>0.34810000000000002</c:v>
                </c:pt>
                <c:pt idx="4">
                  <c:v>0.45569999999999999</c:v>
                </c:pt>
                <c:pt idx="5">
                  <c:v>0.44890000000000002</c:v>
                </c:pt>
                <c:pt idx="6">
                  <c:v>0.49070000000000003</c:v>
                </c:pt>
              </c:numCache>
            </c:numRef>
          </c:xVal>
          <c:yVal>
            <c:numRef>
              <c:f>Sheet1!$B$2:$B$8</c:f>
              <c:numCache>
                <c:formatCode>General</c:formatCode>
                <c:ptCount val="7"/>
                <c:pt idx="0">
                  <c:v>1414.515625</c:v>
                </c:pt>
                <c:pt idx="1">
                  <c:v>10893.58</c:v>
                </c:pt>
                <c:pt idx="2">
                  <c:v>11768.01030927835</c:v>
                </c:pt>
                <c:pt idx="3">
                  <c:v>13093.826530612239</c:v>
                </c:pt>
                <c:pt idx="4">
                  <c:v>1965.8214285714289</c:v>
                </c:pt>
                <c:pt idx="5">
                  <c:v>2817.347368421053</c:v>
                </c:pt>
                <c:pt idx="6">
                  <c:v>3042.8372093023249</c:v>
                </c:pt>
              </c:numCache>
            </c:numRef>
          </c:yVal>
          <c:bubbleSize>
            <c:numRef>
              <c:f>Sheet1!$C$2:$C$8</c:f>
              <c:numCache>
                <c:formatCode>General</c:formatCode>
                <c:ptCount val="7"/>
                <c:pt idx="0">
                  <c:v>36184.439199999993</c:v>
                </c:pt>
                <c:pt idx="1">
                  <c:v>621385.28460000013</c:v>
                </c:pt>
                <c:pt idx="2">
                  <c:v>692633.15520000004</c:v>
                </c:pt>
                <c:pt idx="3">
                  <c:v>792886.2220999999</c:v>
                </c:pt>
                <c:pt idx="4">
                  <c:v>85195.458899999998</c:v>
                </c:pt>
                <c:pt idx="5">
                  <c:v>139805.39300000001</c:v>
                </c:pt>
                <c:pt idx="6">
                  <c:v>126337.8342</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9B2690C-410F-4742-9736-597C5D1E8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25FBF61-D682-435C-B7CB-3D8F8771FE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D51C3B9-E5DE-4291-87FC-13041927A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B8DD4E0-D075-401D-A216-770EB5934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4435472-C081-4DC2-8125-5DB4DE1ED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685A7D1-BDDE-45A0-9B71-FF4408DA4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60D8CE6-DB52-47CA-8900-677B788D9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3528</c:v>
                </c:pt>
                <c:pt idx="1">
                  <c:v>0.33660000000000001</c:v>
                </c:pt>
                <c:pt idx="2">
                  <c:v>0.44619999999999999</c:v>
                </c:pt>
                <c:pt idx="3">
                  <c:v>0.43509999999999999</c:v>
                </c:pt>
                <c:pt idx="4">
                  <c:v>0.45240000000000002</c:v>
                </c:pt>
                <c:pt idx="5">
                  <c:v>0.36959999999999998</c:v>
                </c:pt>
                <c:pt idx="6">
                  <c:v>0.42359999999999998</c:v>
                </c:pt>
                <c:pt idx="7">
                  <c:v>0.53490000000000004</c:v>
                </c:pt>
                <c:pt idx="8">
                  <c:v>0.42349999999999999</c:v>
                </c:pt>
                <c:pt idx="9">
                  <c:v>0.41889999999999999</c:v>
                </c:pt>
                <c:pt idx="10">
                  <c:v>0.38750000000000001</c:v>
                </c:pt>
                <c:pt idx="11">
                  <c:v>0.45639999999999997</c:v>
                </c:pt>
                <c:pt idx="12">
                  <c:v>0.3795</c:v>
                </c:pt>
                <c:pt idx="13">
                  <c:v>0.50139999999999996</c:v>
                </c:pt>
                <c:pt idx="14">
                  <c:v>0.4773</c:v>
                </c:pt>
              </c:numCache>
            </c:numRef>
          </c:xVal>
          <c:yVal>
            <c:numRef>
              <c:f>Sheet1!$B$2:$B$16</c:f>
              <c:numCache>
                <c:formatCode>General</c:formatCode>
                <c:ptCount val="15"/>
                <c:pt idx="0">
                  <c:v>5111.090909090909</c:v>
                </c:pt>
                <c:pt idx="1">
                  <c:v>4276.05</c:v>
                </c:pt>
                <c:pt idx="2">
                  <c:v>1606.041666666667</c:v>
                </c:pt>
                <c:pt idx="3">
                  <c:v>1801.8736842105261</c:v>
                </c:pt>
                <c:pt idx="4">
                  <c:v>3369.632653061225</c:v>
                </c:pt>
                <c:pt idx="5">
                  <c:v>1106.9215686274511</c:v>
                </c:pt>
                <c:pt idx="6">
                  <c:v>1404.883720930233</c:v>
                </c:pt>
                <c:pt idx="7">
                  <c:v>680.20895522388059</c:v>
                </c:pt>
                <c:pt idx="8">
                  <c:v>1399.976744186047</c:v>
                </c:pt>
                <c:pt idx="9">
                  <c:v>1982.9666666666669</c:v>
                </c:pt>
                <c:pt idx="10">
                  <c:v>1441.1547619047619</c:v>
                </c:pt>
                <c:pt idx="11">
                  <c:v>1214.975903614458</c:v>
                </c:pt>
                <c:pt idx="12">
                  <c:v>5515.0505050505053</c:v>
                </c:pt>
                <c:pt idx="13">
                  <c:v>2431.7628865979382</c:v>
                </c:pt>
                <c:pt idx="14">
                  <c:v>880.45</c:v>
                </c:pt>
              </c:numCache>
            </c:numRef>
          </c:yVal>
          <c:bubbleSize>
            <c:numRef>
              <c:f>Sheet1!$C$2:$C$16</c:f>
              <c:numCache>
                <c:formatCode>General</c:formatCode>
                <c:ptCount val="15"/>
                <c:pt idx="0">
                  <c:v>310396.17109999998</c:v>
                </c:pt>
                <c:pt idx="1">
                  <c:v>268889.32500000001</c:v>
                </c:pt>
                <c:pt idx="2">
                  <c:v>80927.763000000006</c:v>
                </c:pt>
                <c:pt idx="3">
                  <c:v>91664.386599999998</c:v>
                </c:pt>
                <c:pt idx="4">
                  <c:v>171405.6588</c:v>
                </c:pt>
                <c:pt idx="5">
                  <c:v>33731.386499999993</c:v>
                </c:pt>
                <c:pt idx="6">
                  <c:v>66011.255999999994</c:v>
                </c:pt>
                <c:pt idx="7">
                  <c:v>20091.8835</c:v>
                </c:pt>
                <c:pt idx="8">
                  <c:v>65796.493399999992</c:v>
                </c:pt>
                <c:pt idx="9">
                  <c:v>98304.178500000009</c:v>
                </c:pt>
                <c:pt idx="10">
                  <c:v>70284.431699999986</c:v>
                </c:pt>
                <c:pt idx="11">
                  <c:v>51962.308199999999</c:v>
                </c:pt>
                <c:pt idx="12">
                  <c:v>321142.08559999999</c:v>
                </c:pt>
                <c:pt idx="13">
                  <c:v>111472.8284</c:v>
                </c:pt>
                <c:pt idx="14">
                  <c:v>17448.064399999999</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Salade &amp; Aperitif Fromage Frais Des Afh 1X120Gr 1P</c:v>
                  </c:pt>
                  <c:pt idx="5">
                    <c:v>Boursin Salade &amp; Aperitif Fromage Frais Des Figue Noix 1X120Gr 1P</c:v>
                  </c:pt>
                  <c:pt idx="6">
                    <c:v>Boursin Salade &amp; Aperitif Fromage Frais Des Ciboulette Echalote 1X120Gr 1P</c:v>
                  </c:pt>
                  <c:pt idx="7">
                    <c:v>Boursin Salade &amp; Aperitif Fromage Frais Des Citron Romarin 1X12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Ciboulette &amp; Echalote 1X160Gr 10P</c:v>
                  </c:pt>
                  <c:pt idx="12">
                    <c:v>Boursin Classique Fromage Frais A Tartiner Afh Boite 1X250Gr 1P</c:v>
                  </c:pt>
                  <c:pt idx="13">
                    <c:v>Boursin Onctueux Fromage Frais A Tartiner Afh 1X125Gr 1P</c:v>
                  </c:pt>
                  <c:pt idx="14">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FB553C7-2169-4063-9D4A-623A5E6ED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8154853-7917-4358-881D-4B4A2FF23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57F4E8-5BE1-4B70-815C-D599654CF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53BA0FF-84C8-42E3-8326-A027F3226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F2F4762-DB1A-4685-893B-0FD1CCA2E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1416D0A-6309-4AB7-B9EA-2CBF9EEEA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4CF99E4-7F7F-419F-897A-67C29BA5B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33100000000000002</c:v>
                </c:pt>
                <c:pt idx="1">
                  <c:v>0.30280000000000001</c:v>
                </c:pt>
                <c:pt idx="2">
                  <c:v>0.45019999999999999</c:v>
                </c:pt>
                <c:pt idx="3">
                  <c:v>0.2777</c:v>
                </c:pt>
                <c:pt idx="4">
                  <c:v>0.31280000000000002</c:v>
                </c:pt>
                <c:pt idx="5">
                  <c:v>0.44729999999999998</c:v>
                </c:pt>
                <c:pt idx="6">
                  <c:v>0.34210000000000002</c:v>
                </c:pt>
                <c:pt idx="7">
                  <c:v>0.33700000000000002</c:v>
                </c:pt>
                <c:pt idx="8">
                  <c:v>0.48359999999999997</c:v>
                </c:pt>
              </c:numCache>
            </c:numRef>
          </c:xVal>
          <c:yVal>
            <c:numRef>
              <c:f>Sheet1!$B$2:$B$10</c:f>
              <c:numCache>
                <c:formatCode>General</c:formatCode>
                <c:ptCount val="9"/>
                <c:pt idx="0">
                  <c:v>1510.0505050505051</c:v>
                </c:pt>
                <c:pt idx="1">
                  <c:v>1448.878787878788</c:v>
                </c:pt>
                <c:pt idx="2">
                  <c:v>259.61616161616161</c:v>
                </c:pt>
                <c:pt idx="3">
                  <c:v>368.41489361702128</c:v>
                </c:pt>
                <c:pt idx="4">
                  <c:v>814.44444444444446</c:v>
                </c:pt>
                <c:pt idx="5">
                  <c:v>204.0114942528736</c:v>
                </c:pt>
                <c:pt idx="6">
                  <c:v>861.46464646464642</c:v>
                </c:pt>
                <c:pt idx="7">
                  <c:v>1157.454545454545</c:v>
                </c:pt>
                <c:pt idx="8">
                  <c:v>118.8767123287671</c:v>
                </c:pt>
              </c:numCache>
            </c:numRef>
          </c:yVal>
          <c:bubbleSize>
            <c:numRef>
              <c:f>Sheet1!$C$2:$C$10</c:f>
              <c:numCache>
                <c:formatCode>General</c:formatCode>
                <c:ptCount val="9"/>
                <c:pt idx="0">
                  <c:v>94800.4</c:v>
                </c:pt>
                <c:pt idx="1">
                  <c:v>94792.401599999997</c:v>
                </c:pt>
                <c:pt idx="2">
                  <c:v>13395.286</c:v>
                </c:pt>
                <c:pt idx="3">
                  <c:v>23711.407200000001</c:v>
                </c:pt>
                <c:pt idx="4">
                  <c:v>52523.159199999987</c:v>
                </c:pt>
                <c:pt idx="5">
                  <c:v>9299.048499999999</c:v>
                </c:pt>
                <c:pt idx="6">
                  <c:v>53180.887199999997</c:v>
                </c:pt>
                <c:pt idx="7">
                  <c:v>72012.494500000001</c:v>
                </c:pt>
                <c:pt idx="8">
                  <c:v>4247.692</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Caprice Des Dieux</c:v>
                </c:pt>
                <c:pt idx="4">
                  <c:v>Galbani</c:v>
                </c:pt>
                <c:pt idx="5">
                  <c:v>La Vache Qui Rit</c:v>
                </c:pt>
                <c:pt idx="6">
                  <c:v>Soignon</c:v>
                </c:pt>
                <c:pt idx="7">
                  <c:v>Kiri</c:v>
                </c:pt>
                <c:pt idx="8">
                  <c:v>Boursin</c:v>
                </c:pt>
                <c:pt idx="9">
                  <c:v>Others</c:v>
                </c:pt>
              </c:strCache>
            </c:strRef>
          </c:cat>
          <c:val>
            <c:numRef>
              <c:f>Sheet1!$B$2:$B$11</c:f>
              <c:numCache>
                <c:formatCode>General</c:formatCode>
                <c:ptCount val="10"/>
                <c:pt idx="0">
                  <c:v>0.3060797538158268</c:v>
                </c:pt>
                <c:pt idx="1">
                  <c:v>4.1561046978248382E-2</c:v>
                </c:pt>
                <c:pt idx="2">
                  <c:v>4.0087040566284517E-2</c:v>
                </c:pt>
                <c:pt idx="3">
                  <c:v>3.9525084615416824E-2</c:v>
                </c:pt>
                <c:pt idx="4">
                  <c:v>3.663823890050058E-2</c:v>
                </c:pt>
                <c:pt idx="5">
                  <c:v>3.4812339239601801E-2</c:v>
                </c:pt>
                <c:pt idx="6">
                  <c:v>3.3337783213033191E-2</c:v>
                </c:pt>
                <c:pt idx="7">
                  <c:v>2.9491040587429688E-2</c:v>
                </c:pt>
                <c:pt idx="8">
                  <c:v>2.1530332715396637E-2</c:v>
                </c:pt>
                <c:pt idx="9">
                  <c:v>0.4169373393682615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Caprice Des Dieux</c:v>
                </c:pt>
                <c:pt idx="4">
                  <c:v>Galbani</c:v>
                </c:pt>
                <c:pt idx="5">
                  <c:v>La Vache Qui Rit</c:v>
                </c:pt>
                <c:pt idx="6">
                  <c:v>Soignon</c:v>
                </c:pt>
                <c:pt idx="7">
                  <c:v>Kiri</c:v>
                </c:pt>
                <c:pt idx="8">
                  <c:v>Boursin</c:v>
                </c:pt>
                <c:pt idx="9">
                  <c:v>Others</c:v>
                </c:pt>
              </c:strCache>
            </c:strRef>
          </c:cat>
          <c:val>
            <c:numRef>
              <c:f>Sheet1!$C$2:$C$11</c:f>
              <c:numCache>
                <c:formatCode>General</c:formatCode>
                <c:ptCount val="10"/>
                <c:pt idx="0">
                  <c:v>2.3849272597185759E-5</c:v>
                </c:pt>
                <c:pt idx="1">
                  <c:v>3.9828285237300219E-2</c:v>
                </c:pt>
                <c:pt idx="2">
                  <c:v>3.9756737419508657E-2</c:v>
                </c:pt>
                <c:pt idx="3">
                  <c:v>2.6663486763653682E-2</c:v>
                </c:pt>
                <c:pt idx="4">
                  <c:v>3.1385642737896464E-2</c:v>
                </c:pt>
                <c:pt idx="5">
                  <c:v>2.2656808967326473E-2</c:v>
                </c:pt>
                <c:pt idx="6">
                  <c:v>3.3818268542809407E-2</c:v>
                </c:pt>
                <c:pt idx="7">
                  <c:v>2.5542570951585949E-2</c:v>
                </c:pt>
                <c:pt idx="8">
                  <c:v>4.7150011924636248E-2</c:v>
                </c:pt>
                <c:pt idx="9">
                  <c:v>0.7331743381826851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Caprice Des Dieux</c:v>
                </c:pt>
                <c:pt idx="4">
                  <c:v>Galbani</c:v>
                </c:pt>
                <c:pt idx="5">
                  <c:v>La Vache Qui Rit</c:v>
                </c:pt>
                <c:pt idx="6">
                  <c:v>Soignon</c:v>
                </c:pt>
                <c:pt idx="7">
                  <c:v>Kiri</c:v>
                </c:pt>
                <c:pt idx="8">
                  <c:v>Boursin</c:v>
                </c:pt>
                <c:pt idx="9">
                  <c:v>Others</c:v>
                </c:pt>
              </c:strCache>
            </c:strRef>
          </c:cat>
          <c:val>
            <c:numRef>
              <c:f>Sheet1!$D$2:$D$11</c:f>
              <c:numCache>
                <c:formatCode>General</c:formatCode>
                <c:ptCount val="10"/>
                <c:pt idx="0">
                  <c:v>7.7918491177094498E-3</c:v>
                </c:pt>
                <c:pt idx="1">
                  <c:v>95.83080343992529</c:v>
                </c:pt>
                <c:pt idx="2">
                  <c:v>99.17603509236433</c:v>
                </c:pt>
                <c:pt idx="3">
                  <c:v>67.459657640438152</c:v>
                </c:pt>
                <c:pt idx="4">
                  <c:v>85.663622706132998</c:v>
                </c:pt>
                <c:pt idx="5">
                  <c:v>65.082696142270592</c:v>
                </c:pt>
                <c:pt idx="6">
                  <c:v>101.44126358584147</c:v>
                </c:pt>
                <c:pt idx="7">
                  <c:v>86.611290896507924</c:v>
                </c:pt>
                <c:pt idx="8">
                  <c:v>218.99341987835902</c:v>
                </c:pt>
                <c:pt idx="9">
                  <c:v>175.8476080107342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28979485020654278</c:v>
                </c:pt>
                <c:pt idx="1">
                  <c:v>0.24138035933222099</c:v>
                </c:pt>
                <c:pt idx="2">
                  <c:v>0.23419356127299601</c:v>
                </c:pt>
                <c:pt idx="3">
                  <c:v>0.12583075474925509</c:v>
                </c:pt>
                <c:pt idx="4">
                  <c:v>8.6383181178948096E-2</c:v>
                </c:pt>
                <c:pt idx="5">
                  <c:v>2.241606414349526E-2</c:v>
                </c:pt>
                <c:pt idx="6">
                  <c:v>1.2291165417576981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7153147510178521</c:v>
                </c:pt>
                <c:pt idx="1">
                  <c:v>0.16575321014719702</c:v>
                </c:pt>
                <c:pt idx="2">
                  <c:v>0.26464140306921391</c:v>
                </c:pt>
                <c:pt idx="3">
                  <c:v>0.15079862198559352</c:v>
                </c:pt>
                <c:pt idx="4">
                  <c:v>9.7596304415909815E-2</c:v>
                </c:pt>
                <c:pt idx="5">
                  <c:v>4.9678985280300667E-2</c:v>
                </c:pt>
                <c:pt idx="6">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93.697826206455744</c:v>
                </c:pt>
                <c:pt idx="1">
                  <c:v>68.668888639387831</c:v>
                </c:pt>
                <c:pt idx="2">
                  <c:v>113.00114385327839</c:v>
                </c:pt>
                <c:pt idx="3">
                  <c:v>119.8424203097981</c:v>
                </c:pt>
                <c:pt idx="4">
                  <c:v>112.98067874316071</c:v>
                </c:pt>
                <c:pt idx="5">
                  <c:v>221.62224805515919</c:v>
                </c:pt>
                <c:pt idx="6">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234C4E6-C532-41F0-877E-71BB21190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3066C23-04F2-43DD-BFAD-FE101B061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DF275E5-AD0D-4C34-8D9E-21BBF2977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68A637D-0832-47C6-AB73-0DD564523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A7EA8EA-E1B5-43BB-9ED7-9D3264B6F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C405EC6-BC8D-4FFF-BA25-2ED382D07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66049A4-249F-44F5-B9CD-93E19B9D3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6879999999999997</c:v>
                </c:pt>
                <c:pt idx="1">
                  <c:v>0.39439999999999997</c:v>
                </c:pt>
                <c:pt idx="2">
                  <c:v>0.35649999999999998</c:v>
                </c:pt>
                <c:pt idx="3">
                  <c:v>0.34329999999999999</c:v>
                </c:pt>
                <c:pt idx="4">
                  <c:v>0.4365</c:v>
                </c:pt>
                <c:pt idx="5">
                  <c:v>0.43080000000000002</c:v>
                </c:pt>
                <c:pt idx="6">
                  <c:v>0.47510000000000002</c:v>
                </c:pt>
              </c:numCache>
            </c:numRef>
          </c:xVal>
          <c:yVal>
            <c:numRef>
              <c:f>Sheet1!$B$2:$B$8</c:f>
              <c:numCache>
                <c:formatCode>General</c:formatCode>
                <c:ptCount val="7"/>
                <c:pt idx="0">
                  <c:v>212.81818181818181</c:v>
                </c:pt>
                <c:pt idx="1">
                  <c:v>1861.373737373737</c:v>
                </c:pt>
                <c:pt idx="2">
                  <c:v>2046.9595959595961</c:v>
                </c:pt>
                <c:pt idx="3">
                  <c:v>2510.909090909091</c:v>
                </c:pt>
                <c:pt idx="4">
                  <c:v>295.54166666666669</c:v>
                </c:pt>
                <c:pt idx="5">
                  <c:v>542.23232323232321</c:v>
                </c:pt>
                <c:pt idx="6">
                  <c:v>619.70408163265301</c:v>
                </c:pt>
              </c:numCache>
            </c:numRef>
          </c:yVal>
          <c:bubbleSize>
            <c:numRef>
              <c:f>Sheet1!$C$2:$C$8</c:f>
              <c:numCache>
                <c:formatCode>General</c:formatCode>
                <c:ptCount val="7"/>
                <c:pt idx="0">
                  <c:v>7654.3233</c:v>
                </c:pt>
                <c:pt idx="1">
                  <c:v>105773.54399999999</c:v>
                </c:pt>
                <c:pt idx="2">
                  <c:v>123606.6195</c:v>
                </c:pt>
                <c:pt idx="3">
                  <c:v>154735.0969</c:v>
                </c:pt>
                <c:pt idx="4">
                  <c:v>15154.5465</c:v>
                </c:pt>
                <c:pt idx="5">
                  <c:v>28961.603999999999</c:v>
                </c:pt>
                <c:pt idx="6">
                  <c:v>30217.781999999999</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7758DFC-9CE8-4767-8657-CE2F98938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E1B2F33-46BF-4B2E-A399-57EBFAB69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D922EE8-2B20-458C-AD33-C4F60B9BF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A1DF549-4BA1-4765-9850-03D9CA47D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8D4F1DD-4634-4FAA-AE35-10BF1D77C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FE84B9E-6BE0-4892-8FB9-D7B6C5393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7143D1A-8283-4250-9729-0ACA7C989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34670000000000001</c:v>
                </c:pt>
                <c:pt idx="1">
                  <c:v>0.33479999999999999</c:v>
                </c:pt>
                <c:pt idx="2">
                  <c:v>0.4274</c:v>
                </c:pt>
                <c:pt idx="3">
                  <c:v>0.41710000000000003</c:v>
                </c:pt>
                <c:pt idx="4">
                  <c:v>0.43909999999999999</c:v>
                </c:pt>
                <c:pt idx="5">
                  <c:v>0.3528</c:v>
                </c:pt>
                <c:pt idx="6">
                  <c:v>0.40849999999999997</c:v>
                </c:pt>
                <c:pt idx="7">
                  <c:v>0.52359999999999995</c:v>
                </c:pt>
                <c:pt idx="8">
                  <c:v>0.40560000000000002</c:v>
                </c:pt>
                <c:pt idx="9">
                  <c:v>0.3977</c:v>
                </c:pt>
                <c:pt idx="10">
                  <c:v>0.38679999999999998</c:v>
                </c:pt>
                <c:pt idx="11">
                  <c:v>0.43819999999999998</c:v>
                </c:pt>
                <c:pt idx="12">
                  <c:v>0.3664</c:v>
                </c:pt>
                <c:pt idx="13">
                  <c:v>0.48130000000000001</c:v>
                </c:pt>
                <c:pt idx="14">
                  <c:v>0.46750000000000003</c:v>
                </c:pt>
              </c:numCache>
            </c:numRef>
          </c:xVal>
          <c:yVal>
            <c:numRef>
              <c:f>Sheet1!$B$2:$B$16</c:f>
              <c:numCache>
                <c:formatCode>General</c:formatCode>
                <c:ptCount val="15"/>
                <c:pt idx="0">
                  <c:v>899.93939393939399</c:v>
                </c:pt>
                <c:pt idx="1">
                  <c:v>706.57575757575762</c:v>
                </c:pt>
                <c:pt idx="2">
                  <c:v>229.83838383838381</c:v>
                </c:pt>
                <c:pt idx="3">
                  <c:v>259.5858585858586</c:v>
                </c:pt>
                <c:pt idx="4">
                  <c:v>547.73737373737379</c:v>
                </c:pt>
                <c:pt idx="5">
                  <c:v>154.5301204819277</c:v>
                </c:pt>
                <c:pt idx="6">
                  <c:v>253.43157894736839</c:v>
                </c:pt>
                <c:pt idx="7">
                  <c:v>110.4712643678161</c:v>
                </c:pt>
                <c:pt idx="8">
                  <c:v>209.1237113402062</c:v>
                </c:pt>
                <c:pt idx="9">
                  <c:v>321.57142857142861</c:v>
                </c:pt>
                <c:pt idx="10">
                  <c:v>327.33333333333331</c:v>
                </c:pt>
                <c:pt idx="11">
                  <c:v>205.3052631578947</c:v>
                </c:pt>
                <c:pt idx="12">
                  <c:v>1058.6464646464649</c:v>
                </c:pt>
                <c:pt idx="13">
                  <c:v>373.97979797979798</c:v>
                </c:pt>
                <c:pt idx="14">
                  <c:v>106.42465753424661</c:v>
                </c:pt>
              </c:numCache>
            </c:numRef>
          </c:yVal>
          <c:bubbleSize>
            <c:numRef>
              <c:f>Sheet1!$C$2:$C$16</c:f>
              <c:numCache>
                <c:formatCode>General</c:formatCode>
                <c:ptCount val="15"/>
                <c:pt idx="0">
                  <c:v>55170.794599999987</c:v>
                </c:pt>
                <c:pt idx="1">
                  <c:v>44106.495000000003</c:v>
                </c:pt>
                <c:pt idx="2">
                  <c:v>12349.773800000001</c:v>
                </c:pt>
                <c:pt idx="3">
                  <c:v>14198.6855</c:v>
                </c:pt>
                <c:pt idx="4">
                  <c:v>28831.452000000001</c:v>
                </c:pt>
                <c:pt idx="5">
                  <c:v>7867.86</c:v>
                </c:pt>
                <c:pt idx="6">
                  <c:v>13497.9589</c:v>
                </c:pt>
                <c:pt idx="7">
                  <c:v>4340.1383999999998</c:v>
                </c:pt>
                <c:pt idx="8">
                  <c:v>11428.3532</c:v>
                </c:pt>
                <c:pt idx="9">
                  <c:v>17992.606500000002</c:v>
                </c:pt>
                <c:pt idx="10">
                  <c:v>18264.846600000001</c:v>
                </c:pt>
                <c:pt idx="11">
                  <c:v>10385.634599999999</c:v>
                </c:pt>
                <c:pt idx="12">
                  <c:v>62945.8802</c:v>
                </c:pt>
                <c:pt idx="13">
                  <c:v>18204.570100000001</c:v>
                </c:pt>
                <c:pt idx="14">
                  <c:v>3921.063900000001</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Salade &amp; Aperitif Fromage Frais Des Afh 1X120Gr 1P</c:v>
                  </c:pt>
                  <c:pt idx="5">
                    <c:v>Boursin Salade &amp; Aperitif Fromage Frais Des Figue Noix 1X120Gr 1P</c:v>
                  </c:pt>
                  <c:pt idx="6">
                    <c:v>Boursin Salade &amp; Aperitif Fromage Frais Des Ciboulette Echalote 1X120Gr 1P</c:v>
                  </c:pt>
                  <c:pt idx="7">
                    <c:v>Boursin Salade &amp; Aperitif Fromage Frais Des Citron Romarin 1X12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Ciboulette &amp; Echalote 1X160Gr 10P</c:v>
                  </c:pt>
                  <c:pt idx="12">
                    <c:v>Boursin Classique Fromage Frais A Tartiner Afh Boite 1X250Gr 1P</c:v>
                  </c:pt>
                  <c:pt idx="13">
                    <c:v>Boursin Onctueux Fromage Frais A Tartiner Afh 1X125Gr 1P</c:v>
                  </c:pt>
                  <c:pt idx="14">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1E88C61-9DF1-4D2E-A443-0773F3CE5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A153BED-2891-47A2-92DF-2E45266D3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C1B336B-00AB-489C-9B3D-C732DC2CD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87557EF-C3F6-4AA0-A683-E7D1EB61C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930AAA6-5EFA-4A84-BD21-773239DB1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0E6524B-FD71-4243-99E9-BB4ADFE46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C59698C-174B-424E-AD8F-374DE3D6D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38059999999999999</c:v>
                </c:pt>
                <c:pt idx="1">
                  <c:v>0.3271</c:v>
                </c:pt>
                <c:pt idx="2">
                  <c:v>0.50280000000000002</c:v>
                </c:pt>
                <c:pt idx="3">
                  <c:v>0.28120000000000001</c:v>
                </c:pt>
                <c:pt idx="4">
                  <c:v>0.3569</c:v>
                </c:pt>
                <c:pt idx="5">
                  <c:v>0.51970000000000005</c:v>
                </c:pt>
                <c:pt idx="6">
                  <c:v>0.38369999999999999</c:v>
                </c:pt>
                <c:pt idx="7">
                  <c:v>0.39319999999999999</c:v>
                </c:pt>
                <c:pt idx="8">
                  <c:v>0.51070000000000004</c:v>
                </c:pt>
              </c:numCache>
            </c:numRef>
          </c:xVal>
          <c:yVal>
            <c:numRef>
              <c:f>Sheet1!$B$2:$B$10</c:f>
              <c:numCache>
                <c:formatCode>General</c:formatCode>
                <c:ptCount val="9"/>
                <c:pt idx="0">
                  <c:v>1288.617021276596</c:v>
                </c:pt>
                <c:pt idx="1">
                  <c:v>1618.623529411765</c:v>
                </c:pt>
                <c:pt idx="2">
                  <c:v>371.75</c:v>
                </c:pt>
                <c:pt idx="3">
                  <c:v>520.91525423728808</c:v>
                </c:pt>
                <c:pt idx="4">
                  <c:v>1084.782608695652</c:v>
                </c:pt>
                <c:pt idx="5">
                  <c:v>466.8</c:v>
                </c:pt>
                <c:pt idx="6">
                  <c:v>1075.011235955056</c:v>
                </c:pt>
                <c:pt idx="7">
                  <c:v>1039.014925373134</c:v>
                </c:pt>
                <c:pt idx="8">
                  <c:v>319</c:v>
                </c:pt>
              </c:numCache>
            </c:numRef>
          </c:yVal>
          <c:bubbleSize>
            <c:numRef>
              <c:f>Sheet1!$C$2:$C$10</c:f>
              <c:numCache>
                <c:formatCode>General</c:formatCode>
                <c:ptCount val="9"/>
                <c:pt idx="0">
                  <c:v>35560.734499999999</c:v>
                </c:pt>
                <c:pt idx="1">
                  <c:v>87751.572</c:v>
                </c:pt>
                <c:pt idx="2">
                  <c:v>7708.5276000000013</c:v>
                </c:pt>
                <c:pt idx="3">
                  <c:v>20940.809799999999</c:v>
                </c:pt>
                <c:pt idx="4">
                  <c:v>60834.53439999999</c:v>
                </c:pt>
                <c:pt idx="5">
                  <c:v>6375.4179999999997</c:v>
                </c:pt>
                <c:pt idx="6">
                  <c:v>55887.63</c:v>
                </c:pt>
                <c:pt idx="7">
                  <c:v>40040.788</c:v>
                </c:pt>
                <c:pt idx="8">
                  <c:v>1479.5652</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1A367D4-BC33-4A94-A1A8-326322112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CB21A61-A413-4F1D-A53C-1B125EA52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03DF4AF-0E9F-41BF-B023-A52A06473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BDDFA25-11A3-42D7-B415-868125DB8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0D6A713-EA8A-45E8-B655-D53F614ED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770A6E5-6FE8-4FEF-9E6A-DE8BC3133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87626A3-4983-4435-9F10-3F60E9FD2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9699999999999998</c:v>
                </c:pt>
                <c:pt idx="1">
                  <c:v>0.4002</c:v>
                </c:pt>
                <c:pt idx="2">
                  <c:v>0.38890000000000002</c:v>
                </c:pt>
                <c:pt idx="3">
                  <c:v>0.38619999999999999</c:v>
                </c:pt>
                <c:pt idx="4">
                  <c:v>0.4975</c:v>
                </c:pt>
                <c:pt idx="5">
                  <c:v>0.47520000000000001</c:v>
                </c:pt>
                <c:pt idx="6">
                  <c:v>0.51659999999999995</c:v>
                </c:pt>
              </c:numCache>
            </c:numRef>
          </c:xVal>
          <c:yVal>
            <c:numRef>
              <c:f>Sheet1!$B$2:$B$8</c:f>
              <c:numCache>
                <c:formatCode>General</c:formatCode>
                <c:ptCount val="7"/>
                <c:pt idx="0">
                  <c:v>302.72000000000003</c:v>
                </c:pt>
                <c:pt idx="1">
                  <c:v>2144.071428571428</c:v>
                </c:pt>
                <c:pt idx="2">
                  <c:v>1798.10294117647</c:v>
                </c:pt>
                <c:pt idx="3">
                  <c:v>2110.4923076923078</c:v>
                </c:pt>
                <c:pt idx="4">
                  <c:v>544.73809523809518</c:v>
                </c:pt>
                <c:pt idx="5">
                  <c:v>586.18181818181813</c:v>
                </c:pt>
                <c:pt idx="6">
                  <c:v>514.03125</c:v>
                </c:pt>
              </c:numCache>
            </c:numRef>
          </c:yVal>
          <c:bubbleSize>
            <c:numRef>
              <c:f>Sheet1!$C$2:$C$8</c:f>
              <c:numCache>
                <c:formatCode>General</c:formatCode>
                <c:ptCount val="7"/>
                <c:pt idx="0">
                  <c:v>2891.0972999999999</c:v>
                </c:pt>
                <c:pt idx="1">
                  <c:v>119456.67479999999</c:v>
                </c:pt>
                <c:pt idx="2">
                  <c:v>70823.141200000013</c:v>
                </c:pt>
                <c:pt idx="3">
                  <c:v>79817.339399999997</c:v>
                </c:pt>
                <c:pt idx="4">
                  <c:v>10898.412</c:v>
                </c:pt>
                <c:pt idx="5">
                  <c:v>22425.295999999998</c:v>
                </c:pt>
                <c:pt idx="6">
                  <c:v>7537.2546000000002</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1CF3B1F-D666-47F0-8982-5472B80BE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03AE7E5-B86A-4689-B234-E38CD55F2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FC64954-5C7C-4E45-9080-1D822FD58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7628B0D-CF33-4D3F-8403-EC55342C3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CD8C586-6F87-497B-B7FE-86E14EA93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F054192-4036-4558-A37B-0788BFFBB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258DB72-E51C-498E-BD7A-4FCB2A085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38300000000000001</c:v>
                </c:pt>
                <c:pt idx="1">
                  <c:v>0.37259999999999999</c:v>
                </c:pt>
                <c:pt idx="2">
                  <c:v>0.48259999999999997</c:v>
                </c:pt>
                <c:pt idx="3">
                  <c:v>0.47199999999999998</c:v>
                </c:pt>
                <c:pt idx="4">
                  <c:v>0.4783</c:v>
                </c:pt>
                <c:pt idx="5">
                  <c:v>0.41139999999999999</c:v>
                </c:pt>
                <c:pt idx="6">
                  <c:v>0.4541</c:v>
                </c:pt>
                <c:pt idx="7">
                  <c:v>0.5595</c:v>
                </c:pt>
                <c:pt idx="8">
                  <c:v>0.4642</c:v>
                </c:pt>
                <c:pt idx="9">
                  <c:v>0.44919999999999999</c:v>
                </c:pt>
                <c:pt idx="10">
                  <c:v>0.41</c:v>
                </c:pt>
                <c:pt idx="11">
                  <c:v>0.4864</c:v>
                </c:pt>
                <c:pt idx="12">
                  <c:v>0.40670000000000001</c:v>
                </c:pt>
                <c:pt idx="13">
                  <c:v>0.52939999999999998</c:v>
                </c:pt>
                <c:pt idx="14">
                  <c:v>0.51249999999999996</c:v>
                </c:pt>
              </c:numCache>
            </c:numRef>
          </c:xVal>
          <c:yVal>
            <c:numRef>
              <c:f>Sheet1!$B$2:$B$16</c:f>
              <c:numCache>
                <c:formatCode>General</c:formatCode>
                <c:ptCount val="15"/>
                <c:pt idx="0">
                  <c:v>1038.5555555555561</c:v>
                </c:pt>
                <c:pt idx="1">
                  <c:v>948.11458333333337</c:v>
                </c:pt>
                <c:pt idx="2">
                  <c:v>415.85</c:v>
                </c:pt>
                <c:pt idx="3">
                  <c:v>531.17283950617286</c:v>
                </c:pt>
                <c:pt idx="4">
                  <c:v>612.89285714285711</c:v>
                </c:pt>
                <c:pt idx="5">
                  <c:v>284.5</c:v>
                </c:pt>
                <c:pt idx="6">
                  <c:v>258.48837209302332</c:v>
                </c:pt>
                <c:pt idx="7">
                  <c:v>164.25</c:v>
                </c:pt>
                <c:pt idx="8">
                  <c:v>369.57627118644069</c:v>
                </c:pt>
                <c:pt idx="9">
                  <c:v>491.4848484848485</c:v>
                </c:pt>
                <c:pt idx="10">
                  <c:v>296.15151515151513</c:v>
                </c:pt>
                <c:pt idx="11">
                  <c:v>255.95652173913041</c:v>
                </c:pt>
                <c:pt idx="12">
                  <c:v>854.77333333333331</c:v>
                </c:pt>
                <c:pt idx="13">
                  <c:v>667.28395061728395</c:v>
                </c:pt>
                <c:pt idx="14">
                  <c:v>215.78571428571419</c:v>
                </c:pt>
              </c:numCache>
            </c:numRef>
          </c:yVal>
          <c:bubbleSize>
            <c:numRef>
              <c:f>Sheet1!$C$2:$C$16</c:f>
              <c:numCache>
                <c:formatCode>General</c:formatCode>
                <c:ptCount val="15"/>
                <c:pt idx="0">
                  <c:v>54621.099199999997</c:v>
                </c:pt>
                <c:pt idx="1">
                  <c:v>54132.285000000003</c:v>
                </c:pt>
                <c:pt idx="2">
                  <c:v>16316.1432</c:v>
                </c:pt>
                <c:pt idx="3">
                  <c:v>21532.756399999998</c:v>
                </c:pt>
                <c:pt idx="4">
                  <c:v>25458.860400000001</c:v>
                </c:pt>
                <c:pt idx="5">
                  <c:v>2856.9135000000001</c:v>
                </c:pt>
                <c:pt idx="6">
                  <c:v>5751.4501999999993</c:v>
                </c:pt>
                <c:pt idx="7">
                  <c:v>1920.1572000000001</c:v>
                </c:pt>
                <c:pt idx="8">
                  <c:v>11073.1368</c:v>
                </c:pt>
                <c:pt idx="9">
                  <c:v>16934.157899999998</c:v>
                </c:pt>
                <c:pt idx="10">
                  <c:v>5465.4452999999994</c:v>
                </c:pt>
                <c:pt idx="11">
                  <c:v>5731.8689999999997</c:v>
                </c:pt>
                <c:pt idx="12">
                  <c:v>36049.686399999999</c:v>
                </c:pt>
                <c:pt idx="13">
                  <c:v>24109.244900000002</c:v>
                </c:pt>
                <c:pt idx="14">
                  <c:v>1395.9426000000001</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Salade &amp; Aperitif Fromage Frais Des Afh 1X120Gr 1P</c:v>
                  </c:pt>
                  <c:pt idx="5">
                    <c:v>Boursin Salade &amp; Aperitif Fromage Frais Des Figue Noix 1X120Gr 1P</c:v>
                  </c:pt>
                  <c:pt idx="6">
                    <c:v>Boursin Salade &amp; Aperitif Fromage Frais Des Ciboulette Echalote 1X120Gr 1P</c:v>
                  </c:pt>
                  <c:pt idx="7">
                    <c:v>Boursin Salade &amp; Aperitif Fromage Frais Des Citron Romarin 1X12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Ciboulette &amp; Echalote 1X160Gr 10P</c:v>
                  </c:pt>
                  <c:pt idx="12">
                    <c:v>Boursin Classique Fromage Frais A Tartiner Afh Boite 1X250Gr 1P</c:v>
                  </c:pt>
                  <c:pt idx="13">
                    <c:v>Boursin Onctueux Fromage Frais A Tartiner Afh 1X125Gr 1P</c:v>
                  </c:pt>
                  <c:pt idx="14">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055803A-697F-46CD-A0B3-B2926C40B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9830C92-B174-4531-AE15-027A2912F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0A01438-0A1F-40B6-A76D-D7DED808C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575B957-510E-459D-849D-0C732FCE3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899A570-7F18-48FE-9062-E2E606815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9D77FA8-E385-4219-BAD7-297CB5074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FFB0532-86A5-40EF-B1CB-47A5F4562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4599999999999997</c:v>
                </c:pt>
                <c:pt idx="1">
                  <c:v>0.3276</c:v>
                </c:pt>
                <c:pt idx="2">
                  <c:v>0.4259</c:v>
                </c:pt>
              </c:numCache>
            </c:numRef>
          </c:xVal>
          <c:yVal>
            <c:numRef>
              <c:f>Sheet1!$B$2:$B$4</c:f>
              <c:numCache>
                <c:formatCode>General</c:formatCode>
                <c:ptCount val="3"/>
                <c:pt idx="0">
                  <c:v>8016.8743047830922</c:v>
                </c:pt>
                <c:pt idx="1">
                  <c:v>3581.9471488178028</c:v>
                </c:pt>
                <c:pt idx="2">
                  <c:v>1497</c:v>
                </c:pt>
              </c:numCache>
            </c:numRef>
          </c:yVal>
          <c:bubbleSize>
            <c:numRef>
              <c:f>Sheet1!$C$2:$C$4</c:f>
              <c:numCache>
                <c:formatCode>General</c:formatCode>
                <c:ptCount val="3"/>
                <c:pt idx="0">
                  <c:v>446772.16639999987</c:v>
                </c:pt>
                <c:pt idx="1">
                  <c:v>164137.07250000001</c:v>
                </c:pt>
                <c:pt idx="2">
                  <c:v>28513.120200000001</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Ciboulette &amp; Echalote Jambon Fume Boite 1X100Gr 20P</c:v>
                  </c:pt>
                  <c:pt idx="2">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C7B0B87-2A8F-4A30-A040-C2D7F3BD5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A75F446-D84A-495B-9479-4C77A4F59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EF4C785-914C-4881-8EA0-FA5BA0911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DD93985-048D-43C6-B226-333CA136E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3F90639-BC4A-4E05-9266-A4F5A2011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C97C183-C391-407F-8628-60AFBA6C8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20A8119-BE5B-47C1-86BE-DF4C1887C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2770000000000002</c:v>
                </c:pt>
                <c:pt idx="1">
                  <c:v>0.43380000000000002</c:v>
                </c:pt>
                <c:pt idx="2">
                  <c:v>0.4607</c:v>
                </c:pt>
                <c:pt idx="3">
                  <c:v>0.25890000000000002</c:v>
                </c:pt>
                <c:pt idx="4">
                  <c:v>0.42380000000000001</c:v>
                </c:pt>
              </c:numCache>
            </c:numRef>
          </c:xVal>
          <c:yVal>
            <c:numRef>
              <c:f>Sheet1!$B$2:$B$6</c:f>
              <c:numCache>
                <c:formatCode>General</c:formatCode>
                <c:ptCount val="5"/>
                <c:pt idx="0">
                  <c:v>6322.3101265822788</c:v>
                </c:pt>
                <c:pt idx="1">
                  <c:v>2063.0500000000002</c:v>
                </c:pt>
                <c:pt idx="2">
                  <c:v>4077.1702367531002</c:v>
                </c:pt>
                <c:pt idx="3">
                  <c:v>127.8082191780822</c:v>
                </c:pt>
                <c:pt idx="4">
                  <c:v>733.87537993920978</c:v>
                </c:pt>
              </c:numCache>
            </c:numRef>
          </c:yVal>
          <c:bubbleSize>
            <c:numRef>
              <c:f>Sheet1!$C$2:$C$6</c:f>
              <c:numCache>
                <c:formatCode>General</c:formatCode>
                <c:ptCount val="5"/>
                <c:pt idx="0">
                  <c:v>325139.99699999997</c:v>
                </c:pt>
                <c:pt idx="1">
                  <c:v>88570.481599999999</c:v>
                </c:pt>
                <c:pt idx="2">
                  <c:v>184870.6992</c:v>
                </c:pt>
                <c:pt idx="3">
                  <c:v>2621.6628999999998</c:v>
                </c:pt>
                <c:pt idx="4">
                  <c:v>26373.204000000002</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E84BA2E-E7FC-4CAD-BDBD-97FD9F77E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C96577D-BE8A-4195-9DE0-3D1379277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6778787-78CE-48A1-92D4-CDC22FED9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A5E48C3-8819-432A-AF36-F7D09D9E9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2D94040-0187-4519-8630-90123BC55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78C1EA1-30C4-44C5-AC11-73EF852A9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A758765-4F2A-4D22-98D4-4FEEB25B9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9370000000000002</c:v>
                </c:pt>
                <c:pt idx="1">
                  <c:v>0.31459999999999999</c:v>
                </c:pt>
                <c:pt idx="2">
                  <c:v>0.40500000000000003</c:v>
                </c:pt>
              </c:numCache>
            </c:numRef>
          </c:xVal>
          <c:yVal>
            <c:numRef>
              <c:f>Sheet1!$B$2:$B$4</c:f>
              <c:numCache>
                <c:formatCode>General</c:formatCode>
                <c:ptCount val="3"/>
                <c:pt idx="0">
                  <c:v>2140.636363636364</c:v>
                </c:pt>
                <c:pt idx="1">
                  <c:v>1159.7777777777781</c:v>
                </c:pt>
                <c:pt idx="2">
                  <c:v>590.58490566037733</c:v>
                </c:pt>
              </c:numCache>
            </c:numRef>
          </c:yVal>
          <c:bubbleSize>
            <c:numRef>
              <c:f>Sheet1!$C$2:$C$4</c:f>
              <c:numCache>
                <c:formatCode>General</c:formatCode>
                <c:ptCount val="3"/>
                <c:pt idx="0">
                  <c:v>141887.92000000001</c:v>
                </c:pt>
                <c:pt idx="1">
                  <c:v>67815.993400000007</c:v>
                </c:pt>
                <c:pt idx="2">
                  <c:v>17652.18</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Ciboulette &amp; Echalote Jambon Fume Boite 1X100Gr 20P</c:v>
                  </c:pt>
                  <c:pt idx="2">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CBA4B13-B45F-47E1-BA15-0979FD670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5DFF65D-8965-46CC-96C9-EDC1CC985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EE3ACF0-F0AD-465C-8A6B-0120DFBA4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25D661D-86E2-4B8E-9132-C8625E578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277F6A1-8A0D-4D78-8869-48C7C091D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7EA54D5-B7D4-491B-BE80-5FAE337B5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BBBA441-E23E-4F2C-9C6F-5CC00CACF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1259999999999999</c:v>
                </c:pt>
                <c:pt idx="1">
                  <c:v>0.31480000000000002</c:v>
                </c:pt>
                <c:pt idx="2">
                  <c:v>0.45679999999999998</c:v>
                </c:pt>
              </c:numCache>
            </c:numRef>
          </c:xVal>
          <c:yVal>
            <c:numRef>
              <c:f>Sheet1!$B$2:$B$4</c:f>
              <c:numCache>
                <c:formatCode>General</c:formatCode>
                <c:ptCount val="3"/>
                <c:pt idx="0">
                  <c:v>2727.5957446808511</c:v>
                </c:pt>
                <c:pt idx="1">
                  <c:v>1685.3544303797471</c:v>
                </c:pt>
                <c:pt idx="2">
                  <c:v>727.37931034482767</c:v>
                </c:pt>
              </c:numCache>
            </c:numRef>
          </c:yVal>
          <c:bubbleSize>
            <c:numRef>
              <c:f>Sheet1!$C$2:$C$4</c:f>
              <c:numCache>
                <c:formatCode>General</c:formatCode>
                <c:ptCount val="3"/>
                <c:pt idx="0">
                  <c:v>167052.128</c:v>
                </c:pt>
                <c:pt idx="1">
                  <c:v>86476.008199999997</c:v>
                </c:pt>
                <c:pt idx="2">
                  <c:v>10860.940199999999</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Ciboulette &amp; Echalote Jambon Fume Boite 1X100Gr 20P</c:v>
                  </c:pt>
                  <c:pt idx="2">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1ACFD9C-E5C3-4E0D-A09E-146F19C7B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5E2D3E-0FDD-49C9-99F9-D4407D129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50CC677A-4ACE-4EBA-B920-0A7564D76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92F5DB7-214F-456B-949A-4A8AEEEDF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6165175-1725-4753-ACDB-BF39C9D08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AE7E7AA-2000-4A8F-8498-484535DC3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179EB17-8BF3-4DD0-9D9E-0EB3753D9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4239</c:v>
                </c:pt>
                <c:pt idx="1">
                  <c:v>0.48120000000000002</c:v>
                </c:pt>
              </c:numCache>
            </c:numRef>
          </c:xVal>
          <c:yVal>
            <c:numRef>
              <c:f>Sheet1!$B$2:$B$3</c:f>
              <c:numCache>
                <c:formatCode>General</c:formatCode>
                <c:ptCount val="2"/>
                <c:pt idx="0">
                  <c:v>4507.1428571428569</c:v>
                </c:pt>
                <c:pt idx="1">
                  <c:v>2859.8571428571431</c:v>
                </c:pt>
              </c:numCache>
            </c:numRef>
          </c:yVal>
          <c:bubbleSize>
            <c:numRef>
              <c:f>Sheet1!$C$2:$C$3</c:f>
              <c:numCache>
                <c:formatCode>General</c:formatCode>
                <c:ptCount val="2"/>
                <c:pt idx="0">
                  <c:v>137832.11840000001</c:v>
                </c:pt>
                <c:pt idx="1">
                  <c:v>9845.0709000000006</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Ciboulette &amp; Echalote Jambon Fume Boite 1X100Gr 2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28651421054722331</c:v>
                </c:pt>
                <c:pt idx="1">
                  <c:v>0.27293567361506516</c:v>
                </c:pt>
                <c:pt idx="2">
                  <c:v>0.23021664682784623</c:v>
                </c:pt>
                <c:pt idx="3">
                  <c:v>0.10498361642136191</c:v>
                </c:pt>
                <c:pt idx="4">
                  <c:v>8.6072407842832793E-2</c:v>
                </c:pt>
                <c:pt idx="5">
                  <c:v>1.9234759685992579E-2</c:v>
                </c:pt>
                <c:pt idx="6">
                  <c:v>4.268505967807240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8358208955223879</c:v>
                </c:pt>
                <c:pt idx="1">
                  <c:v>0.27194029850746265</c:v>
                </c:pt>
                <c:pt idx="2">
                  <c:v>0.24507462686567166</c:v>
                </c:pt>
                <c:pt idx="3">
                  <c:v>0</c:v>
                </c:pt>
                <c:pt idx="4">
                  <c:v>0.1164179104477612</c:v>
                </c:pt>
                <c:pt idx="5">
                  <c:v>8.2686567164179103E-2</c:v>
                </c:pt>
                <c:pt idx="6">
                  <c:v>2.9850746268656717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98.976622838572524</c:v>
                </c:pt>
                <c:pt idx="1">
                  <c:v>99.635307801864585</c:v>
                </c:pt>
                <c:pt idx="2">
                  <c:v>106.45391210520761</c:v>
                </c:pt>
                <c:pt idx="3">
                  <c:v>1</c:v>
                </c:pt>
                <c:pt idx="4">
                  <c:v>135.25578447896908</c:v>
                </c:pt>
                <c:pt idx="5">
                  <c:v>429.88094737879328</c:v>
                </c:pt>
                <c:pt idx="6">
                  <c:v>699.325396140684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2DEBD9F-D669-41D7-A812-6ABEFAB24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AEF63E9-E006-45BB-AFF4-4F27AF5F9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7D6F736-E8C1-4F40-9313-A79C2574E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C73128C-C69E-414B-8649-564F2BEBB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6A38D53-0DEF-4FB9-83D4-1E9BBA614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9D1D70F-E599-4FD1-9A91-39DAA928D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2A4CF98-C427-4376-9F55-CE6D5A553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2599999999999999</c:v>
                </c:pt>
                <c:pt idx="1">
                  <c:v>0.43430000000000002</c:v>
                </c:pt>
                <c:pt idx="2">
                  <c:v>0.46129999999999999</c:v>
                </c:pt>
                <c:pt idx="3">
                  <c:v>0.25840000000000002</c:v>
                </c:pt>
                <c:pt idx="4">
                  <c:v>0.42370000000000002</c:v>
                </c:pt>
              </c:numCache>
            </c:numRef>
          </c:xVal>
          <c:yVal>
            <c:numRef>
              <c:f>Sheet1!$B$2:$B$6</c:f>
              <c:numCache>
                <c:formatCode>General</c:formatCode>
                <c:ptCount val="5"/>
                <c:pt idx="0">
                  <c:v>4568.0927835051543</c:v>
                </c:pt>
                <c:pt idx="1">
                  <c:v>1521.8941176470589</c:v>
                </c:pt>
                <c:pt idx="2">
                  <c:v>3053.16129032258</c:v>
                </c:pt>
                <c:pt idx="3">
                  <c:v>100.6551724137931</c:v>
                </c:pt>
                <c:pt idx="4">
                  <c:v>553.08571428571429</c:v>
                </c:pt>
              </c:numCache>
            </c:numRef>
          </c:yVal>
          <c:bubbleSize>
            <c:numRef>
              <c:f>Sheet1!$C$2:$C$6</c:f>
              <c:numCache>
                <c:formatCode>General</c:formatCode>
                <c:ptCount val="5"/>
                <c:pt idx="0">
                  <c:v>241072.77720000001</c:v>
                </c:pt>
                <c:pt idx="1">
                  <c:v>69362.099199999997</c:v>
                </c:pt>
                <c:pt idx="2">
                  <c:v>144999.24479999999</c:v>
                </c:pt>
                <c:pt idx="3">
                  <c:v>2051.9259999999999</c:v>
                </c:pt>
                <c:pt idx="4">
                  <c:v>21148.5615</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AB80345-2B2F-4E5C-80E6-AB7F5A828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50DFE0F-BAF9-48F7-9B92-6D50F4196A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D3E01C9-B49D-408D-9FD0-4498B9C20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EDC4326-6417-40B0-819D-3E2954BC8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C1AF7C7-2519-45EC-BC4F-17EAFCBA8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3A4411F-E6C7-4CF5-A728-68F5C46FE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87A3B03-199B-4449-B7B4-12122D1FC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1489999999999999</c:v>
                </c:pt>
                <c:pt idx="1">
                  <c:v>0.42059999999999997</c:v>
                </c:pt>
                <c:pt idx="2">
                  <c:v>0.44429999999999997</c:v>
                </c:pt>
                <c:pt idx="3">
                  <c:v>0.42370000000000002</c:v>
                </c:pt>
              </c:numCache>
            </c:numRef>
          </c:xVal>
          <c:yVal>
            <c:numRef>
              <c:f>Sheet1!$B$2:$B$5</c:f>
              <c:numCache>
                <c:formatCode>General</c:formatCode>
                <c:ptCount val="4"/>
                <c:pt idx="0">
                  <c:v>871.57575757575762</c:v>
                </c:pt>
                <c:pt idx="1">
                  <c:v>252.95789473684209</c:v>
                </c:pt>
                <c:pt idx="2">
                  <c:v>514.030303030303</c:v>
                </c:pt>
                <c:pt idx="3">
                  <c:v>83.186046511627907</c:v>
                </c:pt>
              </c:numCache>
            </c:numRef>
          </c:yVal>
          <c:bubbleSize>
            <c:numRef>
              <c:f>Sheet1!$C$2:$C$5</c:f>
              <c:numCache>
                <c:formatCode>General</c:formatCode>
                <c:ptCount val="4"/>
                <c:pt idx="0">
                  <c:v>47854.768199999999</c:v>
                </c:pt>
                <c:pt idx="1">
                  <c:v>13196.82</c:v>
                </c:pt>
                <c:pt idx="2">
                  <c:v>26803.497599999999</c:v>
                </c:pt>
                <c:pt idx="3">
                  <c:v>3908.1405</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24BC363-A0ED-4CAC-8EDE-28D9F2874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0FCA8BC-2A74-41D0-AC87-7206B1320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C20518C-2CFF-4859-A4A6-CCB57A662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AE7E322-A1F7-41BB-8A9B-D7B7093D3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10A6154-AD77-48A6-8DB7-B0A6DE7EA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1416B42-216E-4380-8119-F2E5FE4CF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1A330AB-E40E-42C7-90A9-C1E6E1407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45390000000000003</c:v>
                </c:pt>
                <c:pt idx="1">
                  <c:v>0.45569999999999999</c:v>
                </c:pt>
                <c:pt idx="2">
                  <c:v>0.48580000000000001</c:v>
                </c:pt>
                <c:pt idx="3">
                  <c:v>0.42580000000000001</c:v>
                </c:pt>
              </c:numCache>
            </c:numRef>
          </c:xVal>
          <c:yVal>
            <c:numRef>
              <c:f>Sheet1!$B$2:$B$5</c:f>
              <c:numCache>
                <c:formatCode>General</c:formatCode>
                <c:ptCount val="4"/>
                <c:pt idx="0">
                  <c:v>920.57894736842104</c:v>
                </c:pt>
                <c:pt idx="1">
                  <c:v>364.125</c:v>
                </c:pt>
                <c:pt idx="2">
                  <c:v>536.24</c:v>
                </c:pt>
                <c:pt idx="3">
                  <c:v>142.29411764705881</c:v>
                </c:pt>
              </c:numCache>
            </c:numRef>
          </c:yVal>
          <c:bubbleSize>
            <c:numRef>
              <c:f>Sheet1!$C$2:$C$5</c:f>
              <c:numCache>
                <c:formatCode>General</c:formatCode>
                <c:ptCount val="4"/>
                <c:pt idx="0">
                  <c:v>36212.4516</c:v>
                </c:pt>
                <c:pt idx="1">
                  <c:v>6011.5624000000007</c:v>
                </c:pt>
                <c:pt idx="2">
                  <c:v>13067.9568</c:v>
                </c:pt>
                <c:pt idx="3">
                  <c:v>1316.502</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1C884BB-CA00-48B6-A408-7EE1E5CCC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E61BFD37-70FB-422A-820C-E52902552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6A9C8F0B-C2EB-4F16-B9AD-AC550B402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00915A7-2FE6-431D-BE2C-C9AA9EC4C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6D40321-72ED-4101-BF4C-0A6A7D234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DB9C283-8FFF-4DFC-8CD7-5E381B6B5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30E084F-CA53-4EA4-97C0-12B667824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0629999999999999</c:v>
                </c:pt>
              </c:numCache>
            </c:numRef>
          </c:xVal>
          <c:yVal>
            <c:numRef>
              <c:f>Sheet1!$B$2:$B$2</c:f>
              <c:numCache>
                <c:formatCode>General</c:formatCode>
                <c:ptCount val="1"/>
                <c:pt idx="0">
                  <c:v>2059.0628706998809</c:v>
                </c:pt>
              </c:numCache>
            </c:numRef>
          </c:yVal>
          <c:bubbleSize>
            <c:numRef>
              <c:f>Sheet1!$C$2:$C$2</c:f>
              <c:numCache>
                <c:formatCode>General</c:formatCode>
                <c:ptCount val="1"/>
                <c:pt idx="0">
                  <c:v>97682.337500000009</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66B085C-3F97-4F29-9089-AE5C7E186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FFD8D3AE-3BAF-41B9-9959-EFE1DC5FB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9147B0F4-7FC6-4222-87DA-0904790E7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B43CC5E-2C1E-4699-8DFB-F54C601D6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3531A3A-EB6C-4953-80C5-2855A412D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E46559F-BB24-452A-89B9-F61F4618C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A96438F-7CE8-439B-8F67-DFB5A9331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0260000000000001</c:v>
                </c:pt>
              </c:numCache>
            </c:numRef>
          </c:xVal>
          <c:yVal>
            <c:numRef>
              <c:f>Sheet1!$B$2:$B$2</c:f>
              <c:numCache>
                <c:formatCode>General</c:formatCode>
                <c:ptCount val="1"/>
                <c:pt idx="0">
                  <c:v>1490.3647058823531</c:v>
                </c:pt>
              </c:numCache>
            </c:numRef>
          </c:yVal>
          <c:bubbleSize>
            <c:numRef>
              <c:f>Sheet1!$C$2:$C$2</c:f>
              <c:numCache>
                <c:formatCode>General</c:formatCode>
                <c:ptCount val="1"/>
                <c:pt idx="0">
                  <c:v>71735.347500000003</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98C9056-F955-4E26-B7A0-07CC09FD5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CF82590C-ACAC-45DC-855F-D0C6A57D8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ED40269E-D061-48CE-83DB-B255CE186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CA87C63-483A-46B2-8E3D-FF7527FAD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FDCB2ED-3A4D-417E-AA17-51823E38D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408DC5D-7434-4558-B437-0E2A03E56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9C07A36-DFBD-4600-8087-F03289EE9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8469999999999999</c:v>
                </c:pt>
              </c:numCache>
            </c:numRef>
          </c:xVal>
          <c:yVal>
            <c:numRef>
              <c:f>Sheet1!$B$2:$B$2</c:f>
              <c:numCache>
                <c:formatCode>General</c:formatCode>
                <c:ptCount val="1"/>
                <c:pt idx="0">
                  <c:v>199.64583333333329</c:v>
                </c:pt>
              </c:numCache>
            </c:numRef>
          </c:yVal>
          <c:bubbleSize>
            <c:numRef>
              <c:f>Sheet1!$C$2:$C$2</c:f>
              <c:numCache>
                <c:formatCode>General</c:formatCode>
                <c:ptCount val="1"/>
                <c:pt idx="0">
                  <c:v>11177.634</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C07E9B8-CD46-45E0-A163-B3F5C26B5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00B6BAE8-FA4A-4D78-A57C-F51888618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AF7402D1-79D0-4231-925B-DFEE982A8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F653750-8F8A-4FF7-8DB9-C57791909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1FA28C2-5327-421E-93A6-C0F8F7451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B1862B4-921B-4BAA-ABAA-DCA49AEB4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3D6AB6B-FF49-420F-931A-F473CDE18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3809999999999999</c:v>
                </c:pt>
              </c:numCache>
            </c:numRef>
          </c:xVal>
          <c:yVal>
            <c:numRef>
              <c:f>Sheet1!$B$2:$B$2</c:f>
              <c:numCache>
                <c:formatCode>General</c:formatCode>
                <c:ptCount val="1"/>
                <c:pt idx="0">
                  <c:v>413.91044776119401</c:v>
                </c:pt>
              </c:numCache>
            </c:numRef>
          </c:yVal>
          <c:bubbleSize>
            <c:numRef>
              <c:f>Sheet1!$C$2:$C$2</c:f>
              <c:numCache>
                <c:formatCode>General</c:formatCode>
                <c:ptCount val="1"/>
                <c:pt idx="0">
                  <c:v>14769.356</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4090824-D2AE-4372-BDCE-3BE4FFD71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0480D63-3775-494F-897F-284A5B322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AD5B818-42AE-473F-8D8F-DFE89D0CB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DDC4D09-094C-42BB-87EF-6D25865C7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11CADE0-E3FD-4084-BED2-BD0789CD2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DD794B2-3A77-4B1F-B539-00D233D39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3B2BEC5-BF5D-4D1C-BBCF-844CD36F4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9760000000000001</c:v>
                </c:pt>
                <c:pt idx="1">
                  <c:v>0.30159999999999998</c:v>
                </c:pt>
                <c:pt idx="2">
                  <c:v>0.2487</c:v>
                </c:pt>
                <c:pt idx="3">
                  <c:v>0.34449999999999997</c:v>
                </c:pt>
                <c:pt idx="4">
                  <c:v>0.34870000000000001</c:v>
                </c:pt>
                <c:pt idx="5">
                  <c:v>0.37290000000000001</c:v>
                </c:pt>
                <c:pt idx="6">
                  <c:v>0.33200000000000002</c:v>
                </c:pt>
              </c:numCache>
            </c:numRef>
          </c:xVal>
          <c:yVal>
            <c:numRef>
              <c:f>Sheet1!$B$2:$B$8</c:f>
              <c:numCache>
                <c:formatCode>General</c:formatCode>
                <c:ptCount val="7"/>
                <c:pt idx="0">
                  <c:v>18926.45669291338</c:v>
                </c:pt>
                <c:pt idx="1">
                  <c:v>10068.847087378639</c:v>
                </c:pt>
                <c:pt idx="2">
                  <c:v>6343.0617977528091</c:v>
                </c:pt>
                <c:pt idx="3">
                  <c:v>11865.449949443881</c:v>
                </c:pt>
                <c:pt idx="4">
                  <c:v>1778.3163265306121</c:v>
                </c:pt>
                <c:pt idx="5">
                  <c:v>11603.780359028509</c:v>
                </c:pt>
                <c:pt idx="6">
                  <c:v>6342.166666666667</c:v>
                </c:pt>
              </c:numCache>
            </c:numRef>
          </c:yVal>
          <c:bubbleSize>
            <c:numRef>
              <c:f>Sheet1!$C$2:$C$8</c:f>
              <c:numCache>
                <c:formatCode>General</c:formatCode>
                <c:ptCount val="7"/>
                <c:pt idx="0">
                  <c:v>823427.75609999988</c:v>
                </c:pt>
                <c:pt idx="1">
                  <c:v>549238.52140000009</c:v>
                </c:pt>
                <c:pt idx="2">
                  <c:v>321620.14799999999</c:v>
                </c:pt>
                <c:pt idx="3">
                  <c:v>729116.22960000008</c:v>
                </c:pt>
                <c:pt idx="4">
                  <c:v>43037.490400000002</c:v>
                </c:pt>
                <c:pt idx="5">
                  <c:v>653215.72479999985</c:v>
                </c:pt>
                <c:pt idx="6">
                  <c:v>289115.1395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9FF5227-D6C9-45C9-8C05-67470CCDE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AD9C4CC-6526-472B-B2AC-94D765E41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17664E3-C8C2-4CDD-9435-BE6E8F360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D7FF87E-96F0-468F-B725-79573B5EA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0C0F703-A20D-415D-B144-DC1E7BB41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F1E15E0-BA03-4506-86BF-F462C29A7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A1BA689-BDAE-474A-826E-E2EC424A5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2580000000000001</c:v>
                </c:pt>
                <c:pt idx="1">
                  <c:v>0.40760000000000002</c:v>
                </c:pt>
                <c:pt idx="2">
                  <c:v>0.25290000000000001</c:v>
                </c:pt>
                <c:pt idx="3">
                  <c:v>0.30990000000000001</c:v>
                </c:pt>
                <c:pt idx="4">
                  <c:v>0.3337</c:v>
                </c:pt>
                <c:pt idx="5">
                  <c:v>0.36580000000000001</c:v>
                </c:pt>
                <c:pt idx="6">
                  <c:v>0.40570000000000001</c:v>
                </c:pt>
                <c:pt idx="7">
                  <c:v>0.58560000000000001</c:v>
                </c:pt>
                <c:pt idx="8">
                  <c:v>0.4738</c:v>
                </c:pt>
                <c:pt idx="9">
                  <c:v>0.33339999999999997</c:v>
                </c:pt>
                <c:pt idx="10">
                  <c:v>0.32900000000000001</c:v>
                </c:pt>
              </c:numCache>
            </c:numRef>
          </c:xVal>
          <c:yVal>
            <c:numRef>
              <c:f>Sheet1!$B$2:$B$12</c:f>
              <c:numCache>
                <c:formatCode>General</c:formatCode>
                <c:ptCount val="11"/>
                <c:pt idx="0">
                  <c:v>2647.037037037037</c:v>
                </c:pt>
                <c:pt idx="1">
                  <c:v>15409.723926380369</c:v>
                </c:pt>
                <c:pt idx="2">
                  <c:v>8533.8912133891208</c:v>
                </c:pt>
                <c:pt idx="3">
                  <c:v>21776.25</c:v>
                </c:pt>
                <c:pt idx="4">
                  <c:v>20260.53482587064</c:v>
                </c:pt>
                <c:pt idx="5">
                  <c:v>1925.3319502074689</c:v>
                </c:pt>
                <c:pt idx="6">
                  <c:v>5208.3775811209434</c:v>
                </c:pt>
                <c:pt idx="7">
                  <c:v>9185</c:v>
                </c:pt>
                <c:pt idx="8">
                  <c:v>280.32258064516128</c:v>
                </c:pt>
                <c:pt idx="9">
                  <c:v>5863.0573951434872</c:v>
                </c:pt>
                <c:pt idx="10">
                  <c:v>2733.738095238095</c:v>
                </c:pt>
              </c:numCache>
            </c:numRef>
          </c:yVal>
          <c:bubbleSize>
            <c:numRef>
              <c:f>Sheet1!$C$2:$C$12</c:f>
              <c:numCache>
                <c:formatCode>General</c:formatCode>
                <c:ptCount val="11"/>
                <c:pt idx="0">
                  <c:v>3889.534900000001</c:v>
                </c:pt>
                <c:pt idx="1">
                  <c:v>846236.03999999992</c:v>
                </c:pt>
                <c:pt idx="2">
                  <c:v>433293.50400000002</c:v>
                </c:pt>
                <c:pt idx="3">
                  <c:v>1230767.2871999999</c:v>
                </c:pt>
                <c:pt idx="4">
                  <c:v>1028571.7537999999</c:v>
                </c:pt>
                <c:pt idx="5">
                  <c:v>55785.224399999999</c:v>
                </c:pt>
                <c:pt idx="6">
                  <c:v>198907.008</c:v>
                </c:pt>
                <c:pt idx="7">
                  <c:v>2886.078</c:v>
                </c:pt>
                <c:pt idx="8">
                  <c:v>2167.2575999999999</c:v>
                </c:pt>
                <c:pt idx="9">
                  <c:v>335628.37400000001</c:v>
                </c:pt>
                <c:pt idx="10">
                  <c:v>73020.837499999994</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35Gr 1P</c:v>
                  </c:pt>
                  <c:pt idx="8">
                    <c:v>La Vache Qui Rit Bio Fromage Fondu Boite Ronde 1X128Gr 8P</c:v>
                  </c:pt>
                  <c:pt idx="9">
                    <c:v>La Vache Qui Rit Pik Et Croq' Fromage Fondu Dips Boite 1X175Gr 5P</c:v>
                  </c:pt>
                  <c:pt idx="10">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020E6AA-150C-4DEC-97C0-99A9EE59C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8C2EE55-3721-41C2-ADB4-E422A9F6E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A46B934-1A31-4037-BD4D-0DFB74EE5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A2270F2-0288-4E9E-B057-60C62DCA1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04F2423-8E70-442F-B0F0-5BF161181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ABEEB8E-4BEE-46EB-AD4B-198116674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F3A66CB-D5AE-47C1-BDD5-2B447A338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4920000000000001</c:v>
                </c:pt>
                <c:pt idx="1">
                  <c:v>0.30590000000000001</c:v>
                </c:pt>
                <c:pt idx="2">
                  <c:v>0.27979999999999999</c:v>
                </c:pt>
                <c:pt idx="3">
                  <c:v>0.32190000000000002</c:v>
                </c:pt>
                <c:pt idx="4">
                  <c:v>0.47699999999999998</c:v>
                </c:pt>
                <c:pt idx="5">
                  <c:v>0.35870000000000002</c:v>
                </c:pt>
                <c:pt idx="6">
                  <c:v>0.35970000000000002</c:v>
                </c:pt>
                <c:pt idx="7">
                  <c:v>0.49249999999999999</c:v>
                </c:pt>
              </c:numCache>
            </c:numRef>
          </c:xVal>
          <c:yVal>
            <c:numRef>
              <c:f>Sheet1!$B$2:$B$9</c:f>
              <c:numCache>
                <c:formatCode>General</c:formatCode>
                <c:ptCount val="8"/>
                <c:pt idx="0">
                  <c:v>10742.450175849939</c:v>
                </c:pt>
                <c:pt idx="1">
                  <c:v>11646.567317574511</c:v>
                </c:pt>
                <c:pt idx="2">
                  <c:v>2973.1127450980389</c:v>
                </c:pt>
                <c:pt idx="3">
                  <c:v>6683.4521384928712</c:v>
                </c:pt>
                <c:pt idx="4">
                  <c:v>2049.083333333333</c:v>
                </c:pt>
                <c:pt idx="5">
                  <c:v>6589.0899795501027</c:v>
                </c:pt>
                <c:pt idx="6">
                  <c:v>8525.8127018299238</c:v>
                </c:pt>
                <c:pt idx="7">
                  <c:v>1197.900552486188</c:v>
                </c:pt>
              </c:numCache>
            </c:numRef>
          </c:yVal>
          <c:bubbleSize>
            <c:numRef>
              <c:f>Sheet1!$C$2:$C$9</c:f>
              <c:numCache>
                <c:formatCode>General</c:formatCode>
                <c:ptCount val="8"/>
                <c:pt idx="0">
                  <c:v>565301.65779999993</c:v>
                </c:pt>
                <c:pt idx="1">
                  <c:v>745588.13170000003</c:v>
                </c:pt>
                <c:pt idx="2">
                  <c:v>165609.193</c:v>
                </c:pt>
                <c:pt idx="3">
                  <c:v>421827.73999999987</c:v>
                </c:pt>
                <c:pt idx="4">
                  <c:v>60948.513500000008</c:v>
                </c:pt>
                <c:pt idx="5">
                  <c:v>391727.74859999999</c:v>
                </c:pt>
                <c:pt idx="6">
                  <c:v>480680.67700000003</c:v>
                </c:pt>
                <c:pt idx="7">
                  <c:v>31288.9553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ini Babybel</c:v>
                </c:pt>
                <c:pt idx="1">
                  <c:v>La Vache Qui Rit</c:v>
                </c:pt>
                <c:pt idx="2">
                  <c:v>Kiri</c:v>
                </c:pt>
                <c:pt idx="3">
                  <c:v>Private Label</c:v>
                </c:pt>
                <c:pt idx="4">
                  <c:v>Ficello</c:v>
                </c:pt>
                <c:pt idx="5">
                  <c:v>P'Tit Louis</c:v>
                </c:pt>
                <c:pt idx="6">
                  <c:v>Others</c:v>
                </c:pt>
              </c:strCache>
            </c:strRef>
          </c:cat>
          <c:val>
            <c:numRef>
              <c:f>Sheet1!$B$2:$B$8</c:f>
              <c:numCache>
                <c:formatCode>General</c:formatCode>
                <c:ptCount val="7"/>
                <c:pt idx="0">
                  <c:v>0.27575776006389285</c:v>
                </c:pt>
                <c:pt idx="1">
                  <c:v>0.25890909090909092</c:v>
                </c:pt>
                <c:pt idx="2">
                  <c:v>0.22909606966778787</c:v>
                </c:pt>
                <c:pt idx="3">
                  <c:v>0.12383221981600086</c:v>
                </c:pt>
                <c:pt idx="4">
                  <c:v>9.7344084535164105E-2</c:v>
                </c:pt>
                <c:pt idx="5">
                  <c:v>1.4984103580150209E-2</c:v>
                </c:pt>
                <c:pt idx="6">
                  <c:v>7.667142791319172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ini Babybel</c:v>
                </c:pt>
                <c:pt idx="1">
                  <c:v>La Vache Qui Rit</c:v>
                </c:pt>
                <c:pt idx="2">
                  <c:v>Kiri</c:v>
                </c:pt>
                <c:pt idx="3">
                  <c:v>Private Label</c:v>
                </c:pt>
                <c:pt idx="4">
                  <c:v>Ficello</c:v>
                </c:pt>
                <c:pt idx="5">
                  <c:v>P'Tit Louis</c:v>
                </c:pt>
                <c:pt idx="6">
                  <c:v>Others</c:v>
                </c:pt>
              </c:strCache>
            </c:strRef>
          </c:cat>
          <c:val>
            <c:numRef>
              <c:f>Sheet1!$C$2:$C$8</c:f>
              <c:numCache>
                <c:formatCode>General</c:formatCode>
                <c:ptCount val="7"/>
                <c:pt idx="0">
                  <c:v>0.22866894197952214</c:v>
                </c:pt>
                <c:pt idx="1">
                  <c:v>0.31643100926377377</c:v>
                </c:pt>
                <c:pt idx="2">
                  <c:v>0.28473915163334956</c:v>
                </c:pt>
                <c:pt idx="3">
                  <c:v>0</c:v>
                </c:pt>
                <c:pt idx="4">
                  <c:v>0.12969283276450511</c:v>
                </c:pt>
                <c:pt idx="5">
                  <c:v>4.0468064358849344E-2</c:v>
                </c:pt>
                <c:pt idx="6">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ini Babybel</c:v>
                </c:pt>
                <c:pt idx="1">
                  <c:v>La Vache Qui Rit</c:v>
                </c:pt>
                <c:pt idx="2">
                  <c:v>Kiri</c:v>
                </c:pt>
                <c:pt idx="3">
                  <c:v>Private Label</c:v>
                </c:pt>
                <c:pt idx="4">
                  <c:v>Ficello</c:v>
                </c:pt>
                <c:pt idx="5">
                  <c:v>P'Tit Louis</c:v>
                </c:pt>
                <c:pt idx="6">
                  <c:v>Others</c:v>
                </c:pt>
              </c:strCache>
            </c:strRef>
          </c:cat>
          <c:val>
            <c:numRef>
              <c:f>Sheet1!$D$2:$D$8</c:f>
              <c:numCache>
                <c:formatCode>General</c:formatCode>
                <c:ptCount val="7"/>
                <c:pt idx="0">
                  <c:v>82.923846613252067</c:v>
                </c:pt>
                <c:pt idx="1">
                  <c:v>122.21703307238452</c:v>
                </c:pt>
                <c:pt idx="2">
                  <c:v>124.28809976803605</c:v>
                </c:pt>
                <c:pt idx="3">
                  <c:v>1</c:v>
                </c:pt>
                <c:pt idx="4">
                  <c:v>133.23134465110255</c:v>
                </c:pt>
                <c:pt idx="5">
                  <c:v>270.07330897297271</c:v>
                </c:pt>
                <c:pt idx="6">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EAEE9C5-6929-465E-A972-B4798B494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7A89272-1461-47DF-B8E7-D71693D1F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59BCFA8-8CE1-42B2-A25F-BE48BCFF6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5F6A7DA-42C4-43C2-BEDB-8ACCD87E3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C6782CD-3BC1-46B2-9423-43D3A9BD0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BAED587-FCE9-49CB-96E6-716776DE5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9187B02-985D-456B-A61A-55585C5BD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7799999999999996</c:v>
                </c:pt>
                <c:pt idx="1">
                  <c:v>0.39800000000000002</c:v>
                </c:pt>
                <c:pt idx="2">
                  <c:v>0.36180000000000001</c:v>
                </c:pt>
                <c:pt idx="3">
                  <c:v>0.35049999999999998</c:v>
                </c:pt>
                <c:pt idx="4">
                  <c:v>0.45760000000000001</c:v>
                </c:pt>
                <c:pt idx="5">
                  <c:v>0.44950000000000001</c:v>
                </c:pt>
                <c:pt idx="6">
                  <c:v>0.48909999999999998</c:v>
                </c:pt>
              </c:numCache>
            </c:numRef>
          </c:xVal>
          <c:yVal>
            <c:numRef>
              <c:f>Sheet1!$B$2:$B$8</c:f>
              <c:numCache>
                <c:formatCode>General</c:formatCode>
                <c:ptCount val="7"/>
                <c:pt idx="0">
                  <c:v>1869.2</c:v>
                </c:pt>
                <c:pt idx="1">
                  <c:v>14897.11847389558</c:v>
                </c:pt>
                <c:pt idx="2">
                  <c:v>15633.44349680171</c:v>
                </c:pt>
                <c:pt idx="3">
                  <c:v>17717.165605095539</c:v>
                </c:pt>
                <c:pt idx="4">
                  <c:v>2684.6153846153838</c:v>
                </c:pt>
                <c:pt idx="5">
                  <c:v>3923.6081370449679</c:v>
                </c:pt>
                <c:pt idx="6">
                  <c:v>4178.3477188655979</c:v>
                </c:pt>
              </c:numCache>
            </c:numRef>
          </c:yVal>
          <c:bubbleSize>
            <c:numRef>
              <c:f>Sheet1!$C$2:$C$8</c:f>
              <c:numCache>
                <c:formatCode>General</c:formatCode>
                <c:ptCount val="7"/>
                <c:pt idx="0">
                  <c:v>46729.859799999998</c:v>
                </c:pt>
                <c:pt idx="1">
                  <c:v>846615.50340000005</c:v>
                </c:pt>
                <c:pt idx="2">
                  <c:v>887062.91590000014</c:v>
                </c:pt>
                <c:pt idx="3">
                  <c:v>1027438.6584</c:v>
                </c:pt>
                <c:pt idx="4">
                  <c:v>111248.41740000001</c:v>
                </c:pt>
                <c:pt idx="5">
                  <c:v>191192.29300000001</c:v>
                </c:pt>
                <c:pt idx="6">
                  <c:v>164092.8708</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9AEF142-C853-4FF3-A74E-0F306C1E0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A964F01-FBD8-4629-B72B-892E33EB9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0B89F7D-48F1-4227-87F0-3D934949D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56697A8-530E-4F27-84D2-09792FBDE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0DB6A53-737C-4389-B378-77DC364BE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65FEC0E-8D65-4657-A1A8-99ACD1708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B5CB0E7-92AF-4260-8960-054608A08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8979999999999998</c:v>
                </c:pt>
                <c:pt idx="1">
                  <c:v>0.29809999999999998</c:v>
                </c:pt>
                <c:pt idx="2">
                  <c:v>0.24060000000000001</c:v>
                </c:pt>
                <c:pt idx="3">
                  <c:v>0.28129999999999999</c:v>
                </c:pt>
                <c:pt idx="4">
                  <c:v>0.34410000000000002</c:v>
                </c:pt>
                <c:pt idx="5">
                  <c:v>0.28120000000000001</c:v>
                </c:pt>
                <c:pt idx="6">
                  <c:v>0.32550000000000001</c:v>
                </c:pt>
              </c:numCache>
            </c:numRef>
          </c:xVal>
          <c:yVal>
            <c:numRef>
              <c:f>Sheet1!$B$2:$B$8</c:f>
              <c:numCache>
                <c:formatCode>General</c:formatCode>
                <c:ptCount val="7"/>
                <c:pt idx="0">
                  <c:v>10212.9387755102</c:v>
                </c:pt>
                <c:pt idx="1">
                  <c:v>4088.83</c:v>
                </c:pt>
                <c:pt idx="2">
                  <c:v>3115.632653061225</c:v>
                </c:pt>
                <c:pt idx="3">
                  <c:v>2686.48</c:v>
                </c:pt>
                <c:pt idx="4">
                  <c:v>539.16666666666663</c:v>
                </c:pt>
                <c:pt idx="5">
                  <c:v>5346.67</c:v>
                </c:pt>
                <c:pt idx="6">
                  <c:v>2553.7346938775509</c:v>
                </c:pt>
              </c:numCache>
            </c:numRef>
          </c:yVal>
          <c:bubbleSize>
            <c:numRef>
              <c:f>Sheet1!$C$2:$C$8</c:f>
              <c:numCache>
                <c:formatCode>General</c:formatCode>
                <c:ptCount val="7"/>
                <c:pt idx="0">
                  <c:v>578870.25989999995</c:v>
                </c:pt>
                <c:pt idx="1">
                  <c:v>272050.62839999999</c:v>
                </c:pt>
                <c:pt idx="2">
                  <c:v>219771.3</c:v>
                </c:pt>
                <c:pt idx="3">
                  <c:v>183002.0808</c:v>
                </c:pt>
                <c:pt idx="4">
                  <c:v>18100.8024</c:v>
                </c:pt>
                <c:pt idx="5">
                  <c:v>364262.10820000002</c:v>
                </c:pt>
                <c:pt idx="6">
                  <c:v>160006.31280000001</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CCCA336-39B2-4767-84EB-B57FE862E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A6178B2-DFFE-494B-AC9B-7960876C5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D66E3FE-D8D1-4CC0-9A1D-89E9C785C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A350BFE-BB32-4106-BBE8-58F18F70B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67E198D-A18C-4CE2-A7B5-8B01BB177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013F392-C0D1-4F83-9072-4EF8C29A1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18AE3BD-D45F-4836-AA73-DB21092FD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42580000000000001</c:v>
                </c:pt>
                <c:pt idx="1">
                  <c:v>0.35930000000000001</c:v>
                </c:pt>
                <c:pt idx="2">
                  <c:v>0.25569999999999998</c:v>
                </c:pt>
                <c:pt idx="3">
                  <c:v>0.26960000000000001</c:v>
                </c:pt>
                <c:pt idx="4">
                  <c:v>0.32369999999999999</c:v>
                </c:pt>
                <c:pt idx="5">
                  <c:v>0.36499999999999999</c:v>
                </c:pt>
                <c:pt idx="6">
                  <c:v>0.40079999999999999</c:v>
                </c:pt>
                <c:pt idx="7">
                  <c:v>0.223</c:v>
                </c:pt>
                <c:pt idx="8">
                  <c:v>0.3291</c:v>
                </c:pt>
              </c:numCache>
            </c:numRef>
          </c:xVal>
          <c:yVal>
            <c:numRef>
              <c:f>Sheet1!$B$2:$B$10</c:f>
              <c:numCache>
                <c:formatCode>General</c:formatCode>
                <c:ptCount val="9"/>
                <c:pt idx="0">
                  <c:v>1191.166666666667</c:v>
                </c:pt>
                <c:pt idx="1">
                  <c:v>3914.84</c:v>
                </c:pt>
                <c:pt idx="2">
                  <c:v>3306.7741935483868</c:v>
                </c:pt>
                <c:pt idx="3">
                  <c:v>11075.163265306121</c:v>
                </c:pt>
                <c:pt idx="4">
                  <c:v>11052.41836734694</c:v>
                </c:pt>
                <c:pt idx="5">
                  <c:v>806.53571428571433</c:v>
                </c:pt>
                <c:pt idx="6">
                  <c:v>1987.6236559139779</c:v>
                </c:pt>
                <c:pt idx="7">
                  <c:v>2411.19</c:v>
                </c:pt>
                <c:pt idx="8">
                  <c:v>1229.2688172043011</c:v>
                </c:pt>
              </c:numCache>
            </c:numRef>
          </c:yVal>
          <c:bubbleSize>
            <c:numRef>
              <c:f>Sheet1!$C$2:$C$10</c:f>
              <c:numCache>
                <c:formatCode>General</c:formatCode>
                <c:ptCount val="9"/>
                <c:pt idx="0">
                  <c:v>3889.534900000001</c:v>
                </c:pt>
                <c:pt idx="1">
                  <c:v>237742.44</c:v>
                </c:pt>
                <c:pt idx="2">
                  <c:v>216946.611</c:v>
                </c:pt>
                <c:pt idx="3">
                  <c:v>751445.16359999997</c:v>
                </c:pt>
                <c:pt idx="4">
                  <c:v>694359.92899999989</c:v>
                </c:pt>
                <c:pt idx="5">
                  <c:v>40778.109600000003</c:v>
                </c:pt>
                <c:pt idx="6">
                  <c:v>104988.6</c:v>
                </c:pt>
                <c:pt idx="7">
                  <c:v>177587</c:v>
                </c:pt>
                <c:pt idx="8">
                  <c:v>72704.710000000006</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175Gr 5P</c:v>
                  </c:pt>
                  <c:pt idx="8">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2C9DEA3-AD18-4C46-8DA6-B48BB7AE1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CA91FD1-B971-47BA-A0CE-0FA065F5D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A2CC49C-5D98-4FB6-ADEC-59B9E8F7A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EA6B8A4-8AAB-4194-A0F6-0A97DE245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1652557-B6C4-472B-9C28-431E73D72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BE21534-51AF-4192-A968-0C6B6DCCF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2759228-1605-4A8F-8851-56489144C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41539999999999999</c:v>
                </c:pt>
                <c:pt idx="1">
                  <c:v>0.30370000000000003</c:v>
                </c:pt>
                <c:pt idx="2">
                  <c:v>0.26550000000000001</c:v>
                </c:pt>
                <c:pt idx="3">
                  <c:v>0.27829999999999999</c:v>
                </c:pt>
                <c:pt idx="4">
                  <c:v>0.35189999999999999</c:v>
                </c:pt>
                <c:pt idx="5">
                  <c:v>0.4163</c:v>
                </c:pt>
                <c:pt idx="6">
                  <c:v>0.33839999999999998</c:v>
                </c:pt>
              </c:numCache>
            </c:numRef>
          </c:xVal>
          <c:yVal>
            <c:numRef>
              <c:f>Sheet1!$B$2:$B$8</c:f>
              <c:numCache>
                <c:formatCode>General</c:formatCode>
                <c:ptCount val="7"/>
                <c:pt idx="0">
                  <c:v>5252.7023809523807</c:v>
                </c:pt>
                <c:pt idx="1">
                  <c:v>4246.7938144329901</c:v>
                </c:pt>
                <c:pt idx="2">
                  <c:v>2060.4788732394368</c:v>
                </c:pt>
                <c:pt idx="3">
                  <c:v>3152.0707070707072</c:v>
                </c:pt>
                <c:pt idx="4">
                  <c:v>1040.897435897436</c:v>
                </c:pt>
                <c:pt idx="5">
                  <c:v>3133.424242424242</c:v>
                </c:pt>
                <c:pt idx="6">
                  <c:v>2791.8194444444439</c:v>
                </c:pt>
              </c:numCache>
            </c:numRef>
          </c:yVal>
          <c:bubbleSize>
            <c:numRef>
              <c:f>Sheet1!$C$2:$C$8</c:f>
              <c:numCache>
                <c:formatCode>General</c:formatCode>
                <c:ptCount val="7"/>
                <c:pt idx="0">
                  <c:v>244511.87400000001</c:v>
                </c:pt>
                <c:pt idx="1">
                  <c:v>271889.77860000002</c:v>
                </c:pt>
                <c:pt idx="2">
                  <c:v>101848.848</c:v>
                </c:pt>
                <c:pt idx="3">
                  <c:v>213476.2311</c:v>
                </c:pt>
                <c:pt idx="4">
                  <c:v>24936.687999999998</c:v>
                </c:pt>
                <c:pt idx="5">
                  <c:v>171614.7591</c:v>
                </c:pt>
                <c:pt idx="6">
                  <c:v>126058.0727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683E0D4-ABA5-4740-95EB-845C536D4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AE0C3EC-DAFD-42BC-A693-09E59E171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17DEF53-E844-47D9-ACBB-96C07B45D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DBDAEFD-8E70-4752-9B05-2975D0BCF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E837C90-52A0-40B0-937D-764B30966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E89A32E-B77B-4C19-8C4B-BF00E799E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2622D61-406B-443B-8CE1-85BEBC792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765</c:v>
                </c:pt>
                <c:pt idx="1">
                  <c:v>0.25</c:v>
                </c:pt>
                <c:pt idx="2">
                  <c:v>0.32650000000000001</c:v>
                </c:pt>
                <c:pt idx="3">
                  <c:v>0.35310000000000002</c:v>
                </c:pt>
                <c:pt idx="4">
                  <c:v>0.36780000000000002</c:v>
                </c:pt>
                <c:pt idx="5">
                  <c:v>0.40189999999999998</c:v>
                </c:pt>
                <c:pt idx="6">
                  <c:v>0.3841</c:v>
                </c:pt>
              </c:numCache>
            </c:numRef>
          </c:xVal>
          <c:yVal>
            <c:numRef>
              <c:f>Sheet1!$B$2:$B$8</c:f>
              <c:numCache>
                <c:formatCode>General</c:formatCode>
                <c:ptCount val="7"/>
                <c:pt idx="0">
                  <c:v>4486.8686868686873</c:v>
                </c:pt>
                <c:pt idx="1">
                  <c:v>3901.6923076923081</c:v>
                </c:pt>
                <c:pt idx="2">
                  <c:v>5295.4395604395604</c:v>
                </c:pt>
                <c:pt idx="3">
                  <c:v>5730.8315789473681</c:v>
                </c:pt>
                <c:pt idx="4">
                  <c:v>926.59259259259261</c:v>
                </c:pt>
                <c:pt idx="5">
                  <c:v>2246.375</c:v>
                </c:pt>
                <c:pt idx="6">
                  <c:v>1662.4948453608249</c:v>
                </c:pt>
              </c:numCache>
            </c:numRef>
          </c:yVal>
          <c:bubbleSize>
            <c:numRef>
              <c:f>Sheet1!$C$2:$C$8</c:f>
              <c:numCache>
                <c:formatCode>General</c:formatCode>
                <c:ptCount val="7"/>
                <c:pt idx="0">
                  <c:v>262527.71999999997</c:v>
                </c:pt>
                <c:pt idx="1">
                  <c:v>216338.64</c:v>
                </c:pt>
                <c:pt idx="2">
                  <c:v>307633.60200000001</c:v>
                </c:pt>
                <c:pt idx="3">
                  <c:v>333576.64069999999</c:v>
                </c:pt>
                <c:pt idx="4">
                  <c:v>14992.007600000001</c:v>
                </c:pt>
                <c:pt idx="5">
                  <c:v>81508.151999999987</c:v>
                </c:pt>
                <c:pt idx="6">
                  <c:v>94145.98599999999</c:v>
                </c:pt>
              </c:numCache>
            </c:numRef>
          </c:bubbleSize>
          <c:bubble3D val="0"/>
          <c:extLst>
            <c:ext xmlns:c15="http://schemas.microsoft.com/office/drawing/2012/chart" uri="{02D57815-91ED-43cb-92C2-25804820EDAC}">
              <c15:datalabelsRange>
                <c15:f>Sheet1!$E$2:$E$50</c15:f>
                <c15:dlblRangeCache>
                  <c:ptCount val="49"/>
                  <c:pt idx="0">
                    <c:v>La Vache Qui Rit Nature Fromage Fondu Boite Ronde 1X192Gr 12P</c:v>
                  </c:pt>
                  <c:pt idx="1">
                    <c:v>La Vache Qui Rit Nature Fromage Fondu Boite Ronde 1X512Gr 24+8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Nature Fromage Fondu Boite Ronde 1X128Gr 8P</c:v>
                  </c:pt>
                  <c:pt idx="6">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6F30F37-B83E-45B3-BE00-7AA1795B6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42D95A7-D56E-45ED-B376-0F93CB807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6A03D26-F9EF-40D3-9726-2A4FAB51C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E4D58DC-C22A-4F1C-AEC0-F292E2DF9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EE86852-C33F-464A-A21C-78A297BCE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9872025-1BA3-4F56-81EF-DAAE7D9FE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D41B260-7D67-4C79-BF6B-CCFD0DC44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6849999999999999</c:v>
                </c:pt>
                <c:pt idx="1">
                  <c:v>0.40799999999999997</c:v>
                </c:pt>
                <c:pt idx="2">
                  <c:v>0.51259999999999994</c:v>
                </c:pt>
                <c:pt idx="3">
                  <c:v>0.39939999999999998</c:v>
                </c:pt>
              </c:numCache>
            </c:numRef>
          </c:xVal>
          <c:yVal>
            <c:numRef>
              <c:f>Sheet1!$B$2:$B$5</c:f>
              <c:numCache>
                <c:formatCode>General</c:formatCode>
                <c:ptCount val="4"/>
                <c:pt idx="0">
                  <c:v>4425.5</c:v>
                </c:pt>
                <c:pt idx="1">
                  <c:v>6174.895833333333</c:v>
                </c:pt>
                <c:pt idx="2">
                  <c:v>3577.4929577464791</c:v>
                </c:pt>
                <c:pt idx="3">
                  <c:v>2679.5</c:v>
                </c:pt>
              </c:numCache>
            </c:numRef>
          </c:yVal>
          <c:bubbleSize>
            <c:numRef>
              <c:f>Sheet1!$C$2:$C$5</c:f>
              <c:numCache>
                <c:formatCode>General</c:formatCode>
                <c:ptCount val="4"/>
                <c:pt idx="0">
                  <c:v>5298.1144000000004</c:v>
                </c:pt>
                <c:pt idx="1">
                  <c:v>332637.91769999999</c:v>
                </c:pt>
                <c:pt idx="2">
                  <c:v>117338.8575</c:v>
                </c:pt>
                <c:pt idx="3">
                  <c:v>3050.75399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216Gr 12P</c:v>
                  </c:pt>
                  <c:pt idx="1">
                    <c:v>Kiri Creme Fromage Blanc Frais Carre 1X144Gr 8P</c:v>
                  </c:pt>
                  <c:pt idx="2">
                    <c:v>Kiri Gouter Fromage Blanc Dips Boite 1X175Gr 5P</c:v>
                  </c:pt>
                  <c:pt idx="3">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F4501A1-11F1-4C23-8FEF-A8FA7E271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E95754E-18C9-4C19-8F2D-430B38FEC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AB01DDA-EF59-4E9E-B55E-771543A57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01CD61A-5A93-4D27-A89C-A2E87EC45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2908F1F-97B0-4CBF-A455-B503E4C91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86D24E8-B2E7-47C3-8F4A-73D6B47DE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A1A0E01-2C1D-4EBD-BD15-194510B85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5639999999999997</c:v>
                </c:pt>
                <c:pt idx="1">
                  <c:v>0.42349999999999999</c:v>
                </c:pt>
                <c:pt idx="2">
                  <c:v>0.46579999999999999</c:v>
                </c:pt>
                <c:pt idx="3">
                  <c:v>0.58560000000000001</c:v>
                </c:pt>
                <c:pt idx="4">
                  <c:v>0.47670000000000001</c:v>
                </c:pt>
              </c:numCache>
            </c:numRef>
          </c:xVal>
          <c:yVal>
            <c:numRef>
              <c:f>Sheet1!$B$2:$B$6</c:f>
              <c:numCache>
                <c:formatCode>General</c:formatCode>
                <c:ptCount val="5"/>
                <c:pt idx="0">
                  <c:v>7543.6741573033714</c:v>
                </c:pt>
                <c:pt idx="1">
                  <c:v>6982.6</c:v>
                </c:pt>
                <c:pt idx="2">
                  <c:v>2723.4444444444439</c:v>
                </c:pt>
                <c:pt idx="3">
                  <c:v>1469.6</c:v>
                </c:pt>
                <c:pt idx="4">
                  <c:v>2525.7254901960782</c:v>
                </c:pt>
              </c:numCache>
            </c:numRef>
          </c:yVal>
          <c:bubbleSize>
            <c:numRef>
              <c:f>Sheet1!$C$2:$C$6</c:f>
              <c:numCache>
                <c:formatCode>General</c:formatCode>
                <c:ptCount val="5"/>
                <c:pt idx="0">
                  <c:v>345965.88</c:v>
                </c:pt>
                <c:pt idx="1">
                  <c:v>171688.52160000001</c:v>
                </c:pt>
                <c:pt idx="2">
                  <c:v>12410.255999999999</c:v>
                </c:pt>
                <c:pt idx="3">
                  <c:v>2886.078</c:v>
                </c:pt>
                <c:pt idx="4">
                  <c:v>63895.387999999992</c:v>
                </c:pt>
              </c:numCache>
            </c:numRef>
          </c:bubbleSize>
          <c:bubble3D val="0"/>
          <c:extLst>
            <c:ext xmlns:c15="http://schemas.microsoft.com/office/drawing/2012/chart" uri="{02D57815-91ED-43cb-92C2-25804820EDAC}">
              <c15:datalabelsRange>
                <c15:f>Sheet1!$E$2:$E$50</c15:f>
                <c15:dlblRangeCache>
                  <c:ptCount val="49"/>
                  <c:pt idx="0">
                    <c:v>La Vache Qui Rit Nature Fromage Fondu Boite Ronde 1X192Gr 12P</c:v>
                  </c:pt>
                  <c:pt idx="1">
                    <c:v>La Vache Qui Rit Nature Fromage Fondu Boite Ronde 1X384Gr 24P</c:v>
                  </c:pt>
                  <c:pt idx="2">
                    <c:v>La Vache Qui Rit Nature Fromage Fondu Boite Ronde 1X128Gr 8P</c:v>
                  </c:pt>
                  <c:pt idx="3">
                    <c:v>La Vache Qui Rit Pik Et Croq' Fromage Fondu Dips Boite 1X35Gr 1P</c:v>
                  </c:pt>
                  <c:pt idx="4">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FA21058-D741-47A4-B49C-FB4C07A74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508A331-E4CE-4629-A80B-042D23E61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62D8431-9655-4F3D-AAD5-CBE57FE54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C600AAB-FC7C-4CE5-A993-C693034C4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BE7EC45-69A1-453B-89DD-A58A8665B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D33CEED-34FE-4D73-897C-4636C58B9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8B56DBC-1353-41FB-A921-17B3264A8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503</c:v>
                </c:pt>
                <c:pt idx="1">
                  <c:v>0.30299999999999999</c:v>
                </c:pt>
                <c:pt idx="2">
                  <c:v>0.28000000000000003</c:v>
                </c:pt>
                <c:pt idx="3">
                  <c:v>0.31609999999999999</c:v>
                </c:pt>
                <c:pt idx="4">
                  <c:v>0.47620000000000001</c:v>
                </c:pt>
                <c:pt idx="5">
                  <c:v>0.35659999999999997</c:v>
                </c:pt>
                <c:pt idx="6">
                  <c:v>0.36020000000000002</c:v>
                </c:pt>
                <c:pt idx="7">
                  <c:v>0.4929</c:v>
                </c:pt>
              </c:numCache>
            </c:numRef>
          </c:xVal>
          <c:yVal>
            <c:numRef>
              <c:f>Sheet1!$B$2:$B$9</c:f>
              <c:numCache>
                <c:formatCode>General</c:formatCode>
                <c:ptCount val="8"/>
                <c:pt idx="0">
                  <c:v>7935.6292134831456</c:v>
                </c:pt>
                <c:pt idx="1">
                  <c:v>8607.9696969696961</c:v>
                </c:pt>
                <c:pt idx="2">
                  <c:v>2135.4337349397588</c:v>
                </c:pt>
                <c:pt idx="3">
                  <c:v>4806.9191919191917</c:v>
                </c:pt>
                <c:pt idx="4">
                  <c:v>1519.866666666667</c:v>
                </c:pt>
                <c:pt idx="5">
                  <c:v>4681.333333333333</c:v>
                </c:pt>
                <c:pt idx="6">
                  <c:v>6331.729166666667</c:v>
                </c:pt>
                <c:pt idx="7">
                  <c:v>916.86206896551732</c:v>
                </c:pt>
              </c:numCache>
            </c:numRef>
          </c:yVal>
          <c:bubbleSize>
            <c:numRef>
              <c:f>Sheet1!$C$2:$C$9</c:f>
              <c:numCache>
                <c:formatCode>General</c:formatCode>
                <c:ptCount val="8"/>
                <c:pt idx="0">
                  <c:v>434940.5233</c:v>
                </c:pt>
                <c:pt idx="1">
                  <c:v>563044.1581</c:v>
                </c:pt>
                <c:pt idx="2">
                  <c:v>120956.976</c:v>
                </c:pt>
                <c:pt idx="3">
                  <c:v>308470.04639999999</c:v>
                </c:pt>
                <c:pt idx="4">
                  <c:v>45274.047000000013</c:v>
                </c:pt>
                <c:pt idx="5">
                  <c:v>282659.23139999999</c:v>
                </c:pt>
                <c:pt idx="6">
                  <c:v>368627.39450000011</c:v>
                </c:pt>
                <c:pt idx="7">
                  <c:v>25561.6981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2633579-EE2C-4722-A1EE-C8E693AFF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A8E7F2-A615-4AF4-947F-651645D7A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C22E8CE-C37B-4528-8DB0-B0F027515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316AC08-82C5-4DEA-8581-E6E0D2DE3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415C703-8760-4C85-8DEF-A2238A794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DE08C49-4794-41A8-B542-AF11A982F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9FC7A93-A7C3-40AE-8B44-580B75E54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7830000000000004</c:v>
                </c:pt>
                <c:pt idx="1">
                  <c:v>0.3982</c:v>
                </c:pt>
                <c:pt idx="2">
                  <c:v>0.35980000000000001</c:v>
                </c:pt>
                <c:pt idx="3">
                  <c:v>0.34810000000000002</c:v>
                </c:pt>
                <c:pt idx="4">
                  <c:v>0.45569999999999999</c:v>
                </c:pt>
                <c:pt idx="5">
                  <c:v>0.44890000000000002</c:v>
                </c:pt>
                <c:pt idx="6">
                  <c:v>0.49070000000000003</c:v>
                </c:pt>
              </c:numCache>
            </c:numRef>
          </c:xVal>
          <c:yVal>
            <c:numRef>
              <c:f>Sheet1!$B$2:$B$8</c:f>
              <c:numCache>
                <c:formatCode>General</c:formatCode>
                <c:ptCount val="7"/>
                <c:pt idx="0">
                  <c:v>1414.515625</c:v>
                </c:pt>
                <c:pt idx="1">
                  <c:v>10893.58</c:v>
                </c:pt>
                <c:pt idx="2">
                  <c:v>11768.01030927835</c:v>
                </c:pt>
                <c:pt idx="3">
                  <c:v>13093.826530612239</c:v>
                </c:pt>
                <c:pt idx="4">
                  <c:v>1965.8214285714289</c:v>
                </c:pt>
                <c:pt idx="5">
                  <c:v>2817.347368421053</c:v>
                </c:pt>
                <c:pt idx="6">
                  <c:v>3042.8372093023249</c:v>
                </c:pt>
              </c:numCache>
            </c:numRef>
          </c:yVal>
          <c:bubbleSize>
            <c:numRef>
              <c:f>Sheet1!$C$2:$C$8</c:f>
              <c:numCache>
                <c:formatCode>General</c:formatCode>
                <c:ptCount val="7"/>
                <c:pt idx="0">
                  <c:v>36184.439199999993</c:v>
                </c:pt>
                <c:pt idx="1">
                  <c:v>621385.28460000013</c:v>
                </c:pt>
                <c:pt idx="2">
                  <c:v>692633.15520000004</c:v>
                </c:pt>
                <c:pt idx="3">
                  <c:v>792886.2220999999</c:v>
                </c:pt>
                <c:pt idx="4">
                  <c:v>85195.458899999998</c:v>
                </c:pt>
                <c:pt idx="5">
                  <c:v>139805.39300000001</c:v>
                </c:pt>
                <c:pt idx="6">
                  <c:v>126337.8342</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2A98965-905C-4174-94C1-8FAF14F81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E978373-F2BC-4076-B230-0A52077B5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F9FFE06-6FF9-4EA0-99F3-40FC05A51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4DCD063-6383-4332-86A4-424A10FF7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19FDD3D-7291-45B6-A2E1-8ADDAB22F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E6CB645-6FD6-4C25-9E33-E69D1DDA3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705161E-2B4C-4DBD-89D0-52A77097B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3100000000000002</c:v>
                </c:pt>
                <c:pt idx="1">
                  <c:v>0.30280000000000001</c:v>
                </c:pt>
                <c:pt idx="2">
                  <c:v>0.2777</c:v>
                </c:pt>
                <c:pt idx="3">
                  <c:v>0.31280000000000002</c:v>
                </c:pt>
                <c:pt idx="4">
                  <c:v>0.44729999999999998</c:v>
                </c:pt>
                <c:pt idx="5">
                  <c:v>0.34210000000000002</c:v>
                </c:pt>
                <c:pt idx="6">
                  <c:v>0.33700000000000002</c:v>
                </c:pt>
                <c:pt idx="7">
                  <c:v>0.48359999999999997</c:v>
                </c:pt>
              </c:numCache>
            </c:numRef>
          </c:xVal>
          <c:yVal>
            <c:numRef>
              <c:f>Sheet1!$B$2:$B$9</c:f>
              <c:numCache>
                <c:formatCode>General</c:formatCode>
                <c:ptCount val="8"/>
                <c:pt idx="0">
                  <c:v>1510.0505050505051</c:v>
                </c:pt>
                <c:pt idx="1">
                  <c:v>1448.878787878788</c:v>
                </c:pt>
                <c:pt idx="2">
                  <c:v>368.41489361702128</c:v>
                </c:pt>
                <c:pt idx="3">
                  <c:v>814.44444444444446</c:v>
                </c:pt>
                <c:pt idx="4">
                  <c:v>204.0114942528736</c:v>
                </c:pt>
                <c:pt idx="5">
                  <c:v>861.46464646464642</c:v>
                </c:pt>
                <c:pt idx="6">
                  <c:v>1157.454545454545</c:v>
                </c:pt>
                <c:pt idx="7">
                  <c:v>118.8767123287671</c:v>
                </c:pt>
              </c:numCache>
            </c:numRef>
          </c:yVal>
          <c:bubbleSize>
            <c:numRef>
              <c:f>Sheet1!$C$2:$C$9</c:f>
              <c:numCache>
                <c:formatCode>General</c:formatCode>
                <c:ptCount val="8"/>
                <c:pt idx="0">
                  <c:v>94800.4</c:v>
                </c:pt>
                <c:pt idx="1">
                  <c:v>94792.401599999997</c:v>
                </c:pt>
                <c:pt idx="2">
                  <c:v>23711.407200000001</c:v>
                </c:pt>
                <c:pt idx="3">
                  <c:v>52523.159199999987</c:v>
                </c:pt>
                <c:pt idx="4">
                  <c:v>9299.048499999999</c:v>
                </c:pt>
                <c:pt idx="5">
                  <c:v>53180.887199999997</c:v>
                </c:pt>
                <c:pt idx="6">
                  <c:v>72012.494500000001</c:v>
                </c:pt>
                <c:pt idx="7">
                  <c:v>4247.692</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Ficello</c:v>
                </c:pt>
                <c:pt idx="4">
                  <c:v>Private Label</c:v>
                </c:pt>
                <c:pt idx="5">
                  <c:v>P'Tit Louis</c:v>
                </c:pt>
                <c:pt idx="6">
                  <c:v>Others</c:v>
                </c:pt>
              </c:strCache>
            </c:strRef>
          </c:cat>
          <c:val>
            <c:numRef>
              <c:f>Sheet1!$B$2:$B$8</c:f>
              <c:numCache>
                <c:formatCode>General</c:formatCode>
                <c:ptCount val="7"/>
                <c:pt idx="0">
                  <c:v>0.29602099967188011</c:v>
                </c:pt>
                <c:pt idx="1">
                  <c:v>0.28478025619084996</c:v>
                </c:pt>
                <c:pt idx="2">
                  <c:v>0.22161010351860311</c:v>
                </c:pt>
                <c:pt idx="3">
                  <c:v>0.12253977649246289</c:v>
                </c:pt>
                <c:pt idx="4">
                  <c:v>5.6791244989738213E-2</c:v>
                </c:pt>
                <c:pt idx="5">
                  <c:v>1.8217215356010064E-2</c:v>
                </c:pt>
                <c:pt idx="6">
                  <c:v>4.0403780455636261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Ficello</c:v>
                </c:pt>
                <c:pt idx="4">
                  <c:v>Private Label</c:v>
                </c:pt>
                <c:pt idx="5">
                  <c:v>P'Tit Louis</c:v>
                </c:pt>
                <c:pt idx="6">
                  <c:v>Others</c:v>
                </c:pt>
              </c:strCache>
            </c:strRef>
          </c:cat>
          <c:val>
            <c:numRef>
              <c:f>Sheet1!$C$2:$C$8</c:f>
              <c:numCache>
                <c:formatCode>General</c:formatCode>
                <c:ptCount val="7"/>
                <c:pt idx="0">
                  <c:v>0.31677018633540382</c:v>
                </c:pt>
                <c:pt idx="1">
                  <c:v>0.21583850931677026</c:v>
                </c:pt>
                <c:pt idx="2">
                  <c:v>0.26552795031055904</c:v>
                </c:pt>
                <c:pt idx="3">
                  <c:v>0.13819875776397519</c:v>
                </c:pt>
                <c:pt idx="4">
                  <c:v>0</c:v>
                </c:pt>
                <c:pt idx="5">
                  <c:v>6.3664596273291935E-2</c:v>
                </c:pt>
                <c:pt idx="6">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Ficello</c:v>
                </c:pt>
                <c:pt idx="4">
                  <c:v>Private Label</c:v>
                </c:pt>
                <c:pt idx="5">
                  <c:v>P'Tit Louis</c:v>
                </c:pt>
                <c:pt idx="6">
                  <c:v>Others</c:v>
                </c:pt>
              </c:strCache>
            </c:strRef>
          </c:cat>
          <c:val>
            <c:numRef>
              <c:f>Sheet1!$D$2:$D$8</c:f>
              <c:numCache>
                <c:formatCode>General</c:formatCode>
                <c:ptCount val="7"/>
                <c:pt idx="0">
                  <c:v>107.00936308117426</c:v>
                </c:pt>
                <c:pt idx="1">
                  <c:v>75.791247681202549</c:v>
                </c:pt>
                <c:pt idx="2">
                  <c:v>119.81761936601831</c:v>
                </c:pt>
                <c:pt idx="3">
                  <c:v>112.77869253537887</c:v>
                </c:pt>
                <c:pt idx="4">
                  <c:v>1</c:v>
                </c:pt>
                <c:pt idx="5">
                  <c:v>349.47490617597754</c:v>
                </c:pt>
                <c:pt idx="6">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1AC204C-02F4-4389-9BAB-740735E03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7E99C71-35AB-4D22-B736-6A9963046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52C7584-73FA-410A-8CDE-CECE815D7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B3878F4-5B9E-4928-B7B7-398ED460F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EA0F196-A5CF-4CED-BC67-62F5E7687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30103C8-AE1D-4A14-8A69-3A91CE2C1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08B6AD6-AB51-49AC-B52C-64F2354D2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6879999999999997</c:v>
                </c:pt>
                <c:pt idx="1">
                  <c:v>0.39439999999999997</c:v>
                </c:pt>
                <c:pt idx="2">
                  <c:v>0.35649999999999998</c:v>
                </c:pt>
                <c:pt idx="3">
                  <c:v>0.34329999999999999</c:v>
                </c:pt>
                <c:pt idx="4">
                  <c:v>0.4365</c:v>
                </c:pt>
                <c:pt idx="5">
                  <c:v>0.43080000000000002</c:v>
                </c:pt>
                <c:pt idx="6">
                  <c:v>0.47510000000000002</c:v>
                </c:pt>
              </c:numCache>
            </c:numRef>
          </c:xVal>
          <c:yVal>
            <c:numRef>
              <c:f>Sheet1!$B$2:$B$8</c:f>
              <c:numCache>
                <c:formatCode>General</c:formatCode>
                <c:ptCount val="7"/>
                <c:pt idx="0">
                  <c:v>212.81818181818181</c:v>
                </c:pt>
                <c:pt idx="1">
                  <c:v>1861.373737373737</c:v>
                </c:pt>
                <c:pt idx="2">
                  <c:v>2046.9595959595961</c:v>
                </c:pt>
                <c:pt idx="3">
                  <c:v>2510.909090909091</c:v>
                </c:pt>
                <c:pt idx="4">
                  <c:v>295.54166666666669</c:v>
                </c:pt>
                <c:pt idx="5">
                  <c:v>542.23232323232321</c:v>
                </c:pt>
                <c:pt idx="6">
                  <c:v>619.70408163265301</c:v>
                </c:pt>
              </c:numCache>
            </c:numRef>
          </c:yVal>
          <c:bubbleSize>
            <c:numRef>
              <c:f>Sheet1!$C$2:$C$8</c:f>
              <c:numCache>
                <c:formatCode>General</c:formatCode>
                <c:ptCount val="7"/>
                <c:pt idx="0">
                  <c:v>7654.3233</c:v>
                </c:pt>
                <c:pt idx="1">
                  <c:v>105773.54399999999</c:v>
                </c:pt>
                <c:pt idx="2">
                  <c:v>123606.6195</c:v>
                </c:pt>
                <c:pt idx="3">
                  <c:v>154735.0969</c:v>
                </c:pt>
                <c:pt idx="4">
                  <c:v>15154.5465</c:v>
                </c:pt>
                <c:pt idx="5">
                  <c:v>28961.603999999999</c:v>
                </c:pt>
                <c:pt idx="6">
                  <c:v>30217.781999999999</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4CECB42-019B-40CC-B36C-A29F34ECC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AD29742-04FF-4417-B5EE-527D3AE95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619CE9F-59D5-4488-8AD5-3ADAE92CD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A4C469E-A23C-4DCE-9361-B34CAB111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68739AD-75C2-482A-A559-69FFC5776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425199D-060B-48CD-B4BE-FF5A8C5B6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9CA0DDE-0C77-4802-A17B-241582C01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8059999999999999</c:v>
                </c:pt>
                <c:pt idx="1">
                  <c:v>0.3271</c:v>
                </c:pt>
                <c:pt idx="2">
                  <c:v>0.28120000000000001</c:v>
                </c:pt>
                <c:pt idx="3">
                  <c:v>0.3569</c:v>
                </c:pt>
                <c:pt idx="4">
                  <c:v>0.51970000000000005</c:v>
                </c:pt>
                <c:pt idx="5">
                  <c:v>0.38369999999999999</c:v>
                </c:pt>
                <c:pt idx="6">
                  <c:v>0.39319999999999999</c:v>
                </c:pt>
                <c:pt idx="7">
                  <c:v>0.51070000000000004</c:v>
                </c:pt>
              </c:numCache>
            </c:numRef>
          </c:xVal>
          <c:yVal>
            <c:numRef>
              <c:f>Sheet1!$B$2:$B$9</c:f>
              <c:numCache>
                <c:formatCode>General</c:formatCode>
                <c:ptCount val="8"/>
                <c:pt idx="0">
                  <c:v>1288.617021276596</c:v>
                </c:pt>
                <c:pt idx="1">
                  <c:v>1618.623529411765</c:v>
                </c:pt>
                <c:pt idx="2">
                  <c:v>520.91525423728808</c:v>
                </c:pt>
                <c:pt idx="3">
                  <c:v>1084.782608695652</c:v>
                </c:pt>
                <c:pt idx="4">
                  <c:v>466.8</c:v>
                </c:pt>
                <c:pt idx="5">
                  <c:v>1075.011235955056</c:v>
                </c:pt>
                <c:pt idx="6">
                  <c:v>1039.014925373134</c:v>
                </c:pt>
                <c:pt idx="7">
                  <c:v>319</c:v>
                </c:pt>
              </c:numCache>
            </c:numRef>
          </c:yVal>
          <c:bubbleSize>
            <c:numRef>
              <c:f>Sheet1!$C$2:$C$9</c:f>
              <c:numCache>
                <c:formatCode>General</c:formatCode>
                <c:ptCount val="8"/>
                <c:pt idx="0">
                  <c:v>35560.734499999999</c:v>
                </c:pt>
                <c:pt idx="1">
                  <c:v>87751.572</c:v>
                </c:pt>
                <c:pt idx="2">
                  <c:v>20940.809799999999</c:v>
                </c:pt>
                <c:pt idx="3">
                  <c:v>60834.53439999999</c:v>
                </c:pt>
                <c:pt idx="4">
                  <c:v>6375.4179999999997</c:v>
                </c:pt>
                <c:pt idx="5">
                  <c:v>55887.63</c:v>
                </c:pt>
                <c:pt idx="6">
                  <c:v>40040.788</c:v>
                </c:pt>
                <c:pt idx="7">
                  <c:v>1479.5652</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D29C662-92DB-4304-9D6C-9F87F2E5B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A87E3D-920E-4457-9338-F6B14DB74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0B843A5-1174-4206-9A0D-61C0C88E2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A0DE8E7-068D-42A1-B90B-66515616D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F2D765D-AA4E-459B-AFBA-47605D050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3FFD620-0461-43C1-B11A-44A0297EE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59B31B4-5EC5-4633-A18D-F9C5AE8C9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9699999999999998</c:v>
                </c:pt>
                <c:pt idx="1">
                  <c:v>0.4002</c:v>
                </c:pt>
                <c:pt idx="2">
                  <c:v>0.38890000000000002</c:v>
                </c:pt>
                <c:pt idx="3">
                  <c:v>0.38619999999999999</c:v>
                </c:pt>
                <c:pt idx="4">
                  <c:v>0.4975</c:v>
                </c:pt>
                <c:pt idx="5">
                  <c:v>0.47520000000000001</c:v>
                </c:pt>
                <c:pt idx="6">
                  <c:v>0.51659999999999995</c:v>
                </c:pt>
              </c:numCache>
            </c:numRef>
          </c:xVal>
          <c:yVal>
            <c:numRef>
              <c:f>Sheet1!$B$2:$B$8</c:f>
              <c:numCache>
                <c:formatCode>General</c:formatCode>
                <c:ptCount val="7"/>
                <c:pt idx="0">
                  <c:v>302.72000000000003</c:v>
                </c:pt>
                <c:pt idx="1">
                  <c:v>2144.071428571428</c:v>
                </c:pt>
                <c:pt idx="2">
                  <c:v>1798.10294117647</c:v>
                </c:pt>
                <c:pt idx="3">
                  <c:v>2110.4923076923078</c:v>
                </c:pt>
                <c:pt idx="4">
                  <c:v>544.73809523809518</c:v>
                </c:pt>
                <c:pt idx="5">
                  <c:v>586.18181818181813</c:v>
                </c:pt>
                <c:pt idx="6">
                  <c:v>514.03125</c:v>
                </c:pt>
              </c:numCache>
            </c:numRef>
          </c:yVal>
          <c:bubbleSize>
            <c:numRef>
              <c:f>Sheet1!$C$2:$C$8</c:f>
              <c:numCache>
                <c:formatCode>General</c:formatCode>
                <c:ptCount val="7"/>
                <c:pt idx="0">
                  <c:v>2891.0972999999999</c:v>
                </c:pt>
                <c:pt idx="1">
                  <c:v>119456.67479999999</c:v>
                </c:pt>
                <c:pt idx="2">
                  <c:v>70823.141200000013</c:v>
                </c:pt>
                <c:pt idx="3">
                  <c:v>79817.339399999997</c:v>
                </c:pt>
                <c:pt idx="4">
                  <c:v>10898.412</c:v>
                </c:pt>
                <c:pt idx="5">
                  <c:v>22425.295999999998</c:v>
                </c:pt>
                <c:pt idx="6">
                  <c:v>7537.2546000000002</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1D0468-5E74-4194-B64D-CAE40D540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13576E5-1DE0-4DED-991D-C2F4F2274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44B5066-FC4C-43AB-9CFA-E076C8AEA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975D79E-9178-4298-84E9-A85426A3C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0C55045-03D2-465C-B84C-53562D31B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DA181D1-0ADA-4E08-A6AF-46E722231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705F6B1-D064-4A8F-9259-C8D91BDDA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0649999999999997</c:v>
                </c:pt>
                <c:pt idx="1">
                  <c:v>0.39529999999999998</c:v>
                </c:pt>
                <c:pt idx="2">
                  <c:v>0.32169999999999999</c:v>
                </c:pt>
              </c:numCache>
            </c:numRef>
          </c:xVal>
          <c:yVal>
            <c:numRef>
              <c:f>Sheet1!$B$2:$B$4</c:f>
              <c:numCache>
                <c:formatCode>General</c:formatCode>
                <c:ptCount val="3"/>
                <c:pt idx="0">
                  <c:v>2199.293333333334</c:v>
                </c:pt>
                <c:pt idx="1">
                  <c:v>2179.1176470588239</c:v>
                </c:pt>
                <c:pt idx="2">
                  <c:v>216.63291139240511</c:v>
                </c:pt>
              </c:numCache>
            </c:numRef>
          </c:yVal>
          <c:bubbleSize>
            <c:numRef>
              <c:f>Sheet1!$C$2:$C$4</c:f>
              <c:numCache>
                <c:formatCode>General</c:formatCode>
                <c:ptCount val="3"/>
                <c:pt idx="0">
                  <c:v>92796.757600000012</c:v>
                </c:pt>
                <c:pt idx="1">
                  <c:v>76442.335200000001</c:v>
                </c:pt>
                <c:pt idx="2">
                  <c:v>5501.8664000000008</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7DB4710-EF31-4AED-B8B9-1D79A5410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2633E69-9AAE-4C1C-8E51-1F3B67998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DE23940-7EDC-4687-89A3-7B0DF3C29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C854B24-24C2-4387-B709-C0D056A5C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4E39166-BD7C-4F71-A00F-BC5A5D753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CD55B2A-A73C-41CF-AB42-42747F79D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C5CF5E7-A5C4-474B-9FB1-5EDD5CA7C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5</c:f>
              <c:numCache>
                <c:formatCode>General</c:formatCode>
                <c:ptCount val="14"/>
                <c:pt idx="0">
                  <c:v>0.3478</c:v>
                </c:pt>
                <c:pt idx="1">
                  <c:v>0.28489999999999999</c:v>
                </c:pt>
                <c:pt idx="2">
                  <c:v>0.3614</c:v>
                </c:pt>
                <c:pt idx="3">
                  <c:v>0.36880000000000002</c:v>
                </c:pt>
                <c:pt idx="4">
                  <c:v>0.3624</c:v>
                </c:pt>
                <c:pt idx="5">
                  <c:v>0.45269999999999999</c:v>
                </c:pt>
                <c:pt idx="6">
                  <c:v>0.47899999999999998</c:v>
                </c:pt>
                <c:pt idx="7">
                  <c:v>0.32529999999999998</c:v>
                </c:pt>
                <c:pt idx="8">
                  <c:v>0.35189999999999999</c:v>
                </c:pt>
                <c:pt idx="9">
                  <c:v>0.3715</c:v>
                </c:pt>
                <c:pt idx="10">
                  <c:v>0.2762</c:v>
                </c:pt>
                <c:pt idx="11">
                  <c:v>0.32869999999999999</c:v>
                </c:pt>
                <c:pt idx="12">
                  <c:v>0.38500000000000001</c:v>
                </c:pt>
                <c:pt idx="13">
                  <c:v>0.44579999999999997</c:v>
                </c:pt>
              </c:numCache>
            </c:numRef>
          </c:xVal>
          <c:yVal>
            <c:numRef>
              <c:f>Sheet1!$B$2:$B$15</c:f>
              <c:numCache>
                <c:formatCode>General</c:formatCode>
                <c:ptCount val="14"/>
                <c:pt idx="0">
                  <c:v>8742.8128460686603</c:v>
                </c:pt>
                <c:pt idx="1">
                  <c:v>740.18229166666674</c:v>
                </c:pt>
                <c:pt idx="2">
                  <c:v>8760.7128099173551</c:v>
                </c:pt>
                <c:pt idx="3">
                  <c:v>2106.0050890585239</c:v>
                </c:pt>
                <c:pt idx="4">
                  <c:v>1995.714285714286</c:v>
                </c:pt>
                <c:pt idx="5">
                  <c:v>473.70588235294122</c:v>
                </c:pt>
                <c:pt idx="6">
                  <c:v>427.54166666666669</c:v>
                </c:pt>
                <c:pt idx="7">
                  <c:v>740.38251366120221</c:v>
                </c:pt>
                <c:pt idx="8">
                  <c:v>1422.8211586901759</c:v>
                </c:pt>
                <c:pt idx="9">
                  <c:v>3083.217391304348</c:v>
                </c:pt>
                <c:pt idx="10">
                  <c:v>1402.259414225942</c:v>
                </c:pt>
                <c:pt idx="11">
                  <c:v>6086.816479400748</c:v>
                </c:pt>
                <c:pt idx="12">
                  <c:v>2320.5897771952818</c:v>
                </c:pt>
                <c:pt idx="13">
                  <c:v>512.44525547445255</c:v>
                </c:pt>
              </c:numCache>
            </c:numRef>
          </c:yVal>
          <c:bubbleSize>
            <c:numRef>
              <c:f>Sheet1!$C$2:$C$15</c:f>
              <c:numCache>
                <c:formatCode>General</c:formatCode>
                <c:ptCount val="14"/>
                <c:pt idx="0">
                  <c:v>488089.85969999997</c:v>
                </c:pt>
                <c:pt idx="1">
                  <c:v>19264.3325</c:v>
                </c:pt>
                <c:pt idx="2">
                  <c:v>513331.86839999992</c:v>
                </c:pt>
                <c:pt idx="3">
                  <c:v>99038.94</c:v>
                </c:pt>
                <c:pt idx="4">
                  <c:v>81048.707600000009</c:v>
                </c:pt>
                <c:pt idx="5">
                  <c:v>8354.5730999999996</c:v>
                </c:pt>
                <c:pt idx="6">
                  <c:v>5066.8152</c:v>
                </c:pt>
                <c:pt idx="7">
                  <c:v>17329.854599999999</c:v>
                </c:pt>
                <c:pt idx="8">
                  <c:v>34700.419800000003</c:v>
                </c:pt>
                <c:pt idx="9">
                  <c:v>147853.2156</c:v>
                </c:pt>
                <c:pt idx="10">
                  <c:v>22991.651699999999</c:v>
                </c:pt>
                <c:pt idx="11">
                  <c:v>310224.93550000002</c:v>
                </c:pt>
                <c:pt idx="12">
                  <c:v>103208.8308</c:v>
                </c:pt>
                <c:pt idx="13">
                  <c:v>7375.5604999999996</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Classique Fromage Frais A Tartiner Afh Boite 1X8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Afh Boite 1X250Gr 1P</c:v>
                  </c:pt>
                  <c:pt idx="12">
                    <c:v>Boursin Onctueux Fromage Frais A Tartiner Afh 1X125Gr 1P</c:v>
                  </c:pt>
                  <c:pt idx="13">
                    <c:v>Boursin Onctueux Fromage Frais A Tartiner Afh 1X21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3DC9B6C-6136-4AE7-B54E-6AE7A5DD1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515B575C-6F86-4E61-AE29-034B3A212F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9D588B51-A0FC-43D5-9490-EE7ECEE90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F5A7C98-EAFF-44FF-95D6-49EE95299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E9758E9-B2A3-4600-82D4-EDEA6FC14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CD5A88C-CD52-4FB7-8C0E-6292903F0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9911E98-9E43-4B96-979C-9586D6CD5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6589999999999998</c:v>
                </c:pt>
              </c:numCache>
            </c:numRef>
          </c:xVal>
          <c:yVal>
            <c:numRef>
              <c:f>Sheet1!$B$2:$B$2</c:f>
              <c:numCache>
                <c:formatCode>General</c:formatCode>
                <c:ptCount val="1"/>
                <c:pt idx="0">
                  <c:v>2076.2514970059879</c:v>
                </c:pt>
              </c:numCache>
            </c:numRef>
          </c:yVal>
          <c:bubbleSize>
            <c:numRef>
              <c:f>Sheet1!$C$2:$C$2</c:f>
              <c:numCache>
                <c:formatCode>General</c:formatCode>
                <c:ptCount val="1"/>
                <c:pt idx="0">
                  <c:v>87767.423200000005</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6728A98-32D2-4CE4-B6B0-4EC71960F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4B7E84A-2D3E-4990-AE00-6A6A8EE60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39C763C-FB8F-4676-B65A-617B1451E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3F75615-CCBC-496A-91BD-FE2A5B164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C6EF002-A9BD-487C-833F-A362CC7D3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4B1EFA0-8844-436B-8371-6558E3C5E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53D634F-0A15-4253-98BB-E3670EFAF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5610000000000003</c:v>
                </c:pt>
                <c:pt idx="1">
                  <c:v>0.34189999999999998</c:v>
                </c:pt>
                <c:pt idx="2">
                  <c:v>0.45</c:v>
                </c:pt>
                <c:pt idx="3">
                  <c:v>0.43980000000000002</c:v>
                </c:pt>
                <c:pt idx="4">
                  <c:v>0.42670000000000002</c:v>
                </c:pt>
                <c:pt idx="5">
                  <c:v>0.42020000000000002</c:v>
                </c:pt>
                <c:pt idx="6">
                  <c:v>0.38869999999999999</c:v>
                </c:pt>
                <c:pt idx="7">
                  <c:v>0.45639999999999997</c:v>
                </c:pt>
                <c:pt idx="8">
                  <c:v>0.38</c:v>
                </c:pt>
                <c:pt idx="9">
                  <c:v>0.50380000000000003</c:v>
                </c:pt>
              </c:numCache>
            </c:numRef>
          </c:xVal>
          <c:yVal>
            <c:numRef>
              <c:f>Sheet1!$B$2:$B$11</c:f>
              <c:numCache>
                <c:formatCode>General</c:formatCode>
                <c:ptCount val="10"/>
                <c:pt idx="0">
                  <c:v>7033.319713993872</c:v>
                </c:pt>
                <c:pt idx="1">
                  <c:v>5921.2776659959754</c:v>
                </c:pt>
                <c:pt idx="2">
                  <c:v>2224.359788359789</c:v>
                </c:pt>
                <c:pt idx="3">
                  <c:v>2554.8668796592119</c:v>
                </c:pt>
                <c:pt idx="4">
                  <c:v>1929.78622327791</c:v>
                </c:pt>
                <c:pt idx="5">
                  <c:v>2748.5147392290251</c:v>
                </c:pt>
                <c:pt idx="6">
                  <c:v>2040.9308176100631</c:v>
                </c:pt>
                <c:pt idx="7">
                  <c:v>1647.394014962593</c:v>
                </c:pt>
                <c:pt idx="8">
                  <c:v>7439.1675338189389</c:v>
                </c:pt>
                <c:pt idx="9">
                  <c:v>3427.201257861635</c:v>
                </c:pt>
              </c:numCache>
            </c:numRef>
          </c:yVal>
          <c:bubbleSize>
            <c:numRef>
              <c:f>Sheet1!$C$2:$C$11</c:f>
              <c:numCache>
                <c:formatCode>General</c:formatCode>
                <c:ptCount val="10"/>
                <c:pt idx="0">
                  <c:v>420188.06489999988</c:v>
                </c:pt>
                <c:pt idx="1">
                  <c:v>367128.10499999998</c:v>
                </c:pt>
                <c:pt idx="2">
                  <c:v>109593.68</c:v>
                </c:pt>
                <c:pt idx="3">
                  <c:v>127395.8285</c:v>
                </c:pt>
                <c:pt idx="4">
                  <c:v>88297.983399999997</c:v>
                </c:pt>
                <c:pt idx="5">
                  <c:v>133230.94289999999</c:v>
                </c:pt>
                <c:pt idx="6">
                  <c:v>94014.723599999983</c:v>
                </c:pt>
                <c:pt idx="7">
                  <c:v>68079.811799999996</c:v>
                </c:pt>
                <c:pt idx="8">
                  <c:v>420137.65220000001</c:v>
                </c:pt>
                <c:pt idx="9">
                  <c:v>153786.6434</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Poivre Boite 1X150Gr 1P</c:v>
                  </c:pt>
                  <c:pt idx="5">
                    <c:v>Boursin Classique Fromage Frais A Tartiner Afh Boite 1X96Gr 6P</c:v>
                  </c:pt>
                  <c:pt idx="6">
                    <c:v>Boursin Classique Fromage Frais A Tartiner Afh 1X256Gr 16P</c:v>
                  </c:pt>
                  <c:pt idx="7">
                    <c:v>Boursin Classique Fromage Frais A Tartiner Ciboulette &amp; Echalote 1X160Gr 10P</c:v>
                  </c:pt>
                  <c:pt idx="8">
                    <c:v>Boursin Classique Fromage Frais A Tartiner Afh Boite 1X250Gr 1P</c:v>
                  </c:pt>
                  <c:pt idx="9">
                    <c:v>Boursin Onctueux Fromage Frais A Tartiner Afh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F7D2392-F409-431B-A8C5-A83A3A2C0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C7BD182-F590-4685-BA49-FE563132E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148A4DC-D0CC-4F87-BEC7-FC88B9ED3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0ED7F05-406E-4828-BE1A-7EE52C4AA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FBEA8EB-9423-4582-893E-21D56060E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BB7C0DC-57B7-45C0-A1D0-4F1E02D55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61BF87B-E812-4161-8BBA-A94EA8C1A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3429999999999999</c:v>
                </c:pt>
                <c:pt idx="1">
                  <c:v>0.39190000000000003</c:v>
                </c:pt>
                <c:pt idx="2">
                  <c:v>0.34560000000000002</c:v>
                </c:pt>
              </c:numCache>
            </c:numRef>
          </c:xVal>
          <c:yVal>
            <c:numRef>
              <c:f>Sheet1!$B$2:$B$4</c:f>
              <c:numCache>
                <c:formatCode>General</c:formatCode>
                <c:ptCount val="3"/>
                <c:pt idx="0">
                  <c:v>546.86734693877554</c:v>
                </c:pt>
                <c:pt idx="1">
                  <c:v>990.13541666666663</c:v>
                </c:pt>
                <c:pt idx="2">
                  <c:v>60.053571428571423</c:v>
                </c:pt>
              </c:numCache>
            </c:numRef>
          </c:yVal>
          <c:bubbleSize>
            <c:numRef>
              <c:f>Sheet1!$C$2:$C$4</c:f>
              <c:numCache>
                <c:formatCode>General</c:formatCode>
                <c:ptCount val="3"/>
                <c:pt idx="0">
                  <c:v>33818.056600000004</c:v>
                </c:pt>
                <c:pt idx="1">
                  <c:v>54786.758399999999</c:v>
                </c:pt>
                <c:pt idx="2">
                  <c:v>2086.1754000000001</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6DDB06D-7A2A-4D89-A6C6-621084452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1B0D0B1-87E0-482D-B11E-F9174969F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92BD95B-0BE5-4F47-8AD2-3584CF18C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40702C8-D6F6-48BD-B51B-A985CE24D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F5DB17C-EA75-4D03-AFDB-061C0C7DB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43C95C4-7935-4B3A-B04C-FC7754AA4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D7DA209-0B82-4792-8DE7-30393A145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5</c:f>
              <c:numCache>
                <c:formatCode>General</c:formatCode>
                <c:ptCount val="14"/>
                <c:pt idx="0">
                  <c:v>0.3241</c:v>
                </c:pt>
                <c:pt idx="1">
                  <c:v>0.28520000000000001</c:v>
                </c:pt>
                <c:pt idx="2">
                  <c:v>0.30170000000000002</c:v>
                </c:pt>
                <c:pt idx="3">
                  <c:v>0.34739999999999999</c:v>
                </c:pt>
                <c:pt idx="4">
                  <c:v>0.35899999999999999</c:v>
                </c:pt>
                <c:pt idx="5">
                  <c:v>0.42899999999999999</c:v>
                </c:pt>
                <c:pt idx="6">
                  <c:v>0.46479999999999999</c:v>
                </c:pt>
                <c:pt idx="7">
                  <c:v>0.2949</c:v>
                </c:pt>
                <c:pt idx="8">
                  <c:v>0.35189999999999999</c:v>
                </c:pt>
                <c:pt idx="9">
                  <c:v>0.36070000000000002</c:v>
                </c:pt>
                <c:pt idx="10">
                  <c:v>0.2762</c:v>
                </c:pt>
                <c:pt idx="11">
                  <c:v>0.32169999999999999</c:v>
                </c:pt>
                <c:pt idx="12">
                  <c:v>0.38100000000000001</c:v>
                </c:pt>
                <c:pt idx="13">
                  <c:v>0.44769999999999999</c:v>
                </c:pt>
              </c:numCache>
            </c:numRef>
          </c:xVal>
          <c:yVal>
            <c:numRef>
              <c:f>Sheet1!$B$2:$B$15</c:f>
              <c:numCache>
                <c:formatCode>General</c:formatCode>
                <c:ptCount val="14"/>
                <c:pt idx="0">
                  <c:v>3178.1</c:v>
                </c:pt>
                <c:pt idx="1">
                  <c:v>333.52941176470591</c:v>
                </c:pt>
                <c:pt idx="2">
                  <c:v>2173.81</c:v>
                </c:pt>
                <c:pt idx="3">
                  <c:v>746.80412371134025</c:v>
                </c:pt>
                <c:pt idx="4">
                  <c:v>805.01063829787233</c:v>
                </c:pt>
                <c:pt idx="5">
                  <c:v>181.56716417910451</c:v>
                </c:pt>
                <c:pt idx="6">
                  <c:v>156.61224489795919</c:v>
                </c:pt>
                <c:pt idx="7">
                  <c:v>280.87012987012992</c:v>
                </c:pt>
                <c:pt idx="8">
                  <c:v>641.88636363636363</c:v>
                </c:pt>
                <c:pt idx="9">
                  <c:v>1073.17</c:v>
                </c:pt>
                <c:pt idx="10">
                  <c:v>632.33962264150944</c:v>
                </c:pt>
                <c:pt idx="11">
                  <c:v>2485.17</c:v>
                </c:pt>
                <c:pt idx="12">
                  <c:v>745.38383838383834</c:v>
                </c:pt>
                <c:pt idx="13">
                  <c:v>219.9491525423729</c:v>
                </c:pt>
              </c:numCache>
            </c:numRef>
          </c:yVal>
          <c:bubbleSize>
            <c:numRef>
              <c:f>Sheet1!$C$2:$C$15</c:f>
              <c:numCache>
                <c:formatCode>General</c:formatCode>
                <c:ptCount val="14"/>
                <c:pt idx="0">
                  <c:v>203609.8308</c:v>
                </c:pt>
                <c:pt idx="1">
                  <c:v>19208.837500000001</c:v>
                </c:pt>
                <c:pt idx="2">
                  <c:v>143874.3254</c:v>
                </c:pt>
                <c:pt idx="3">
                  <c:v>44811.284000000007</c:v>
                </c:pt>
                <c:pt idx="4">
                  <c:v>45977.733800000002</c:v>
                </c:pt>
                <c:pt idx="5">
                  <c:v>6584.1922000000004</c:v>
                </c:pt>
                <c:pt idx="6">
                  <c:v>3893.0088000000001</c:v>
                </c:pt>
                <c:pt idx="7">
                  <c:v>14453.8038</c:v>
                </c:pt>
                <c:pt idx="8">
                  <c:v>34700.419800000003</c:v>
                </c:pt>
                <c:pt idx="9">
                  <c:v>65034.166400000002</c:v>
                </c:pt>
                <c:pt idx="10">
                  <c:v>22991.651699999999</c:v>
                </c:pt>
                <c:pt idx="11">
                  <c:v>159788.61799999999</c:v>
                </c:pt>
                <c:pt idx="12">
                  <c:v>43296.037199999999</c:v>
                </c:pt>
                <c:pt idx="13">
                  <c:v>6793.1632999999993</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Classique Fromage Frais A Tartiner Afh Boite 1X8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Afh Boite 1X250Gr 1P</c:v>
                  </c:pt>
                  <c:pt idx="12">
                    <c:v>Boursin Onctueux Fromage Frais A Tartiner Afh 1X125Gr 1P</c:v>
                  </c:pt>
                  <c:pt idx="13">
                    <c:v>Boursin Onctueux Fromage Frais A Tartiner Afh 1X21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490F3EB-F426-4A5B-B310-AF8185150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294C4EC-E4EB-4218-B657-5080DBFA2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203896F-C866-4B07-8368-6513B4850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A2CCED8-1336-4D7A-A328-612670435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C03CF2F-853B-4B59-B60F-FD37CE0FB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C90C245-33E8-4EE1-AF78-A6240FB50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1DBF016-DB52-43D5-9E03-B80073A47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269999999999999</c:v>
                </c:pt>
                <c:pt idx="1">
                  <c:v>0.40360000000000001</c:v>
                </c:pt>
                <c:pt idx="2">
                  <c:v>0.26650000000000001</c:v>
                </c:pt>
              </c:numCache>
            </c:numRef>
          </c:xVal>
          <c:yVal>
            <c:numRef>
              <c:f>Sheet1!$B$2:$B$4</c:f>
              <c:numCache>
                <c:formatCode>General</c:formatCode>
                <c:ptCount val="3"/>
                <c:pt idx="0">
                  <c:v>676.1578947368422</c:v>
                </c:pt>
                <c:pt idx="1">
                  <c:v>815.08510638297878</c:v>
                </c:pt>
                <c:pt idx="2">
                  <c:v>105.2121212121212</c:v>
                </c:pt>
              </c:numCache>
            </c:numRef>
          </c:yVal>
          <c:bubbleSize>
            <c:numRef>
              <c:f>Sheet1!$C$2:$C$4</c:f>
              <c:numCache>
                <c:formatCode>General</c:formatCode>
                <c:ptCount val="3"/>
                <c:pt idx="0">
                  <c:v>22184.3776</c:v>
                </c:pt>
                <c:pt idx="1">
                  <c:v>21655.576799999999</c:v>
                </c:pt>
                <c:pt idx="2">
                  <c:v>2413.9591999999998</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29550761779973728</c:v>
                </c:pt>
                <c:pt idx="1">
                  <c:v>0.23946707017811064</c:v>
                </c:pt>
                <c:pt idx="2">
                  <c:v>0.23555644935588643</c:v>
                </c:pt>
                <c:pt idx="3">
                  <c:v>0.1236535032421492</c:v>
                </c:pt>
                <c:pt idx="4">
                  <c:v>8.3015844825510082E-2</c:v>
                </c:pt>
                <c:pt idx="5">
                  <c:v>2.2797865069629369E-2</c:v>
                </c:pt>
                <c:pt idx="6">
                  <c:v>1.6495289770006175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7705295471987729</c:v>
                </c:pt>
                <c:pt idx="1">
                  <c:v>0.16385264773599389</c:v>
                </c:pt>
                <c:pt idx="2">
                  <c:v>0.26515732924021496</c:v>
                </c:pt>
                <c:pt idx="3">
                  <c:v>0.149270913277053</c:v>
                </c:pt>
                <c:pt idx="4">
                  <c:v>9.5932463545663871E-2</c:v>
                </c:pt>
                <c:pt idx="5">
                  <c:v>4.8733691481197244E-2</c:v>
                </c:pt>
                <c:pt idx="6">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93.754928141187023</c:v>
                </c:pt>
                <c:pt idx="1">
                  <c:v>68.423874570363139</c:v>
                </c:pt>
                <c:pt idx="2">
                  <c:v>112.56636358939447</c:v>
                </c:pt>
                <c:pt idx="3">
                  <c:v>120.71709200566482</c:v>
                </c:pt>
                <c:pt idx="4">
                  <c:v>115.55922095029337</c:v>
                </c:pt>
                <c:pt idx="5">
                  <c:v>213.76427719154637</c:v>
                </c:pt>
                <c:pt idx="6">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D7D4A46-3FF0-4E33-93B8-4DE7E6B5A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181B7A-27D5-4823-BA3A-A99EEC5FF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DFFB02A-EE29-4A15-8F9F-AF3DF8A76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0227A6D-6FC0-49AC-A96E-855003BA5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1E16049-1EC9-495D-B5DB-70DDA34A2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F7980D3-8F19-4144-B134-E3ED30C0F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653AD00-6F00-4CE1-A1E1-0C23CEB71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34200000000000003</c:v>
                </c:pt>
                <c:pt idx="1">
                  <c:v>0.31640000000000001</c:v>
                </c:pt>
                <c:pt idx="2">
                  <c:v>0.36919999999999997</c:v>
                </c:pt>
                <c:pt idx="3">
                  <c:v>0.3669</c:v>
                </c:pt>
                <c:pt idx="4">
                  <c:v>0.52610000000000001</c:v>
                </c:pt>
                <c:pt idx="5">
                  <c:v>0.52129999999999999</c:v>
                </c:pt>
                <c:pt idx="6">
                  <c:v>0.37109999999999999</c:v>
                </c:pt>
                <c:pt idx="7">
                  <c:v>0.33600000000000002</c:v>
                </c:pt>
                <c:pt idx="8">
                  <c:v>0.38790000000000002</c:v>
                </c:pt>
              </c:numCache>
            </c:numRef>
          </c:xVal>
          <c:yVal>
            <c:numRef>
              <c:f>Sheet1!$B$2:$B$10</c:f>
              <c:numCache>
                <c:formatCode>General</c:formatCode>
                <c:ptCount val="9"/>
                <c:pt idx="0">
                  <c:v>3016.855670103093</c:v>
                </c:pt>
                <c:pt idx="1">
                  <c:v>2637.1616161616162</c:v>
                </c:pt>
                <c:pt idx="2">
                  <c:v>910.88636363636363</c:v>
                </c:pt>
                <c:pt idx="3">
                  <c:v>899.09230769230771</c:v>
                </c:pt>
                <c:pt idx="4">
                  <c:v>394.1</c:v>
                </c:pt>
                <c:pt idx="5">
                  <c:v>517.4</c:v>
                </c:pt>
                <c:pt idx="6">
                  <c:v>1389.4269662921349</c:v>
                </c:pt>
                <c:pt idx="7">
                  <c:v>2597.739130434783</c:v>
                </c:pt>
                <c:pt idx="8">
                  <c:v>1244.0481927710839</c:v>
                </c:pt>
              </c:numCache>
            </c:numRef>
          </c:yVal>
          <c:bubbleSize>
            <c:numRef>
              <c:f>Sheet1!$C$2:$C$10</c:f>
              <c:numCache>
                <c:formatCode>General</c:formatCode>
                <c:ptCount val="9"/>
                <c:pt idx="0">
                  <c:v>182514.58350000001</c:v>
                </c:pt>
                <c:pt idx="1">
                  <c:v>169175.82759999999</c:v>
                </c:pt>
                <c:pt idx="2">
                  <c:v>47929.252</c:v>
                </c:pt>
                <c:pt idx="3">
                  <c:v>35070.9738</c:v>
                </c:pt>
                <c:pt idx="4">
                  <c:v>1770.3809000000001</c:v>
                </c:pt>
                <c:pt idx="5">
                  <c:v>1173.8063999999999</c:v>
                </c:pt>
                <c:pt idx="6">
                  <c:v>73719.119200000001</c:v>
                </c:pt>
                <c:pt idx="7">
                  <c:v>150414.5325</c:v>
                </c:pt>
                <c:pt idx="8">
                  <c:v>59907.712800000001</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3 Noix Boite 1X150Gr 1P</c:v>
                  </c:pt>
                  <c:pt idx="5">
                    <c:v>Boursin Classique Fromage Frais A Tartiner 3 Noix 1X160Gr 10P</c:v>
                  </c:pt>
                  <c:pt idx="6">
                    <c:v>Boursin Classique Fromage Frais A Tartiner Afh Boite 1X96Gr 6P</c:v>
                  </c:pt>
                  <c:pt idx="7">
                    <c:v>Boursin Classique Fromage Frais A Tartiner Afh Boite 1X250Gr 1P</c:v>
                  </c:pt>
                  <c:pt idx="8">
                    <c:v>Boursin Onctueux Fromage Frais A Tartiner Afh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F72F0B7-A569-4341-BD99-38332BA3A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826549F-5B2B-4930-99E4-E57E66C03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4F2909E8-2A54-470B-B588-F8FA40FDC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00E9DBA-CAF6-46E2-B0CF-11AE967A9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84DC4A1-38BF-41BD-988F-2B96E6E51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790124D-650A-49F6-B4C1-A693AA80D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799BEC2-78C0-470F-A12F-C8F4FEF9D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46689999999999998</c:v>
                </c:pt>
                <c:pt idx="1">
                  <c:v>0.38629999999999998</c:v>
                </c:pt>
              </c:numCache>
            </c:numRef>
          </c:xVal>
          <c:yVal>
            <c:numRef>
              <c:f>Sheet1!$B$2:$B$3</c:f>
              <c:numCache>
                <c:formatCode>General</c:formatCode>
                <c:ptCount val="2"/>
                <c:pt idx="0">
                  <c:v>1348.3888888888889</c:v>
                </c:pt>
                <c:pt idx="1">
                  <c:v>172.2</c:v>
                </c:pt>
              </c:numCache>
            </c:numRef>
          </c:yVal>
          <c:bubbleSize>
            <c:numRef>
              <c:f>Sheet1!$C$2:$C$3</c:f>
              <c:numCache>
                <c:formatCode>General</c:formatCode>
                <c:ptCount val="2"/>
                <c:pt idx="0">
                  <c:v>36794.323400000001</c:v>
                </c:pt>
                <c:pt idx="1">
                  <c:v>1001.7318</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EF81B6F-FAF9-4BEE-BFDE-9DD2822F9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521F5F7-3AB7-42B7-B6F7-3B449A066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192DAF6-B53A-4C28-8DFA-81596F6E6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58A6F88-5F08-4F70-8D3B-829E05A43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24E9B9E-17A7-4FDF-94F3-718E774C6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8566485-481F-4CE9-A6C5-21BF43390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93E3DBE-1FC9-4DD6-9432-ED1C256BB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39910000000000001</c:v>
                </c:pt>
                <c:pt idx="1">
                  <c:v>0.42830000000000001</c:v>
                </c:pt>
                <c:pt idx="2">
                  <c:v>0.48630000000000001</c:v>
                </c:pt>
                <c:pt idx="3">
                  <c:v>0.44540000000000002</c:v>
                </c:pt>
                <c:pt idx="4">
                  <c:v>0.44259999999999999</c:v>
                </c:pt>
              </c:numCache>
            </c:numRef>
          </c:xVal>
          <c:yVal>
            <c:numRef>
              <c:f>Sheet1!$B$2:$B$6</c:f>
              <c:numCache>
                <c:formatCode>General</c:formatCode>
                <c:ptCount val="5"/>
                <c:pt idx="0">
                  <c:v>3653.6938775510198</c:v>
                </c:pt>
                <c:pt idx="1">
                  <c:v>4452.734939759036</c:v>
                </c:pt>
                <c:pt idx="2">
                  <c:v>1616.75</c:v>
                </c:pt>
                <c:pt idx="3">
                  <c:v>497.36363636363637</c:v>
                </c:pt>
                <c:pt idx="4">
                  <c:v>1913.666666666667</c:v>
                </c:pt>
              </c:numCache>
            </c:numRef>
          </c:yVal>
          <c:bubbleSize>
            <c:numRef>
              <c:f>Sheet1!$C$2:$C$6</c:f>
              <c:numCache>
                <c:formatCode>General</c:formatCode>
                <c:ptCount val="5"/>
                <c:pt idx="0">
                  <c:v>101965.4454</c:v>
                </c:pt>
                <c:pt idx="1">
                  <c:v>200281.71539999999</c:v>
                </c:pt>
                <c:pt idx="2">
                  <c:v>6298.4040000000005</c:v>
                </c:pt>
                <c:pt idx="3">
                  <c:v>2876.0508</c:v>
                </c:pt>
                <c:pt idx="4">
                  <c:v>9099.93</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Afh Boite 1X80Gr 1P</c:v>
                  </c:pt>
                  <c:pt idx="4">
                    <c:v>Boursin Classique Fromage Frais A Tartiner Afh Boite 1X96Gr 6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90B4FE4-33F8-41CB-B3FC-B218D2547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CD298669-CD93-4166-906E-F5FD9AAA7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201843E4-7094-43BC-BF1D-213D01FA5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916F638-0A2F-4FC0-9252-0840DA793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935888B-4117-415E-BA56-6EADECCE0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94E552C-CEB7-4E57-B2C2-CB0F1B307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2BD7BBB-AB3C-4E0D-8ADB-03BAEF5DE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6439999999999998</c:v>
                </c:pt>
              </c:numCache>
            </c:numRef>
          </c:xVal>
          <c:yVal>
            <c:numRef>
              <c:f>Sheet1!$B$2:$B$2</c:f>
              <c:numCache>
                <c:formatCode>General</c:formatCode>
                <c:ptCount val="1"/>
                <c:pt idx="0">
                  <c:v>1509.2873563218391</c:v>
                </c:pt>
              </c:numCache>
            </c:numRef>
          </c:yVal>
          <c:bubbleSize>
            <c:numRef>
              <c:f>Sheet1!$C$2:$C$2</c:f>
              <c:numCache>
                <c:formatCode>General</c:formatCode>
                <c:ptCount val="1"/>
                <c:pt idx="0">
                  <c:v>66663.609600000011</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BADEDFB-D91C-4750-9BF9-E3AF7AD53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9313F6A-9A41-4E68-9C36-8E4FA7B8E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1AD2E18-FE6B-412A-95F0-4F28527A0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866CBA0-5737-4059-9048-03E0F6932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96CB649-52B2-4D18-B7A8-45A62F95E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41388A8-CA79-49D8-8F48-D0ED16BA8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61361C6-FBCC-4085-8F31-2007AD60A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528</c:v>
                </c:pt>
                <c:pt idx="1">
                  <c:v>0.33660000000000001</c:v>
                </c:pt>
                <c:pt idx="2">
                  <c:v>0.44619999999999999</c:v>
                </c:pt>
                <c:pt idx="3">
                  <c:v>0.43509999999999999</c:v>
                </c:pt>
                <c:pt idx="4">
                  <c:v>0.42349999999999999</c:v>
                </c:pt>
                <c:pt idx="5">
                  <c:v>0.41889999999999999</c:v>
                </c:pt>
                <c:pt idx="6">
                  <c:v>0.38750000000000001</c:v>
                </c:pt>
                <c:pt idx="7">
                  <c:v>0.45639999999999997</c:v>
                </c:pt>
                <c:pt idx="8">
                  <c:v>0.3795</c:v>
                </c:pt>
                <c:pt idx="9">
                  <c:v>0.50139999999999996</c:v>
                </c:pt>
              </c:numCache>
            </c:numRef>
          </c:xVal>
          <c:yVal>
            <c:numRef>
              <c:f>Sheet1!$B$2:$B$11</c:f>
              <c:numCache>
                <c:formatCode>General</c:formatCode>
                <c:ptCount val="10"/>
                <c:pt idx="0">
                  <c:v>5111.090909090909</c:v>
                </c:pt>
                <c:pt idx="1">
                  <c:v>4276.05</c:v>
                </c:pt>
                <c:pt idx="2">
                  <c:v>1606.041666666667</c:v>
                </c:pt>
                <c:pt idx="3">
                  <c:v>1801.8736842105261</c:v>
                </c:pt>
                <c:pt idx="4">
                  <c:v>1399.976744186047</c:v>
                </c:pt>
                <c:pt idx="5">
                  <c:v>1982.9666666666669</c:v>
                </c:pt>
                <c:pt idx="6">
                  <c:v>1441.1547619047619</c:v>
                </c:pt>
                <c:pt idx="7">
                  <c:v>1214.975903614458</c:v>
                </c:pt>
                <c:pt idx="8">
                  <c:v>5515.0505050505053</c:v>
                </c:pt>
                <c:pt idx="9">
                  <c:v>2431.7628865979382</c:v>
                </c:pt>
              </c:numCache>
            </c:numRef>
          </c:yVal>
          <c:bubbleSize>
            <c:numRef>
              <c:f>Sheet1!$C$2:$C$11</c:f>
              <c:numCache>
                <c:formatCode>General</c:formatCode>
                <c:ptCount val="10"/>
                <c:pt idx="0">
                  <c:v>310396.17109999998</c:v>
                </c:pt>
                <c:pt idx="1">
                  <c:v>268889.32500000001</c:v>
                </c:pt>
                <c:pt idx="2">
                  <c:v>80927.763000000006</c:v>
                </c:pt>
                <c:pt idx="3">
                  <c:v>91664.386599999998</c:v>
                </c:pt>
                <c:pt idx="4">
                  <c:v>65796.493399999992</c:v>
                </c:pt>
                <c:pt idx="5">
                  <c:v>98304.178500000009</c:v>
                </c:pt>
                <c:pt idx="6">
                  <c:v>70284.431699999986</c:v>
                </c:pt>
                <c:pt idx="7">
                  <c:v>51962.308199999999</c:v>
                </c:pt>
                <c:pt idx="8">
                  <c:v>321142.08559999999</c:v>
                </c:pt>
                <c:pt idx="9">
                  <c:v>111472.8284</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Poivre Boite 1X150Gr 1P</c:v>
                  </c:pt>
                  <c:pt idx="5">
                    <c:v>Boursin Classique Fromage Frais A Tartiner Afh Boite 1X96Gr 6P</c:v>
                  </c:pt>
                  <c:pt idx="6">
                    <c:v>Boursin Classique Fromage Frais A Tartiner Afh 1X256Gr 16P</c:v>
                  </c:pt>
                  <c:pt idx="7">
                    <c:v>Boursin Classique Fromage Frais A Tartiner Ciboulette &amp; Echalote 1X160Gr 10P</c:v>
                  </c:pt>
                  <c:pt idx="8">
                    <c:v>Boursin Classique Fromage Frais A Tartiner Afh Boite 1X250Gr 1P</c:v>
                  </c:pt>
                  <c:pt idx="9">
                    <c:v>Boursin Onctueux Fromage Frais A Tartiner Afh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1BF4891-F2CD-42A8-A043-E0F66AA47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988E22F1-CD09-4D08-8D15-82784E87C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9DD71CEF-F5D9-47A1-A951-F38DAE206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14587B4-6377-4599-9D11-9223C2415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2152468-7C87-41CE-877E-A35218BAB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CBDCF30-FF34-4999-B244-1B68F4951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A0B60E0-1582-416C-AF5C-F1F4E8244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5019999999999999</c:v>
                </c:pt>
              </c:numCache>
            </c:numRef>
          </c:xVal>
          <c:yVal>
            <c:numRef>
              <c:f>Sheet1!$B$2:$B$2</c:f>
              <c:numCache>
                <c:formatCode>General</c:formatCode>
                <c:ptCount val="1"/>
                <c:pt idx="0">
                  <c:v>259.61616161616161</c:v>
                </c:pt>
              </c:numCache>
            </c:numRef>
          </c:yVal>
          <c:bubbleSize>
            <c:numRef>
              <c:f>Sheet1!$C$2:$C$2</c:f>
              <c:numCache>
                <c:formatCode>General</c:formatCode>
                <c:ptCount val="1"/>
                <c:pt idx="0">
                  <c:v>13395.286</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05F6F50-F189-4AD6-8139-30AC564C7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6BDD269-C550-46EB-9176-669EEB75C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3DDD8A6-50BB-4A9D-A889-CCA0C4EE3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476B320-97E1-4F21-B641-E8B02B504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B6EC8B4-A6BD-4682-957C-00295AB40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A9DF5B4-5CE9-4A95-97EF-B71757AA1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C23D741-5A58-4956-8E8C-63EB62096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4670000000000001</c:v>
                </c:pt>
                <c:pt idx="1">
                  <c:v>0.33479999999999999</c:v>
                </c:pt>
                <c:pt idx="2">
                  <c:v>0.4274</c:v>
                </c:pt>
                <c:pt idx="3">
                  <c:v>0.41710000000000003</c:v>
                </c:pt>
                <c:pt idx="4">
                  <c:v>0.40560000000000002</c:v>
                </c:pt>
                <c:pt idx="5">
                  <c:v>0.3977</c:v>
                </c:pt>
                <c:pt idx="6">
                  <c:v>0.38679999999999998</c:v>
                </c:pt>
                <c:pt idx="7">
                  <c:v>0.43819999999999998</c:v>
                </c:pt>
                <c:pt idx="8">
                  <c:v>0.3664</c:v>
                </c:pt>
                <c:pt idx="9">
                  <c:v>0.48130000000000001</c:v>
                </c:pt>
              </c:numCache>
            </c:numRef>
          </c:xVal>
          <c:yVal>
            <c:numRef>
              <c:f>Sheet1!$B$2:$B$11</c:f>
              <c:numCache>
                <c:formatCode>General</c:formatCode>
                <c:ptCount val="10"/>
                <c:pt idx="0">
                  <c:v>899.93939393939399</c:v>
                </c:pt>
                <c:pt idx="1">
                  <c:v>706.57575757575762</c:v>
                </c:pt>
                <c:pt idx="2">
                  <c:v>229.83838383838381</c:v>
                </c:pt>
                <c:pt idx="3">
                  <c:v>259.5858585858586</c:v>
                </c:pt>
                <c:pt idx="4">
                  <c:v>209.1237113402062</c:v>
                </c:pt>
                <c:pt idx="5">
                  <c:v>321.57142857142861</c:v>
                </c:pt>
                <c:pt idx="6">
                  <c:v>327.33333333333331</c:v>
                </c:pt>
                <c:pt idx="7">
                  <c:v>205.3052631578947</c:v>
                </c:pt>
                <c:pt idx="8">
                  <c:v>1058.6464646464649</c:v>
                </c:pt>
                <c:pt idx="9">
                  <c:v>373.97979797979798</c:v>
                </c:pt>
              </c:numCache>
            </c:numRef>
          </c:yVal>
          <c:bubbleSize>
            <c:numRef>
              <c:f>Sheet1!$C$2:$C$11</c:f>
              <c:numCache>
                <c:formatCode>General</c:formatCode>
                <c:ptCount val="10"/>
                <c:pt idx="0">
                  <c:v>55170.794599999987</c:v>
                </c:pt>
                <c:pt idx="1">
                  <c:v>44106.495000000003</c:v>
                </c:pt>
                <c:pt idx="2">
                  <c:v>12349.773800000001</c:v>
                </c:pt>
                <c:pt idx="3">
                  <c:v>14198.6855</c:v>
                </c:pt>
                <c:pt idx="4">
                  <c:v>11428.3532</c:v>
                </c:pt>
                <c:pt idx="5">
                  <c:v>17992.606500000002</c:v>
                </c:pt>
                <c:pt idx="6">
                  <c:v>18264.846600000001</c:v>
                </c:pt>
                <c:pt idx="7">
                  <c:v>10385.634599999999</c:v>
                </c:pt>
                <c:pt idx="8">
                  <c:v>62945.8802</c:v>
                </c:pt>
                <c:pt idx="9">
                  <c:v>18204.570100000001</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Poivre Boite 1X150Gr 1P</c:v>
                  </c:pt>
                  <c:pt idx="5">
                    <c:v>Boursin Classique Fromage Frais A Tartiner Afh Boite 1X96Gr 6P</c:v>
                  </c:pt>
                  <c:pt idx="6">
                    <c:v>Boursin Classique Fromage Frais A Tartiner Afh 1X256Gr 16P</c:v>
                  </c:pt>
                  <c:pt idx="7">
                    <c:v>Boursin Classique Fromage Frais A Tartiner Ciboulette &amp; Echalote 1X160Gr 10P</c:v>
                  </c:pt>
                  <c:pt idx="8">
                    <c:v>Boursin Classique Fromage Frais A Tartiner Afh Boite 1X250Gr 1P</c:v>
                  </c:pt>
                  <c:pt idx="9">
                    <c:v>Boursin Onctueux Fromage Frais A Tartiner Afh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0477C8C-FCC1-44EF-B9D3-4A3E8AEBD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20B93020-2C83-4114-90F9-ECEB88C9F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6146BCBD-8543-47C4-A52C-5CE52DEB8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27EDE1F-5E87-46BE-A64C-1C709CE36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F1E61CD-7348-4DA3-8DCF-2814B938F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D93FCF7-361E-4896-8A38-6583E7C9B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E8F8C63-6806-49B9-8C0B-12657A414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50280000000000002</c:v>
                </c:pt>
              </c:numCache>
            </c:numRef>
          </c:xVal>
          <c:yVal>
            <c:numRef>
              <c:f>Sheet1!$B$2:$B$2</c:f>
              <c:numCache>
                <c:formatCode>General</c:formatCode>
                <c:ptCount val="1"/>
                <c:pt idx="0">
                  <c:v>371.75</c:v>
                </c:pt>
              </c:numCache>
            </c:numRef>
          </c:yVal>
          <c:bubbleSize>
            <c:numRef>
              <c:f>Sheet1!$C$2:$C$2</c:f>
              <c:numCache>
                <c:formatCode>General</c:formatCode>
                <c:ptCount val="1"/>
                <c:pt idx="0">
                  <c:v>7708.5276000000013</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382D548-C06F-4B10-9CBB-884E58CB7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37F36D6-82B9-4D77-BA69-EA0825302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5AA9D9F-EBDE-4FC5-92E8-A2C21B6EE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F91F9E2-F8D2-4005-85DA-47E83EEB7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DB11F06-A53E-43EB-9D1D-C78E641BF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268F222-32F2-4FB3-8B3E-DB49637D9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58DDF01-B05E-44BD-AF46-CF96F9C39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8300000000000001</c:v>
                </c:pt>
                <c:pt idx="1">
                  <c:v>0.37259999999999999</c:v>
                </c:pt>
                <c:pt idx="2">
                  <c:v>0.48259999999999997</c:v>
                </c:pt>
                <c:pt idx="3">
                  <c:v>0.47199999999999998</c:v>
                </c:pt>
                <c:pt idx="4">
                  <c:v>0.4642</c:v>
                </c:pt>
                <c:pt idx="5">
                  <c:v>0.44919999999999999</c:v>
                </c:pt>
                <c:pt idx="6">
                  <c:v>0.41</c:v>
                </c:pt>
                <c:pt idx="7">
                  <c:v>0.4864</c:v>
                </c:pt>
                <c:pt idx="8">
                  <c:v>0.40670000000000001</c:v>
                </c:pt>
                <c:pt idx="9">
                  <c:v>0.52939999999999998</c:v>
                </c:pt>
              </c:numCache>
            </c:numRef>
          </c:xVal>
          <c:yVal>
            <c:numRef>
              <c:f>Sheet1!$B$2:$B$11</c:f>
              <c:numCache>
                <c:formatCode>General</c:formatCode>
                <c:ptCount val="10"/>
                <c:pt idx="0">
                  <c:v>1038.5555555555561</c:v>
                </c:pt>
                <c:pt idx="1">
                  <c:v>948.11458333333337</c:v>
                </c:pt>
                <c:pt idx="2">
                  <c:v>415.85</c:v>
                </c:pt>
                <c:pt idx="3">
                  <c:v>531.17283950617286</c:v>
                </c:pt>
                <c:pt idx="4">
                  <c:v>369.57627118644069</c:v>
                </c:pt>
                <c:pt idx="5">
                  <c:v>491.4848484848485</c:v>
                </c:pt>
                <c:pt idx="6">
                  <c:v>296.15151515151513</c:v>
                </c:pt>
                <c:pt idx="7">
                  <c:v>255.95652173913041</c:v>
                </c:pt>
                <c:pt idx="8">
                  <c:v>854.77333333333331</c:v>
                </c:pt>
                <c:pt idx="9">
                  <c:v>667.28395061728395</c:v>
                </c:pt>
              </c:numCache>
            </c:numRef>
          </c:yVal>
          <c:bubbleSize>
            <c:numRef>
              <c:f>Sheet1!$C$2:$C$11</c:f>
              <c:numCache>
                <c:formatCode>General</c:formatCode>
                <c:ptCount val="10"/>
                <c:pt idx="0">
                  <c:v>54621.099199999997</c:v>
                </c:pt>
                <c:pt idx="1">
                  <c:v>54132.285000000003</c:v>
                </c:pt>
                <c:pt idx="2">
                  <c:v>16316.1432</c:v>
                </c:pt>
                <c:pt idx="3">
                  <c:v>21532.756399999998</c:v>
                </c:pt>
                <c:pt idx="4">
                  <c:v>11073.1368</c:v>
                </c:pt>
                <c:pt idx="5">
                  <c:v>16934.157899999998</c:v>
                </c:pt>
                <c:pt idx="6">
                  <c:v>5465.4452999999994</c:v>
                </c:pt>
                <c:pt idx="7">
                  <c:v>5731.8689999999997</c:v>
                </c:pt>
                <c:pt idx="8">
                  <c:v>36049.686399999999</c:v>
                </c:pt>
                <c:pt idx="9">
                  <c:v>24109.244900000002</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Poivre Boite 1X150Gr 1P</c:v>
                  </c:pt>
                  <c:pt idx="5">
                    <c:v>Boursin Classique Fromage Frais A Tartiner Afh Boite 1X96Gr 6P</c:v>
                  </c:pt>
                  <c:pt idx="6">
                    <c:v>Boursin Classique Fromage Frais A Tartiner Afh 1X256Gr 16P</c:v>
                  </c:pt>
                  <c:pt idx="7">
                    <c:v>Boursin Classique Fromage Frais A Tartiner Ciboulette &amp; Echalote 1X160Gr 10P</c:v>
                  </c:pt>
                  <c:pt idx="8">
                    <c:v>Boursin Classique Fromage Frais A Tartiner Afh Boite 1X250Gr 1P</c:v>
                  </c:pt>
                  <c:pt idx="9">
                    <c:v>Boursin Onctueux Fromage Frais A Tartiner Afh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DFB2211-6C58-4ECB-A073-6645AEFF7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93683CA-4F7C-4FB3-AAC4-45A21417B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149F971-D556-41C5-813E-0BCAD8DE9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3744D47-F9CF-4D54-8584-094613CA7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AE2CF64-5251-46E7-9DA8-505534150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35EB70D-36BB-4D03-95FC-07B154991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5306BC1-4BCE-4EB8-9FD6-2BE9834E9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36649999999999999</c:v>
                </c:pt>
                <c:pt idx="1">
                  <c:v>0.46160000000000001</c:v>
                </c:pt>
                <c:pt idx="2">
                  <c:v>0.4204</c:v>
                </c:pt>
                <c:pt idx="3">
                  <c:v>0.40529999999999999</c:v>
                </c:pt>
                <c:pt idx="4">
                  <c:v>0.3715</c:v>
                </c:pt>
              </c:numCache>
            </c:numRef>
          </c:xVal>
          <c:yVal>
            <c:numRef>
              <c:f>Sheet1!$B$2:$B$6</c:f>
              <c:numCache>
                <c:formatCode>General</c:formatCode>
                <c:ptCount val="5"/>
                <c:pt idx="0">
                  <c:v>7666.3059313215408</c:v>
                </c:pt>
                <c:pt idx="1">
                  <c:v>2285.1702395964689</c:v>
                </c:pt>
                <c:pt idx="2">
                  <c:v>2175.770234986946</c:v>
                </c:pt>
                <c:pt idx="3">
                  <c:v>1434.985590778098</c:v>
                </c:pt>
                <c:pt idx="4">
                  <c:v>1512.0605187319891</c:v>
                </c:pt>
              </c:numCache>
            </c:numRef>
          </c:yVal>
          <c:bubbleSize>
            <c:numRef>
              <c:f>Sheet1!$C$2:$C$6</c:f>
              <c:numCache>
                <c:formatCode>General</c:formatCode>
                <c:ptCount val="5"/>
                <c:pt idx="0">
                  <c:v>442372.5882</c:v>
                </c:pt>
                <c:pt idx="1">
                  <c:v>92475.308799999999</c:v>
                </c:pt>
                <c:pt idx="2">
                  <c:v>91560.826499999996</c:v>
                </c:pt>
                <c:pt idx="3">
                  <c:v>56139.6077</c:v>
                </c:pt>
                <c:pt idx="4">
                  <c:v>62509.884800000007</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0">
                  <c:v>0.29670862522909747</c:v>
                </c:pt>
                <c:pt idx="1">
                  <c:v>0.24553220389442446</c:v>
                </c:pt>
                <c:pt idx="2">
                  <c:v>0.23611971680296223</c:v>
                </c:pt>
                <c:pt idx="3">
                  <c:v>0.1042112999711593</c:v>
                </c:pt>
                <c:pt idx="4">
                  <c:v>9.6374073143729005E-2</c:v>
                </c:pt>
                <c:pt idx="5">
                  <c:v>2.105408095862755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0">
                  <c:v>0.26641714869003069</c:v>
                </c:pt>
                <c:pt idx="1">
                  <c:v>0.17693092888737671</c:v>
                </c:pt>
                <c:pt idx="2">
                  <c:v>0.25893160939094945</c:v>
                </c:pt>
                <c:pt idx="3">
                  <c:v>0.1347397073834638</c:v>
                </c:pt>
                <c:pt idx="4">
                  <c:v>0.10377679482817288</c:v>
                </c:pt>
                <c:pt idx="5">
                  <c:v>5.920381082000682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0">
                  <c:v>89.790833847287772</c:v>
                </c:pt>
                <c:pt idx="1">
                  <c:v>72.060172181509287</c:v>
                </c:pt>
                <c:pt idx="2">
                  <c:v>109.6611553227566</c:v>
                </c:pt>
                <c:pt idx="3">
                  <c:v>129.29471892275913</c:v>
                </c:pt>
                <c:pt idx="4">
                  <c:v>107.6812377467991</c:v>
                </c:pt>
                <c:pt idx="5">
                  <c:v>281.198742117243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46C8996-10AB-43E1-88A0-8A5B8B7BD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F8A51AE-0FAC-42F9-BA52-85F36C44E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7B0CFA0-8870-472C-8735-79E457892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D5BA7D1-188F-4553-B19D-BB8A1EBB3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84A8FC5-5E16-4417-BFA0-C01D3E35F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EEEF362-C8CD-4BB1-B66A-812ED1FB9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55FFB29-1181-42DC-B258-411D11D12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5379999999999998</c:v>
                </c:pt>
                <c:pt idx="1">
                  <c:v>0.36959999999999998</c:v>
                </c:pt>
                <c:pt idx="2">
                  <c:v>0.4234</c:v>
                </c:pt>
                <c:pt idx="3">
                  <c:v>0.53500000000000003</c:v>
                </c:pt>
                <c:pt idx="4">
                  <c:v>0.47799999999999998</c:v>
                </c:pt>
              </c:numCache>
            </c:numRef>
          </c:xVal>
          <c:yVal>
            <c:numRef>
              <c:f>Sheet1!$B$2:$B$6</c:f>
              <c:numCache>
                <c:formatCode>General</c:formatCode>
                <c:ptCount val="5"/>
                <c:pt idx="0">
                  <c:v>4517.4404145077724</c:v>
                </c:pt>
                <c:pt idx="1">
                  <c:v>1450.292397660819</c:v>
                </c:pt>
                <c:pt idx="2">
                  <c:v>1900.255785627284</c:v>
                </c:pt>
                <c:pt idx="3">
                  <c:v>919.7538461538461</c:v>
                </c:pt>
                <c:pt idx="4">
                  <c:v>1116.6990291262141</c:v>
                </c:pt>
              </c:numCache>
            </c:numRef>
          </c:yVal>
          <c:bubbleSize>
            <c:numRef>
              <c:f>Sheet1!$C$2:$C$6</c:f>
              <c:numCache>
                <c:formatCode>General</c:formatCode>
                <c:ptCount val="5"/>
                <c:pt idx="0">
                  <c:v>225695.9712</c:v>
                </c:pt>
                <c:pt idx="1">
                  <c:v>44456.160000000003</c:v>
                </c:pt>
                <c:pt idx="2">
                  <c:v>85260.665099999984</c:v>
                </c:pt>
                <c:pt idx="3">
                  <c:v>26352.17909999999</c:v>
                </c:pt>
                <c:pt idx="4">
                  <c:v>22765.070899999999</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FA0AAD0-25A6-4503-B9B3-080CF24B0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47DEB93-B0BA-4866-B77E-0A027D857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654EE53-4F6D-4C65-B6D3-CC9370AE5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78CD9AA-F8AD-431D-8538-2F21C51B0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A6EC309-A251-4710-B715-337AA0F1A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C3B8F6E-C15F-4631-9719-B5D0BAE09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E90D930-C23D-4CC3-83B8-97063882B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31480000000000002</c:v>
                </c:pt>
                <c:pt idx="1">
                  <c:v>0.4864</c:v>
                </c:pt>
                <c:pt idx="2">
                  <c:v>0.45519999999999999</c:v>
                </c:pt>
                <c:pt idx="3">
                  <c:v>0.39090000000000003</c:v>
                </c:pt>
                <c:pt idx="4">
                  <c:v>0.35859999999999997</c:v>
                </c:pt>
              </c:numCache>
            </c:numRef>
          </c:xVal>
          <c:yVal>
            <c:numRef>
              <c:f>Sheet1!$B$2:$B$6</c:f>
              <c:numCache>
                <c:formatCode>General</c:formatCode>
                <c:ptCount val="5"/>
                <c:pt idx="0">
                  <c:v>2202.34</c:v>
                </c:pt>
                <c:pt idx="1">
                  <c:v>790.64646464646466</c:v>
                </c:pt>
                <c:pt idx="2">
                  <c:v>1044.9292929292931</c:v>
                </c:pt>
                <c:pt idx="3">
                  <c:v>477.22580645161293</c:v>
                </c:pt>
                <c:pt idx="4">
                  <c:v>518.86170212765956</c:v>
                </c:pt>
              </c:numCache>
            </c:numRef>
          </c:yVal>
          <c:bubbleSize>
            <c:numRef>
              <c:f>Sheet1!$C$2:$C$6</c:f>
              <c:numCache>
                <c:formatCode>General</c:formatCode>
                <c:ptCount val="5"/>
                <c:pt idx="0">
                  <c:v>143034.28020000001</c:v>
                </c:pt>
                <c:pt idx="1">
                  <c:v>38107.283199999998</c:v>
                </c:pt>
                <c:pt idx="2">
                  <c:v>53421.076500000003</c:v>
                </c:pt>
                <c:pt idx="3">
                  <c:v>25623.770700000001</c:v>
                </c:pt>
                <c:pt idx="4">
                  <c:v>29652.6384</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8A56FB-BD41-4032-995E-31C5E1A86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442BDA1-00DB-452D-AD0C-41CA65734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34B4587-B742-44FE-AB63-BDB8BC2E3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5EBD7CE-F78B-4398-B603-8CED89E96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CF9543B-4209-4046-84F4-9E91255E8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C73639C-E54B-4CC1-B21B-17186EC3A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D5090EF-FEF7-4C9E-91FD-E0CAA1483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29770000000000002</c:v>
                </c:pt>
                <c:pt idx="1">
                  <c:v>0.44280000000000003</c:v>
                </c:pt>
                <c:pt idx="2">
                  <c:v>0.36349999999999999</c:v>
                </c:pt>
                <c:pt idx="3">
                  <c:v>0.41670000000000001</c:v>
                </c:pt>
                <c:pt idx="4">
                  <c:v>0.38279999999999997</c:v>
                </c:pt>
              </c:numCache>
            </c:numRef>
          </c:xVal>
          <c:yVal>
            <c:numRef>
              <c:f>Sheet1!$B$2:$B$6</c:f>
              <c:numCache>
                <c:formatCode>General</c:formatCode>
                <c:ptCount val="5"/>
                <c:pt idx="0">
                  <c:v>2989.2525252525252</c:v>
                </c:pt>
                <c:pt idx="1">
                  <c:v>1131.2087912087909</c:v>
                </c:pt>
                <c:pt idx="2">
                  <c:v>752.57142857142856</c:v>
                </c:pt>
                <c:pt idx="3">
                  <c:v>766.19444444444446</c:v>
                </c:pt>
                <c:pt idx="4">
                  <c:v>791.04225352112678</c:v>
                </c:pt>
              </c:numCache>
            </c:numRef>
          </c:yVal>
          <c:bubbleSize>
            <c:numRef>
              <c:f>Sheet1!$C$2:$C$6</c:f>
              <c:numCache>
                <c:formatCode>General</c:formatCode>
                <c:ptCount val="5"/>
                <c:pt idx="0">
                  <c:v>197011.77119999999</c:v>
                </c:pt>
                <c:pt idx="1">
                  <c:v>54368.025600000001</c:v>
                </c:pt>
                <c:pt idx="2">
                  <c:v>38139.75</c:v>
                </c:pt>
                <c:pt idx="3">
                  <c:v>30499.949700000001</c:v>
                </c:pt>
                <c:pt idx="4">
                  <c:v>32857.246400000004</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E40E762-96DD-41B0-A043-9951C0B90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A7F1DCC3-819C-41DF-9036-4040CD087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9099539-7068-48D8-AE92-B68057C68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E712A7E-54B9-451A-AA0C-860B868DC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A85620C-1F20-4A59-B63C-255DB2BFE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E3BBEB7-9F37-41CF-B96B-CDBD1EFC7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3B17A09-C125-4E80-8CAF-003A43CBF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51049999999999995</c:v>
                </c:pt>
              </c:numCache>
            </c:numRef>
          </c:xVal>
          <c:yVal>
            <c:numRef>
              <c:f>Sheet1!$B$2:$B$2</c:f>
              <c:numCache>
                <c:formatCode>General</c:formatCode>
                <c:ptCount val="1"/>
                <c:pt idx="0">
                  <c:v>2791.924050632912</c:v>
                </c:pt>
              </c:numCache>
            </c:numRef>
          </c:yVal>
          <c:bubbleSize>
            <c:numRef>
              <c:f>Sheet1!$C$2:$C$2</c:f>
              <c:numCache>
                <c:formatCode>General</c:formatCode>
                <c:ptCount val="1"/>
                <c:pt idx="0">
                  <c:v>102326.5368</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987DA21-3C0C-4511-9AF8-8A9AA2CDC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8E7FB22-FE8E-4DE2-B1C4-ECB95E33F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412AC71-A8FA-4402-8EDF-A580D33A5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5002AD6-2A55-430F-A9B6-86E25330D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C042C48-9112-4A46-903A-9317CB8EA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7ECE549-6249-4630-AF3D-1F1A1DFE6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50BDE81-D5BD-4B93-A23D-D19A7920E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5240000000000002</c:v>
                </c:pt>
                <c:pt idx="1">
                  <c:v>0.36959999999999998</c:v>
                </c:pt>
                <c:pt idx="2">
                  <c:v>0.42359999999999998</c:v>
                </c:pt>
                <c:pt idx="3">
                  <c:v>0.53490000000000004</c:v>
                </c:pt>
                <c:pt idx="4">
                  <c:v>0.4773</c:v>
                </c:pt>
              </c:numCache>
            </c:numRef>
          </c:xVal>
          <c:yVal>
            <c:numRef>
              <c:f>Sheet1!$B$2:$B$6</c:f>
              <c:numCache>
                <c:formatCode>General</c:formatCode>
                <c:ptCount val="5"/>
                <c:pt idx="0">
                  <c:v>3369.632653061225</c:v>
                </c:pt>
                <c:pt idx="1">
                  <c:v>1106.9215686274511</c:v>
                </c:pt>
                <c:pt idx="2">
                  <c:v>1404.883720930233</c:v>
                </c:pt>
                <c:pt idx="3">
                  <c:v>680.20895522388059</c:v>
                </c:pt>
                <c:pt idx="4">
                  <c:v>880.45</c:v>
                </c:pt>
              </c:numCache>
            </c:numRef>
          </c:yVal>
          <c:bubbleSize>
            <c:numRef>
              <c:f>Sheet1!$C$2:$C$6</c:f>
              <c:numCache>
                <c:formatCode>General</c:formatCode>
                <c:ptCount val="5"/>
                <c:pt idx="0">
                  <c:v>171405.6588</c:v>
                </c:pt>
                <c:pt idx="1">
                  <c:v>33731.386499999993</c:v>
                </c:pt>
                <c:pt idx="2">
                  <c:v>66011.255999999994</c:v>
                </c:pt>
                <c:pt idx="3">
                  <c:v>20091.8835</c:v>
                </c:pt>
                <c:pt idx="4">
                  <c:v>17448.064399999999</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2EE4059-03BF-4F3E-BB7A-73DFB440D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EBCC8F4-E532-455C-89FF-B43429070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A5FCC07-3322-4628-A5BA-1E3878FDB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9C34548-7E0E-460F-92C7-D5201820A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B699C06-9613-45D0-B486-415908FAB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FE12919-2409-4AE9-968E-4696E0EC1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DD8CAFE-A1D6-42AD-8DA8-F72DD9FBE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3909999999999999</c:v>
                </c:pt>
                <c:pt idx="1">
                  <c:v>0.3528</c:v>
                </c:pt>
                <c:pt idx="2">
                  <c:v>0.40849999999999997</c:v>
                </c:pt>
                <c:pt idx="3">
                  <c:v>0.52359999999999995</c:v>
                </c:pt>
                <c:pt idx="4">
                  <c:v>0.46750000000000003</c:v>
                </c:pt>
              </c:numCache>
            </c:numRef>
          </c:xVal>
          <c:yVal>
            <c:numRef>
              <c:f>Sheet1!$B$2:$B$6</c:f>
              <c:numCache>
                <c:formatCode>General</c:formatCode>
                <c:ptCount val="5"/>
                <c:pt idx="0">
                  <c:v>547.73737373737379</c:v>
                </c:pt>
                <c:pt idx="1">
                  <c:v>154.5301204819277</c:v>
                </c:pt>
                <c:pt idx="2">
                  <c:v>253.43157894736839</c:v>
                </c:pt>
                <c:pt idx="3">
                  <c:v>110.4712643678161</c:v>
                </c:pt>
                <c:pt idx="4">
                  <c:v>106.42465753424661</c:v>
                </c:pt>
              </c:numCache>
            </c:numRef>
          </c:yVal>
          <c:bubbleSize>
            <c:numRef>
              <c:f>Sheet1!$C$2:$C$6</c:f>
              <c:numCache>
                <c:formatCode>General</c:formatCode>
                <c:ptCount val="5"/>
                <c:pt idx="0">
                  <c:v>28831.452000000001</c:v>
                </c:pt>
                <c:pt idx="1">
                  <c:v>7867.86</c:v>
                </c:pt>
                <c:pt idx="2">
                  <c:v>13497.9589</c:v>
                </c:pt>
                <c:pt idx="3">
                  <c:v>4340.1383999999998</c:v>
                </c:pt>
                <c:pt idx="4">
                  <c:v>3921.063900000001</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CB21A64-29E9-4C4E-BA8B-64B366D33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E65BA4B-6F7F-41D9-9D74-ACFBB7C49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F3E39A7-4944-424D-9E6A-5D8D22991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7B2C8A2-D0FE-4ADE-8BEB-3FAAC9F6F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B3B2167-082C-4631-9D3B-D9A590301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321EE07-2052-4F96-9556-862DFF090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1F55C36-BD35-4174-AA31-D58C44158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783</c:v>
                </c:pt>
                <c:pt idx="1">
                  <c:v>0.41139999999999999</c:v>
                </c:pt>
                <c:pt idx="2">
                  <c:v>0.4541</c:v>
                </c:pt>
                <c:pt idx="3">
                  <c:v>0.5595</c:v>
                </c:pt>
                <c:pt idx="4">
                  <c:v>0.51249999999999996</c:v>
                </c:pt>
              </c:numCache>
            </c:numRef>
          </c:xVal>
          <c:yVal>
            <c:numRef>
              <c:f>Sheet1!$B$2:$B$6</c:f>
              <c:numCache>
                <c:formatCode>General</c:formatCode>
                <c:ptCount val="5"/>
                <c:pt idx="0">
                  <c:v>612.89285714285711</c:v>
                </c:pt>
                <c:pt idx="1">
                  <c:v>284.5</c:v>
                </c:pt>
                <c:pt idx="2">
                  <c:v>258.48837209302332</c:v>
                </c:pt>
                <c:pt idx="3">
                  <c:v>164.25</c:v>
                </c:pt>
                <c:pt idx="4">
                  <c:v>215.78571428571419</c:v>
                </c:pt>
              </c:numCache>
            </c:numRef>
          </c:yVal>
          <c:bubbleSize>
            <c:numRef>
              <c:f>Sheet1!$C$2:$C$6</c:f>
              <c:numCache>
                <c:formatCode>General</c:formatCode>
                <c:ptCount val="5"/>
                <c:pt idx="0">
                  <c:v>25458.860400000001</c:v>
                </c:pt>
                <c:pt idx="1">
                  <c:v>2856.9135000000001</c:v>
                </c:pt>
                <c:pt idx="2">
                  <c:v>5751.4501999999993</c:v>
                </c:pt>
                <c:pt idx="3">
                  <c:v>1920.1572000000001</c:v>
                </c:pt>
                <c:pt idx="4">
                  <c:v>1395.9426000000001</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D864EC3-B826-4727-BA41-F7A0BB2AD2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065043A-7883-4513-82A4-690533F87C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F2E092A-6CE3-4D5B-BA9A-F7466E5C2C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5A74D1-46AF-4DB4-8780-4FE0DDA9F6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34E68DC-3610-4D75-893A-831075D80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AC42E9E-AC44-4D7B-99CB-B77CCCC928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7720BA7-3BC1-4648-9F29-42EC6718F1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531A4E2-8136-41E2-A8C8-3207F475F1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91C6847-3EB0-4576-BB8D-FDFEBBE0E7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C873EE2-7FB3-45DB-9057-D13AABE864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76200000000000001</c:v>
                </c:pt>
                <c:pt idx="1">
                  <c:v>0.82399999999999995</c:v>
                </c:pt>
                <c:pt idx="2">
                  <c:v>0.75</c:v>
                </c:pt>
                <c:pt idx="3">
                  <c:v>0.61199999999999999</c:v>
                </c:pt>
                <c:pt idx="4">
                  <c:v>0.71199999999999997</c:v>
                </c:pt>
                <c:pt idx="5">
                  <c:v>0.98899999999999999</c:v>
                </c:pt>
                <c:pt idx="6">
                  <c:v>0.39200000000000002</c:v>
                </c:pt>
                <c:pt idx="7">
                  <c:v>0.39500000000000002</c:v>
                </c:pt>
                <c:pt idx="8">
                  <c:v>0.94699999999999995</c:v>
                </c:pt>
                <c:pt idx="9">
                  <c:v>0.72</c:v>
                </c:pt>
              </c:numCache>
            </c:numRef>
          </c:xVal>
          <c:yVal>
            <c:numRef>
              <c:f>Sheet1!$B$2:$B$11</c:f>
              <c:numCache>
                <c:formatCode>General</c:formatCode>
                <c:ptCount val="10"/>
                <c:pt idx="0">
                  <c:v>18926.45669291338</c:v>
                </c:pt>
                <c:pt idx="1">
                  <c:v>10068.847087378639</c:v>
                </c:pt>
                <c:pt idx="2">
                  <c:v>2199.293333333334</c:v>
                </c:pt>
                <c:pt idx="3">
                  <c:v>2179.1176470588239</c:v>
                </c:pt>
                <c:pt idx="4">
                  <c:v>6343.0617977528091</c:v>
                </c:pt>
                <c:pt idx="5">
                  <c:v>11865.449949443881</c:v>
                </c:pt>
                <c:pt idx="6">
                  <c:v>1778.3163265306121</c:v>
                </c:pt>
                <c:pt idx="7">
                  <c:v>216.63291139240511</c:v>
                </c:pt>
                <c:pt idx="8">
                  <c:v>11603.780359028509</c:v>
                </c:pt>
                <c:pt idx="9">
                  <c:v>6342.166666666667</c:v>
                </c:pt>
              </c:numCache>
            </c:numRef>
          </c:yVal>
          <c:bubbleSize>
            <c:numRef>
              <c:f>Sheet1!$C$2:$C$11</c:f>
              <c:numCache>
                <c:formatCode>General</c:formatCode>
                <c:ptCount val="10"/>
                <c:pt idx="0">
                  <c:v>823427.75609999988</c:v>
                </c:pt>
                <c:pt idx="1">
                  <c:v>549238.52140000009</c:v>
                </c:pt>
                <c:pt idx="2">
                  <c:v>92796.757600000012</c:v>
                </c:pt>
                <c:pt idx="3">
                  <c:v>76442.335200000001</c:v>
                </c:pt>
                <c:pt idx="4">
                  <c:v>321620.14799999999</c:v>
                </c:pt>
                <c:pt idx="5">
                  <c:v>729116.22960000008</c:v>
                </c:pt>
                <c:pt idx="6">
                  <c:v>43037.490400000002</c:v>
                </c:pt>
                <c:pt idx="7">
                  <c:v>5501.8664000000008</c:v>
                </c:pt>
                <c:pt idx="8">
                  <c:v>653215.72479999985</c:v>
                </c:pt>
                <c:pt idx="9">
                  <c:v>289115.1395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E119B4E-C117-4D87-8D98-61752E7B7F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1ECF79F-05CD-49CD-84ED-CD2E02CF7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726A36B-3839-4CD7-B466-02BF6E4FB4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BB178F2-4CC2-434A-8D16-0C39E650E4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8FFF234-A3F7-43F2-8E72-DDBAD438A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06656F-AD0C-4E0C-99AA-7EEDC8A2B8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422C338-52FC-4FB5-9871-A22BE48688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95E7D03-4347-43B9-B7CC-B2D2ACDE1D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4A0D7EF-A579-4DD7-AE83-E0124867EE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9C0C57C-3FC2-4B8B-B2DD-9DA8C08C00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2.7E-2</c:v>
                </c:pt>
                <c:pt idx="1">
                  <c:v>0.97799999999999998</c:v>
                </c:pt>
                <c:pt idx="2">
                  <c:v>0.71699999999999997</c:v>
                </c:pt>
                <c:pt idx="3">
                  <c:v>0.86399999999999999</c:v>
                </c:pt>
                <c:pt idx="4">
                  <c:v>0.80400000000000005</c:v>
                </c:pt>
                <c:pt idx="5">
                  <c:v>0.48199999999999998</c:v>
                </c:pt>
                <c:pt idx="6">
                  <c:v>0.67800000000000005</c:v>
                </c:pt>
                <c:pt idx="7">
                  <c:v>8.0000000000000002E-3</c:v>
                </c:pt>
                <c:pt idx="8">
                  <c:v>0.155</c:v>
                </c:pt>
                <c:pt idx="9">
                  <c:v>0.90600000000000003</c:v>
                </c:pt>
                <c:pt idx="10">
                  <c:v>0.42</c:v>
                </c:pt>
              </c:numCache>
            </c:numRef>
          </c:xVal>
          <c:yVal>
            <c:numRef>
              <c:f>Sheet1!$B$2:$B$12</c:f>
              <c:numCache>
                <c:formatCode>General</c:formatCode>
                <c:ptCount val="11"/>
                <c:pt idx="0">
                  <c:v>2647.037037037037</c:v>
                </c:pt>
                <c:pt idx="1">
                  <c:v>15409.723926380369</c:v>
                </c:pt>
                <c:pt idx="2">
                  <c:v>8533.8912133891208</c:v>
                </c:pt>
                <c:pt idx="3">
                  <c:v>21776.25</c:v>
                </c:pt>
                <c:pt idx="4">
                  <c:v>20260.53482587064</c:v>
                </c:pt>
                <c:pt idx="5">
                  <c:v>1925.3319502074689</c:v>
                </c:pt>
                <c:pt idx="6">
                  <c:v>5208.3775811209434</c:v>
                </c:pt>
                <c:pt idx="7">
                  <c:v>9185</c:v>
                </c:pt>
                <c:pt idx="8">
                  <c:v>280.32258064516128</c:v>
                </c:pt>
                <c:pt idx="9">
                  <c:v>5863.0573951434872</c:v>
                </c:pt>
                <c:pt idx="10">
                  <c:v>2733.738095238095</c:v>
                </c:pt>
              </c:numCache>
            </c:numRef>
          </c:yVal>
          <c:bubbleSize>
            <c:numRef>
              <c:f>Sheet1!$C$2:$C$12</c:f>
              <c:numCache>
                <c:formatCode>General</c:formatCode>
                <c:ptCount val="11"/>
                <c:pt idx="0">
                  <c:v>3889.534900000001</c:v>
                </c:pt>
                <c:pt idx="1">
                  <c:v>846236.03999999992</c:v>
                </c:pt>
                <c:pt idx="2">
                  <c:v>433293.50400000002</c:v>
                </c:pt>
                <c:pt idx="3">
                  <c:v>1230767.2871999999</c:v>
                </c:pt>
                <c:pt idx="4">
                  <c:v>1028571.7537999999</c:v>
                </c:pt>
                <c:pt idx="5">
                  <c:v>55785.224399999999</c:v>
                </c:pt>
                <c:pt idx="6">
                  <c:v>198907.008</c:v>
                </c:pt>
                <c:pt idx="7">
                  <c:v>2886.078</c:v>
                </c:pt>
                <c:pt idx="8">
                  <c:v>2167.2575999999999</c:v>
                </c:pt>
                <c:pt idx="9">
                  <c:v>335628.37400000001</c:v>
                </c:pt>
                <c:pt idx="10">
                  <c:v>73020.837499999994</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35Gr 1P</c:v>
                  </c:pt>
                  <c:pt idx="8">
                    <c:v>La Vache Qui Rit Bio Fromage Fondu Boite Ronde 1X128Gr 8P</c:v>
                  </c:pt>
                  <c:pt idx="9">
                    <c:v>La Vache Qui Rit Pik Et Croq' Fromage Fondu Dips Boite 1X175Gr 5P</c:v>
                  </c:pt>
                  <c:pt idx="10">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4C8A3C0-9E7C-4723-940E-A26A017EA5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FC382C7-6037-49C5-B113-BF3157EC6E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6FC48F6-931E-416E-BA4F-19EA86D353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30DD08E-CC3B-441A-B992-CD79C99F08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9A3D665-37BF-4492-B42C-7C5D014E6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201F90E-5BE3-4037-A7D0-78BA86AB32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944BC50-9D19-479B-9670-8EADEDDC53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9B26596-A0C9-4394-B387-3771F9EEC6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EED5B6E-32EC-4A60-8B04-DA45BF14D0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DB1EE97-2676-4484-A7EB-4E491179D4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8C00-4144-AC35-BE783D480E26}"/>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8C00-4144-AC35-BE783D480E26}"/>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8C00-4144-AC35-BE783D480E2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4</c:f>
              <c:numCache>
                <c:formatCode>General</c:formatCode>
                <c:ptCount val="23"/>
                <c:pt idx="0">
                  <c:v>0.90300000000000002</c:v>
                </c:pt>
                <c:pt idx="1">
                  <c:v>0.38400000000000001</c:v>
                </c:pt>
                <c:pt idx="2">
                  <c:v>0.96799999999999997</c:v>
                </c:pt>
                <c:pt idx="3">
                  <c:v>0.78600000000000003</c:v>
                </c:pt>
                <c:pt idx="4">
                  <c:v>0.67200000000000004</c:v>
                </c:pt>
                <c:pt idx="5">
                  <c:v>0.34</c:v>
                </c:pt>
                <c:pt idx="6">
                  <c:v>0.24</c:v>
                </c:pt>
                <c:pt idx="7">
                  <c:v>0.96099999999999997</c:v>
                </c:pt>
                <c:pt idx="8">
                  <c:v>0.79300000000000004</c:v>
                </c:pt>
                <c:pt idx="9">
                  <c:v>0.76600000000000001</c:v>
                </c:pt>
                <c:pt idx="10">
                  <c:v>0.69399999999999995</c:v>
                </c:pt>
                <c:pt idx="11">
                  <c:v>0.36599999999999999</c:v>
                </c:pt>
                <c:pt idx="12">
                  <c:v>0.39700000000000002</c:v>
                </c:pt>
                <c:pt idx="13">
                  <c:v>0.80500000000000005</c:v>
                </c:pt>
                <c:pt idx="14">
                  <c:v>0.89900000000000002</c:v>
                </c:pt>
                <c:pt idx="15">
                  <c:v>0.23899999999999999</c:v>
                </c:pt>
                <c:pt idx="16">
                  <c:v>0.71899999999999997</c:v>
                </c:pt>
                <c:pt idx="17">
                  <c:v>0.80100000000000005</c:v>
                </c:pt>
                <c:pt idx="18">
                  <c:v>0.76300000000000001</c:v>
                </c:pt>
                <c:pt idx="19">
                  <c:v>0.27400000000000002</c:v>
                </c:pt>
                <c:pt idx="20">
                  <c:v>0.69399999999999995</c:v>
                </c:pt>
                <c:pt idx="21">
                  <c:v>0.45200000000000001</c:v>
                </c:pt>
                <c:pt idx="22">
                  <c:v>0.35</c:v>
                </c:pt>
              </c:numCache>
            </c:numRef>
          </c:xVal>
          <c:yVal>
            <c:numRef>
              <c:f>Sheet1!$B$2:$B$24</c:f>
              <c:numCache>
                <c:formatCode>General</c:formatCode>
                <c:ptCount val="23"/>
                <c:pt idx="0">
                  <c:v>8742.8128460686603</c:v>
                </c:pt>
                <c:pt idx="1">
                  <c:v>740.18229166666674</c:v>
                </c:pt>
                <c:pt idx="2">
                  <c:v>8760.7128099173551</c:v>
                </c:pt>
                <c:pt idx="3">
                  <c:v>2106.0050890585239</c:v>
                </c:pt>
                <c:pt idx="4">
                  <c:v>1995.714285714286</c:v>
                </c:pt>
                <c:pt idx="5">
                  <c:v>473.70588235294122</c:v>
                </c:pt>
                <c:pt idx="6">
                  <c:v>427.54166666666669</c:v>
                </c:pt>
                <c:pt idx="7">
                  <c:v>7666.3059313215408</c:v>
                </c:pt>
                <c:pt idx="8">
                  <c:v>2285.1702395964689</c:v>
                </c:pt>
                <c:pt idx="9">
                  <c:v>2175.770234986946</c:v>
                </c:pt>
                <c:pt idx="10">
                  <c:v>1434.985590778098</c:v>
                </c:pt>
                <c:pt idx="11">
                  <c:v>740.38251366120221</c:v>
                </c:pt>
                <c:pt idx="12">
                  <c:v>1422.8211586901759</c:v>
                </c:pt>
                <c:pt idx="13">
                  <c:v>3083.217391304348</c:v>
                </c:pt>
                <c:pt idx="14">
                  <c:v>8016.8743047830922</c:v>
                </c:pt>
                <c:pt idx="15">
                  <c:v>1402.259414225942</c:v>
                </c:pt>
                <c:pt idx="16">
                  <c:v>3581.9471488178028</c:v>
                </c:pt>
                <c:pt idx="17">
                  <c:v>6086.816479400748</c:v>
                </c:pt>
                <c:pt idx="18">
                  <c:v>2320.5897771952818</c:v>
                </c:pt>
                <c:pt idx="19">
                  <c:v>512.44525547445255</c:v>
                </c:pt>
                <c:pt idx="20">
                  <c:v>1512.0605187319891</c:v>
                </c:pt>
                <c:pt idx="21">
                  <c:v>893.31858407079642</c:v>
                </c:pt>
                <c:pt idx="22">
                  <c:v>1497</c:v>
                </c:pt>
              </c:numCache>
            </c:numRef>
          </c:yVal>
          <c:bubbleSize>
            <c:numRef>
              <c:f>Sheet1!$C$2:$C$24</c:f>
              <c:numCache>
                <c:formatCode>General</c:formatCode>
                <c:ptCount val="23"/>
                <c:pt idx="0">
                  <c:v>488089.85969999997</c:v>
                </c:pt>
                <c:pt idx="1">
                  <c:v>19264.3325</c:v>
                </c:pt>
                <c:pt idx="2">
                  <c:v>513331.86839999992</c:v>
                </c:pt>
                <c:pt idx="3">
                  <c:v>99038.94</c:v>
                </c:pt>
                <c:pt idx="4">
                  <c:v>81048.707600000009</c:v>
                </c:pt>
                <c:pt idx="5">
                  <c:v>8354.5730999999996</c:v>
                </c:pt>
                <c:pt idx="6">
                  <c:v>5066.8152</c:v>
                </c:pt>
                <c:pt idx="7">
                  <c:v>442372.5882</c:v>
                </c:pt>
                <c:pt idx="8">
                  <c:v>92475.308799999999</c:v>
                </c:pt>
                <c:pt idx="9">
                  <c:v>91560.826499999996</c:v>
                </c:pt>
                <c:pt idx="10">
                  <c:v>56139.6077</c:v>
                </c:pt>
                <c:pt idx="11">
                  <c:v>17329.854599999999</c:v>
                </c:pt>
                <c:pt idx="12">
                  <c:v>34700.419800000003</c:v>
                </c:pt>
                <c:pt idx="13">
                  <c:v>147853.2156</c:v>
                </c:pt>
                <c:pt idx="14">
                  <c:v>446772.16639999987</c:v>
                </c:pt>
                <c:pt idx="15">
                  <c:v>22991.651699999999</c:v>
                </c:pt>
                <c:pt idx="16">
                  <c:v>164137.07250000001</c:v>
                </c:pt>
                <c:pt idx="17">
                  <c:v>310224.93550000002</c:v>
                </c:pt>
                <c:pt idx="18">
                  <c:v>103208.8308</c:v>
                </c:pt>
                <c:pt idx="19">
                  <c:v>7375.5604999999996</c:v>
                </c:pt>
                <c:pt idx="20">
                  <c:v>62509.884800000007</c:v>
                </c:pt>
                <c:pt idx="21">
                  <c:v>25515.644</c:v>
                </c:pt>
                <c:pt idx="22">
                  <c:v>28513.120200000001</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Salade &amp; Aperitif Fromage Frais Des Afh 1X120Gr 1P</c:v>
                  </c:pt>
                  <c:pt idx="8">
                    <c:v>Boursin Salade &amp; Aperitif Fromage Frais Des Figue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Classique Fromage Frais A Tartiner Afh 1X256Gr 16P</c:v>
                  </c:pt>
                  <c:pt idx="16">
                    <c:v>Boursin Aperitif Roules Fromage Frais Roule Ciboulette &amp; Echalote Jambon Fume Boite 1X100Gr 20P</c:v>
                  </c:pt>
                  <c:pt idx="17">
                    <c:v>Boursin Classique Fromage Frais A Tartiner Afh Boite 1X250Gr 1P</c:v>
                  </c:pt>
                  <c:pt idx="18">
                    <c:v>Boursin Onctueux Fromage Frais A Tartiner Afh 1X125Gr 1P</c:v>
                  </c:pt>
                  <c:pt idx="19">
                    <c:v>Boursin Onctueux Fromage Frais A Tartiner Afh 1X21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ini Babybel</c:v>
                </c:pt>
                <c:pt idx="1">
                  <c:v>La Vache Qui Rit</c:v>
                </c:pt>
                <c:pt idx="2">
                  <c:v>Kiri</c:v>
                </c:pt>
                <c:pt idx="3">
                  <c:v>Private Label</c:v>
                </c:pt>
                <c:pt idx="4">
                  <c:v>Ficello</c:v>
                </c:pt>
                <c:pt idx="5">
                  <c:v>P'Tit Louis</c:v>
                </c:pt>
              </c:strCache>
            </c:strRef>
          </c:cat>
          <c:val>
            <c:numRef>
              <c:f>Sheet1!$B$2:$B$7</c:f>
              <c:numCache>
                <c:formatCode>General</c:formatCode>
                <c:ptCount val="6"/>
                <c:pt idx="0">
                  <c:v>0.24866637518306903</c:v>
                </c:pt>
                <c:pt idx="1">
                  <c:v>0.24537473623427944</c:v>
                </c:pt>
                <c:pt idx="2">
                  <c:v>0.22327148552242321</c:v>
                </c:pt>
                <c:pt idx="3">
                  <c:v>0.16504275942076588</c:v>
                </c:pt>
                <c:pt idx="4">
                  <c:v>9.6056366696266368E-2</c:v>
                </c:pt>
                <c:pt idx="5">
                  <c:v>2.158827694319607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ini Babybel</c:v>
                </c:pt>
                <c:pt idx="1">
                  <c:v>La Vache Qui Rit</c:v>
                </c:pt>
                <c:pt idx="2">
                  <c:v>Kiri</c:v>
                </c:pt>
                <c:pt idx="3">
                  <c:v>Private Label</c:v>
                </c:pt>
                <c:pt idx="4">
                  <c:v>Ficello</c:v>
                </c:pt>
                <c:pt idx="5">
                  <c:v>P'Tit Louis</c:v>
                </c:pt>
              </c:strCache>
            </c:strRef>
          </c:cat>
          <c:val>
            <c:numRef>
              <c:f>Sheet1!$C$2:$C$7</c:f>
              <c:numCache>
                <c:formatCode>General</c:formatCode>
                <c:ptCount val="6"/>
                <c:pt idx="0">
                  <c:v>0.16270060874377418</c:v>
                </c:pt>
                <c:pt idx="1">
                  <c:v>0.23076923076923075</c:v>
                </c:pt>
                <c:pt idx="2">
                  <c:v>0.2700608743774211</c:v>
                </c:pt>
                <c:pt idx="3">
                  <c:v>0.19369120088544547</c:v>
                </c:pt>
                <c:pt idx="4">
                  <c:v>0.1018262313226342</c:v>
                </c:pt>
                <c:pt idx="5">
                  <c:v>4.095185390149418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ini Babybel</c:v>
                </c:pt>
                <c:pt idx="1">
                  <c:v>La Vache Qui Rit</c:v>
                </c:pt>
                <c:pt idx="2">
                  <c:v>Kiri</c:v>
                </c:pt>
                <c:pt idx="3">
                  <c:v>Private Label</c:v>
                </c:pt>
                <c:pt idx="4">
                  <c:v>Ficello</c:v>
                </c:pt>
                <c:pt idx="5">
                  <c:v>P'Tit Louis</c:v>
                </c:pt>
              </c:strCache>
            </c:strRef>
          </c:cat>
          <c:val>
            <c:numRef>
              <c:f>Sheet1!$D$2:$D$7</c:f>
              <c:numCache>
                <c:formatCode>General</c:formatCode>
                <c:ptCount val="6"/>
                <c:pt idx="0">
                  <c:v>65.429275922003299</c:v>
                </c:pt>
                <c:pt idx="1">
                  <c:v>94.047673493532116</c:v>
                </c:pt>
                <c:pt idx="2">
                  <c:v>120.95627605357551</c:v>
                </c:pt>
                <c:pt idx="3">
                  <c:v>117.35819345557732</c:v>
                </c:pt>
                <c:pt idx="4">
                  <c:v>106.00674877138789</c:v>
                </c:pt>
                <c:pt idx="5">
                  <c:v>189.694870087354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706E420-5FF4-4807-8CFE-1B999B647A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2722FCA-E391-4A7F-92C9-DCE4143901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2A700AC-EAC1-4B2C-87BD-E3E6EA5249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5B63F35-9B86-40A6-A763-F85F7D0264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7E7A6F1-C579-4258-BC39-A311A6196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8F139FA-7540-4164-BC19-A14B26F996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20D5492-4904-4668-87A3-1D589AA762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34E1768-7489-4E06-82FD-7CEAA22A02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C7D0B78-04FF-4670-812F-6341E91CFAC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30A0D04-8762-4B6C-A756-1085E9D5BF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85299999999999998</c:v>
                </c:pt>
                <c:pt idx="1">
                  <c:v>0.97299999999999998</c:v>
                </c:pt>
                <c:pt idx="2">
                  <c:v>0.83499999999999996</c:v>
                </c:pt>
                <c:pt idx="3">
                  <c:v>0.81599999999999995</c:v>
                </c:pt>
                <c:pt idx="4">
                  <c:v>0.98199999999999998</c:v>
                </c:pt>
                <c:pt idx="5">
                  <c:v>0.6</c:v>
                </c:pt>
                <c:pt idx="6">
                  <c:v>0.97799999999999998</c:v>
                </c:pt>
                <c:pt idx="7">
                  <c:v>0.92900000000000005</c:v>
                </c:pt>
                <c:pt idx="8">
                  <c:v>0.54300000000000004</c:v>
                </c:pt>
              </c:numCache>
            </c:numRef>
          </c:xVal>
          <c:yVal>
            <c:numRef>
              <c:f>Sheet1!$B$2:$B$10</c:f>
              <c:numCache>
                <c:formatCode>General</c:formatCode>
                <c:ptCount val="9"/>
                <c:pt idx="0">
                  <c:v>10742.450175849939</c:v>
                </c:pt>
                <c:pt idx="1">
                  <c:v>11646.567317574511</c:v>
                </c:pt>
                <c:pt idx="2">
                  <c:v>2076.2514970059879</c:v>
                </c:pt>
                <c:pt idx="3">
                  <c:v>2973.1127450980389</c:v>
                </c:pt>
                <c:pt idx="4">
                  <c:v>6683.4521384928712</c:v>
                </c:pt>
                <c:pt idx="5">
                  <c:v>2049.083333333333</c:v>
                </c:pt>
                <c:pt idx="6">
                  <c:v>6589.0899795501027</c:v>
                </c:pt>
                <c:pt idx="7">
                  <c:v>8525.8127018299238</c:v>
                </c:pt>
                <c:pt idx="8">
                  <c:v>1197.900552486188</c:v>
                </c:pt>
              </c:numCache>
            </c:numRef>
          </c:yVal>
          <c:bubbleSize>
            <c:numRef>
              <c:f>Sheet1!$C$2:$C$10</c:f>
              <c:numCache>
                <c:formatCode>General</c:formatCode>
                <c:ptCount val="9"/>
                <c:pt idx="0">
                  <c:v>565301.65779999993</c:v>
                </c:pt>
                <c:pt idx="1">
                  <c:v>745588.13170000003</c:v>
                </c:pt>
                <c:pt idx="2">
                  <c:v>87767.423200000005</c:v>
                </c:pt>
                <c:pt idx="3">
                  <c:v>165609.193</c:v>
                </c:pt>
                <c:pt idx="4">
                  <c:v>421827.73999999987</c:v>
                </c:pt>
                <c:pt idx="5">
                  <c:v>60948.513500000008</c:v>
                </c:pt>
                <c:pt idx="6">
                  <c:v>391727.74859999999</c:v>
                </c:pt>
                <c:pt idx="7">
                  <c:v>480680.67700000003</c:v>
                </c:pt>
                <c:pt idx="8">
                  <c:v>31288.9553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5F9B339-4978-4A36-BC03-0B3DAAFF09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6739177-2502-4D7E-9DF7-465B2CFA5B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09431CA-6D36-4161-968C-9C84ACC2A1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9350D9C-C0A3-4285-BF36-59585CB266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16782E1-31B1-4002-B727-43F96B67C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D7C8268-F94A-4D43-AE0D-492A091F6E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ECA51CF-9592-47CE-B3F7-BC895B4472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0769C92-D388-435B-8699-3106FF3F44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402FD23-CDEB-4540-88D0-3933D13630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5BF7C70-95E5-43B3-B233-7EB6B975A3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625</c:v>
                </c:pt>
                <c:pt idx="1">
                  <c:v>0.996</c:v>
                </c:pt>
                <c:pt idx="2">
                  <c:v>0.93799999999999994</c:v>
                </c:pt>
                <c:pt idx="3">
                  <c:v>0.94199999999999995</c:v>
                </c:pt>
                <c:pt idx="4">
                  <c:v>0.80600000000000005</c:v>
                </c:pt>
                <c:pt idx="5">
                  <c:v>0.93400000000000005</c:v>
                </c:pt>
                <c:pt idx="6">
                  <c:v>0.81100000000000005</c:v>
                </c:pt>
              </c:numCache>
            </c:numRef>
          </c:xVal>
          <c:yVal>
            <c:numRef>
              <c:f>Sheet1!$B$2:$B$8</c:f>
              <c:numCache>
                <c:formatCode>General</c:formatCode>
                <c:ptCount val="7"/>
                <c:pt idx="0">
                  <c:v>1869.2</c:v>
                </c:pt>
                <c:pt idx="1">
                  <c:v>14897.11847389558</c:v>
                </c:pt>
                <c:pt idx="2">
                  <c:v>15633.44349680171</c:v>
                </c:pt>
                <c:pt idx="3">
                  <c:v>17717.165605095539</c:v>
                </c:pt>
                <c:pt idx="4">
                  <c:v>2684.6153846153838</c:v>
                </c:pt>
                <c:pt idx="5">
                  <c:v>3923.6081370449679</c:v>
                </c:pt>
                <c:pt idx="6">
                  <c:v>4178.3477188655979</c:v>
                </c:pt>
              </c:numCache>
            </c:numRef>
          </c:yVal>
          <c:bubbleSize>
            <c:numRef>
              <c:f>Sheet1!$C$2:$C$8</c:f>
              <c:numCache>
                <c:formatCode>General</c:formatCode>
                <c:ptCount val="7"/>
                <c:pt idx="0">
                  <c:v>46729.859799999998</c:v>
                </c:pt>
                <c:pt idx="1">
                  <c:v>846615.50340000005</c:v>
                </c:pt>
                <c:pt idx="2">
                  <c:v>887062.91590000014</c:v>
                </c:pt>
                <c:pt idx="3">
                  <c:v>1027438.6584</c:v>
                </c:pt>
                <c:pt idx="4">
                  <c:v>111248.41740000001</c:v>
                </c:pt>
                <c:pt idx="5">
                  <c:v>191192.29300000001</c:v>
                </c:pt>
                <c:pt idx="6">
                  <c:v>164092.8708</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D9F29E3-FC33-40B4-A8E3-416673F87F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458F5BE-841F-42FB-940F-74AB968D4B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3FBF5A4-87EA-4107-BB0C-7BE35761DD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2B7DC3B-4833-43E8-96CB-055AD2C6F6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2063CAC-F0AC-4F30-9F49-8B3563E2C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17BEA43-0DC4-43C9-B112-8F07FC568C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A3BFA82-C506-4F9D-8480-C00CAC5A1B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10C9D95-DC93-4DE2-9BFD-73CCF6FA47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1BCDA1C-A25C-4EC0-A21F-5F605B0B04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4A8FC8C-06A4-4D77-BB54-F364641508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20AA-4E0C-84FE-83B343B7D062}"/>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97899999999999998</c:v>
                </c:pt>
                <c:pt idx="1">
                  <c:v>0.84299999999999997</c:v>
                </c:pt>
                <c:pt idx="2">
                  <c:v>0.99399999999999999</c:v>
                </c:pt>
                <c:pt idx="3">
                  <c:v>0.94499999999999995</c:v>
                </c:pt>
                <c:pt idx="4">
                  <c:v>0.93899999999999995</c:v>
                </c:pt>
                <c:pt idx="5">
                  <c:v>0.96499999999999997</c:v>
                </c:pt>
                <c:pt idx="6">
                  <c:v>0.51300000000000001</c:v>
                </c:pt>
                <c:pt idx="7">
                  <c:v>0.82099999999999995</c:v>
                </c:pt>
                <c:pt idx="8">
                  <c:v>0.65</c:v>
                </c:pt>
                <c:pt idx="9">
                  <c:v>0.84199999999999997</c:v>
                </c:pt>
                <c:pt idx="10">
                  <c:v>0.88200000000000001</c:v>
                </c:pt>
                <c:pt idx="11">
                  <c:v>0.94799999999999995</c:v>
                </c:pt>
                <c:pt idx="12">
                  <c:v>0.8</c:v>
                </c:pt>
                <c:pt idx="13">
                  <c:v>0.79500000000000004</c:v>
                </c:pt>
                <c:pt idx="14">
                  <c:v>0.80200000000000005</c:v>
                </c:pt>
                <c:pt idx="15">
                  <c:v>0.88700000000000001</c:v>
                </c:pt>
                <c:pt idx="16">
                  <c:v>0.96099999999999997</c:v>
                </c:pt>
                <c:pt idx="17">
                  <c:v>0.95399999999999996</c:v>
                </c:pt>
                <c:pt idx="18">
                  <c:v>0.29199999999999998</c:v>
                </c:pt>
                <c:pt idx="19">
                  <c:v>0.41199999999999998</c:v>
                </c:pt>
                <c:pt idx="20">
                  <c:v>0.65800000000000003</c:v>
                </c:pt>
              </c:numCache>
            </c:numRef>
          </c:xVal>
          <c:yVal>
            <c:numRef>
              <c:f>Sheet1!$B$2:$B$22</c:f>
              <c:numCache>
                <c:formatCode>General</c:formatCode>
                <c:ptCount val="21"/>
                <c:pt idx="0">
                  <c:v>7033.319713993872</c:v>
                </c:pt>
                <c:pt idx="1">
                  <c:v>2059.0628706998809</c:v>
                </c:pt>
                <c:pt idx="2">
                  <c:v>5921.2776659959754</c:v>
                </c:pt>
                <c:pt idx="3">
                  <c:v>2224.359788359789</c:v>
                </c:pt>
                <c:pt idx="4">
                  <c:v>2554.8668796592119</c:v>
                </c:pt>
                <c:pt idx="5">
                  <c:v>4517.4404145077724</c:v>
                </c:pt>
                <c:pt idx="6">
                  <c:v>1450.292397660819</c:v>
                </c:pt>
                <c:pt idx="7">
                  <c:v>1900.255785627284</c:v>
                </c:pt>
                <c:pt idx="8">
                  <c:v>919.7538461538461</c:v>
                </c:pt>
                <c:pt idx="9">
                  <c:v>1929.78622327791</c:v>
                </c:pt>
                <c:pt idx="10">
                  <c:v>2748.5147392290251</c:v>
                </c:pt>
                <c:pt idx="11">
                  <c:v>6322.3101265822788</c:v>
                </c:pt>
                <c:pt idx="12">
                  <c:v>2063.0500000000002</c:v>
                </c:pt>
                <c:pt idx="13">
                  <c:v>2040.9308176100631</c:v>
                </c:pt>
                <c:pt idx="14">
                  <c:v>1647.394014962593</c:v>
                </c:pt>
                <c:pt idx="15">
                  <c:v>4077.1702367531002</c:v>
                </c:pt>
                <c:pt idx="16">
                  <c:v>7439.1675338189389</c:v>
                </c:pt>
                <c:pt idx="17">
                  <c:v>3427.201257861635</c:v>
                </c:pt>
                <c:pt idx="18">
                  <c:v>127.8082191780822</c:v>
                </c:pt>
                <c:pt idx="19">
                  <c:v>1116.6990291262141</c:v>
                </c:pt>
                <c:pt idx="20">
                  <c:v>733.87537993920978</c:v>
                </c:pt>
              </c:numCache>
            </c:numRef>
          </c:yVal>
          <c:bubbleSize>
            <c:numRef>
              <c:f>Sheet1!$C$2:$C$22</c:f>
              <c:numCache>
                <c:formatCode>General</c:formatCode>
                <c:ptCount val="21"/>
                <c:pt idx="0">
                  <c:v>420188.06489999988</c:v>
                </c:pt>
                <c:pt idx="1">
                  <c:v>97682.337500000009</c:v>
                </c:pt>
                <c:pt idx="2">
                  <c:v>367128.10499999998</c:v>
                </c:pt>
                <c:pt idx="3">
                  <c:v>109593.68</c:v>
                </c:pt>
                <c:pt idx="4">
                  <c:v>127395.8285</c:v>
                </c:pt>
                <c:pt idx="5">
                  <c:v>225695.9712</c:v>
                </c:pt>
                <c:pt idx="6">
                  <c:v>44456.160000000003</c:v>
                </c:pt>
                <c:pt idx="7">
                  <c:v>85260.665099999984</c:v>
                </c:pt>
                <c:pt idx="8">
                  <c:v>26352.17909999999</c:v>
                </c:pt>
                <c:pt idx="9">
                  <c:v>88297.983399999997</c:v>
                </c:pt>
                <c:pt idx="10">
                  <c:v>133230.94289999999</c:v>
                </c:pt>
                <c:pt idx="11">
                  <c:v>325139.99699999997</c:v>
                </c:pt>
                <c:pt idx="12">
                  <c:v>88570.481599999999</c:v>
                </c:pt>
                <c:pt idx="13">
                  <c:v>94014.723599999983</c:v>
                </c:pt>
                <c:pt idx="14">
                  <c:v>68079.811799999996</c:v>
                </c:pt>
                <c:pt idx="15">
                  <c:v>184870.6992</c:v>
                </c:pt>
                <c:pt idx="16">
                  <c:v>420137.65220000001</c:v>
                </c:pt>
                <c:pt idx="17">
                  <c:v>153786.6434</c:v>
                </c:pt>
                <c:pt idx="18">
                  <c:v>2621.6628999999998</c:v>
                </c:pt>
                <c:pt idx="19">
                  <c:v>22765.070899999999</c:v>
                </c:pt>
                <c:pt idx="20">
                  <c:v>26373.204000000002</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Ciboulette Echalote 1X120Gr 1P</c:v>
                  </c:pt>
                  <c:pt idx="8">
                    <c:v>Boursin Salade &amp; Aperitif Fromage Frais Des Citron Romarin 1X120Gr 1P</c:v>
                  </c:pt>
                  <c:pt idx="9">
                    <c:v>Boursin Classique Fromage Frais A Tartiner Poivre Boite 1X150Gr 1P</c:v>
                  </c:pt>
                  <c:pt idx="10">
                    <c:v>Boursin Classique Fromage Frais A Tartiner Afh Boite 1X96Gr 6P</c:v>
                  </c:pt>
                  <c:pt idx="11">
                    <c:v>Boursin Aperitif Roules Fromage Frais Roule Afh Et Jambon Fume Boite 1X100Gr 20P</c:v>
                  </c:pt>
                  <c:pt idx="12">
                    <c:v>Boursin Aperitif Roules Fromage Frais Roule Basilic &amp; Jambon Fume Tomate Boite 1X100Gr 20P</c:v>
                  </c:pt>
                  <c:pt idx="13">
                    <c:v>Boursin Classique Fromage Frais A Tartiner Afh 1X256Gr 16P</c:v>
                  </c:pt>
                  <c:pt idx="14">
                    <c:v>Boursin Classique Fromage Frais A Tartiner Ciboulette &amp; Echalote 1X160Gr 10P</c:v>
                  </c:pt>
                  <c:pt idx="15">
                    <c:v>Boursin Aperitif Roules Fromage Frais Roule Ciboulette &amp; Echalote Jambon Fume Boite 1X100Gr 20P</c:v>
                  </c:pt>
                  <c:pt idx="16">
                    <c:v>Boursin Classique Fromage Frais A Tartiner Afh Boite 1X250Gr 1P</c:v>
                  </c:pt>
                  <c:pt idx="17">
                    <c:v>Boursin Onctueux Fromage Frais A Tartiner Afh 1X125Gr 1P</c:v>
                  </c:pt>
                  <c:pt idx="18">
                    <c:v>Boursin Aperitif Roules Fromage Frais Roule Jambon Fume &amp; Trio De Noix Boite 1X100Gr 20P</c:v>
                  </c:pt>
                  <c:pt idx="19">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60B9578-3F24-4420-8DE9-625D062835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600185E-0399-43FB-A80B-4A0926B318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ED8CF16-C786-4820-AEA9-5CB21A6319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1CF360D-9551-44AA-BCA8-58120801F6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8355F4F-5030-4808-BC69-6A990E184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FA1CFED-57B0-4C09-923C-572CFFFB25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72A0235-9E9F-4DBA-8FD4-9EAC793C78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99B2212-4DD5-47F7-8E85-D96D8853A5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4356087-5143-411C-8698-1138D0EB27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3459B49-C6CE-4E7D-BE77-A799567321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8</c:v>
                </c:pt>
                <c:pt idx="1">
                  <c:v>1</c:v>
                </c:pt>
                <c:pt idx="2">
                  <c:v>0.98</c:v>
                </c:pt>
                <c:pt idx="3">
                  <c:v>0.96</c:v>
                </c:pt>
                <c:pt idx="4">
                  <c:v>0.98</c:v>
                </c:pt>
                <c:pt idx="5">
                  <c:v>1</c:v>
                </c:pt>
                <c:pt idx="6">
                  <c:v>0.54</c:v>
                </c:pt>
                <c:pt idx="7">
                  <c:v>0.56000000000000005</c:v>
                </c:pt>
                <c:pt idx="8">
                  <c:v>1</c:v>
                </c:pt>
                <c:pt idx="9">
                  <c:v>0.98</c:v>
                </c:pt>
              </c:numCache>
            </c:numRef>
          </c:xVal>
          <c:yVal>
            <c:numRef>
              <c:f>Sheet1!$B$2:$B$11</c:f>
              <c:numCache>
                <c:formatCode>General</c:formatCode>
                <c:ptCount val="10"/>
                <c:pt idx="0">
                  <c:v>10212.9387755102</c:v>
                </c:pt>
                <c:pt idx="1">
                  <c:v>4088.83</c:v>
                </c:pt>
                <c:pt idx="2">
                  <c:v>546.86734693877554</c:v>
                </c:pt>
                <c:pt idx="3">
                  <c:v>990.13541666666663</c:v>
                </c:pt>
                <c:pt idx="4">
                  <c:v>3115.632653061225</c:v>
                </c:pt>
                <c:pt idx="5">
                  <c:v>2686.48</c:v>
                </c:pt>
                <c:pt idx="6">
                  <c:v>539.16666666666663</c:v>
                </c:pt>
                <c:pt idx="7">
                  <c:v>60.053571428571423</c:v>
                </c:pt>
                <c:pt idx="8">
                  <c:v>5346.67</c:v>
                </c:pt>
                <c:pt idx="9">
                  <c:v>2553.7346938775509</c:v>
                </c:pt>
              </c:numCache>
            </c:numRef>
          </c:yVal>
          <c:bubbleSize>
            <c:numRef>
              <c:f>Sheet1!$C$2:$C$11</c:f>
              <c:numCache>
                <c:formatCode>General</c:formatCode>
                <c:ptCount val="10"/>
                <c:pt idx="0">
                  <c:v>578870.25989999995</c:v>
                </c:pt>
                <c:pt idx="1">
                  <c:v>272050.62839999999</c:v>
                </c:pt>
                <c:pt idx="2">
                  <c:v>33818.056600000004</c:v>
                </c:pt>
                <c:pt idx="3">
                  <c:v>54786.758399999999</c:v>
                </c:pt>
                <c:pt idx="4">
                  <c:v>219771.3</c:v>
                </c:pt>
                <c:pt idx="5">
                  <c:v>183002.0808</c:v>
                </c:pt>
                <c:pt idx="6">
                  <c:v>18100.8024</c:v>
                </c:pt>
                <c:pt idx="7">
                  <c:v>2086.1754000000001</c:v>
                </c:pt>
                <c:pt idx="8">
                  <c:v>364262.10820000002</c:v>
                </c:pt>
                <c:pt idx="9">
                  <c:v>160006.31280000001</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30B1281-AA99-4824-A246-107DD315B0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1E36ACF-3E19-4534-9015-AEE46CA4C4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A2701B1-317A-498D-A533-27530287A3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8E888E4-538D-42F0-AD29-8E79074D34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EFFD570-DA23-4BBF-A0C2-C0E9E1C82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C5B0533-B5B6-46BC-A055-489CE08CC1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279C9B8-62D2-4E9F-8736-03CA6B25E8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BB42CF9-51D2-462B-A029-A49E64F9A6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4036061-66AD-4FCF-85E1-C88FD00513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061D98F-4127-46BC-AE05-E81278AAD5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06</c:v>
                </c:pt>
                <c:pt idx="1">
                  <c:v>1</c:v>
                </c:pt>
                <c:pt idx="2">
                  <c:v>0.93</c:v>
                </c:pt>
                <c:pt idx="3">
                  <c:v>0.98</c:v>
                </c:pt>
                <c:pt idx="4">
                  <c:v>0.98</c:v>
                </c:pt>
                <c:pt idx="5">
                  <c:v>0.84</c:v>
                </c:pt>
                <c:pt idx="6">
                  <c:v>0.93</c:v>
                </c:pt>
                <c:pt idx="7">
                  <c:v>1</c:v>
                </c:pt>
                <c:pt idx="8">
                  <c:v>0.93</c:v>
                </c:pt>
              </c:numCache>
            </c:numRef>
          </c:xVal>
          <c:yVal>
            <c:numRef>
              <c:f>Sheet1!$B$2:$B$10</c:f>
              <c:numCache>
                <c:formatCode>General</c:formatCode>
                <c:ptCount val="9"/>
                <c:pt idx="0">
                  <c:v>1191.166666666667</c:v>
                </c:pt>
                <c:pt idx="1">
                  <c:v>3914.84</c:v>
                </c:pt>
                <c:pt idx="2">
                  <c:v>3306.7741935483868</c:v>
                </c:pt>
                <c:pt idx="3">
                  <c:v>11075.163265306121</c:v>
                </c:pt>
                <c:pt idx="4">
                  <c:v>11052.41836734694</c:v>
                </c:pt>
                <c:pt idx="5">
                  <c:v>806.53571428571433</c:v>
                </c:pt>
                <c:pt idx="6">
                  <c:v>1987.6236559139779</c:v>
                </c:pt>
                <c:pt idx="7">
                  <c:v>2411.19</c:v>
                </c:pt>
                <c:pt idx="8">
                  <c:v>1229.2688172043011</c:v>
                </c:pt>
              </c:numCache>
            </c:numRef>
          </c:yVal>
          <c:bubbleSize>
            <c:numRef>
              <c:f>Sheet1!$C$2:$C$10</c:f>
              <c:numCache>
                <c:formatCode>General</c:formatCode>
                <c:ptCount val="9"/>
                <c:pt idx="0">
                  <c:v>3889.534900000001</c:v>
                </c:pt>
                <c:pt idx="1">
                  <c:v>237742.44</c:v>
                </c:pt>
                <c:pt idx="2">
                  <c:v>216946.611</c:v>
                </c:pt>
                <c:pt idx="3">
                  <c:v>751445.16359999997</c:v>
                </c:pt>
                <c:pt idx="4">
                  <c:v>694359.92899999989</c:v>
                </c:pt>
                <c:pt idx="5">
                  <c:v>40778.109600000003</c:v>
                </c:pt>
                <c:pt idx="6">
                  <c:v>104988.6</c:v>
                </c:pt>
                <c:pt idx="7">
                  <c:v>177587</c:v>
                </c:pt>
                <c:pt idx="8">
                  <c:v>72704.710000000006</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175Gr 5P</c:v>
                  </c:pt>
                  <c:pt idx="8">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649FDAD-8721-4F7D-93BD-141566C27A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BCE3ABE-3A6B-47BE-A128-A0B227C2CD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C32F6F1-BDEA-47B3-B25E-5C43635C8A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6FF1141-91EE-466C-96F4-25DD3D0034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B0D10FC-2883-4AFD-A46F-958DC6442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A25AF92-9EC6-42C4-AC20-5C7454CBD7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74DA977-FBB3-4A40-81C3-828CA286B7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0B7E9B6-382A-4C84-8488-16201864FB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779AF27-2563-4DEA-A629-252102DD34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3726A59-E620-4503-9304-17C05A5837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9489-4A20-88FB-1A4A394D8B46}"/>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9489-4A20-88FB-1A4A394D8B46}"/>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9489-4A20-88FB-1A4A394D8B4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4</c:f>
              <c:numCache>
                <c:formatCode>General</c:formatCode>
                <c:ptCount val="23"/>
                <c:pt idx="0">
                  <c:v>1</c:v>
                </c:pt>
                <c:pt idx="1">
                  <c:v>0.85</c:v>
                </c:pt>
                <c:pt idx="2">
                  <c:v>1</c:v>
                </c:pt>
                <c:pt idx="3">
                  <c:v>0.97</c:v>
                </c:pt>
                <c:pt idx="4">
                  <c:v>0.94</c:v>
                </c:pt>
                <c:pt idx="5">
                  <c:v>0.67</c:v>
                </c:pt>
                <c:pt idx="6">
                  <c:v>0.49</c:v>
                </c:pt>
                <c:pt idx="7">
                  <c:v>1</c:v>
                </c:pt>
                <c:pt idx="8">
                  <c:v>0.99</c:v>
                </c:pt>
                <c:pt idx="9">
                  <c:v>0.99</c:v>
                </c:pt>
                <c:pt idx="10">
                  <c:v>0.93</c:v>
                </c:pt>
                <c:pt idx="11">
                  <c:v>0.77</c:v>
                </c:pt>
                <c:pt idx="12">
                  <c:v>0.88</c:v>
                </c:pt>
                <c:pt idx="13">
                  <c:v>1</c:v>
                </c:pt>
                <c:pt idx="14">
                  <c:v>0.99</c:v>
                </c:pt>
                <c:pt idx="15">
                  <c:v>0.53</c:v>
                </c:pt>
                <c:pt idx="16">
                  <c:v>0.9</c:v>
                </c:pt>
                <c:pt idx="17">
                  <c:v>1</c:v>
                </c:pt>
                <c:pt idx="18">
                  <c:v>0.99</c:v>
                </c:pt>
                <c:pt idx="19">
                  <c:v>0.59</c:v>
                </c:pt>
                <c:pt idx="20">
                  <c:v>0.94</c:v>
                </c:pt>
                <c:pt idx="21">
                  <c:v>0.79</c:v>
                </c:pt>
                <c:pt idx="22">
                  <c:v>0.53</c:v>
                </c:pt>
              </c:numCache>
            </c:numRef>
          </c:xVal>
          <c:yVal>
            <c:numRef>
              <c:f>Sheet1!$B$2:$B$24</c:f>
              <c:numCache>
                <c:formatCode>General</c:formatCode>
                <c:ptCount val="23"/>
                <c:pt idx="0">
                  <c:v>3178.1</c:v>
                </c:pt>
                <c:pt idx="1">
                  <c:v>333.52941176470591</c:v>
                </c:pt>
                <c:pt idx="2">
                  <c:v>2173.81</c:v>
                </c:pt>
                <c:pt idx="3">
                  <c:v>746.80412371134025</c:v>
                </c:pt>
                <c:pt idx="4">
                  <c:v>805.01063829787233</c:v>
                </c:pt>
                <c:pt idx="5">
                  <c:v>181.56716417910451</c:v>
                </c:pt>
                <c:pt idx="6">
                  <c:v>156.61224489795919</c:v>
                </c:pt>
                <c:pt idx="7">
                  <c:v>2202.34</c:v>
                </c:pt>
                <c:pt idx="8">
                  <c:v>790.64646464646466</c:v>
                </c:pt>
                <c:pt idx="9">
                  <c:v>1044.9292929292931</c:v>
                </c:pt>
                <c:pt idx="10">
                  <c:v>477.22580645161293</c:v>
                </c:pt>
                <c:pt idx="11">
                  <c:v>280.87012987012992</c:v>
                </c:pt>
                <c:pt idx="12">
                  <c:v>641.88636363636363</c:v>
                </c:pt>
                <c:pt idx="13">
                  <c:v>1073.17</c:v>
                </c:pt>
                <c:pt idx="14">
                  <c:v>2140.636363636364</c:v>
                </c:pt>
                <c:pt idx="15">
                  <c:v>632.33962264150944</c:v>
                </c:pt>
                <c:pt idx="16">
                  <c:v>1159.7777777777781</c:v>
                </c:pt>
                <c:pt idx="17">
                  <c:v>2485.17</c:v>
                </c:pt>
                <c:pt idx="18">
                  <c:v>745.38383838383834</c:v>
                </c:pt>
                <c:pt idx="19">
                  <c:v>219.9491525423729</c:v>
                </c:pt>
                <c:pt idx="20">
                  <c:v>518.86170212765956</c:v>
                </c:pt>
                <c:pt idx="21">
                  <c:v>329.86075949367091</c:v>
                </c:pt>
                <c:pt idx="22">
                  <c:v>590.58490566037733</c:v>
                </c:pt>
              </c:numCache>
            </c:numRef>
          </c:yVal>
          <c:bubbleSize>
            <c:numRef>
              <c:f>Sheet1!$C$2:$C$24</c:f>
              <c:numCache>
                <c:formatCode>General</c:formatCode>
                <c:ptCount val="23"/>
                <c:pt idx="0">
                  <c:v>203609.8308</c:v>
                </c:pt>
                <c:pt idx="1">
                  <c:v>19208.837500000001</c:v>
                </c:pt>
                <c:pt idx="2">
                  <c:v>143874.3254</c:v>
                </c:pt>
                <c:pt idx="3">
                  <c:v>44811.284000000007</c:v>
                </c:pt>
                <c:pt idx="4">
                  <c:v>45977.733800000002</c:v>
                </c:pt>
                <c:pt idx="5">
                  <c:v>6584.1922000000004</c:v>
                </c:pt>
                <c:pt idx="6">
                  <c:v>3893.0088000000001</c:v>
                </c:pt>
                <c:pt idx="7">
                  <c:v>143034.28020000001</c:v>
                </c:pt>
                <c:pt idx="8">
                  <c:v>38107.283199999998</c:v>
                </c:pt>
                <c:pt idx="9">
                  <c:v>53421.076500000003</c:v>
                </c:pt>
                <c:pt idx="10">
                  <c:v>25623.770700000001</c:v>
                </c:pt>
                <c:pt idx="11">
                  <c:v>14453.8038</c:v>
                </c:pt>
                <c:pt idx="12">
                  <c:v>34700.419800000003</c:v>
                </c:pt>
                <c:pt idx="13">
                  <c:v>65034.166400000002</c:v>
                </c:pt>
                <c:pt idx="14">
                  <c:v>141887.92000000001</c:v>
                </c:pt>
                <c:pt idx="15">
                  <c:v>22991.651699999999</c:v>
                </c:pt>
                <c:pt idx="16">
                  <c:v>67815.993400000007</c:v>
                </c:pt>
                <c:pt idx="17">
                  <c:v>159788.61799999999</c:v>
                </c:pt>
                <c:pt idx="18">
                  <c:v>43296.037199999999</c:v>
                </c:pt>
                <c:pt idx="19">
                  <c:v>6793.1632999999993</c:v>
                </c:pt>
                <c:pt idx="20">
                  <c:v>29652.6384</c:v>
                </c:pt>
                <c:pt idx="21">
                  <c:v>16443.003499999999</c:v>
                </c:pt>
                <c:pt idx="22">
                  <c:v>17652.18</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Salade &amp; Aperitif Fromage Frais Des Afh 1X120Gr 1P</c:v>
                  </c:pt>
                  <c:pt idx="8">
                    <c:v>Boursin Salade &amp; Aperitif Fromage Frais Des Figue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Classique Fromage Frais A Tartiner Afh 1X256Gr 16P</c:v>
                  </c:pt>
                  <c:pt idx="16">
                    <c:v>Boursin Aperitif Roules Fromage Frais Roule Ciboulette &amp; Echalote Jambon Fume Boite 1X100Gr 20P</c:v>
                  </c:pt>
                  <c:pt idx="17">
                    <c:v>Boursin Classique Fromage Frais A Tartiner Afh Boite 1X250Gr 1P</c:v>
                  </c:pt>
                  <c:pt idx="18">
                    <c:v>Boursin Onctueux Fromage Frais A Tartiner Afh 1X125Gr 1P</c:v>
                  </c:pt>
                  <c:pt idx="19">
                    <c:v>Boursin Onctueux Fromage Frais A Tartiner Afh 1X21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1BBCE13-1474-4478-AFE8-DC1464C6F5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155E85B-5CC7-4C3D-A09D-C127AC1600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221FEB3-B7B2-40DC-B1D0-17BD6F5F08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BB3EC60-657D-447C-BC45-023BF6E8D6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88D8624-1736-4CA3-AC99-BC274E01E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5B84DD8-DDFA-42F3-B5BD-1ABA78FE29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23A0E20-0B68-444F-BE09-B32DDC0C69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04D04D3-F5D0-4E51-A5AB-452A11A85C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4D0E210-099A-48E5-AF59-80ABD31E76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E0290CB-AACC-4D62-8847-F7C6E3CA13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84</c:v>
                </c:pt>
                <c:pt idx="1">
                  <c:v>0.97</c:v>
                </c:pt>
                <c:pt idx="2">
                  <c:v>0.56999999999999995</c:v>
                </c:pt>
                <c:pt idx="3">
                  <c:v>0.47</c:v>
                </c:pt>
                <c:pt idx="4">
                  <c:v>0.71</c:v>
                </c:pt>
                <c:pt idx="5">
                  <c:v>0.99</c:v>
                </c:pt>
                <c:pt idx="6">
                  <c:v>0.39</c:v>
                </c:pt>
                <c:pt idx="7">
                  <c:v>0.33</c:v>
                </c:pt>
                <c:pt idx="8">
                  <c:v>0.99</c:v>
                </c:pt>
                <c:pt idx="9">
                  <c:v>0.72</c:v>
                </c:pt>
              </c:numCache>
            </c:numRef>
          </c:xVal>
          <c:yVal>
            <c:numRef>
              <c:f>Sheet1!$B$2:$B$11</c:f>
              <c:numCache>
                <c:formatCode>General</c:formatCode>
                <c:ptCount val="10"/>
                <c:pt idx="0">
                  <c:v>5252.7023809523807</c:v>
                </c:pt>
                <c:pt idx="1">
                  <c:v>4246.7938144329901</c:v>
                </c:pt>
                <c:pt idx="2">
                  <c:v>676.1578947368422</c:v>
                </c:pt>
                <c:pt idx="3">
                  <c:v>815.08510638297878</c:v>
                </c:pt>
                <c:pt idx="4">
                  <c:v>2060.4788732394368</c:v>
                </c:pt>
                <c:pt idx="5">
                  <c:v>3152.0707070707072</c:v>
                </c:pt>
                <c:pt idx="6">
                  <c:v>1040.897435897436</c:v>
                </c:pt>
                <c:pt idx="7">
                  <c:v>105.2121212121212</c:v>
                </c:pt>
                <c:pt idx="8">
                  <c:v>3133.424242424242</c:v>
                </c:pt>
                <c:pt idx="9">
                  <c:v>2791.8194444444439</c:v>
                </c:pt>
              </c:numCache>
            </c:numRef>
          </c:yVal>
          <c:bubbleSize>
            <c:numRef>
              <c:f>Sheet1!$C$2:$C$11</c:f>
              <c:numCache>
                <c:formatCode>General</c:formatCode>
                <c:ptCount val="10"/>
                <c:pt idx="0">
                  <c:v>244511.87400000001</c:v>
                </c:pt>
                <c:pt idx="1">
                  <c:v>271889.77860000002</c:v>
                </c:pt>
                <c:pt idx="2">
                  <c:v>22184.3776</c:v>
                </c:pt>
                <c:pt idx="3">
                  <c:v>21655.576799999999</c:v>
                </c:pt>
                <c:pt idx="4">
                  <c:v>101848.848</c:v>
                </c:pt>
                <c:pt idx="5">
                  <c:v>213476.2311</c:v>
                </c:pt>
                <c:pt idx="6">
                  <c:v>24936.687999999998</c:v>
                </c:pt>
                <c:pt idx="7">
                  <c:v>2413.9591999999998</c:v>
                </c:pt>
                <c:pt idx="8">
                  <c:v>171614.7591</c:v>
                </c:pt>
                <c:pt idx="9">
                  <c:v>126058.0727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E011BE7-0E93-47C9-8EF6-4EDCE9762E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6B8D6D0-BBF8-402C-AD0D-52B3D319E6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2E02F6A-BE1B-4553-9496-D2F8EC3E20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2FC7395-13AF-4EF3-8CFB-0EB020DDD1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F4F8CE4-AFA3-4A7C-AE6D-9E9343A32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6E2D965-B19B-49C3-8C61-2FB818AC96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767B764-8120-4369-97DD-FBA392B5C6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97CAB6B-AA14-4359-9649-5E672E9EC1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ED4C1F7-CF55-42F8-B768-03295A1E0C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10E920D-5BAC-4295-815A-3626E65187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99</c:v>
                </c:pt>
                <c:pt idx="1">
                  <c:v>0.78</c:v>
                </c:pt>
                <c:pt idx="2">
                  <c:v>0.91</c:v>
                </c:pt>
                <c:pt idx="3">
                  <c:v>0.95</c:v>
                </c:pt>
                <c:pt idx="4">
                  <c:v>0.27</c:v>
                </c:pt>
                <c:pt idx="5">
                  <c:v>0.64</c:v>
                </c:pt>
                <c:pt idx="6">
                  <c:v>0.97</c:v>
                </c:pt>
              </c:numCache>
            </c:numRef>
          </c:xVal>
          <c:yVal>
            <c:numRef>
              <c:f>Sheet1!$B$2:$B$8</c:f>
              <c:numCache>
                <c:formatCode>General</c:formatCode>
                <c:ptCount val="7"/>
                <c:pt idx="0">
                  <c:v>4486.8686868686873</c:v>
                </c:pt>
                <c:pt idx="1">
                  <c:v>3901.6923076923081</c:v>
                </c:pt>
                <c:pt idx="2">
                  <c:v>5295.4395604395604</c:v>
                </c:pt>
                <c:pt idx="3">
                  <c:v>5730.8315789473681</c:v>
                </c:pt>
                <c:pt idx="4">
                  <c:v>926.59259259259261</c:v>
                </c:pt>
                <c:pt idx="5">
                  <c:v>2246.375</c:v>
                </c:pt>
                <c:pt idx="6">
                  <c:v>1662.4948453608249</c:v>
                </c:pt>
              </c:numCache>
            </c:numRef>
          </c:yVal>
          <c:bubbleSize>
            <c:numRef>
              <c:f>Sheet1!$C$2:$C$8</c:f>
              <c:numCache>
                <c:formatCode>General</c:formatCode>
                <c:ptCount val="7"/>
                <c:pt idx="0">
                  <c:v>262527.71999999997</c:v>
                </c:pt>
                <c:pt idx="1">
                  <c:v>216338.64</c:v>
                </c:pt>
                <c:pt idx="2">
                  <c:v>307633.60200000001</c:v>
                </c:pt>
                <c:pt idx="3">
                  <c:v>333576.64069999999</c:v>
                </c:pt>
                <c:pt idx="4">
                  <c:v>14992.007600000001</c:v>
                </c:pt>
                <c:pt idx="5">
                  <c:v>81508.151999999987</c:v>
                </c:pt>
                <c:pt idx="6">
                  <c:v>94145.98599999999</c:v>
                </c:pt>
              </c:numCache>
            </c:numRef>
          </c:bubbleSize>
          <c:bubble3D val="0"/>
          <c:extLst>
            <c:ext xmlns:c15="http://schemas.microsoft.com/office/drawing/2012/chart" uri="{02D57815-91ED-43cb-92C2-25804820EDAC}">
              <c15:datalabelsRange>
                <c15:f>Sheet1!$E$2:$E$21</c15:f>
                <c15:dlblRangeCache>
                  <c:ptCount val="20"/>
                  <c:pt idx="0">
                    <c:v>La Vache Qui Rit Nature Fromage Fondu Boite Ronde 1X192Gr 12P</c:v>
                  </c:pt>
                  <c:pt idx="1">
                    <c:v>La Vache Qui Rit Nature Fromage Fondu Boite Ronde 1X512Gr 24+8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Nature Fromage Fondu Boite Ronde 1X128Gr 8P</c:v>
                  </c:pt>
                  <c:pt idx="6">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82A0DB6-2511-491B-B2DE-3BF38AAB32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3AB671A-FAB8-4CCE-889D-C1489F9418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0F2D035-D8F7-4F20-BB3C-79155015EE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CC82566-B817-4920-8B81-213BAB6723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DFBFE98-178D-4779-ADA3-C93AFFA06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80068E1-C59E-4681-8657-02EB1B7628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4EE6824-ADB6-4289-8FDC-FAB4AF32D17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A1270F8-A9B2-4DCD-ADDD-D9B9A36E1A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FBD1466-60D0-4D21-AAAA-DC493122DC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52EC006-F155-4BFF-B1ED-5F7E1ACC0F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9</c:f>
              <c:numCache>
                <c:formatCode>General</c:formatCode>
                <c:ptCount val="18"/>
                <c:pt idx="0">
                  <c:v>0.97</c:v>
                </c:pt>
                <c:pt idx="1">
                  <c:v>0.99</c:v>
                </c:pt>
                <c:pt idx="2">
                  <c:v>0.88</c:v>
                </c:pt>
                <c:pt idx="3">
                  <c:v>0.65</c:v>
                </c:pt>
                <c:pt idx="4">
                  <c:v>0.1</c:v>
                </c:pt>
                <c:pt idx="5">
                  <c:v>0.05</c:v>
                </c:pt>
                <c:pt idx="6">
                  <c:v>0.99</c:v>
                </c:pt>
                <c:pt idx="7">
                  <c:v>0.91</c:v>
                </c:pt>
                <c:pt idx="8">
                  <c:v>0.84</c:v>
                </c:pt>
                <c:pt idx="9">
                  <c:v>0.72</c:v>
                </c:pt>
                <c:pt idx="10">
                  <c:v>0.89</c:v>
                </c:pt>
                <c:pt idx="11">
                  <c:v>0.94</c:v>
                </c:pt>
                <c:pt idx="12">
                  <c:v>0.79</c:v>
                </c:pt>
                <c:pt idx="13">
                  <c:v>0.92</c:v>
                </c:pt>
                <c:pt idx="14">
                  <c:v>0.83</c:v>
                </c:pt>
                <c:pt idx="15">
                  <c:v>0.71</c:v>
                </c:pt>
                <c:pt idx="16">
                  <c:v>0.25</c:v>
                </c:pt>
                <c:pt idx="17">
                  <c:v>0.28999999999999998</c:v>
                </c:pt>
              </c:numCache>
            </c:numRef>
          </c:xVal>
          <c:yVal>
            <c:numRef>
              <c:f>Sheet1!$B$2:$B$19</c:f>
              <c:numCache>
                <c:formatCode>General</c:formatCode>
                <c:ptCount val="18"/>
                <c:pt idx="0">
                  <c:v>3016.855670103093</c:v>
                </c:pt>
                <c:pt idx="1">
                  <c:v>2637.1616161616162</c:v>
                </c:pt>
                <c:pt idx="2">
                  <c:v>910.88636363636363</c:v>
                </c:pt>
                <c:pt idx="3">
                  <c:v>899.09230769230771</c:v>
                </c:pt>
                <c:pt idx="4">
                  <c:v>394.1</c:v>
                </c:pt>
                <c:pt idx="5">
                  <c:v>517.4</c:v>
                </c:pt>
                <c:pt idx="6">
                  <c:v>2989.2525252525252</c:v>
                </c:pt>
                <c:pt idx="7">
                  <c:v>1131.2087912087909</c:v>
                </c:pt>
                <c:pt idx="8">
                  <c:v>752.57142857142856</c:v>
                </c:pt>
                <c:pt idx="9">
                  <c:v>766.19444444444446</c:v>
                </c:pt>
                <c:pt idx="10">
                  <c:v>1389.4269662921349</c:v>
                </c:pt>
                <c:pt idx="11">
                  <c:v>2727.5957446808511</c:v>
                </c:pt>
                <c:pt idx="12">
                  <c:v>1685.3544303797471</c:v>
                </c:pt>
                <c:pt idx="13">
                  <c:v>2597.739130434783</c:v>
                </c:pt>
                <c:pt idx="14">
                  <c:v>1244.0481927710839</c:v>
                </c:pt>
                <c:pt idx="15">
                  <c:v>791.04225352112678</c:v>
                </c:pt>
                <c:pt idx="16">
                  <c:v>572.76</c:v>
                </c:pt>
                <c:pt idx="17">
                  <c:v>727.37931034482767</c:v>
                </c:pt>
              </c:numCache>
            </c:numRef>
          </c:yVal>
          <c:bubbleSize>
            <c:numRef>
              <c:f>Sheet1!$C$2:$C$19</c:f>
              <c:numCache>
                <c:formatCode>General</c:formatCode>
                <c:ptCount val="18"/>
                <c:pt idx="0">
                  <c:v>182514.58350000001</c:v>
                </c:pt>
                <c:pt idx="1">
                  <c:v>169175.82759999999</c:v>
                </c:pt>
                <c:pt idx="2">
                  <c:v>47929.252</c:v>
                </c:pt>
                <c:pt idx="3">
                  <c:v>35070.9738</c:v>
                </c:pt>
                <c:pt idx="4">
                  <c:v>1770.3809000000001</c:v>
                </c:pt>
                <c:pt idx="5">
                  <c:v>1173.8063999999999</c:v>
                </c:pt>
                <c:pt idx="6">
                  <c:v>197011.77119999999</c:v>
                </c:pt>
                <c:pt idx="7">
                  <c:v>54368.025600000001</c:v>
                </c:pt>
                <c:pt idx="8">
                  <c:v>38139.75</c:v>
                </c:pt>
                <c:pt idx="9">
                  <c:v>30499.949700000001</c:v>
                </c:pt>
                <c:pt idx="10">
                  <c:v>73719.119200000001</c:v>
                </c:pt>
                <c:pt idx="11">
                  <c:v>167052.128</c:v>
                </c:pt>
                <c:pt idx="12">
                  <c:v>86476.008199999997</c:v>
                </c:pt>
                <c:pt idx="13">
                  <c:v>150414.5325</c:v>
                </c:pt>
                <c:pt idx="14">
                  <c:v>59907.712800000001</c:v>
                </c:pt>
                <c:pt idx="15">
                  <c:v>32857.246400000004</c:v>
                </c:pt>
                <c:pt idx="16">
                  <c:v>9072.6405000000013</c:v>
                </c:pt>
                <c:pt idx="17">
                  <c:v>10860.940199999999</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3 Noix Boite 1X150Gr 1P</c:v>
                  </c:pt>
                  <c:pt idx="5">
                    <c:v>Boursin Classique Fromage Frais A Tartiner 3 Noix 1X160Gr 10P</c:v>
                  </c:pt>
                  <c:pt idx="6">
                    <c:v>Boursin Salade &amp; Aperitif Fromage Frais Des Afh 1X120Gr 1P</c:v>
                  </c:pt>
                  <c:pt idx="7">
                    <c:v>Boursin Salade &amp; Aperitif Fromage Frais Des Figue Noix 1X120Gr 1P</c:v>
                  </c:pt>
                  <c:pt idx="8">
                    <c:v>Boursin Salade &amp; Aperitif Fromage Frais Des Ciboulette Echalote 1X120Gr 1P</c:v>
                  </c:pt>
                  <c:pt idx="9">
                    <c:v>Boursin Salade &amp; Aperitif Fromage Frais Des Citron Romarin 1X120Gr 1P</c:v>
                  </c:pt>
                  <c:pt idx="10">
                    <c:v>Boursin Classique Fromage Frais A Tartiner Afh Boite 1X96Gr 6P</c:v>
                  </c:pt>
                  <c:pt idx="11">
                    <c:v>Boursin Aperitif Roules Fromage Frais Roule Afh Et Jambon Fume Boite 1X100Gr 20P</c:v>
                  </c:pt>
                  <c:pt idx="12">
                    <c:v>Boursin Aperitif Roules Fromage Frais Roule Ciboulette &amp; Echalote Jambon Fume Boite 1X100Gr 20P</c:v>
                  </c:pt>
                  <c:pt idx="13">
                    <c:v>Boursin Classique Fromage Frais A Tartiner Afh Boite 1X250Gr 1P</c:v>
                  </c:pt>
                  <c:pt idx="14">
                    <c:v>Boursin Onctueux Fromage Frais A Tartiner Afh 1X125Gr 1P</c:v>
                  </c:pt>
                  <c:pt idx="15">
                    <c:v>Boursin Salade &amp; Aperitif Soft Cheese Salade 120G</c:v>
                  </c:pt>
                  <c:pt idx="16">
                    <c:v>Boursin Vegetal Alternative Vegetale 150G</c:v>
                  </c:pt>
                  <c:pt idx="17">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9DC5BDD-5741-49BE-89B0-B0F716880C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4985BD8-8992-44A3-9C89-B31CEADAC4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3CE03A3-7616-4961-BB0B-AF78E99C72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9C120BB-269F-469B-B0FB-0CC1289A23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22E8186-1ED4-4055-AA65-754101D6B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DA62601-55BA-4960-81EB-8387DAABFA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787A845-4F22-4E5C-AD44-2D0C5A394F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632803C-AA78-45BD-89FE-3BFA281C04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7E14703-42EB-40CB-9058-9FF0F25B5E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22C4FBD-841A-40D1-AC54-E534EEAFE5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2</c:v>
                </c:pt>
                <c:pt idx="1">
                  <c:v>0.54</c:v>
                </c:pt>
                <c:pt idx="2">
                  <c:v>0.96</c:v>
                </c:pt>
                <c:pt idx="3">
                  <c:v>0.1</c:v>
                </c:pt>
                <c:pt idx="4">
                  <c:v>0.71</c:v>
                </c:pt>
                <c:pt idx="5">
                  <c:v>0.02</c:v>
                </c:pt>
              </c:numCache>
            </c:numRef>
          </c:xVal>
          <c:yVal>
            <c:numRef>
              <c:f>Sheet1!$B$2:$B$7</c:f>
              <c:numCache>
                <c:formatCode>General</c:formatCode>
                <c:ptCount val="6"/>
                <c:pt idx="0">
                  <c:v>4425.5</c:v>
                </c:pt>
                <c:pt idx="1">
                  <c:v>1348.3888888888889</c:v>
                </c:pt>
                <c:pt idx="2">
                  <c:v>6174.895833333333</c:v>
                </c:pt>
                <c:pt idx="3">
                  <c:v>172.2</c:v>
                </c:pt>
                <c:pt idx="4">
                  <c:v>3577.4929577464791</c:v>
                </c:pt>
                <c:pt idx="5">
                  <c:v>2679.5</c:v>
                </c:pt>
              </c:numCache>
            </c:numRef>
          </c:yVal>
          <c:bubbleSize>
            <c:numRef>
              <c:f>Sheet1!$C$2:$C$7</c:f>
              <c:numCache>
                <c:formatCode>General</c:formatCode>
                <c:ptCount val="6"/>
                <c:pt idx="0">
                  <c:v>5298.1144000000004</c:v>
                </c:pt>
                <c:pt idx="1">
                  <c:v>36794.323400000001</c:v>
                </c:pt>
                <c:pt idx="2">
                  <c:v>332637.91769999999</c:v>
                </c:pt>
                <c:pt idx="3">
                  <c:v>1001.7318</c:v>
                </c:pt>
                <c:pt idx="4">
                  <c:v>117338.8575</c:v>
                </c:pt>
                <c:pt idx="5">
                  <c:v>3050.75399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216Gr 12P</c:v>
                  </c:pt>
                  <c:pt idx="1">
                    <c:v>Kiri Delicieusement Fouette Fromage Frais A Tartiner 1X125Gr 1P</c:v>
                  </c:pt>
                  <c:pt idx="2">
                    <c:v>Kiri Creme Fromage Blanc Frais Carre 1X144Gr 8P</c:v>
                  </c:pt>
                  <c:pt idx="3">
                    <c:v>Kiri Delicieusement Fouette Fromage Frais A Tartiner 1X160Gr 10P</c:v>
                  </c:pt>
                  <c:pt idx="4">
                    <c:v>Kiri Gouter Fromage Blanc Dips Boite 1X175Gr 5P</c:v>
                  </c:pt>
                  <c:pt idx="5">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Kiri</c:v>
                </c:pt>
                <c:pt idx="8">
                  <c:v>La Vache Qui Rit</c:v>
                </c:pt>
                <c:pt idx="9">
                  <c:v>Others</c:v>
                </c:pt>
              </c:strCache>
            </c:strRef>
          </c:cat>
          <c:val>
            <c:numRef>
              <c:f>Sheet1!$B$2:$B$11</c:f>
              <c:numCache>
                <c:formatCode>General</c:formatCode>
                <c:ptCount val="10"/>
                <c:pt idx="0">
                  <c:v>0.2970859348380675</c:v>
                </c:pt>
                <c:pt idx="1">
                  <c:v>0.16043379926377807</c:v>
                </c:pt>
                <c:pt idx="2">
                  <c:v>0.12966800019878572</c:v>
                </c:pt>
                <c:pt idx="3">
                  <c:v>0.10616482532513906</c:v>
                </c:pt>
                <c:pt idx="4">
                  <c:v>0.10235644019547083</c:v>
                </c:pt>
                <c:pt idx="5">
                  <c:v>7.424221878310637E-2</c:v>
                </c:pt>
                <c:pt idx="6">
                  <c:v>7.0825976924268369E-2</c:v>
                </c:pt>
                <c:pt idx="7">
                  <c:v>1.0346095515999654E-2</c:v>
                </c:pt>
                <c:pt idx="8">
                  <c:v>8.7659917819501354E-7</c:v>
                </c:pt>
                <c:pt idx="9">
                  <c:v>4.887583235620621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Kiri</c:v>
                </c:pt>
                <c:pt idx="8">
                  <c:v>La Vache Qui Rit</c:v>
                </c:pt>
                <c:pt idx="9">
                  <c:v>Others</c:v>
                </c:pt>
              </c:strCache>
            </c:strRef>
          </c:cat>
          <c:val>
            <c:numRef>
              <c:f>Sheet1!$C$2:$C$11</c:f>
              <c:numCache>
                <c:formatCode>General</c:formatCode>
                <c:ptCount val="10"/>
                <c:pt idx="0">
                  <c:v>0.209911549367303</c:v>
                </c:pt>
                <c:pt idx="1">
                  <c:v>0.14966778111642481</c:v>
                </c:pt>
                <c:pt idx="2">
                  <c:v>0</c:v>
                </c:pt>
                <c:pt idx="3">
                  <c:v>0.14520292860468076</c:v>
                </c:pt>
                <c:pt idx="4">
                  <c:v>0.16797156037073097</c:v>
                </c:pt>
                <c:pt idx="5">
                  <c:v>4.7378221676753166E-2</c:v>
                </c:pt>
                <c:pt idx="6">
                  <c:v>7.2389859917897537E-2</c:v>
                </c:pt>
                <c:pt idx="7">
                  <c:v>3.7178890346608005E-2</c:v>
                </c:pt>
                <c:pt idx="8">
                  <c:v>0</c:v>
                </c:pt>
                <c:pt idx="9">
                  <c:v>0.1702992085996022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Kiri</c:v>
                </c:pt>
                <c:pt idx="8">
                  <c:v>La Vache Qui Rit</c:v>
                </c:pt>
                <c:pt idx="9">
                  <c:v>Others</c:v>
                </c:pt>
              </c:strCache>
            </c:strRef>
          </c:cat>
          <c:val>
            <c:numRef>
              <c:f>Sheet1!$D$2:$D$11</c:f>
              <c:numCache>
                <c:formatCode>General</c:formatCode>
                <c:ptCount val="10"/>
                <c:pt idx="0">
                  <c:v>70.656845293507203</c:v>
                </c:pt>
                <c:pt idx="1">
                  <c:v>93.289432652746541</c:v>
                </c:pt>
                <c:pt idx="2">
                  <c:v>1</c:v>
                </c:pt>
                <c:pt idx="3">
                  <c:v>136.77122169229224</c:v>
                </c:pt>
                <c:pt idx="4">
                  <c:v>164.10453514205307</c:v>
                </c:pt>
                <c:pt idx="5">
                  <c:v>63.815740495533205</c:v>
                </c:pt>
                <c:pt idx="6">
                  <c:v>102.20806413344835</c:v>
                </c:pt>
                <c:pt idx="7">
                  <c:v>359.35189549635362</c:v>
                </c:pt>
                <c:pt idx="8">
                  <c:v>1</c:v>
                </c:pt>
                <c:pt idx="9">
                  <c:v>348.432344555207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79D9558-5024-4F4C-8352-4373BF1DCC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09AB8D6-AAE7-46AB-8E00-C9D0BB0B87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1F8EA4E-583D-4044-9CC6-44241EB84F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85321C0-161C-4D3E-A905-8FE1B4A41D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78EE60A-B465-4AA0-A5A8-419918312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F8F7A10-E38D-4E21-AA99-BD7472C1B7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88E4E61-F386-4262-B31A-939423709A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CAC9D9-4739-4386-8D7E-FD2120A55A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04B70B3-93D8-46FD-8FA2-6747D2655F4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FABEEF7-C87D-41DB-99C4-470471A2D7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89</c:v>
                </c:pt>
                <c:pt idx="1">
                  <c:v>0.45</c:v>
                </c:pt>
                <c:pt idx="2">
                  <c:v>0.09</c:v>
                </c:pt>
                <c:pt idx="3">
                  <c:v>0.05</c:v>
                </c:pt>
                <c:pt idx="4">
                  <c:v>0.51</c:v>
                </c:pt>
              </c:numCache>
            </c:numRef>
          </c:xVal>
          <c:yVal>
            <c:numRef>
              <c:f>Sheet1!$B$2:$B$6</c:f>
              <c:numCache>
                <c:formatCode>General</c:formatCode>
                <c:ptCount val="5"/>
                <c:pt idx="0">
                  <c:v>7543.6741573033714</c:v>
                </c:pt>
                <c:pt idx="1">
                  <c:v>6982.6</c:v>
                </c:pt>
                <c:pt idx="2">
                  <c:v>2723.4444444444439</c:v>
                </c:pt>
                <c:pt idx="3">
                  <c:v>1469.6</c:v>
                </c:pt>
                <c:pt idx="4">
                  <c:v>2525.7254901960782</c:v>
                </c:pt>
              </c:numCache>
            </c:numRef>
          </c:yVal>
          <c:bubbleSize>
            <c:numRef>
              <c:f>Sheet1!$C$2:$C$6</c:f>
              <c:numCache>
                <c:formatCode>General</c:formatCode>
                <c:ptCount val="5"/>
                <c:pt idx="0">
                  <c:v>345965.88</c:v>
                </c:pt>
                <c:pt idx="1">
                  <c:v>171688.52160000001</c:v>
                </c:pt>
                <c:pt idx="2">
                  <c:v>12410.255999999999</c:v>
                </c:pt>
                <c:pt idx="3">
                  <c:v>2886.078</c:v>
                </c:pt>
                <c:pt idx="4">
                  <c:v>63895.387999999992</c:v>
                </c:pt>
              </c:numCache>
            </c:numRef>
          </c:bubbleSize>
          <c:bubble3D val="0"/>
          <c:extLst>
            <c:ext xmlns:c15="http://schemas.microsoft.com/office/drawing/2012/chart" uri="{02D57815-91ED-43cb-92C2-25804820EDAC}">
              <c15:datalabelsRange>
                <c15:f>Sheet1!$E$2:$E$21</c15:f>
                <c15:dlblRangeCache>
                  <c:ptCount val="20"/>
                  <c:pt idx="0">
                    <c:v>La Vache Qui Rit Nature Fromage Fondu Boite Ronde 1X192Gr 12P</c:v>
                  </c:pt>
                  <c:pt idx="1">
                    <c:v>La Vache Qui Rit Nature Fromage Fondu Boite Ronde 1X384Gr 24P</c:v>
                  </c:pt>
                  <c:pt idx="2">
                    <c:v>La Vache Qui Rit Nature Fromage Fondu Boite Ronde 1X128Gr 8P</c:v>
                  </c:pt>
                  <c:pt idx="3">
                    <c:v>La Vache Qui Rit Pik Et Croq' Fromage Fondu Dips Boite 1X35Gr 1P</c:v>
                  </c:pt>
                  <c:pt idx="4">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04EB1CB-D16F-4AE5-B544-260C8593AC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D6FBB62-85EB-4D8C-9422-ECC8D76EEA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CE2F82F-B622-4754-8CCE-B54B40B3A0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2CE9B1A-D9BD-4B25-977C-E31B71CEDD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E3F3B92-1AF7-4899-BAD3-4DA983C68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3320FA1-A962-4A71-B380-A48D03C231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85BA164-1387-4AE6-B2B6-2398E58951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60B1043-9AA7-4B36-B5C1-D0E8B3AEC3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8D2DC61-4DD6-4291-8C33-1EE4CB9780D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D1D63E6-8F3D-44B4-8E8D-10B8734016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49</c:v>
                </c:pt>
                <c:pt idx="1">
                  <c:v>0.83</c:v>
                </c:pt>
                <c:pt idx="2">
                  <c:v>0.08</c:v>
                </c:pt>
                <c:pt idx="3">
                  <c:v>0.79</c:v>
                </c:pt>
                <c:pt idx="4">
                  <c:v>0.11</c:v>
                </c:pt>
                <c:pt idx="5">
                  <c:v>0.09</c:v>
                </c:pt>
                <c:pt idx="6">
                  <c:v>0.56000000000000005</c:v>
                </c:pt>
                <c:pt idx="7">
                  <c:v>7.0000000000000007E-2</c:v>
                </c:pt>
              </c:numCache>
            </c:numRef>
          </c:xVal>
          <c:yVal>
            <c:numRef>
              <c:f>Sheet1!$B$2:$B$9</c:f>
              <c:numCache>
                <c:formatCode>General</c:formatCode>
                <c:ptCount val="8"/>
                <c:pt idx="0">
                  <c:v>3653.6938775510198</c:v>
                </c:pt>
                <c:pt idx="1">
                  <c:v>4452.734939759036</c:v>
                </c:pt>
                <c:pt idx="2">
                  <c:v>1616.75</c:v>
                </c:pt>
                <c:pt idx="3">
                  <c:v>2791.924050632912</c:v>
                </c:pt>
                <c:pt idx="4">
                  <c:v>497.36363636363637</c:v>
                </c:pt>
                <c:pt idx="5">
                  <c:v>1913.666666666667</c:v>
                </c:pt>
                <c:pt idx="6">
                  <c:v>4507.1428571428569</c:v>
                </c:pt>
                <c:pt idx="7">
                  <c:v>2859.8571428571431</c:v>
                </c:pt>
              </c:numCache>
            </c:numRef>
          </c:yVal>
          <c:bubbleSize>
            <c:numRef>
              <c:f>Sheet1!$C$2:$C$9</c:f>
              <c:numCache>
                <c:formatCode>General</c:formatCode>
                <c:ptCount val="8"/>
                <c:pt idx="0">
                  <c:v>101965.4454</c:v>
                </c:pt>
                <c:pt idx="1">
                  <c:v>200281.71539999999</c:v>
                </c:pt>
                <c:pt idx="2">
                  <c:v>6298.4040000000005</c:v>
                </c:pt>
                <c:pt idx="3">
                  <c:v>102326.5368</c:v>
                </c:pt>
                <c:pt idx="4">
                  <c:v>2876.0508</c:v>
                </c:pt>
                <c:pt idx="5">
                  <c:v>9099.93</c:v>
                </c:pt>
                <c:pt idx="6">
                  <c:v>137832.11840000001</c:v>
                </c:pt>
                <c:pt idx="7">
                  <c:v>9845.0709000000006</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Salade &amp; Aperitif Fromage Frais Des Afh 1X120Gr 1P</c:v>
                  </c:pt>
                  <c:pt idx="4">
                    <c:v>Boursin Classique Fromage Frais A Tartiner Afh Boite 1X80Gr 1P</c:v>
                  </c:pt>
                  <c:pt idx="5">
                    <c:v>Boursin Classique Fromage Frais A Tartiner Afh Boite 1X96Gr 6P</c:v>
                  </c:pt>
                  <c:pt idx="6">
                    <c:v>Boursin Aperitif Roules Fromage Frais Roule Afh Et Jambon Fume Boite 1X100Gr 20P</c:v>
                  </c:pt>
                  <c:pt idx="7">
                    <c:v>Boursin Aperitif Roules Fromage Frais Roule Ciboulette &amp; Echalote Jambon Fume Boite 1X100Gr 2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909CD1A-4D77-4FE5-B702-B86A8FF624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3E546D1-C4D1-491C-9167-A25E26ED2E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DA833C2-06B8-46F1-893D-2E769B86C6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4EEDDAC-9771-4FBC-B38D-ABC8AD5CC9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B831E52-18BB-471B-A86F-E568DA633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90A7500-AAF3-4050-A89B-4BCF2CE72B7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D09B8E9-1B86-4D33-B3AD-279BE9AE3D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E594D63-4E3C-4487-B12E-76FDBD483C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84F4230-E44D-44B9-AE63-D6C125D45D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1F12DE4-F956-424A-ACC5-3C2694FE8C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89</c:v>
                </c:pt>
                <c:pt idx="1">
                  <c:v>0.99</c:v>
                </c:pt>
                <c:pt idx="2">
                  <c:v>0.87</c:v>
                </c:pt>
                <c:pt idx="3">
                  <c:v>0.83</c:v>
                </c:pt>
                <c:pt idx="4">
                  <c:v>0.99</c:v>
                </c:pt>
                <c:pt idx="5">
                  <c:v>0.6</c:v>
                </c:pt>
                <c:pt idx="6">
                  <c:v>0.99</c:v>
                </c:pt>
                <c:pt idx="7">
                  <c:v>0.96</c:v>
                </c:pt>
                <c:pt idx="8">
                  <c:v>0.57999999999999996</c:v>
                </c:pt>
              </c:numCache>
            </c:numRef>
          </c:xVal>
          <c:yVal>
            <c:numRef>
              <c:f>Sheet1!$B$2:$B$10</c:f>
              <c:numCache>
                <c:formatCode>General</c:formatCode>
                <c:ptCount val="9"/>
                <c:pt idx="0">
                  <c:v>7935.6292134831456</c:v>
                </c:pt>
                <c:pt idx="1">
                  <c:v>8607.9696969696961</c:v>
                </c:pt>
                <c:pt idx="2">
                  <c:v>1509.2873563218391</c:v>
                </c:pt>
                <c:pt idx="3">
                  <c:v>2135.4337349397588</c:v>
                </c:pt>
                <c:pt idx="4">
                  <c:v>4806.9191919191917</c:v>
                </c:pt>
                <c:pt idx="5">
                  <c:v>1519.866666666667</c:v>
                </c:pt>
                <c:pt idx="6">
                  <c:v>4681.333333333333</c:v>
                </c:pt>
                <c:pt idx="7">
                  <c:v>6331.729166666667</c:v>
                </c:pt>
                <c:pt idx="8">
                  <c:v>916.86206896551732</c:v>
                </c:pt>
              </c:numCache>
            </c:numRef>
          </c:yVal>
          <c:bubbleSize>
            <c:numRef>
              <c:f>Sheet1!$C$2:$C$10</c:f>
              <c:numCache>
                <c:formatCode>General</c:formatCode>
                <c:ptCount val="9"/>
                <c:pt idx="0">
                  <c:v>434940.5233</c:v>
                </c:pt>
                <c:pt idx="1">
                  <c:v>563044.1581</c:v>
                </c:pt>
                <c:pt idx="2">
                  <c:v>66663.609600000011</c:v>
                </c:pt>
                <c:pt idx="3">
                  <c:v>120956.976</c:v>
                </c:pt>
                <c:pt idx="4">
                  <c:v>308470.04639999999</c:v>
                </c:pt>
                <c:pt idx="5">
                  <c:v>45274.047000000013</c:v>
                </c:pt>
                <c:pt idx="6">
                  <c:v>282659.23139999999</c:v>
                </c:pt>
                <c:pt idx="7">
                  <c:v>368627.39450000011</c:v>
                </c:pt>
                <c:pt idx="8">
                  <c:v>25561.6981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6B025A8-3B4B-46CF-9136-CDD7F088C0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2BD1B0C-87FA-429C-B5AD-6402786409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E3FA711-A345-4E48-97D9-AC05CEE35A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783C6FE-D453-4A4A-A596-E7775D0D65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0208A2E-5B75-4488-97C2-487548B7C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5AF1C3A-517B-49C6-97BA-A069514706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D5E9597-373C-4E9E-9FFB-50E98C6600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9BA392A-0610-436D-9A3D-5197769505E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9FB49CE-E40D-4D23-AE03-CE8D004760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5F0AD9B-1089-4796-B2C0-2D05201DC4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64</c:v>
                </c:pt>
                <c:pt idx="1">
                  <c:v>1</c:v>
                </c:pt>
                <c:pt idx="2">
                  <c:v>0.97</c:v>
                </c:pt>
                <c:pt idx="3">
                  <c:v>0.98</c:v>
                </c:pt>
                <c:pt idx="4">
                  <c:v>0.84</c:v>
                </c:pt>
                <c:pt idx="5">
                  <c:v>0.95</c:v>
                </c:pt>
                <c:pt idx="6">
                  <c:v>0.86</c:v>
                </c:pt>
              </c:numCache>
            </c:numRef>
          </c:xVal>
          <c:yVal>
            <c:numRef>
              <c:f>Sheet1!$B$2:$B$8</c:f>
              <c:numCache>
                <c:formatCode>General</c:formatCode>
                <c:ptCount val="7"/>
                <c:pt idx="0">
                  <c:v>1414.515625</c:v>
                </c:pt>
                <c:pt idx="1">
                  <c:v>10893.58</c:v>
                </c:pt>
                <c:pt idx="2">
                  <c:v>11768.01030927835</c:v>
                </c:pt>
                <c:pt idx="3">
                  <c:v>13093.826530612239</c:v>
                </c:pt>
                <c:pt idx="4">
                  <c:v>1965.8214285714289</c:v>
                </c:pt>
                <c:pt idx="5">
                  <c:v>2817.347368421053</c:v>
                </c:pt>
                <c:pt idx="6">
                  <c:v>3042.8372093023249</c:v>
                </c:pt>
              </c:numCache>
            </c:numRef>
          </c:yVal>
          <c:bubbleSize>
            <c:numRef>
              <c:f>Sheet1!$C$2:$C$8</c:f>
              <c:numCache>
                <c:formatCode>General</c:formatCode>
                <c:ptCount val="7"/>
                <c:pt idx="0">
                  <c:v>36184.439199999993</c:v>
                </c:pt>
                <c:pt idx="1">
                  <c:v>621385.28460000013</c:v>
                </c:pt>
                <c:pt idx="2">
                  <c:v>692633.15520000004</c:v>
                </c:pt>
                <c:pt idx="3">
                  <c:v>792886.2220999999</c:v>
                </c:pt>
                <c:pt idx="4">
                  <c:v>85195.458899999998</c:v>
                </c:pt>
                <c:pt idx="5">
                  <c:v>139805.39300000001</c:v>
                </c:pt>
                <c:pt idx="6">
                  <c:v>126337.8342</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68F6246-CFAD-4A81-88E0-FE2FFCCA44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5CCFA16-AFB9-46D6-B2BE-55A282E412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7C6B4CA-E400-4D86-8968-4D7BD909A1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ED3065F-FDC7-44C7-B3EA-C39CACC8CB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9689B79-310C-4316-B61F-62896CBB4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79221AD-7EA0-45E4-A4E3-C283B34786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AFE6CCB-8812-4C9E-9CA3-D69F34D707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85F8018-42F4-48A2-8D06-E63E22D161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8A0528A-F0D8-4829-993D-41FE788D6E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4C34CF3-8756-4E38-B991-62D5895CC7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C52E-4C10-A386-8D5679D8960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99</c:v>
                </c:pt>
                <c:pt idx="1">
                  <c:v>0.85</c:v>
                </c:pt>
                <c:pt idx="2">
                  <c:v>1</c:v>
                </c:pt>
                <c:pt idx="3">
                  <c:v>0.96</c:v>
                </c:pt>
                <c:pt idx="4">
                  <c:v>0.95</c:v>
                </c:pt>
                <c:pt idx="5">
                  <c:v>0.98</c:v>
                </c:pt>
                <c:pt idx="6">
                  <c:v>0.51</c:v>
                </c:pt>
                <c:pt idx="7">
                  <c:v>0.86</c:v>
                </c:pt>
                <c:pt idx="8">
                  <c:v>0.67</c:v>
                </c:pt>
                <c:pt idx="9">
                  <c:v>0.86</c:v>
                </c:pt>
                <c:pt idx="10">
                  <c:v>0.9</c:v>
                </c:pt>
                <c:pt idx="11">
                  <c:v>0.97</c:v>
                </c:pt>
                <c:pt idx="12">
                  <c:v>0.85</c:v>
                </c:pt>
                <c:pt idx="13">
                  <c:v>0.84</c:v>
                </c:pt>
                <c:pt idx="14">
                  <c:v>0.83</c:v>
                </c:pt>
                <c:pt idx="15">
                  <c:v>0.93</c:v>
                </c:pt>
                <c:pt idx="16">
                  <c:v>0.99</c:v>
                </c:pt>
                <c:pt idx="17">
                  <c:v>0.97</c:v>
                </c:pt>
                <c:pt idx="18">
                  <c:v>0.28999999999999998</c:v>
                </c:pt>
                <c:pt idx="19">
                  <c:v>0.4</c:v>
                </c:pt>
                <c:pt idx="20">
                  <c:v>0.7</c:v>
                </c:pt>
              </c:numCache>
            </c:numRef>
          </c:xVal>
          <c:yVal>
            <c:numRef>
              <c:f>Sheet1!$B$2:$B$22</c:f>
              <c:numCache>
                <c:formatCode>General</c:formatCode>
                <c:ptCount val="21"/>
                <c:pt idx="0">
                  <c:v>5111.090909090909</c:v>
                </c:pt>
                <c:pt idx="1">
                  <c:v>1490.3647058823531</c:v>
                </c:pt>
                <c:pt idx="2">
                  <c:v>4276.05</c:v>
                </c:pt>
                <c:pt idx="3">
                  <c:v>1606.041666666667</c:v>
                </c:pt>
                <c:pt idx="4">
                  <c:v>1801.8736842105261</c:v>
                </c:pt>
                <c:pt idx="5">
                  <c:v>3369.632653061225</c:v>
                </c:pt>
                <c:pt idx="6">
                  <c:v>1106.9215686274511</c:v>
                </c:pt>
                <c:pt idx="7">
                  <c:v>1404.883720930233</c:v>
                </c:pt>
                <c:pt idx="8">
                  <c:v>680.20895522388059</c:v>
                </c:pt>
                <c:pt idx="9">
                  <c:v>1399.976744186047</c:v>
                </c:pt>
                <c:pt idx="10">
                  <c:v>1982.9666666666669</c:v>
                </c:pt>
                <c:pt idx="11">
                  <c:v>4568.0927835051543</c:v>
                </c:pt>
                <c:pt idx="12">
                  <c:v>1521.8941176470589</c:v>
                </c:pt>
                <c:pt idx="13">
                  <c:v>1441.1547619047619</c:v>
                </c:pt>
                <c:pt idx="14">
                  <c:v>1214.975903614458</c:v>
                </c:pt>
                <c:pt idx="15">
                  <c:v>3053.16129032258</c:v>
                </c:pt>
                <c:pt idx="16">
                  <c:v>5515.0505050505053</c:v>
                </c:pt>
                <c:pt idx="17">
                  <c:v>2431.7628865979382</c:v>
                </c:pt>
                <c:pt idx="18">
                  <c:v>100.6551724137931</c:v>
                </c:pt>
                <c:pt idx="19">
                  <c:v>880.45</c:v>
                </c:pt>
                <c:pt idx="20">
                  <c:v>553.08571428571429</c:v>
                </c:pt>
              </c:numCache>
            </c:numRef>
          </c:yVal>
          <c:bubbleSize>
            <c:numRef>
              <c:f>Sheet1!$C$2:$C$22</c:f>
              <c:numCache>
                <c:formatCode>General</c:formatCode>
                <c:ptCount val="21"/>
                <c:pt idx="0">
                  <c:v>310396.17109999998</c:v>
                </c:pt>
                <c:pt idx="1">
                  <c:v>71735.347500000003</c:v>
                </c:pt>
                <c:pt idx="2">
                  <c:v>268889.32500000001</c:v>
                </c:pt>
                <c:pt idx="3">
                  <c:v>80927.763000000006</c:v>
                </c:pt>
                <c:pt idx="4">
                  <c:v>91664.386599999998</c:v>
                </c:pt>
                <c:pt idx="5">
                  <c:v>171405.6588</c:v>
                </c:pt>
                <c:pt idx="6">
                  <c:v>33731.386499999993</c:v>
                </c:pt>
                <c:pt idx="7">
                  <c:v>66011.255999999994</c:v>
                </c:pt>
                <c:pt idx="8">
                  <c:v>20091.8835</c:v>
                </c:pt>
                <c:pt idx="9">
                  <c:v>65796.493399999992</c:v>
                </c:pt>
                <c:pt idx="10">
                  <c:v>98304.178500000009</c:v>
                </c:pt>
                <c:pt idx="11">
                  <c:v>241072.77720000001</c:v>
                </c:pt>
                <c:pt idx="12">
                  <c:v>69362.099199999997</c:v>
                </c:pt>
                <c:pt idx="13">
                  <c:v>70284.431699999986</c:v>
                </c:pt>
                <c:pt idx="14">
                  <c:v>51962.308199999999</c:v>
                </c:pt>
                <c:pt idx="15">
                  <c:v>144999.24479999999</c:v>
                </c:pt>
                <c:pt idx="16">
                  <c:v>321142.08559999999</c:v>
                </c:pt>
                <c:pt idx="17">
                  <c:v>111472.8284</c:v>
                </c:pt>
                <c:pt idx="18">
                  <c:v>2051.9259999999999</c:v>
                </c:pt>
                <c:pt idx="19">
                  <c:v>17448.064399999999</c:v>
                </c:pt>
                <c:pt idx="20">
                  <c:v>21148.5615</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Ciboulette Echalote 1X120Gr 1P</c:v>
                  </c:pt>
                  <c:pt idx="8">
                    <c:v>Boursin Salade &amp; Aperitif Fromage Frais Des Citron Romarin 1X120Gr 1P</c:v>
                  </c:pt>
                  <c:pt idx="9">
                    <c:v>Boursin Classique Fromage Frais A Tartiner Poivre Boite 1X150Gr 1P</c:v>
                  </c:pt>
                  <c:pt idx="10">
                    <c:v>Boursin Classique Fromage Frais A Tartiner Afh Boite 1X96Gr 6P</c:v>
                  </c:pt>
                  <c:pt idx="11">
                    <c:v>Boursin Aperitif Roules Fromage Frais Roule Afh Et Jambon Fume Boite 1X100Gr 20P</c:v>
                  </c:pt>
                  <c:pt idx="12">
                    <c:v>Boursin Aperitif Roules Fromage Frais Roule Basilic &amp; Jambon Fume Tomate Boite 1X100Gr 20P</c:v>
                  </c:pt>
                  <c:pt idx="13">
                    <c:v>Boursin Classique Fromage Frais A Tartiner Afh 1X256Gr 16P</c:v>
                  </c:pt>
                  <c:pt idx="14">
                    <c:v>Boursin Classique Fromage Frais A Tartiner Ciboulette &amp; Echalote 1X160Gr 10P</c:v>
                  </c:pt>
                  <c:pt idx="15">
                    <c:v>Boursin Aperitif Roules Fromage Frais Roule Ciboulette &amp; Echalote Jambon Fume Boite 1X100Gr 20P</c:v>
                  </c:pt>
                  <c:pt idx="16">
                    <c:v>Boursin Classique Fromage Frais A Tartiner Afh Boite 1X250Gr 1P</c:v>
                  </c:pt>
                  <c:pt idx="17">
                    <c:v>Boursin Onctueux Fromage Frais A Tartiner Afh 1X125Gr 1P</c:v>
                  </c:pt>
                  <c:pt idx="18">
                    <c:v>Boursin Aperitif Roules Fromage Frais Roule Jambon Fume &amp; Trio De Noix Boite 1X100Gr 20P</c:v>
                  </c:pt>
                  <c:pt idx="19">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748F71A-EA34-4463-A288-55C0D48753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78F2D46-2CA3-457D-BC61-2E768193994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CE95A49-EE1A-42F9-872B-9533127B39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7A9F726-4465-43B6-B16F-F49E3E1733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B2F7792-3E52-488C-BC05-5BD433D7C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C9E5770-EECE-47BA-99BC-1BA6FBF931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373C1F2-95E7-483B-A702-992F2135BC2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F7A0B91-14C9-4FE9-8E9E-2D1DAAA960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0C37E6C-679B-4B3E-8A0B-FAABABFF6D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B0274ED-BDFD-4347-8EE7-8843A1A1C0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99</c:v>
                </c:pt>
                <c:pt idx="1">
                  <c:v>0.99</c:v>
                </c:pt>
                <c:pt idx="2">
                  <c:v>0.99</c:v>
                </c:pt>
                <c:pt idx="3">
                  <c:v>0.94</c:v>
                </c:pt>
                <c:pt idx="4">
                  <c:v>0.99</c:v>
                </c:pt>
                <c:pt idx="5">
                  <c:v>0.87</c:v>
                </c:pt>
                <c:pt idx="6">
                  <c:v>0.99</c:v>
                </c:pt>
                <c:pt idx="7">
                  <c:v>0.99</c:v>
                </c:pt>
                <c:pt idx="8">
                  <c:v>0.73</c:v>
                </c:pt>
              </c:numCache>
            </c:numRef>
          </c:xVal>
          <c:yVal>
            <c:numRef>
              <c:f>Sheet1!$B$2:$B$10</c:f>
              <c:numCache>
                <c:formatCode>General</c:formatCode>
                <c:ptCount val="9"/>
                <c:pt idx="0">
                  <c:v>1510.0505050505051</c:v>
                </c:pt>
                <c:pt idx="1">
                  <c:v>1448.878787878788</c:v>
                </c:pt>
                <c:pt idx="2">
                  <c:v>259.61616161616161</c:v>
                </c:pt>
                <c:pt idx="3">
                  <c:v>368.41489361702128</c:v>
                </c:pt>
                <c:pt idx="4">
                  <c:v>814.44444444444446</c:v>
                </c:pt>
                <c:pt idx="5">
                  <c:v>204.0114942528736</c:v>
                </c:pt>
                <c:pt idx="6">
                  <c:v>861.46464646464642</c:v>
                </c:pt>
                <c:pt idx="7">
                  <c:v>1157.454545454545</c:v>
                </c:pt>
                <c:pt idx="8">
                  <c:v>118.8767123287671</c:v>
                </c:pt>
              </c:numCache>
            </c:numRef>
          </c:yVal>
          <c:bubbleSize>
            <c:numRef>
              <c:f>Sheet1!$C$2:$C$10</c:f>
              <c:numCache>
                <c:formatCode>General</c:formatCode>
                <c:ptCount val="9"/>
                <c:pt idx="0">
                  <c:v>94800.4</c:v>
                </c:pt>
                <c:pt idx="1">
                  <c:v>94792.401599999997</c:v>
                </c:pt>
                <c:pt idx="2">
                  <c:v>13395.286</c:v>
                </c:pt>
                <c:pt idx="3">
                  <c:v>23711.407200000001</c:v>
                </c:pt>
                <c:pt idx="4">
                  <c:v>52523.159199999987</c:v>
                </c:pt>
                <c:pt idx="5">
                  <c:v>9299.048499999999</c:v>
                </c:pt>
                <c:pt idx="6">
                  <c:v>53180.887199999997</c:v>
                </c:pt>
                <c:pt idx="7">
                  <c:v>72012.494500000001</c:v>
                </c:pt>
                <c:pt idx="8">
                  <c:v>4247.692</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9DDFD3D-B0F2-430C-B8AC-A720A359AFE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71148AC-FB43-45E2-BAF1-E5E69CCBAB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56E8B5F-7304-464F-AE5E-2D1F1A39DFE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7800A2D-67FF-4E77-9D1D-C9F83D2C8B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EEDB618-1E82-4438-AC7E-A16E7BB46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AA898CB-48B4-4551-B9FC-6AED9F0F3C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BA1EE6B-0FEB-4035-93BE-BC080F52B5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8504FBC-9E6F-4E6A-BD78-6DA249559A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A87DFB5-E057-488B-9828-6D6575FB82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1743652-12D4-4F2F-91E7-4B3F7B275D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88</c:v>
                </c:pt>
                <c:pt idx="1">
                  <c:v>0.99</c:v>
                </c:pt>
                <c:pt idx="2">
                  <c:v>0.99</c:v>
                </c:pt>
                <c:pt idx="3">
                  <c:v>0.99</c:v>
                </c:pt>
                <c:pt idx="4">
                  <c:v>0.96</c:v>
                </c:pt>
                <c:pt idx="5">
                  <c:v>0.99</c:v>
                </c:pt>
                <c:pt idx="6">
                  <c:v>0.98</c:v>
                </c:pt>
              </c:numCache>
            </c:numRef>
          </c:xVal>
          <c:yVal>
            <c:numRef>
              <c:f>Sheet1!$B$2:$B$8</c:f>
              <c:numCache>
                <c:formatCode>General</c:formatCode>
                <c:ptCount val="7"/>
                <c:pt idx="0">
                  <c:v>212.81818181818181</c:v>
                </c:pt>
                <c:pt idx="1">
                  <c:v>1861.373737373737</c:v>
                </c:pt>
                <c:pt idx="2">
                  <c:v>2046.9595959595961</c:v>
                </c:pt>
                <c:pt idx="3">
                  <c:v>2510.909090909091</c:v>
                </c:pt>
                <c:pt idx="4">
                  <c:v>295.54166666666669</c:v>
                </c:pt>
                <c:pt idx="5">
                  <c:v>542.23232323232321</c:v>
                </c:pt>
                <c:pt idx="6">
                  <c:v>619.70408163265301</c:v>
                </c:pt>
              </c:numCache>
            </c:numRef>
          </c:yVal>
          <c:bubbleSize>
            <c:numRef>
              <c:f>Sheet1!$C$2:$C$8</c:f>
              <c:numCache>
                <c:formatCode>General</c:formatCode>
                <c:ptCount val="7"/>
                <c:pt idx="0">
                  <c:v>7654.3233</c:v>
                </c:pt>
                <c:pt idx="1">
                  <c:v>105773.54399999999</c:v>
                </c:pt>
                <c:pt idx="2">
                  <c:v>123606.6195</c:v>
                </c:pt>
                <c:pt idx="3">
                  <c:v>154735.0969</c:v>
                </c:pt>
                <c:pt idx="4">
                  <c:v>15154.5465</c:v>
                </c:pt>
                <c:pt idx="5">
                  <c:v>28961.603999999999</c:v>
                </c:pt>
                <c:pt idx="6">
                  <c:v>30217.781999999999</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C320E09-5839-4EE6-845D-80555A1EF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384F7C6-A02A-471C-BB5E-F1A9916B5E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78DC44B-152B-4C13-9E4E-C508612445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DA43A01-D1FA-4A1E-9235-AA8E2BD3CC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4B20C46-5264-48FC-B7E6-171564912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82681D7-5B23-45A2-94CA-12FD8BC0DF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857C688-0A3F-4E26-8EE4-5A066D2641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C8D800B-C802-4727-B546-709511750C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D2ED294-F077-4056-88A5-88AD77D9E8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50ADBFE-C2E1-42C4-A451-B4C9F3A4B8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1</c:f>
              <c:numCache>
                <c:formatCode>General</c:formatCode>
                <c:ptCount val="20"/>
                <c:pt idx="0">
                  <c:v>0.99</c:v>
                </c:pt>
                <c:pt idx="1">
                  <c:v>0.96</c:v>
                </c:pt>
                <c:pt idx="2">
                  <c:v>0.99</c:v>
                </c:pt>
                <c:pt idx="3">
                  <c:v>0.99</c:v>
                </c:pt>
                <c:pt idx="4">
                  <c:v>0.99</c:v>
                </c:pt>
                <c:pt idx="5">
                  <c:v>0.99</c:v>
                </c:pt>
                <c:pt idx="6">
                  <c:v>0.83</c:v>
                </c:pt>
                <c:pt idx="7">
                  <c:v>0.95</c:v>
                </c:pt>
                <c:pt idx="8">
                  <c:v>0.87</c:v>
                </c:pt>
                <c:pt idx="9">
                  <c:v>0.97</c:v>
                </c:pt>
                <c:pt idx="10">
                  <c:v>0.98</c:v>
                </c:pt>
                <c:pt idx="11">
                  <c:v>0.99</c:v>
                </c:pt>
                <c:pt idx="12">
                  <c:v>0.95</c:v>
                </c:pt>
                <c:pt idx="13">
                  <c:v>0.96</c:v>
                </c:pt>
                <c:pt idx="14">
                  <c:v>0.95</c:v>
                </c:pt>
                <c:pt idx="15">
                  <c:v>0.99</c:v>
                </c:pt>
                <c:pt idx="16">
                  <c:v>0.99</c:v>
                </c:pt>
                <c:pt idx="17">
                  <c:v>0.99</c:v>
                </c:pt>
                <c:pt idx="18">
                  <c:v>0.73</c:v>
                </c:pt>
                <c:pt idx="19">
                  <c:v>0.86</c:v>
                </c:pt>
              </c:numCache>
            </c:numRef>
          </c:xVal>
          <c:yVal>
            <c:numRef>
              <c:f>Sheet1!$B$2:$B$21</c:f>
              <c:numCache>
                <c:formatCode>General</c:formatCode>
                <c:ptCount val="20"/>
                <c:pt idx="0">
                  <c:v>899.93939393939399</c:v>
                </c:pt>
                <c:pt idx="1">
                  <c:v>199.64583333333329</c:v>
                </c:pt>
                <c:pt idx="2">
                  <c:v>706.57575757575762</c:v>
                </c:pt>
                <c:pt idx="3">
                  <c:v>229.83838383838381</c:v>
                </c:pt>
                <c:pt idx="4">
                  <c:v>259.5858585858586</c:v>
                </c:pt>
                <c:pt idx="5">
                  <c:v>547.73737373737379</c:v>
                </c:pt>
                <c:pt idx="6">
                  <c:v>154.5301204819277</c:v>
                </c:pt>
                <c:pt idx="7">
                  <c:v>253.43157894736839</c:v>
                </c:pt>
                <c:pt idx="8">
                  <c:v>110.4712643678161</c:v>
                </c:pt>
                <c:pt idx="9">
                  <c:v>209.1237113402062</c:v>
                </c:pt>
                <c:pt idx="10">
                  <c:v>321.57142857142861</c:v>
                </c:pt>
                <c:pt idx="11">
                  <c:v>871.57575757575762</c:v>
                </c:pt>
                <c:pt idx="12">
                  <c:v>252.95789473684209</c:v>
                </c:pt>
                <c:pt idx="13">
                  <c:v>327.33333333333331</c:v>
                </c:pt>
                <c:pt idx="14">
                  <c:v>205.3052631578947</c:v>
                </c:pt>
                <c:pt idx="15">
                  <c:v>514.030303030303</c:v>
                </c:pt>
                <c:pt idx="16">
                  <c:v>1058.6464646464649</c:v>
                </c:pt>
                <c:pt idx="17">
                  <c:v>373.97979797979798</c:v>
                </c:pt>
                <c:pt idx="18">
                  <c:v>106.42465753424661</c:v>
                </c:pt>
                <c:pt idx="19">
                  <c:v>83.186046511627907</c:v>
                </c:pt>
              </c:numCache>
            </c:numRef>
          </c:yVal>
          <c:bubbleSize>
            <c:numRef>
              <c:f>Sheet1!$C$2:$C$21</c:f>
              <c:numCache>
                <c:formatCode>General</c:formatCode>
                <c:ptCount val="20"/>
                <c:pt idx="0">
                  <c:v>55170.794599999987</c:v>
                </c:pt>
                <c:pt idx="1">
                  <c:v>11177.634</c:v>
                </c:pt>
                <c:pt idx="2">
                  <c:v>44106.495000000003</c:v>
                </c:pt>
                <c:pt idx="3">
                  <c:v>12349.773800000001</c:v>
                </c:pt>
                <c:pt idx="4">
                  <c:v>14198.6855</c:v>
                </c:pt>
                <c:pt idx="5">
                  <c:v>28831.452000000001</c:v>
                </c:pt>
                <c:pt idx="6">
                  <c:v>7867.86</c:v>
                </c:pt>
                <c:pt idx="7">
                  <c:v>13497.9589</c:v>
                </c:pt>
                <c:pt idx="8">
                  <c:v>4340.1383999999998</c:v>
                </c:pt>
                <c:pt idx="9">
                  <c:v>11428.3532</c:v>
                </c:pt>
                <c:pt idx="10">
                  <c:v>17992.606500000002</c:v>
                </c:pt>
                <c:pt idx="11">
                  <c:v>47854.768199999999</c:v>
                </c:pt>
                <c:pt idx="12">
                  <c:v>13196.82</c:v>
                </c:pt>
                <c:pt idx="13">
                  <c:v>18264.846600000001</c:v>
                </c:pt>
                <c:pt idx="14">
                  <c:v>10385.634599999999</c:v>
                </c:pt>
                <c:pt idx="15">
                  <c:v>26803.497599999999</c:v>
                </c:pt>
                <c:pt idx="16">
                  <c:v>62945.8802</c:v>
                </c:pt>
                <c:pt idx="17">
                  <c:v>18204.570100000001</c:v>
                </c:pt>
                <c:pt idx="18">
                  <c:v>3921.063900000001</c:v>
                </c:pt>
                <c:pt idx="19">
                  <c:v>3908.1405</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Ciboulette Echalote 1X120Gr 1P</c:v>
                  </c:pt>
                  <c:pt idx="8">
                    <c:v>Boursin Salade &amp; Aperitif Fromage Frais Des Citron Romarin 1X120Gr 1P</c:v>
                  </c:pt>
                  <c:pt idx="9">
                    <c:v>Boursin Classique Fromage Frais A Tartiner Poivre Boite 1X150Gr 1P</c:v>
                  </c:pt>
                  <c:pt idx="10">
                    <c:v>Boursin Classique Fromage Frais A Tartiner Afh Boite 1X96Gr 6P</c:v>
                  </c:pt>
                  <c:pt idx="11">
                    <c:v>Boursin Aperitif Roules Fromage Frais Roule Afh Et Jambon Fume Boite 1X100Gr 20P</c:v>
                  </c:pt>
                  <c:pt idx="12">
                    <c:v>Boursin Aperitif Roules Fromage Frais Roule Basilic &amp; Jambon Fume Tomate Boite 1X100Gr 20P</c:v>
                  </c:pt>
                  <c:pt idx="13">
                    <c:v>Boursin Classique Fromage Frais A Tartiner Afh 1X256Gr 16P</c:v>
                  </c:pt>
                  <c:pt idx="14">
                    <c:v>Boursin Classique Fromage Frais A Tartiner Ciboulette &amp; Echalote 1X160Gr 10P</c:v>
                  </c:pt>
                  <c:pt idx="15">
                    <c:v>Boursin Aperitif Roules Fromage Frais Roule Ciboulette &amp; Echalote Jambon Fume Boite 1X100Gr 20P</c:v>
                  </c:pt>
                  <c:pt idx="16">
                    <c:v>Boursin Classique Fromage Frais A Tartiner Afh Boite 1X250Gr 1P</c:v>
                  </c:pt>
                  <c:pt idx="17">
                    <c:v>Boursin Onctueux Fromage Frais A Tartiner Afh 1X125Gr 1P</c:v>
                  </c:pt>
                  <c:pt idx="18">
                    <c:v>Boursin Salade &amp; Aperitif Soft Cheese Salade 120G</c:v>
                  </c:pt>
                  <c:pt idx="19">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3FBEEBD-79B0-41EC-A491-DF7CB479F82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13D1211-B1A7-47EE-8633-79CC652C793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5ACA6E3-A740-41A7-B9E5-44310243A4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312D199-A0F2-4257-9433-5075E73BF3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008646B-7FCF-4F98-B3F2-5F96B80E4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3E65BCB-88EE-4384-B0FE-37B24036F4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E1706BF-7580-4BC2-B2B7-84F27F6752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3459B26-AFD9-4E14-A267-E8C4D4ABA0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21249C1-5BA9-4068-9027-DD4E12C812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46C89D9-28D1-4736-920C-22645F8777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47</c:v>
                </c:pt>
                <c:pt idx="1">
                  <c:v>0.85</c:v>
                </c:pt>
                <c:pt idx="2">
                  <c:v>0.44</c:v>
                </c:pt>
                <c:pt idx="3">
                  <c:v>0.59</c:v>
                </c:pt>
                <c:pt idx="4">
                  <c:v>0.92</c:v>
                </c:pt>
                <c:pt idx="5">
                  <c:v>0.3</c:v>
                </c:pt>
                <c:pt idx="6">
                  <c:v>0.89</c:v>
                </c:pt>
                <c:pt idx="7">
                  <c:v>0.67</c:v>
                </c:pt>
                <c:pt idx="8">
                  <c:v>0.1</c:v>
                </c:pt>
              </c:numCache>
            </c:numRef>
          </c:xVal>
          <c:yVal>
            <c:numRef>
              <c:f>Sheet1!$B$2:$B$10</c:f>
              <c:numCache>
                <c:formatCode>General</c:formatCode>
                <c:ptCount val="9"/>
                <c:pt idx="0">
                  <c:v>1288.617021276596</c:v>
                </c:pt>
                <c:pt idx="1">
                  <c:v>1618.623529411765</c:v>
                </c:pt>
                <c:pt idx="2">
                  <c:v>371.75</c:v>
                </c:pt>
                <c:pt idx="3">
                  <c:v>520.91525423728808</c:v>
                </c:pt>
                <c:pt idx="4">
                  <c:v>1084.782608695652</c:v>
                </c:pt>
                <c:pt idx="5">
                  <c:v>466.8</c:v>
                </c:pt>
                <c:pt idx="6">
                  <c:v>1075.011235955056</c:v>
                </c:pt>
                <c:pt idx="7">
                  <c:v>1039.014925373134</c:v>
                </c:pt>
                <c:pt idx="8">
                  <c:v>319</c:v>
                </c:pt>
              </c:numCache>
            </c:numRef>
          </c:yVal>
          <c:bubbleSize>
            <c:numRef>
              <c:f>Sheet1!$C$2:$C$10</c:f>
              <c:numCache>
                <c:formatCode>General</c:formatCode>
                <c:ptCount val="9"/>
                <c:pt idx="0">
                  <c:v>35560.734499999999</c:v>
                </c:pt>
                <c:pt idx="1">
                  <c:v>87751.572</c:v>
                </c:pt>
                <c:pt idx="2">
                  <c:v>7708.5276000000013</c:v>
                </c:pt>
                <c:pt idx="3">
                  <c:v>20940.809799999999</c:v>
                </c:pt>
                <c:pt idx="4">
                  <c:v>60834.53439999999</c:v>
                </c:pt>
                <c:pt idx="5">
                  <c:v>6375.4179999999997</c:v>
                </c:pt>
                <c:pt idx="6">
                  <c:v>55887.63</c:v>
                </c:pt>
                <c:pt idx="7">
                  <c:v>40040.788</c:v>
                </c:pt>
                <c:pt idx="8">
                  <c:v>1479.5652</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20EC3B9-9F39-4113-BA11-AD0878CAEB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3D7769A-5885-424F-B784-8F7CD61A87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CB10A01-4502-4662-9DC3-C7100A6B372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3A6BDBF-1AB4-42CE-8441-BFF4195CB9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125AD41-4C79-4195-965E-2311AA6EF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FC5C4FC-53C1-4B40-9958-2DAF9A831B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7974340-6395-4E93-86F2-05BCD00B30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B6B2D91-636C-45A0-97C1-4C8B99AE65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B135082-7FBF-427E-9737-EB79792FCD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860A060-FAD8-45F8-83E4-29E4D9AC88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25</c:v>
                </c:pt>
                <c:pt idx="1">
                  <c:v>0.98</c:v>
                </c:pt>
                <c:pt idx="2">
                  <c:v>0.68</c:v>
                </c:pt>
                <c:pt idx="3">
                  <c:v>0.65</c:v>
                </c:pt>
                <c:pt idx="4">
                  <c:v>0.42</c:v>
                </c:pt>
                <c:pt idx="5">
                  <c:v>0.77</c:v>
                </c:pt>
                <c:pt idx="6">
                  <c:v>0.32</c:v>
                </c:pt>
              </c:numCache>
            </c:numRef>
          </c:xVal>
          <c:yVal>
            <c:numRef>
              <c:f>Sheet1!$B$2:$B$8</c:f>
              <c:numCache>
                <c:formatCode>General</c:formatCode>
                <c:ptCount val="7"/>
                <c:pt idx="0">
                  <c:v>302.72000000000003</c:v>
                </c:pt>
                <c:pt idx="1">
                  <c:v>2144.071428571428</c:v>
                </c:pt>
                <c:pt idx="2">
                  <c:v>1798.10294117647</c:v>
                </c:pt>
                <c:pt idx="3">
                  <c:v>2110.4923076923078</c:v>
                </c:pt>
                <c:pt idx="4">
                  <c:v>544.73809523809518</c:v>
                </c:pt>
                <c:pt idx="5">
                  <c:v>586.18181818181813</c:v>
                </c:pt>
                <c:pt idx="6">
                  <c:v>514.03125</c:v>
                </c:pt>
              </c:numCache>
            </c:numRef>
          </c:yVal>
          <c:bubbleSize>
            <c:numRef>
              <c:f>Sheet1!$C$2:$C$8</c:f>
              <c:numCache>
                <c:formatCode>General</c:formatCode>
                <c:ptCount val="7"/>
                <c:pt idx="0">
                  <c:v>2891.0972999999999</c:v>
                </c:pt>
                <c:pt idx="1">
                  <c:v>119456.67479999999</c:v>
                </c:pt>
                <c:pt idx="2">
                  <c:v>70823.141200000013</c:v>
                </c:pt>
                <c:pt idx="3">
                  <c:v>79817.339399999997</c:v>
                </c:pt>
                <c:pt idx="4">
                  <c:v>10898.412</c:v>
                </c:pt>
                <c:pt idx="5">
                  <c:v>22425.295999999998</c:v>
                </c:pt>
                <c:pt idx="6">
                  <c:v>7537.2546000000002</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Paysan Breton</c:v>
                </c:pt>
                <c:pt idx="3">
                  <c:v>Boursin</c:v>
                </c:pt>
                <c:pt idx="4">
                  <c:v>Tartare</c:v>
                </c:pt>
                <c:pt idx="5">
                  <c:v>Carre Frais</c:v>
                </c:pt>
                <c:pt idx="6">
                  <c:v>Philadelphia</c:v>
                </c:pt>
                <c:pt idx="7">
                  <c:v>Kiri</c:v>
                </c:pt>
                <c:pt idx="8">
                  <c:v>Others</c:v>
                </c:pt>
              </c:strCache>
            </c:strRef>
          </c:cat>
          <c:val>
            <c:numRef>
              <c:f>Sheet1!$B$2:$B$10</c:f>
              <c:numCache>
                <c:formatCode>General</c:formatCode>
                <c:ptCount val="9"/>
                <c:pt idx="0">
                  <c:v>0.33495661866567283</c:v>
                </c:pt>
                <c:pt idx="1">
                  <c:v>0.14290204190012662</c:v>
                </c:pt>
                <c:pt idx="2">
                  <c:v>0.1426367440068825</c:v>
                </c:pt>
                <c:pt idx="3">
                  <c:v>0.13477890637743031</c:v>
                </c:pt>
                <c:pt idx="4">
                  <c:v>0.11501460187481841</c:v>
                </c:pt>
                <c:pt idx="5">
                  <c:v>7.2014001885060422E-2</c:v>
                </c:pt>
                <c:pt idx="6">
                  <c:v>3.5411129751728887E-2</c:v>
                </c:pt>
                <c:pt idx="7">
                  <c:v>6.7647854424658311E-3</c:v>
                </c:pt>
                <c:pt idx="8">
                  <c:v>1.552117009581419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Paysan Breton</c:v>
                </c:pt>
                <c:pt idx="3">
                  <c:v>Boursin</c:v>
                </c:pt>
                <c:pt idx="4">
                  <c:v>Tartare</c:v>
                </c:pt>
                <c:pt idx="5">
                  <c:v>Carre Frais</c:v>
                </c:pt>
                <c:pt idx="6">
                  <c:v>Philadelphia</c:v>
                </c:pt>
                <c:pt idx="7">
                  <c:v>Kiri</c:v>
                </c:pt>
                <c:pt idx="8">
                  <c:v>Others</c:v>
                </c:pt>
              </c:strCache>
            </c:strRef>
          </c:cat>
          <c:val>
            <c:numRef>
              <c:f>Sheet1!$C$2:$C$10</c:f>
              <c:numCache>
                <c:formatCode>General</c:formatCode>
                <c:ptCount val="9"/>
                <c:pt idx="0">
                  <c:v>0.19370872683377127</c:v>
                </c:pt>
                <c:pt idx="1">
                  <c:v>0.13086700276929633</c:v>
                </c:pt>
                <c:pt idx="2">
                  <c:v>0.14087907406092454</c:v>
                </c:pt>
                <c:pt idx="3">
                  <c:v>0.21676252692371417</c:v>
                </c:pt>
                <c:pt idx="4">
                  <c:v>0.13749437856517316</c:v>
                </c:pt>
                <c:pt idx="5">
                  <c:v>7.0084499041397422E-2</c:v>
                </c:pt>
                <c:pt idx="6">
                  <c:v>3.4201992946578615E-2</c:v>
                </c:pt>
                <c:pt idx="7">
                  <c:v>2.1988686122748468E-2</c:v>
                </c:pt>
                <c:pt idx="8">
                  <c:v>5.401311273639612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Paysan Breton</c:v>
                </c:pt>
                <c:pt idx="3">
                  <c:v>Boursin</c:v>
                </c:pt>
                <c:pt idx="4">
                  <c:v>Tartare</c:v>
                </c:pt>
                <c:pt idx="5">
                  <c:v>Carre Frais</c:v>
                </c:pt>
                <c:pt idx="6">
                  <c:v>Philadelphia</c:v>
                </c:pt>
                <c:pt idx="7">
                  <c:v>Kiri</c:v>
                </c:pt>
                <c:pt idx="8">
                  <c:v>Others</c:v>
                </c:pt>
              </c:strCache>
            </c:strRef>
          </c:cat>
          <c:val>
            <c:numRef>
              <c:f>Sheet1!$D$2:$D$10</c:f>
              <c:numCache>
                <c:formatCode>General</c:formatCode>
                <c:ptCount val="9"/>
                <c:pt idx="0">
                  <c:v>57.830989459299495</c:v>
                </c:pt>
                <c:pt idx="1">
                  <c:v>91.578119549025402</c:v>
                </c:pt>
                <c:pt idx="2">
                  <c:v>98.767729901438898</c:v>
                </c:pt>
                <c:pt idx="3">
                  <c:v>160.8282280586991</c:v>
                </c:pt>
                <c:pt idx="4">
                  <c:v>119.54515020172975</c:v>
                </c:pt>
                <c:pt idx="5">
                  <c:v>97.320655993062815</c:v>
                </c:pt>
                <c:pt idx="6">
                  <c:v>96.585432846600327</c:v>
                </c:pt>
                <c:pt idx="7">
                  <c:v>325.04631979478387</c:v>
                </c:pt>
                <c:pt idx="8">
                  <c:v>347.996397197931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E2C3085-5017-465B-9195-C3EE992674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11DD456-450B-4A51-9E29-A5F2E7DE0B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E030D1A-4CF4-4891-8464-223D8F9D51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26BE440-3177-44B4-8604-CF4E5FEAEE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BE1A92A-06DE-4F2F-94A9-7B51BED60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D0233F2-E75C-4ABE-ADAE-6B5EAEA51E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824EE99-6E94-4486-A0AD-1F3A12B210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E228407-B666-4D5F-A689-74D7E48B68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8886634-86F1-4D89-B742-BA10B3140F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59E6F78-C9E0-49D2-A546-F3D26E458F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1</c:f>
              <c:numCache>
                <c:formatCode>General</c:formatCode>
                <c:ptCount val="20"/>
                <c:pt idx="0">
                  <c:v>0.9</c:v>
                </c:pt>
                <c:pt idx="1">
                  <c:v>0.67</c:v>
                </c:pt>
                <c:pt idx="2">
                  <c:v>0.96</c:v>
                </c:pt>
                <c:pt idx="3">
                  <c:v>0.8</c:v>
                </c:pt>
                <c:pt idx="4">
                  <c:v>0.81</c:v>
                </c:pt>
                <c:pt idx="5">
                  <c:v>0.84</c:v>
                </c:pt>
                <c:pt idx="6">
                  <c:v>0.18</c:v>
                </c:pt>
                <c:pt idx="7">
                  <c:v>0.43</c:v>
                </c:pt>
                <c:pt idx="8">
                  <c:v>0.28000000000000003</c:v>
                </c:pt>
                <c:pt idx="9">
                  <c:v>0.59</c:v>
                </c:pt>
                <c:pt idx="10">
                  <c:v>0.66</c:v>
                </c:pt>
                <c:pt idx="11">
                  <c:v>0.76</c:v>
                </c:pt>
                <c:pt idx="12">
                  <c:v>0.32</c:v>
                </c:pt>
                <c:pt idx="13">
                  <c:v>0.33</c:v>
                </c:pt>
                <c:pt idx="14">
                  <c:v>0.46</c:v>
                </c:pt>
                <c:pt idx="15">
                  <c:v>0.5</c:v>
                </c:pt>
                <c:pt idx="16">
                  <c:v>0.75</c:v>
                </c:pt>
                <c:pt idx="17">
                  <c:v>0.81</c:v>
                </c:pt>
                <c:pt idx="18">
                  <c:v>0.14000000000000001</c:v>
                </c:pt>
                <c:pt idx="19">
                  <c:v>0.17</c:v>
                </c:pt>
              </c:numCache>
            </c:numRef>
          </c:xVal>
          <c:yVal>
            <c:numRef>
              <c:f>Sheet1!$B$2:$B$21</c:f>
              <c:numCache>
                <c:formatCode>General</c:formatCode>
                <c:ptCount val="20"/>
                <c:pt idx="0">
                  <c:v>1038.5555555555561</c:v>
                </c:pt>
                <c:pt idx="1">
                  <c:v>413.91044776119401</c:v>
                </c:pt>
                <c:pt idx="2">
                  <c:v>948.11458333333337</c:v>
                </c:pt>
                <c:pt idx="3">
                  <c:v>415.85</c:v>
                </c:pt>
                <c:pt idx="4">
                  <c:v>531.17283950617286</c:v>
                </c:pt>
                <c:pt idx="5">
                  <c:v>612.89285714285711</c:v>
                </c:pt>
                <c:pt idx="6">
                  <c:v>284.5</c:v>
                </c:pt>
                <c:pt idx="7">
                  <c:v>258.48837209302332</c:v>
                </c:pt>
                <c:pt idx="8">
                  <c:v>164.25</c:v>
                </c:pt>
                <c:pt idx="9">
                  <c:v>369.57627118644069</c:v>
                </c:pt>
                <c:pt idx="10">
                  <c:v>491.4848484848485</c:v>
                </c:pt>
                <c:pt idx="11">
                  <c:v>920.57894736842104</c:v>
                </c:pt>
                <c:pt idx="12">
                  <c:v>364.125</c:v>
                </c:pt>
                <c:pt idx="13">
                  <c:v>296.15151515151513</c:v>
                </c:pt>
                <c:pt idx="14">
                  <c:v>255.95652173913041</c:v>
                </c:pt>
                <c:pt idx="15">
                  <c:v>536.24</c:v>
                </c:pt>
                <c:pt idx="16">
                  <c:v>854.77333333333331</c:v>
                </c:pt>
                <c:pt idx="17">
                  <c:v>667.28395061728395</c:v>
                </c:pt>
                <c:pt idx="18">
                  <c:v>215.78571428571419</c:v>
                </c:pt>
                <c:pt idx="19">
                  <c:v>142.29411764705881</c:v>
                </c:pt>
              </c:numCache>
            </c:numRef>
          </c:yVal>
          <c:bubbleSize>
            <c:numRef>
              <c:f>Sheet1!$C$2:$C$21</c:f>
              <c:numCache>
                <c:formatCode>General</c:formatCode>
                <c:ptCount val="20"/>
                <c:pt idx="0">
                  <c:v>54621.099199999997</c:v>
                </c:pt>
                <c:pt idx="1">
                  <c:v>14769.356</c:v>
                </c:pt>
                <c:pt idx="2">
                  <c:v>54132.285000000003</c:v>
                </c:pt>
                <c:pt idx="3">
                  <c:v>16316.1432</c:v>
                </c:pt>
                <c:pt idx="4">
                  <c:v>21532.756399999998</c:v>
                </c:pt>
                <c:pt idx="5">
                  <c:v>25458.860400000001</c:v>
                </c:pt>
                <c:pt idx="6">
                  <c:v>2856.9135000000001</c:v>
                </c:pt>
                <c:pt idx="7">
                  <c:v>5751.4501999999993</c:v>
                </c:pt>
                <c:pt idx="8">
                  <c:v>1920.1572000000001</c:v>
                </c:pt>
                <c:pt idx="9">
                  <c:v>11073.1368</c:v>
                </c:pt>
                <c:pt idx="10">
                  <c:v>16934.157899999998</c:v>
                </c:pt>
                <c:pt idx="11">
                  <c:v>36212.4516</c:v>
                </c:pt>
                <c:pt idx="12">
                  <c:v>6011.5624000000007</c:v>
                </c:pt>
                <c:pt idx="13">
                  <c:v>5465.4452999999994</c:v>
                </c:pt>
                <c:pt idx="14">
                  <c:v>5731.8689999999997</c:v>
                </c:pt>
                <c:pt idx="15">
                  <c:v>13067.9568</c:v>
                </c:pt>
                <c:pt idx="16">
                  <c:v>36049.686399999999</c:v>
                </c:pt>
                <c:pt idx="17">
                  <c:v>24109.244900000002</c:v>
                </c:pt>
                <c:pt idx="18">
                  <c:v>1395.9426000000001</c:v>
                </c:pt>
                <c:pt idx="19">
                  <c:v>1316.502</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Ciboulette Echalote 1X120Gr 1P</c:v>
                  </c:pt>
                  <c:pt idx="8">
                    <c:v>Boursin Salade &amp; Aperitif Fromage Frais Des Citron Romarin 1X120Gr 1P</c:v>
                  </c:pt>
                  <c:pt idx="9">
                    <c:v>Boursin Classique Fromage Frais A Tartiner Poivre Boite 1X150Gr 1P</c:v>
                  </c:pt>
                  <c:pt idx="10">
                    <c:v>Boursin Classique Fromage Frais A Tartiner Afh Boite 1X96Gr 6P</c:v>
                  </c:pt>
                  <c:pt idx="11">
                    <c:v>Boursin Aperitif Roules Fromage Frais Roule Afh Et Jambon Fume Boite 1X100Gr 20P</c:v>
                  </c:pt>
                  <c:pt idx="12">
                    <c:v>Boursin Aperitif Roules Fromage Frais Roule Basilic &amp; Jambon Fume Tomate Boite 1X100Gr 20P</c:v>
                  </c:pt>
                  <c:pt idx="13">
                    <c:v>Boursin Classique Fromage Frais A Tartiner Afh 1X256Gr 16P</c:v>
                  </c:pt>
                  <c:pt idx="14">
                    <c:v>Boursin Classique Fromage Frais A Tartiner Ciboulette &amp; Echalote 1X160Gr 10P</c:v>
                  </c:pt>
                  <c:pt idx="15">
                    <c:v>Boursin Aperitif Roules Fromage Frais Roule Ciboulette &amp; Echalote Jambon Fume Boite 1X100Gr 20P</c:v>
                  </c:pt>
                  <c:pt idx="16">
                    <c:v>Boursin Classique Fromage Frais A Tartiner Afh Boite 1X250Gr 1P</c:v>
                  </c:pt>
                  <c:pt idx="17">
                    <c:v>Boursin Onctueux Fromage Frais A Tartiner Afh 1X125Gr 1P</c:v>
                  </c:pt>
                  <c:pt idx="18">
                    <c:v>Boursin Salade &amp; Aperitif Soft Cheese Salade 120G</c:v>
                  </c:pt>
                  <c:pt idx="19">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B8A9BAE-7EAB-4EA6-9DB5-31913DD3D4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BC0E770-6FA6-4AD2-811C-3C9BE03635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FBE9097-F526-4313-BB8D-B5CFC3FFAB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E53A968-CB93-4E51-8F24-119CCEBD8F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DCB2CBB-5938-487F-B9BA-A2218DE1E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F19C311-9276-426A-A0A3-9291142CE3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AAAA2AD-27C5-40A0-A9B2-B54772CC8F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8B9294E-C1AB-4DB3-82C4-AA76F4ECE6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BBF7689-D349-410E-B869-2DB4CA0EBE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E4EEDAB-A2BD-4530-AB2E-B1249EDFB2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76200000000000001</c:v>
                </c:pt>
                <c:pt idx="1">
                  <c:v>0.82399999999999995</c:v>
                </c:pt>
                <c:pt idx="2">
                  <c:v>0.75</c:v>
                </c:pt>
                <c:pt idx="3">
                  <c:v>0.61199999999999999</c:v>
                </c:pt>
                <c:pt idx="4">
                  <c:v>0.71199999999999997</c:v>
                </c:pt>
                <c:pt idx="5">
                  <c:v>0.98899999999999999</c:v>
                </c:pt>
                <c:pt idx="6">
                  <c:v>0.39200000000000002</c:v>
                </c:pt>
                <c:pt idx="7">
                  <c:v>0.39500000000000002</c:v>
                </c:pt>
                <c:pt idx="8">
                  <c:v>0.94699999999999995</c:v>
                </c:pt>
                <c:pt idx="9">
                  <c:v>0.72</c:v>
                </c:pt>
              </c:numCache>
            </c:numRef>
          </c:xVal>
          <c:yVal>
            <c:numRef>
              <c:f>Sheet1!$B$2:$B$11</c:f>
              <c:numCache>
                <c:formatCode>General</c:formatCode>
                <c:ptCount val="10"/>
                <c:pt idx="0">
                  <c:v>18926.45669291338</c:v>
                </c:pt>
                <c:pt idx="1">
                  <c:v>10068.847087378639</c:v>
                </c:pt>
                <c:pt idx="2">
                  <c:v>2199.293333333334</c:v>
                </c:pt>
                <c:pt idx="3">
                  <c:v>2179.1176470588239</c:v>
                </c:pt>
                <c:pt idx="4">
                  <c:v>6343.0617977528091</c:v>
                </c:pt>
                <c:pt idx="5">
                  <c:v>11865.449949443881</c:v>
                </c:pt>
                <c:pt idx="6">
                  <c:v>1778.3163265306121</c:v>
                </c:pt>
                <c:pt idx="7">
                  <c:v>216.63291139240511</c:v>
                </c:pt>
                <c:pt idx="8">
                  <c:v>11603.780359028509</c:v>
                </c:pt>
                <c:pt idx="9">
                  <c:v>6342.166666666667</c:v>
                </c:pt>
              </c:numCache>
            </c:numRef>
          </c:yVal>
          <c:bubbleSize>
            <c:numRef>
              <c:f>Sheet1!$C$2:$C$11</c:f>
              <c:numCache>
                <c:formatCode>General</c:formatCode>
                <c:ptCount val="10"/>
                <c:pt idx="0">
                  <c:v>823427.75609999988</c:v>
                </c:pt>
                <c:pt idx="1">
                  <c:v>549238.52140000009</c:v>
                </c:pt>
                <c:pt idx="2">
                  <c:v>92796.757600000012</c:v>
                </c:pt>
                <c:pt idx="3">
                  <c:v>76442.335200000001</c:v>
                </c:pt>
                <c:pt idx="4">
                  <c:v>321620.14799999999</c:v>
                </c:pt>
                <c:pt idx="5">
                  <c:v>729116.22960000008</c:v>
                </c:pt>
                <c:pt idx="6">
                  <c:v>43037.490400000002</c:v>
                </c:pt>
                <c:pt idx="7">
                  <c:v>5501.8664000000008</c:v>
                </c:pt>
                <c:pt idx="8">
                  <c:v>653215.72479999985</c:v>
                </c:pt>
                <c:pt idx="9">
                  <c:v>289115.1395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B675C39-1228-4BC7-9E12-8C904FD078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6B18121-CFB4-4F97-B4F7-97C9C45BCB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782C4CD-9117-4BB0-B2C1-F73EC18A84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B6E5E17-5C09-40EB-8C84-F9AC8670B4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0E5F5A6-59D3-418F-A04B-DC183E2C5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EE7967C-BB67-4EAE-969D-6CE70BCCC5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569B33D-7002-4889-A66E-5B3BC94265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FACDADB-0AB2-4BB6-B0BD-6DEF6061434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97F737D-890B-42BC-95C4-87419B3B23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AD27771-EB05-4263-A05B-D707D6E0DE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2.7E-2</c:v>
                </c:pt>
                <c:pt idx="1">
                  <c:v>0.97799999999999998</c:v>
                </c:pt>
                <c:pt idx="2">
                  <c:v>0.71699999999999997</c:v>
                </c:pt>
                <c:pt idx="3">
                  <c:v>0.86399999999999999</c:v>
                </c:pt>
                <c:pt idx="4">
                  <c:v>0.80400000000000005</c:v>
                </c:pt>
                <c:pt idx="5">
                  <c:v>0.48199999999999998</c:v>
                </c:pt>
                <c:pt idx="6">
                  <c:v>0.67800000000000005</c:v>
                </c:pt>
                <c:pt idx="7">
                  <c:v>8.0000000000000002E-3</c:v>
                </c:pt>
                <c:pt idx="8">
                  <c:v>0.155</c:v>
                </c:pt>
                <c:pt idx="9">
                  <c:v>0.90600000000000003</c:v>
                </c:pt>
                <c:pt idx="10">
                  <c:v>0.42</c:v>
                </c:pt>
              </c:numCache>
            </c:numRef>
          </c:xVal>
          <c:yVal>
            <c:numRef>
              <c:f>Sheet1!$B$2:$B$12</c:f>
              <c:numCache>
                <c:formatCode>General</c:formatCode>
                <c:ptCount val="11"/>
                <c:pt idx="0">
                  <c:v>2647.037037037037</c:v>
                </c:pt>
                <c:pt idx="1">
                  <c:v>15409.723926380369</c:v>
                </c:pt>
                <c:pt idx="2">
                  <c:v>8533.8912133891208</c:v>
                </c:pt>
                <c:pt idx="3">
                  <c:v>21776.25</c:v>
                </c:pt>
                <c:pt idx="4">
                  <c:v>20260.53482587064</c:v>
                </c:pt>
                <c:pt idx="5">
                  <c:v>1925.3319502074689</c:v>
                </c:pt>
                <c:pt idx="6">
                  <c:v>5208.3775811209434</c:v>
                </c:pt>
                <c:pt idx="7">
                  <c:v>9185</c:v>
                </c:pt>
                <c:pt idx="8">
                  <c:v>280.32258064516128</c:v>
                </c:pt>
                <c:pt idx="9">
                  <c:v>5863.0573951434872</c:v>
                </c:pt>
                <c:pt idx="10">
                  <c:v>2733.738095238095</c:v>
                </c:pt>
              </c:numCache>
            </c:numRef>
          </c:yVal>
          <c:bubbleSize>
            <c:numRef>
              <c:f>Sheet1!$C$2:$C$12</c:f>
              <c:numCache>
                <c:formatCode>General</c:formatCode>
                <c:ptCount val="11"/>
                <c:pt idx="0">
                  <c:v>3889.534900000001</c:v>
                </c:pt>
                <c:pt idx="1">
                  <c:v>846236.03999999992</c:v>
                </c:pt>
                <c:pt idx="2">
                  <c:v>433293.50400000002</c:v>
                </c:pt>
                <c:pt idx="3">
                  <c:v>1230767.2871999999</c:v>
                </c:pt>
                <c:pt idx="4">
                  <c:v>1028571.7537999999</c:v>
                </c:pt>
                <c:pt idx="5">
                  <c:v>55785.224399999999</c:v>
                </c:pt>
                <c:pt idx="6">
                  <c:v>198907.008</c:v>
                </c:pt>
                <c:pt idx="7">
                  <c:v>2886.078</c:v>
                </c:pt>
                <c:pt idx="8">
                  <c:v>2167.2575999999999</c:v>
                </c:pt>
                <c:pt idx="9">
                  <c:v>335628.37400000001</c:v>
                </c:pt>
                <c:pt idx="10">
                  <c:v>73020.837499999994</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35Gr 1P</c:v>
                  </c:pt>
                  <c:pt idx="8">
                    <c:v>La Vache Qui Rit Bio Fromage Fondu Boite Ronde 1X128Gr 8P</c:v>
                  </c:pt>
                  <c:pt idx="9">
                    <c:v>La Vache Qui Rit Pik Et Croq' Fromage Fondu Dips Boite 1X175Gr 5P</c:v>
                  </c:pt>
                  <c:pt idx="10">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630CCBF-6231-4953-80A0-D6CAE033C7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7A40C77-1836-4544-8CDF-326EB1AE9B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AA7FCA3-7808-4D3D-AD6A-D98D67677D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E2FC4C2-DDC3-4157-BAA1-AEA3FDFBA2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B05B4FF-9FCE-4B66-B7BC-CD21B635D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5BD912E-63F1-4905-853E-D8A4D27BE3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4C0049B-A320-4E13-AA2E-8EB07D62AE3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7047CDE-A6C4-4020-A388-04F3501981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B727A5A-BE3F-490E-84AD-306CCB1174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029BC53-718C-4EF0-95D4-F2DB45D6D5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0</c:f>
              <c:numCache>
                <c:formatCode>General</c:formatCode>
                <c:ptCount val="19"/>
                <c:pt idx="0">
                  <c:v>0.90300000000000002</c:v>
                </c:pt>
                <c:pt idx="1">
                  <c:v>0.38400000000000001</c:v>
                </c:pt>
                <c:pt idx="2">
                  <c:v>0.96799999999999997</c:v>
                </c:pt>
                <c:pt idx="3">
                  <c:v>0.78600000000000003</c:v>
                </c:pt>
                <c:pt idx="4">
                  <c:v>0.67200000000000004</c:v>
                </c:pt>
                <c:pt idx="5">
                  <c:v>0.34</c:v>
                </c:pt>
                <c:pt idx="6">
                  <c:v>0.24</c:v>
                </c:pt>
                <c:pt idx="7">
                  <c:v>0.96099999999999997</c:v>
                </c:pt>
                <c:pt idx="8">
                  <c:v>0.79300000000000004</c:v>
                </c:pt>
                <c:pt idx="9">
                  <c:v>0.76600000000000001</c:v>
                </c:pt>
                <c:pt idx="10">
                  <c:v>0.69399999999999995</c:v>
                </c:pt>
                <c:pt idx="11">
                  <c:v>0.36599999999999999</c:v>
                </c:pt>
                <c:pt idx="12">
                  <c:v>0.39700000000000002</c:v>
                </c:pt>
                <c:pt idx="13">
                  <c:v>0.80500000000000005</c:v>
                </c:pt>
                <c:pt idx="14">
                  <c:v>0.23899999999999999</c:v>
                </c:pt>
                <c:pt idx="15">
                  <c:v>0.80100000000000005</c:v>
                </c:pt>
                <c:pt idx="16">
                  <c:v>0.76300000000000001</c:v>
                </c:pt>
                <c:pt idx="17">
                  <c:v>0.27400000000000002</c:v>
                </c:pt>
                <c:pt idx="18">
                  <c:v>0.69399999999999995</c:v>
                </c:pt>
              </c:numCache>
            </c:numRef>
          </c:xVal>
          <c:yVal>
            <c:numRef>
              <c:f>Sheet1!$B$2:$B$20</c:f>
              <c:numCache>
                <c:formatCode>General</c:formatCode>
                <c:ptCount val="19"/>
                <c:pt idx="0">
                  <c:v>8742.8128460686603</c:v>
                </c:pt>
                <c:pt idx="1">
                  <c:v>740.18229166666674</c:v>
                </c:pt>
                <c:pt idx="2">
                  <c:v>8760.7128099173551</c:v>
                </c:pt>
                <c:pt idx="3">
                  <c:v>2106.0050890585239</c:v>
                </c:pt>
                <c:pt idx="4">
                  <c:v>1995.714285714286</c:v>
                </c:pt>
                <c:pt idx="5">
                  <c:v>473.70588235294122</c:v>
                </c:pt>
                <c:pt idx="6">
                  <c:v>427.54166666666669</c:v>
                </c:pt>
                <c:pt idx="7">
                  <c:v>7666.3059313215408</c:v>
                </c:pt>
                <c:pt idx="8">
                  <c:v>2285.1702395964689</c:v>
                </c:pt>
                <c:pt idx="9">
                  <c:v>2175.770234986946</c:v>
                </c:pt>
                <c:pt idx="10">
                  <c:v>1434.985590778098</c:v>
                </c:pt>
                <c:pt idx="11">
                  <c:v>740.38251366120221</c:v>
                </c:pt>
                <c:pt idx="12">
                  <c:v>1422.8211586901759</c:v>
                </c:pt>
                <c:pt idx="13">
                  <c:v>3083.217391304348</c:v>
                </c:pt>
                <c:pt idx="14">
                  <c:v>1402.259414225942</c:v>
                </c:pt>
                <c:pt idx="15">
                  <c:v>6086.816479400748</c:v>
                </c:pt>
                <c:pt idx="16">
                  <c:v>2320.5897771952818</c:v>
                </c:pt>
                <c:pt idx="17">
                  <c:v>512.44525547445255</c:v>
                </c:pt>
                <c:pt idx="18">
                  <c:v>1512.0605187319891</c:v>
                </c:pt>
              </c:numCache>
            </c:numRef>
          </c:yVal>
          <c:bubbleSize>
            <c:numRef>
              <c:f>Sheet1!$C$2:$C$20</c:f>
              <c:numCache>
                <c:formatCode>General</c:formatCode>
                <c:ptCount val="19"/>
                <c:pt idx="0">
                  <c:v>488089.85969999997</c:v>
                </c:pt>
                <c:pt idx="1">
                  <c:v>19264.3325</c:v>
                </c:pt>
                <c:pt idx="2">
                  <c:v>513331.86839999992</c:v>
                </c:pt>
                <c:pt idx="3">
                  <c:v>99038.94</c:v>
                </c:pt>
                <c:pt idx="4">
                  <c:v>81048.707600000009</c:v>
                </c:pt>
                <c:pt idx="5">
                  <c:v>8354.5730999999996</c:v>
                </c:pt>
                <c:pt idx="6">
                  <c:v>5066.8152</c:v>
                </c:pt>
                <c:pt idx="7">
                  <c:v>442372.5882</c:v>
                </c:pt>
                <c:pt idx="8">
                  <c:v>92475.308799999999</c:v>
                </c:pt>
                <c:pt idx="9">
                  <c:v>91560.826499999996</c:v>
                </c:pt>
                <c:pt idx="10">
                  <c:v>56139.6077</c:v>
                </c:pt>
                <c:pt idx="11">
                  <c:v>17329.854599999999</c:v>
                </c:pt>
                <c:pt idx="12">
                  <c:v>34700.419800000003</c:v>
                </c:pt>
                <c:pt idx="13">
                  <c:v>147853.2156</c:v>
                </c:pt>
                <c:pt idx="14">
                  <c:v>22991.651699999999</c:v>
                </c:pt>
                <c:pt idx="15">
                  <c:v>310224.93550000002</c:v>
                </c:pt>
                <c:pt idx="16">
                  <c:v>103208.8308</c:v>
                </c:pt>
                <c:pt idx="17">
                  <c:v>7375.5604999999996</c:v>
                </c:pt>
                <c:pt idx="18">
                  <c:v>62509.884800000007</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Salade &amp; Aperitif Fromage Frais Des Afh 1X120Gr 1P</c:v>
                  </c:pt>
                  <c:pt idx="8">
                    <c:v>Boursin Salade &amp; Aperitif Fromage Frais Des Figue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Classique Fromage Frais A Tartiner Afh 1X256Gr 16P</c:v>
                  </c:pt>
                  <c:pt idx="15">
                    <c:v>Boursin Classique Fromage Frais A Tartiner Afh Boite 1X250Gr 1P</c:v>
                  </c:pt>
                  <c:pt idx="16">
                    <c:v>Boursin Onctueux Fromage Frais A Tartiner Afh 1X125Gr 1P</c:v>
                  </c:pt>
                  <c:pt idx="17">
                    <c:v>Boursin Onctueux Fromage Frais A Tartiner Afh 1X210Gr 1P</c:v>
                  </c:pt>
                  <c:pt idx="18">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D7EE6FB-5E09-4673-80BA-886DA4E494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2A119BA-20E3-4F6A-8701-D075D3FCC1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C0B0FF3-9B17-4F25-BF4E-2A1BAD1176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D872A20-F824-42EC-B53A-B4867DB7D2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345349E-B337-4B50-B2D5-CFAEEAE2E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C0C00B6-B9D3-44F3-85A9-56E834196E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F274DED-067C-4FE1-91AA-09582585AB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6EB3315-4CFF-45C9-9B99-27900B9E14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881D913-D832-4698-870F-D4F5D6F9F3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3D51563-7D0E-46EA-9872-88BB23BAA9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85299999999999998</c:v>
                </c:pt>
                <c:pt idx="1">
                  <c:v>0.97299999999999998</c:v>
                </c:pt>
                <c:pt idx="2">
                  <c:v>0.83499999999999996</c:v>
                </c:pt>
                <c:pt idx="3">
                  <c:v>0.81599999999999995</c:v>
                </c:pt>
                <c:pt idx="4">
                  <c:v>0.98199999999999998</c:v>
                </c:pt>
                <c:pt idx="5">
                  <c:v>0.6</c:v>
                </c:pt>
                <c:pt idx="6">
                  <c:v>0.97799999999999998</c:v>
                </c:pt>
                <c:pt idx="7">
                  <c:v>0.92900000000000005</c:v>
                </c:pt>
                <c:pt idx="8">
                  <c:v>0.54300000000000004</c:v>
                </c:pt>
              </c:numCache>
            </c:numRef>
          </c:xVal>
          <c:yVal>
            <c:numRef>
              <c:f>Sheet1!$B$2:$B$10</c:f>
              <c:numCache>
                <c:formatCode>General</c:formatCode>
                <c:ptCount val="9"/>
                <c:pt idx="0">
                  <c:v>10742.450175849939</c:v>
                </c:pt>
                <c:pt idx="1">
                  <c:v>11646.567317574511</c:v>
                </c:pt>
                <c:pt idx="2">
                  <c:v>2076.2514970059879</c:v>
                </c:pt>
                <c:pt idx="3">
                  <c:v>2973.1127450980389</c:v>
                </c:pt>
                <c:pt idx="4">
                  <c:v>6683.4521384928712</c:v>
                </c:pt>
                <c:pt idx="5">
                  <c:v>2049.083333333333</c:v>
                </c:pt>
                <c:pt idx="6">
                  <c:v>6589.0899795501027</c:v>
                </c:pt>
                <c:pt idx="7">
                  <c:v>8525.8127018299238</c:v>
                </c:pt>
                <c:pt idx="8">
                  <c:v>1197.900552486188</c:v>
                </c:pt>
              </c:numCache>
            </c:numRef>
          </c:yVal>
          <c:bubbleSize>
            <c:numRef>
              <c:f>Sheet1!$C$2:$C$10</c:f>
              <c:numCache>
                <c:formatCode>General</c:formatCode>
                <c:ptCount val="9"/>
                <c:pt idx="0">
                  <c:v>565301.65779999993</c:v>
                </c:pt>
                <c:pt idx="1">
                  <c:v>745588.13170000003</c:v>
                </c:pt>
                <c:pt idx="2">
                  <c:v>87767.423200000005</c:v>
                </c:pt>
                <c:pt idx="3">
                  <c:v>165609.193</c:v>
                </c:pt>
                <c:pt idx="4">
                  <c:v>421827.73999999987</c:v>
                </c:pt>
                <c:pt idx="5">
                  <c:v>60948.513500000008</c:v>
                </c:pt>
                <c:pt idx="6">
                  <c:v>391727.74859999999</c:v>
                </c:pt>
                <c:pt idx="7">
                  <c:v>480680.67700000003</c:v>
                </c:pt>
                <c:pt idx="8">
                  <c:v>31288.9553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5A74F08-B395-4810-BF12-D9D97482702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8FE04C4-C03B-4FFC-8F1D-BA81995139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8E05F7B-D2C3-45A1-85DC-2062981A5A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0F97E07-F792-421D-8A26-2B3991E782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105874B-1EED-430D-BC34-4CDE5ADB1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FC5B742-73D2-4F78-BD47-E6448583E7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2297244-3D98-4136-B483-812900DB0B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3A868E6-2DE3-4FE3-8719-195D903AFF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86A2877-BA84-430A-B317-40A4638DF7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6C2A3A4-B066-47D9-B8A0-05533DF514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625</c:v>
                </c:pt>
                <c:pt idx="1">
                  <c:v>0.996</c:v>
                </c:pt>
                <c:pt idx="2">
                  <c:v>0.93799999999999994</c:v>
                </c:pt>
                <c:pt idx="3">
                  <c:v>0.94199999999999995</c:v>
                </c:pt>
                <c:pt idx="4">
                  <c:v>0.80600000000000005</c:v>
                </c:pt>
                <c:pt idx="5">
                  <c:v>0.93400000000000005</c:v>
                </c:pt>
                <c:pt idx="6">
                  <c:v>0.81100000000000005</c:v>
                </c:pt>
              </c:numCache>
            </c:numRef>
          </c:xVal>
          <c:yVal>
            <c:numRef>
              <c:f>Sheet1!$B$2:$B$8</c:f>
              <c:numCache>
                <c:formatCode>General</c:formatCode>
                <c:ptCount val="7"/>
                <c:pt idx="0">
                  <c:v>1869.2</c:v>
                </c:pt>
                <c:pt idx="1">
                  <c:v>14897.11847389558</c:v>
                </c:pt>
                <c:pt idx="2">
                  <c:v>15633.44349680171</c:v>
                </c:pt>
                <c:pt idx="3">
                  <c:v>17717.165605095539</c:v>
                </c:pt>
                <c:pt idx="4">
                  <c:v>2684.6153846153838</c:v>
                </c:pt>
                <c:pt idx="5">
                  <c:v>3923.6081370449679</c:v>
                </c:pt>
                <c:pt idx="6">
                  <c:v>4178.3477188655979</c:v>
                </c:pt>
              </c:numCache>
            </c:numRef>
          </c:yVal>
          <c:bubbleSize>
            <c:numRef>
              <c:f>Sheet1!$C$2:$C$8</c:f>
              <c:numCache>
                <c:formatCode>General</c:formatCode>
                <c:ptCount val="7"/>
                <c:pt idx="0">
                  <c:v>46729.859799999998</c:v>
                </c:pt>
                <c:pt idx="1">
                  <c:v>846615.50340000005</c:v>
                </c:pt>
                <c:pt idx="2">
                  <c:v>887062.91590000014</c:v>
                </c:pt>
                <c:pt idx="3">
                  <c:v>1027438.6584</c:v>
                </c:pt>
                <c:pt idx="4">
                  <c:v>111248.41740000001</c:v>
                </c:pt>
                <c:pt idx="5">
                  <c:v>191192.29300000001</c:v>
                </c:pt>
                <c:pt idx="6">
                  <c:v>164092.8708</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DA0AD06-9084-45B0-A2E4-4EB9A166B3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E4FE2A6-2DAE-4748-ABA4-5A2D940B75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13C3555-9943-44BC-BCEE-12B42CA65D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26814BF-340C-4AA0-B040-9E0862A95E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874C194-5270-476A-8310-3BD9FFB91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2C74346-CF32-41E7-89CD-65CBA65D1C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4CED6FC-F7F6-4CA0-A4C2-BD387FEE81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942B8AA-54B6-4ED1-B19F-7AC1FBC033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8EE9D95-C390-464E-AA35-1598315516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6F076F4-8DE9-4066-81D8-F1062AE651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97899999999999998</c:v>
                </c:pt>
                <c:pt idx="1">
                  <c:v>0.99399999999999999</c:v>
                </c:pt>
                <c:pt idx="2">
                  <c:v>0.94499999999999995</c:v>
                </c:pt>
                <c:pt idx="3">
                  <c:v>0.93899999999999995</c:v>
                </c:pt>
                <c:pt idx="4">
                  <c:v>0.96499999999999997</c:v>
                </c:pt>
                <c:pt idx="5">
                  <c:v>0.51300000000000001</c:v>
                </c:pt>
                <c:pt idx="6">
                  <c:v>0.82099999999999995</c:v>
                </c:pt>
                <c:pt idx="7">
                  <c:v>0.65</c:v>
                </c:pt>
                <c:pt idx="8">
                  <c:v>0.84199999999999997</c:v>
                </c:pt>
                <c:pt idx="9">
                  <c:v>0.88200000000000001</c:v>
                </c:pt>
                <c:pt idx="10">
                  <c:v>0.79500000000000004</c:v>
                </c:pt>
                <c:pt idx="11">
                  <c:v>0.80200000000000005</c:v>
                </c:pt>
                <c:pt idx="12">
                  <c:v>0.96099999999999997</c:v>
                </c:pt>
                <c:pt idx="13">
                  <c:v>0.95399999999999996</c:v>
                </c:pt>
                <c:pt idx="14">
                  <c:v>0.41199999999999998</c:v>
                </c:pt>
              </c:numCache>
            </c:numRef>
          </c:xVal>
          <c:yVal>
            <c:numRef>
              <c:f>Sheet1!$B$2:$B$16</c:f>
              <c:numCache>
                <c:formatCode>General</c:formatCode>
                <c:ptCount val="15"/>
                <c:pt idx="0">
                  <c:v>7033.319713993872</c:v>
                </c:pt>
                <c:pt idx="1">
                  <c:v>5921.2776659959754</c:v>
                </c:pt>
                <c:pt idx="2">
                  <c:v>2224.359788359789</c:v>
                </c:pt>
                <c:pt idx="3">
                  <c:v>2554.8668796592119</c:v>
                </c:pt>
                <c:pt idx="4">
                  <c:v>4517.4404145077724</c:v>
                </c:pt>
                <c:pt idx="5">
                  <c:v>1450.292397660819</c:v>
                </c:pt>
                <c:pt idx="6">
                  <c:v>1900.255785627284</c:v>
                </c:pt>
                <c:pt idx="7">
                  <c:v>919.7538461538461</c:v>
                </c:pt>
                <c:pt idx="8">
                  <c:v>1929.78622327791</c:v>
                </c:pt>
                <c:pt idx="9">
                  <c:v>2748.5147392290251</c:v>
                </c:pt>
                <c:pt idx="10">
                  <c:v>2040.9308176100631</c:v>
                </c:pt>
                <c:pt idx="11">
                  <c:v>1647.394014962593</c:v>
                </c:pt>
                <c:pt idx="12">
                  <c:v>7439.1675338189389</c:v>
                </c:pt>
                <c:pt idx="13">
                  <c:v>3427.201257861635</c:v>
                </c:pt>
                <c:pt idx="14">
                  <c:v>1116.6990291262141</c:v>
                </c:pt>
              </c:numCache>
            </c:numRef>
          </c:yVal>
          <c:bubbleSize>
            <c:numRef>
              <c:f>Sheet1!$C$2:$C$16</c:f>
              <c:numCache>
                <c:formatCode>General</c:formatCode>
                <c:ptCount val="15"/>
                <c:pt idx="0">
                  <c:v>420188.06489999988</c:v>
                </c:pt>
                <c:pt idx="1">
                  <c:v>367128.10499999998</c:v>
                </c:pt>
                <c:pt idx="2">
                  <c:v>109593.68</c:v>
                </c:pt>
                <c:pt idx="3">
                  <c:v>127395.8285</c:v>
                </c:pt>
                <c:pt idx="4">
                  <c:v>225695.9712</c:v>
                </c:pt>
                <c:pt idx="5">
                  <c:v>44456.160000000003</c:v>
                </c:pt>
                <c:pt idx="6">
                  <c:v>85260.665099999984</c:v>
                </c:pt>
                <c:pt idx="7">
                  <c:v>26352.17909999999</c:v>
                </c:pt>
                <c:pt idx="8">
                  <c:v>88297.983399999997</c:v>
                </c:pt>
                <c:pt idx="9">
                  <c:v>133230.94289999999</c:v>
                </c:pt>
                <c:pt idx="10">
                  <c:v>94014.723599999983</c:v>
                </c:pt>
                <c:pt idx="11">
                  <c:v>68079.811799999996</c:v>
                </c:pt>
                <c:pt idx="12">
                  <c:v>420137.65220000001</c:v>
                </c:pt>
                <c:pt idx="13">
                  <c:v>153786.6434</c:v>
                </c:pt>
                <c:pt idx="14">
                  <c:v>22765.070899999999</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Salade &amp; Aperitif Fromage Frais Des Afh 1X120Gr 1P</c:v>
                  </c:pt>
                  <c:pt idx="5">
                    <c:v>Boursin Salade &amp; Aperitif Fromage Frais Des Figue Noix 1X120Gr 1P</c:v>
                  </c:pt>
                  <c:pt idx="6">
                    <c:v>Boursin Salade &amp; Aperitif Fromage Frais Des Ciboulette Echalote 1X120Gr 1P</c:v>
                  </c:pt>
                  <c:pt idx="7">
                    <c:v>Boursin Salade &amp; Aperitif Fromage Frais Des Citron Romarin 1X12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Ciboulette &amp; Echalote 1X160Gr 10P</c:v>
                  </c:pt>
                  <c:pt idx="12">
                    <c:v>Boursin Classique Fromage Frais A Tartiner Afh Boite 1X250Gr 1P</c:v>
                  </c:pt>
                  <c:pt idx="13">
                    <c:v>Boursin Onctueux Fromage Frais A Tartiner Afh 1X125Gr 1P</c:v>
                  </c:pt>
                  <c:pt idx="14">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31D377C-7715-4D43-AB91-A300306932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12E720E-D62E-4DFF-ADFE-1F1BD96207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08FFCBF-75EC-4FC8-8524-3B33DACAAF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8C1E10B-8DC6-437E-A824-D22900F49F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AA93837-DC3D-4E60-9819-E2D62F2F8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C4239E2-B528-45D9-937B-26773BE9E1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EC0AA2F-CBF2-4A8B-AEC7-3FD7D030E1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79254E1-01A2-4021-A1A2-E9BDDADB92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B3AD832-71B7-4BD3-B9B7-6A98CCF65E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0131A52-DE73-419A-84B7-5133153257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8</c:v>
                </c:pt>
                <c:pt idx="1">
                  <c:v>1</c:v>
                </c:pt>
                <c:pt idx="2">
                  <c:v>0.98</c:v>
                </c:pt>
                <c:pt idx="3">
                  <c:v>0.96</c:v>
                </c:pt>
                <c:pt idx="4">
                  <c:v>0.98</c:v>
                </c:pt>
                <c:pt idx="5">
                  <c:v>1</c:v>
                </c:pt>
                <c:pt idx="6">
                  <c:v>0.54</c:v>
                </c:pt>
                <c:pt idx="7">
                  <c:v>0.56000000000000005</c:v>
                </c:pt>
                <c:pt idx="8">
                  <c:v>1</c:v>
                </c:pt>
                <c:pt idx="9">
                  <c:v>0.98</c:v>
                </c:pt>
              </c:numCache>
            </c:numRef>
          </c:xVal>
          <c:yVal>
            <c:numRef>
              <c:f>Sheet1!$B$2:$B$11</c:f>
              <c:numCache>
                <c:formatCode>General</c:formatCode>
                <c:ptCount val="10"/>
                <c:pt idx="0">
                  <c:v>10212.9387755102</c:v>
                </c:pt>
                <c:pt idx="1">
                  <c:v>4088.83</c:v>
                </c:pt>
                <c:pt idx="2">
                  <c:v>546.86734693877554</c:v>
                </c:pt>
                <c:pt idx="3">
                  <c:v>990.13541666666663</c:v>
                </c:pt>
                <c:pt idx="4">
                  <c:v>3115.632653061225</c:v>
                </c:pt>
                <c:pt idx="5">
                  <c:v>2686.48</c:v>
                </c:pt>
                <c:pt idx="6">
                  <c:v>539.16666666666663</c:v>
                </c:pt>
                <c:pt idx="7">
                  <c:v>60.053571428571423</c:v>
                </c:pt>
                <c:pt idx="8">
                  <c:v>5346.67</c:v>
                </c:pt>
                <c:pt idx="9">
                  <c:v>2553.7346938775509</c:v>
                </c:pt>
              </c:numCache>
            </c:numRef>
          </c:yVal>
          <c:bubbleSize>
            <c:numRef>
              <c:f>Sheet1!$C$2:$C$11</c:f>
              <c:numCache>
                <c:formatCode>General</c:formatCode>
                <c:ptCount val="10"/>
                <c:pt idx="0">
                  <c:v>578870.25989999995</c:v>
                </c:pt>
                <c:pt idx="1">
                  <c:v>272050.62839999999</c:v>
                </c:pt>
                <c:pt idx="2">
                  <c:v>33818.056600000004</c:v>
                </c:pt>
                <c:pt idx="3">
                  <c:v>54786.758399999999</c:v>
                </c:pt>
                <c:pt idx="4">
                  <c:v>219771.3</c:v>
                </c:pt>
                <c:pt idx="5">
                  <c:v>183002.0808</c:v>
                </c:pt>
                <c:pt idx="6">
                  <c:v>18100.8024</c:v>
                </c:pt>
                <c:pt idx="7">
                  <c:v>2086.1754000000001</c:v>
                </c:pt>
                <c:pt idx="8">
                  <c:v>364262.10820000002</c:v>
                </c:pt>
                <c:pt idx="9">
                  <c:v>160006.31280000001</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7387F11-BEDE-44A0-9919-F21D7AB284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438FF34-4B5D-4622-96BE-0AF39569D2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FB4ED4A-1941-4F1B-BE6A-20CC70AAFB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729C3AB-9CA5-4BA4-9692-D030BB1F55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829A5F0-9199-46DA-836F-9DDC20267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84F3280-22E7-4AD1-8EB2-00E148EF9F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8DBC224-10F0-4382-8909-049813E5CC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42619B1-3FA0-404B-AF70-9D2C45A67A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1AD604F-6405-4DFC-9D6B-846DF4502F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AD08D60-1C91-4586-BCC1-B18EB7A624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06</c:v>
                </c:pt>
                <c:pt idx="1">
                  <c:v>1</c:v>
                </c:pt>
                <c:pt idx="2">
                  <c:v>0.93</c:v>
                </c:pt>
                <c:pt idx="3">
                  <c:v>0.98</c:v>
                </c:pt>
                <c:pt idx="4">
                  <c:v>0.98</c:v>
                </c:pt>
                <c:pt idx="5">
                  <c:v>0.84</c:v>
                </c:pt>
                <c:pt idx="6">
                  <c:v>0.93</c:v>
                </c:pt>
                <c:pt idx="7">
                  <c:v>1</c:v>
                </c:pt>
                <c:pt idx="8">
                  <c:v>0.93</c:v>
                </c:pt>
              </c:numCache>
            </c:numRef>
          </c:xVal>
          <c:yVal>
            <c:numRef>
              <c:f>Sheet1!$B$2:$B$10</c:f>
              <c:numCache>
                <c:formatCode>General</c:formatCode>
                <c:ptCount val="9"/>
                <c:pt idx="0">
                  <c:v>1191.166666666667</c:v>
                </c:pt>
                <c:pt idx="1">
                  <c:v>3914.84</c:v>
                </c:pt>
                <c:pt idx="2">
                  <c:v>3306.7741935483868</c:v>
                </c:pt>
                <c:pt idx="3">
                  <c:v>11075.163265306121</c:v>
                </c:pt>
                <c:pt idx="4">
                  <c:v>11052.41836734694</c:v>
                </c:pt>
                <c:pt idx="5">
                  <c:v>806.53571428571433</c:v>
                </c:pt>
                <c:pt idx="6">
                  <c:v>1987.6236559139779</c:v>
                </c:pt>
                <c:pt idx="7">
                  <c:v>2411.19</c:v>
                </c:pt>
                <c:pt idx="8">
                  <c:v>1229.2688172043011</c:v>
                </c:pt>
              </c:numCache>
            </c:numRef>
          </c:yVal>
          <c:bubbleSize>
            <c:numRef>
              <c:f>Sheet1!$C$2:$C$10</c:f>
              <c:numCache>
                <c:formatCode>General</c:formatCode>
                <c:ptCount val="9"/>
                <c:pt idx="0">
                  <c:v>3889.534900000001</c:v>
                </c:pt>
                <c:pt idx="1">
                  <c:v>237742.44</c:v>
                </c:pt>
                <c:pt idx="2">
                  <c:v>216946.611</c:v>
                </c:pt>
                <c:pt idx="3">
                  <c:v>751445.16359999997</c:v>
                </c:pt>
                <c:pt idx="4">
                  <c:v>694359.92899999989</c:v>
                </c:pt>
                <c:pt idx="5">
                  <c:v>40778.109600000003</c:v>
                </c:pt>
                <c:pt idx="6">
                  <c:v>104988.6</c:v>
                </c:pt>
                <c:pt idx="7">
                  <c:v>177587</c:v>
                </c:pt>
                <c:pt idx="8">
                  <c:v>72704.710000000006</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175Gr 5P</c:v>
                  </c:pt>
                  <c:pt idx="8">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42C05DB-ECCC-47FE-83FC-E41DA948D5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04DDF34-A8E9-4209-99B8-A887B9B0D8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A99D65B-6CB0-4639-A3A6-EB44079A49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5C80F44-B510-45F9-A5E4-FB75BEA51A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B1F3DA3-C57F-44B2-888C-C398A14BF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FE2D524-DA7B-4D92-8627-55984CA4CF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796D2F8-BDBB-44CE-94BB-C63DC84BB3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E39554B-1543-4615-B22B-F6C488E9D5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F1431B7-CBC8-43CC-8E12-166EECEE13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F35555F-E1BF-46BB-BD10-8D656CCC14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0</c:f>
              <c:numCache>
                <c:formatCode>General</c:formatCode>
                <c:ptCount val="19"/>
                <c:pt idx="0">
                  <c:v>1</c:v>
                </c:pt>
                <c:pt idx="1">
                  <c:v>0.85</c:v>
                </c:pt>
                <c:pt idx="2">
                  <c:v>1</c:v>
                </c:pt>
                <c:pt idx="3">
                  <c:v>0.97</c:v>
                </c:pt>
                <c:pt idx="4">
                  <c:v>0.94</c:v>
                </c:pt>
                <c:pt idx="5">
                  <c:v>0.67</c:v>
                </c:pt>
                <c:pt idx="6">
                  <c:v>0.49</c:v>
                </c:pt>
                <c:pt idx="7">
                  <c:v>1</c:v>
                </c:pt>
                <c:pt idx="8">
                  <c:v>0.99</c:v>
                </c:pt>
                <c:pt idx="9">
                  <c:v>0.99</c:v>
                </c:pt>
                <c:pt idx="10">
                  <c:v>0.93</c:v>
                </c:pt>
                <c:pt idx="11">
                  <c:v>0.77</c:v>
                </c:pt>
                <c:pt idx="12">
                  <c:v>0.88</c:v>
                </c:pt>
                <c:pt idx="13">
                  <c:v>1</c:v>
                </c:pt>
                <c:pt idx="14">
                  <c:v>0.53</c:v>
                </c:pt>
                <c:pt idx="15">
                  <c:v>1</c:v>
                </c:pt>
                <c:pt idx="16">
                  <c:v>0.99</c:v>
                </c:pt>
                <c:pt idx="17">
                  <c:v>0.59</c:v>
                </c:pt>
                <c:pt idx="18">
                  <c:v>0.94</c:v>
                </c:pt>
              </c:numCache>
            </c:numRef>
          </c:xVal>
          <c:yVal>
            <c:numRef>
              <c:f>Sheet1!$B$2:$B$20</c:f>
              <c:numCache>
                <c:formatCode>General</c:formatCode>
                <c:ptCount val="19"/>
                <c:pt idx="0">
                  <c:v>3178.1</c:v>
                </c:pt>
                <c:pt idx="1">
                  <c:v>333.52941176470591</c:v>
                </c:pt>
                <c:pt idx="2">
                  <c:v>2173.81</c:v>
                </c:pt>
                <c:pt idx="3">
                  <c:v>746.80412371134025</c:v>
                </c:pt>
                <c:pt idx="4">
                  <c:v>805.01063829787233</c:v>
                </c:pt>
                <c:pt idx="5">
                  <c:v>181.56716417910451</c:v>
                </c:pt>
                <c:pt idx="6">
                  <c:v>156.61224489795919</c:v>
                </c:pt>
                <c:pt idx="7">
                  <c:v>2202.34</c:v>
                </c:pt>
                <c:pt idx="8">
                  <c:v>790.64646464646466</c:v>
                </c:pt>
                <c:pt idx="9">
                  <c:v>1044.9292929292931</c:v>
                </c:pt>
                <c:pt idx="10">
                  <c:v>477.22580645161293</c:v>
                </c:pt>
                <c:pt idx="11">
                  <c:v>280.87012987012992</c:v>
                </c:pt>
                <c:pt idx="12">
                  <c:v>641.88636363636363</c:v>
                </c:pt>
                <c:pt idx="13">
                  <c:v>1073.17</c:v>
                </c:pt>
                <c:pt idx="14">
                  <c:v>632.33962264150944</c:v>
                </c:pt>
                <c:pt idx="15">
                  <c:v>2485.17</c:v>
                </c:pt>
                <c:pt idx="16">
                  <c:v>745.38383838383834</c:v>
                </c:pt>
                <c:pt idx="17">
                  <c:v>219.9491525423729</c:v>
                </c:pt>
                <c:pt idx="18">
                  <c:v>518.86170212765956</c:v>
                </c:pt>
              </c:numCache>
            </c:numRef>
          </c:yVal>
          <c:bubbleSize>
            <c:numRef>
              <c:f>Sheet1!$C$2:$C$20</c:f>
              <c:numCache>
                <c:formatCode>General</c:formatCode>
                <c:ptCount val="19"/>
                <c:pt idx="0">
                  <c:v>203609.8308</c:v>
                </c:pt>
                <c:pt idx="1">
                  <c:v>19208.837500000001</c:v>
                </c:pt>
                <c:pt idx="2">
                  <c:v>143874.3254</c:v>
                </c:pt>
                <c:pt idx="3">
                  <c:v>44811.284000000007</c:v>
                </c:pt>
                <c:pt idx="4">
                  <c:v>45977.733800000002</c:v>
                </c:pt>
                <c:pt idx="5">
                  <c:v>6584.1922000000004</c:v>
                </c:pt>
                <c:pt idx="6">
                  <c:v>3893.0088000000001</c:v>
                </c:pt>
                <c:pt idx="7">
                  <c:v>143034.28020000001</c:v>
                </c:pt>
                <c:pt idx="8">
                  <c:v>38107.283199999998</c:v>
                </c:pt>
                <c:pt idx="9">
                  <c:v>53421.076500000003</c:v>
                </c:pt>
                <c:pt idx="10">
                  <c:v>25623.770700000001</c:v>
                </c:pt>
                <c:pt idx="11">
                  <c:v>14453.8038</c:v>
                </c:pt>
                <c:pt idx="12">
                  <c:v>34700.419800000003</c:v>
                </c:pt>
                <c:pt idx="13">
                  <c:v>65034.166400000002</c:v>
                </c:pt>
                <c:pt idx="14">
                  <c:v>22991.651699999999</c:v>
                </c:pt>
                <c:pt idx="15">
                  <c:v>159788.61799999999</c:v>
                </c:pt>
                <c:pt idx="16">
                  <c:v>43296.037199999999</c:v>
                </c:pt>
                <c:pt idx="17">
                  <c:v>6793.1632999999993</c:v>
                </c:pt>
                <c:pt idx="18">
                  <c:v>29652.6384</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Salade &amp; Aperitif Fromage Frais Des Afh 1X120Gr 1P</c:v>
                  </c:pt>
                  <c:pt idx="8">
                    <c:v>Boursin Salade &amp; Aperitif Fromage Frais Des Figue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Classique Fromage Frais A Tartiner Afh 1X256Gr 16P</c:v>
                  </c:pt>
                  <c:pt idx="15">
                    <c:v>Boursin Classique Fromage Frais A Tartiner Afh Boite 1X250Gr 1P</c:v>
                  </c:pt>
                  <c:pt idx="16">
                    <c:v>Boursin Onctueux Fromage Frais A Tartiner Afh 1X125Gr 1P</c:v>
                  </c:pt>
                  <c:pt idx="17">
                    <c:v>Boursin Onctueux Fromage Frais A Tartiner Afh 1X210Gr 1P</c:v>
                  </c:pt>
                  <c:pt idx="18">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Rondele</c:v>
                </c:pt>
                <c:pt idx="8">
                  <c:v>Kiri</c:v>
                </c:pt>
                <c:pt idx="9">
                  <c:v>Others</c:v>
                </c:pt>
              </c:strCache>
            </c:strRef>
          </c:cat>
          <c:val>
            <c:numRef>
              <c:f>Sheet1!$B$2:$B$11</c:f>
              <c:numCache>
                <c:formatCode>General</c:formatCode>
                <c:ptCount val="10"/>
                <c:pt idx="0">
                  <c:v>0.29518402139241012</c:v>
                </c:pt>
                <c:pt idx="1">
                  <c:v>0.15839186977892258</c:v>
                </c:pt>
                <c:pt idx="2">
                  <c:v>0.11364740899475935</c:v>
                </c:pt>
                <c:pt idx="3">
                  <c:v>0.10301337332641539</c:v>
                </c:pt>
                <c:pt idx="4">
                  <c:v>9.8682162450916877E-2</c:v>
                </c:pt>
                <c:pt idx="5">
                  <c:v>8.580795645379663E-2</c:v>
                </c:pt>
                <c:pt idx="6">
                  <c:v>6.6014527681496238E-2</c:v>
                </c:pt>
                <c:pt idx="7">
                  <c:v>1.4225277306177335E-2</c:v>
                </c:pt>
                <c:pt idx="8">
                  <c:v>1.1667045311507017E-2</c:v>
                </c:pt>
                <c:pt idx="9">
                  <c:v>5.336635730359845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Rondele</c:v>
                </c:pt>
                <c:pt idx="8">
                  <c:v>Kiri</c:v>
                </c:pt>
                <c:pt idx="9">
                  <c:v>Others</c:v>
                </c:pt>
              </c:strCache>
            </c:strRef>
          </c:cat>
          <c:val>
            <c:numRef>
              <c:f>Sheet1!$C$2:$C$11</c:f>
              <c:numCache>
                <c:formatCode>General</c:formatCode>
                <c:ptCount val="10"/>
                <c:pt idx="0">
                  <c:v>0.20754994124559345</c:v>
                </c:pt>
                <c:pt idx="1">
                  <c:v>0.14056991774383079</c:v>
                </c:pt>
                <c:pt idx="2">
                  <c:v>0</c:v>
                </c:pt>
                <c:pt idx="3">
                  <c:v>0.14879553466509987</c:v>
                </c:pt>
                <c:pt idx="4">
                  <c:v>0.17156286721504113</c:v>
                </c:pt>
                <c:pt idx="5">
                  <c:v>4.4065804935370156E-2</c:v>
                </c:pt>
                <c:pt idx="6">
                  <c:v>6.1985898942420681E-2</c:v>
                </c:pt>
                <c:pt idx="7">
                  <c:v>2.834900117508813E-2</c:v>
                </c:pt>
                <c:pt idx="8">
                  <c:v>3.6721504112808459E-2</c:v>
                </c:pt>
                <c:pt idx="9">
                  <c:v>0.1603995299647473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Rondele</c:v>
                </c:pt>
                <c:pt idx="8">
                  <c:v>Kiri</c:v>
                </c:pt>
                <c:pt idx="9">
                  <c:v>Others</c:v>
                </c:pt>
              </c:strCache>
            </c:strRef>
          </c:cat>
          <c:val>
            <c:numRef>
              <c:f>Sheet1!$D$2:$D$11</c:f>
              <c:numCache>
                <c:formatCode>General</c:formatCode>
                <c:ptCount val="10"/>
                <c:pt idx="0">
                  <c:v>70.312051535364731</c:v>
                </c:pt>
                <c:pt idx="1">
                  <c:v>88.748190131244115</c:v>
                </c:pt>
                <c:pt idx="2">
                  <c:v>1</c:v>
                </c:pt>
                <c:pt idx="3">
                  <c:v>144.44292994232498</c:v>
                </c:pt>
                <c:pt idx="4">
                  <c:v>173.85398024731583</c:v>
                </c:pt>
                <c:pt idx="5">
                  <c:v>51.353984824353006</c:v>
                </c:pt>
                <c:pt idx="6">
                  <c:v>93.897360352992763</c:v>
                </c:pt>
                <c:pt idx="7">
                  <c:v>199.28610574626592</c:v>
                </c:pt>
                <c:pt idx="8">
                  <c:v>314.74553438641948</c:v>
                </c:pt>
                <c:pt idx="9">
                  <c:v>300.5630102355360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4F75FD4-21A2-413B-B816-33CD9EE514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BBDABF-6657-4D30-9B8E-8B74FE5F4C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FC78B2D-FA80-45B2-9A50-2F777E80D7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3578FF9-390F-483A-A39F-B8735FC4D0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D054B77-14A0-4DC1-A36A-AF9AA51A9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1DB0833-AEAA-44A2-B2F3-E7F03CE559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AB9DDB7-87AD-47FC-94BD-200FAB2FFF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608E274-AAF2-4A41-ABD2-F76E282A41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152A4C3-0A18-4017-B5FE-0B7E13D840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458C62C-7703-4DEF-BA76-6E64A27F83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84</c:v>
                </c:pt>
                <c:pt idx="1">
                  <c:v>0.97</c:v>
                </c:pt>
                <c:pt idx="2">
                  <c:v>0.56999999999999995</c:v>
                </c:pt>
                <c:pt idx="3">
                  <c:v>0.47</c:v>
                </c:pt>
                <c:pt idx="4">
                  <c:v>0.71</c:v>
                </c:pt>
                <c:pt idx="5">
                  <c:v>0.99</c:v>
                </c:pt>
                <c:pt idx="6">
                  <c:v>0.39</c:v>
                </c:pt>
                <c:pt idx="7">
                  <c:v>0.33</c:v>
                </c:pt>
                <c:pt idx="8">
                  <c:v>0.99</c:v>
                </c:pt>
                <c:pt idx="9">
                  <c:v>0.72</c:v>
                </c:pt>
              </c:numCache>
            </c:numRef>
          </c:xVal>
          <c:yVal>
            <c:numRef>
              <c:f>Sheet1!$B$2:$B$11</c:f>
              <c:numCache>
                <c:formatCode>General</c:formatCode>
                <c:ptCount val="10"/>
                <c:pt idx="0">
                  <c:v>5252.7023809523807</c:v>
                </c:pt>
                <c:pt idx="1">
                  <c:v>4246.7938144329901</c:v>
                </c:pt>
                <c:pt idx="2">
                  <c:v>676.1578947368422</c:v>
                </c:pt>
                <c:pt idx="3">
                  <c:v>815.08510638297878</c:v>
                </c:pt>
                <c:pt idx="4">
                  <c:v>2060.4788732394368</c:v>
                </c:pt>
                <c:pt idx="5">
                  <c:v>3152.0707070707072</c:v>
                </c:pt>
                <c:pt idx="6">
                  <c:v>1040.897435897436</c:v>
                </c:pt>
                <c:pt idx="7">
                  <c:v>105.2121212121212</c:v>
                </c:pt>
                <c:pt idx="8">
                  <c:v>3133.424242424242</c:v>
                </c:pt>
                <c:pt idx="9">
                  <c:v>2791.8194444444439</c:v>
                </c:pt>
              </c:numCache>
            </c:numRef>
          </c:yVal>
          <c:bubbleSize>
            <c:numRef>
              <c:f>Sheet1!$C$2:$C$11</c:f>
              <c:numCache>
                <c:formatCode>General</c:formatCode>
                <c:ptCount val="10"/>
                <c:pt idx="0">
                  <c:v>244511.87400000001</c:v>
                </c:pt>
                <c:pt idx="1">
                  <c:v>271889.77860000002</c:v>
                </c:pt>
                <c:pt idx="2">
                  <c:v>22184.3776</c:v>
                </c:pt>
                <c:pt idx="3">
                  <c:v>21655.576799999999</c:v>
                </c:pt>
                <c:pt idx="4">
                  <c:v>101848.848</c:v>
                </c:pt>
                <c:pt idx="5">
                  <c:v>213476.2311</c:v>
                </c:pt>
                <c:pt idx="6">
                  <c:v>24936.687999999998</c:v>
                </c:pt>
                <c:pt idx="7">
                  <c:v>2413.9591999999998</c:v>
                </c:pt>
                <c:pt idx="8">
                  <c:v>171614.7591</c:v>
                </c:pt>
                <c:pt idx="9">
                  <c:v>126058.0727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68A7B6D-FBA2-4D1F-BB4A-CCA236CE7F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98B54A6-64F2-4AAB-952A-F191A02492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08D802F-9798-4615-8027-42F6781BE9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A6A90D0-21CB-4591-ABE2-1BFE579406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BBB5828-AA1D-4305-89B2-D59CEFBFA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6305634-D5AB-4439-BB79-3FC5FBDFC6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0A74435-3CFE-48B4-9691-58C16DDB25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7026343-1FA4-4049-AECC-BD44ECFA03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0AC1EC4-9EE7-4D2E-8C9C-29B0657ECE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598C300-C542-434E-A3A2-EB840DFE3F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99</c:v>
                </c:pt>
                <c:pt idx="1">
                  <c:v>0.78</c:v>
                </c:pt>
                <c:pt idx="2">
                  <c:v>0.91</c:v>
                </c:pt>
                <c:pt idx="3">
                  <c:v>0.95</c:v>
                </c:pt>
                <c:pt idx="4">
                  <c:v>0.27</c:v>
                </c:pt>
                <c:pt idx="5">
                  <c:v>0.64</c:v>
                </c:pt>
                <c:pt idx="6">
                  <c:v>0.97</c:v>
                </c:pt>
              </c:numCache>
            </c:numRef>
          </c:xVal>
          <c:yVal>
            <c:numRef>
              <c:f>Sheet1!$B$2:$B$8</c:f>
              <c:numCache>
                <c:formatCode>General</c:formatCode>
                <c:ptCount val="7"/>
                <c:pt idx="0">
                  <c:v>4486.8686868686873</c:v>
                </c:pt>
                <c:pt idx="1">
                  <c:v>3901.6923076923081</c:v>
                </c:pt>
                <c:pt idx="2">
                  <c:v>5295.4395604395604</c:v>
                </c:pt>
                <c:pt idx="3">
                  <c:v>5730.8315789473681</c:v>
                </c:pt>
                <c:pt idx="4">
                  <c:v>926.59259259259261</c:v>
                </c:pt>
                <c:pt idx="5">
                  <c:v>2246.375</c:v>
                </c:pt>
                <c:pt idx="6">
                  <c:v>1662.4948453608249</c:v>
                </c:pt>
              </c:numCache>
            </c:numRef>
          </c:yVal>
          <c:bubbleSize>
            <c:numRef>
              <c:f>Sheet1!$C$2:$C$8</c:f>
              <c:numCache>
                <c:formatCode>General</c:formatCode>
                <c:ptCount val="7"/>
                <c:pt idx="0">
                  <c:v>262527.71999999997</c:v>
                </c:pt>
                <c:pt idx="1">
                  <c:v>216338.64</c:v>
                </c:pt>
                <c:pt idx="2">
                  <c:v>307633.60200000001</c:v>
                </c:pt>
                <c:pt idx="3">
                  <c:v>333576.64069999999</c:v>
                </c:pt>
                <c:pt idx="4">
                  <c:v>14992.007600000001</c:v>
                </c:pt>
                <c:pt idx="5">
                  <c:v>81508.151999999987</c:v>
                </c:pt>
                <c:pt idx="6">
                  <c:v>94145.98599999999</c:v>
                </c:pt>
              </c:numCache>
            </c:numRef>
          </c:bubbleSize>
          <c:bubble3D val="0"/>
          <c:extLst>
            <c:ext xmlns:c15="http://schemas.microsoft.com/office/drawing/2012/chart" uri="{02D57815-91ED-43cb-92C2-25804820EDAC}">
              <c15:datalabelsRange>
                <c15:f>Sheet1!$E$2:$E$21</c15:f>
                <c15:dlblRangeCache>
                  <c:ptCount val="20"/>
                  <c:pt idx="0">
                    <c:v>La Vache Qui Rit Nature Fromage Fondu Boite Ronde 1X192Gr 12P</c:v>
                  </c:pt>
                  <c:pt idx="1">
                    <c:v>La Vache Qui Rit Nature Fromage Fondu Boite Ronde 1X512Gr 24+8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Nature Fromage Fondu Boite Ronde 1X128Gr 8P</c:v>
                  </c:pt>
                  <c:pt idx="6">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9B4442-DB5E-4FC7-983A-5C76E61D2D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505D84-48E0-472E-A575-05255553AC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BC4F39B-4660-41FE-8B8B-2E335E139A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AAB0EA-4E00-497C-A703-99619C3141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0CCFB0F-1D86-4912-8D5E-84918CA06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E7BE8EB-9D34-4895-BEC2-3D392594F4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A89F140-CB29-40A1-A435-1B474FBDAB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9E091DB-2ACB-4CC5-A1B9-0BCB5FD344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D0FA318-8882-467C-8E2C-488DE082E5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8040A05-2224-4C0C-9691-1E05851150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97</c:v>
                </c:pt>
                <c:pt idx="1">
                  <c:v>0.99</c:v>
                </c:pt>
                <c:pt idx="2">
                  <c:v>0.88</c:v>
                </c:pt>
                <c:pt idx="3">
                  <c:v>0.65</c:v>
                </c:pt>
                <c:pt idx="4">
                  <c:v>0.1</c:v>
                </c:pt>
                <c:pt idx="5">
                  <c:v>0.05</c:v>
                </c:pt>
                <c:pt idx="6">
                  <c:v>0.99</c:v>
                </c:pt>
                <c:pt idx="7">
                  <c:v>0.91</c:v>
                </c:pt>
                <c:pt idx="8">
                  <c:v>0.84</c:v>
                </c:pt>
                <c:pt idx="9">
                  <c:v>0.72</c:v>
                </c:pt>
                <c:pt idx="10">
                  <c:v>0.89</c:v>
                </c:pt>
                <c:pt idx="11">
                  <c:v>0.92</c:v>
                </c:pt>
                <c:pt idx="12">
                  <c:v>0.83</c:v>
                </c:pt>
                <c:pt idx="13">
                  <c:v>0.71</c:v>
                </c:pt>
              </c:numCache>
            </c:numRef>
          </c:xVal>
          <c:yVal>
            <c:numRef>
              <c:f>Sheet1!$B$2:$B$15</c:f>
              <c:numCache>
                <c:formatCode>General</c:formatCode>
                <c:ptCount val="14"/>
                <c:pt idx="0">
                  <c:v>3016.855670103093</c:v>
                </c:pt>
                <c:pt idx="1">
                  <c:v>2637.1616161616162</c:v>
                </c:pt>
                <c:pt idx="2">
                  <c:v>910.88636363636363</c:v>
                </c:pt>
                <c:pt idx="3">
                  <c:v>899.09230769230771</c:v>
                </c:pt>
                <c:pt idx="4">
                  <c:v>394.1</c:v>
                </c:pt>
                <c:pt idx="5">
                  <c:v>517.4</c:v>
                </c:pt>
                <c:pt idx="6">
                  <c:v>2989.2525252525252</c:v>
                </c:pt>
                <c:pt idx="7">
                  <c:v>1131.2087912087909</c:v>
                </c:pt>
                <c:pt idx="8">
                  <c:v>752.57142857142856</c:v>
                </c:pt>
                <c:pt idx="9">
                  <c:v>766.19444444444446</c:v>
                </c:pt>
                <c:pt idx="10">
                  <c:v>1389.4269662921349</c:v>
                </c:pt>
                <c:pt idx="11">
                  <c:v>2597.739130434783</c:v>
                </c:pt>
                <c:pt idx="12">
                  <c:v>1244.0481927710839</c:v>
                </c:pt>
                <c:pt idx="13">
                  <c:v>791.04225352112678</c:v>
                </c:pt>
              </c:numCache>
            </c:numRef>
          </c:yVal>
          <c:bubbleSize>
            <c:numRef>
              <c:f>Sheet1!$C$2:$C$15</c:f>
              <c:numCache>
                <c:formatCode>General</c:formatCode>
                <c:ptCount val="14"/>
                <c:pt idx="0">
                  <c:v>182514.58350000001</c:v>
                </c:pt>
                <c:pt idx="1">
                  <c:v>169175.82759999999</c:v>
                </c:pt>
                <c:pt idx="2">
                  <c:v>47929.252</c:v>
                </c:pt>
                <c:pt idx="3">
                  <c:v>35070.9738</c:v>
                </c:pt>
                <c:pt idx="4">
                  <c:v>1770.3809000000001</c:v>
                </c:pt>
                <c:pt idx="5">
                  <c:v>1173.8063999999999</c:v>
                </c:pt>
                <c:pt idx="6">
                  <c:v>197011.77119999999</c:v>
                </c:pt>
                <c:pt idx="7">
                  <c:v>54368.025600000001</c:v>
                </c:pt>
                <c:pt idx="8">
                  <c:v>38139.75</c:v>
                </c:pt>
                <c:pt idx="9">
                  <c:v>30499.949700000001</c:v>
                </c:pt>
                <c:pt idx="10">
                  <c:v>73719.119200000001</c:v>
                </c:pt>
                <c:pt idx="11">
                  <c:v>150414.5325</c:v>
                </c:pt>
                <c:pt idx="12">
                  <c:v>59907.712800000001</c:v>
                </c:pt>
                <c:pt idx="13">
                  <c:v>32857.246400000004</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3 Noix Boite 1X150Gr 1P</c:v>
                  </c:pt>
                  <c:pt idx="5">
                    <c:v>Boursin Classique Fromage Frais A Tartiner 3 Noix 1X160Gr 10P</c:v>
                  </c:pt>
                  <c:pt idx="6">
                    <c:v>Boursin Salade &amp; Aperitif Fromage Frais Des Afh 1X120Gr 1P</c:v>
                  </c:pt>
                  <c:pt idx="7">
                    <c:v>Boursin Salade &amp; Aperitif Fromage Frais Des Figue Noix 1X120Gr 1P</c:v>
                  </c:pt>
                  <c:pt idx="8">
                    <c:v>Boursin Salade &amp; Aperitif Fromage Frais Des Ciboulette Echalote 1X120Gr 1P</c:v>
                  </c:pt>
                  <c:pt idx="9">
                    <c:v>Boursin Salade &amp; Aperitif Fromage Frais Des Citron Romarin 1X120Gr 1P</c:v>
                  </c:pt>
                  <c:pt idx="10">
                    <c:v>Boursin Classique Fromage Frais A Tartiner Afh Boite 1X96Gr 6P</c:v>
                  </c:pt>
                  <c:pt idx="11">
                    <c:v>Boursin Classique Fromage Frais A Tartiner Afh Boite 1X250Gr 1P</c:v>
                  </c:pt>
                  <c:pt idx="12">
                    <c:v>Boursin Onctueux Fromage Frais A Tartiner Afh 1X125Gr 1P</c:v>
                  </c:pt>
                  <c:pt idx="13">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38DB4D2-B8F9-4E08-A579-961E20FC14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D3AB0F4-EBF6-4118-9784-DAA005FC44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BD855FA-01D3-458D-A9F3-CA73CD94FE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69D2F32-CE46-4541-9594-2691CBCFE3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F9303F7-841D-47CA-A00B-85030D28E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58CB4BC-AFB6-4759-AA1C-25C06AB09E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860ACB0-1D93-4DD7-B1BA-116BF0512C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C09365F-B85A-41D7-9DC6-A4D3133EB95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61EC927-FDA2-4BCC-A6C3-C6D5E1C8665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E8B01F6-415D-4B6C-B2F6-9C3FC515AE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2</c:v>
                </c:pt>
                <c:pt idx="1">
                  <c:v>0.54</c:v>
                </c:pt>
                <c:pt idx="2">
                  <c:v>0.96</c:v>
                </c:pt>
                <c:pt idx="3">
                  <c:v>0.1</c:v>
                </c:pt>
                <c:pt idx="4">
                  <c:v>0.71</c:v>
                </c:pt>
                <c:pt idx="5">
                  <c:v>0.02</c:v>
                </c:pt>
              </c:numCache>
            </c:numRef>
          </c:xVal>
          <c:yVal>
            <c:numRef>
              <c:f>Sheet1!$B$2:$B$7</c:f>
              <c:numCache>
                <c:formatCode>General</c:formatCode>
                <c:ptCount val="6"/>
                <c:pt idx="0">
                  <c:v>4425.5</c:v>
                </c:pt>
                <c:pt idx="1">
                  <c:v>1348.3888888888889</c:v>
                </c:pt>
                <c:pt idx="2">
                  <c:v>6174.895833333333</c:v>
                </c:pt>
                <c:pt idx="3">
                  <c:v>172.2</c:v>
                </c:pt>
                <c:pt idx="4">
                  <c:v>3577.4929577464791</c:v>
                </c:pt>
                <c:pt idx="5">
                  <c:v>2679.5</c:v>
                </c:pt>
              </c:numCache>
            </c:numRef>
          </c:yVal>
          <c:bubbleSize>
            <c:numRef>
              <c:f>Sheet1!$C$2:$C$7</c:f>
              <c:numCache>
                <c:formatCode>General</c:formatCode>
                <c:ptCount val="6"/>
                <c:pt idx="0">
                  <c:v>5298.1144000000004</c:v>
                </c:pt>
                <c:pt idx="1">
                  <c:v>36794.323400000001</c:v>
                </c:pt>
                <c:pt idx="2">
                  <c:v>332637.91769999999</c:v>
                </c:pt>
                <c:pt idx="3">
                  <c:v>1001.7318</c:v>
                </c:pt>
                <c:pt idx="4">
                  <c:v>117338.8575</c:v>
                </c:pt>
                <c:pt idx="5">
                  <c:v>3050.75399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216Gr 12P</c:v>
                  </c:pt>
                  <c:pt idx="1">
                    <c:v>Kiri Delicieusement Fouette Fromage Frais A Tartiner 1X125Gr 1P</c:v>
                  </c:pt>
                  <c:pt idx="2">
                    <c:v>Kiri Creme Fromage Blanc Frais Carre 1X144Gr 8P</c:v>
                  </c:pt>
                  <c:pt idx="3">
                    <c:v>Kiri Delicieusement Fouette Fromage Frais A Tartiner 1X160Gr 10P</c:v>
                  </c:pt>
                  <c:pt idx="4">
                    <c:v>Kiri Gouter Fromage Blanc Dips Boite 1X175Gr 5P</c:v>
                  </c:pt>
                  <c:pt idx="5">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9B7C5F0-7828-416C-9F17-33E3714A9A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7E1151A-469B-4310-8DC1-0FE5699D97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E8E510C-6FF7-4B2E-B253-301616DAAE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E9CA815-E8BD-411C-BEFE-F86039E1D8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9B28BEF-13EA-4380-8A40-A9C3BF36A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35AE39F-5717-4F85-A21E-B45EDA9EF9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12664FB-59E1-40E1-B754-11933DFC04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D5E5CF2-943E-48B3-AB5C-B791BFA639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18E1363-9BE4-432C-A530-00FC26ACD6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A1E8C87-ECA9-477C-9786-E7A0E77996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89</c:v>
                </c:pt>
                <c:pt idx="1">
                  <c:v>0.45</c:v>
                </c:pt>
                <c:pt idx="2">
                  <c:v>0.09</c:v>
                </c:pt>
                <c:pt idx="3">
                  <c:v>0.05</c:v>
                </c:pt>
                <c:pt idx="4">
                  <c:v>0.51</c:v>
                </c:pt>
              </c:numCache>
            </c:numRef>
          </c:xVal>
          <c:yVal>
            <c:numRef>
              <c:f>Sheet1!$B$2:$B$6</c:f>
              <c:numCache>
                <c:formatCode>General</c:formatCode>
                <c:ptCount val="5"/>
                <c:pt idx="0">
                  <c:v>7543.6741573033714</c:v>
                </c:pt>
                <c:pt idx="1">
                  <c:v>6982.6</c:v>
                </c:pt>
                <c:pt idx="2">
                  <c:v>2723.4444444444439</c:v>
                </c:pt>
                <c:pt idx="3">
                  <c:v>1469.6</c:v>
                </c:pt>
                <c:pt idx="4">
                  <c:v>2525.7254901960782</c:v>
                </c:pt>
              </c:numCache>
            </c:numRef>
          </c:yVal>
          <c:bubbleSize>
            <c:numRef>
              <c:f>Sheet1!$C$2:$C$6</c:f>
              <c:numCache>
                <c:formatCode>General</c:formatCode>
                <c:ptCount val="5"/>
                <c:pt idx="0">
                  <c:v>345965.88</c:v>
                </c:pt>
                <c:pt idx="1">
                  <c:v>171688.52160000001</c:v>
                </c:pt>
                <c:pt idx="2">
                  <c:v>12410.255999999999</c:v>
                </c:pt>
                <c:pt idx="3">
                  <c:v>2886.078</c:v>
                </c:pt>
                <c:pt idx="4">
                  <c:v>63895.387999999992</c:v>
                </c:pt>
              </c:numCache>
            </c:numRef>
          </c:bubbleSize>
          <c:bubble3D val="0"/>
          <c:extLst>
            <c:ext xmlns:c15="http://schemas.microsoft.com/office/drawing/2012/chart" uri="{02D57815-91ED-43cb-92C2-25804820EDAC}">
              <c15:datalabelsRange>
                <c15:f>Sheet1!$E$2:$E$21</c15:f>
                <c15:dlblRangeCache>
                  <c:ptCount val="20"/>
                  <c:pt idx="0">
                    <c:v>La Vache Qui Rit Nature Fromage Fondu Boite Ronde 1X192Gr 12P</c:v>
                  </c:pt>
                  <c:pt idx="1">
                    <c:v>La Vache Qui Rit Nature Fromage Fondu Boite Ronde 1X384Gr 24P</c:v>
                  </c:pt>
                  <c:pt idx="2">
                    <c:v>La Vache Qui Rit Nature Fromage Fondu Boite Ronde 1X128Gr 8P</c:v>
                  </c:pt>
                  <c:pt idx="3">
                    <c:v>La Vache Qui Rit Pik Et Croq' Fromage Fondu Dips Boite 1X35Gr 1P</c:v>
                  </c:pt>
                  <c:pt idx="4">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83E1A22-B412-44E4-8670-4F2A3FDBEE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7D6AA95-11F1-471C-A912-F85AF3B970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8F8ECCB-0F82-4293-BF9E-4582246FAE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5EC6755-F548-4FF3-9D08-C17F1D5421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16C65AB-A4DE-4B80-ABBF-924EA6B08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9A210B9-3D53-42DA-89F6-96AA50CD44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CEFA577-116F-4580-87F8-3D585FFCCB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CC846BF-A7D0-4D96-A380-0E3F31F6F4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C4ADE31-44E8-4C90-ADC5-CB6FC4CBD1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FDB70EB-7CB6-4D85-9F94-8513189813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49</c:v>
                </c:pt>
                <c:pt idx="1">
                  <c:v>0.83</c:v>
                </c:pt>
                <c:pt idx="2">
                  <c:v>0.08</c:v>
                </c:pt>
                <c:pt idx="3">
                  <c:v>0.79</c:v>
                </c:pt>
                <c:pt idx="4">
                  <c:v>0.11</c:v>
                </c:pt>
                <c:pt idx="5">
                  <c:v>0.09</c:v>
                </c:pt>
              </c:numCache>
            </c:numRef>
          </c:xVal>
          <c:yVal>
            <c:numRef>
              <c:f>Sheet1!$B$2:$B$7</c:f>
              <c:numCache>
                <c:formatCode>General</c:formatCode>
                <c:ptCount val="6"/>
                <c:pt idx="0">
                  <c:v>3653.6938775510198</c:v>
                </c:pt>
                <c:pt idx="1">
                  <c:v>4452.734939759036</c:v>
                </c:pt>
                <c:pt idx="2">
                  <c:v>1616.75</c:v>
                </c:pt>
                <c:pt idx="3">
                  <c:v>2791.924050632912</c:v>
                </c:pt>
                <c:pt idx="4">
                  <c:v>497.36363636363637</c:v>
                </c:pt>
                <c:pt idx="5">
                  <c:v>1913.666666666667</c:v>
                </c:pt>
              </c:numCache>
            </c:numRef>
          </c:yVal>
          <c:bubbleSize>
            <c:numRef>
              <c:f>Sheet1!$C$2:$C$7</c:f>
              <c:numCache>
                <c:formatCode>General</c:formatCode>
                <c:ptCount val="6"/>
                <c:pt idx="0">
                  <c:v>101965.4454</c:v>
                </c:pt>
                <c:pt idx="1">
                  <c:v>200281.71539999999</c:v>
                </c:pt>
                <c:pt idx="2">
                  <c:v>6298.4040000000005</c:v>
                </c:pt>
                <c:pt idx="3">
                  <c:v>102326.5368</c:v>
                </c:pt>
                <c:pt idx="4">
                  <c:v>2876.0508</c:v>
                </c:pt>
                <c:pt idx="5">
                  <c:v>9099.93</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Salade &amp; Aperitif Fromage Frais Des Afh 1X120Gr 1P</c:v>
                  </c:pt>
                  <c:pt idx="4">
                    <c:v>Boursin Classique Fromage Frais A Tartiner Afh Boite 1X80Gr 1P</c:v>
                  </c:pt>
                  <c:pt idx="5">
                    <c:v>Boursin Classique Fromage Frais A Tartiner Afh Boite 1X96Gr 6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832B339-5B80-4052-90AD-21574E128F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10265AD-ED85-47C9-9894-11892E0E20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F4BB7E2-AD90-4EE0-8AE4-3242D54C8A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C544193-1E7F-4853-806B-25C3D02ABC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AE6983A-2C4D-4837-A834-01AFE93E4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B800B21-E54A-4A4E-AB8B-11D1EAF835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8044346-0EF5-416A-AC72-E31375FCCB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B8549E9-34D1-4C98-B031-A1D41164BA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32DA878-D05C-48AA-93C9-6B229ECA1D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CD169DB-1FC8-4EC9-A67C-34499D661A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89</c:v>
                </c:pt>
                <c:pt idx="1">
                  <c:v>0.99</c:v>
                </c:pt>
                <c:pt idx="2">
                  <c:v>0.87</c:v>
                </c:pt>
                <c:pt idx="3">
                  <c:v>0.83</c:v>
                </c:pt>
                <c:pt idx="4">
                  <c:v>0.99</c:v>
                </c:pt>
                <c:pt idx="5">
                  <c:v>0.6</c:v>
                </c:pt>
                <c:pt idx="6">
                  <c:v>0.99</c:v>
                </c:pt>
                <c:pt idx="7">
                  <c:v>0.96</c:v>
                </c:pt>
                <c:pt idx="8">
                  <c:v>0.57999999999999996</c:v>
                </c:pt>
              </c:numCache>
            </c:numRef>
          </c:xVal>
          <c:yVal>
            <c:numRef>
              <c:f>Sheet1!$B$2:$B$10</c:f>
              <c:numCache>
                <c:formatCode>General</c:formatCode>
                <c:ptCount val="9"/>
                <c:pt idx="0">
                  <c:v>7935.6292134831456</c:v>
                </c:pt>
                <c:pt idx="1">
                  <c:v>8607.9696969696961</c:v>
                </c:pt>
                <c:pt idx="2">
                  <c:v>1509.2873563218391</c:v>
                </c:pt>
                <c:pt idx="3">
                  <c:v>2135.4337349397588</c:v>
                </c:pt>
                <c:pt idx="4">
                  <c:v>4806.9191919191917</c:v>
                </c:pt>
                <c:pt idx="5">
                  <c:v>1519.866666666667</c:v>
                </c:pt>
                <c:pt idx="6">
                  <c:v>4681.333333333333</c:v>
                </c:pt>
                <c:pt idx="7">
                  <c:v>6331.729166666667</c:v>
                </c:pt>
                <c:pt idx="8">
                  <c:v>916.86206896551732</c:v>
                </c:pt>
              </c:numCache>
            </c:numRef>
          </c:yVal>
          <c:bubbleSize>
            <c:numRef>
              <c:f>Sheet1!$C$2:$C$10</c:f>
              <c:numCache>
                <c:formatCode>General</c:formatCode>
                <c:ptCount val="9"/>
                <c:pt idx="0">
                  <c:v>434940.5233</c:v>
                </c:pt>
                <c:pt idx="1">
                  <c:v>563044.1581</c:v>
                </c:pt>
                <c:pt idx="2">
                  <c:v>66663.609600000011</c:v>
                </c:pt>
                <c:pt idx="3">
                  <c:v>120956.976</c:v>
                </c:pt>
                <c:pt idx="4">
                  <c:v>308470.04639999999</c:v>
                </c:pt>
                <c:pt idx="5">
                  <c:v>45274.047000000013</c:v>
                </c:pt>
                <c:pt idx="6">
                  <c:v>282659.23139999999</c:v>
                </c:pt>
                <c:pt idx="7">
                  <c:v>368627.39450000011</c:v>
                </c:pt>
                <c:pt idx="8">
                  <c:v>25561.6981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B94CB9-409D-4C2B-B860-9FAAF66AD2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3C42B5C-E6D2-453F-8553-556F4DD240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CE5AC1F-AB03-4EE8-BEE2-E449E36EA6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03C5FC3-8481-4E1D-9CAA-B09E53A1C06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614A863-905A-449F-A1B6-7D7E9721A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8A802E7-0A21-48F8-9BA7-E091D3002A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B306F38-D40A-4CC8-B2AD-6B6CE6BDE7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B4FE65C-5C2C-4533-BCFF-800EDC712C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4D8CD85-8201-48B6-95B8-CA4795AF3B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AD87E3D-D46D-46DF-863D-39C9446D1E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64</c:v>
                </c:pt>
                <c:pt idx="1">
                  <c:v>1</c:v>
                </c:pt>
                <c:pt idx="2">
                  <c:v>0.97</c:v>
                </c:pt>
                <c:pt idx="3">
                  <c:v>0.98</c:v>
                </c:pt>
                <c:pt idx="4">
                  <c:v>0.84</c:v>
                </c:pt>
                <c:pt idx="5">
                  <c:v>0.95</c:v>
                </c:pt>
                <c:pt idx="6">
                  <c:v>0.86</c:v>
                </c:pt>
              </c:numCache>
            </c:numRef>
          </c:xVal>
          <c:yVal>
            <c:numRef>
              <c:f>Sheet1!$B$2:$B$8</c:f>
              <c:numCache>
                <c:formatCode>General</c:formatCode>
                <c:ptCount val="7"/>
                <c:pt idx="0">
                  <c:v>1414.515625</c:v>
                </c:pt>
                <c:pt idx="1">
                  <c:v>10893.58</c:v>
                </c:pt>
                <c:pt idx="2">
                  <c:v>11768.01030927835</c:v>
                </c:pt>
                <c:pt idx="3">
                  <c:v>13093.826530612239</c:v>
                </c:pt>
                <c:pt idx="4">
                  <c:v>1965.8214285714289</c:v>
                </c:pt>
                <c:pt idx="5">
                  <c:v>2817.347368421053</c:v>
                </c:pt>
                <c:pt idx="6">
                  <c:v>3042.8372093023249</c:v>
                </c:pt>
              </c:numCache>
            </c:numRef>
          </c:yVal>
          <c:bubbleSize>
            <c:numRef>
              <c:f>Sheet1!$C$2:$C$8</c:f>
              <c:numCache>
                <c:formatCode>General</c:formatCode>
                <c:ptCount val="7"/>
                <c:pt idx="0">
                  <c:v>36184.439199999993</c:v>
                </c:pt>
                <c:pt idx="1">
                  <c:v>621385.28460000013</c:v>
                </c:pt>
                <c:pt idx="2">
                  <c:v>692633.15520000004</c:v>
                </c:pt>
                <c:pt idx="3">
                  <c:v>792886.2220999999</c:v>
                </c:pt>
                <c:pt idx="4">
                  <c:v>85195.458899999998</c:v>
                </c:pt>
                <c:pt idx="5">
                  <c:v>139805.39300000001</c:v>
                </c:pt>
                <c:pt idx="6">
                  <c:v>126337.8342</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61338AB-40E1-40F8-BCC3-9E4DFE27F4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1D9F645-F241-4C76-92C2-DE1ABFE862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BF9623B-FC53-4D03-BB5A-48715F6DA2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0AAE5E7-ACE3-4457-9298-5C6977E2FB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6221263-DB0E-4657-BC22-AC65CABED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3EBA9AF-FA00-47C0-BE1F-AE1653CF9E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37535D2-5517-4211-8132-5106A4B12D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0B06C69-F562-4E2A-86A5-8EF6E344E3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F128340-D375-4019-9B75-62896410C8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F2222CB-7417-4A8B-9DB8-5CBBA5C21C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99</c:v>
                </c:pt>
                <c:pt idx="1">
                  <c:v>1</c:v>
                </c:pt>
                <c:pt idx="2">
                  <c:v>0.96</c:v>
                </c:pt>
                <c:pt idx="3">
                  <c:v>0.95</c:v>
                </c:pt>
                <c:pt idx="4">
                  <c:v>0.98</c:v>
                </c:pt>
                <c:pt idx="5">
                  <c:v>0.51</c:v>
                </c:pt>
                <c:pt idx="6">
                  <c:v>0.86</c:v>
                </c:pt>
                <c:pt idx="7">
                  <c:v>0.67</c:v>
                </c:pt>
                <c:pt idx="8">
                  <c:v>0.86</c:v>
                </c:pt>
                <c:pt idx="9">
                  <c:v>0.9</c:v>
                </c:pt>
                <c:pt idx="10">
                  <c:v>0.84</c:v>
                </c:pt>
                <c:pt idx="11">
                  <c:v>0.83</c:v>
                </c:pt>
                <c:pt idx="12">
                  <c:v>0.99</c:v>
                </c:pt>
                <c:pt idx="13">
                  <c:v>0.97</c:v>
                </c:pt>
                <c:pt idx="14">
                  <c:v>0.4</c:v>
                </c:pt>
              </c:numCache>
            </c:numRef>
          </c:xVal>
          <c:yVal>
            <c:numRef>
              <c:f>Sheet1!$B$2:$B$16</c:f>
              <c:numCache>
                <c:formatCode>General</c:formatCode>
                <c:ptCount val="15"/>
                <c:pt idx="0">
                  <c:v>5111.090909090909</c:v>
                </c:pt>
                <c:pt idx="1">
                  <c:v>4276.05</c:v>
                </c:pt>
                <c:pt idx="2">
                  <c:v>1606.041666666667</c:v>
                </c:pt>
                <c:pt idx="3">
                  <c:v>1801.8736842105261</c:v>
                </c:pt>
                <c:pt idx="4">
                  <c:v>3369.632653061225</c:v>
                </c:pt>
                <c:pt idx="5">
                  <c:v>1106.9215686274511</c:v>
                </c:pt>
                <c:pt idx="6">
                  <c:v>1404.883720930233</c:v>
                </c:pt>
                <c:pt idx="7">
                  <c:v>680.20895522388059</c:v>
                </c:pt>
                <c:pt idx="8">
                  <c:v>1399.976744186047</c:v>
                </c:pt>
                <c:pt idx="9">
                  <c:v>1982.9666666666669</c:v>
                </c:pt>
                <c:pt idx="10">
                  <c:v>1441.1547619047619</c:v>
                </c:pt>
                <c:pt idx="11">
                  <c:v>1214.975903614458</c:v>
                </c:pt>
                <c:pt idx="12">
                  <c:v>5515.0505050505053</c:v>
                </c:pt>
                <c:pt idx="13">
                  <c:v>2431.7628865979382</c:v>
                </c:pt>
                <c:pt idx="14">
                  <c:v>880.45</c:v>
                </c:pt>
              </c:numCache>
            </c:numRef>
          </c:yVal>
          <c:bubbleSize>
            <c:numRef>
              <c:f>Sheet1!$C$2:$C$16</c:f>
              <c:numCache>
                <c:formatCode>General</c:formatCode>
                <c:ptCount val="15"/>
                <c:pt idx="0">
                  <c:v>310396.17109999998</c:v>
                </c:pt>
                <c:pt idx="1">
                  <c:v>268889.32500000001</c:v>
                </c:pt>
                <c:pt idx="2">
                  <c:v>80927.763000000006</c:v>
                </c:pt>
                <c:pt idx="3">
                  <c:v>91664.386599999998</c:v>
                </c:pt>
                <c:pt idx="4">
                  <c:v>171405.6588</c:v>
                </c:pt>
                <c:pt idx="5">
                  <c:v>33731.386499999993</c:v>
                </c:pt>
                <c:pt idx="6">
                  <c:v>66011.255999999994</c:v>
                </c:pt>
                <c:pt idx="7">
                  <c:v>20091.8835</c:v>
                </c:pt>
                <c:pt idx="8">
                  <c:v>65796.493399999992</c:v>
                </c:pt>
                <c:pt idx="9">
                  <c:v>98304.178500000009</c:v>
                </c:pt>
                <c:pt idx="10">
                  <c:v>70284.431699999986</c:v>
                </c:pt>
                <c:pt idx="11">
                  <c:v>51962.308199999999</c:v>
                </c:pt>
                <c:pt idx="12">
                  <c:v>321142.08559999999</c:v>
                </c:pt>
                <c:pt idx="13">
                  <c:v>111472.8284</c:v>
                </c:pt>
                <c:pt idx="14">
                  <c:v>17448.064399999999</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Salade &amp; Aperitif Fromage Frais Des Afh 1X120Gr 1P</c:v>
                  </c:pt>
                  <c:pt idx="5">
                    <c:v>Boursin Salade &amp; Aperitif Fromage Frais Des Figue Noix 1X120Gr 1P</c:v>
                  </c:pt>
                  <c:pt idx="6">
                    <c:v>Boursin Salade &amp; Aperitif Fromage Frais Des Ciboulette Echalote 1X120Gr 1P</c:v>
                  </c:pt>
                  <c:pt idx="7">
                    <c:v>Boursin Salade &amp; Aperitif Fromage Frais Des Citron Romarin 1X12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Ciboulette &amp; Echalote 1X160Gr 10P</c:v>
                  </c:pt>
                  <c:pt idx="12">
                    <c:v>Boursin Classique Fromage Frais A Tartiner Afh Boite 1X250Gr 1P</c:v>
                  </c:pt>
                  <c:pt idx="13">
                    <c:v>Boursin Onctueux Fromage Frais A Tartiner Afh 1X125Gr 1P</c:v>
                  </c:pt>
                  <c:pt idx="14">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E45E4EF-6761-4F70-80D9-D1B918EE82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42D9B98-73A3-4811-96D9-EEA1DA5F3A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D5AC3AF-92FC-4152-8DF3-2EA00B68DC4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6B366ED-2DBB-4044-AFFD-A78DCAF8B0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CF5A9EE-3429-4877-AB88-8D8BC31A5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B602552-9853-4A4A-9C52-8759C7F0D27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0D11652-0329-4424-9071-D928E5A25A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A43367F-C16D-4C87-9D75-1AB5E88AA2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7117C43-63CF-4C2D-90F2-7D856D4EC1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6DC0F68-F6E0-42A4-AE48-963862580C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99</c:v>
                </c:pt>
                <c:pt idx="1">
                  <c:v>0.99</c:v>
                </c:pt>
                <c:pt idx="2">
                  <c:v>0.99</c:v>
                </c:pt>
                <c:pt idx="3">
                  <c:v>0.94</c:v>
                </c:pt>
                <c:pt idx="4">
                  <c:v>0.99</c:v>
                </c:pt>
                <c:pt idx="5">
                  <c:v>0.87</c:v>
                </c:pt>
                <c:pt idx="6">
                  <c:v>0.99</c:v>
                </c:pt>
                <c:pt idx="7">
                  <c:v>0.99</c:v>
                </c:pt>
                <c:pt idx="8">
                  <c:v>0.73</c:v>
                </c:pt>
              </c:numCache>
            </c:numRef>
          </c:xVal>
          <c:yVal>
            <c:numRef>
              <c:f>Sheet1!$B$2:$B$10</c:f>
              <c:numCache>
                <c:formatCode>General</c:formatCode>
                <c:ptCount val="9"/>
                <c:pt idx="0">
                  <c:v>1510.0505050505051</c:v>
                </c:pt>
                <c:pt idx="1">
                  <c:v>1448.878787878788</c:v>
                </c:pt>
                <c:pt idx="2">
                  <c:v>259.61616161616161</c:v>
                </c:pt>
                <c:pt idx="3">
                  <c:v>368.41489361702128</c:v>
                </c:pt>
                <c:pt idx="4">
                  <c:v>814.44444444444446</c:v>
                </c:pt>
                <c:pt idx="5">
                  <c:v>204.0114942528736</c:v>
                </c:pt>
                <c:pt idx="6">
                  <c:v>861.46464646464642</c:v>
                </c:pt>
                <c:pt idx="7">
                  <c:v>1157.454545454545</c:v>
                </c:pt>
                <c:pt idx="8">
                  <c:v>118.8767123287671</c:v>
                </c:pt>
              </c:numCache>
            </c:numRef>
          </c:yVal>
          <c:bubbleSize>
            <c:numRef>
              <c:f>Sheet1!$C$2:$C$10</c:f>
              <c:numCache>
                <c:formatCode>General</c:formatCode>
                <c:ptCount val="9"/>
                <c:pt idx="0">
                  <c:v>94800.4</c:v>
                </c:pt>
                <c:pt idx="1">
                  <c:v>94792.401599999997</c:v>
                </c:pt>
                <c:pt idx="2">
                  <c:v>13395.286</c:v>
                </c:pt>
                <c:pt idx="3">
                  <c:v>23711.407200000001</c:v>
                </c:pt>
                <c:pt idx="4">
                  <c:v>52523.159199999987</c:v>
                </c:pt>
                <c:pt idx="5">
                  <c:v>9299.048499999999</c:v>
                </c:pt>
                <c:pt idx="6">
                  <c:v>53180.887199999997</c:v>
                </c:pt>
                <c:pt idx="7">
                  <c:v>72012.494500000001</c:v>
                </c:pt>
                <c:pt idx="8">
                  <c:v>4247.692</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Casa Azzurra</c:v>
                </c:pt>
                <c:pt idx="3">
                  <c:v>President</c:v>
                </c:pt>
                <c:pt idx="4">
                  <c:v>St Moret</c:v>
                </c:pt>
                <c:pt idx="5">
                  <c:v>Soignon</c:v>
                </c:pt>
                <c:pt idx="6">
                  <c:v>Boursin</c:v>
                </c:pt>
                <c:pt idx="7">
                  <c:v>La Vache Qui Rit</c:v>
                </c:pt>
                <c:pt idx="8">
                  <c:v>Kiri</c:v>
                </c:pt>
                <c:pt idx="9">
                  <c:v>Others</c:v>
                </c:pt>
              </c:strCache>
            </c:strRef>
          </c:cat>
          <c:val>
            <c:numRef>
              <c:f>Sheet1!$B$2:$B$11</c:f>
              <c:numCache>
                <c:formatCode>General</c:formatCode>
                <c:ptCount val="10"/>
                <c:pt idx="0">
                  <c:v>0.31115039348715839</c:v>
                </c:pt>
                <c:pt idx="1">
                  <c:v>4.2254918287255659E-2</c:v>
                </c:pt>
                <c:pt idx="2">
                  <c:v>4.2229754873168428E-2</c:v>
                </c:pt>
                <c:pt idx="3">
                  <c:v>4.133048366453837E-2</c:v>
                </c:pt>
                <c:pt idx="4">
                  <c:v>3.8961398646723967E-2</c:v>
                </c:pt>
                <c:pt idx="5">
                  <c:v>3.7061366084395274E-2</c:v>
                </c:pt>
                <c:pt idx="6">
                  <c:v>2.4802028042837435E-2</c:v>
                </c:pt>
                <c:pt idx="7">
                  <c:v>2.4145464609153452E-2</c:v>
                </c:pt>
                <c:pt idx="8">
                  <c:v>2.2285537670369979E-2</c:v>
                </c:pt>
                <c:pt idx="9">
                  <c:v>0.41577865463439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Casa Azzurra</c:v>
                </c:pt>
                <c:pt idx="3">
                  <c:v>President</c:v>
                </c:pt>
                <c:pt idx="4">
                  <c:v>St Moret</c:v>
                </c:pt>
                <c:pt idx="5">
                  <c:v>Soignon</c:v>
                </c:pt>
                <c:pt idx="6">
                  <c:v>Boursin</c:v>
                </c:pt>
                <c:pt idx="7">
                  <c:v>La Vache Qui Rit</c:v>
                </c:pt>
                <c:pt idx="8">
                  <c:v>Kiri</c:v>
                </c:pt>
                <c:pt idx="9">
                  <c:v>Others</c:v>
                </c:pt>
              </c:strCache>
            </c:strRef>
          </c:cat>
          <c:val>
            <c:numRef>
              <c:f>Sheet1!$C$2:$C$11</c:f>
              <c:numCache>
                <c:formatCode>General</c:formatCode>
                <c:ptCount val="10"/>
                <c:pt idx="0">
                  <c:v>0</c:v>
                </c:pt>
                <c:pt idx="1">
                  <c:v>3.8937827141580471E-2</c:v>
                </c:pt>
                <c:pt idx="2">
                  <c:v>4.4086982424784003E-2</c:v>
                </c:pt>
                <c:pt idx="3">
                  <c:v>5.1704327843738011E-2</c:v>
                </c:pt>
                <c:pt idx="4">
                  <c:v>3.9746372186050455E-2</c:v>
                </c:pt>
                <c:pt idx="5">
                  <c:v>4.361887739903824E-2</c:v>
                </c:pt>
                <c:pt idx="6">
                  <c:v>5.4342737988850559E-2</c:v>
                </c:pt>
                <c:pt idx="7">
                  <c:v>2.7618196519000795E-2</c:v>
                </c:pt>
                <c:pt idx="8">
                  <c:v>3.0682156687518603E-2</c:v>
                </c:pt>
                <c:pt idx="9">
                  <c:v>0.6692625218094384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Galbani</c:v>
                </c:pt>
                <c:pt idx="2">
                  <c:v>Casa Azzurra</c:v>
                </c:pt>
                <c:pt idx="3">
                  <c:v>President</c:v>
                </c:pt>
                <c:pt idx="4">
                  <c:v>St Moret</c:v>
                </c:pt>
                <c:pt idx="5">
                  <c:v>Soignon</c:v>
                </c:pt>
                <c:pt idx="6">
                  <c:v>Boursin</c:v>
                </c:pt>
                <c:pt idx="7">
                  <c:v>La Vache Qui Rit</c:v>
                </c:pt>
                <c:pt idx="8">
                  <c:v>Kiri</c:v>
                </c:pt>
                <c:pt idx="9">
                  <c:v>Others</c:v>
                </c:pt>
              </c:strCache>
            </c:strRef>
          </c:cat>
          <c:val>
            <c:numRef>
              <c:f>Sheet1!$D$2:$D$11</c:f>
              <c:numCache>
                <c:formatCode>General</c:formatCode>
                <c:ptCount val="10"/>
                <c:pt idx="0">
                  <c:v>1</c:v>
                </c:pt>
                <c:pt idx="1">
                  <c:v>92.149810530634397</c:v>
                </c:pt>
                <c:pt idx="2">
                  <c:v>104.39791222372357</c:v>
                </c:pt>
                <c:pt idx="3">
                  <c:v>125.0997405774383</c:v>
                </c:pt>
                <c:pt idx="4">
                  <c:v>102.01474681759785</c:v>
                </c:pt>
                <c:pt idx="5">
                  <c:v>117.69365786385305</c:v>
                </c:pt>
                <c:pt idx="6">
                  <c:v>219.10602590639425</c:v>
                </c:pt>
                <c:pt idx="7">
                  <c:v>114.3825433308533</c:v>
                </c:pt>
                <c:pt idx="8">
                  <c:v>137.67743521087425</c:v>
                </c:pt>
                <c:pt idx="9">
                  <c:v>160.9660607512263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Boursin</c:v>
                </c:pt>
                <c:pt idx="4">
                  <c:v>Tartare</c:v>
                </c:pt>
                <c:pt idx="5">
                  <c:v>Carre Frais</c:v>
                </c:pt>
                <c:pt idx="6">
                  <c:v>Philadelphia</c:v>
                </c:pt>
                <c:pt idx="7">
                  <c:v>Rondele</c:v>
                </c:pt>
                <c:pt idx="8">
                  <c:v>Kiri</c:v>
                </c:pt>
                <c:pt idx="9">
                  <c:v>Others</c:v>
                </c:pt>
              </c:strCache>
            </c:strRef>
          </c:cat>
          <c:val>
            <c:numRef>
              <c:f>Sheet1!$B$2:$B$11</c:f>
              <c:numCache>
                <c:formatCode>General</c:formatCode>
                <c:ptCount val="10"/>
                <c:pt idx="0">
                  <c:v>0.3084251897182369</c:v>
                </c:pt>
                <c:pt idx="1">
                  <c:v>0.15815658413191391</c:v>
                </c:pt>
                <c:pt idx="2">
                  <c:v>0.11583331079904323</c:v>
                </c:pt>
                <c:pt idx="3">
                  <c:v>0.11023380759977286</c:v>
                </c:pt>
                <c:pt idx="4">
                  <c:v>0.10830755126897679</c:v>
                </c:pt>
                <c:pt idx="5">
                  <c:v>7.2631861998620706E-2</c:v>
                </c:pt>
                <c:pt idx="6">
                  <c:v>7.0803275269243793E-2</c:v>
                </c:pt>
                <c:pt idx="7">
                  <c:v>2.3466894543493419E-2</c:v>
                </c:pt>
                <c:pt idx="8">
                  <c:v>7.59440244451979E-3</c:v>
                </c:pt>
                <c:pt idx="9">
                  <c:v>2.454712222617859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Boursin</c:v>
                </c:pt>
                <c:pt idx="4">
                  <c:v>Tartare</c:v>
                </c:pt>
                <c:pt idx="5">
                  <c:v>Carre Frais</c:v>
                </c:pt>
                <c:pt idx="6">
                  <c:v>Philadelphia</c:v>
                </c:pt>
                <c:pt idx="7">
                  <c:v>Rondele</c:v>
                </c:pt>
                <c:pt idx="8">
                  <c:v>Kiri</c:v>
                </c:pt>
                <c:pt idx="9">
                  <c:v>Others</c:v>
                </c:pt>
              </c:strCache>
            </c:strRef>
          </c:cat>
          <c:val>
            <c:numRef>
              <c:f>Sheet1!$C$2:$C$11</c:f>
              <c:numCache>
                <c:formatCode>General</c:formatCode>
                <c:ptCount val="10"/>
                <c:pt idx="0">
                  <c:v>0.20991479473276531</c:v>
                </c:pt>
                <c:pt idx="1">
                  <c:v>0.16395558998192614</c:v>
                </c:pt>
                <c:pt idx="2">
                  <c:v>0</c:v>
                </c:pt>
                <c:pt idx="3">
                  <c:v>0.16266460108443062</c:v>
                </c:pt>
                <c:pt idx="4">
                  <c:v>0.1352956364575264</c:v>
                </c:pt>
                <c:pt idx="5">
                  <c:v>5.0606764781822869E-2</c:v>
                </c:pt>
                <c:pt idx="6">
                  <c:v>9.2176607281177367E-2</c:v>
                </c:pt>
                <c:pt idx="7">
                  <c:v>4.5701006971340045E-2</c:v>
                </c:pt>
                <c:pt idx="8">
                  <c:v>3.5373095791376194E-2</c:v>
                </c:pt>
                <c:pt idx="9">
                  <c:v>0.104311902917634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Boursin</c:v>
                </c:pt>
                <c:pt idx="4">
                  <c:v>Tartare</c:v>
                </c:pt>
                <c:pt idx="5">
                  <c:v>Carre Frais</c:v>
                </c:pt>
                <c:pt idx="6">
                  <c:v>Philadelphia</c:v>
                </c:pt>
                <c:pt idx="7">
                  <c:v>Rondele</c:v>
                </c:pt>
                <c:pt idx="8">
                  <c:v>Kiri</c:v>
                </c:pt>
                <c:pt idx="9">
                  <c:v>Others</c:v>
                </c:pt>
              </c:strCache>
            </c:strRef>
          </c:cat>
          <c:val>
            <c:numRef>
              <c:f>Sheet1!$D$2:$D$11</c:f>
              <c:numCache>
                <c:formatCode>General</c:formatCode>
                <c:ptCount val="10"/>
                <c:pt idx="0">
                  <c:v>68.060197976868835</c:v>
                </c:pt>
                <c:pt idx="1">
                  <c:v>103.66662310130283</c:v>
                </c:pt>
                <c:pt idx="2">
                  <c:v>1</c:v>
                </c:pt>
                <c:pt idx="3">
                  <c:v>147.56326087820432</c:v>
                </c:pt>
                <c:pt idx="4">
                  <c:v>124.91800882980537</c:v>
                </c:pt>
                <c:pt idx="5">
                  <c:v>69.675708964729424</c:v>
                </c:pt>
                <c:pt idx="6">
                  <c:v>130.18692557746397</c:v>
                </c:pt>
                <c:pt idx="7">
                  <c:v>194.74671813365862</c:v>
                </c:pt>
                <c:pt idx="8">
                  <c:v>465.7785263526801</c:v>
                </c:pt>
                <c:pt idx="9">
                  <c:v>424.9455474108086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AA779F1-55EB-4553-93F4-1386BEBF7E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41BE634-81CA-44D2-9346-C5E7A00A0F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7DC9205-9F7E-4A82-9498-BC1D2C4598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7217D15-64F4-4BF1-AB03-107691516F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9B3F875-2ED8-4558-92CF-E792242A6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B4F70BF-A20F-428A-837E-20986C7AFB5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6EF04FD-E069-46D0-B040-3ABF7703F1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7F59BEB-F78C-4EB5-A111-4E060C9794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028396F-5CAC-43B0-B864-3D0A70DF5A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921DF9F-ACE6-4118-A9F6-0C6DDEF2AA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88</c:v>
                </c:pt>
                <c:pt idx="1">
                  <c:v>0.99</c:v>
                </c:pt>
                <c:pt idx="2">
                  <c:v>0.99</c:v>
                </c:pt>
                <c:pt idx="3">
                  <c:v>0.99</c:v>
                </c:pt>
                <c:pt idx="4">
                  <c:v>0.96</c:v>
                </c:pt>
                <c:pt idx="5">
                  <c:v>0.99</c:v>
                </c:pt>
                <c:pt idx="6">
                  <c:v>0.98</c:v>
                </c:pt>
              </c:numCache>
            </c:numRef>
          </c:xVal>
          <c:yVal>
            <c:numRef>
              <c:f>Sheet1!$B$2:$B$8</c:f>
              <c:numCache>
                <c:formatCode>General</c:formatCode>
                <c:ptCount val="7"/>
                <c:pt idx="0">
                  <c:v>212.81818181818181</c:v>
                </c:pt>
                <c:pt idx="1">
                  <c:v>1861.373737373737</c:v>
                </c:pt>
                <c:pt idx="2">
                  <c:v>2046.9595959595961</c:v>
                </c:pt>
                <c:pt idx="3">
                  <c:v>2510.909090909091</c:v>
                </c:pt>
                <c:pt idx="4">
                  <c:v>295.54166666666669</c:v>
                </c:pt>
                <c:pt idx="5">
                  <c:v>542.23232323232321</c:v>
                </c:pt>
                <c:pt idx="6">
                  <c:v>619.70408163265301</c:v>
                </c:pt>
              </c:numCache>
            </c:numRef>
          </c:yVal>
          <c:bubbleSize>
            <c:numRef>
              <c:f>Sheet1!$C$2:$C$8</c:f>
              <c:numCache>
                <c:formatCode>General</c:formatCode>
                <c:ptCount val="7"/>
                <c:pt idx="0">
                  <c:v>7654.3233</c:v>
                </c:pt>
                <c:pt idx="1">
                  <c:v>105773.54399999999</c:v>
                </c:pt>
                <c:pt idx="2">
                  <c:v>123606.6195</c:v>
                </c:pt>
                <c:pt idx="3">
                  <c:v>154735.0969</c:v>
                </c:pt>
                <c:pt idx="4">
                  <c:v>15154.5465</c:v>
                </c:pt>
                <c:pt idx="5">
                  <c:v>28961.603999999999</c:v>
                </c:pt>
                <c:pt idx="6">
                  <c:v>30217.781999999999</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0FA772E-3A65-4C14-A42C-8690C60B34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F7BE7A9-A33A-4875-8AF7-832AF93EAD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5CFCFA2-B9B1-4B3B-8A99-982743257F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529A22C-5B02-4155-9586-FE820F506E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6DC4A11-384E-4825-AFE0-8332AFCE6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CB6A8C4-D5DD-4AA7-AC30-EEF923576A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B26C1A0-2378-4457-9FEC-77A212C49D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B16AEA2-630A-473D-81CF-6D590AC789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749CB7B-FED4-4573-BAB1-8F3462422D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537B930-7CBC-4449-A4FC-297250BB19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99</c:v>
                </c:pt>
                <c:pt idx="1">
                  <c:v>0.99</c:v>
                </c:pt>
                <c:pt idx="2">
                  <c:v>0.99</c:v>
                </c:pt>
                <c:pt idx="3">
                  <c:v>0.99</c:v>
                </c:pt>
                <c:pt idx="4">
                  <c:v>0.99</c:v>
                </c:pt>
                <c:pt idx="5">
                  <c:v>0.83</c:v>
                </c:pt>
                <c:pt idx="6">
                  <c:v>0.95</c:v>
                </c:pt>
                <c:pt idx="7">
                  <c:v>0.87</c:v>
                </c:pt>
                <c:pt idx="8">
                  <c:v>0.97</c:v>
                </c:pt>
                <c:pt idx="9">
                  <c:v>0.98</c:v>
                </c:pt>
                <c:pt idx="10">
                  <c:v>0.96</c:v>
                </c:pt>
                <c:pt idx="11">
                  <c:v>0.95</c:v>
                </c:pt>
                <c:pt idx="12">
                  <c:v>0.99</c:v>
                </c:pt>
                <c:pt idx="13">
                  <c:v>0.99</c:v>
                </c:pt>
                <c:pt idx="14">
                  <c:v>0.73</c:v>
                </c:pt>
              </c:numCache>
            </c:numRef>
          </c:xVal>
          <c:yVal>
            <c:numRef>
              <c:f>Sheet1!$B$2:$B$16</c:f>
              <c:numCache>
                <c:formatCode>General</c:formatCode>
                <c:ptCount val="15"/>
                <c:pt idx="0">
                  <c:v>899.93939393939399</c:v>
                </c:pt>
                <c:pt idx="1">
                  <c:v>706.57575757575762</c:v>
                </c:pt>
                <c:pt idx="2">
                  <c:v>229.83838383838381</c:v>
                </c:pt>
                <c:pt idx="3">
                  <c:v>259.5858585858586</c:v>
                </c:pt>
                <c:pt idx="4">
                  <c:v>547.73737373737379</c:v>
                </c:pt>
                <c:pt idx="5">
                  <c:v>154.5301204819277</c:v>
                </c:pt>
                <c:pt idx="6">
                  <c:v>253.43157894736839</c:v>
                </c:pt>
                <c:pt idx="7">
                  <c:v>110.4712643678161</c:v>
                </c:pt>
                <c:pt idx="8">
                  <c:v>209.1237113402062</c:v>
                </c:pt>
                <c:pt idx="9">
                  <c:v>321.57142857142861</c:v>
                </c:pt>
                <c:pt idx="10">
                  <c:v>327.33333333333331</c:v>
                </c:pt>
                <c:pt idx="11">
                  <c:v>205.3052631578947</c:v>
                </c:pt>
                <c:pt idx="12">
                  <c:v>1058.6464646464649</c:v>
                </c:pt>
                <c:pt idx="13">
                  <c:v>373.97979797979798</c:v>
                </c:pt>
                <c:pt idx="14">
                  <c:v>106.42465753424661</c:v>
                </c:pt>
              </c:numCache>
            </c:numRef>
          </c:yVal>
          <c:bubbleSize>
            <c:numRef>
              <c:f>Sheet1!$C$2:$C$16</c:f>
              <c:numCache>
                <c:formatCode>General</c:formatCode>
                <c:ptCount val="15"/>
                <c:pt idx="0">
                  <c:v>55170.794599999987</c:v>
                </c:pt>
                <c:pt idx="1">
                  <c:v>44106.495000000003</c:v>
                </c:pt>
                <c:pt idx="2">
                  <c:v>12349.773800000001</c:v>
                </c:pt>
                <c:pt idx="3">
                  <c:v>14198.6855</c:v>
                </c:pt>
                <c:pt idx="4">
                  <c:v>28831.452000000001</c:v>
                </c:pt>
                <c:pt idx="5">
                  <c:v>7867.86</c:v>
                </c:pt>
                <c:pt idx="6">
                  <c:v>13497.9589</c:v>
                </c:pt>
                <c:pt idx="7">
                  <c:v>4340.1383999999998</c:v>
                </c:pt>
                <c:pt idx="8">
                  <c:v>11428.3532</c:v>
                </c:pt>
                <c:pt idx="9">
                  <c:v>17992.606500000002</c:v>
                </c:pt>
                <c:pt idx="10">
                  <c:v>18264.846600000001</c:v>
                </c:pt>
                <c:pt idx="11">
                  <c:v>10385.634599999999</c:v>
                </c:pt>
                <c:pt idx="12">
                  <c:v>62945.8802</c:v>
                </c:pt>
                <c:pt idx="13">
                  <c:v>18204.570100000001</c:v>
                </c:pt>
                <c:pt idx="14">
                  <c:v>3921.063900000001</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Salade &amp; Aperitif Fromage Frais Des Afh 1X120Gr 1P</c:v>
                  </c:pt>
                  <c:pt idx="5">
                    <c:v>Boursin Salade &amp; Aperitif Fromage Frais Des Figue Noix 1X120Gr 1P</c:v>
                  </c:pt>
                  <c:pt idx="6">
                    <c:v>Boursin Salade &amp; Aperitif Fromage Frais Des Ciboulette Echalote 1X120Gr 1P</c:v>
                  </c:pt>
                  <c:pt idx="7">
                    <c:v>Boursin Salade &amp; Aperitif Fromage Frais Des Citron Romarin 1X12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Ciboulette &amp; Echalote 1X160Gr 10P</c:v>
                  </c:pt>
                  <c:pt idx="12">
                    <c:v>Boursin Classique Fromage Frais A Tartiner Afh Boite 1X250Gr 1P</c:v>
                  </c:pt>
                  <c:pt idx="13">
                    <c:v>Boursin Onctueux Fromage Frais A Tartiner Afh 1X125Gr 1P</c:v>
                  </c:pt>
                  <c:pt idx="14">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06BBF84-35F7-43FE-B25D-E6D607F450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658CF60-EBC7-4921-93AC-B4BC651187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7F36E37-AD8E-4AA3-A228-79FD721561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F409FBF-2A7C-418A-958F-D3C9FDD91B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68F0F9B-0766-437E-AAD7-C73952FB7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3F3C652-4663-41FD-91D0-265CF029CD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1DF52A8-6559-4095-8DD2-ED37072590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9CF1576-6F76-47FB-AEED-4C96ED20F2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4757FAB-91F2-4267-8BFE-9ECCD7B7EB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24C4AA7-664D-4BD1-A94C-A9A5B9800C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47</c:v>
                </c:pt>
                <c:pt idx="1">
                  <c:v>0.85</c:v>
                </c:pt>
                <c:pt idx="2">
                  <c:v>0.44</c:v>
                </c:pt>
                <c:pt idx="3">
                  <c:v>0.59</c:v>
                </c:pt>
                <c:pt idx="4">
                  <c:v>0.92</c:v>
                </c:pt>
                <c:pt idx="5">
                  <c:v>0.3</c:v>
                </c:pt>
                <c:pt idx="6">
                  <c:v>0.89</c:v>
                </c:pt>
                <c:pt idx="7">
                  <c:v>0.67</c:v>
                </c:pt>
                <c:pt idx="8">
                  <c:v>0.1</c:v>
                </c:pt>
              </c:numCache>
            </c:numRef>
          </c:xVal>
          <c:yVal>
            <c:numRef>
              <c:f>Sheet1!$B$2:$B$10</c:f>
              <c:numCache>
                <c:formatCode>General</c:formatCode>
                <c:ptCount val="9"/>
                <c:pt idx="0">
                  <c:v>1288.617021276596</c:v>
                </c:pt>
                <c:pt idx="1">
                  <c:v>1618.623529411765</c:v>
                </c:pt>
                <c:pt idx="2">
                  <c:v>371.75</c:v>
                </c:pt>
                <c:pt idx="3">
                  <c:v>520.91525423728808</c:v>
                </c:pt>
                <c:pt idx="4">
                  <c:v>1084.782608695652</c:v>
                </c:pt>
                <c:pt idx="5">
                  <c:v>466.8</c:v>
                </c:pt>
                <c:pt idx="6">
                  <c:v>1075.011235955056</c:v>
                </c:pt>
                <c:pt idx="7">
                  <c:v>1039.014925373134</c:v>
                </c:pt>
                <c:pt idx="8">
                  <c:v>319</c:v>
                </c:pt>
              </c:numCache>
            </c:numRef>
          </c:yVal>
          <c:bubbleSize>
            <c:numRef>
              <c:f>Sheet1!$C$2:$C$10</c:f>
              <c:numCache>
                <c:formatCode>General</c:formatCode>
                <c:ptCount val="9"/>
                <c:pt idx="0">
                  <c:v>35560.734499999999</c:v>
                </c:pt>
                <c:pt idx="1">
                  <c:v>87751.572</c:v>
                </c:pt>
                <c:pt idx="2">
                  <c:v>7708.5276000000013</c:v>
                </c:pt>
                <c:pt idx="3">
                  <c:v>20940.809799999999</c:v>
                </c:pt>
                <c:pt idx="4">
                  <c:v>60834.53439999999</c:v>
                </c:pt>
                <c:pt idx="5">
                  <c:v>6375.4179999999997</c:v>
                </c:pt>
                <c:pt idx="6">
                  <c:v>55887.63</c:v>
                </c:pt>
                <c:pt idx="7">
                  <c:v>40040.788</c:v>
                </c:pt>
                <c:pt idx="8">
                  <c:v>1479.5652</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Gouter Fromage Blanc Dips Boite 1X175Gr 5P</c:v>
                  </c:pt>
                  <c:pt idx="7">
                    <c:v>Kiri Gouter Fromage Blanc Dips Boite 1X280Gr 8P</c:v>
                  </c:pt>
                  <c:pt idx="8">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CBF0DBC-7E02-481A-9334-C49C207FDC3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0A969D3-347D-4DAE-858E-DBED5AA413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3338935-CA84-4D95-905F-31981EAEB5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D69C306-9E52-45AC-B713-A9789A23D1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81248E9-E07A-414E-A653-87EC54610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B236606-6DE9-4054-969E-96399FEC87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337D70D-FA87-469D-A130-DA20832671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F13F76B-2B45-4D7A-B5B5-7C715AB117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DF8CF0B-F97B-4436-8723-D3E99A5F95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5FF8FA3-CDC0-433C-85A3-D123FB1A74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25</c:v>
                </c:pt>
                <c:pt idx="1">
                  <c:v>0.98</c:v>
                </c:pt>
                <c:pt idx="2">
                  <c:v>0.68</c:v>
                </c:pt>
                <c:pt idx="3">
                  <c:v>0.65</c:v>
                </c:pt>
                <c:pt idx="4">
                  <c:v>0.42</c:v>
                </c:pt>
                <c:pt idx="5">
                  <c:v>0.77</c:v>
                </c:pt>
                <c:pt idx="6">
                  <c:v>0.32</c:v>
                </c:pt>
              </c:numCache>
            </c:numRef>
          </c:xVal>
          <c:yVal>
            <c:numRef>
              <c:f>Sheet1!$B$2:$B$8</c:f>
              <c:numCache>
                <c:formatCode>General</c:formatCode>
                <c:ptCount val="7"/>
                <c:pt idx="0">
                  <c:v>302.72000000000003</c:v>
                </c:pt>
                <c:pt idx="1">
                  <c:v>2144.071428571428</c:v>
                </c:pt>
                <c:pt idx="2">
                  <c:v>1798.10294117647</c:v>
                </c:pt>
                <c:pt idx="3">
                  <c:v>2110.4923076923078</c:v>
                </c:pt>
                <c:pt idx="4">
                  <c:v>544.73809523809518</c:v>
                </c:pt>
                <c:pt idx="5">
                  <c:v>586.18181818181813</c:v>
                </c:pt>
                <c:pt idx="6">
                  <c:v>514.03125</c:v>
                </c:pt>
              </c:numCache>
            </c:numRef>
          </c:yVal>
          <c:bubbleSize>
            <c:numRef>
              <c:f>Sheet1!$C$2:$C$8</c:f>
              <c:numCache>
                <c:formatCode>General</c:formatCode>
                <c:ptCount val="7"/>
                <c:pt idx="0">
                  <c:v>2891.0972999999999</c:v>
                </c:pt>
                <c:pt idx="1">
                  <c:v>119456.67479999999</c:v>
                </c:pt>
                <c:pt idx="2">
                  <c:v>70823.141200000013</c:v>
                </c:pt>
                <c:pt idx="3">
                  <c:v>79817.339399999997</c:v>
                </c:pt>
                <c:pt idx="4">
                  <c:v>10898.412</c:v>
                </c:pt>
                <c:pt idx="5">
                  <c:v>22425.295999999998</c:v>
                </c:pt>
                <c:pt idx="6">
                  <c:v>7537.2546000000002</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AE305C1-819B-487A-B5E2-33857D492C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FCC6D0C-A1F4-47FA-9315-83919BC7CF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5B61DC6-F2D3-4B80-958D-6A22919EBC5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E49D57F-1F98-4926-A549-B925EA46CD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4EBDB2A-C44F-4982-A1FD-EE48B2DFE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13264D1-B866-4206-AE7F-899CC6AB45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EAA98D7-9832-4F59-86FC-684B3D23952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78D4548-6CFA-47DF-8A89-A5CCBB248E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E05D778-C4B7-4C4A-8FB7-5584C0D6B2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5B1CB78-C3BF-4C70-B060-EB1ED91BB4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9</c:v>
                </c:pt>
                <c:pt idx="1">
                  <c:v>0.96</c:v>
                </c:pt>
                <c:pt idx="2">
                  <c:v>0.8</c:v>
                </c:pt>
                <c:pt idx="3">
                  <c:v>0.81</c:v>
                </c:pt>
                <c:pt idx="4">
                  <c:v>0.84</c:v>
                </c:pt>
                <c:pt idx="5">
                  <c:v>0.18</c:v>
                </c:pt>
                <c:pt idx="6">
                  <c:v>0.43</c:v>
                </c:pt>
                <c:pt idx="7">
                  <c:v>0.28000000000000003</c:v>
                </c:pt>
                <c:pt idx="8">
                  <c:v>0.59</c:v>
                </c:pt>
                <c:pt idx="9">
                  <c:v>0.66</c:v>
                </c:pt>
                <c:pt idx="10">
                  <c:v>0.33</c:v>
                </c:pt>
                <c:pt idx="11">
                  <c:v>0.46</c:v>
                </c:pt>
                <c:pt idx="12">
                  <c:v>0.75</c:v>
                </c:pt>
                <c:pt idx="13">
                  <c:v>0.81</c:v>
                </c:pt>
                <c:pt idx="14">
                  <c:v>0.14000000000000001</c:v>
                </c:pt>
              </c:numCache>
            </c:numRef>
          </c:xVal>
          <c:yVal>
            <c:numRef>
              <c:f>Sheet1!$B$2:$B$16</c:f>
              <c:numCache>
                <c:formatCode>General</c:formatCode>
                <c:ptCount val="15"/>
                <c:pt idx="0">
                  <c:v>1038.5555555555561</c:v>
                </c:pt>
                <c:pt idx="1">
                  <c:v>948.11458333333337</c:v>
                </c:pt>
                <c:pt idx="2">
                  <c:v>415.85</c:v>
                </c:pt>
                <c:pt idx="3">
                  <c:v>531.17283950617286</c:v>
                </c:pt>
                <c:pt idx="4">
                  <c:v>612.89285714285711</c:v>
                </c:pt>
                <c:pt idx="5">
                  <c:v>284.5</c:v>
                </c:pt>
                <c:pt idx="6">
                  <c:v>258.48837209302332</c:v>
                </c:pt>
                <c:pt idx="7">
                  <c:v>164.25</c:v>
                </c:pt>
                <c:pt idx="8">
                  <c:v>369.57627118644069</c:v>
                </c:pt>
                <c:pt idx="9">
                  <c:v>491.4848484848485</c:v>
                </c:pt>
                <c:pt idx="10">
                  <c:v>296.15151515151513</c:v>
                </c:pt>
                <c:pt idx="11">
                  <c:v>255.95652173913041</c:v>
                </c:pt>
                <c:pt idx="12">
                  <c:v>854.77333333333331</c:v>
                </c:pt>
                <c:pt idx="13">
                  <c:v>667.28395061728395</c:v>
                </c:pt>
                <c:pt idx="14">
                  <c:v>215.78571428571419</c:v>
                </c:pt>
              </c:numCache>
            </c:numRef>
          </c:yVal>
          <c:bubbleSize>
            <c:numRef>
              <c:f>Sheet1!$C$2:$C$16</c:f>
              <c:numCache>
                <c:formatCode>General</c:formatCode>
                <c:ptCount val="15"/>
                <c:pt idx="0">
                  <c:v>54621.099199999997</c:v>
                </c:pt>
                <c:pt idx="1">
                  <c:v>54132.285000000003</c:v>
                </c:pt>
                <c:pt idx="2">
                  <c:v>16316.1432</c:v>
                </c:pt>
                <c:pt idx="3">
                  <c:v>21532.756399999998</c:v>
                </c:pt>
                <c:pt idx="4">
                  <c:v>25458.860400000001</c:v>
                </c:pt>
                <c:pt idx="5">
                  <c:v>2856.9135000000001</c:v>
                </c:pt>
                <c:pt idx="6">
                  <c:v>5751.4501999999993</c:v>
                </c:pt>
                <c:pt idx="7">
                  <c:v>1920.1572000000001</c:v>
                </c:pt>
                <c:pt idx="8">
                  <c:v>11073.1368</c:v>
                </c:pt>
                <c:pt idx="9">
                  <c:v>16934.157899999998</c:v>
                </c:pt>
                <c:pt idx="10">
                  <c:v>5465.4452999999994</c:v>
                </c:pt>
                <c:pt idx="11">
                  <c:v>5731.8689999999997</c:v>
                </c:pt>
                <c:pt idx="12">
                  <c:v>36049.686399999999</c:v>
                </c:pt>
                <c:pt idx="13">
                  <c:v>24109.244900000002</c:v>
                </c:pt>
                <c:pt idx="14">
                  <c:v>1395.9426000000001</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Salade &amp; Aperitif Fromage Frais Des Afh 1X120Gr 1P</c:v>
                  </c:pt>
                  <c:pt idx="5">
                    <c:v>Boursin Salade &amp; Aperitif Fromage Frais Des Figue Noix 1X120Gr 1P</c:v>
                  </c:pt>
                  <c:pt idx="6">
                    <c:v>Boursin Salade &amp; Aperitif Fromage Frais Des Ciboulette Echalote 1X120Gr 1P</c:v>
                  </c:pt>
                  <c:pt idx="7">
                    <c:v>Boursin Salade &amp; Aperitif Fromage Frais Des Citron Romarin 1X12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Ciboulette &amp; Echalote 1X160Gr 10P</c:v>
                  </c:pt>
                  <c:pt idx="12">
                    <c:v>Boursin Classique Fromage Frais A Tartiner Afh Boite 1X250Gr 1P</c:v>
                  </c:pt>
                  <c:pt idx="13">
                    <c:v>Boursin Onctueux Fromage Frais A Tartiner Afh 1X125Gr 1P</c:v>
                  </c:pt>
                  <c:pt idx="14">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EEFE9DD-4F20-45C0-B61C-8DBDC4B640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6C9B371-5178-4E6F-B254-D969DBA1A5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A644D4E-F315-45E9-9390-FA7F214A09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0EA659B-6717-4ED5-BE0D-670D51F042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A7C60BE-DFD0-4E25-AD35-B792A94F4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ED499AC-BA87-4B56-A972-7CBD2740E6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34A074A-90E0-46DF-91E7-93F6143197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133E915-EBA0-4913-B7AB-B043AA1F72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DC95655-D4AF-4767-AA66-D54204E7B6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097E0F9-683A-4483-BE79-163889846B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89900000000000002</c:v>
                </c:pt>
                <c:pt idx="1">
                  <c:v>0.71899999999999997</c:v>
                </c:pt>
                <c:pt idx="2">
                  <c:v>0.35</c:v>
                </c:pt>
              </c:numCache>
            </c:numRef>
          </c:xVal>
          <c:yVal>
            <c:numRef>
              <c:f>Sheet1!$B$2:$B$4</c:f>
              <c:numCache>
                <c:formatCode>General</c:formatCode>
                <c:ptCount val="3"/>
                <c:pt idx="0">
                  <c:v>8016.8743047830922</c:v>
                </c:pt>
                <c:pt idx="1">
                  <c:v>3581.9471488178028</c:v>
                </c:pt>
                <c:pt idx="2">
                  <c:v>1497</c:v>
                </c:pt>
              </c:numCache>
            </c:numRef>
          </c:yVal>
          <c:bubbleSize>
            <c:numRef>
              <c:f>Sheet1!$C$2:$C$4</c:f>
              <c:numCache>
                <c:formatCode>General</c:formatCode>
                <c:ptCount val="3"/>
                <c:pt idx="0">
                  <c:v>446772.16639999987</c:v>
                </c:pt>
                <c:pt idx="1">
                  <c:v>164137.07250000001</c:v>
                </c:pt>
                <c:pt idx="2">
                  <c:v>28513.120200000001</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Ciboulette &amp; Echalote Jambon Fume Boite 1X100Gr 20P</c:v>
                  </c:pt>
                  <c:pt idx="2">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6047B7E-98AD-493B-9076-9DDDC4C3C8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AD00E0B-3B5D-48EA-94F2-0D8B67C8D2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9C122B2-B2BF-4A2E-B552-3DF077C011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71DA250-284B-443F-A2F4-ECAB795D7C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2BF81C8-4747-4302-841D-03CFA0D32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8290BC7-EF94-469D-B365-D4B416523E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B30584C-887B-4F71-9365-FE9714A381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D0655EA-E80D-41F0-8213-FB97D349BF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2454557-C8E6-405B-8726-285FDEAB1A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41B6CB4-475A-477E-9F51-94109B96F9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4799999999999995</c:v>
                </c:pt>
                <c:pt idx="1">
                  <c:v>0.8</c:v>
                </c:pt>
                <c:pt idx="2">
                  <c:v>0.88700000000000001</c:v>
                </c:pt>
                <c:pt idx="3">
                  <c:v>0.29199999999999998</c:v>
                </c:pt>
                <c:pt idx="4">
                  <c:v>0.65800000000000003</c:v>
                </c:pt>
              </c:numCache>
            </c:numRef>
          </c:xVal>
          <c:yVal>
            <c:numRef>
              <c:f>Sheet1!$B$2:$B$6</c:f>
              <c:numCache>
                <c:formatCode>General</c:formatCode>
                <c:ptCount val="5"/>
                <c:pt idx="0">
                  <c:v>6322.3101265822788</c:v>
                </c:pt>
                <c:pt idx="1">
                  <c:v>2063.0500000000002</c:v>
                </c:pt>
                <c:pt idx="2">
                  <c:v>4077.1702367531002</c:v>
                </c:pt>
                <c:pt idx="3">
                  <c:v>127.8082191780822</c:v>
                </c:pt>
                <c:pt idx="4">
                  <c:v>733.87537993920978</c:v>
                </c:pt>
              </c:numCache>
            </c:numRef>
          </c:yVal>
          <c:bubbleSize>
            <c:numRef>
              <c:f>Sheet1!$C$2:$C$6</c:f>
              <c:numCache>
                <c:formatCode>General</c:formatCode>
                <c:ptCount val="5"/>
                <c:pt idx="0">
                  <c:v>325139.99699999997</c:v>
                </c:pt>
                <c:pt idx="1">
                  <c:v>88570.481599999999</c:v>
                </c:pt>
                <c:pt idx="2">
                  <c:v>184870.6992</c:v>
                </c:pt>
                <c:pt idx="3">
                  <c:v>2621.6628999999998</c:v>
                </c:pt>
                <c:pt idx="4">
                  <c:v>26373.204000000002</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B3A3CDD-E2FA-4B86-844A-8D6CD1E6C4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FABE52B-AAC7-4D85-8057-F263D570B5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8645481-48A8-40FD-BBC7-0DF2E808A3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6F685A7-9340-4E14-8477-91941FDEE1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D5A7B2D-DE27-4D80-B963-1B12DB4FC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74CD452-2CB7-420C-9EA5-E362A0B559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BCEEBFC-BEBC-4C6E-8860-05894C5625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F8A6CD5-9A54-4237-9073-0E62D49FD5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136190D-CBA6-4E45-84F4-729F39F3EE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8FD2D19-2BFE-4F9F-A533-0CE4BDB503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99</c:v>
                </c:pt>
                <c:pt idx="1">
                  <c:v>0.9</c:v>
                </c:pt>
                <c:pt idx="2">
                  <c:v>0.53</c:v>
                </c:pt>
              </c:numCache>
            </c:numRef>
          </c:xVal>
          <c:yVal>
            <c:numRef>
              <c:f>Sheet1!$B$2:$B$4</c:f>
              <c:numCache>
                <c:formatCode>General</c:formatCode>
                <c:ptCount val="3"/>
                <c:pt idx="0">
                  <c:v>2140.636363636364</c:v>
                </c:pt>
                <c:pt idx="1">
                  <c:v>1159.7777777777781</c:v>
                </c:pt>
                <c:pt idx="2">
                  <c:v>590.58490566037733</c:v>
                </c:pt>
              </c:numCache>
            </c:numRef>
          </c:yVal>
          <c:bubbleSize>
            <c:numRef>
              <c:f>Sheet1!$C$2:$C$4</c:f>
              <c:numCache>
                <c:formatCode>General</c:formatCode>
                <c:ptCount val="3"/>
                <c:pt idx="0">
                  <c:v>141887.92000000001</c:v>
                </c:pt>
                <c:pt idx="1">
                  <c:v>67815.993400000007</c:v>
                </c:pt>
                <c:pt idx="2">
                  <c:v>17652.18</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Ciboulette &amp; Echalote Jambon Fume Boite 1X100Gr 20P</c:v>
                  </c:pt>
                  <c:pt idx="2">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E9B6107-16CC-4633-9302-CBC63586FF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50723AD-8ECF-43B8-B880-F57AE35979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962D689-52AE-48C2-B7E3-5501EF889B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BFFC63A-515D-4E59-9269-F9308C0C88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5913EBE-1ED6-41EC-9C6A-7623254CE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7D35718-3483-4843-9FB1-613FBB2D43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7403146-4731-4642-8724-448860F570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902B259-9839-4C64-837F-FE842B1C05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CFEE501-BCC1-4206-AC38-BC35E21857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8221A34-562B-4CCF-84AE-E6AD161DD3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94</c:v>
                </c:pt>
                <c:pt idx="1">
                  <c:v>0.79</c:v>
                </c:pt>
                <c:pt idx="2">
                  <c:v>0.28999999999999998</c:v>
                </c:pt>
              </c:numCache>
            </c:numRef>
          </c:xVal>
          <c:yVal>
            <c:numRef>
              <c:f>Sheet1!$B$2:$B$4</c:f>
              <c:numCache>
                <c:formatCode>General</c:formatCode>
                <c:ptCount val="3"/>
                <c:pt idx="0">
                  <c:v>2727.5957446808511</c:v>
                </c:pt>
                <c:pt idx="1">
                  <c:v>1685.3544303797471</c:v>
                </c:pt>
                <c:pt idx="2">
                  <c:v>727.37931034482767</c:v>
                </c:pt>
              </c:numCache>
            </c:numRef>
          </c:yVal>
          <c:bubbleSize>
            <c:numRef>
              <c:f>Sheet1!$C$2:$C$4</c:f>
              <c:numCache>
                <c:formatCode>General</c:formatCode>
                <c:ptCount val="3"/>
                <c:pt idx="0">
                  <c:v>167052.128</c:v>
                </c:pt>
                <c:pt idx="1">
                  <c:v>86476.008199999997</c:v>
                </c:pt>
                <c:pt idx="2">
                  <c:v>10860.940199999999</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Ciboulette &amp; Echalote Jambon Fume Boite 1X100Gr 20P</c:v>
                  </c:pt>
                  <c:pt idx="2">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3CA409A-F140-49E3-8FD6-C9D136736B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BF1D8B5-1800-4337-97F0-DC36BEEC71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A1E90A8-D68D-4925-A221-0E459E8833C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B1DDCF5-BFBF-422A-97B0-B532E3878F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43BC832-1B68-48A0-A70C-899910249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B2FC048-1428-4C1F-99CD-EAC76DFA7B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9C7DC32-0DD2-4975-8CF3-E22979C8ED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4DC1B43-3590-43EF-81B8-631296857D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728C1A9-3A55-48D6-A0A6-71D8B874AC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6AB181F-B78F-4BF9-9093-513B2FE271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56000000000000005</c:v>
                </c:pt>
                <c:pt idx="1">
                  <c:v>7.0000000000000007E-2</c:v>
                </c:pt>
              </c:numCache>
            </c:numRef>
          </c:xVal>
          <c:yVal>
            <c:numRef>
              <c:f>Sheet1!$B$2:$B$3</c:f>
              <c:numCache>
                <c:formatCode>General</c:formatCode>
                <c:ptCount val="2"/>
                <c:pt idx="0">
                  <c:v>4507.1428571428569</c:v>
                </c:pt>
                <c:pt idx="1">
                  <c:v>2859.8571428571431</c:v>
                </c:pt>
              </c:numCache>
            </c:numRef>
          </c:yVal>
          <c:bubbleSize>
            <c:numRef>
              <c:f>Sheet1!$C$2:$C$3</c:f>
              <c:numCache>
                <c:formatCode>General</c:formatCode>
                <c:ptCount val="2"/>
                <c:pt idx="0">
                  <c:v>137832.11840000001</c:v>
                </c:pt>
                <c:pt idx="1">
                  <c:v>9845.0709000000006</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Ciboulette &amp; Echalote Jambon Fume Boite 1X100Gr 2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Philadelphia</c:v>
                </c:pt>
                <c:pt idx="6">
                  <c:v>Carre Frais</c:v>
                </c:pt>
                <c:pt idx="7">
                  <c:v>Kiri</c:v>
                </c:pt>
                <c:pt idx="8">
                  <c:v>La Vache Qui Rit</c:v>
                </c:pt>
                <c:pt idx="9">
                  <c:v>Others</c:v>
                </c:pt>
              </c:strCache>
            </c:strRef>
          </c:cat>
          <c:val>
            <c:numRef>
              <c:f>Sheet1!$B$2:$B$11</c:f>
              <c:numCache>
                <c:formatCode>General</c:formatCode>
                <c:ptCount val="10"/>
                <c:pt idx="0">
                  <c:v>0.28137091877957626</c:v>
                </c:pt>
                <c:pt idx="1">
                  <c:v>0.18830908433867069</c:v>
                </c:pt>
                <c:pt idx="2">
                  <c:v>0.16880567177411737</c:v>
                </c:pt>
                <c:pt idx="3">
                  <c:v>0.1092033869975708</c:v>
                </c:pt>
                <c:pt idx="4">
                  <c:v>9.6502641591204433E-2</c:v>
                </c:pt>
                <c:pt idx="5">
                  <c:v>8.1219267595137909E-2</c:v>
                </c:pt>
                <c:pt idx="6">
                  <c:v>5.2167214672144739E-2</c:v>
                </c:pt>
                <c:pt idx="7">
                  <c:v>1.231030389034341E-2</c:v>
                </c:pt>
                <c:pt idx="8">
                  <c:v>4.2941960307094474E-6</c:v>
                </c:pt>
                <c:pt idx="9">
                  <c:v>1.010721616520366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Philadelphia</c:v>
                </c:pt>
                <c:pt idx="6">
                  <c:v>Carre Frais</c:v>
                </c:pt>
                <c:pt idx="7">
                  <c:v>Kiri</c:v>
                </c:pt>
                <c:pt idx="8">
                  <c:v>La Vache Qui Rit</c:v>
                </c:pt>
                <c:pt idx="9">
                  <c:v>Others</c:v>
                </c:pt>
              </c:strCache>
            </c:strRef>
          </c:cat>
          <c:val>
            <c:numRef>
              <c:f>Sheet1!$C$2:$C$11</c:f>
              <c:numCache>
                <c:formatCode>General</c:formatCode>
                <c:ptCount val="10"/>
                <c:pt idx="0">
                  <c:v>0.2497652582159624</c:v>
                </c:pt>
                <c:pt idx="1">
                  <c:v>0</c:v>
                </c:pt>
                <c:pt idx="2">
                  <c:v>0.18873239436619715</c:v>
                </c:pt>
                <c:pt idx="3">
                  <c:v>0.16619718309859149</c:v>
                </c:pt>
                <c:pt idx="4">
                  <c:v>0.15023474178403753</c:v>
                </c:pt>
                <c:pt idx="5">
                  <c:v>8.8262910798122055E-2</c:v>
                </c:pt>
                <c:pt idx="6">
                  <c:v>7.7934272300469482E-2</c:v>
                </c:pt>
                <c:pt idx="7">
                  <c:v>6.0093896713615015E-2</c:v>
                </c:pt>
                <c:pt idx="8">
                  <c:v>0</c:v>
                </c:pt>
                <c:pt idx="9">
                  <c:v>1.877934272300469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Philadelphia</c:v>
                </c:pt>
                <c:pt idx="6">
                  <c:v>Carre Frais</c:v>
                </c:pt>
                <c:pt idx="7">
                  <c:v>Kiri</c:v>
                </c:pt>
                <c:pt idx="8">
                  <c:v>La Vache Qui Rit</c:v>
                </c:pt>
                <c:pt idx="9">
                  <c:v>Others</c:v>
                </c:pt>
              </c:strCache>
            </c:strRef>
          </c:cat>
          <c:val>
            <c:numRef>
              <c:f>Sheet1!$D$2:$D$11</c:f>
              <c:numCache>
                <c:formatCode>General</c:formatCode>
                <c:ptCount val="10"/>
                <c:pt idx="0">
                  <c:v>88.767261129650194</c:v>
                </c:pt>
                <c:pt idx="1">
                  <c:v>1</c:v>
                </c:pt>
                <c:pt idx="2">
                  <c:v>111.80453380662716</c:v>
                </c:pt>
                <c:pt idx="3">
                  <c:v>152.19050220694027</c:v>
                </c:pt>
                <c:pt idx="4">
                  <c:v>155.6794086740631</c:v>
                </c:pt>
                <c:pt idx="5">
                  <c:v>108.67237961082748</c:v>
                </c:pt>
                <c:pt idx="6">
                  <c:v>149.39320182275966</c:v>
                </c:pt>
                <c:pt idx="7">
                  <c:v>488.15932773807936</c:v>
                </c:pt>
                <c:pt idx="8">
                  <c:v>1</c:v>
                </c:pt>
                <c:pt idx="9">
                  <c:v>185.8013365505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D0ECE6B-8FA8-4BB9-A768-9A3AE9C21E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2F6A889-9EB9-4B6B-8EED-D7E87C5F41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6FB5BB3-EACF-40CF-82F1-DE2629D9D4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D9EFC8F-C3CD-4AE5-8A6D-B8703926FB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9014741-2ED7-4B2E-BADA-1252C5F20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01715EF-752F-420F-8921-490E177A03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5FAFF4C-C81D-41A0-AE16-177D202F65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8A0806C-DDC8-40E1-97CB-6CE9C2C7C7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ACB31FC-D1D3-4258-A477-005D6A0CA8E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5C57D4C-E447-4F4C-9BE0-C3AA3A41DD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7</c:v>
                </c:pt>
                <c:pt idx="1">
                  <c:v>0.85</c:v>
                </c:pt>
                <c:pt idx="2">
                  <c:v>0.93</c:v>
                </c:pt>
                <c:pt idx="3">
                  <c:v>0.28999999999999998</c:v>
                </c:pt>
                <c:pt idx="4">
                  <c:v>0.7</c:v>
                </c:pt>
              </c:numCache>
            </c:numRef>
          </c:xVal>
          <c:yVal>
            <c:numRef>
              <c:f>Sheet1!$B$2:$B$6</c:f>
              <c:numCache>
                <c:formatCode>General</c:formatCode>
                <c:ptCount val="5"/>
                <c:pt idx="0">
                  <c:v>4568.0927835051543</c:v>
                </c:pt>
                <c:pt idx="1">
                  <c:v>1521.8941176470589</c:v>
                </c:pt>
                <c:pt idx="2">
                  <c:v>3053.16129032258</c:v>
                </c:pt>
                <c:pt idx="3">
                  <c:v>100.6551724137931</c:v>
                </c:pt>
                <c:pt idx="4">
                  <c:v>553.08571428571429</c:v>
                </c:pt>
              </c:numCache>
            </c:numRef>
          </c:yVal>
          <c:bubbleSize>
            <c:numRef>
              <c:f>Sheet1!$C$2:$C$6</c:f>
              <c:numCache>
                <c:formatCode>General</c:formatCode>
                <c:ptCount val="5"/>
                <c:pt idx="0">
                  <c:v>241072.77720000001</c:v>
                </c:pt>
                <c:pt idx="1">
                  <c:v>69362.099199999997</c:v>
                </c:pt>
                <c:pt idx="2">
                  <c:v>144999.24479999999</c:v>
                </c:pt>
                <c:pt idx="3">
                  <c:v>2051.9259999999999</c:v>
                </c:pt>
                <c:pt idx="4">
                  <c:v>21148.5615</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60C31DF-8ABD-4E1B-882D-4226ACFD2E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DA26BE3-4B64-4B9D-BCD8-FA3B7EB61D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F5C95A3-C3D4-48E1-BE4F-5B34B46E55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6487CDC-CE60-4B10-8623-86C12E750A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25A30D8-E15F-4161-8825-4FDB124F7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120E558-6FA9-4015-8447-E660DA94D9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41F0C91-EAEA-4A8E-B7B8-3B38C41A36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7429790-5B54-45FD-94AC-833B42BB052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48A5E75-0D6F-4E18-A505-246B721D7B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52E66E1-AE39-4792-8FAC-C83E1580A4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99</c:v>
                </c:pt>
                <c:pt idx="1">
                  <c:v>0.95</c:v>
                </c:pt>
                <c:pt idx="2">
                  <c:v>0.99</c:v>
                </c:pt>
                <c:pt idx="3">
                  <c:v>0.86</c:v>
                </c:pt>
              </c:numCache>
            </c:numRef>
          </c:xVal>
          <c:yVal>
            <c:numRef>
              <c:f>Sheet1!$B$2:$B$5</c:f>
              <c:numCache>
                <c:formatCode>General</c:formatCode>
                <c:ptCount val="4"/>
                <c:pt idx="0">
                  <c:v>871.57575757575762</c:v>
                </c:pt>
                <c:pt idx="1">
                  <c:v>252.95789473684209</c:v>
                </c:pt>
                <c:pt idx="2">
                  <c:v>514.030303030303</c:v>
                </c:pt>
                <c:pt idx="3">
                  <c:v>83.186046511627907</c:v>
                </c:pt>
              </c:numCache>
            </c:numRef>
          </c:yVal>
          <c:bubbleSize>
            <c:numRef>
              <c:f>Sheet1!$C$2:$C$5</c:f>
              <c:numCache>
                <c:formatCode>General</c:formatCode>
                <c:ptCount val="4"/>
                <c:pt idx="0">
                  <c:v>47854.768199999999</c:v>
                </c:pt>
                <c:pt idx="1">
                  <c:v>13196.82</c:v>
                </c:pt>
                <c:pt idx="2">
                  <c:v>26803.497599999999</c:v>
                </c:pt>
                <c:pt idx="3">
                  <c:v>3908.1405</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0DFDD45-29A5-4365-926C-B6A91883F1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466E7E5-44DF-468E-BF41-0D31B8D557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3D26FCC-1122-424F-AFC2-5CD8ADD75D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445AC31-753C-48E3-A57D-D77333A276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3FDBBF4-927F-4E5D-97BF-2A00C94E7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F4312B9-F0B3-420D-8DE3-59290C844A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6B56E66-BBE8-45A4-A3A4-397942E8E1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8A4BB5-61B7-4F70-AF51-1BC79E7587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2E45D16-62AB-4C93-874F-0476C30D10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C9C4A86-6DB5-4426-B986-0102D6863C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76</c:v>
                </c:pt>
                <c:pt idx="1">
                  <c:v>0.32</c:v>
                </c:pt>
                <c:pt idx="2">
                  <c:v>0.5</c:v>
                </c:pt>
                <c:pt idx="3">
                  <c:v>0.17</c:v>
                </c:pt>
              </c:numCache>
            </c:numRef>
          </c:xVal>
          <c:yVal>
            <c:numRef>
              <c:f>Sheet1!$B$2:$B$5</c:f>
              <c:numCache>
                <c:formatCode>General</c:formatCode>
                <c:ptCount val="4"/>
                <c:pt idx="0">
                  <c:v>920.57894736842104</c:v>
                </c:pt>
                <c:pt idx="1">
                  <c:v>364.125</c:v>
                </c:pt>
                <c:pt idx="2">
                  <c:v>536.24</c:v>
                </c:pt>
                <c:pt idx="3">
                  <c:v>142.29411764705881</c:v>
                </c:pt>
              </c:numCache>
            </c:numRef>
          </c:yVal>
          <c:bubbleSize>
            <c:numRef>
              <c:f>Sheet1!$C$2:$C$5</c:f>
              <c:numCache>
                <c:formatCode>General</c:formatCode>
                <c:ptCount val="4"/>
                <c:pt idx="0">
                  <c:v>36212.4516</c:v>
                </c:pt>
                <c:pt idx="1">
                  <c:v>6011.5624000000007</c:v>
                </c:pt>
                <c:pt idx="2">
                  <c:v>13067.9568</c:v>
                </c:pt>
                <c:pt idx="3">
                  <c:v>1316.502</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E52A8BC-18EF-4C01-8C73-9295F653BA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8A68662-722F-4C3C-8A96-0A060ADF36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4B09827-920D-478F-ABEC-06F2343FA3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F3BA37E-81B8-4629-A2E1-16A62E5724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C0DFD91-F72D-43F8-AF7B-3872C4127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2818A9B-24E2-43DE-8ACF-8F8ED06861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622DE8A-B494-4D03-97B3-90A3CFA113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8573EC9-F98D-4996-934F-B12BECA589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A7ECD20-E6A7-4010-B20E-BF4ECD8913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023D970-4DEF-4475-AF46-430C2FBF20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84299999999999997</c:v>
                </c:pt>
              </c:numCache>
            </c:numRef>
          </c:xVal>
          <c:yVal>
            <c:numRef>
              <c:f>Sheet1!$B$2:$B$2</c:f>
              <c:numCache>
                <c:formatCode>General</c:formatCode>
                <c:ptCount val="1"/>
                <c:pt idx="0">
                  <c:v>2059.0628706998809</c:v>
                </c:pt>
              </c:numCache>
            </c:numRef>
          </c:yVal>
          <c:bubbleSize>
            <c:numRef>
              <c:f>Sheet1!$C$2:$C$2</c:f>
              <c:numCache>
                <c:formatCode>General</c:formatCode>
                <c:ptCount val="1"/>
                <c:pt idx="0">
                  <c:v>97682.337500000009</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CAC6E4B-7824-4483-905D-7D0F5769C1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47065F8-1A5A-45F4-A677-9EFC90CFE8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B7C1B5F-4669-4113-85AB-17E671573A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50D713D-F4DA-47B4-9CF4-31E9424485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A650257-2DB1-4FD3-AD46-E92505ABE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630E874-51D2-4327-B4E5-E0F0A9179A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7963348-78E9-41A9-AD2E-0E0392EB81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BF087D1-6246-4297-BBE0-ED8760CFCC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8F47DF6-0A83-4827-B2B4-308A749078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645ABE1-DD2A-4CC9-BA68-551F731017E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85</c:v>
                </c:pt>
              </c:numCache>
            </c:numRef>
          </c:xVal>
          <c:yVal>
            <c:numRef>
              <c:f>Sheet1!$B$2:$B$2</c:f>
              <c:numCache>
                <c:formatCode>General</c:formatCode>
                <c:ptCount val="1"/>
                <c:pt idx="0">
                  <c:v>1490.3647058823531</c:v>
                </c:pt>
              </c:numCache>
            </c:numRef>
          </c:yVal>
          <c:bubbleSize>
            <c:numRef>
              <c:f>Sheet1!$C$2:$C$2</c:f>
              <c:numCache>
                <c:formatCode>General</c:formatCode>
                <c:ptCount val="1"/>
                <c:pt idx="0">
                  <c:v>71735.347500000003</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BEBA708-D542-4E2E-9BBE-CC8D5FB00D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B4BF10F-ECEA-47AC-9115-519FD570C8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1F7879A-1D34-4A2A-B599-3540B08D18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2662000-DA8F-4EB3-9A0F-F7FBE4E0BC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23A6D0F-B699-42D8-BB98-84B054638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CFC4CFB-02D2-44DF-AEAD-6C571A4A00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AD11762-FCF6-43D7-BDFD-A0A1430951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D45755C-16FF-4AFE-9FB4-6F99A8DEFC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294247A-8FD0-48CE-B52F-37C62F11E2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3A0D03E-E4DA-4214-8F6B-94DF7EB252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96</c:v>
                </c:pt>
              </c:numCache>
            </c:numRef>
          </c:xVal>
          <c:yVal>
            <c:numRef>
              <c:f>Sheet1!$B$2:$B$2</c:f>
              <c:numCache>
                <c:formatCode>General</c:formatCode>
                <c:ptCount val="1"/>
                <c:pt idx="0">
                  <c:v>199.64583333333329</c:v>
                </c:pt>
              </c:numCache>
            </c:numRef>
          </c:yVal>
          <c:bubbleSize>
            <c:numRef>
              <c:f>Sheet1!$C$2:$C$2</c:f>
              <c:numCache>
                <c:formatCode>General</c:formatCode>
                <c:ptCount val="1"/>
                <c:pt idx="0">
                  <c:v>11177.634</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4F17C91-184F-4CDF-8032-B8EF6EBC00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CB9EABC-FC2D-4E5A-A2AE-1A30734445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BE740D3-828A-4262-9168-9A38C06CEA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DE2FE50-069D-4B6A-BBEF-54173DF6E3C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BC3FA5B-8467-44ED-B2DF-6F76C0D76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FF3646A-C92C-46D8-B4C6-E4C7E9D0E0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1D9DA17-1334-4C7C-904D-7BEC7428DB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D48D9F4-BCB9-4509-81DF-9E50AB09AA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A8DFC2C-3F91-42FB-98DA-425772C131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3475BA7-5F31-4971-974F-E2E5DCC3BF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67</c:v>
                </c:pt>
              </c:numCache>
            </c:numRef>
          </c:xVal>
          <c:yVal>
            <c:numRef>
              <c:f>Sheet1!$B$2:$B$2</c:f>
              <c:numCache>
                <c:formatCode>General</c:formatCode>
                <c:ptCount val="1"/>
                <c:pt idx="0">
                  <c:v>413.91044776119401</c:v>
                </c:pt>
              </c:numCache>
            </c:numRef>
          </c:yVal>
          <c:bubbleSize>
            <c:numRef>
              <c:f>Sheet1!$C$2:$C$2</c:f>
              <c:numCache>
                <c:formatCode>General</c:formatCode>
                <c:ptCount val="1"/>
                <c:pt idx="0">
                  <c:v>14769.356</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CA2CA64-CCAC-4713-84E8-8A56723D99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968146E-E1A6-486E-8D44-46EFDEC5B5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8411EA9-13B7-40A6-9E43-3EF0AC93C4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BB17209-A86C-4237-BCDA-D0853D8111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AA4CA08-F9C1-4F1C-B168-35C07AE4E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A4EBD65-098B-4A6D-A1B1-3A7A09A02C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7C89DE5-2351-4CD8-AE3C-1F7FF210FA1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19F9151-9B25-431E-998D-E4E7A65147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3D60806-7635-479B-B5D9-A4D3D84F06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72B3396-3879-4B1F-A408-9B9BA9E179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76200000000000001</c:v>
                </c:pt>
                <c:pt idx="1">
                  <c:v>0.82399999999999995</c:v>
                </c:pt>
                <c:pt idx="2">
                  <c:v>0.71199999999999997</c:v>
                </c:pt>
                <c:pt idx="3">
                  <c:v>0.98899999999999999</c:v>
                </c:pt>
                <c:pt idx="4">
                  <c:v>0.39200000000000002</c:v>
                </c:pt>
                <c:pt idx="5">
                  <c:v>0.94699999999999995</c:v>
                </c:pt>
                <c:pt idx="6">
                  <c:v>0.72</c:v>
                </c:pt>
              </c:numCache>
            </c:numRef>
          </c:xVal>
          <c:yVal>
            <c:numRef>
              <c:f>Sheet1!$B$2:$B$8</c:f>
              <c:numCache>
                <c:formatCode>General</c:formatCode>
                <c:ptCount val="7"/>
                <c:pt idx="0">
                  <c:v>18926.45669291338</c:v>
                </c:pt>
                <c:pt idx="1">
                  <c:v>10068.847087378639</c:v>
                </c:pt>
                <c:pt idx="2">
                  <c:v>6343.0617977528091</c:v>
                </c:pt>
                <c:pt idx="3">
                  <c:v>11865.449949443881</c:v>
                </c:pt>
                <c:pt idx="4">
                  <c:v>1778.3163265306121</c:v>
                </c:pt>
                <c:pt idx="5">
                  <c:v>11603.780359028509</c:v>
                </c:pt>
                <c:pt idx="6">
                  <c:v>6342.166666666667</c:v>
                </c:pt>
              </c:numCache>
            </c:numRef>
          </c:yVal>
          <c:bubbleSize>
            <c:numRef>
              <c:f>Sheet1!$C$2:$C$8</c:f>
              <c:numCache>
                <c:formatCode>General</c:formatCode>
                <c:ptCount val="7"/>
                <c:pt idx="0">
                  <c:v>823427.75609999988</c:v>
                </c:pt>
                <c:pt idx="1">
                  <c:v>549238.52140000009</c:v>
                </c:pt>
                <c:pt idx="2">
                  <c:v>321620.14799999999</c:v>
                </c:pt>
                <c:pt idx="3">
                  <c:v>729116.22960000008</c:v>
                </c:pt>
                <c:pt idx="4">
                  <c:v>43037.490400000002</c:v>
                </c:pt>
                <c:pt idx="5">
                  <c:v>653215.72479999985</c:v>
                </c:pt>
                <c:pt idx="6">
                  <c:v>289115.1395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496509B-4B66-44E8-ACB8-4B3E4EE050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F66BB35-FAE4-4294-B663-59DEB60071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D6173C7-E111-4EC1-85A1-EC98F6C7D1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861272C-6967-42C3-B621-2CE565871A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4BF3573-D7A1-466A-846C-C13803F55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A1DDF00-4039-4666-9916-33B4738D3B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383654E-010B-47D7-AD6C-E355A0FDFA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BFFE588-EB60-451F-A7C6-5831DBB93B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96AB629-4D15-4A3D-9890-8501125B26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779A07D-B15C-42C1-9312-27EF959038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2.7E-2</c:v>
                </c:pt>
                <c:pt idx="1">
                  <c:v>0.97799999999999998</c:v>
                </c:pt>
                <c:pt idx="2">
                  <c:v>0.71699999999999997</c:v>
                </c:pt>
                <c:pt idx="3">
                  <c:v>0.86399999999999999</c:v>
                </c:pt>
                <c:pt idx="4">
                  <c:v>0.80400000000000005</c:v>
                </c:pt>
                <c:pt idx="5">
                  <c:v>0.48199999999999998</c:v>
                </c:pt>
                <c:pt idx="6">
                  <c:v>0.67800000000000005</c:v>
                </c:pt>
                <c:pt idx="7">
                  <c:v>8.0000000000000002E-3</c:v>
                </c:pt>
                <c:pt idx="8">
                  <c:v>0.155</c:v>
                </c:pt>
                <c:pt idx="9">
                  <c:v>0.90600000000000003</c:v>
                </c:pt>
                <c:pt idx="10">
                  <c:v>0.42</c:v>
                </c:pt>
              </c:numCache>
            </c:numRef>
          </c:xVal>
          <c:yVal>
            <c:numRef>
              <c:f>Sheet1!$B$2:$B$12</c:f>
              <c:numCache>
                <c:formatCode>General</c:formatCode>
                <c:ptCount val="11"/>
                <c:pt idx="0">
                  <c:v>2647.037037037037</c:v>
                </c:pt>
                <c:pt idx="1">
                  <c:v>15409.723926380369</c:v>
                </c:pt>
                <c:pt idx="2">
                  <c:v>8533.8912133891208</c:v>
                </c:pt>
                <c:pt idx="3">
                  <c:v>21776.25</c:v>
                </c:pt>
                <c:pt idx="4">
                  <c:v>20260.53482587064</c:v>
                </c:pt>
                <c:pt idx="5">
                  <c:v>1925.3319502074689</c:v>
                </c:pt>
                <c:pt idx="6">
                  <c:v>5208.3775811209434</c:v>
                </c:pt>
                <c:pt idx="7">
                  <c:v>9185</c:v>
                </c:pt>
                <c:pt idx="8">
                  <c:v>280.32258064516128</c:v>
                </c:pt>
                <c:pt idx="9">
                  <c:v>5863.0573951434872</c:v>
                </c:pt>
                <c:pt idx="10">
                  <c:v>2733.738095238095</c:v>
                </c:pt>
              </c:numCache>
            </c:numRef>
          </c:yVal>
          <c:bubbleSize>
            <c:numRef>
              <c:f>Sheet1!$C$2:$C$12</c:f>
              <c:numCache>
                <c:formatCode>General</c:formatCode>
                <c:ptCount val="11"/>
                <c:pt idx="0">
                  <c:v>3889.534900000001</c:v>
                </c:pt>
                <c:pt idx="1">
                  <c:v>846236.03999999992</c:v>
                </c:pt>
                <c:pt idx="2">
                  <c:v>433293.50400000002</c:v>
                </c:pt>
                <c:pt idx="3">
                  <c:v>1230767.2871999999</c:v>
                </c:pt>
                <c:pt idx="4">
                  <c:v>1028571.7537999999</c:v>
                </c:pt>
                <c:pt idx="5">
                  <c:v>55785.224399999999</c:v>
                </c:pt>
                <c:pt idx="6">
                  <c:v>198907.008</c:v>
                </c:pt>
                <c:pt idx="7">
                  <c:v>2886.078</c:v>
                </c:pt>
                <c:pt idx="8">
                  <c:v>2167.2575999999999</c:v>
                </c:pt>
                <c:pt idx="9">
                  <c:v>335628.37400000001</c:v>
                </c:pt>
                <c:pt idx="10">
                  <c:v>73020.837499999994</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35Gr 1P</c:v>
                  </c:pt>
                  <c:pt idx="8">
                    <c:v>La Vache Qui Rit Bio Fromage Fondu Boite Ronde 1X128Gr 8P</c:v>
                  </c:pt>
                  <c:pt idx="9">
                    <c:v>La Vache Qui Rit Pik Et Croq' Fromage Fondu Dips Boite 1X175Gr 5P</c:v>
                  </c:pt>
                  <c:pt idx="10">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5DB9801-0A3E-441A-A726-4B0FA62811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1DF6042-9B6B-4DC1-9998-11226CAB28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D8221FD-514D-41FC-A6FD-8F5259B0C6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F6C7D0A-90B9-4C23-BF7F-64D25F244D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B0E92FF-B34C-4475-A204-165D5AE75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548DE7B-AFB4-4ABC-B28C-C98B29D76E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AB1DD3E-FDA4-4019-A37C-FA2CF64305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C586387-D20E-4892-B720-FB50DFA44D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9E036E1-4F50-4486-A98B-05A75403EB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E442986-AC43-408A-81EE-F7BB097842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85299999999999998</c:v>
                </c:pt>
                <c:pt idx="1">
                  <c:v>0.97299999999999998</c:v>
                </c:pt>
                <c:pt idx="2">
                  <c:v>0.81599999999999995</c:v>
                </c:pt>
                <c:pt idx="3">
                  <c:v>0.98199999999999998</c:v>
                </c:pt>
                <c:pt idx="4">
                  <c:v>0.6</c:v>
                </c:pt>
                <c:pt idx="5">
                  <c:v>0.97799999999999998</c:v>
                </c:pt>
                <c:pt idx="6">
                  <c:v>0.92900000000000005</c:v>
                </c:pt>
                <c:pt idx="7">
                  <c:v>0.54300000000000004</c:v>
                </c:pt>
              </c:numCache>
            </c:numRef>
          </c:xVal>
          <c:yVal>
            <c:numRef>
              <c:f>Sheet1!$B$2:$B$9</c:f>
              <c:numCache>
                <c:formatCode>General</c:formatCode>
                <c:ptCount val="8"/>
                <c:pt idx="0">
                  <c:v>10742.450175849939</c:v>
                </c:pt>
                <c:pt idx="1">
                  <c:v>11646.567317574511</c:v>
                </c:pt>
                <c:pt idx="2">
                  <c:v>2973.1127450980389</c:v>
                </c:pt>
                <c:pt idx="3">
                  <c:v>6683.4521384928712</c:v>
                </c:pt>
                <c:pt idx="4">
                  <c:v>2049.083333333333</c:v>
                </c:pt>
                <c:pt idx="5">
                  <c:v>6589.0899795501027</c:v>
                </c:pt>
                <c:pt idx="6">
                  <c:v>8525.8127018299238</c:v>
                </c:pt>
                <c:pt idx="7">
                  <c:v>1197.900552486188</c:v>
                </c:pt>
              </c:numCache>
            </c:numRef>
          </c:yVal>
          <c:bubbleSize>
            <c:numRef>
              <c:f>Sheet1!$C$2:$C$9</c:f>
              <c:numCache>
                <c:formatCode>General</c:formatCode>
                <c:ptCount val="8"/>
                <c:pt idx="0">
                  <c:v>565301.65779999993</c:v>
                </c:pt>
                <c:pt idx="1">
                  <c:v>745588.13170000003</c:v>
                </c:pt>
                <c:pt idx="2">
                  <c:v>165609.193</c:v>
                </c:pt>
                <c:pt idx="3">
                  <c:v>421827.73999999987</c:v>
                </c:pt>
                <c:pt idx="4">
                  <c:v>60948.513500000008</c:v>
                </c:pt>
                <c:pt idx="5">
                  <c:v>391727.74859999999</c:v>
                </c:pt>
                <c:pt idx="6">
                  <c:v>480680.67700000003</c:v>
                </c:pt>
                <c:pt idx="7">
                  <c:v>31288.9553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aysan Breton</c:v>
                </c:pt>
                <c:pt idx="2">
                  <c:v>Private Label</c:v>
                </c:pt>
                <c:pt idx="3">
                  <c:v>Boursin</c:v>
                </c:pt>
                <c:pt idx="4">
                  <c:v>Tartare</c:v>
                </c:pt>
                <c:pt idx="5">
                  <c:v>Carre Frais</c:v>
                </c:pt>
                <c:pt idx="6">
                  <c:v>Philadelphia</c:v>
                </c:pt>
                <c:pt idx="7">
                  <c:v>Kiri</c:v>
                </c:pt>
                <c:pt idx="8">
                  <c:v>Others</c:v>
                </c:pt>
              </c:strCache>
            </c:strRef>
          </c:cat>
          <c:val>
            <c:numRef>
              <c:f>Sheet1!$B$2:$B$10</c:f>
              <c:numCache>
                <c:formatCode>General</c:formatCode>
                <c:ptCount val="9"/>
                <c:pt idx="0">
                  <c:v>0.33739856144309066</c:v>
                </c:pt>
                <c:pt idx="1">
                  <c:v>0.14453895976954684</c:v>
                </c:pt>
                <c:pt idx="2">
                  <c:v>0.14049591378028609</c:v>
                </c:pt>
                <c:pt idx="3">
                  <c:v>0.1345587913205897</c:v>
                </c:pt>
                <c:pt idx="4">
                  <c:v>0.11735621547743363</c:v>
                </c:pt>
                <c:pt idx="5">
                  <c:v>7.0183143780373269E-2</c:v>
                </c:pt>
                <c:pt idx="6">
                  <c:v>3.2761924010252866E-2</c:v>
                </c:pt>
                <c:pt idx="7">
                  <c:v>6.9238679161345669E-3</c:v>
                </c:pt>
                <c:pt idx="8">
                  <c:v>1.578262250229235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aysan Breton</c:v>
                </c:pt>
                <c:pt idx="2">
                  <c:v>Private Label</c:v>
                </c:pt>
                <c:pt idx="3">
                  <c:v>Boursin</c:v>
                </c:pt>
                <c:pt idx="4">
                  <c:v>Tartare</c:v>
                </c:pt>
                <c:pt idx="5">
                  <c:v>Carre Frais</c:v>
                </c:pt>
                <c:pt idx="6">
                  <c:v>Philadelphia</c:v>
                </c:pt>
                <c:pt idx="7">
                  <c:v>Kiri</c:v>
                </c:pt>
                <c:pt idx="8">
                  <c:v>Others</c:v>
                </c:pt>
              </c:strCache>
            </c:strRef>
          </c:cat>
          <c:val>
            <c:numRef>
              <c:f>Sheet1!$C$2:$C$10</c:f>
              <c:numCache>
                <c:formatCode>General</c:formatCode>
                <c:ptCount val="9"/>
                <c:pt idx="0">
                  <c:v>0.1933146330060776</c:v>
                </c:pt>
                <c:pt idx="1">
                  <c:v>0.14282374941561476</c:v>
                </c:pt>
                <c:pt idx="2">
                  <c:v>0.13043478260869562</c:v>
                </c:pt>
                <c:pt idx="3">
                  <c:v>0.21856007480130898</c:v>
                </c:pt>
                <c:pt idx="4">
                  <c:v>0.13721365123889664</c:v>
                </c:pt>
                <c:pt idx="5">
                  <c:v>7.0126227208976141E-2</c:v>
                </c:pt>
                <c:pt idx="6">
                  <c:v>3.3426834969611963E-2</c:v>
                </c:pt>
                <c:pt idx="7">
                  <c:v>2.2440392706872366E-2</c:v>
                </c:pt>
                <c:pt idx="8">
                  <c:v>5.165965404394575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aysan Breton</c:v>
                </c:pt>
                <c:pt idx="2">
                  <c:v>Private Label</c:v>
                </c:pt>
                <c:pt idx="3">
                  <c:v>Boursin</c:v>
                </c:pt>
                <c:pt idx="4">
                  <c:v>Tartare</c:v>
                </c:pt>
                <c:pt idx="5">
                  <c:v>Carre Frais</c:v>
                </c:pt>
                <c:pt idx="6">
                  <c:v>Philadelphia</c:v>
                </c:pt>
                <c:pt idx="7">
                  <c:v>Kiri</c:v>
                </c:pt>
                <c:pt idx="8">
                  <c:v>Others</c:v>
                </c:pt>
              </c:strCache>
            </c:strRef>
          </c:cat>
          <c:val>
            <c:numRef>
              <c:f>Sheet1!$D$2:$D$10</c:f>
              <c:numCache>
                <c:formatCode>General</c:formatCode>
                <c:ptCount val="9"/>
                <c:pt idx="0">
                  <c:v>57.295630479054118</c:v>
                </c:pt>
                <c:pt idx="1">
                  <c:v>98.813323164448661</c:v>
                </c:pt>
                <c:pt idx="2">
                  <c:v>92.838844276051674</c:v>
                </c:pt>
                <c:pt idx="3">
                  <c:v>162.42719829474694</c:v>
                </c:pt>
                <c:pt idx="4">
                  <c:v>116.92065109690026</c:v>
                </c:pt>
                <c:pt idx="5">
                  <c:v>99.918902790141118</c:v>
                </c:pt>
                <c:pt idx="6">
                  <c:v>102.02952353821163</c:v>
                </c:pt>
                <c:pt idx="7">
                  <c:v>324.10197563965534</c:v>
                </c:pt>
                <c:pt idx="8">
                  <c:v>327.3198357018449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5D1E5E2-3CBB-401F-92C2-29588A4A90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C98360D-E660-498E-AFB4-DC794719F9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1E8799D-E643-4C90-97A2-CA9775529D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8E9968B-7D81-4DB1-BCE2-6CC280EC8B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C452AD1-46BB-49A4-A4AF-C4D80168E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D1C02C6-8FEA-48BA-A9DD-089FD195CC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AD5E7BC-D679-4DB8-83A5-C9377E1BB3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96B5442-3889-468C-A226-DF71CEEDC6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8079A7F-5891-4E33-8229-ABF1F804AB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F5FE607-F764-4056-9ECE-5B2E90D5F0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625</c:v>
                </c:pt>
                <c:pt idx="1">
                  <c:v>0.996</c:v>
                </c:pt>
                <c:pt idx="2">
                  <c:v>0.93799999999999994</c:v>
                </c:pt>
                <c:pt idx="3">
                  <c:v>0.94199999999999995</c:v>
                </c:pt>
                <c:pt idx="4">
                  <c:v>0.80600000000000005</c:v>
                </c:pt>
                <c:pt idx="5">
                  <c:v>0.93400000000000005</c:v>
                </c:pt>
                <c:pt idx="6">
                  <c:v>0.81100000000000005</c:v>
                </c:pt>
              </c:numCache>
            </c:numRef>
          </c:xVal>
          <c:yVal>
            <c:numRef>
              <c:f>Sheet1!$B$2:$B$8</c:f>
              <c:numCache>
                <c:formatCode>General</c:formatCode>
                <c:ptCount val="7"/>
                <c:pt idx="0">
                  <c:v>1869.2</c:v>
                </c:pt>
                <c:pt idx="1">
                  <c:v>14897.11847389558</c:v>
                </c:pt>
                <c:pt idx="2">
                  <c:v>15633.44349680171</c:v>
                </c:pt>
                <c:pt idx="3">
                  <c:v>17717.165605095539</c:v>
                </c:pt>
                <c:pt idx="4">
                  <c:v>2684.6153846153838</c:v>
                </c:pt>
                <c:pt idx="5">
                  <c:v>3923.6081370449679</c:v>
                </c:pt>
                <c:pt idx="6">
                  <c:v>4178.3477188655979</c:v>
                </c:pt>
              </c:numCache>
            </c:numRef>
          </c:yVal>
          <c:bubbleSize>
            <c:numRef>
              <c:f>Sheet1!$C$2:$C$8</c:f>
              <c:numCache>
                <c:formatCode>General</c:formatCode>
                <c:ptCount val="7"/>
                <c:pt idx="0">
                  <c:v>46729.859799999998</c:v>
                </c:pt>
                <c:pt idx="1">
                  <c:v>846615.50340000005</c:v>
                </c:pt>
                <c:pt idx="2">
                  <c:v>887062.91590000014</c:v>
                </c:pt>
                <c:pt idx="3">
                  <c:v>1027438.6584</c:v>
                </c:pt>
                <c:pt idx="4">
                  <c:v>111248.41740000001</c:v>
                </c:pt>
                <c:pt idx="5">
                  <c:v>191192.29300000001</c:v>
                </c:pt>
                <c:pt idx="6">
                  <c:v>164092.8708</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A68E337-BCE1-41B9-A99D-75B72DBB5D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B32F5CE-B030-41EA-A8A1-C354F5B43A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F634F6-2AB4-432A-BE27-391AB045AD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232C8D3-ED13-4F85-A7D4-C01D2F31EF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8B01904-BCD4-4874-AA76-30D0727FB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F5263B0-5B07-43A1-950A-A75366B562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95D491C-4F6C-4C19-8998-57511270DF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7BD1C80-187D-4D2A-8951-CD0D80A150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1BFC7B9-A446-4C70-A2C5-0424AD7345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C16C448-3217-4510-AA6E-1546EF61E5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98</c:v>
                </c:pt>
                <c:pt idx="1">
                  <c:v>1</c:v>
                </c:pt>
                <c:pt idx="2">
                  <c:v>0.98</c:v>
                </c:pt>
                <c:pt idx="3">
                  <c:v>1</c:v>
                </c:pt>
                <c:pt idx="4">
                  <c:v>0.54</c:v>
                </c:pt>
                <c:pt idx="5">
                  <c:v>1</c:v>
                </c:pt>
                <c:pt idx="6">
                  <c:v>0.98</c:v>
                </c:pt>
              </c:numCache>
            </c:numRef>
          </c:xVal>
          <c:yVal>
            <c:numRef>
              <c:f>Sheet1!$B$2:$B$8</c:f>
              <c:numCache>
                <c:formatCode>General</c:formatCode>
                <c:ptCount val="7"/>
                <c:pt idx="0">
                  <c:v>10212.9387755102</c:v>
                </c:pt>
                <c:pt idx="1">
                  <c:v>4088.83</c:v>
                </c:pt>
                <c:pt idx="2">
                  <c:v>3115.632653061225</c:v>
                </c:pt>
                <c:pt idx="3">
                  <c:v>2686.48</c:v>
                </c:pt>
                <c:pt idx="4">
                  <c:v>539.16666666666663</c:v>
                </c:pt>
                <c:pt idx="5">
                  <c:v>5346.67</c:v>
                </c:pt>
                <c:pt idx="6">
                  <c:v>2553.7346938775509</c:v>
                </c:pt>
              </c:numCache>
            </c:numRef>
          </c:yVal>
          <c:bubbleSize>
            <c:numRef>
              <c:f>Sheet1!$C$2:$C$8</c:f>
              <c:numCache>
                <c:formatCode>General</c:formatCode>
                <c:ptCount val="7"/>
                <c:pt idx="0">
                  <c:v>578870.25989999995</c:v>
                </c:pt>
                <c:pt idx="1">
                  <c:v>272050.62839999999</c:v>
                </c:pt>
                <c:pt idx="2">
                  <c:v>219771.3</c:v>
                </c:pt>
                <c:pt idx="3">
                  <c:v>183002.0808</c:v>
                </c:pt>
                <c:pt idx="4">
                  <c:v>18100.8024</c:v>
                </c:pt>
                <c:pt idx="5">
                  <c:v>364262.10820000002</c:v>
                </c:pt>
                <c:pt idx="6">
                  <c:v>160006.31280000001</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2422960-2081-4B2F-A10D-538789329B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0EB4664-D0BB-4CEE-B9C2-E828B5A285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0BDBFFF-CF9C-4CFC-B7D5-CAD9D02C69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37309D9-2D57-4445-BCF4-988759DCDA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AE9911C-67E0-4494-98A8-EE7955422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6106B9F-C2FF-449B-9D63-8D6B153A49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4703866-DD90-414F-AD7E-9A60477378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A4C146C-A550-4626-9358-6820B7005F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C98832E-8693-4410-A88D-345A8BACF3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F024874-D295-4D54-83B3-9192D409C1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06</c:v>
                </c:pt>
                <c:pt idx="1">
                  <c:v>1</c:v>
                </c:pt>
                <c:pt idx="2">
                  <c:v>0.93</c:v>
                </c:pt>
                <c:pt idx="3">
                  <c:v>0.98</c:v>
                </c:pt>
                <c:pt idx="4">
                  <c:v>0.98</c:v>
                </c:pt>
                <c:pt idx="5">
                  <c:v>0.84</c:v>
                </c:pt>
                <c:pt idx="6">
                  <c:v>0.93</c:v>
                </c:pt>
                <c:pt idx="7">
                  <c:v>1</c:v>
                </c:pt>
                <c:pt idx="8">
                  <c:v>0.93</c:v>
                </c:pt>
              </c:numCache>
            </c:numRef>
          </c:xVal>
          <c:yVal>
            <c:numRef>
              <c:f>Sheet1!$B$2:$B$10</c:f>
              <c:numCache>
                <c:formatCode>General</c:formatCode>
                <c:ptCount val="9"/>
                <c:pt idx="0">
                  <c:v>1191.166666666667</c:v>
                </c:pt>
                <c:pt idx="1">
                  <c:v>3914.84</c:v>
                </c:pt>
                <c:pt idx="2">
                  <c:v>3306.7741935483868</c:v>
                </c:pt>
                <c:pt idx="3">
                  <c:v>11075.163265306121</c:v>
                </c:pt>
                <c:pt idx="4">
                  <c:v>11052.41836734694</c:v>
                </c:pt>
                <c:pt idx="5">
                  <c:v>806.53571428571433</c:v>
                </c:pt>
                <c:pt idx="6">
                  <c:v>1987.6236559139779</c:v>
                </c:pt>
                <c:pt idx="7">
                  <c:v>2411.19</c:v>
                </c:pt>
                <c:pt idx="8">
                  <c:v>1229.2688172043011</c:v>
                </c:pt>
              </c:numCache>
            </c:numRef>
          </c:yVal>
          <c:bubbleSize>
            <c:numRef>
              <c:f>Sheet1!$C$2:$C$10</c:f>
              <c:numCache>
                <c:formatCode>General</c:formatCode>
                <c:ptCount val="9"/>
                <c:pt idx="0">
                  <c:v>3889.534900000001</c:v>
                </c:pt>
                <c:pt idx="1">
                  <c:v>237742.44</c:v>
                </c:pt>
                <c:pt idx="2">
                  <c:v>216946.611</c:v>
                </c:pt>
                <c:pt idx="3">
                  <c:v>751445.16359999997</c:v>
                </c:pt>
                <c:pt idx="4">
                  <c:v>694359.92899999989</c:v>
                </c:pt>
                <c:pt idx="5">
                  <c:v>40778.109600000003</c:v>
                </c:pt>
                <c:pt idx="6">
                  <c:v>104988.6</c:v>
                </c:pt>
                <c:pt idx="7">
                  <c:v>177587</c:v>
                </c:pt>
                <c:pt idx="8">
                  <c:v>72704.710000000006</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175Gr 5P</c:v>
                  </c:pt>
                  <c:pt idx="8">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24D4FA6-B37F-4691-99B5-3DA0AE7F97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3B7D867-E582-4498-A6EC-D58F6D4B0B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C6F4112-5844-4074-814A-C460D45B7F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99803E3-63CE-4381-A47C-0E03EFFA3B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2000D95-A36D-45F1-B5ED-C2BC87F54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FB5CE2B-F1FF-4FA7-A410-B0DAC8142E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49A2F63-D17B-409A-B2BC-76FB1E60A4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B86F4A2-3870-4449-9281-45A34476EC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83E1C6D-A9FF-4AF5-9078-D7673C885B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833038D-A4D4-425C-8A13-18013AC34B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84</c:v>
                </c:pt>
                <c:pt idx="1">
                  <c:v>0.97</c:v>
                </c:pt>
                <c:pt idx="2">
                  <c:v>0.71</c:v>
                </c:pt>
                <c:pt idx="3">
                  <c:v>0.99</c:v>
                </c:pt>
                <c:pt idx="4">
                  <c:v>0.39</c:v>
                </c:pt>
                <c:pt idx="5">
                  <c:v>0.99</c:v>
                </c:pt>
                <c:pt idx="6">
                  <c:v>0.72</c:v>
                </c:pt>
              </c:numCache>
            </c:numRef>
          </c:xVal>
          <c:yVal>
            <c:numRef>
              <c:f>Sheet1!$B$2:$B$8</c:f>
              <c:numCache>
                <c:formatCode>General</c:formatCode>
                <c:ptCount val="7"/>
                <c:pt idx="0">
                  <c:v>5252.7023809523807</c:v>
                </c:pt>
                <c:pt idx="1">
                  <c:v>4246.7938144329901</c:v>
                </c:pt>
                <c:pt idx="2">
                  <c:v>2060.4788732394368</c:v>
                </c:pt>
                <c:pt idx="3">
                  <c:v>3152.0707070707072</c:v>
                </c:pt>
                <c:pt idx="4">
                  <c:v>1040.897435897436</c:v>
                </c:pt>
                <c:pt idx="5">
                  <c:v>3133.424242424242</c:v>
                </c:pt>
                <c:pt idx="6">
                  <c:v>2791.8194444444439</c:v>
                </c:pt>
              </c:numCache>
            </c:numRef>
          </c:yVal>
          <c:bubbleSize>
            <c:numRef>
              <c:f>Sheet1!$C$2:$C$8</c:f>
              <c:numCache>
                <c:formatCode>General</c:formatCode>
                <c:ptCount val="7"/>
                <c:pt idx="0">
                  <c:v>244511.87400000001</c:v>
                </c:pt>
                <c:pt idx="1">
                  <c:v>271889.77860000002</c:v>
                </c:pt>
                <c:pt idx="2">
                  <c:v>101848.848</c:v>
                </c:pt>
                <c:pt idx="3">
                  <c:v>213476.2311</c:v>
                </c:pt>
                <c:pt idx="4">
                  <c:v>24936.687999999998</c:v>
                </c:pt>
                <c:pt idx="5">
                  <c:v>171614.7591</c:v>
                </c:pt>
                <c:pt idx="6">
                  <c:v>126058.0727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6C81D64-9E88-4767-B03D-1E250EC024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1A83FA1-823C-4FF4-B70E-56787C0E65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6C279BD-6A3E-4A9E-9E25-25D7163574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1507FE4-60E9-46DF-BCA4-8BDCC98575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F22D020-2F58-4D58-BD43-E7DAD74C6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1011FE9-9AF0-4536-98B5-1DE4146B57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0F510D6-5A43-4C02-9C3C-44AE281457E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7DF9148-7545-45E7-A550-AA7125EF3D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63F7CE2-47C2-4B76-9D98-6E1E99828E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430B1AA-6333-4925-88C8-9B5333D048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99</c:v>
                </c:pt>
                <c:pt idx="1">
                  <c:v>0.78</c:v>
                </c:pt>
                <c:pt idx="2">
                  <c:v>0.91</c:v>
                </c:pt>
                <c:pt idx="3">
                  <c:v>0.95</c:v>
                </c:pt>
                <c:pt idx="4">
                  <c:v>0.27</c:v>
                </c:pt>
                <c:pt idx="5">
                  <c:v>0.64</c:v>
                </c:pt>
                <c:pt idx="6">
                  <c:v>0.97</c:v>
                </c:pt>
              </c:numCache>
            </c:numRef>
          </c:xVal>
          <c:yVal>
            <c:numRef>
              <c:f>Sheet1!$B$2:$B$8</c:f>
              <c:numCache>
                <c:formatCode>General</c:formatCode>
                <c:ptCount val="7"/>
                <c:pt idx="0">
                  <c:v>4486.8686868686873</c:v>
                </c:pt>
                <c:pt idx="1">
                  <c:v>3901.6923076923081</c:v>
                </c:pt>
                <c:pt idx="2">
                  <c:v>5295.4395604395604</c:v>
                </c:pt>
                <c:pt idx="3">
                  <c:v>5730.8315789473681</c:v>
                </c:pt>
                <c:pt idx="4">
                  <c:v>926.59259259259261</c:v>
                </c:pt>
                <c:pt idx="5">
                  <c:v>2246.375</c:v>
                </c:pt>
                <c:pt idx="6">
                  <c:v>1662.4948453608249</c:v>
                </c:pt>
              </c:numCache>
            </c:numRef>
          </c:yVal>
          <c:bubbleSize>
            <c:numRef>
              <c:f>Sheet1!$C$2:$C$8</c:f>
              <c:numCache>
                <c:formatCode>General</c:formatCode>
                <c:ptCount val="7"/>
                <c:pt idx="0">
                  <c:v>262527.71999999997</c:v>
                </c:pt>
                <c:pt idx="1">
                  <c:v>216338.64</c:v>
                </c:pt>
                <c:pt idx="2">
                  <c:v>307633.60200000001</c:v>
                </c:pt>
                <c:pt idx="3">
                  <c:v>333576.64069999999</c:v>
                </c:pt>
                <c:pt idx="4">
                  <c:v>14992.007600000001</c:v>
                </c:pt>
                <c:pt idx="5">
                  <c:v>81508.151999999987</c:v>
                </c:pt>
                <c:pt idx="6">
                  <c:v>94145.98599999999</c:v>
                </c:pt>
              </c:numCache>
            </c:numRef>
          </c:bubbleSize>
          <c:bubble3D val="0"/>
          <c:extLst>
            <c:ext xmlns:c15="http://schemas.microsoft.com/office/drawing/2012/chart" uri="{02D57815-91ED-43cb-92C2-25804820EDAC}">
              <c15:datalabelsRange>
                <c15:f>Sheet1!$E$2:$E$21</c15:f>
                <c15:dlblRangeCache>
                  <c:ptCount val="20"/>
                  <c:pt idx="0">
                    <c:v>La Vache Qui Rit Nature Fromage Fondu Boite Ronde 1X192Gr 12P</c:v>
                  </c:pt>
                  <c:pt idx="1">
                    <c:v>La Vache Qui Rit Nature Fromage Fondu Boite Ronde 1X512Gr 24+8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Nature Fromage Fondu Boite Ronde 1X128Gr 8P</c:v>
                  </c:pt>
                  <c:pt idx="6">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5A1E742-F6B2-44CD-82F5-B33D9ACB7E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5690864-9978-4C84-A8BF-1783289EE2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6420601-F125-4A6F-A910-CB70555B78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F69287C-597C-4A25-9E99-D7C22F34A6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92F0AD2-1512-4B7D-B1AC-B447E801E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9EE964C-DD7B-4FC2-AA6F-61F39560DE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AC12491-E009-4EEB-907D-70E47D2FDF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6734734-55DE-4C70-9B13-165372710A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4A8A109-FD1C-456F-90A0-B964A7981A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C23C1F7-4E80-42DA-ABF6-A3A3151975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2</c:v>
                </c:pt>
                <c:pt idx="1">
                  <c:v>0.96</c:v>
                </c:pt>
                <c:pt idx="2">
                  <c:v>0.71</c:v>
                </c:pt>
                <c:pt idx="3">
                  <c:v>0.02</c:v>
                </c:pt>
              </c:numCache>
            </c:numRef>
          </c:xVal>
          <c:yVal>
            <c:numRef>
              <c:f>Sheet1!$B$2:$B$5</c:f>
              <c:numCache>
                <c:formatCode>General</c:formatCode>
                <c:ptCount val="4"/>
                <c:pt idx="0">
                  <c:v>4425.5</c:v>
                </c:pt>
                <c:pt idx="1">
                  <c:v>6174.895833333333</c:v>
                </c:pt>
                <c:pt idx="2">
                  <c:v>3577.4929577464791</c:v>
                </c:pt>
                <c:pt idx="3">
                  <c:v>2679.5</c:v>
                </c:pt>
              </c:numCache>
            </c:numRef>
          </c:yVal>
          <c:bubbleSize>
            <c:numRef>
              <c:f>Sheet1!$C$2:$C$5</c:f>
              <c:numCache>
                <c:formatCode>General</c:formatCode>
                <c:ptCount val="4"/>
                <c:pt idx="0">
                  <c:v>5298.1144000000004</c:v>
                </c:pt>
                <c:pt idx="1">
                  <c:v>332637.91769999999</c:v>
                </c:pt>
                <c:pt idx="2">
                  <c:v>117338.8575</c:v>
                </c:pt>
                <c:pt idx="3">
                  <c:v>3050.75399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216Gr 12P</c:v>
                  </c:pt>
                  <c:pt idx="1">
                    <c:v>Kiri Creme Fromage Blanc Frais Carre 1X144Gr 8P</c:v>
                  </c:pt>
                  <c:pt idx="2">
                    <c:v>Kiri Gouter Fromage Blanc Dips Boite 1X175Gr 5P</c:v>
                  </c:pt>
                  <c:pt idx="3">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F365BDB-8B92-4870-A407-B9224822E7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59A7F1C-58E4-44A5-9CFE-E5F78A87DC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DE1976B-DB3E-47B9-8D2B-A4AAB534B6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04539E1-4057-410D-8E17-E817A8BF52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7C63153-AF4D-4854-ACA4-B3BA2583E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7C9A763-0E1E-4D42-A835-F4E832EB63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4993CE5-2E5F-4244-A29A-AF6AE13FB5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6994110-84BE-4B75-8565-C5BF54FB46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3E81BF2-31C0-4C29-AD91-D2D0404BC47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F49CE36-F49A-4C15-93A7-5AE6873FDF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89</c:v>
                </c:pt>
                <c:pt idx="1">
                  <c:v>0.45</c:v>
                </c:pt>
                <c:pt idx="2">
                  <c:v>0.09</c:v>
                </c:pt>
                <c:pt idx="3">
                  <c:v>0.05</c:v>
                </c:pt>
                <c:pt idx="4">
                  <c:v>0.51</c:v>
                </c:pt>
              </c:numCache>
            </c:numRef>
          </c:xVal>
          <c:yVal>
            <c:numRef>
              <c:f>Sheet1!$B$2:$B$6</c:f>
              <c:numCache>
                <c:formatCode>General</c:formatCode>
                <c:ptCount val="5"/>
                <c:pt idx="0">
                  <c:v>7543.6741573033714</c:v>
                </c:pt>
                <c:pt idx="1">
                  <c:v>6982.6</c:v>
                </c:pt>
                <c:pt idx="2">
                  <c:v>2723.4444444444439</c:v>
                </c:pt>
                <c:pt idx="3">
                  <c:v>1469.6</c:v>
                </c:pt>
                <c:pt idx="4">
                  <c:v>2525.7254901960782</c:v>
                </c:pt>
              </c:numCache>
            </c:numRef>
          </c:yVal>
          <c:bubbleSize>
            <c:numRef>
              <c:f>Sheet1!$C$2:$C$6</c:f>
              <c:numCache>
                <c:formatCode>General</c:formatCode>
                <c:ptCount val="5"/>
                <c:pt idx="0">
                  <c:v>345965.88</c:v>
                </c:pt>
                <c:pt idx="1">
                  <c:v>171688.52160000001</c:v>
                </c:pt>
                <c:pt idx="2">
                  <c:v>12410.255999999999</c:v>
                </c:pt>
                <c:pt idx="3">
                  <c:v>2886.078</c:v>
                </c:pt>
                <c:pt idx="4">
                  <c:v>63895.387999999992</c:v>
                </c:pt>
              </c:numCache>
            </c:numRef>
          </c:bubbleSize>
          <c:bubble3D val="0"/>
          <c:extLst>
            <c:ext xmlns:c15="http://schemas.microsoft.com/office/drawing/2012/chart" uri="{02D57815-91ED-43cb-92C2-25804820EDAC}">
              <c15:datalabelsRange>
                <c15:f>Sheet1!$E$2:$E$21</c15:f>
                <c15:dlblRangeCache>
                  <c:ptCount val="20"/>
                  <c:pt idx="0">
                    <c:v>La Vache Qui Rit Nature Fromage Fondu Boite Ronde 1X192Gr 12P</c:v>
                  </c:pt>
                  <c:pt idx="1">
                    <c:v>La Vache Qui Rit Nature Fromage Fondu Boite Ronde 1X384Gr 24P</c:v>
                  </c:pt>
                  <c:pt idx="2">
                    <c:v>La Vache Qui Rit Nature Fromage Fondu Boite Ronde 1X128Gr 8P</c:v>
                  </c:pt>
                  <c:pt idx="3">
                    <c:v>La Vache Qui Rit Pik Et Croq' Fromage Fondu Dips Boite 1X35Gr 1P</c:v>
                  </c:pt>
                  <c:pt idx="4">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5A4442A-AACD-44FE-9B25-38C68B052F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79C8D88-DB33-4AFB-B5D9-78D0A22806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D777D3A-96DB-4074-8F0A-EC3544500E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887FC43-C817-4780-ACE7-2A16ECAF6E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2566459-93C2-4A69-9E9B-E6646A66C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B34E2A-66FF-4A95-B931-C76A8D010E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4515ED8-8302-4059-9B2E-ACBD39382E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B0CD31-9FD7-45F1-A54C-94FA27D3A1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D56C50D-B9F4-499D-A922-17070983A0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5A58C16-B4DC-4BC1-A3C1-523355E9AC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89</c:v>
                </c:pt>
                <c:pt idx="1">
                  <c:v>0.99</c:v>
                </c:pt>
                <c:pt idx="2">
                  <c:v>0.83</c:v>
                </c:pt>
                <c:pt idx="3">
                  <c:v>0.99</c:v>
                </c:pt>
                <c:pt idx="4">
                  <c:v>0.6</c:v>
                </c:pt>
                <c:pt idx="5">
                  <c:v>0.99</c:v>
                </c:pt>
                <c:pt idx="6">
                  <c:v>0.96</c:v>
                </c:pt>
                <c:pt idx="7">
                  <c:v>0.57999999999999996</c:v>
                </c:pt>
              </c:numCache>
            </c:numRef>
          </c:xVal>
          <c:yVal>
            <c:numRef>
              <c:f>Sheet1!$B$2:$B$9</c:f>
              <c:numCache>
                <c:formatCode>General</c:formatCode>
                <c:ptCount val="8"/>
                <c:pt idx="0">
                  <c:v>7935.6292134831456</c:v>
                </c:pt>
                <c:pt idx="1">
                  <c:v>8607.9696969696961</c:v>
                </c:pt>
                <c:pt idx="2">
                  <c:v>2135.4337349397588</c:v>
                </c:pt>
                <c:pt idx="3">
                  <c:v>4806.9191919191917</c:v>
                </c:pt>
                <c:pt idx="4">
                  <c:v>1519.866666666667</c:v>
                </c:pt>
                <c:pt idx="5">
                  <c:v>4681.333333333333</c:v>
                </c:pt>
                <c:pt idx="6">
                  <c:v>6331.729166666667</c:v>
                </c:pt>
                <c:pt idx="7">
                  <c:v>916.86206896551732</c:v>
                </c:pt>
              </c:numCache>
            </c:numRef>
          </c:yVal>
          <c:bubbleSize>
            <c:numRef>
              <c:f>Sheet1!$C$2:$C$9</c:f>
              <c:numCache>
                <c:formatCode>General</c:formatCode>
                <c:ptCount val="8"/>
                <c:pt idx="0">
                  <c:v>434940.5233</c:v>
                </c:pt>
                <c:pt idx="1">
                  <c:v>563044.1581</c:v>
                </c:pt>
                <c:pt idx="2">
                  <c:v>120956.976</c:v>
                </c:pt>
                <c:pt idx="3">
                  <c:v>308470.04639999999</c:v>
                </c:pt>
                <c:pt idx="4">
                  <c:v>45274.047000000013</c:v>
                </c:pt>
                <c:pt idx="5">
                  <c:v>282659.23139999999</c:v>
                </c:pt>
                <c:pt idx="6">
                  <c:v>368627.39450000011</c:v>
                </c:pt>
                <c:pt idx="7">
                  <c:v>25561.6981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FEBF004-C550-4B47-9262-39B109B61B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6BF2E0F-58E9-4DB8-ADE6-B2138ADF73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2FAECB0-CED7-4F2B-9F98-DF795DE4CB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1E4F1D9-5853-4F19-98F3-8413441349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2FEA4DD-187A-4ABE-A31B-394B3C911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4490671-04C2-4D55-91E2-C8E837D431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3338DBD-5298-4929-BA83-EF257FB878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6D7EDC-9A33-44CC-B513-5EDF7EDBCA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3E162AB-1C47-4843-ACC8-59A88D22B1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A3C1934-45B6-43D1-8F3F-3F2EA2EA55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64</c:v>
                </c:pt>
                <c:pt idx="1">
                  <c:v>1</c:v>
                </c:pt>
                <c:pt idx="2">
                  <c:v>0.97</c:v>
                </c:pt>
                <c:pt idx="3">
                  <c:v>0.98</c:v>
                </c:pt>
                <c:pt idx="4">
                  <c:v>0.84</c:v>
                </c:pt>
                <c:pt idx="5">
                  <c:v>0.95</c:v>
                </c:pt>
                <c:pt idx="6">
                  <c:v>0.86</c:v>
                </c:pt>
              </c:numCache>
            </c:numRef>
          </c:xVal>
          <c:yVal>
            <c:numRef>
              <c:f>Sheet1!$B$2:$B$8</c:f>
              <c:numCache>
                <c:formatCode>General</c:formatCode>
                <c:ptCount val="7"/>
                <c:pt idx="0">
                  <c:v>1414.515625</c:v>
                </c:pt>
                <c:pt idx="1">
                  <c:v>10893.58</c:v>
                </c:pt>
                <c:pt idx="2">
                  <c:v>11768.01030927835</c:v>
                </c:pt>
                <c:pt idx="3">
                  <c:v>13093.826530612239</c:v>
                </c:pt>
                <c:pt idx="4">
                  <c:v>1965.8214285714289</c:v>
                </c:pt>
                <c:pt idx="5">
                  <c:v>2817.347368421053</c:v>
                </c:pt>
                <c:pt idx="6">
                  <c:v>3042.8372093023249</c:v>
                </c:pt>
              </c:numCache>
            </c:numRef>
          </c:yVal>
          <c:bubbleSize>
            <c:numRef>
              <c:f>Sheet1!$C$2:$C$8</c:f>
              <c:numCache>
                <c:formatCode>General</c:formatCode>
                <c:ptCount val="7"/>
                <c:pt idx="0">
                  <c:v>36184.439199999993</c:v>
                </c:pt>
                <c:pt idx="1">
                  <c:v>621385.28460000013</c:v>
                </c:pt>
                <c:pt idx="2">
                  <c:v>692633.15520000004</c:v>
                </c:pt>
                <c:pt idx="3">
                  <c:v>792886.2220999999</c:v>
                </c:pt>
                <c:pt idx="4">
                  <c:v>85195.458899999998</c:v>
                </c:pt>
                <c:pt idx="5">
                  <c:v>139805.39300000001</c:v>
                </c:pt>
                <c:pt idx="6">
                  <c:v>126337.8342</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A0BA63B-1658-4E43-8342-61B55CC006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FB7C4AC-431E-47E0-BB36-41EE0FEAC0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5505855-17F4-401A-9725-11A7D09545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A9EE808-75CF-4D10-A783-BE8D705E82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0D1840B-D39D-45D5-BB16-9AD917972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6B676F0-47B2-4E96-8F19-73244CFC65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919A65A-0491-482D-ACAF-3EFA4C6DDD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36F01E0-E0D1-4D10-B047-5FC8665470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58E62A4-F745-4833-8923-3DD46A5669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B4B4B6D-C247-4A1A-9A67-DEB59B3987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9</c:v>
                </c:pt>
                <c:pt idx="1">
                  <c:v>0.99</c:v>
                </c:pt>
                <c:pt idx="2">
                  <c:v>0.94</c:v>
                </c:pt>
                <c:pt idx="3">
                  <c:v>0.99</c:v>
                </c:pt>
                <c:pt idx="4">
                  <c:v>0.87</c:v>
                </c:pt>
                <c:pt idx="5">
                  <c:v>0.99</c:v>
                </c:pt>
                <c:pt idx="6">
                  <c:v>0.99</c:v>
                </c:pt>
                <c:pt idx="7">
                  <c:v>0.73</c:v>
                </c:pt>
              </c:numCache>
            </c:numRef>
          </c:xVal>
          <c:yVal>
            <c:numRef>
              <c:f>Sheet1!$B$2:$B$9</c:f>
              <c:numCache>
                <c:formatCode>General</c:formatCode>
                <c:ptCount val="8"/>
                <c:pt idx="0">
                  <c:v>1510.0505050505051</c:v>
                </c:pt>
                <c:pt idx="1">
                  <c:v>1448.878787878788</c:v>
                </c:pt>
                <c:pt idx="2">
                  <c:v>368.41489361702128</c:v>
                </c:pt>
                <c:pt idx="3">
                  <c:v>814.44444444444446</c:v>
                </c:pt>
                <c:pt idx="4">
                  <c:v>204.0114942528736</c:v>
                </c:pt>
                <c:pt idx="5">
                  <c:v>861.46464646464642</c:v>
                </c:pt>
                <c:pt idx="6">
                  <c:v>1157.454545454545</c:v>
                </c:pt>
                <c:pt idx="7">
                  <c:v>118.8767123287671</c:v>
                </c:pt>
              </c:numCache>
            </c:numRef>
          </c:yVal>
          <c:bubbleSize>
            <c:numRef>
              <c:f>Sheet1!$C$2:$C$9</c:f>
              <c:numCache>
                <c:formatCode>General</c:formatCode>
                <c:ptCount val="8"/>
                <c:pt idx="0">
                  <c:v>94800.4</c:v>
                </c:pt>
                <c:pt idx="1">
                  <c:v>94792.401599999997</c:v>
                </c:pt>
                <c:pt idx="2">
                  <c:v>23711.407200000001</c:v>
                </c:pt>
                <c:pt idx="3">
                  <c:v>52523.159199999987</c:v>
                </c:pt>
                <c:pt idx="4">
                  <c:v>9299.048499999999</c:v>
                </c:pt>
                <c:pt idx="5">
                  <c:v>53180.887199999997</c:v>
                </c:pt>
                <c:pt idx="6">
                  <c:v>72012.494500000001</c:v>
                </c:pt>
                <c:pt idx="7">
                  <c:v>4247.692</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aysan Breton</c:v>
                </c:pt>
                <c:pt idx="2">
                  <c:v>Boursin</c:v>
                </c:pt>
                <c:pt idx="3">
                  <c:v>Private Label</c:v>
                </c:pt>
                <c:pt idx="4">
                  <c:v>Tartare</c:v>
                </c:pt>
                <c:pt idx="5">
                  <c:v>Carre Frais</c:v>
                </c:pt>
                <c:pt idx="6">
                  <c:v>Philadelphia</c:v>
                </c:pt>
                <c:pt idx="7">
                  <c:v>Kiri</c:v>
                </c:pt>
                <c:pt idx="8">
                  <c:v>Others</c:v>
                </c:pt>
              </c:strCache>
            </c:strRef>
          </c:cat>
          <c:val>
            <c:numRef>
              <c:f>Sheet1!$B$2:$B$10</c:f>
              <c:numCache>
                <c:formatCode>General</c:formatCode>
                <c:ptCount val="9"/>
                <c:pt idx="0">
                  <c:v>0.34967842475919447</c:v>
                </c:pt>
                <c:pt idx="1">
                  <c:v>0.1441888535867229</c:v>
                </c:pt>
                <c:pt idx="2">
                  <c:v>0.13462630369648515</c:v>
                </c:pt>
                <c:pt idx="3">
                  <c:v>0.12322579819169939</c:v>
                </c:pt>
                <c:pt idx="4">
                  <c:v>0.117853656096561</c:v>
                </c:pt>
                <c:pt idx="5">
                  <c:v>6.9003576763453353E-2</c:v>
                </c:pt>
                <c:pt idx="6">
                  <c:v>3.6188342663049711E-2</c:v>
                </c:pt>
                <c:pt idx="7">
                  <c:v>7.6873766421536446E-3</c:v>
                </c:pt>
                <c:pt idx="8">
                  <c:v>1.754766760068039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aysan Breton</c:v>
                </c:pt>
                <c:pt idx="2">
                  <c:v>Boursin</c:v>
                </c:pt>
                <c:pt idx="3">
                  <c:v>Private Label</c:v>
                </c:pt>
                <c:pt idx="4">
                  <c:v>Tartare</c:v>
                </c:pt>
                <c:pt idx="5">
                  <c:v>Carre Frais</c:v>
                </c:pt>
                <c:pt idx="6">
                  <c:v>Philadelphia</c:v>
                </c:pt>
                <c:pt idx="7">
                  <c:v>Kiri</c:v>
                </c:pt>
                <c:pt idx="8">
                  <c:v>Others</c:v>
                </c:pt>
              </c:strCache>
            </c:strRef>
          </c:cat>
          <c:val>
            <c:numRef>
              <c:f>Sheet1!$C$2:$C$10</c:f>
              <c:numCache>
                <c:formatCode>General</c:formatCode>
                <c:ptCount val="9"/>
                <c:pt idx="0">
                  <c:v>0.19148510893463916</c:v>
                </c:pt>
                <c:pt idx="1">
                  <c:v>0.14471317209674189</c:v>
                </c:pt>
                <c:pt idx="2">
                  <c:v>0.19868079152508489</c:v>
                </c:pt>
                <c:pt idx="3">
                  <c:v>0.11593044173495896</c:v>
                </c:pt>
                <c:pt idx="4">
                  <c:v>0.14771137317609426</c:v>
                </c:pt>
                <c:pt idx="5">
                  <c:v>6.9758145112932199E-2</c:v>
                </c:pt>
                <c:pt idx="6">
                  <c:v>3.2580451728962609E-2</c:v>
                </c:pt>
                <c:pt idx="7">
                  <c:v>2.2986208275034968E-2</c:v>
                </c:pt>
                <c:pt idx="8">
                  <c:v>7.61543074155506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aysan Breton</c:v>
                </c:pt>
                <c:pt idx="2">
                  <c:v>Boursin</c:v>
                </c:pt>
                <c:pt idx="3">
                  <c:v>Private Label</c:v>
                </c:pt>
                <c:pt idx="4">
                  <c:v>Tartare</c:v>
                </c:pt>
                <c:pt idx="5">
                  <c:v>Carre Frais</c:v>
                </c:pt>
                <c:pt idx="6">
                  <c:v>Philadelphia</c:v>
                </c:pt>
                <c:pt idx="7">
                  <c:v>Kiri</c:v>
                </c:pt>
                <c:pt idx="8">
                  <c:v>Others</c:v>
                </c:pt>
              </c:strCache>
            </c:strRef>
          </c:cat>
          <c:val>
            <c:numRef>
              <c:f>Sheet1!$D$2:$D$10</c:f>
              <c:numCache>
                <c:formatCode>General</c:formatCode>
                <c:ptCount val="9"/>
                <c:pt idx="0">
                  <c:v>54.760344183804044</c:v>
                </c:pt>
                <c:pt idx="1">
                  <c:v>100.36363317758376</c:v>
                </c:pt>
                <c:pt idx="2">
                  <c:v>147.57947449334307</c:v>
                </c:pt>
                <c:pt idx="3">
                  <c:v>94.079684153969751</c:v>
                </c:pt>
                <c:pt idx="4">
                  <c:v>125.33457006634563</c:v>
                </c:pt>
                <c:pt idx="5">
                  <c:v>101.09352063309056</c:v>
                </c:pt>
                <c:pt idx="6">
                  <c:v>90.030239937539463</c:v>
                </c:pt>
                <c:pt idx="7">
                  <c:v>299.01238543445822</c:v>
                </c:pt>
                <c:pt idx="8">
                  <c:v>433.9853543418944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D223003-FA3A-465E-B6A4-8385C66F75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96B9E72-5CB4-4F50-9665-6E4DF71344C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210D076-BB8A-4C43-ACD5-4EF149A82A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1037D50-9BFC-4F9A-82C4-69BC0483BE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24F4D17-24B3-43A7-B739-117F9FF5D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97E2009-B060-40A3-9C38-A5EEBB91FA1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E82BF81-6E13-4914-B57E-37121CD9B6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DF82728-8713-4311-B481-2E8505EF62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C799853-5CDA-4036-A239-70332B1E33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ECD80AF-1893-4670-8A93-FB3839561E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88</c:v>
                </c:pt>
                <c:pt idx="1">
                  <c:v>0.99</c:v>
                </c:pt>
                <c:pt idx="2">
                  <c:v>0.99</c:v>
                </c:pt>
                <c:pt idx="3">
                  <c:v>0.99</c:v>
                </c:pt>
                <c:pt idx="4">
                  <c:v>0.96</c:v>
                </c:pt>
                <c:pt idx="5">
                  <c:v>0.99</c:v>
                </c:pt>
                <c:pt idx="6">
                  <c:v>0.98</c:v>
                </c:pt>
              </c:numCache>
            </c:numRef>
          </c:xVal>
          <c:yVal>
            <c:numRef>
              <c:f>Sheet1!$B$2:$B$8</c:f>
              <c:numCache>
                <c:formatCode>General</c:formatCode>
                <c:ptCount val="7"/>
                <c:pt idx="0">
                  <c:v>212.81818181818181</c:v>
                </c:pt>
                <c:pt idx="1">
                  <c:v>1861.373737373737</c:v>
                </c:pt>
                <c:pt idx="2">
                  <c:v>2046.9595959595961</c:v>
                </c:pt>
                <c:pt idx="3">
                  <c:v>2510.909090909091</c:v>
                </c:pt>
                <c:pt idx="4">
                  <c:v>295.54166666666669</c:v>
                </c:pt>
                <c:pt idx="5">
                  <c:v>542.23232323232321</c:v>
                </c:pt>
                <c:pt idx="6">
                  <c:v>619.70408163265301</c:v>
                </c:pt>
              </c:numCache>
            </c:numRef>
          </c:yVal>
          <c:bubbleSize>
            <c:numRef>
              <c:f>Sheet1!$C$2:$C$8</c:f>
              <c:numCache>
                <c:formatCode>General</c:formatCode>
                <c:ptCount val="7"/>
                <c:pt idx="0">
                  <c:v>7654.3233</c:v>
                </c:pt>
                <c:pt idx="1">
                  <c:v>105773.54399999999</c:v>
                </c:pt>
                <c:pt idx="2">
                  <c:v>123606.6195</c:v>
                </c:pt>
                <c:pt idx="3">
                  <c:v>154735.0969</c:v>
                </c:pt>
                <c:pt idx="4">
                  <c:v>15154.5465</c:v>
                </c:pt>
                <c:pt idx="5">
                  <c:v>28961.603999999999</c:v>
                </c:pt>
                <c:pt idx="6">
                  <c:v>30217.781999999999</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B736797-8EC1-40A0-8C83-0B9B75D7B3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5F1F3DA-1C7C-49BA-9FC9-3C1DB228DC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2EE1494-0BE5-4165-87DF-519A85BE50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F3AE76B-D064-454B-B7DC-0235801C18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69D4595-188C-4D87-8F85-7D9FF76DF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1B2174E-2633-485E-A032-6BC3BD91C65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F6DCBE2-5770-4E7F-AF56-90042F37FA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B9CBCA0-B66C-4701-8423-72FA84B647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0816FA7-6367-48CC-B6DE-E0F62099DB2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532AD15-4C73-432F-A97A-4485A4E43B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47</c:v>
                </c:pt>
                <c:pt idx="1">
                  <c:v>0.85</c:v>
                </c:pt>
                <c:pt idx="2">
                  <c:v>0.59</c:v>
                </c:pt>
                <c:pt idx="3">
                  <c:v>0.92</c:v>
                </c:pt>
                <c:pt idx="4">
                  <c:v>0.3</c:v>
                </c:pt>
                <c:pt idx="5">
                  <c:v>0.89</c:v>
                </c:pt>
                <c:pt idx="6">
                  <c:v>0.67</c:v>
                </c:pt>
                <c:pt idx="7">
                  <c:v>0.1</c:v>
                </c:pt>
              </c:numCache>
            </c:numRef>
          </c:xVal>
          <c:yVal>
            <c:numRef>
              <c:f>Sheet1!$B$2:$B$9</c:f>
              <c:numCache>
                <c:formatCode>General</c:formatCode>
                <c:ptCount val="8"/>
                <c:pt idx="0">
                  <c:v>1288.617021276596</c:v>
                </c:pt>
                <c:pt idx="1">
                  <c:v>1618.623529411765</c:v>
                </c:pt>
                <c:pt idx="2">
                  <c:v>520.91525423728808</c:v>
                </c:pt>
                <c:pt idx="3">
                  <c:v>1084.782608695652</c:v>
                </c:pt>
                <c:pt idx="4">
                  <c:v>466.8</c:v>
                </c:pt>
                <c:pt idx="5">
                  <c:v>1075.011235955056</c:v>
                </c:pt>
                <c:pt idx="6">
                  <c:v>1039.014925373134</c:v>
                </c:pt>
                <c:pt idx="7">
                  <c:v>319</c:v>
                </c:pt>
              </c:numCache>
            </c:numRef>
          </c:yVal>
          <c:bubbleSize>
            <c:numRef>
              <c:f>Sheet1!$C$2:$C$9</c:f>
              <c:numCache>
                <c:formatCode>General</c:formatCode>
                <c:ptCount val="8"/>
                <c:pt idx="0">
                  <c:v>35560.734499999999</c:v>
                </c:pt>
                <c:pt idx="1">
                  <c:v>87751.572</c:v>
                </c:pt>
                <c:pt idx="2">
                  <c:v>20940.809799999999</c:v>
                </c:pt>
                <c:pt idx="3">
                  <c:v>60834.53439999999</c:v>
                </c:pt>
                <c:pt idx="4">
                  <c:v>6375.4179999999997</c:v>
                </c:pt>
                <c:pt idx="5">
                  <c:v>55887.63</c:v>
                </c:pt>
                <c:pt idx="6">
                  <c:v>40040.788</c:v>
                </c:pt>
                <c:pt idx="7">
                  <c:v>1479.5652</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0BF2CD8-1FF1-43F8-A63C-F3D18041A0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5C5E493-C148-4BCE-9D8B-B5B049D6CD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16D436C-E704-437A-9344-6C26FD5182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850E373-7E15-499B-BAF4-23AC3BDB0D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C1B2A46-4449-4167-B7C3-1D79DA0FC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4AF67E7-87D6-42CD-8A01-8A5AB36439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E09FE34-D897-4E3E-90FE-7F32163687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89897F-D22C-4883-A0C2-B13CF2445B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877EB1F-4AD7-487C-8810-4413F9406D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E136A1E-FD89-47C8-9A04-E91D24D6B2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25</c:v>
                </c:pt>
                <c:pt idx="1">
                  <c:v>0.98</c:v>
                </c:pt>
                <c:pt idx="2">
                  <c:v>0.68</c:v>
                </c:pt>
                <c:pt idx="3">
                  <c:v>0.65</c:v>
                </c:pt>
                <c:pt idx="4">
                  <c:v>0.42</c:v>
                </c:pt>
                <c:pt idx="5">
                  <c:v>0.77</c:v>
                </c:pt>
                <c:pt idx="6">
                  <c:v>0.32</c:v>
                </c:pt>
              </c:numCache>
            </c:numRef>
          </c:xVal>
          <c:yVal>
            <c:numRef>
              <c:f>Sheet1!$B$2:$B$8</c:f>
              <c:numCache>
                <c:formatCode>General</c:formatCode>
                <c:ptCount val="7"/>
                <c:pt idx="0">
                  <c:v>302.72000000000003</c:v>
                </c:pt>
                <c:pt idx="1">
                  <c:v>2144.071428571428</c:v>
                </c:pt>
                <c:pt idx="2">
                  <c:v>1798.10294117647</c:v>
                </c:pt>
                <c:pt idx="3">
                  <c:v>2110.4923076923078</c:v>
                </c:pt>
                <c:pt idx="4">
                  <c:v>544.73809523809518</c:v>
                </c:pt>
                <c:pt idx="5">
                  <c:v>586.18181818181813</c:v>
                </c:pt>
                <c:pt idx="6">
                  <c:v>514.03125</c:v>
                </c:pt>
              </c:numCache>
            </c:numRef>
          </c:yVal>
          <c:bubbleSize>
            <c:numRef>
              <c:f>Sheet1!$C$2:$C$8</c:f>
              <c:numCache>
                <c:formatCode>General</c:formatCode>
                <c:ptCount val="7"/>
                <c:pt idx="0">
                  <c:v>2891.0972999999999</c:v>
                </c:pt>
                <c:pt idx="1">
                  <c:v>119456.67479999999</c:v>
                </c:pt>
                <c:pt idx="2">
                  <c:v>70823.141200000013</c:v>
                </c:pt>
                <c:pt idx="3">
                  <c:v>79817.339399999997</c:v>
                </c:pt>
                <c:pt idx="4">
                  <c:v>10898.412</c:v>
                </c:pt>
                <c:pt idx="5">
                  <c:v>22425.295999999998</c:v>
                </c:pt>
                <c:pt idx="6">
                  <c:v>7537.2546000000002</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48B3BC2-20AE-4B2C-994A-8422BE7412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E87003F-D014-44C4-8D31-3B0540F80C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D29C5F2-EBED-4E51-AEDE-1047894286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8E10682-E96D-4F38-8328-C7569BE657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E3B0894-B73B-423D-9390-983E5FF29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8B7A664-9AF4-40A2-B740-3283A3599D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A262AFF-B429-4E6F-8CD0-C4062B0E24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11281D5-788F-4530-B94E-0CA9CE46F6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9340A9D-5407-4EC6-A91F-9E2961770F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A25B28C-0EED-4D86-865D-4664596759E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75</c:v>
                </c:pt>
                <c:pt idx="1">
                  <c:v>0.61199999999999999</c:v>
                </c:pt>
                <c:pt idx="2">
                  <c:v>0.39500000000000002</c:v>
                </c:pt>
              </c:numCache>
            </c:numRef>
          </c:xVal>
          <c:yVal>
            <c:numRef>
              <c:f>Sheet1!$B$2:$B$4</c:f>
              <c:numCache>
                <c:formatCode>General</c:formatCode>
                <c:ptCount val="3"/>
                <c:pt idx="0">
                  <c:v>2199.293333333334</c:v>
                </c:pt>
                <c:pt idx="1">
                  <c:v>2179.1176470588239</c:v>
                </c:pt>
                <c:pt idx="2">
                  <c:v>216.63291139240511</c:v>
                </c:pt>
              </c:numCache>
            </c:numRef>
          </c:yVal>
          <c:bubbleSize>
            <c:numRef>
              <c:f>Sheet1!$C$2:$C$4</c:f>
              <c:numCache>
                <c:formatCode>General</c:formatCode>
                <c:ptCount val="3"/>
                <c:pt idx="0">
                  <c:v>92796.757600000012</c:v>
                </c:pt>
                <c:pt idx="1">
                  <c:v>76442.335200000001</c:v>
                </c:pt>
                <c:pt idx="2">
                  <c:v>5501.8664000000008</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0993B10-2A75-4081-A894-2B4B9B8441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0B2FB6C-D14D-4FE0-A606-42E8E27F44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4B34859-910F-453B-94B1-05810696B9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2D346E6-0777-4203-9784-A6C7D0BB97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E21D96D-751F-4B7B-BF77-6163AC79E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40D2A8D-5EAB-4BF6-BA4E-F55891A9A1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9ECDF78-BF3B-4677-BF49-69611CAEAD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5AA7D83-BB53-4455-93BC-F32869B45E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819ECBC-68D4-4942-A97E-7239F64FF4E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B1FA4EF-D5A0-4D7E-9ACF-3EAF2F4570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90300000000000002</c:v>
                </c:pt>
                <c:pt idx="1">
                  <c:v>0.38400000000000001</c:v>
                </c:pt>
                <c:pt idx="2">
                  <c:v>0.96799999999999997</c:v>
                </c:pt>
                <c:pt idx="3">
                  <c:v>0.78600000000000003</c:v>
                </c:pt>
                <c:pt idx="4">
                  <c:v>0.67200000000000004</c:v>
                </c:pt>
                <c:pt idx="5">
                  <c:v>0.34</c:v>
                </c:pt>
                <c:pt idx="6">
                  <c:v>0.24</c:v>
                </c:pt>
                <c:pt idx="7">
                  <c:v>0.36599999999999999</c:v>
                </c:pt>
                <c:pt idx="8">
                  <c:v>0.39700000000000002</c:v>
                </c:pt>
                <c:pt idx="9">
                  <c:v>0.80500000000000005</c:v>
                </c:pt>
                <c:pt idx="10">
                  <c:v>0.23899999999999999</c:v>
                </c:pt>
                <c:pt idx="11">
                  <c:v>0.80100000000000005</c:v>
                </c:pt>
                <c:pt idx="12">
                  <c:v>0.76300000000000001</c:v>
                </c:pt>
                <c:pt idx="13">
                  <c:v>0.27400000000000002</c:v>
                </c:pt>
              </c:numCache>
            </c:numRef>
          </c:xVal>
          <c:yVal>
            <c:numRef>
              <c:f>Sheet1!$B$2:$B$15</c:f>
              <c:numCache>
                <c:formatCode>General</c:formatCode>
                <c:ptCount val="14"/>
                <c:pt idx="0">
                  <c:v>8742.8128460686603</c:v>
                </c:pt>
                <c:pt idx="1">
                  <c:v>740.18229166666674</c:v>
                </c:pt>
                <c:pt idx="2">
                  <c:v>8760.7128099173551</c:v>
                </c:pt>
                <c:pt idx="3">
                  <c:v>2106.0050890585239</c:v>
                </c:pt>
                <c:pt idx="4">
                  <c:v>1995.714285714286</c:v>
                </c:pt>
                <c:pt idx="5">
                  <c:v>473.70588235294122</c:v>
                </c:pt>
                <c:pt idx="6">
                  <c:v>427.54166666666669</c:v>
                </c:pt>
                <c:pt idx="7">
                  <c:v>740.38251366120221</c:v>
                </c:pt>
                <c:pt idx="8">
                  <c:v>1422.8211586901759</c:v>
                </c:pt>
                <c:pt idx="9">
                  <c:v>3083.217391304348</c:v>
                </c:pt>
                <c:pt idx="10">
                  <c:v>1402.259414225942</c:v>
                </c:pt>
                <c:pt idx="11">
                  <c:v>6086.816479400748</c:v>
                </c:pt>
                <c:pt idx="12">
                  <c:v>2320.5897771952818</c:v>
                </c:pt>
                <c:pt idx="13">
                  <c:v>512.44525547445255</c:v>
                </c:pt>
              </c:numCache>
            </c:numRef>
          </c:yVal>
          <c:bubbleSize>
            <c:numRef>
              <c:f>Sheet1!$C$2:$C$15</c:f>
              <c:numCache>
                <c:formatCode>General</c:formatCode>
                <c:ptCount val="14"/>
                <c:pt idx="0">
                  <c:v>488089.85969999997</c:v>
                </c:pt>
                <c:pt idx="1">
                  <c:v>19264.3325</c:v>
                </c:pt>
                <c:pt idx="2">
                  <c:v>513331.86839999992</c:v>
                </c:pt>
                <c:pt idx="3">
                  <c:v>99038.94</c:v>
                </c:pt>
                <c:pt idx="4">
                  <c:v>81048.707600000009</c:v>
                </c:pt>
                <c:pt idx="5">
                  <c:v>8354.5730999999996</c:v>
                </c:pt>
                <c:pt idx="6">
                  <c:v>5066.8152</c:v>
                </c:pt>
                <c:pt idx="7">
                  <c:v>17329.854599999999</c:v>
                </c:pt>
                <c:pt idx="8">
                  <c:v>34700.419800000003</c:v>
                </c:pt>
                <c:pt idx="9">
                  <c:v>147853.2156</c:v>
                </c:pt>
                <c:pt idx="10">
                  <c:v>22991.651699999999</c:v>
                </c:pt>
                <c:pt idx="11">
                  <c:v>310224.93550000002</c:v>
                </c:pt>
                <c:pt idx="12">
                  <c:v>103208.8308</c:v>
                </c:pt>
                <c:pt idx="13">
                  <c:v>7375.5604999999996</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Classique Fromage Frais A Tartiner Afh Boite 1X8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Afh Boite 1X250Gr 1P</c:v>
                  </c:pt>
                  <c:pt idx="12">
                    <c:v>Boursin Onctueux Fromage Frais A Tartiner Afh 1X125Gr 1P</c:v>
                  </c:pt>
                  <c:pt idx="13">
                    <c:v>Boursin Onctueux Fromage Frais A Tartiner Afh 1X21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163091B-7C7B-49BC-878E-E19112ADF3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D65C42F-A384-4819-878F-DF812CB4B4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2FC931D-A64D-4403-B087-C5B15DCB754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00A1C4E-9F8F-4719-A936-561287C586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298F326-62CB-4811-B598-DD1882F40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C3DE683-134E-4F7A-A82B-7F8F3FD70B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BA5CA33-7E58-4CB0-9009-90666947FA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6304EC7-889C-4040-A3EC-35DF00445E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F5CED5C-F95E-4258-9D84-9AE1EE5F894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E3B5083-93CB-440F-B55E-37C64039C1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83499999999999996</c:v>
                </c:pt>
              </c:numCache>
            </c:numRef>
          </c:xVal>
          <c:yVal>
            <c:numRef>
              <c:f>Sheet1!$B$2:$B$2</c:f>
              <c:numCache>
                <c:formatCode>General</c:formatCode>
                <c:ptCount val="1"/>
                <c:pt idx="0">
                  <c:v>2076.2514970059879</c:v>
                </c:pt>
              </c:numCache>
            </c:numRef>
          </c:yVal>
          <c:bubbleSize>
            <c:numRef>
              <c:f>Sheet1!$C$2:$C$2</c:f>
              <c:numCache>
                <c:formatCode>General</c:formatCode>
                <c:ptCount val="1"/>
                <c:pt idx="0">
                  <c:v>87767.423200000005</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6F51BF9-759C-4423-AB7A-9C0350F70C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3DEC897-4CAE-49CF-AABE-2150B19790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8F6917D-E88E-4A20-8D55-3EADE0C436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F2EAAF6-78BF-4BEA-A0B6-010EA46755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B3016E7-725C-432D-9202-2F4AC2C0D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D2AC371-B6A9-43D4-8C42-6E69678615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85E3D13-30F2-49EF-B0AB-59DC400BF7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148A87F-F5C6-4CC0-9722-66894083C9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432B27A-E449-432A-9AD0-6033FCE8FD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C25B17F-0171-4921-98E6-BABBA21FD8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7899999999999998</c:v>
                </c:pt>
                <c:pt idx="1">
                  <c:v>0.99399999999999999</c:v>
                </c:pt>
                <c:pt idx="2">
                  <c:v>0.94499999999999995</c:v>
                </c:pt>
                <c:pt idx="3">
                  <c:v>0.93899999999999995</c:v>
                </c:pt>
                <c:pt idx="4">
                  <c:v>0.84199999999999997</c:v>
                </c:pt>
                <c:pt idx="5">
                  <c:v>0.88200000000000001</c:v>
                </c:pt>
                <c:pt idx="6">
                  <c:v>0.79500000000000004</c:v>
                </c:pt>
                <c:pt idx="7">
                  <c:v>0.80200000000000005</c:v>
                </c:pt>
                <c:pt idx="8">
                  <c:v>0.96099999999999997</c:v>
                </c:pt>
                <c:pt idx="9">
                  <c:v>0.95399999999999996</c:v>
                </c:pt>
              </c:numCache>
            </c:numRef>
          </c:xVal>
          <c:yVal>
            <c:numRef>
              <c:f>Sheet1!$B$2:$B$11</c:f>
              <c:numCache>
                <c:formatCode>General</c:formatCode>
                <c:ptCount val="10"/>
                <c:pt idx="0">
                  <c:v>7033.319713993872</c:v>
                </c:pt>
                <c:pt idx="1">
                  <c:v>5921.2776659959754</c:v>
                </c:pt>
                <c:pt idx="2">
                  <c:v>2224.359788359789</c:v>
                </c:pt>
                <c:pt idx="3">
                  <c:v>2554.8668796592119</c:v>
                </c:pt>
                <c:pt idx="4">
                  <c:v>1929.78622327791</c:v>
                </c:pt>
                <c:pt idx="5">
                  <c:v>2748.5147392290251</c:v>
                </c:pt>
                <c:pt idx="6">
                  <c:v>2040.9308176100631</c:v>
                </c:pt>
                <c:pt idx="7">
                  <c:v>1647.394014962593</c:v>
                </c:pt>
                <c:pt idx="8">
                  <c:v>7439.1675338189389</c:v>
                </c:pt>
                <c:pt idx="9">
                  <c:v>3427.201257861635</c:v>
                </c:pt>
              </c:numCache>
            </c:numRef>
          </c:yVal>
          <c:bubbleSize>
            <c:numRef>
              <c:f>Sheet1!$C$2:$C$11</c:f>
              <c:numCache>
                <c:formatCode>General</c:formatCode>
                <c:ptCount val="10"/>
                <c:pt idx="0">
                  <c:v>420188.06489999988</c:v>
                </c:pt>
                <c:pt idx="1">
                  <c:v>367128.10499999998</c:v>
                </c:pt>
                <c:pt idx="2">
                  <c:v>109593.68</c:v>
                </c:pt>
                <c:pt idx="3">
                  <c:v>127395.8285</c:v>
                </c:pt>
                <c:pt idx="4">
                  <c:v>88297.983399999997</c:v>
                </c:pt>
                <c:pt idx="5">
                  <c:v>133230.94289999999</c:v>
                </c:pt>
                <c:pt idx="6">
                  <c:v>94014.723599999983</c:v>
                </c:pt>
                <c:pt idx="7">
                  <c:v>68079.811799999996</c:v>
                </c:pt>
                <c:pt idx="8">
                  <c:v>420137.65220000001</c:v>
                </c:pt>
                <c:pt idx="9">
                  <c:v>153786.6434</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Poivre Boite 1X150Gr 1P</c:v>
                  </c:pt>
                  <c:pt idx="5">
                    <c:v>Boursin Classique Fromage Frais A Tartiner Afh Boite 1X96Gr 6P</c:v>
                  </c:pt>
                  <c:pt idx="6">
                    <c:v>Boursin Classique Fromage Frais A Tartiner Afh 1X256Gr 16P</c:v>
                  </c:pt>
                  <c:pt idx="7">
                    <c:v>Boursin Classique Fromage Frais A Tartiner Ciboulette &amp; Echalote 1X160Gr 10P</c:v>
                  </c:pt>
                  <c:pt idx="8">
                    <c:v>Boursin Classique Fromage Frais A Tartiner Afh Boite 1X250Gr 1P</c:v>
                  </c:pt>
                  <c:pt idx="9">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73061AA-FAAA-472C-BCCD-94C726FA97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7D603F6-FC3E-4701-AC3B-2D61F6E1FD4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BF24CC3-7567-4483-852E-71DC697C93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FCE6AE0-5645-45FF-94DE-551A1D9078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3CF8162-A051-448B-97A6-A75D2B8BC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07F77FC-8B1C-4020-B239-5E34E1B7C2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6D2CB3A-181D-448B-960E-717C68CF7E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ACDACCD-EC19-4905-A603-CD33EB4E54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B1CAB77-09F9-4962-818F-1B592DB676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C3F52AC-3DFF-417A-BF10-6BF7795CD5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98</c:v>
                </c:pt>
                <c:pt idx="1">
                  <c:v>0.96</c:v>
                </c:pt>
                <c:pt idx="2">
                  <c:v>0.56000000000000005</c:v>
                </c:pt>
              </c:numCache>
            </c:numRef>
          </c:xVal>
          <c:yVal>
            <c:numRef>
              <c:f>Sheet1!$B$2:$B$4</c:f>
              <c:numCache>
                <c:formatCode>General</c:formatCode>
                <c:ptCount val="3"/>
                <c:pt idx="0">
                  <c:v>546.86734693877554</c:v>
                </c:pt>
                <c:pt idx="1">
                  <c:v>990.13541666666663</c:v>
                </c:pt>
                <c:pt idx="2">
                  <c:v>60.053571428571423</c:v>
                </c:pt>
              </c:numCache>
            </c:numRef>
          </c:yVal>
          <c:bubbleSize>
            <c:numRef>
              <c:f>Sheet1!$C$2:$C$4</c:f>
              <c:numCache>
                <c:formatCode>General</c:formatCode>
                <c:ptCount val="3"/>
                <c:pt idx="0">
                  <c:v>33818.056600000004</c:v>
                </c:pt>
                <c:pt idx="1">
                  <c:v>54786.758399999999</c:v>
                </c:pt>
                <c:pt idx="2">
                  <c:v>2086.1754000000001</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3F19A15-B25C-46EC-9BD4-F00B897D01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0AAC8AC-2D9E-4784-A735-FD40EE1308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1B2E7B4-33C5-4F20-AD39-2BF9C65517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AD564CB-A819-4B4A-8D06-CEE21B28A3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F5F755E-AA28-4073-A64D-EC9023D70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1436BB3-F688-4826-A010-27D3B5CEE3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43BB804-1A59-463E-B1EA-0061A583A4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A4AC727-E22B-4380-9F8E-18A1752A03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14AE8AC-459B-4808-8A29-1BBD4521AE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7F1B3D1-7FF1-4217-BEA2-CCE881E14A3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1</c:v>
                </c:pt>
                <c:pt idx="1">
                  <c:v>0.85</c:v>
                </c:pt>
                <c:pt idx="2">
                  <c:v>1</c:v>
                </c:pt>
                <c:pt idx="3">
                  <c:v>0.97</c:v>
                </c:pt>
                <c:pt idx="4">
                  <c:v>0.94</c:v>
                </c:pt>
                <c:pt idx="5">
                  <c:v>0.67</c:v>
                </c:pt>
                <c:pt idx="6">
                  <c:v>0.49</c:v>
                </c:pt>
                <c:pt idx="7">
                  <c:v>0.77</c:v>
                </c:pt>
                <c:pt idx="8">
                  <c:v>0.88</c:v>
                </c:pt>
                <c:pt idx="9">
                  <c:v>1</c:v>
                </c:pt>
                <c:pt idx="10">
                  <c:v>0.53</c:v>
                </c:pt>
                <c:pt idx="11">
                  <c:v>1</c:v>
                </c:pt>
                <c:pt idx="12">
                  <c:v>0.99</c:v>
                </c:pt>
                <c:pt idx="13">
                  <c:v>0.59</c:v>
                </c:pt>
              </c:numCache>
            </c:numRef>
          </c:xVal>
          <c:yVal>
            <c:numRef>
              <c:f>Sheet1!$B$2:$B$15</c:f>
              <c:numCache>
                <c:formatCode>General</c:formatCode>
                <c:ptCount val="14"/>
                <c:pt idx="0">
                  <c:v>3178.1</c:v>
                </c:pt>
                <c:pt idx="1">
                  <c:v>333.52941176470591</c:v>
                </c:pt>
                <c:pt idx="2">
                  <c:v>2173.81</c:v>
                </c:pt>
                <c:pt idx="3">
                  <c:v>746.80412371134025</c:v>
                </c:pt>
                <c:pt idx="4">
                  <c:v>805.01063829787233</c:v>
                </c:pt>
                <c:pt idx="5">
                  <c:v>181.56716417910451</c:v>
                </c:pt>
                <c:pt idx="6">
                  <c:v>156.61224489795919</c:v>
                </c:pt>
                <c:pt idx="7">
                  <c:v>280.87012987012992</c:v>
                </c:pt>
                <c:pt idx="8">
                  <c:v>641.88636363636363</c:v>
                </c:pt>
                <c:pt idx="9">
                  <c:v>1073.17</c:v>
                </c:pt>
                <c:pt idx="10">
                  <c:v>632.33962264150944</c:v>
                </c:pt>
                <c:pt idx="11">
                  <c:v>2485.17</c:v>
                </c:pt>
                <c:pt idx="12">
                  <c:v>745.38383838383834</c:v>
                </c:pt>
                <c:pt idx="13">
                  <c:v>219.9491525423729</c:v>
                </c:pt>
              </c:numCache>
            </c:numRef>
          </c:yVal>
          <c:bubbleSize>
            <c:numRef>
              <c:f>Sheet1!$C$2:$C$15</c:f>
              <c:numCache>
                <c:formatCode>General</c:formatCode>
                <c:ptCount val="14"/>
                <c:pt idx="0">
                  <c:v>203609.8308</c:v>
                </c:pt>
                <c:pt idx="1">
                  <c:v>19208.837500000001</c:v>
                </c:pt>
                <c:pt idx="2">
                  <c:v>143874.3254</c:v>
                </c:pt>
                <c:pt idx="3">
                  <c:v>44811.284000000007</c:v>
                </c:pt>
                <c:pt idx="4">
                  <c:v>45977.733800000002</c:v>
                </c:pt>
                <c:pt idx="5">
                  <c:v>6584.1922000000004</c:v>
                </c:pt>
                <c:pt idx="6">
                  <c:v>3893.0088000000001</c:v>
                </c:pt>
                <c:pt idx="7">
                  <c:v>14453.8038</c:v>
                </c:pt>
                <c:pt idx="8">
                  <c:v>34700.419800000003</c:v>
                </c:pt>
                <c:pt idx="9">
                  <c:v>65034.166400000002</c:v>
                </c:pt>
                <c:pt idx="10">
                  <c:v>22991.651699999999</c:v>
                </c:pt>
                <c:pt idx="11">
                  <c:v>159788.61799999999</c:v>
                </c:pt>
                <c:pt idx="12">
                  <c:v>43296.037199999999</c:v>
                </c:pt>
                <c:pt idx="13">
                  <c:v>6793.1632999999993</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Figue Et 3 Noix Boite 1X150Gr 1P</c:v>
                  </c:pt>
                  <c:pt idx="5">
                    <c:v>Boursin Classique Fromage Frais A Tartiner 3 Noix Boite 1X150Gr 1P</c:v>
                  </c:pt>
                  <c:pt idx="6">
                    <c:v>Boursin Classique Fromage Frais A Tartiner 3 Noix 1X160Gr 10P</c:v>
                  </c:pt>
                  <c:pt idx="7">
                    <c:v>Boursin Classique Fromage Frais A Tartiner Afh Boite 1X80Gr 1P</c:v>
                  </c:pt>
                  <c:pt idx="8">
                    <c:v>Boursin Classique Fromage Frais A Tartiner Poivre Boite 1X150Gr 1P</c:v>
                  </c:pt>
                  <c:pt idx="9">
                    <c:v>Boursin Classique Fromage Frais A Tartiner Afh Boite 1X96Gr 6P</c:v>
                  </c:pt>
                  <c:pt idx="10">
                    <c:v>Boursin Classique Fromage Frais A Tartiner Afh 1X256Gr 16P</c:v>
                  </c:pt>
                  <c:pt idx="11">
                    <c:v>Boursin Classique Fromage Frais A Tartiner Afh Boite 1X250Gr 1P</c:v>
                  </c:pt>
                  <c:pt idx="12">
                    <c:v>Boursin Onctueux Fromage Frais A Tartiner Afh 1X125Gr 1P</c:v>
                  </c:pt>
                  <c:pt idx="13">
                    <c:v>Boursin Onctueux Fromage Frais A Tartiner Afh 1X21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B7D29AB-E622-470E-9A21-13E2A7235F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3960E1C-3E1C-4DE4-8DDC-1BD68909C9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BB4BE8F-1DB7-44B7-9411-E6882CC155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81CACAC-CAAF-4B52-8751-1F6376D505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12A4A73-8903-4753-90E6-A83530377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1C36F24-1759-4925-949F-03D27D24DC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CAD108F-09E9-4ABF-9570-F97CC958A5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ADB5ECE-4766-4077-9C6F-3F5CE01DAF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798BFB4-1570-4090-B19F-61459984F4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5E20CF7-3D51-467C-B0C4-A0BDCFEF6B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56999999999999995</c:v>
                </c:pt>
                <c:pt idx="1">
                  <c:v>0.47</c:v>
                </c:pt>
                <c:pt idx="2">
                  <c:v>0.33</c:v>
                </c:pt>
              </c:numCache>
            </c:numRef>
          </c:xVal>
          <c:yVal>
            <c:numRef>
              <c:f>Sheet1!$B$2:$B$4</c:f>
              <c:numCache>
                <c:formatCode>General</c:formatCode>
                <c:ptCount val="3"/>
                <c:pt idx="0">
                  <c:v>676.1578947368422</c:v>
                </c:pt>
                <c:pt idx="1">
                  <c:v>815.08510638297878</c:v>
                </c:pt>
                <c:pt idx="2">
                  <c:v>105.2121212121212</c:v>
                </c:pt>
              </c:numCache>
            </c:numRef>
          </c:yVal>
          <c:bubbleSize>
            <c:numRef>
              <c:f>Sheet1!$C$2:$C$4</c:f>
              <c:numCache>
                <c:formatCode>General</c:formatCode>
                <c:ptCount val="3"/>
                <c:pt idx="0">
                  <c:v>22184.3776</c:v>
                </c:pt>
                <c:pt idx="1">
                  <c:v>21655.576799999999</c:v>
                </c:pt>
                <c:pt idx="2">
                  <c:v>2413.9591999999998</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B$2:$B$10</c:f>
              <c:numCache>
                <c:formatCode>General</c:formatCode>
                <c:ptCount val="9"/>
                <c:pt idx="0">
                  <c:v>0.30622513382997041</c:v>
                </c:pt>
                <c:pt idx="1">
                  <c:v>0.17641268296335116</c:v>
                </c:pt>
                <c:pt idx="2">
                  <c:v>0.13618747426346722</c:v>
                </c:pt>
                <c:pt idx="3">
                  <c:v>0.13022932654512784</c:v>
                </c:pt>
                <c:pt idx="4">
                  <c:v>9.880732227754277E-2</c:v>
                </c:pt>
                <c:pt idx="5">
                  <c:v>8.548137610901059E-2</c:v>
                </c:pt>
                <c:pt idx="6">
                  <c:v>4.9734885636207093E-2</c:v>
                </c:pt>
                <c:pt idx="7">
                  <c:v>4.9297345861565528E-3</c:v>
                </c:pt>
                <c:pt idx="8">
                  <c:v>1.199206378916632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C$2:$C$10</c:f>
              <c:numCache>
                <c:formatCode>General</c:formatCode>
                <c:ptCount val="9"/>
                <c:pt idx="0">
                  <c:v>0.20105471324983523</c:v>
                </c:pt>
                <c:pt idx="1">
                  <c:v>0.16183256427158865</c:v>
                </c:pt>
                <c:pt idx="2">
                  <c:v>0.23335530652603828</c:v>
                </c:pt>
                <c:pt idx="3">
                  <c:v>0.11667765326301911</c:v>
                </c:pt>
                <c:pt idx="4">
                  <c:v>0.12162162162162163</c:v>
                </c:pt>
                <c:pt idx="5">
                  <c:v>7.0533948582729086E-2</c:v>
                </c:pt>
                <c:pt idx="6">
                  <c:v>4.4166117336849046E-2</c:v>
                </c:pt>
                <c:pt idx="7">
                  <c:v>1.6150296638101518E-2</c:v>
                </c:pt>
                <c:pt idx="8">
                  <c:v>3.460777851021753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D$2:$D$10</c:f>
              <c:numCache>
                <c:formatCode>General</c:formatCode>
                <c:ptCount val="9"/>
                <c:pt idx="0">
                  <c:v>65.655849582049527</c:v>
                </c:pt>
                <c:pt idx="1">
                  <c:v>91.735220820380889</c:v>
                </c:pt>
                <c:pt idx="2">
                  <c:v>171.34858237740053</c:v>
                </c:pt>
                <c:pt idx="3">
                  <c:v>89.593992657703936</c:v>
                </c:pt>
                <c:pt idx="4">
                  <c:v>123.08968487172956</c:v>
                </c:pt>
                <c:pt idx="5">
                  <c:v>82.513819726978056</c:v>
                </c:pt>
                <c:pt idx="6">
                  <c:v>88.80309419007898</c:v>
                </c:pt>
                <c:pt idx="7">
                  <c:v>327.60986125812968</c:v>
                </c:pt>
                <c:pt idx="8">
                  <c:v>288.5890128560051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C4E8457-768E-484C-B78E-B68604BBB6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6CA73B8-B53F-4181-A098-1CF442E398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7C30C05-5686-4113-85D9-1EB8B914CB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5C2E0A5-34F2-48BE-8D9F-B733C0AE385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D526452-5FE7-43F8-B464-076A5D51B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97BA1E2-C20C-43DC-8B0D-0BFC43445C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803696B-88BF-440A-A6A5-31B4A6DB7A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4B4DDA9-9110-4D69-9290-0CFC206EB8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ADE1C1B-0055-41F6-962F-A18ABFE416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BD06309-AF12-4BAE-BEFD-FF04022B77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97</c:v>
                </c:pt>
                <c:pt idx="1">
                  <c:v>0.99</c:v>
                </c:pt>
                <c:pt idx="2">
                  <c:v>0.88</c:v>
                </c:pt>
                <c:pt idx="3">
                  <c:v>0.65</c:v>
                </c:pt>
                <c:pt idx="4">
                  <c:v>0.1</c:v>
                </c:pt>
                <c:pt idx="5">
                  <c:v>0.05</c:v>
                </c:pt>
                <c:pt idx="6">
                  <c:v>0.89</c:v>
                </c:pt>
                <c:pt idx="7">
                  <c:v>0.92</c:v>
                </c:pt>
                <c:pt idx="8">
                  <c:v>0.83</c:v>
                </c:pt>
              </c:numCache>
            </c:numRef>
          </c:xVal>
          <c:yVal>
            <c:numRef>
              <c:f>Sheet1!$B$2:$B$10</c:f>
              <c:numCache>
                <c:formatCode>General</c:formatCode>
                <c:ptCount val="9"/>
                <c:pt idx="0">
                  <c:v>3016.855670103093</c:v>
                </c:pt>
                <c:pt idx="1">
                  <c:v>2637.1616161616162</c:v>
                </c:pt>
                <c:pt idx="2">
                  <c:v>910.88636363636363</c:v>
                </c:pt>
                <c:pt idx="3">
                  <c:v>899.09230769230771</c:v>
                </c:pt>
                <c:pt idx="4">
                  <c:v>394.1</c:v>
                </c:pt>
                <c:pt idx="5">
                  <c:v>517.4</c:v>
                </c:pt>
                <c:pt idx="6">
                  <c:v>1389.4269662921349</c:v>
                </c:pt>
                <c:pt idx="7">
                  <c:v>2597.739130434783</c:v>
                </c:pt>
                <c:pt idx="8">
                  <c:v>1244.0481927710839</c:v>
                </c:pt>
              </c:numCache>
            </c:numRef>
          </c:yVal>
          <c:bubbleSize>
            <c:numRef>
              <c:f>Sheet1!$C$2:$C$10</c:f>
              <c:numCache>
                <c:formatCode>General</c:formatCode>
                <c:ptCount val="9"/>
                <c:pt idx="0">
                  <c:v>182514.58350000001</c:v>
                </c:pt>
                <c:pt idx="1">
                  <c:v>169175.82759999999</c:v>
                </c:pt>
                <c:pt idx="2">
                  <c:v>47929.252</c:v>
                </c:pt>
                <c:pt idx="3">
                  <c:v>35070.9738</c:v>
                </c:pt>
                <c:pt idx="4">
                  <c:v>1770.3809000000001</c:v>
                </c:pt>
                <c:pt idx="5">
                  <c:v>1173.8063999999999</c:v>
                </c:pt>
                <c:pt idx="6">
                  <c:v>73719.119200000001</c:v>
                </c:pt>
                <c:pt idx="7">
                  <c:v>150414.5325</c:v>
                </c:pt>
                <c:pt idx="8">
                  <c:v>59907.712800000001</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3 Noix Boite 1X150Gr 1P</c:v>
                  </c:pt>
                  <c:pt idx="5">
                    <c:v>Boursin Classique Fromage Frais A Tartiner 3 Noix 1X160Gr 10P</c:v>
                  </c:pt>
                  <c:pt idx="6">
                    <c:v>Boursin Classique Fromage Frais A Tartiner Afh Boite 1X96Gr 6P</c:v>
                  </c:pt>
                  <c:pt idx="7">
                    <c:v>Boursin Classique Fromage Frais A Tartiner Afh Boite 1X250Gr 1P</c:v>
                  </c:pt>
                  <c:pt idx="8">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9A3132F-F39A-480E-8494-8882B1755B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1997FF9-0CC6-4E76-862A-862225D7EF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D32E3CC-0511-44B5-9FBF-163D4B7A19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E3D09F9-5CE9-4CC6-84F8-67899A601E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A58A474-971B-466A-8615-9E178BD95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F7E9CDF-3B21-4B86-821A-A7DAEA5F43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02B0C20-4CD8-4684-ACE9-1522909E23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05645BB-91F2-4398-B527-FD0B24D78C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37368AC-2F42-4810-989E-28E6748ABB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72DADE0-8BD9-423E-AA33-2C9FF23A84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54</c:v>
                </c:pt>
                <c:pt idx="1">
                  <c:v>0.1</c:v>
                </c:pt>
              </c:numCache>
            </c:numRef>
          </c:xVal>
          <c:yVal>
            <c:numRef>
              <c:f>Sheet1!$B$2:$B$3</c:f>
              <c:numCache>
                <c:formatCode>General</c:formatCode>
                <c:ptCount val="2"/>
                <c:pt idx="0">
                  <c:v>1348.3888888888889</c:v>
                </c:pt>
                <c:pt idx="1">
                  <c:v>172.2</c:v>
                </c:pt>
              </c:numCache>
            </c:numRef>
          </c:yVal>
          <c:bubbleSize>
            <c:numRef>
              <c:f>Sheet1!$C$2:$C$3</c:f>
              <c:numCache>
                <c:formatCode>General</c:formatCode>
                <c:ptCount val="2"/>
                <c:pt idx="0">
                  <c:v>36794.323400000001</c:v>
                </c:pt>
                <c:pt idx="1">
                  <c:v>1001.7318</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8CE7F41-CBF2-4AE1-AA87-CEC757CDEA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A0452CA-CEFE-49C7-AAB6-D43E4F6B3A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66D795A-B613-4C2C-8269-9CBD5916AE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0474FCD-E22A-4D28-B42C-CA66AF9CCC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BB5E5FD-B67B-486A-96FE-11F8E37F1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B449206-C2F0-4452-9362-1F02135A19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CE7D761-D2C1-4064-AADA-9A0E425788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77A4AA7-1D75-420E-B5DA-C1F16D376C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946A63D-EFAB-4936-87F2-3A53F1E39E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6D1E1F7-6B27-46C8-A975-6586871D03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49</c:v>
                </c:pt>
                <c:pt idx="1">
                  <c:v>0.83</c:v>
                </c:pt>
                <c:pt idx="2">
                  <c:v>0.08</c:v>
                </c:pt>
                <c:pt idx="3">
                  <c:v>0.11</c:v>
                </c:pt>
                <c:pt idx="4">
                  <c:v>0.09</c:v>
                </c:pt>
              </c:numCache>
            </c:numRef>
          </c:xVal>
          <c:yVal>
            <c:numRef>
              <c:f>Sheet1!$B$2:$B$6</c:f>
              <c:numCache>
                <c:formatCode>General</c:formatCode>
                <c:ptCount val="5"/>
                <c:pt idx="0">
                  <c:v>3653.6938775510198</c:v>
                </c:pt>
                <c:pt idx="1">
                  <c:v>4452.734939759036</c:v>
                </c:pt>
                <c:pt idx="2">
                  <c:v>1616.75</c:v>
                </c:pt>
                <c:pt idx="3">
                  <c:v>497.36363636363637</c:v>
                </c:pt>
                <c:pt idx="4">
                  <c:v>1913.666666666667</c:v>
                </c:pt>
              </c:numCache>
            </c:numRef>
          </c:yVal>
          <c:bubbleSize>
            <c:numRef>
              <c:f>Sheet1!$C$2:$C$6</c:f>
              <c:numCache>
                <c:formatCode>General</c:formatCode>
                <c:ptCount val="5"/>
                <c:pt idx="0">
                  <c:v>101965.4454</c:v>
                </c:pt>
                <c:pt idx="1">
                  <c:v>200281.71539999999</c:v>
                </c:pt>
                <c:pt idx="2">
                  <c:v>6298.4040000000005</c:v>
                </c:pt>
                <c:pt idx="3">
                  <c:v>2876.0508</c:v>
                </c:pt>
                <c:pt idx="4">
                  <c:v>9099.93</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Afh Boite 1X80Gr 1P</c:v>
                  </c:pt>
                  <c:pt idx="4">
                    <c:v>Boursin Classique Fromage Frais A Tartiner Afh Boite 1X96Gr 6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5B24E4C-4878-4333-B265-075EE8AA93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337906B-588A-4785-9784-0B9645AFC9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ED2E2C5-08FD-43EC-9C62-16F27205EAC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BFD5214-9CE2-4DA5-815A-5690E89C71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7779C3F-E8CB-47D6-B521-BC94D97B9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C1F0A79-EDC7-49A3-87D2-EED1EF6F53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2E13F3C-EC28-4F2A-865E-3E8B2AC409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D4DEA6D-9DED-482C-A557-8DBD8388C7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7BA428D-B44F-417A-8623-2329701443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264CE17-363E-40A2-8963-5C9066ED06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87</c:v>
                </c:pt>
              </c:numCache>
            </c:numRef>
          </c:xVal>
          <c:yVal>
            <c:numRef>
              <c:f>Sheet1!$B$2:$B$2</c:f>
              <c:numCache>
                <c:formatCode>General</c:formatCode>
                <c:ptCount val="1"/>
                <c:pt idx="0">
                  <c:v>1509.2873563218391</c:v>
                </c:pt>
              </c:numCache>
            </c:numRef>
          </c:yVal>
          <c:bubbleSize>
            <c:numRef>
              <c:f>Sheet1!$C$2:$C$2</c:f>
              <c:numCache>
                <c:formatCode>General</c:formatCode>
                <c:ptCount val="1"/>
                <c:pt idx="0">
                  <c:v>66663.609600000011</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26BA7EA-6DD2-4DD6-A584-343769CC1A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ED0DE6E-0194-4536-A948-7FB3EF7CF1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0288EED-8215-4BB5-BF21-C70D45C08B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928D545-2998-42DB-9C56-F74D8A1918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F60331F-40C0-479D-A551-514C4576F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CB2153E-BA1E-45E2-ADB5-19AF56B103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5F27C69-639E-4C38-AEEE-2E271EF8564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B1CDED3-15E1-45B7-93CC-1838F2CFA3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5F40BBB-D41C-4585-9DDB-86D5223512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B0879D4-E65E-44D0-862F-019C067D09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9</c:v>
                </c:pt>
                <c:pt idx="1">
                  <c:v>1</c:v>
                </c:pt>
                <c:pt idx="2">
                  <c:v>0.96</c:v>
                </c:pt>
                <c:pt idx="3">
                  <c:v>0.95</c:v>
                </c:pt>
                <c:pt idx="4">
                  <c:v>0.86</c:v>
                </c:pt>
                <c:pt idx="5">
                  <c:v>0.9</c:v>
                </c:pt>
                <c:pt idx="6">
                  <c:v>0.84</c:v>
                </c:pt>
                <c:pt idx="7">
                  <c:v>0.83</c:v>
                </c:pt>
                <c:pt idx="8">
                  <c:v>0.99</c:v>
                </c:pt>
                <c:pt idx="9">
                  <c:v>0.97</c:v>
                </c:pt>
              </c:numCache>
            </c:numRef>
          </c:xVal>
          <c:yVal>
            <c:numRef>
              <c:f>Sheet1!$B$2:$B$11</c:f>
              <c:numCache>
                <c:formatCode>General</c:formatCode>
                <c:ptCount val="10"/>
                <c:pt idx="0">
                  <c:v>5111.090909090909</c:v>
                </c:pt>
                <c:pt idx="1">
                  <c:v>4276.05</c:v>
                </c:pt>
                <c:pt idx="2">
                  <c:v>1606.041666666667</c:v>
                </c:pt>
                <c:pt idx="3">
                  <c:v>1801.8736842105261</c:v>
                </c:pt>
                <c:pt idx="4">
                  <c:v>1399.976744186047</c:v>
                </c:pt>
                <c:pt idx="5">
                  <c:v>1982.9666666666669</c:v>
                </c:pt>
                <c:pt idx="6">
                  <c:v>1441.1547619047619</c:v>
                </c:pt>
                <c:pt idx="7">
                  <c:v>1214.975903614458</c:v>
                </c:pt>
                <c:pt idx="8">
                  <c:v>5515.0505050505053</c:v>
                </c:pt>
                <c:pt idx="9">
                  <c:v>2431.7628865979382</c:v>
                </c:pt>
              </c:numCache>
            </c:numRef>
          </c:yVal>
          <c:bubbleSize>
            <c:numRef>
              <c:f>Sheet1!$C$2:$C$11</c:f>
              <c:numCache>
                <c:formatCode>General</c:formatCode>
                <c:ptCount val="10"/>
                <c:pt idx="0">
                  <c:v>310396.17109999998</c:v>
                </c:pt>
                <c:pt idx="1">
                  <c:v>268889.32500000001</c:v>
                </c:pt>
                <c:pt idx="2">
                  <c:v>80927.763000000006</c:v>
                </c:pt>
                <c:pt idx="3">
                  <c:v>91664.386599999998</c:v>
                </c:pt>
                <c:pt idx="4">
                  <c:v>65796.493399999992</c:v>
                </c:pt>
                <c:pt idx="5">
                  <c:v>98304.178500000009</c:v>
                </c:pt>
                <c:pt idx="6">
                  <c:v>70284.431699999986</c:v>
                </c:pt>
                <c:pt idx="7">
                  <c:v>51962.308199999999</c:v>
                </c:pt>
                <c:pt idx="8">
                  <c:v>321142.08559999999</c:v>
                </c:pt>
                <c:pt idx="9">
                  <c:v>111472.8284</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Poivre Boite 1X150Gr 1P</c:v>
                  </c:pt>
                  <c:pt idx="5">
                    <c:v>Boursin Classique Fromage Frais A Tartiner Afh Boite 1X96Gr 6P</c:v>
                  </c:pt>
                  <c:pt idx="6">
                    <c:v>Boursin Classique Fromage Frais A Tartiner Afh 1X256Gr 16P</c:v>
                  </c:pt>
                  <c:pt idx="7">
                    <c:v>Boursin Classique Fromage Frais A Tartiner Ciboulette &amp; Echalote 1X160Gr 10P</c:v>
                  </c:pt>
                  <c:pt idx="8">
                    <c:v>Boursin Classique Fromage Frais A Tartiner Afh Boite 1X250Gr 1P</c:v>
                  </c:pt>
                  <c:pt idx="9">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7345C66-6E63-4F4F-9801-72B0B5BA44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8C89189-511F-45A3-9C94-24B67D1552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6C6F6C2-64DC-4D78-895C-EA3B0D7E39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B2C7FB8-4545-445E-8579-88D8CAAB4B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EDCEB53-898C-4186-A79A-4570D7D84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9DAE851-05B5-4A8F-8C79-4B8FE94F2E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03096D1-94C2-461F-952B-72DECF31A53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05A0C83-BDEF-4C04-B1C5-ECBFBF3825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EDD0153-B11F-476A-9AD9-C808A92A87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8810B4D-4C40-4E82-8AC1-97B320DD46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99</c:v>
                </c:pt>
              </c:numCache>
            </c:numRef>
          </c:xVal>
          <c:yVal>
            <c:numRef>
              <c:f>Sheet1!$B$2:$B$2</c:f>
              <c:numCache>
                <c:formatCode>General</c:formatCode>
                <c:ptCount val="1"/>
                <c:pt idx="0">
                  <c:v>259.61616161616161</c:v>
                </c:pt>
              </c:numCache>
            </c:numRef>
          </c:yVal>
          <c:bubbleSize>
            <c:numRef>
              <c:f>Sheet1!$C$2:$C$2</c:f>
              <c:numCache>
                <c:formatCode>General</c:formatCode>
                <c:ptCount val="1"/>
                <c:pt idx="0">
                  <c:v>13395.286</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92A4B94-FD5E-48EC-BC5A-B7F1897DE3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4407B6F-6206-4AE3-8BE6-CE29296A40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40CA922-23A5-48A4-A3D9-7DB2824F74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8E90D78-5B68-4A1B-B418-06C1F367D6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6C14B30-135E-49E5-BCC7-2BD613A3B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FD984BA-F072-4328-8199-FDE4A87F73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F5B1278-25FC-4175-ADAC-F426F075DB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BD3474A-6CC4-424A-8D50-23CA7C9AEA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6097E18-FBA9-45CF-BF37-C5928352E0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9F4D064-18E2-40E3-901A-2D20CB3DAB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9</c:v>
                </c:pt>
                <c:pt idx="1">
                  <c:v>0.99</c:v>
                </c:pt>
                <c:pt idx="2">
                  <c:v>0.99</c:v>
                </c:pt>
                <c:pt idx="3">
                  <c:v>0.99</c:v>
                </c:pt>
                <c:pt idx="4">
                  <c:v>0.97</c:v>
                </c:pt>
                <c:pt idx="5">
                  <c:v>0.98</c:v>
                </c:pt>
                <c:pt idx="6">
                  <c:v>0.96</c:v>
                </c:pt>
                <c:pt idx="7">
                  <c:v>0.95</c:v>
                </c:pt>
                <c:pt idx="8">
                  <c:v>0.99</c:v>
                </c:pt>
                <c:pt idx="9">
                  <c:v>0.99</c:v>
                </c:pt>
              </c:numCache>
            </c:numRef>
          </c:xVal>
          <c:yVal>
            <c:numRef>
              <c:f>Sheet1!$B$2:$B$11</c:f>
              <c:numCache>
                <c:formatCode>General</c:formatCode>
                <c:ptCount val="10"/>
                <c:pt idx="0">
                  <c:v>899.93939393939399</c:v>
                </c:pt>
                <c:pt idx="1">
                  <c:v>706.57575757575762</c:v>
                </c:pt>
                <c:pt idx="2">
                  <c:v>229.83838383838381</c:v>
                </c:pt>
                <c:pt idx="3">
                  <c:v>259.5858585858586</c:v>
                </c:pt>
                <c:pt idx="4">
                  <c:v>209.1237113402062</c:v>
                </c:pt>
                <c:pt idx="5">
                  <c:v>321.57142857142861</c:v>
                </c:pt>
                <c:pt idx="6">
                  <c:v>327.33333333333331</c:v>
                </c:pt>
                <c:pt idx="7">
                  <c:v>205.3052631578947</c:v>
                </c:pt>
                <c:pt idx="8">
                  <c:v>1058.6464646464649</c:v>
                </c:pt>
                <c:pt idx="9">
                  <c:v>373.97979797979798</c:v>
                </c:pt>
              </c:numCache>
            </c:numRef>
          </c:yVal>
          <c:bubbleSize>
            <c:numRef>
              <c:f>Sheet1!$C$2:$C$11</c:f>
              <c:numCache>
                <c:formatCode>General</c:formatCode>
                <c:ptCount val="10"/>
                <c:pt idx="0">
                  <c:v>55170.794599999987</c:v>
                </c:pt>
                <c:pt idx="1">
                  <c:v>44106.495000000003</c:v>
                </c:pt>
                <c:pt idx="2">
                  <c:v>12349.773800000001</c:v>
                </c:pt>
                <c:pt idx="3">
                  <c:v>14198.6855</c:v>
                </c:pt>
                <c:pt idx="4">
                  <c:v>11428.3532</c:v>
                </c:pt>
                <c:pt idx="5">
                  <c:v>17992.606500000002</c:v>
                </c:pt>
                <c:pt idx="6">
                  <c:v>18264.846600000001</c:v>
                </c:pt>
                <c:pt idx="7">
                  <c:v>10385.634599999999</c:v>
                </c:pt>
                <c:pt idx="8">
                  <c:v>62945.8802</c:v>
                </c:pt>
                <c:pt idx="9">
                  <c:v>18204.570100000001</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Poivre Boite 1X150Gr 1P</c:v>
                  </c:pt>
                  <c:pt idx="5">
                    <c:v>Boursin Classique Fromage Frais A Tartiner Afh Boite 1X96Gr 6P</c:v>
                  </c:pt>
                  <c:pt idx="6">
                    <c:v>Boursin Classique Fromage Frais A Tartiner Afh 1X256Gr 16P</c:v>
                  </c:pt>
                  <c:pt idx="7">
                    <c:v>Boursin Classique Fromage Frais A Tartiner Ciboulette &amp; Echalote 1X160Gr 10P</c:v>
                  </c:pt>
                  <c:pt idx="8">
                    <c:v>Boursin Classique Fromage Frais A Tartiner Afh Boite 1X250Gr 1P</c:v>
                  </c:pt>
                  <c:pt idx="9">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A1590FA-4422-43FF-A9D2-EFD7F1BCB1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CEED24B-A33D-476D-A2FF-F946911396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304AD2B-F6B1-40C8-B815-663CCC2C21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90E3906-9102-4D8E-B9E9-24BB323AD7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5CA7C4E-E501-4AF2-9AE9-C77846A72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8C99905-2F99-4F57-805F-061ED12C3C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65B5252-32B3-49BC-A89E-F370E61772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5AD8C95-3999-41DD-9193-8445848CC7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D9F9A27-6A0E-4B2B-AC70-DD80ECDC45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BDB7C0B-DBD9-44BF-A781-6F6CF22DFA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44</c:v>
                </c:pt>
              </c:numCache>
            </c:numRef>
          </c:xVal>
          <c:yVal>
            <c:numRef>
              <c:f>Sheet1!$B$2:$B$2</c:f>
              <c:numCache>
                <c:formatCode>General</c:formatCode>
                <c:ptCount val="1"/>
                <c:pt idx="0">
                  <c:v>371.75</c:v>
                </c:pt>
              </c:numCache>
            </c:numRef>
          </c:yVal>
          <c:bubbleSize>
            <c:numRef>
              <c:f>Sheet1!$C$2:$C$2</c:f>
              <c:numCache>
                <c:formatCode>General</c:formatCode>
                <c:ptCount val="1"/>
                <c:pt idx="0">
                  <c:v>7708.5276000000013</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DD84D48-2CE1-4E9D-A152-2B280045C23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8469C5C-0AC9-468D-B3BA-C1F7743367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6824317-B6B9-44C5-907E-77E4A1E14AE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72C1126-A8CD-4A6E-8011-611FEEF3AB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5D9F7B6-9981-4921-B0C3-213FB1CFD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C7D4E13-2B1A-40D8-AF09-B23982E6DCD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8EBB754-86E0-4510-96C3-ED3324CB99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08DD4ED-D3CC-4F4E-9119-DFCBC0668E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C39DE1B-4500-4323-B414-BCC06388E8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DB0F083-0216-4796-8F19-510B0F8176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c:v>
                </c:pt>
                <c:pt idx="1">
                  <c:v>0.96</c:v>
                </c:pt>
                <c:pt idx="2">
                  <c:v>0.8</c:v>
                </c:pt>
                <c:pt idx="3">
                  <c:v>0.81</c:v>
                </c:pt>
                <c:pt idx="4">
                  <c:v>0.59</c:v>
                </c:pt>
                <c:pt idx="5">
                  <c:v>0.66</c:v>
                </c:pt>
                <c:pt idx="6">
                  <c:v>0.33</c:v>
                </c:pt>
                <c:pt idx="7">
                  <c:v>0.46</c:v>
                </c:pt>
                <c:pt idx="8">
                  <c:v>0.75</c:v>
                </c:pt>
                <c:pt idx="9">
                  <c:v>0.81</c:v>
                </c:pt>
              </c:numCache>
            </c:numRef>
          </c:xVal>
          <c:yVal>
            <c:numRef>
              <c:f>Sheet1!$B$2:$B$11</c:f>
              <c:numCache>
                <c:formatCode>General</c:formatCode>
                <c:ptCount val="10"/>
                <c:pt idx="0">
                  <c:v>1038.5555555555561</c:v>
                </c:pt>
                <c:pt idx="1">
                  <c:v>948.11458333333337</c:v>
                </c:pt>
                <c:pt idx="2">
                  <c:v>415.85</c:v>
                </c:pt>
                <c:pt idx="3">
                  <c:v>531.17283950617286</c:v>
                </c:pt>
                <c:pt idx="4">
                  <c:v>369.57627118644069</c:v>
                </c:pt>
                <c:pt idx="5">
                  <c:v>491.4848484848485</c:v>
                </c:pt>
                <c:pt idx="6">
                  <c:v>296.15151515151513</c:v>
                </c:pt>
                <c:pt idx="7">
                  <c:v>255.95652173913041</c:v>
                </c:pt>
                <c:pt idx="8">
                  <c:v>854.77333333333331</c:v>
                </c:pt>
                <c:pt idx="9">
                  <c:v>667.28395061728395</c:v>
                </c:pt>
              </c:numCache>
            </c:numRef>
          </c:yVal>
          <c:bubbleSize>
            <c:numRef>
              <c:f>Sheet1!$C$2:$C$11</c:f>
              <c:numCache>
                <c:formatCode>General</c:formatCode>
                <c:ptCount val="10"/>
                <c:pt idx="0">
                  <c:v>54621.099199999997</c:v>
                </c:pt>
                <c:pt idx="1">
                  <c:v>54132.285000000003</c:v>
                </c:pt>
                <c:pt idx="2">
                  <c:v>16316.1432</c:v>
                </c:pt>
                <c:pt idx="3">
                  <c:v>21532.756399999998</c:v>
                </c:pt>
                <c:pt idx="4">
                  <c:v>11073.1368</c:v>
                </c:pt>
                <c:pt idx="5">
                  <c:v>16934.157899999998</c:v>
                </c:pt>
                <c:pt idx="6">
                  <c:v>5465.4452999999994</c:v>
                </c:pt>
                <c:pt idx="7">
                  <c:v>5731.8689999999997</c:v>
                </c:pt>
                <c:pt idx="8">
                  <c:v>36049.686399999999</c:v>
                </c:pt>
                <c:pt idx="9">
                  <c:v>24109.244900000002</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Figue Et 3 Noix Boite 1X150Gr 1P</c:v>
                  </c:pt>
                  <c:pt idx="4">
                    <c:v>Boursin Classique Fromage Frais A Tartiner Poivre Boite 1X150Gr 1P</c:v>
                  </c:pt>
                  <c:pt idx="5">
                    <c:v>Boursin Classique Fromage Frais A Tartiner Afh Boite 1X96Gr 6P</c:v>
                  </c:pt>
                  <c:pt idx="6">
                    <c:v>Boursin Classique Fromage Frais A Tartiner Afh 1X256Gr 16P</c:v>
                  </c:pt>
                  <c:pt idx="7">
                    <c:v>Boursin Classique Fromage Frais A Tartiner Ciboulette &amp; Echalote 1X160Gr 10P</c:v>
                  </c:pt>
                  <c:pt idx="8">
                    <c:v>Boursin Classique Fromage Frais A Tartiner Afh Boite 1X250Gr 1P</c:v>
                  </c:pt>
                  <c:pt idx="9">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9A5F3F5-B0DA-47C7-B131-5111E2DD43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F45F60D-677E-499F-9B33-81420CF977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2A4F12F-AF00-4EE8-A42C-14FB88B998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357D3D7-C352-4984-BC27-02E7D79C56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164763C-8BC6-47C9-AD8D-7FD8FC0AA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D733F86-BC67-4621-BDE2-C96353DCAD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FB06BA9-0BAD-4A99-BE70-D009C3F69A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2B81575-5BCB-42D8-AAFA-5731410AE3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0A3FB56-433F-4C82-8F67-2FA69A8BDA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DF7BC95-ED72-4203-AD2C-A4CD48C599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6099999999999997</c:v>
                </c:pt>
                <c:pt idx="1">
                  <c:v>0.79300000000000004</c:v>
                </c:pt>
                <c:pt idx="2">
                  <c:v>0.76600000000000001</c:v>
                </c:pt>
                <c:pt idx="3">
                  <c:v>0.69399999999999995</c:v>
                </c:pt>
                <c:pt idx="4">
                  <c:v>0.69399999999999995</c:v>
                </c:pt>
              </c:numCache>
            </c:numRef>
          </c:xVal>
          <c:yVal>
            <c:numRef>
              <c:f>Sheet1!$B$2:$B$6</c:f>
              <c:numCache>
                <c:formatCode>General</c:formatCode>
                <c:ptCount val="5"/>
                <c:pt idx="0">
                  <c:v>7666.3059313215408</c:v>
                </c:pt>
                <c:pt idx="1">
                  <c:v>2285.1702395964689</c:v>
                </c:pt>
                <c:pt idx="2">
                  <c:v>2175.770234986946</c:v>
                </c:pt>
                <c:pt idx="3">
                  <c:v>1434.985590778098</c:v>
                </c:pt>
                <c:pt idx="4">
                  <c:v>1512.0605187319891</c:v>
                </c:pt>
              </c:numCache>
            </c:numRef>
          </c:yVal>
          <c:bubbleSize>
            <c:numRef>
              <c:f>Sheet1!$C$2:$C$6</c:f>
              <c:numCache>
                <c:formatCode>General</c:formatCode>
                <c:ptCount val="5"/>
                <c:pt idx="0">
                  <c:v>442372.5882</c:v>
                </c:pt>
                <c:pt idx="1">
                  <c:v>92475.308799999999</c:v>
                </c:pt>
                <c:pt idx="2">
                  <c:v>91560.826499999996</c:v>
                </c:pt>
                <c:pt idx="3">
                  <c:v>56139.6077</c:v>
                </c:pt>
                <c:pt idx="4">
                  <c:v>62509.884800000007</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B$2:$B$8</c:f>
              <c:numCache>
                <c:formatCode>General</c:formatCode>
                <c:ptCount val="7"/>
                <c:pt idx="0">
                  <c:v>0.52373347168550743</c:v>
                </c:pt>
                <c:pt idx="1">
                  <c:v>0.10852888112070069</c:v>
                </c:pt>
                <c:pt idx="2">
                  <c:v>9.3963999902131043E-2</c:v>
                </c:pt>
                <c:pt idx="3">
                  <c:v>7.4909793649522008E-2</c:v>
                </c:pt>
                <c:pt idx="4">
                  <c:v>2.4235701196868683E-2</c:v>
                </c:pt>
                <c:pt idx="5">
                  <c:v>1.6144620862610648E-2</c:v>
                </c:pt>
                <c:pt idx="6">
                  <c:v>0.1584835315826594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C$2:$C$8</c:f>
              <c:numCache>
                <c:formatCode>General</c:formatCode>
                <c:ptCount val="7"/>
                <c:pt idx="0">
                  <c:v>0</c:v>
                </c:pt>
                <c:pt idx="1">
                  <c:v>0.1359824701866757</c:v>
                </c:pt>
                <c:pt idx="2">
                  <c:v>0.16775525683704864</c:v>
                </c:pt>
                <c:pt idx="3">
                  <c:v>9.234053909794504E-2</c:v>
                </c:pt>
                <c:pt idx="4">
                  <c:v>3.2938631607040025E-2</c:v>
                </c:pt>
                <c:pt idx="5">
                  <c:v>5.5047546809377332E-2</c:v>
                </c:pt>
                <c:pt idx="6">
                  <c:v>0.515935555461913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D$2:$D$8</c:f>
              <c:numCache>
                <c:formatCode>General</c:formatCode>
                <c:ptCount val="7"/>
                <c:pt idx="0">
                  <c:v>1</c:v>
                </c:pt>
                <c:pt idx="1">
                  <c:v>125.29611360817626</c:v>
                </c:pt>
                <c:pt idx="2">
                  <c:v>178.53141310690847</c:v>
                </c:pt>
                <c:pt idx="3">
                  <c:v>123.26898072897609</c:v>
                </c:pt>
                <c:pt idx="4">
                  <c:v>135.90954657955504</c:v>
                </c:pt>
                <c:pt idx="5">
                  <c:v>340.96524952693085</c:v>
                </c:pt>
                <c:pt idx="6">
                  <c:v>325.545216155673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604F22F-77DB-47E8-98A0-2E43484945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205883B-AA08-47F6-A319-4F8BC5172C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D5B81FB-6068-4EFB-8B52-BE646C3FCD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45D9E34-B308-46C4-9907-C09D441F16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1FAC58C-BCB1-4F82-BB13-C4E98ED8B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986E834-BF7F-4A0E-B7FD-5189BFDD68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551F705-3E52-4496-92B3-444EBBA231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EAC3C05-557D-45FF-BF1D-BD6CC8292A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7FE5DE8-6555-4F0F-8247-01C081ADAB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619F65F-77D6-45B5-AFC5-74F95F52EB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6499999999999997</c:v>
                </c:pt>
                <c:pt idx="1">
                  <c:v>0.51300000000000001</c:v>
                </c:pt>
                <c:pt idx="2">
                  <c:v>0.82099999999999995</c:v>
                </c:pt>
                <c:pt idx="3">
                  <c:v>0.65</c:v>
                </c:pt>
                <c:pt idx="4">
                  <c:v>0.41199999999999998</c:v>
                </c:pt>
              </c:numCache>
            </c:numRef>
          </c:xVal>
          <c:yVal>
            <c:numRef>
              <c:f>Sheet1!$B$2:$B$6</c:f>
              <c:numCache>
                <c:formatCode>General</c:formatCode>
                <c:ptCount val="5"/>
                <c:pt idx="0">
                  <c:v>4517.4404145077724</c:v>
                </c:pt>
                <c:pt idx="1">
                  <c:v>1450.292397660819</c:v>
                </c:pt>
                <c:pt idx="2">
                  <c:v>1900.255785627284</c:v>
                </c:pt>
                <c:pt idx="3">
                  <c:v>919.7538461538461</c:v>
                </c:pt>
                <c:pt idx="4">
                  <c:v>1116.6990291262141</c:v>
                </c:pt>
              </c:numCache>
            </c:numRef>
          </c:yVal>
          <c:bubbleSize>
            <c:numRef>
              <c:f>Sheet1!$C$2:$C$6</c:f>
              <c:numCache>
                <c:formatCode>General</c:formatCode>
                <c:ptCount val="5"/>
                <c:pt idx="0">
                  <c:v>225695.9712</c:v>
                </c:pt>
                <c:pt idx="1">
                  <c:v>44456.160000000003</c:v>
                </c:pt>
                <c:pt idx="2">
                  <c:v>85260.665099999984</c:v>
                </c:pt>
                <c:pt idx="3">
                  <c:v>26352.17909999999</c:v>
                </c:pt>
                <c:pt idx="4">
                  <c:v>22765.070899999999</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D96BBB9-8CAA-420F-A2D3-7CD2797C4B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F5A4A5E-A7A9-4561-A5BD-6B905BB211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3A40EC7-D2FF-45D0-AE9C-73A7CE1183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9C3302B-24CB-499F-ACA5-184A47C877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F3C581E-93B2-44E4-949E-673F8376D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950080A-B8FC-4E7B-82F6-91D6BCFDAA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8A24C24-7D14-4425-B589-A3F2498896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14DFEF3-5A0F-4502-8045-03B09693C5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0D2FE83-86A9-4663-B7A3-750E4365B7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D4E3084-E85F-4752-91D5-7582B9011F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1</c:v>
                </c:pt>
                <c:pt idx="1">
                  <c:v>0.99</c:v>
                </c:pt>
                <c:pt idx="2">
                  <c:v>0.99</c:v>
                </c:pt>
                <c:pt idx="3">
                  <c:v>0.93</c:v>
                </c:pt>
                <c:pt idx="4">
                  <c:v>0.94</c:v>
                </c:pt>
              </c:numCache>
            </c:numRef>
          </c:xVal>
          <c:yVal>
            <c:numRef>
              <c:f>Sheet1!$B$2:$B$6</c:f>
              <c:numCache>
                <c:formatCode>General</c:formatCode>
                <c:ptCount val="5"/>
                <c:pt idx="0">
                  <c:v>2202.34</c:v>
                </c:pt>
                <c:pt idx="1">
                  <c:v>790.64646464646466</c:v>
                </c:pt>
                <c:pt idx="2">
                  <c:v>1044.9292929292931</c:v>
                </c:pt>
                <c:pt idx="3">
                  <c:v>477.22580645161293</c:v>
                </c:pt>
                <c:pt idx="4">
                  <c:v>518.86170212765956</c:v>
                </c:pt>
              </c:numCache>
            </c:numRef>
          </c:yVal>
          <c:bubbleSize>
            <c:numRef>
              <c:f>Sheet1!$C$2:$C$6</c:f>
              <c:numCache>
                <c:formatCode>General</c:formatCode>
                <c:ptCount val="5"/>
                <c:pt idx="0">
                  <c:v>143034.28020000001</c:v>
                </c:pt>
                <c:pt idx="1">
                  <c:v>38107.283199999998</c:v>
                </c:pt>
                <c:pt idx="2">
                  <c:v>53421.076500000003</c:v>
                </c:pt>
                <c:pt idx="3">
                  <c:v>25623.770700000001</c:v>
                </c:pt>
                <c:pt idx="4">
                  <c:v>29652.6384</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AACE137-FA28-49BA-9F6B-D674747C0FC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42B9B48-C3B4-4505-87CE-8A0F994FEC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A35622D-59C5-4091-846C-0561CF3466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1A700CC-CFB7-483D-AC22-8708FDE98A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9621D6B-7FA4-43D7-A1C9-791CD3E85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7CFC257-E6E2-46A9-B462-9F2E1BBAE6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A0E5FEC-798E-41E2-8235-28E2C07663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8501B94-9867-4467-9F78-3F5D0B8034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BDC482F-9703-4090-B33F-E8B9CBD0EB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78860F8-680B-4AA8-AD70-E9B85D70C1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9</c:v>
                </c:pt>
                <c:pt idx="1">
                  <c:v>0.91</c:v>
                </c:pt>
                <c:pt idx="2">
                  <c:v>0.84</c:v>
                </c:pt>
                <c:pt idx="3">
                  <c:v>0.72</c:v>
                </c:pt>
                <c:pt idx="4">
                  <c:v>0.71</c:v>
                </c:pt>
              </c:numCache>
            </c:numRef>
          </c:xVal>
          <c:yVal>
            <c:numRef>
              <c:f>Sheet1!$B$2:$B$6</c:f>
              <c:numCache>
                <c:formatCode>General</c:formatCode>
                <c:ptCount val="5"/>
                <c:pt idx="0">
                  <c:v>2989.2525252525252</c:v>
                </c:pt>
                <c:pt idx="1">
                  <c:v>1131.2087912087909</c:v>
                </c:pt>
                <c:pt idx="2">
                  <c:v>752.57142857142856</c:v>
                </c:pt>
                <c:pt idx="3">
                  <c:v>766.19444444444446</c:v>
                </c:pt>
                <c:pt idx="4">
                  <c:v>791.04225352112678</c:v>
                </c:pt>
              </c:numCache>
            </c:numRef>
          </c:yVal>
          <c:bubbleSize>
            <c:numRef>
              <c:f>Sheet1!$C$2:$C$6</c:f>
              <c:numCache>
                <c:formatCode>General</c:formatCode>
                <c:ptCount val="5"/>
                <c:pt idx="0">
                  <c:v>197011.77119999999</c:v>
                </c:pt>
                <c:pt idx="1">
                  <c:v>54368.025600000001</c:v>
                </c:pt>
                <c:pt idx="2">
                  <c:v>38139.75</c:v>
                </c:pt>
                <c:pt idx="3">
                  <c:v>30499.949700000001</c:v>
                </c:pt>
                <c:pt idx="4">
                  <c:v>32857.246400000004</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98BD30D-FDDA-456F-9EFF-13C124D219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CE4EDE9-26FA-45AA-8C2D-37A7E0DD16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BFAEB11-C3A7-4878-BF30-33D5E29246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B2DE6F9-FF6C-438B-9BA2-F550348323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E69357A-939F-4162-BD3F-DC39935EE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910EC05-4C1C-472C-B0C7-B19BBC4833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F6461A7-5011-4CA3-8C36-A02F2D1499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008F7BE-D3E9-4F0A-9D51-DD9BEB2519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F2769AD-3177-41E9-9431-580FE425C7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2FF8992-8AF6-4100-A951-90F6FDEADD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9</c:v>
                </c:pt>
              </c:numCache>
            </c:numRef>
          </c:xVal>
          <c:yVal>
            <c:numRef>
              <c:f>Sheet1!$B$2:$B$2</c:f>
              <c:numCache>
                <c:formatCode>General</c:formatCode>
                <c:ptCount val="1"/>
                <c:pt idx="0">
                  <c:v>2791.924050632912</c:v>
                </c:pt>
              </c:numCache>
            </c:numRef>
          </c:yVal>
          <c:bubbleSize>
            <c:numRef>
              <c:f>Sheet1!$C$2:$C$2</c:f>
              <c:numCache>
                <c:formatCode>General</c:formatCode>
                <c:ptCount val="1"/>
                <c:pt idx="0">
                  <c:v>102326.5368</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3831E25-71C7-4573-93A8-8901020043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49158FC-2A7B-463F-BFCC-AB39192F57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E41CDD5-C482-4546-83FD-DDB12B2051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3943444-3A0A-44DD-9A9F-1764DA05167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07FA817-153B-4CF6-8D7C-E829BF9FF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B030603-0979-4CC5-9065-0920D25BA0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01E4398-1F03-458E-A6E0-2C0391D7CF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8BD21BE-FCA8-4B84-8B0A-E723D24224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E76E0A0-F0C5-4FAB-AF3B-8BAE0DF3C6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ED213F6-DA81-43C0-BCF7-38943CC35A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8</c:v>
                </c:pt>
                <c:pt idx="1">
                  <c:v>0.51</c:v>
                </c:pt>
                <c:pt idx="2">
                  <c:v>0.86</c:v>
                </c:pt>
                <c:pt idx="3">
                  <c:v>0.67</c:v>
                </c:pt>
                <c:pt idx="4">
                  <c:v>0.4</c:v>
                </c:pt>
              </c:numCache>
            </c:numRef>
          </c:xVal>
          <c:yVal>
            <c:numRef>
              <c:f>Sheet1!$B$2:$B$6</c:f>
              <c:numCache>
                <c:formatCode>General</c:formatCode>
                <c:ptCount val="5"/>
                <c:pt idx="0">
                  <c:v>3369.632653061225</c:v>
                </c:pt>
                <c:pt idx="1">
                  <c:v>1106.9215686274511</c:v>
                </c:pt>
                <c:pt idx="2">
                  <c:v>1404.883720930233</c:v>
                </c:pt>
                <c:pt idx="3">
                  <c:v>680.20895522388059</c:v>
                </c:pt>
                <c:pt idx="4">
                  <c:v>880.45</c:v>
                </c:pt>
              </c:numCache>
            </c:numRef>
          </c:yVal>
          <c:bubbleSize>
            <c:numRef>
              <c:f>Sheet1!$C$2:$C$6</c:f>
              <c:numCache>
                <c:formatCode>General</c:formatCode>
                <c:ptCount val="5"/>
                <c:pt idx="0">
                  <c:v>171405.6588</c:v>
                </c:pt>
                <c:pt idx="1">
                  <c:v>33731.386499999993</c:v>
                </c:pt>
                <c:pt idx="2">
                  <c:v>66011.255999999994</c:v>
                </c:pt>
                <c:pt idx="3">
                  <c:v>20091.8835</c:v>
                </c:pt>
                <c:pt idx="4">
                  <c:v>17448.064399999999</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00A52F4-C97B-4734-A87E-BC7512AF32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B1372A6-AAAF-4F88-9B11-A782F786332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72DB02F-188E-48B0-AD42-393036B65E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9C02D1A-771A-4A77-B7D9-FA306496A7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0558E9B-E0B1-48F3-A264-E60A8352C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3EDA3E9-8D82-4CAA-91D1-C8559D2EA4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41996A9-0245-415E-AAD0-A83B2869E8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1119A61-30FD-4138-AF97-F8D2904005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D909C0F-1D28-4A7B-A47E-5497D3FEDD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474CD12-13C1-46FC-81F5-D2FAA1B772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9</c:v>
                </c:pt>
                <c:pt idx="1">
                  <c:v>0.83</c:v>
                </c:pt>
                <c:pt idx="2">
                  <c:v>0.95</c:v>
                </c:pt>
                <c:pt idx="3">
                  <c:v>0.87</c:v>
                </c:pt>
                <c:pt idx="4">
                  <c:v>0.73</c:v>
                </c:pt>
              </c:numCache>
            </c:numRef>
          </c:xVal>
          <c:yVal>
            <c:numRef>
              <c:f>Sheet1!$B$2:$B$6</c:f>
              <c:numCache>
                <c:formatCode>General</c:formatCode>
                <c:ptCount val="5"/>
                <c:pt idx="0">
                  <c:v>547.73737373737379</c:v>
                </c:pt>
                <c:pt idx="1">
                  <c:v>154.5301204819277</c:v>
                </c:pt>
                <c:pt idx="2">
                  <c:v>253.43157894736839</c:v>
                </c:pt>
                <c:pt idx="3">
                  <c:v>110.4712643678161</c:v>
                </c:pt>
                <c:pt idx="4">
                  <c:v>106.42465753424661</c:v>
                </c:pt>
              </c:numCache>
            </c:numRef>
          </c:yVal>
          <c:bubbleSize>
            <c:numRef>
              <c:f>Sheet1!$C$2:$C$6</c:f>
              <c:numCache>
                <c:formatCode>General</c:formatCode>
                <c:ptCount val="5"/>
                <c:pt idx="0">
                  <c:v>28831.452000000001</c:v>
                </c:pt>
                <c:pt idx="1">
                  <c:v>7867.86</c:v>
                </c:pt>
                <c:pt idx="2">
                  <c:v>13497.9589</c:v>
                </c:pt>
                <c:pt idx="3">
                  <c:v>4340.1383999999998</c:v>
                </c:pt>
                <c:pt idx="4">
                  <c:v>3921.063900000001</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40A19A0-69CE-4567-A761-310F54D931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2D5AD99-8382-4CBA-9BD8-11BDA5EAC1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9BE0961-941F-412D-B000-B09A9E0CBE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AA455E4-492B-4BD3-8211-78C3B68C72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EF026C0-2B8B-483A-B67D-42FDD7E48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743ADA7-0E8B-49A5-A2FC-1BBF52F6FC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8ED762C-6B1C-49C8-99CB-C8F4F71E03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EEBCA7B-BDA6-418F-AD59-3C8EBE9CC3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BAD2970-EFC5-4D7D-84EC-59CC2DAC71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05B1FF6-0491-4A6E-BFB0-052A63989F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84</c:v>
                </c:pt>
                <c:pt idx="1">
                  <c:v>0.18</c:v>
                </c:pt>
                <c:pt idx="2">
                  <c:v>0.43</c:v>
                </c:pt>
                <c:pt idx="3">
                  <c:v>0.28000000000000003</c:v>
                </c:pt>
                <c:pt idx="4">
                  <c:v>0.14000000000000001</c:v>
                </c:pt>
              </c:numCache>
            </c:numRef>
          </c:xVal>
          <c:yVal>
            <c:numRef>
              <c:f>Sheet1!$B$2:$B$6</c:f>
              <c:numCache>
                <c:formatCode>General</c:formatCode>
                <c:ptCount val="5"/>
                <c:pt idx="0">
                  <c:v>612.89285714285711</c:v>
                </c:pt>
                <c:pt idx="1">
                  <c:v>284.5</c:v>
                </c:pt>
                <c:pt idx="2">
                  <c:v>258.48837209302332</c:v>
                </c:pt>
                <c:pt idx="3">
                  <c:v>164.25</c:v>
                </c:pt>
                <c:pt idx="4">
                  <c:v>215.78571428571419</c:v>
                </c:pt>
              </c:numCache>
            </c:numRef>
          </c:yVal>
          <c:bubbleSize>
            <c:numRef>
              <c:f>Sheet1!$C$2:$C$6</c:f>
              <c:numCache>
                <c:formatCode>General</c:formatCode>
                <c:ptCount val="5"/>
                <c:pt idx="0">
                  <c:v>25458.860400000001</c:v>
                </c:pt>
                <c:pt idx="1">
                  <c:v>2856.9135000000001</c:v>
                </c:pt>
                <c:pt idx="2">
                  <c:v>5751.4501999999993</c:v>
                </c:pt>
                <c:pt idx="3">
                  <c:v>1920.1572000000001</c:v>
                </c:pt>
                <c:pt idx="4">
                  <c:v>1395.9426000000001</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51414248074769675</c:v>
                </c:pt>
                <c:pt idx="1">
                  <c:v>0.20662404498031436</c:v>
                </c:pt>
                <c:pt idx="2">
                  <c:v>9.3819878036794258E-2</c:v>
                </c:pt>
                <c:pt idx="3">
                  <c:v>6.8732210849747025E-2</c:v>
                </c:pt>
                <c:pt idx="4">
                  <c:v>2.7078447437878853E-2</c:v>
                </c:pt>
                <c:pt idx="5">
                  <c:v>1.3750855203300237E-2</c:v>
                </c:pt>
                <c:pt idx="6">
                  <c:v>7.585208274426846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31492139376666362</c:v>
                </c:pt>
                <c:pt idx="1">
                  <c:v>0.20823756550519454</c:v>
                </c:pt>
                <c:pt idx="2">
                  <c:v>0.11039808770800773</c:v>
                </c:pt>
                <c:pt idx="3">
                  <c:v>0.10473476142318656</c:v>
                </c:pt>
                <c:pt idx="4">
                  <c:v>3.4733842052036411E-2</c:v>
                </c:pt>
                <c:pt idx="5">
                  <c:v>6.1800128711961028E-2</c:v>
                </c:pt>
                <c:pt idx="6">
                  <c:v>0.1651742208329503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61.251774665397441</c:v>
                </c:pt>
                <c:pt idx="1">
                  <c:v>100.78089678528647</c:v>
                </c:pt>
                <c:pt idx="2">
                  <c:v>117.67025284845481</c:v>
                </c:pt>
                <c:pt idx="3">
                  <c:v>152.38089991335127</c:v>
                </c:pt>
                <c:pt idx="4">
                  <c:v>128.27117260588864</c:v>
                </c:pt>
                <c:pt idx="5">
                  <c:v>449.42752867566264</c:v>
                </c:pt>
                <c:pt idx="6">
                  <c:v>217.758319688896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B$2:$B$8</c:f>
              <c:numCache>
                <c:formatCode>General</c:formatCode>
                <c:ptCount val="7"/>
                <c:pt idx="0">
                  <c:v>0.48284451943339968</c:v>
                </c:pt>
                <c:pt idx="1">
                  <c:v>0.10796654450270106</c:v>
                </c:pt>
                <c:pt idx="2">
                  <c:v>9.6744360844245328E-2</c:v>
                </c:pt>
                <c:pt idx="3">
                  <c:v>8.7020166507127322E-2</c:v>
                </c:pt>
                <c:pt idx="4">
                  <c:v>2.4582467390926004E-2</c:v>
                </c:pt>
                <c:pt idx="5">
                  <c:v>1.4580019085825138E-2</c:v>
                </c:pt>
                <c:pt idx="6">
                  <c:v>0.1862619222357754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C$2:$C$8</c:f>
              <c:numCache>
                <c:formatCode>General</c:formatCode>
                <c:ptCount val="7"/>
                <c:pt idx="0">
                  <c:v>0</c:v>
                </c:pt>
                <c:pt idx="1">
                  <c:v>0.12516644474034622</c:v>
                </c:pt>
                <c:pt idx="2">
                  <c:v>0.16577896138482026</c:v>
                </c:pt>
                <c:pt idx="3">
                  <c:v>8.7121932661213639E-2</c:v>
                </c:pt>
                <c:pt idx="4">
                  <c:v>3.1672056305877876E-2</c:v>
                </c:pt>
                <c:pt idx="5">
                  <c:v>4.6128970895948258E-2</c:v>
                </c:pt>
                <c:pt idx="6">
                  <c:v>0.5441316340117937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D$2:$D$8</c:f>
              <c:numCache>
                <c:formatCode>General</c:formatCode>
                <c:ptCount val="7"/>
                <c:pt idx="0">
                  <c:v>1</c:v>
                </c:pt>
                <c:pt idx="1">
                  <c:v>115.93076847728034</c:v>
                </c:pt>
                <c:pt idx="2">
                  <c:v>171.3577514370248</c:v>
                </c:pt>
                <c:pt idx="3">
                  <c:v>100.11694548306566</c:v>
                </c:pt>
                <c:pt idx="4">
                  <c:v>128.84002163903537</c:v>
                </c:pt>
                <c:pt idx="5">
                  <c:v>316.38484575644605</c:v>
                </c:pt>
                <c:pt idx="6">
                  <c:v>292.1325129046058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B$2:$B$8</c:f>
              <c:numCache>
                <c:formatCode>General</c:formatCode>
                <c:ptCount val="7"/>
                <c:pt idx="0">
                  <c:v>0.46017702995747245</c:v>
                </c:pt>
                <c:pt idx="1">
                  <c:v>0.12535428291397729</c:v>
                </c:pt>
                <c:pt idx="2">
                  <c:v>0.12527963262813063</c:v>
                </c:pt>
                <c:pt idx="3">
                  <c:v>7.330607079512208E-2</c:v>
                </c:pt>
                <c:pt idx="4">
                  <c:v>3.2466585498644875E-2</c:v>
                </c:pt>
                <c:pt idx="5">
                  <c:v>1.949973566456159E-2</c:v>
                </c:pt>
                <c:pt idx="6">
                  <c:v>0.1639166625420910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C$2:$C$8</c:f>
              <c:numCache>
                <c:formatCode>General</c:formatCode>
                <c:ptCount val="7"/>
                <c:pt idx="0">
                  <c:v>0</c:v>
                </c:pt>
                <c:pt idx="1">
                  <c:v>0.15524261961316593</c:v>
                </c:pt>
                <c:pt idx="2">
                  <c:v>0.17577197149643703</c:v>
                </c:pt>
                <c:pt idx="3">
                  <c:v>9.789616559212759E-2</c:v>
                </c:pt>
                <c:pt idx="4">
                  <c:v>3.647777400746522E-2</c:v>
                </c:pt>
                <c:pt idx="5">
                  <c:v>7.1258907363420429E-2</c:v>
                </c:pt>
                <c:pt idx="6">
                  <c:v>0.463352561927383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D$2:$D$8</c:f>
              <c:numCache>
                <c:formatCode>General</c:formatCode>
                <c:ptCount val="7"/>
                <c:pt idx="0">
                  <c:v>1</c:v>
                </c:pt>
                <c:pt idx="1">
                  <c:v>123.84309175913766</c:v>
                </c:pt>
                <c:pt idx="2">
                  <c:v>140.30370923754504</c:v>
                </c:pt>
                <c:pt idx="3">
                  <c:v>133.54441798651385</c:v>
                </c:pt>
                <c:pt idx="4">
                  <c:v>112.35482095580322</c:v>
                </c:pt>
                <c:pt idx="5">
                  <c:v>365.43524788864119</c:v>
                </c:pt>
                <c:pt idx="6">
                  <c:v>282.6756930878839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Galbani</c:v>
                </c:pt>
                <c:pt idx="2">
                  <c:v>Salakis</c:v>
                </c:pt>
                <c:pt idx="3">
                  <c:v>Casa Azzurra</c:v>
                </c:pt>
                <c:pt idx="4">
                  <c:v>Boursin</c:v>
                </c:pt>
                <c:pt idx="5">
                  <c:v>Others</c:v>
                </c:pt>
              </c:strCache>
            </c:strRef>
          </c:cat>
          <c:val>
            <c:numRef>
              <c:f>Sheet1!$B$2:$B$7</c:f>
              <c:numCache>
                <c:formatCode>General</c:formatCode>
                <c:ptCount val="6"/>
                <c:pt idx="0">
                  <c:v>0.7213592421454107</c:v>
                </c:pt>
                <c:pt idx="1">
                  <c:v>7.9665351250171351E-2</c:v>
                </c:pt>
                <c:pt idx="2">
                  <c:v>5.2826972791137496E-2</c:v>
                </c:pt>
                <c:pt idx="3">
                  <c:v>3.2360216273396358E-2</c:v>
                </c:pt>
                <c:pt idx="4">
                  <c:v>1.3380733616635146E-2</c:v>
                </c:pt>
                <c:pt idx="5">
                  <c:v>0.1004074839232489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Galbani</c:v>
                </c:pt>
                <c:pt idx="2">
                  <c:v>Salakis</c:v>
                </c:pt>
                <c:pt idx="3">
                  <c:v>Casa Azzurra</c:v>
                </c:pt>
                <c:pt idx="4">
                  <c:v>Boursin</c:v>
                </c:pt>
                <c:pt idx="5">
                  <c:v>Others</c:v>
                </c:pt>
              </c:strCache>
            </c:strRef>
          </c:cat>
          <c:val>
            <c:numRef>
              <c:f>Sheet1!$C$2:$C$7</c:f>
              <c:numCache>
                <c:formatCode>General</c:formatCode>
                <c:ptCount val="6"/>
                <c:pt idx="0">
                  <c:v>0</c:v>
                </c:pt>
                <c:pt idx="1">
                  <c:v>0.20208604954367668</c:v>
                </c:pt>
                <c:pt idx="2">
                  <c:v>0.18904823989569755</c:v>
                </c:pt>
                <c:pt idx="3">
                  <c:v>0.10430247718383311</c:v>
                </c:pt>
                <c:pt idx="4">
                  <c:v>0.10299869621903521</c:v>
                </c:pt>
                <c:pt idx="5">
                  <c:v>0.401564537157757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Galbani</c:v>
                </c:pt>
                <c:pt idx="2">
                  <c:v>Salakis</c:v>
                </c:pt>
                <c:pt idx="3">
                  <c:v>Casa Azzurra</c:v>
                </c:pt>
                <c:pt idx="4">
                  <c:v>Boursin</c:v>
                </c:pt>
                <c:pt idx="5">
                  <c:v>Others</c:v>
                </c:pt>
              </c:strCache>
            </c:strRef>
          </c:cat>
          <c:val>
            <c:numRef>
              <c:f>Sheet1!$D$2:$D$7</c:f>
              <c:numCache>
                <c:formatCode>General</c:formatCode>
                <c:ptCount val="6"/>
                <c:pt idx="0">
                  <c:v>1</c:v>
                </c:pt>
                <c:pt idx="1">
                  <c:v>253.66868578671085</c:v>
                </c:pt>
                <c:pt idx="2">
                  <c:v>357.86309513350193</c:v>
                </c:pt>
                <c:pt idx="3">
                  <c:v>322.31699659430632</c:v>
                </c:pt>
                <c:pt idx="4">
                  <c:v>769.75373077441395</c:v>
                </c:pt>
                <c:pt idx="5">
                  <c:v>399.9348668717880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St Moret</c:v>
                </c:pt>
                <c:pt idx="3">
                  <c:v>President</c:v>
                </c:pt>
                <c:pt idx="4">
                  <c:v>Caprice Des Dieux</c:v>
                </c:pt>
                <c:pt idx="5">
                  <c:v>Galbani</c:v>
                </c:pt>
                <c:pt idx="6">
                  <c:v>La Vache Qui Rit</c:v>
                </c:pt>
                <c:pt idx="7">
                  <c:v>Boursin</c:v>
                </c:pt>
                <c:pt idx="8">
                  <c:v>Kiri</c:v>
                </c:pt>
                <c:pt idx="9">
                  <c:v>Others</c:v>
                </c:pt>
              </c:strCache>
            </c:strRef>
          </c:cat>
          <c:val>
            <c:numRef>
              <c:f>Sheet1!$B$2:$B$11</c:f>
              <c:numCache>
                <c:formatCode>General</c:formatCode>
                <c:ptCount val="10"/>
                <c:pt idx="0">
                  <c:v>0.45024649277750223</c:v>
                </c:pt>
                <c:pt idx="1">
                  <c:v>4.4197921096632141E-2</c:v>
                </c:pt>
                <c:pt idx="2">
                  <c:v>3.81998734039787E-2</c:v>
                </c:pt>
                <c:pt idx="3">
                  <c:v>3.3553950526931699E-2</c:v>
                </c:pt>
                <c:pt idx="4">
                  <c:v>3.1982178033275695E-2</c:v>
                </c:pt>
                <c:pt idx="5">
                  <c:v>2.8679449074099549E-2</c:v>
                </c:pt>
                <c:pt idx="6">
                  <c:v>2.5117811424334509E-2</c:v>
                </c:pt>
                <c:pt idx="7">
                  <c:v>2.3524159323023104E-2</c:v>
                </c:pt>
                <c:pt idx="8">
                  <c:v>2.0431055347371743E-2</c:v>
                </c:pt>
                <c:pt idx="9">
                  <c:v>0.3040671089928506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St Moret</c:v>
                </c:pt>
                <c:pt idx="3">
                  <c:v>President</c:v>
                </c:pt>
                <c:pt idx="4">
                  <c:v>Caprice Des Dieux</c:v>
                </c:pt>
                <c:pt idx="5">
                  <c:v>Galbani</c:v>
                </c:pt>
                <c:pt idx="6">
                  <c:v>La Vache Qui Rit</c:v>
                </c:pt>
                <c:pt idx="7">
                  <c:v>Boursin</c:v>
                </c:pt>
                <c:pt idx="8">
                  <c:v>Kiri</c:v>
                </c:pt>
                <c:pt idx="9">
                  <c:v>Others</c:v>
                </c:pt>
              </c:strCache>
            </c:strRef>
          </c:cat>
          <c:val>
            <c:numRef>
              <c:f>Sheet1!$C$2:$C$11</c:f>
              <c:numCache>
                <c:formatCode>General</c:formatCode>
                <c:ptCount val="10"/>
                <c:pt idx="0">
                  <c:v>0</c:v>
                </c:pt>
                <c:pt idx="1">
                  <c:v>7.668593448940271E-2</c:v>
                </c:pt>
                <c:pt idx="2">
                  <c:v>5.5876685934489412E-2</c:v>
                </c:pt>
                <c:pt idx="3">
                  <c:v>7.6107899807321772E-2</c:v>
                </c:pt>
                <c:pt idx="4">
                  <c:v>3.8150289017341042E-2</c:v>
                </c:pt>
                <c:pt idx="5">
                  <c:v>2.9865125240847785E-2</c:v>
                </c:pt>
                <c:pt idx="6">
                  <c:v>3.9306358381502891E-2</c:v>
                </c:pt>
                <c:pt idx="7">
                  <c:v>5.818882466281311E-2</c:v>
                </c:pt>
                <c:pt idx="8">
                  <c:v>4.527938342967245E-2</c:v>
                </c:pt>
                <c:pt idx="9">
                  <c:v>0.5805394990366088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St Moret</c:v>
                </c:pt>
                <c:pt idx="3">
                  <c:v>President</c:v>
                </c:pt>
                <c:pt idx="4">
                  <c:v>Caprice Des Dieux</c:v>
                </c:pt>
                <c:pt idx="5">
                  <c:v>Galbani</c:v>
                </c:pt>
                <c:pt idx="6">
                  <c:v>La Vache Qui Rit</c:v>
                </c:pt>
                <c:pt idx="7">
                  <c:v>Boursin</c:v>
                </c:pt>
                <c:pt idx="8">
                  <c:v>Kiri</c:v>
                </c:pt>
                <c:pt idx="9">
                  <c:v>Others</c:v>
                </c:pt>
              </c:strCache>
            </c:strRef>
          </c:cat>
          <c:val>
            <c:numRef>
              <c:f>Sheet1!$D$2:$D$11</c:f>
              <c:numCache>
                <c:formatCode>General</c:formatCode>
                <c:ptCount val="10"/>
                <c:pt idx="0">
                  <c:v>1</c:v>
                </c:pt>
                <c:pt idx="1">
                  <c:v>173.50575001421535</c:v>
                </c:pt>
                <c:pt idx="2">
                  <c:v>146.2745317073998</c:v>
                </c:pt>
                <c:pt idx="3">
                  <c:v>226.82247131000156</c:v>
                </c:pt>
                <c:pt idx="4">
                  <c:v>119.28608795075735</c:v>
                </c:pt>
                <c:pt idx="5">
                  <c:v>104.1342362040665</c:v>
                </c:pt>
                <c:pt idx="6">
                  <c:v>156.48799060344209</c:v>
                </c:pt>
                <c:pt idx="7">
                  <c:v>247.35772217740291</c:v>
                </c:pt>
                <c:pt idx="8">
                  <c:v>221.62038455589231</c:v>
                </c:pt>
                <c:pt idx="9">
                  <c:v>190.924793200917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51119112519642429</c:v>
                </c:pt>
                <c:pt idx="1">
                  <c:v>0.21004449671313397</c:v>
                </c:pt>
                <c:pt idx="2">
                  <c:v>9.4973976404807495E-2</c:v>
                </c:pt>
                <c:pt idx="3">
                  <c:v>6.9852648573183532E-2</c:v>
                </c:pt>
                <c:pt idx="4">
                  <c:v>2.764151967340665E-2</c:v>
                </c:pt>
                <c:pt idx="5">
                  <c:v>1.4384270438925527E-2</c:v>
                </c:pt>
                <c:pt idx="6">
                  <c:v>7.191196300011856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31637899375688583</c:v>
                </c:pt>
                <c:pt idx="1">
                  <c:v>0.21042967315460889</c:v>
                </c:pt>
                <c:pt idx="2">
                  <c:v>0.1110907087770841</c:v>
                </c:pt>
                <c:pt idx="3">
                  <c:v>0.1055820785897907</c:v>
                </c:pt>
                <c:pt idx="4">
                  <c:v>3.507161219243482E-2</c:v>
                </c:pt>
                <c:pt idx="5">
                  <c:v>6.2798384135145061E-2</c:v>
                </c:pt>
                <c:pt idx="6">
                  <c:v>0.1586485493940507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61.890548986999285</c:v>
                </c:pt>
                <c:pt idx="1">
                  <c:v>100.1833784971767</c:v>
                </c:pt>
                <c:pt idx="2">
                  <c:v>116.96962997904001</c:v>
                </c:pt>
                <c:pt idx="3">
                  <c:v>151.14971407157739</c:v>
                </c:pt>
                <c:pt idx="4">
                  <c:v>126.88018823428335</c:v>
                </c:pt>
                <c:pt idx="5">
                  <c:v>436.57677601225606</c:v>
                </c:pt>
                <c:pt idx="6">
                  <c:v>220.614961371293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4514953107117084</c:v>
                </c:pt>
                <c:pt idx="1">
                  <c:v>0.21388090337688373</c:v>
                </c:pt>
                <c:pt idx="2">
                  <c:v>0.10612633384238807</c:v>
                </c:pt>
                <c:pt idx="3">
                  <c:v>9.1448781769416926E-2</c:v>
                </c:pt>
                <c:pt idx="4">
                  <c:v>2.9099305878576929E-2</c:v>
                </c:pt>
                <c:pt idx="5">
                  <c:v>1.5043988290123761E-2</c:v>
                </c:pt>
                <c:pt idx="6">
                  <c:v>9.290537613090216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26547395758187847</c:v>
                </c:pt>
                <c:pt idx="1">
                  <c:v>0.20155821670754584</c:v>
                </c:pt>
                <c:pt idx="2">
                  <c:v>0.10647814168229695</c:v>
                </c:pt>
                <c:pt idx="3">
                  <c:v>0.11499062184388981</c:v>
                </c:pt>
                <c:pt idx="4">
                  <c:v>3.7368345116144862E-2</c:v>
                </c:pt>
                <c:pt idx="5">
                  <c:v>6.3050064925696148E-2</c:v>
                </c:pt>
                <c:pt idx="6">
                  <c:v>0.2110806521425479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58.798829419380297</c:v>
                </c:pt>
                <c:pt idx="1">
                  <c:v>94.238528791126413</c:v>
                </c:pt>
                <c:pt idx="2">
                  <c:v>100.33149909845314</c:v>
                </c:pt>
                <c:pt idx="3">
                  <c:v>125.74319703222766</c:v>
                </c:pt>
                <c:pt idx="4">
                  <c:v>128.41662021792638</c:v>
                </c:pt>
                <c:pt idx="5">
                  <c:v>419.10471950505263</c:v>
                </c:pt>
                <c:pt idx="6">
                  <c:v>227.1996098967822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58534713267316341</c:v>
                </c:pt>
                <c:pt idx="1">
                  <c:v>0.18271780303619137</c:v>
                </c:pt>
                <c:pt idx="2">
                  <c:v>7.6911243429194226E-2</c:v>
                </c:pt>
                <c:pt idx="3">
                  <c:v>4.2657057321166945E-2</c:v>
                </c:pt>
                <c:pt idx="4">
                  <c:v>2.2401894476363256E-2</c:v>
                </c:pt>
                <c:pt idx="5">
                  <c:v>9.3692859686053866E-3</c:v>
                </c:pt>
                <c:pt idx="6">
                  <c:v>8.059558309531540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40202612636630225</c:v>
                </c:pt>
                <c:pt idx="1">
                  <c:v>0.20154625433217802</c:v>
                </c:pt>
                <c:pt idx="2">
                  <c:v>0.11223673687016791</c:v>
                </c:pt>
                <c:pt idx="3">
                  <c:v>7.5713143161823523E-2</c:v>
                </c:pt>
                <c:pt idx="4">
                  <c:v>2.6392961876832842E-2</c:v>
                </c:pt>
                <c:pt idx="5">
                  <c:v>4.9853372434017593E-2</c:v>
                </c:pt>
                <c:pt idx="6">
                  <c:v>0.1322314049586776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68.681659809338996</c:v>
                </c:pt>
                <c:pt idx="1">
                  <c:v>110.30466160555643</c:v>
                </c:pt>
                <c:pt idx="2">
                  <c:v>145.93020716599767</c:v>
                </c:pt>
                <c:pt idx="3">
                  <c:v>177.49265400980613</c:v>
                </c:pt>
                <c:pt idx="4">
                  <c:v>117.81575841579223</c:v>
                </c:pt>
                <c:pt idx="5">
                  <c:v>532.09361525591521</c:v>
                </c:pt>
                <c:pt idx="6">
                  <c:v>164.067806051227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45</c:f>
              <c:strCache>
                <c:ptCount val="1144"/>
                <c:pt idx="0">
                  <c:v>Caprice Des</c:v>
                </c:pt>
                <c:pt idx="1">
                  <c:v>Galbani</c:v>
                </c:pt>
                <c:pt idx="2">
                  <c:v>Caprice Des</c:v>
                </c:pt>
                <c:pt idx="3">
                  <c:v>Coeur De Li</c:v>
                </c:pt>
                <c:pt idx="4">
                  <c:v>President</c:v>
                </c:pt>
                <c:pt idx="5">
                  <c:v>Soignon</c:v>
                </c:pt>
                <c:pt idx="6">
                  <c:v>Salakis</c:v>
                </c:pt>
                <c:pt idx="7">
                  <c:v>Le Rustique</c:v>
                </c:pt>
                <c:pt idx="8">
                  <c:v>Coeur De Li</c:v>
                </c:pt>
                <c:pt idx="9">
                  <c:v>Mini Babybe</c:v>
                </c:pt>
                <c:pt idx="10">
                  <c:v>Mini Babybe</c:v>
                </c:pt>
                <c:pt idx="11">
                  <c:v>La Vache Qu</c:v>
                </c:pt>
                <c:pt idx="12">
                  <c:v>St Moret</c:v>
                </c:pt>
                <c:pt idx="13">
                  <c:v>Soignon</c:v>
                </c:pt>
                <c:pt idx="14">
                  <c:v>La Vache Qu</c:v>
                </c:pt>
                <c:pt idx="15">
                  <c:v>Islos</c:v>
                </c:pt>
                <c:pt idx="16">
                  <c:v>La Vache Qu</c:v>
                </c:pt>
                <c:pt idx="17">
                  <c:v>Kiri</c:v>
                </c:pt>
                <c:pt idx="18">
                  <c:v>St Moret</c:v>
                </c:pt>
                <c:pt idx="19">
                  <c:v>Paysan Bret</c:v>
                </c:pt>
                <c:pt idx="20">
                  <c:v>Tartare</c:v>
                </c:pt>
                <c:pt idx="21">
                  <c:v>Salakis</c:v>
                </c:pt>
                <c:pt idx="22">
                  <c:v>Soignon</c:v>
                </c:pt>
                <c:pt idx="23">
                  <c:v>St Moret</c:v>
                </c:pt>
                <c:pt idx="24">
                  <c:v>All Others</c:v>
                </c:pt>
                <c:pt idx="25">
                  <c:v>President</c:v>
                </c:pt>
                <c:pt idx="26">
                  <c:v>Ficello</c:v>
                </c:pt>
                <c:pt idx="27">
                  <c:v>Kiri</c:v>
                </c:pt>
                <c:pt idx="28">
                  <c:v>Apericube</c:v>
                </c:pt>
                <c:pt idx="29">
                  <c:v>Kiri</c:v>
                </c:pt>
                <c:pt idx="30">
                  <c:v>Mini Babybe</c:v>
                </c:pt>
                <c:pt idx="31">
                  <c:v>Galbani</c:v>
                </c:pt>
                <c:pt idx="32">
                  <c:v>Apericube</c:v>
                </c:pt>
                <c:pt idx="33">
                  <c:v>Galbani</c:v>
                </c:pt>
                <c:pt idx="34">
                  <c:v>Carre Frais</c:v>
                </c:pt>
                <c:pt idx="35">
                  <c:v>Carre Frais</c:v>
                </c:pt>
                <c:pt idx="36">
                  <c:v>Paysan Bret</c:v>
                </c:pt>
                <c:pt idx="37">
                  <c:v>All Others</c:v>
                </c:pt>
                <c:pt idx="38">
                  <c:v>Casa Azzurr</c:v>
                </c:pt>
                <c:pt idx="39">
                  <c:v>Casa Azzurr</c:v>
                </c:pt>
                <c:pt idx="40">
                  <c:v>Philadelphi</c:v>
                </c:pt>
                <c:pt idx="41">
                  <c:v>Petit Billy</c:v>
                </c:pt>
                <c:pt idx="42">
                  <c:v>All Others</c:v>
                </c:pt>
                <c:pt idx="43">
                  <c:v>President</c:v>
                </c:pt>
                <c:pt idx="44">
                  <c:v>Coeur De Li</c:v>
                </c:pt>
                <c:pt idx="45">
                  <c:v>Ficello</c:v>
                </c:pt>
                <c:pt idx="46">
                  <c:v>Mini Babybe</c:v>
                </c:pt>
                <c:pt idx="47">
                  <c:v>Galbani</c:v>
                </c:pt>
                <c:pt idx="48">
                  <c:v>Boursin</c:v>
                </c:pt>
                <c:pt idx="49">
                  <c:v>St Moret</c:v>
                </c:pt>
                <c:pt idx="50">
                  <c:v>Kiri</c:v>
                </c:pt>
                <c:pt idx="51">
                  <c:v>Casa Azzurr</c:v>
                </c:pt>
                <c:pt idx="52">
                  <c:v>St Moret</c:v>
                </c:pt>
                <c:pt idx="53">
                  <c:v>Boursin</c:v>
                </c:pt>
                <c:pt idx="54">
                  <c:v>Casa Azzurr</c:v>
                </c:pt>
                <c:pt idx="55">
                  <c:v>Caprice Des</c:v>
                </c:pt>
                <c:pt idx="56">
                  <c:v>President</c:v>
                </c:pt>
                <c:pt idx="57">
                  <c:v>St Moret</c:v>
                </c:pt>
                <c:pt idx="58">
                  <c:v>Lepetit</c:v>
                </c:pt>
                <c:pt idx="59">
                  <c:v>Boursin</c:v>
                </c:pt>
                <c:pt idx="60">
                  <c:v>Casa Azzurr</c:v>
                </c:pt>
                <c:pt idx="61">
                  <c:v>Apericube</c:v>
                </c:pt>
                <c:pt idx="62">
                  <c:v>Salakis</c:v>
                </c:pt>
                <c:pt idx="63">
                  <c:v>Boursin</c:v>
                </c:pt>
                <c:pt idx="64">
                  <c:v>All Others</c:v>
                </c:pt>
                <c:pt idx="65">
                  <c:v>Casa Azzurr</c:v>
                </c:pt>
                <c:pt idx="66">
                  <c:v>Soignon</c:v>
                </c:pt>
                <c:pt idx="67">
                  <c:v>Galbani</c:v>
                </c:pt>
                <c:pt idx="68">
                  <c:v>Philadelphi</c:v>
                </c:pt>
                <c:pt idx="69">
                  <c:v>Istara</c:v>
                </c:pt>
                <c:pt idx="70">
                  <c:v>Salakis</c:v>
                </c:pt>
                <c:pt idx="71">
                  <c:v>St Moret</c:v>
                </c:pt>
                <c:pt idx="72">
                  <c:v>Aperivrais</c:v>
                </c:pt>
                <c:pt idx="73">
                  <c:v>Tartare</c:v>
                </c:pt>
                <c:pt idx="74">
                  <c:v>La Vache Qu</c:v>
                </c:pt>
                <c:pt idx="75">
                  <c:v>Lou Perac</c:v>
                </c:pt>
                <c:pt idx="76">
                  <c:v>All Others</c:v>
                </c:pt>
                <c:pt idx="77">
                  <c:v>Le Brebiou</c:v>
                </c:pt>
                <c:pt idx="78">
                  <c:v>Etorki</c:v>
                </c:pt>
                <c:pt idx="79">
                  <c:v>Paysan Bret</c:v>
                </c:pt>
                <c:pt idx="80">
                  <c:v>All Others</c:v>
                </c:pt>
                <c:pt idx="81">
                  <c:v>Coeur De Li</c:v>
                </c:pt>
                <c:pt idx="82">
                  <c:v>Soignon</c:v>
                </c:pt>
                <c:pt idx="83">
                  <c:v>President</c:v>
                </c:pt>
                <c:pt idx="84">
                  <c:v>All Others</c:v>
                </c:pt>
                <c:pt idx="85">
                  <c:v>Tartare</c:v>
                </c:pt>
                <c:pt idx="86">
                  <c:v>Casa Azzurr</c:v>
                </c:pt>
                <c:pt idx="87">
                  <c:v>Galbani</c:v>
                </c:pt>
                <c:pt idx="88">
                  <c:v>Aperivrais</c:v>
                </c:pt>
                <c:pt idx="89">
                  <c:v>Paysan Bret</c:v>
                </c:pt>
                <c:pt idx="90">
                  <c:v>St Moret</c:v>
                </c:pt>
                <c:pt idx="91">
                  <c:v>La Vache Qu</c:v>
                </c:pt>
                <c:pt idx="92">
                  <c:v>St Moret</c:v>
                </c:pt>
                <c:pt idx="93">
                  <c:v>President</c:v>
                </c:pt>
                <c:pt idx="94">
                  <c:v>President</c:v>
                </c:pt>
                <c:pt idx="95">
                  <c:v>President</c:v>
                </c:pt>
                <c:pt idx="96">
                  <c:v>Chavroux</c:v>
                </c:pt>
                <c:pt idx="97">
                  <c:v>Boursin</c:v>
                </c:pt>
                <c:pt idx="98">
                  <c:v>Galbani</c:v>
                </c:pt>
                <c:pt idx="99">
                  <c:v>Apericube</c:v>
                </c:pt>
                <c:pt idx="100">
                  <c:v>All Others</c:v>
                </c:pt>
                <c:pt idx="101">
                  <c:v>President</c:v>
                </c:pt>
                <c:pt idx="102">
                  <c:v>Kiri</c:v>
                </c:pt>
                <c:pt idx="103">
                  <c:v>Kiri</c:v>
                </c:pt>
                <c:pt idx="104">
                  <c:v>All Others</c:v>
                </c:pt>
                <c:pt idx="105">
                  <c:v>Le Rustique</c:v>
                </c:pt>
                <c:pt idx="106">
                  <c:v>Casa Azzurr</c:v>
                </c:pt>
                <c:pt idx="107">
                  <c:v>Salakis</c:v>
                </c:pt>
                <c:pt idx="108">
                  <c:v>All Others</c:v>
                </c:pt>
                <c:pt idx="109">
                  <c:v>Apericube</c:v>
                </c:pt>
                <c:pt idx="110">
                  <c:v>Coeur De Li</c:v>
                </c:pt>
                <c:pt idx="111">
                  <c:v>Apericube</c:v>
                </c:pt>
                <c:pt idx="112">
                  <c:v>Soignon</c:v>
                </c:pt>
                <c:pt idx="113">
                  <c:v>Casa Azzurr</c:v>
                </c:pt>
                <c:pt idx="114">
                  <c:v>President</c:v>
                </c:pt>
                <c:pt idx="115">
                  <c:v>All Others</c:v>
                </c:pt>
                <c:pt idx="116">
                  <c:v>All Others</c:v>
                </c:pt>
                <c:pt idx="117">
                  <c:v>Lactalis: A</c:v>
                </c:pt>
                <c:pt idx="118">
                  <c:v>Caprice Des</c:v>
                </c:pt>
                <c:pt idx="119">
                  <c:v>Apericube</c:v>
                </c:pt>
                <c:pt idx="120">
                  <c:v>Salakis</c:v>
                </c:pt>
                <c:pt idx="121">
                  <c:v>La Vache Qu</c:v>
                </c:pt>
                <c:pt idx="122">
                  <c:v>Philadelphi</c:v>
                </c:pt>
                <c:pt idx="123">
                  <c:v>Casa Azzurr</c:v>
                </c:pt>
                <c:pt idx="124">
                  <c:v>Istara</c:v>
                </c:pt>
                <c:pt idx="125">
                  <c:v>President</c:v>
                </c:pt>
                <c:pt idx="126">
                  <c:v>Lactalis: A</c:v>
                </c:pt>
                <c:pt idx="127">
                  <c:v>All Others</c:v>
                </c:pt>
                <c:pt idx="128">
                  <c:v>Le Rustique</c:v>
                </c:pt>
                <c:pt idx="129">
                  <c:v>Soignon</c:v>
                </c:pt>
                <c:pt idx="130">
                  <c:v>All Others</c:v>
                </c:pt>
                <c:pt idx="131">
                  <c:v>Paysan Bret</c:v>
                </c:pt>
                <c:pt idx="132">
                  <c:v>Tartare</c:v>
                </c:pt>
                <c:pt idx="133">
                  <c:v>Paysan Bret</c:v>
                </c:pt>
                <c:pt idx="134">
                  <c:v>Lou Perac</c:v>
                </c:pt>
                <c:pt idx="135">
                  <c:v>All Others</c:v>
                </c:pt>
                <c:pt idx="136">
                  <c:v>Galbani</c:v>
                </c:pt>
                <c:pt idx="137">
                  <c:v>Galbani</c:v>
                </c:pt>
                <c:pt idx="138">
                  <c:v>Rondele</c:v>
                </c:pt>
                <c:pt idx="139">
                  <c:v>All Others</c:v>
                </c:pt>
                <c:pt idx="140">
                  <c:v>Apericube</c:v>
                </c:pt>
                <c:pt idx="141">
                  <c:v>All Others</c:v>
                </c:pt>
                <c:pt idx="142">
                  <c:v>Carre Frais</c:v>
                </c:pt>
                <c:pt idx="143">
                  <c:v>Boursin</c:v>
                </c:pt>
                <c:pt idx="144">
                  <c:v>P'Tit Louis</c:v>
                </c:pt>
                <c:pt idx="145">
                  <c:v>Galbani</c:v>
                </c:pt>
                <c:pt idx="146">
                  <c:v>Chavroux</c:v>
                </c:pt>
                <c:pt idx="147">
                  <c:v>All Others</c:v>
                </c:pt>
                <c:pt idx="148">
                  <c:v>Boursin</c:v>
                </c:pt>
                <c:pt idx="149">
                  <c:v>Le Rustique</c:v>
                </c:pt>
                <c:pt idx="150">
                  <c:v>Lactalis: A</c:v>
                </c:pt>
                <c:pt idx="151">
                  <c:v>Apericube</c:v>
                </c:pt>
                <c:pt idx="152">
                  <c:v>All Others</c:v>
                </c:pt>
                <c:pt idx="153">
                  <c:v>All Others</c:v>
                </c:pt>
                <c:pt idx="154">
                  <c:v>Soignon</c:v>
                </c:pt>
                <c:pt idx="155">
                  <c:v>Apericube</c:v>
                </c:pt>
                <c:pt idx="156">
                  <c:v>Mini Babybe</c:v>
                </c:pt>
                <c:pt idx="157">
                  <c:v>Savencia: A</c:v>
                </c:pt>
                <c:pt idx="158">
                  <c:v>All Others</c:v>
                </c:pt>
                <c:pt idx="159">
                  <c:v>Soignon</c:v>
                </c:pt>
                <c:pt idx="160">
                  <c:v>President</c:v>
                </c:pt>
                <c:pt idx="161">
                  <c:v>All Others</c:v>
                </c:pt>
                <c:pt idx="162">
                  <c:v>All Others</c:v>
                </c:pt>
                <c:pt idx="163">
                  <c:v>Salakis</c:v>
                </c:pt>
                <c:pt idx="164">
                  <c:v>All Others</c:v>
                </c:pt>
                <c:pt idx="165">
                  <c:v>Soignon</c:v>
                </c:pt>
                <c:pt idx="166">
                  <c:v>Casa Azzurr</c:v>
                </c:pt>
                <c:pt idx="167">
                  <c:v>Paysan Bret</c:v>
                </c:pt>
                <c:pt idx="168">
                  <c:v>Aperivrais</c:v>
                </c:pt>
                <c:pt idx="169">
                  <c:v>All Others</c:v>
                </c:pt>
                <c:pt idx="170">
                  <c:v>All Others</c:v>
                </c:pt>
                <c:pt idx="171">
                  <c:v>All Others</c:v>
                </c:pt>
                <c:pt idx="172">
                  <c:v>Apericube</c:v>
                </c:pt>
                <c:pt idx="173">
                  <c:v>Mini Babybe</c:v>
                </c:pt>
                <c:pt idx="174">
                  <c:v>All Others</c:v>
                </c:pt>
                <c:pt idx="175">
                  <c:v>St Moret</c:v>
                </c:pt>
                <c:pt idx="176">
                  <c:v>All Others</c:v>
                </c:pt>
                <c:pt idx="177">
                  <c:v>All Others</c:v>
                </c:pt>
                <c:pt idx="178">
                  <c:v>All Others</c:v>
                </c:pt>
                <c:pt idx="179">
                  <c:v>Lactalis: A</c:v>
                </c:pt>
                <c:pt idx="180">
                  <c:v>All Others</c:v>
                </c:pt>
                <c:pt idx="181">
                  <c:v>Caprice Des</c:v>
                </c:pt>
                <c:pt idx="182">
                  <c:v>President</c:v>
                </c:pt>
                <c:pt idx="183">
                  <c:v>All Others</c:v>
                </c:pt>
                <c:pt idx="184">
                  <c:v>Islos</c:v>
                </c:pt>
                <c:pt idx="185">
                  <c:v>All Others</c:v>
                </c:pt>
                <c:pt idx="186">
                  <c:v>Boursin</c:v>
                </c:pt>
                <c:pt idx="187">
                  <c:v>All Others</c:v>
                </c:pt>
                <c:pt idx="188">
                  <c:v>All Others</c:v>
                </c:pt>
                <c:pt idx="189">
                  <c:v>Chavroux</c:v>
                </c:pt>
                <c:pt idx="190">
                  <c:v>All Others</c:v>
                </c:pt>
                <c:pt idx="191">
                  <c:v>Boursin</c:v>
                </c:pt>
                <c:pt idx="192">
                  <c:v>All Others</c:v>
                </c:pt>
                <c:pt idx="193">
                  <c:v>Casa Azzurr</c:v>
                </c:pt>
                <c:pt idx="194">
                  <c:v>All Others</c:v>
                </c:pt>
                <c:pt idx="195">
                  <c:v>Caprice Des</c:v>
                </c:pt>
                <c:pt idx="196">
                  <c:v>All Others</c:v>
                </c:pt>
                <c:pt idx="197">
                  <c:v>Ficello</c:v>
                </c:pt>
                <c:pt idx="198">
                  <c:v>All Others</c:v>
                </c:pt>
                <c:pt idx="199">
                  <c:v>All Others</c:v>
                </c:pt>
                <c:pt idx="200">
                  <c:v>Casa Azzurr</c:v>
                </c:pt>
                <c:pt idx="201">
                  <c:v>All Others</c:v>
                </c:pt>
                <c:pt idx="202">
                  <c:v>Boursin</c:v>
                </c:pt>
                <c:pt idx="203">
                  <c:v>Paysan Bret</c:v>
                </c:pt>
                <c:pt idx="204">
                  <c:v>Casa Azzurr</c:v>
                </c:pt>
                <c:pt idx="205">
                  <c:v>Boursin</c:v>
                </c:pt>
                <c:pt idx="206">
                  <c:v>Kiri</c:v>
                </c:pt>
                <c:pt idx="207">
                  <c:v>All Others</c:v>
                </c:pt>
                <c:pt idx="208">
                  <c:v>All Others</c:v>
                </c:pt>
                <c:pt idx="209">
                  <c:v>Rondele</c:v>
                </c:pt>
                <c:pt idx="210">
                  <c:v>Galbani</c:v>
                </c:pt>
                <c:pt idx="211">
                  <c:v>Lou Perac</c:v>
                </c:pt>
                <c:pt idx="212">
                  <c:v>Galbani</c:v>
                </c:pt>
                <c:pt idx="213">
                  <c:v>Savencia: A</c:v>
                </c:pt>
                <c:pt idx="214">
                  <c:v>All Others</c:v>
                </c:pt>
                <c:pt idx="215">
                  <c:v>Apericube</c:v>
                </c:pt>
                <c:pt idx="216">
                  <c:v>All Others</c:v>
                </c:pt>
                <c:pt idx="217">
                  <c:v>All Others</c:v>
                </c:pt>
                <c:pt idx="218">
                  <c:v>St Moret</c:v>
                </c:pt>
                <c:pt idx="219">
                  <c:v>Lactalis: A</c:v>
                </c:pt>
                <c:pt idx="220">
                  <c:v>Soignon</c:v>
                </c:pt>
                <c:pt idx="221">
                  <c:v>Laita: All </c:v>
                </c:pt>
                <c:pt idx="222">
                  <c:v>Apericube</c:v>
                </c:pt>
                <c:pt idx="223">
                  <c:v>All Others</c:v>
                </c:pt>
                <c:pt idx="224">
                  <c:v>All Others</c:v>
                </c:pt>
                <c:pt idx="225">
                  <c:v>Soignon</c:v>
                </c:pt>
                <c:pt idx="226">
                  <c:v>Mini Babybe</c:v>
                </c:pt>
                <c:pt idx="227">
                  <c:v>Boursin</c:v>
                </c:pt>
                <c:pt idx="228">
                  <c:v>All Others</c:v>
                </c:pt>
                <c:pt idx="229">
                  <c:v>Kiri</c:v>
                </c:pt>
                <c:pt idx="230">
                  <c:v>All Others</c:v>
                </c:pt>
                <c:pt idx="231">
                  <c:v>Pave D'Affi</c:v>
                </c:pt>
                <c:pt idx="232">
                  <c:v>St Moret</c:v>
                </c:pt>
                <c:pt idx="233">
                  <c:v>Lou Perac</c:v>
                </c:pt>
                <c:pt idx="234">
                  <c:v>Aperivrais</c:v>
                </c:pt>
                <c:pt idx="235">
                  <c:v>All Others</c:v>
                </c:pt>
                <c:pt idx="236">
                  <c:v>Caprice Des</c:v>
                </c:pt>
                <c:pt idx="237">
                  <c:v>Coeur De Li</c:v>
                </c:pt>
                <c:pt idx="238">
                  <c:v>All Others</c:v>
                </c:pt>
                <c:pt idx="239">
                  <c:v>Islos</c:v>
                </c:pt>
                <c:pt idx="240">
                  <c:v>Mini Babybe</c:v>
                </c:pt>
                <c:pt idx="241">
                  <c:v>Paysan Bret</c:v>
                </c:pt>
                <c:pt idx="242">
                  <c:v>All Others</c:v>
                </c:pt>
                <c:pt idx="243">
                  <c:v>All Others</c:v>
                </c:pt>
                <c:pt idx="244">
                  <c:v>All Others</c:v>
                </c:pt>
                <c:pt idx="245">
                  <c:v>Violife</c:v>
                </c:pt>
                <c:pt idx="246">
                  <c:v>Violife</c:v>
                </c:pt>
                <c:pt idx="247">
                  <c:v>All Others</c:v>
                </c:pt>
                <c:pt idx="248">
                  <c:v>Leerdammer</c:v>
                </c:pt>
                <c:pt idx="249">
                  <c:v>All Others</c:v>
                </c:pt>
                <c:pt idx="250">
                  <c:v>Philadelphi</c:v>
                </c:pt>
                <c:pt idx="251">
                  <c:v>All Others</c:v>
                </c:pt>
                <c:pt idx="252">
                  <c:v>All Others</c:v>
                </c:pt>
                <c:pt idx="253">
                  <c:v>All Others</c:v>
                </c:pt>
                <c:pt idx="254">
                  <c:v>La Vache Qu</c:v>
                </c:pt>
                <c:pt idx="255">
                  <c:v>Triballat N</c:v>
                </c:pt>
                <c:pt idx="256">
                  <c:v>All Others</c:v>
                </c:pt>
                <c:pt idx="257">
                  <c:v>All Others</c:v>
                </c:pt>
                <c:pt idx="258">
                  <c:v>All Others</c:v>
                </c:pt>
                <c:pt idx="259">
                  <c:v>Etorki</c:v>
                </c:pt>
                <c:pt idx="260">
                  <c:v>All Others</c:v>
                </c:pt>
                <c:pt idx="261">
                  <c:v>All Others</c:v>
                </c:pt>
                <c:pt idx="262">
                  <c:v>All Others</c:v>
                </c:pt>
                <c:pt idx="263">
                  <c:v>Soignon</c:v>
                </c:pt>
                <c:pt idx="264">
                  <c:v>Boursin</c:v>
                </c:pt>
                <c:pt idx="265">
                  <c:v>All Others</c:v>
                </c:pt>
                <c:pt idx="266">
                  <c:v>Tartare</c:v>
                </c:pt>
                <c:pt idx="267">
                  <c:v>Boursin</c:v>
                </c:pt>
                <c:pt idx="268">
                  <c:v>All Others</c:v>
                </c:pt>
                <c:pt idx="269">
                  <c:v>All Others</c:v>
                </c:pt>
                <c:pt idx="270">
                  <c:v>Paysan Bret</c:v>
                </c:pt>
                <c:pt idx="271">
                  <c:v>P'Tit Louis</c:v>
                </c:pt>
                <c:pt idx="272">
                  <c:v>La Vache Qu</c:v>
                </c:pt>
                <c:pt idx="273">
                  <c:v>Apericube</c:v>
                </c:pt>
                <c:pt idx="274">
                  <c:v>All Others</c:v>
                </c:pt>
                <c:pt idx="275">
                  <c:v>All Others</c:v>
                </c:pt>
                <c:pt idx="276">
                  <c:v>All Others</c:v>
                </c:pt>
                <c:pt idx="277">
                  <c:v>All Others</c:v>
                </c:pt>
                <c:pt idx="278">
                  <c:v>Casa Azzurr</c:v>
                </c:pt>
                <c:pt idx="279">
                  <c:v>All Others</c:v>
                </c:pt>
                <c:pt idx="280">
                  <c:v>All Others</c:v>
                </c:pt>
                <c:pt idx="281">
                  <c:v>Etoile Du Q</c:v>
                </c:pt>
                <c:pt idx="282">
                  <c:v>Lactalis: A</c:v>
                </c:pt>
                <c:pt idx="283">
                  <c:v>All Others</c:v>
                </c:pt>
                <c:pt idx="284">
                  <c:v>Corsica</c:v>
                </c:pt>
                <c:pt idx="285">
                  <c:v>Tartare</c:v>
                </c:pt>
                <c:pt idx="286">
                  <c:v>All Others</c:v>
                </c:pt>
                <c:pt idx="287">
                  <c:v>All Others</c:v>
                </c:pt>
                <c:pt idx="288">
                  <c:v>All Others</c:v>
                </c:pt>
                <c:pt idx="289">
                  <c:v>All Others</c:v>
                </c:pt>
                <c:pt idx="290">
                  <c:v>Salakis</c:v>
                </c:pt>
                <c:pt idx="291">
                  <c:v>Caprice Des</c:v>
                </c:pt>
                <c:pt idx="292">
                  <c:v>P'Tit Louis</c:v>
                </c:pt>
                <c:pt idx="293">
                  <c:v>All Others</c:v>
                </c:pt>
                <c:pt idx="294">
                  <c:v>All Others</c:v>
                </c:pt>
                <c:pt idx="295">
                  <c:v>All Others</c:v>
                </c:pt>
                <c:pt idx="296">
                  <c:v>Chavroux</c:v>
                </c:pt>
                <c:pt idx="297">
                  <c:v>Savencia: A</c:v>
                </c:pt>
                <c:pt idx="298">
                  <c:v>President</c:v>
                </c:pt>
                <c:pt idx="299">
                  <c:v>Aperivrais</c:v>
                </c:pt>
                <c:pt idx="300">
                  <c:v>Kiri</c:v>
                </c:pt>
                <c:pt idx="301">
                  <c:v>All Others</c:v>
                </c:pt>
                <c:pt idx="302">
                  <c:v>Triballat R</c:v>
                </c:pt>
                <c:pt idx="303">
                  <c:v>Savencia: A</c:v>
                </c:pt>
                <c:pt idx="304">
                  <c:v>Lou Perac</c:v>
                </c:pt>
                <c:pt idx="305">
                  <c:v>Galbani</c:v>
                </c:pt>
                <c:pt idx="306">
                  <c:v>Violife</c:v>
                </c:pt>
                <c:pt idx="307">
                  <c:v>All Others</c:v>
                </c:pt>
                <c:pt idx="308">
                  <c:v>Lactalis: A</c:v>
                </c:pt>
                <c:pt idx="309">
                  <c:v>All Others</c:v>
                </c:pt>
                <c:pt idx="310">
                  <c:v>All Others</c:v>
                </c:pt>
                <c:pt idx="311">
                  <c:v>Ficello</c:v>
                </c:pt>
                <c:pt idx="312">
                  <c:v>All Others</c:v>
                </c:pt>
                <c:pt idx="313">
                  <c:v>Saint Agur</c:v>
                </c:pt>
                <c:pt idx="314">
                  <c:v>All Others</c:v>
                </c:pt>
                <c:pt idx="315">
                  <c:v>All Others</c:v>
                </c:pt>
                <c:pt idx="316">
                  <c:v>Eurial Autr</c:v>
                </c:pt>
                <c:pt idx="317">
                  <c:v>Triballat N</c:v>
                </c:pt>
                <c:pt idx="318">
                  <c:v>All Others</c:v>
                </c:pt>
                <c:pt idx="319">
                  <c:v>Corsica</c:v>
                </c:pt>
                <c:pt idx="320">
                  <c:v>All Others</c:v>
                </c:pt>
                <c:pt idx="321">
                  <c:v>Etoile Du V</c:v>
                </c:pt>
                <c:pt idx="322">
                  <c:v>All Others</c:v>
                </c:pt>
                <c:pt idx="323">
                  <c:v>Boursin</c:v>
                </c:pt>
                <c:pt idx="324">
                  <c:v>All Others</c:v>
                </c:pt>
                <c:pt idx="325">
                  <c:v>All Others</c:v>
                </c:pt>
                <c:pt idx="326">
                  <c:v>All Others</c:v>
                </c:pt>
                <c:pt idx="327">
                  <c:v>Violife</c:v>
                </c:pt>
                <c:pt idx="328">
                  <c:v>All Others</c:v>
                </c:pt>
                <c:pt idx="329">
                  <c:v>President</c:v>
                </c:pt>
                <c:pt idx="330">
                  <c:v>Milleret: A</c:v>
                </c:pt>
                <c:pt idx="331">
                  <c:v>Salakis</c:v>
                </c:pt>
                <c:pt idx="332">
                  <c:v>All Others</c:v>
                </c:pt>
                <c:pt idx="333">
                  <c:v>All Others</c:v>
                </c:pt>
                <c:pt idx="334">
                  <c:v>Apericube</c:v>
                </c:pt>
                <c:pt idx="335">
                  <c:v>Boursin</c:v>
                </c:pt>
                <c:pt idx="336">
                  <c:v>Tartare</c:v>
                </c:pt>
                <c:pt idx="337">
                  <c:v>Aperivrais</c:v>
                </c:pt>
                <c:pt idx="338">
                  <c:v>All Others</c:v>
                </c:pt>
                <c:pt idx="339">
                  <c:v>All Others</c:v>
                </c:pt>
                <c:pt idx="340">
                  <c:v>All Others</c:v>
                </c:pt>
                <c:pt idx="341">
                  <c:v>Apericube</c:v>
                </c:pt>
                <c:pt idx="342">
                  <c:v>All Others</c:v>
                </c:pt>
                <c:pt idx="343">
                  <c:v>All Others</c:v>
                </c:pt>
                <c:pt idx="344">
                  <c:v>All Others</c:v>
                </c:pt>
                <c:pt idx="345">
                  <c:v>All Others</c:v>
                </c:pt>
                <c:pt idx="346">
                  <c:v>All Others</c:v>
                </c:pt>
                <c:pt idx="347">
                  <c:v>Etoile Du Q</c:v>
                </c:pt>
                <c:pt idx="348">
                  <c:v>Lactalis: A</c:v>
                </c:pt>
                <c:pt idx="349">
                  <c:v>All Others</c:v>
                </c:pt>
                <c:pt idx="350">
                  <c:v>All Others</c:v>
                </c:pt>
                <c:pt idx="351">
                  <c:v>All Others</c:v>
                </c:pt>
                <c:pt idx="352">
                  <c:v>All Others</c:v>
                </c:pt>
                <c:pt idx="353">
                  <c:v>Lactalis: A</c:v>
                </c:pt>
                <c:pt idx="354">
                  <c:v>All Others</c:v>
                </c:pt>
                <c:pt idx="355">
                  <c:v>All Others</c:v>
                </c:pt>
                <c:pt idx="356">
                  <c:v>Apericube</c:v>
                </c:pt>
                <c:pt idx="357">
                  <c:v>All Others</c:v>
                </c:pt>
                <c:pt idx="358">
                  <c:v>All Others</c:v>
                </c:pt>
                <c:pt idx="359">
                  <c:v>Savencia: A</c:v>
                </c:pt>
                <c:pt idx="360">
                  <c:v>All Others</c:v>
                </c:pt>
                <c:pt idx="361">
                  <c:v>Coeur De Li</c:v>
                </c:pt>
                <c:pt idx="362">
                  <c:v>All Others</c:v>
                </c:pt>
                <c:pt idx="363">
                  <c:v>All Others</c:v>
                </c:pt>
                <c:pt idx="364">
                  <c:v>Boursin</c:v>
                </c:pt>
                <c:pt idx="365">
                  <c:v>All Others</c:v>
                </c:pt>
                <c:pt idx="366">
                  <c:v>Nurishh</c:v>
                </c:pt>
                <c:pt idx="367">
                  <c:v>Aperivrais</c:v>
                </c:pt>
                <c:pt idx="368">
                  <c:v>O'Tapas Ape</c:v>
                </c:pt>
                <c:pt idx="369">
                  <c:v>All Others</c:v>
                </c:pt>
                <c:pt idx="370">
                  <c:v>Entremont</c:v>
                </c:pt>
                <c:pt idx="371">
                  <c:v>Lactalis: A</c:v>
                </c:pt>
                <c:pt idx="372">
                  <c:v>Paysan Bret</c:v>
                </c:pt>
                <c:pt idx="373">
                  <c:v>All Others</c:v>
                </c:pt>
                <c:pt idx="374">
                  <c:v>Violife</c:v>
                </c:pt>
                <c:pt idx="375">
                  <c:v>All Others</c:v>
                </c:pt>
                <c:pt idx="376">
                  <c:v>O'Tapas Ape</c:v>
                </c:pt>
                <c:pt idx="377">
                  <c:v>All Others</c:v>
                </c:pt>
                <c:pt idx="378">
                  <c:v>All Others</c:v>
                </c:pt>
                <c:pt idx="379">
                  <c:v>All Others</c:v>
                </c:pt>
                <c:pt idx="380">
                  <c:v>St Moret</c:v>
                </c:pt>
                <c:pt idx="381">
                  <c:v>All Others</c:v>
                </c:pt>
                <c:pt idx="382">
                  <c:v>All Others</c:v>
                </c:pt>
                <c:pt idx="383">
                  <c:v>All Others</c:v>
                </c:pt>
                <c:pt idx="384">
                  <c:v>Etoile Du Q</c:v>
                </c:pt>
                <c:pt idx="385">
                  <c:v>Richesmonts</c:v>
                </c:pt>
                <c:pt idx="386">
                  <c:v>Nurishh</c:v>
                </c:pt>
                <c:pt idx="387">
                  <c:v>President</c:v>
                </c:pt>
                <c:pt idx="388">
                  <c:v>All Others</c:v>
                </c:pt>
                <c:pt idx="389">
                  <c:v>All Others</c:v>
                </c:pt>
                <c:pt idx="390">
                  <c:v>All Others</c:v>
                </c:pt>
                <c:pt idx="391">
                  <c:v>Istara</c:v>
                </c:pt>
                <c:pt idx="392">
                  <c:v>All Others</c:v>
                </c:pt>
                <c:pt idx="393">
                  <c:v>Boursin</c:v>
                </c:pt>
                <c:pt idx="394">
                  <c:v>All Others</c:v>
                </c:pt>
                <c:pt idx="395">
                  <c:v>All Others</c:v>
                </c:pt>
                <c:pt idx="396">
                  <c:v>All Others</c:v>
                </c:pt>
                <c:pt idx="397">
                  <c:v>All Others</c:v>
                </c:pt>
                <c:pt idx="398">
                  <c:v>All Others</c:v>
                </c:pt>
                <c:pt idx="399">
                  <c:v>Casa Azzurr</c:v>
                </c:pt>
                <c:pt idx="400">
                  <c:v>All Others</c:v>
                </c:pt>
                <c:pt idx="401">
                  <c:v>All Others</c:v>
                </c:pt>
                <c:pt idx="402">
                  <c:v>All Others</c:v>
                </c:pt>
                <c:pt idx="403">
                  <c:v>Violife</c:v>
                </c:pt>
                <c:pt idx="404">
                  <c:v>All Others</c:v>
                </c:pt>
                <c:pt idx="405">
                  <c:v>All Others</c:v>
                </c:pt>
                <c:pt idx="406">
                  <c:v>All Others</c:v>
                </c:pt>
                <c:pt idx="407">
                  <c:v>All Others</c:v>
                </c:pt>
                <c:pt idx="408">
                  <c:v>Philadelphi</c:v>
                </c:pt>
                <c:pt idx="409">
                  <c:v>All Others</c:v>
                </c:pt>
                <c:pt idx="410">
                  <c:v>Salakis</c:v>
                </c:pt>
                <c:pt idx="411">
                  <c:v>Triballat R</c:v>
                </c:pt>
                <c:pt idx="412">
                  <c:v>Paysan Bret</c:v>
                </c:pt>
                <c:pt idx="413">
                  <c:v>Nurishh</c:v>
                </c:pt>
                <c:pt idx="414">
                  <c:v>All Others</c:v>
                </c:pt>
                <c:pt idx="415">
                  <c:v>All Others</c:v>
                </c:pt>
                <c:pt idx="416">
                  <c:v>All Others</c:v>
                </c:pt>
                <c:pt idx="417">
                  <c:v>All Others</c:v>
                </c:pt>
                <c:pt idx="418">
                  <c:v>All Others</c:v>
                </c:pt>
                <c:pt idx="419">
                  <c:v>All Others</c:v>
                </c:pt>
                <c:pt idx="420">
                  <c:v>All Others</c:v>
                </c:pt>
                <c:pt idx="421">
                  <c:v>Boursin</c:v>
                </c:pt>
                <c:pt idx="422">
                  <c:v>All Others</c:v>
                </c:pt>
                <c:pt idx="423">
                  <c:v>Nurishh</c:v>
                </c:pt>
                <c:pt idx="424">
                  <c:v>Apericube</c:v>
                </c:pt>
                <c:pt idx="425">
                  <c:v>All Others</c:v>
                </c:pt>
                <c:pt idx="426">
                  <c:v>Lactalis: A</c:v>
                </c:pt>
                <c:pt idx="427">
                  <c:v>Savencia: A</c:v>
                </c:pt>
                <c:pt idx="428">
                  <c:v>All Others</c:v>
                </c:pt>
                <c:pt idx="429">
                  <c:v>All Others</c:v>
                </c:pt>
                <c:pt idx="430">
                  <c:v>All Others</c:v>
                </c:pt>
                <c:pt idx="431">
                  <c:v>Boursin</c:v>
                </c:pt>
                <c:pt idx="432">
                  <c:v>All Others</c:v>
                </c:pt>
                <c:pt idx="433">
                  <c:v>All Others</c:v>
                </c:pt>
                <c:pt idx="434">
                  <c:v>Triballat R</c:v>
                </c:pt>
                <c:pt idx="435">
                  <c:v>All Others</c:v>
                </c:pt>
                <c:pt idx="436">
                  <c:v>St Moret</c:v>
                </c:pt>
                <c:pt idx="437">
                  <c:v>All Others</c:v>
                </c:pt>
                <c:pt idx="438">
                  <c:v>Triballat R</c:v>
                </c:pt>
                <c:pt idx="439">
                  <c:v>All Others</c:v>
                </c:pt>
                <c:pt idx="440">
                  <c:v>Entremont</c:v>
                </c:pt>
                <c:pt idx="441">
                  <c:v>All Others</c:v>
                </c:pt>
                <c:pt idx="442">
                  <c:v>Lactalis: A</c:v>
                </c:pt>
                <c:pt idx="443">
                  <c:v>All Others</c:v>
                </c:pt>
                <c:pt idx="444">
                  <c:v>All Others</c:v>
                </c:pt>
                <c:pt idx="445">
                  <c:v>All Others</c:v>
                </c:pt>
                <c:pt idx="446">
                  <c:v>All Others</c:v>
                </c:pt>
                <c:pt idx="447">
                  <c:v>Mini Babybe</c:v>
                </c:pt>
                <c:pt idx="448">
                  <c:v>All Others</c:v>
                </c:pt>
                <c:pt idx="449">
                  <c:v>Tartare</c:v>
                </c:pt>
                <c:pt idx="450">
                  <c:v>All Others</c:v>
                </c:pt>
                <c:pt idx="451">
                  <c:v>All Others</c:v>
                </c:pt>
                <c:pt idx="452">
                  <c:v>All Others</c:v>
                </c:pt>
                <c:pt idx="453">
                  <c:v>All Others</c:v>
                </c:pt>
                <c:pt idx="454">
                  <c:v>Milleret: A</c:v>
                </c:pt>
                <c:pt idx="455">
                  <c:v>Apericube</c:v>
                </c:pt>
                <c:pt idx="456">
                  <c:v>O'Tapas Ape</c:v>
                </c:pt>
                <c:pt idx="457">
                  <c:v>All Others</c:v>
                </c:pt>
                <c:pt idx="458">
                  <c:v>Eurial Autr</c:v>
                </c:pt>
                <c:pt idx="459">
                  <c:v>All Others</c:v>
                </c:pt>
                <c:pt idx="460">
                  <c:v>All Others</c:v>
                </c:pt>
                <c:pt idx="461">
                  <c:v>Tartare</c:v>
                </c:pt>
                <c:pt idx="462">
                  <c:v>Saint Agur</c:v>
                </c:pt>
                <c:pt idx="463">
                  <c:v>All Others</c:v>
                </c:pt>
                <c:pt idx="464">
                  <c:v>All Others</c:v>
                </c:pt>
                <c:pt idx="465">
                  <c:v>Violife</c:v>
                </c:pt>
                <c:pt idx="466">
                  <c:v>All Others</c:v>
                </c:pt>
                <c:pt idx="467">
                  <c:v>All Others</c:v>
                </c:pt>
                <c:pt idx="468">
                  <c:v>All Others</c:v>
                </c:pt>
                <c:pt idx="469">
                  <c:v>Triballat N</c:v>
                </c:pt>
                <c:pt idx="470">
                  <c:v>All Others</c:v>
                </c:pt>
                <c:pt idx="471">
                  <c:v>All Others</c:v>
                </c:pt>
                <c:pt idx="472">
                  <c:v>Etoile Du V</c:v>
                </c:pt>
                <c:pt idx="473">
                  <c:v>Apericube</c:v>
                </c:pt>
                <c:pt idx="474">
                  <c:v>All Others</c:v>
                </c:pt>
                <c:pt idx="475">
                  <c:v>All Others</c:v>
                </c:pt>
                <c:pt idx="476">
                  <c:v>All Others</c:v>
                </c:pt>
                <c:pt idx="477">
                  <c:v>All Others</c:v>
                </c:pt>
                <c:pt idx="478">
                  <c:v>Savencia: A</c:v>
                </c:pt>
                <c:pt idx="479">
                  <c:v>All Others</c:v>
                </c:pt>
                <c:pt idx="480">
                  <c:v>Tartare</c:v>
                </c:pt>
                <c:pt idx="481">
                  <c:v>All Others</c:v>
                </c:pt>
                <c:pt idx="482">
                  <c:v>All Others</c:v>
                </c:pt>
                <c:pt idx="483">
                  <c:v>All Others</c:v>
                </c:pt>
                <c:pt idx="484">
                  <c:v>All Others</c:v>
                </c:pt>
                <c:pt idx="485">
                  <c:v>Violife</c:v>
                </c:pt>
                <c:pt idx="486">
                  <c:v>Etoile Du V</c:v>
                </c:pt>
                <c:pt idx="487">
                  <c:v>Aperivrais</c:v>
                </c:pt>
                <c:pt idx="488">
                  <c:v>All Others</c:v>
                </c:pt>
                <c:pt idx="489">
                  <c:v>All Others</c:v>
                </c:pt>
                <c:pt idx="490">
                  <c:v>All Others</c:v>
                </c:pt>
                <c:pt idx="491">
                  <c:v>All Others</c:v>
                </c:pt>
                <c:pt idx="492">
                  <c:v>All Others</c:v>
                </c:pt>
                <c:pt idx="493">
                  <c:v>All Others</c:v>
                </c:pt>
                <c:pt idx="494">
                  <c:v>Lactalis: A</c:v>
                </c:pt>
                <c:pt idx="495">
                  <c:v>Soignon</c:v>
                </c:pt>
                <c:pt idx="496">
                  <c:v>All Others</c:v>
                </c:pt>
                <c:pt idx="497">
                  <c:v>All Others</c:v>
                </c:pt>
                <c:pt idx="498">
                  <c:v>All Others</c:v>
                </c:pt>
                <c:pt idx="499">
                  <c:v>Nurishh</c:v>
                </c:pt>
                <c:pt idx="500">
                  <c:v>All Others</c:v>
                </c:pt>
                <c:pt idx="501">
                  <c:v>Violife</c:v>
                </c:pt>
                <c:pt idx="502">
                  <c:v>All Others</c:v>
                </c:pt>
                <c:pt idx="503">
                  <c:v>Nurishh</c:v>
                </c:pt>
                <c:pt idx="504">
                  <c:v>All Others</c:v>
                </c:pt>
                <c:pt idx="505">
                  <c:v>All Others</c:v>
                </c:pt>
                <c:pt idx="506">
                  <c:v>All Others</c:v>
                </c:pt>
                <c:pt idx="507">
                  <c:v>All Others</c:v>
                </c:pt>
                <c:pt idx="508">
                  <c:v>Violife</c:v>
                </c:pt>
                <c:pt idx="509">
                  <c:v>All Others</c:v>
                </c:pt>
                <c:pt idx="510">
                  <c:v>All Others</c:v>
                </c:pt>
                <c:pt idx="511">
                  <c:v>All Others</c:v>
                </c:pt>
                <c:pt idx="512">
                  <c:v>All Others</c:v>
                </c:pt>
                <c:pt idx="513">
                  <c:v>All Others</c:v>
                </c:pt>
                <c:pt idx="514">
                  <c:v>O'Tapas Ape</c:v>
                </c:pt>
                <c:pt idx="515">
                  <c:v>All Others</c:v>
                </c:pt>
                <c:pt idx="516">
                  <c:v>All Others</c:v>
                </c:pt>
                <c:pt idx="517">
                  <c:v>Boursin</c:v>
                </c:pt>
                <c:pt idx="518">
                  <c:v>All Others</c:v>
                </c:pt>
                <c:pt idx="519">
                  <c:v>All Others</c:v>
                </c:pt>
                <c:pt idx="520">
                  <c:v>All Others</c:v>
                </c:pt>
                <c:pt idx="521">
                  <c:v>Casa Azzurr</c:v>
                </c:pt>
                <c:pt idx="522">
                  <c:v>All Others</c:v>
                </c:pt>
                <c:pt idx="523">
                  <c:v>All Others</c:v>
                </c:pt>
                <c:pt idx="524">
                  <c:v>All Others</c:v>
                </c:pt>
                <c:pt idx="525">
                  <c:v>All Others</c:v>
                </c:pt>
                <c:pt idx="526">
                  <c:v>All Others</c:v>
                </c:pt>
                <c:pt idx="527">
                  <c:v>Istara</c:v>
                </c:pt>
                <c:pt idx="528">
                  <c:v>All Others</c:v>
                </c:pt>
                <c:pt idx="529">
                  <c:v>Eurial Autr</c:v>
                </c:pt>
                <c:pt idx="530">
                  <c:v>All Others</c:v>
                </c:pt>
                <c:pt idx="531">
                  <c:v>All Others</c:v>
                </c:pt>
                <c:pt idx="532">
                  <c:v>All Others</c:v>
                </c:pt>
                <c:pt idx="533">
                  <c:v>All Others</c:v>
                </c:pt>
                <c:pt idx="534">
                  <c:v>Nurishh</c:v>
                </c:pt>
                <c:pt idx="535">
                  <c:v>All Others</c:v>
                </c:pt>
                <c:pt idx="536">
                  <c:v>All Others</c:v>
                </c:pt>
                <c:pt idx="537">
                  <c:v>All Others</c:v>
                </c:pt>
                <c:pt idx="538">
                  <c:v>All Others</c:v>
                </c:pt>
                <c:pt idx="539">
                  <c:v>All Others</c:v>
                </c:pt>
                <c:pt idx="540">
                  <c:v>All Others</c:v>
                </c:pt>
                <c:pt idx="541">
                  <c:v>All Others</c:v>
                </c:pt>
                <c:pt idx="542">
                  <c:v>All Others</c:v>
                </c:pt>
                <c:pt idx="543">
                  <c:v>All Others</c:v>
                </c:pt>
                <c:pt idx="544">
                  <c:v>Boursin</c:v>
                </c:pt>
                <c:pt idx="545">
                  <c:v>Private Lab</c:v>
                </c:pt>
                <c:pt idx="546">
                  <c:v>All Others</c:v>
                </c:pt>
                <c:pt idx="547">
                  <c:v>All Others</c:v>
                </c:pt>
                <c:pt idx="548">
                  <c:v>Mini Babybe</c:v>
                </c:pt>
                <c:pt idx="549">
                  <c:v>All Others</c:v>
                </c:pt>
                <c:pt idx="550">
                  <c:v>All Others</c:v>
                </c:pt>
                <c:pt idx="551">
                  <c:v>All Others</c:v>
                </c:pt>
                <c:pt idx="552">
                  <c:v>Soignon</c:v>
                </c:pt>
                <c:pt idx="553">
                  <c:v>All Others</c:v>
                </c:pt>
                <c:pt idx="554">
                  <c:v>All Others</c:v>
                </c:pt>
                <c:pt idx="555">
                  <c:v>All Others</c:v>
                </c:pt>
                <c:pt idx="556">
                  <c:v>All Others</c:v>
                </c:pt>
                <c:pt idx="557">
                  <c:v>All Others</c:v>
                </c:pt>
                <c:pt idx="558">
                  <c:v>All Others</c:v>
                </c:pt>
                <c:pt idx="559">
                  <c:v>All Others</c:v>
                </c:pt>
                <c:pt idx="560">
                  <c:v>All Others</c:v>
                </c:pt>
                <c:pt idx="561">
                  <c:v>All Others</c:v>
                </c:pt>
                <c:pt idx="562">
                  <c:v>All Others</c:v>
                </c:pt>
                <c:pt idx="563">
                  <c:v>All Others</c:v>
                </c:pt>
                <c:pt idx="564">
                  <c:v>All Others</c:v>
                </c:pt>
                <c:pt idx="565">
                  <c:v>All Others</c:v>
                </c:pt>
                <c:pt idx="566">
                  <c:v>All Others</c:v>
                </c:pt>
                <c:pt idx="567">
                  <c:v>Tartare</c:v>
                </c:pt>
                <c:pt idx="568">
                  <c:v>All Others</c:v>
                </c:pt>
                <c:pt idx="569">
                  <c:v>Etoile Du V</c:v>
                </c:pt>
                <c:pt idx="570">
                  <c:v>All Others</c:v>
                </c:pt>
                <c:pt idx="571">
                  <c:v>Lactalis: A</c:v>
                </c:pt>
                <c:pt idx="572">
                  <c:v>All Others</c:v>
                </c:pt>
                <c:pt idx="573">
                  <c:v>All Others</c:v>
                </c:pt>
                <c:pt idx="574">
                  <c:v>All Others</c:v>
                </c:pt>
                <c:pt idx="575">
                  <c:v>All Others</c:v>
                </c:pt>
                <c:pt idx="576">
                  <c:v>All Others</c:v>
                </c:pt>
                <c:pt idx="577">
                  <c:v>Nurishh</c:v>
                </c:pt>
                <c:pt idx="578">
                  <c:v>All Others</c:v>
                </c:pt>
                <c:pt idx="579">
                  <c:v>St Moret</c:v>
                </c:pt>
                <c:pt idx="580">
                  <c:v>Etoile Du V</c:v>
                </c:pt>
                <c:pt idx="581">
                  <c:v>All Others</c:v>
                </c:pt>
                <c:pt idx="582">
                  <c:v>All Others</c:v>
                </c:pt>
                <c:pt idx="583">
                  <c:v>All Others</c:v>
                </c:pt>
                <c:pt idx="584">
                  <c:v>All Others</c:v>
                </c:pt>
                <c:pt idx="585">
                  <c:v>All Others</c:v>
                </c:pt>
                <c:pt idx="586">
                  <c:v>Boursin</c:v>
                </c:pt>
                <c:pt idx="587">
                  <c:v>Salakis</c:v>
                </c:pt>
                <c:pt idx="588">
                  <c:v>All Others</c:v>
                </c:pt>
                <c:pt idx="589">
                  <c:v>All Others</c:v>
                </c:pt>
                <c:pt idx="590">
                  <c:v>Eurial Autr</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Lactalis: A</c:v>
                </c:pt>
                <c:pt idx="601">
                  <c:v>Etoile Du V</c:v>
                </c:pt>
                <c:pt idx="602">
                  <c:v>All Others</c:v>
                </c:pt>
                <c:pt idx="603">
                  <c:v>All Others</c:v>
                </c:pt>
                <c:pt idx="604">
                  <c:v>Nurishh</c:v>
                </c:pt>
                <c:pt idx="605">
                  <c:v>All Others</c:v>
                </c:pt>
                <c:pt idx="606">
                  <c:v>Etoile Du Q</c:v>
                </c:pt>
                <c:pt idx="607">
                  <c:v>All Others</c:v>
                </c:pt>
                <c:pt idx="608">
                  <c:v>All Others</c:v>
                </c:pt>
                <c:pt idx="609">
                  <c:v>All Others</c:v>
                </c:pt>
                <c:pt idx="610">
                  <c:v>All Others</c:v>
                </c:pt>
                <c:pt idx="611">
                  <c:v>All Others</c:v>
                </c:pt>
                <c:pt idx="612">
                  <c:v>All Others</c:v>
                </c:pt>
                <c:pt idx="613">
                  <c:v>All Others</c:v>
                </c:pt>
                <c:pt idx="614">
                  <c:v>All Others</c:v>
                </c:pt>
                <c:pt idx="615">
                  <c:v>All Others</c:v>
                </c:pt>
                <c:pt idx="616">
                  <c:v>All Others</c:v>
                </c:pt>
                <c:pt idx="617">
                  <c:v>All Others</c:v>
                </c:pt>
                <c:pt idx="618">
                  <c:v>All Others</c:v>
                </c:pt>
                <c:pt idx="619">
                  <c:v>Kiri</c:v>
                </c:pt>
                <c:pt idx="620">
                  <c:v>All Others</c:v>
                </c:pt>
                <c:pt idx="621">
                  <c:v>All Others</c:v>
                </c:pt>
                <c:pt idx="622">
                  <c:v>All Others</c:v>
                </c:pt>
                <c:pt idx="623">
                  <c:v>Salakis</c:v>
                </c:pt>
                <c:pt idx="624">
                  <c:v>All Others</c:v>
                </c:pt>
                <c:pt idx="625">
                  <c:v>All Others</c:v>
                </c:pt>
                <c:pt idx="626">
                  <c:v>All Others</c:v>
                </c:pt>
                <c:pt idx="627">
                  <c:v>All Others</c:v>
                </c:pt>
                <c:pt idx="628">
                  <c:v>All Others</c:v>
                </c:pt>
                <c:pt idx="629">
                  <c:v>Triballat N</c:v>
                </c:pt>
                <c:pt idx="630">
                  <c:v>All Others</c:v>
                </c:pt>
                <c:pt idx="631">
                  <c:v>All Others</c:v>
                </c:pt>
                <c:pt idx="632">
                  <c:v>Apericube</c:v>
                </c:pt>
                <c:pt idx="633">
                  <c:v>All Others</c:v>
                </c:pt>
                <c:pt idx="634">
                  <c:v>Richesmonts</c:v>
                </c:pt>
                <c:pt idx="635">
                  <c:v>All Others</c:v>
                </c:pt>
                <c:pt idx="636">
                  <c:v>All Others</c:v>
                </c:pt>
                <c:pt idx="637">
                  <c:v>All Others</c:v>
                </c:pt>
                <c:pt idx="638">
                  <c:v>All Others</c:v>
                </c:pt>
                <c:pt idx="639">
                  <c:v>All Others</c:v>
                </c:pt>
                <c:pt idx="640">
                  <c:v>Apericube</c:v>
                </c:pt>
                <c:pt idx="641">
                  <c:v>All Others</c:v>
                </c:pt>
                <c:pt idx="642">
                  <c:v>La Vache Qu</c:v>
                </c:pt>
                <c:pt idx="643">
                  <c:v>All Others</c:v>
                </c:pt>
                <c:pt idx="644">
                  <c:v>All Others</c:v>
                </c:pt>
                <c:pt idx="645">
                  <c:v>Islos</c:v>
                </c:pt>
                <c:pt idx="646">
                  <c:v>La Vache Qu</c:v>
                </c:pt>
                <c:pt idx="647">
                  <c:v>Apericube</c:v>
                </c:pt>
                <c:pt idx="648">
                  <c:v>All Others</c:v>
                </c:pt>
                <c:pt idx="649">
                  <c:v>All Others</c:v>
                </c:pt>
                <c:pt idx="650">
                  <c:v>All Others</c:v>
                </c:pt>
                <c:pt idx="651">
                  <c:v>All Others</c:v>
                </c:pt>
                <c:pt idx="652">
                  <c:v>All Others</c:v>
                </c:pt>
                <c:pt idx="653">
                  <c:v>All Others</c:v>
                </c:pt>
                <c:pt idx="654">
                  <c:v>Lactalis: A</c:v>
                </c:pt>
                <c:pt idx="655">
                  <c:v>Tartare</c:v>
                </c:pt>
                <c:pt idx="656">
                  <c:v>All Others</c:v>
                </c:pt>
                <c:pt idx="657">
                  <c:v>All Others</c:v>
                </c:pt>
                <c:pt idx="658">
                  <c:v>All Others</c:v>
                </c:pt>
                <c:pt idx="659">
                  <c:v>Triballat R</c:v>
                </c:pt>
                <c:pt idx="660">
                  <c:v>Apericube</c:v>
                </c:pt>
                <c:pt idx="661">
                  <c:v>All Others</c:v>
                </c:pt>
                <c:pt idx="662">
                  <c:v>Triballat N</c:v>
                </c:pt>
                <c:pt idx="663">
                  <c:v>All Others</c:v>
                </c:pt>
                <c:pt idx="664">
                  <c:v>All Others</c:v>
                </c:pt>
                <c:pt idx="665">
                  <c:v>All Others</c:v>
                </c:pt>
                <c:pt idx="666">
                  <c:v>All Others</c:v>
                </c:pt>
                <c:pt idx="667">
                  <c:v>All Others</c:v>
                </c:pt>
                <c:pt idx="668">
                  <c:v>All Others</c:v>
                </c:pt>
                <c:pt idx="669">
                  <c:v>All Others</c:v>
                </c:pt>
                <c:pt idx="670">
                  <c:v>All Others</c:v>
                </c:pt>
                <c:pt idx="671">
                  <c:v>All Others</c:v>
                </c:pt>
                <c:pt idx="672">
                  <c:v>All Others</c:v>
                </c:pt>
                <c:pt idx="673">
                  <c:v>All Others</c:v>
                </c:pt>
                <c:pt idx="674">
                  <c:v>All Others</c:v>
                </c:pt>
                <c:pt idx="675">
                  <c:v>All Others</c:v>
                </c:pt>
                <c:pt idx="676">
                  <c:v>All Others</c:v>
                </c:pt>
                <c:pt idx="677">
                  <c:v>All Others</c:v>
                </c:pt>
                <c:pt idx="678">
                  <c:v>All Others</c:v>
                </c:pt>
                <c:pt idx="679">
                  <c:v>O'Tapas Ape</c:v>
                </c:pt>
                <c:pt idx="680">
                  <c:v>All Others</c:v>
                </c:pt>
                <c:pt idx="681">
                  <c:v>All Others</c:v>
                </c:pt>
                <c:pt idx="682">
                  <c:v>All Others</c:v>
                </c:pt>
                <c:pt idx="683">
                  <c:v>All Others</c:v>
                </c:pt>
                <c:pt idx="684">
                  <c:v>All Others</c:v>
                </c:pt>
                <c:pt idx="685">
                  <c:v>All Others</c:v>
                </c:pt>
                <c:pt idx="686">
                  <c:v>All Others</c:v>
                </c:pt>
                <c:pt idx="687">
                  <c:v>All Others</c:v>
                </c:pt>
                <c:pt idx="688">
                  <c:v>All Others</c:v>
                </c:pt>
                <c:pt idx="689">
                  <c:v>All Others</c:v>
                </c:pt>
                <c:pt idx="690">
                  <c:v>Casa Azzurr</c:v>
                </c:pt>
                <c:pt idx="691">
                  <c:v>All Others</c:v>
                </c:pt>
                <c:pt idx="692">
                  <c:v>All Others</c:v>
                </c:pt>
                <c:pt idx="693">
                  <c:v>All Others</c:v>
                </c:pt>
                <c:pt idx="694">
                  <c:v>All Others</c:v>
                </c:pt>
                <c:pt idx="695">
                  <c:v>All Others</c:v>
                </c:pt>
                <c:pt idx="696">
                  <c:v>All Others</c:v>
                </c:pt>
                <c:pt idx="697">
                  <c:v>All Others</c:v>
                </c:pt>
                <c:pt idx="698">
                  <c:v>All Others</c:v>
                </c:pt>
                <c:pt idx="699">
                  <c:v>All Others</c:v>
                </c:pt>
                <c:pt idx="700">
                  <c:v>All Others</c:v>
                </c:pt>
                <c:pt idx="701">
                  <c:v>All Others</c:v>
                </c:pt>
                <c:pt idx="702">
                  <c:v>All Others</c:v>
                </c:pt>
                <c:pt idx="703">
                  <c:v>All Others</c:v>
                </c:pt>
                <c:pt idx="704">
                  <c:v>All Others</c:v>
                </c:pt>
                <c:pt idx="705">
                  <c:v>All Others</c:v>
                </c:pt>
                <c:pt idx="706">
                  <c:v>All Others</c:v>
                </c:pt>
                <c:pt idx="707">
                  <c:v>O'Tapas Ape</c:v>
                </c:pt>
                <c:pt idx="708">
                  <c:v>All Others</c:v>
                </c:pt>
                <c:pt idx="709">
                  <c:v>All Others</c:v>
                </c:pt>
                <c:pt idx="710">
                  <c:v>All Others</c:v>
                </c:pt>
                <c:pt idx="711">
                  <c:v>Lactalis: A</c:v>
                </c:pt>
                <c:pt idx="712">
                  <c:v>All Others</c:v>
                </c:pt>
                <c:pt idx="713">
                  <c:v>All Others</c:v>
                </c:pt>
                <c:pt idx="714">
                  <c:v>All Others</c:v>
                </c:pt>
                <c:pt idx="715">
                  <c:v>All Others</c:v>
                </c:pt>
                <c:pt idx="716">
                  <c:v>All Others</c:v>
                </c:pt>
                <c:pt idx="717">
                  <c:v>All Others</c:v>
                </c:pt>
                <c:pt idx="718">
                  <c:v>All Others</c:v>
                </c:pt>
                <c:pt idx="719">
                  <c:v>All Others</c:v>
                </c:pt>
                <c:pt idx="720">
                  <c:v>All Others</c:v>
                </c:pt>
                <c:pt idx="721">
                  <c:v>All Others</c:v>
                </c:pt>
                <c:pt idx="722">
                  <c:v>All Others</c:v>
                </c:pt>
                <c:pt idx="723">
                  <c:v>All Others</c:v>
                </c:pt>
                <c:pt idx="724">
                  <c:v>All Others</c:v>
                </c:pt>
                <c:pt idx="725">
                  <c:v>All Others</c:v>
                </c:pt>
                <c:pt idx="726">
                  <c:v>All Others</c:v>
                </c:pt>
                <c:pt idx="727">
                  <c:v>All Others</c:v>
                </c:pt>
                <c:pt idx="728">
                  <c:v>All Others</c:v>
                </c:pt>
                <c:pt idx="729">
                  <c:v>All Others</c:v>
                </c:pt>
                <c:pt idx="730">
                  <c:v>All Others</c:v>
                </c:pt>
                <c:pt idx="731">
                  <c:v>All Others</c:v>
                </c:pt>
                <c:pt idx="732">
                  <c:v>All Others</c:v>
                </c:pt>
                <c:pt idx="733">
                  <c:v>All Others</c:v>
                </c:pt>
                <c:pt idx="734">
                  <c:v>All Others</c:v>
                </c:pt>
                <c:pt idx="735">
                  <c:v>All Others</c:v>
                </c:pt>
                <c:pt idx="736">
                  <c:v>All Others</c:v>
                </c:pt>
                <c:pt idx="737">
                  <c:v>All Others</c:v>
                </c:pt>
                <c:pt idx="738">
                  <c:v>All Others</c:v>
                </c:pt>
                <c:pt idx="739">
                  <c:v>La Vache Qu</c:v>
                </c:pt>
                <c:pt idx="740">
                  <c:v>All Others</c:v>
                </c:pt>
                <c:pt idx="741">
                  <c:v>All Others</c:v>
                </c:pt>
                <c:pt idx="742">
                  <c:v>All Others</c:v>
                </c:pt>
                <c:pt idx="743">
                  <c:v>All Others</c:v>
                </c:pt>
                <c:pt idx="744">
                  <c:v>All Others</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All Others</c:v>
                </c:pt>
                <c:pt idx="756">
                  <c:v>Soignon</c:v>
                </c:pt>
                <c:pt idx="757">
                  <c:v>All Others</c:v>
                </c:pt>
                <c:pt idx="758">
                  <c:v>All Others</c:v>
                </c:pt>
                <c:pt idx="759">
                  <c:v>All Others</c:v>
                </c:pt>
                <c:pt idx="760">
                  <c:v>All Others</c:v>
                </c:pt>
                <c:pt idx="761">
                  <c:v>All Others</c:v>
                </c:pt>
                <c:pt idx="762">
                  <c:v>All Others</c:v>
                </c:pt>
                <c:pt idx="763">
                  <c:v>All Others</c:v>
                </c:pt>
                <c:pt idx="764">
                  <c:v>All Others</c:v>
                </c:pt>
                <c:pt idx="765">
                  <c:v>All Others</c:v>
                </c:pt>
                <c:pt idx="766">
                  <c:v>All Other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All Others</c:v>
                </c:pt>
                <c:pt idx="777">
                  <c:v>All Others</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Triballat N</c:v>
                </c:pt>
                <c:pt idx="788">
                  <c:v>All Others</c:v>
                </c:pt>
                <c:pt idx="789">
                  <c:v>All Others</c:v>
                </c:pt>
                <c:pt idx="790">
                  <c:v>All Others</c:v>
                </c:pt>
                <c:pt idx="791">
                  <c:v>All Others</c:v>
                </c:pt>
                <c:pt idx="792">
                  <c:v>All Others</c:v>
                </c:pt>
                <c:pt idx="793">
                  <c:v>All Others</c:v>
                </c:pt>
                <c:pt idx="794">
                  <c:v>All Others</c:v>
                </c:pt>
                <c:pt idx="795">
                  <c:v>All Others</c:v>
                </c:pt>
                <c:pt idx="796">
                  <c:v>All Others</c:v>
                </c:pt>
                <c:pt idx="797">
                  <c:v>Triballat R</c:v>
                </c:pt>
                <c:pt idx="798">
                  <c:v>Lactalis: A</c:v>
                </c:pt>
                <c:pt idx="799">
                  <c:v>Tartare</c:v>
                </c:pt>
                <c:pt idx="800">
                  <c:v>All Others</c:v>
                </c:pt>
                <c:pt idx="801">
                  <c:v>All Others</c:v>
                </c:pt>
                <c:pt idx="802">
                  <c:v>All Others</c:v>
                </c:pt>
                <c:pt idx="803">
                  <c:v>All Others</c:v>
                </c:pt>
                <c:pt idx="804">
                  <c:v>Lactalis: A</c:v>
                </c:pt>
                <c:pt idx="805">
                  <c:v>All Others</c:v>
                </c:pt>
                <c:pt idx="806">
                  <c:v>All Others</c:v>
                </c:pt>
                <c:pt idx="807">
                  <c:v>Eurial Autr</c:v>
                </c:pt>
                <c:pt idx="808">
                  <c:v>All Others</c:v>
                </c:pt>
                <c:pt idx="809">
                  <c:v>All Others</c:v>
                </c:pt>
                <c:pt idx="810">
                  <c:v>All Others</c:v>
                </c:pt>
                <c:pt idx="811">
                  <c:v>All Others</c:v>
                </c:pt>
                <c:pt idx="812">
                  <c:v>All Others</c:v>
                </c:pt>
                <c:pt idx="813">
                  <c:v>All Others</c:v>
                </c:pt>
                <c:pt idx="814">
                  <c:v>All Others</c:v>
                </c:pt>
                <c:pt idx="815">
                  <c:v>All Others</c:v>
                </c:pt>
                <c:pt idx="816">
                  <c:v>All Others</c:v>
                </c:pt>
                <c:pt idx="817">
                  <c:v>All Others</c:v>
                </c:pt>
                <c:pt idx="818">
                  <c:v>All Others</c:v>
                </c:pt>
                <c:pt idx="819">
                  <c:v>Eurial Autr</c:v>
                </c:pt>
                <c:pt idx="820">
                  <c:v>Eurial Autr</c:v>
                </c:pt>
                <c:pt idx="821">
                  <c:v>All Others</c:v>
                </c:pt>
                <c:pt idx="822">
                  <c:v>All Others</c:v>
                </c:pt>
                <c:pt idx="823">
                  <c:v>All Others</c:v>
                </c:pt>
                <c:pt idx="824">
                  <c:v>All Others</c:v>
                </c:pt>
                <c:pt idx="825">
                  <c:v>All Others</c:v>
                </c:pt>
                <c:pt idx="826">
                  <c:v>All Others</c:v>
                </c:pt>
                <c:pt idx="827">
                  <c:v>All Others</c:v>
                </c:pt>
                <c:pt idx="828">
                  <c:v>All Others</c:v>
                </c:pt>
                <c:pt idx="829">
                  <c:v>All Others</c:v>
                </c:pt>
                <c:pt idx="830">
                  <c:v>All Others</c:v>
                </c:pt>
                <c:pt idx="831">
                  <c:v>Kiri</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All Others</c:v>
                </c:pt>
                <c:pt idx="842">
                  <c:v>All Others</c:v>
                </c:pt>
                <c:pt idx="843">
                  <c:v>All Others</c:v>
                </c:pt>
                <c:pt idx="844">
                  <c:v>All Others</c:v>
                </c:pt>
                <c:pt idx="845">
                  <c:v>Savencia: A</c:v>
                </c:pt>
                <c:pt idx="846">
                  <c:v>All Others</c:v>
                </c:pt>
                <c:pt idx="847">
                  <c:v>President</c:v>
                </c:pt>
                <c:pt idx="848">
                  <c:v>All Others</c:v>
                </c:pt>
                <c:pt idx="849">
                  <c:v>All Others</c:v>
                </c:pt>
                <c:pt idx="850">
                  <c:v>All Others</c:v>
                </c:pt>
                <c:pt idx="851">
                  <c:v>All Others</c:v>
                </c:pt>
                <c:pt idx="852">
                  <c:v>Lou Perac</c:v>
                </c:pt>
                <c:pt idx="853">
                  <c:v>All Others</c:v>
                </c:pt>
                <c:pt idx="854">
                  <c:v>All Others</c:v>
                </c:pt>
                <c:pt idx="855">
                  <c:v>All Others</c:v>
                </c:pt>
                <c:pt idx="856">
                  <c:v>Violife</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All Others</c:v>
                </c:pt>
                <c:pt idx="868">
                  <c:v>All Others</c:v>
                </c:pt>
                <c:pt idx="869">
                  <c:v>Eurial Autr</c:v>
                </c:pt>
                <c:pt idx="870">
                  <c:v>All Others</c:v>
                </c:pt>
                <c:pt idx="871">
                  <c:v>All Others</c:v>
                </c:pt>
                <c:pt idx="872">
                  <c:v>Eurial Autr</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Petit Billy</c:v>
                </c:pt>
                <c:pt idx="887">
                  <c:v>All Others</c:v>
                </c:pt>
                <c:pt idx="888">
                  <c:v>Milleret: A</c:v>
                </c:pt>
                <c:pt idx="889">
                  <c:v>All Others</c:v>
                </c:pt>
                <c:pt idx="890">
                  <c:v>All Others</c:v>
                </c:pt>
                <c:pt idx="891">
                  <c:v>All Others</c:v>
                </c:pt>
                <c:pt idx="892">
                  <c:v>All Others</c:v>
                </c:pt>
                <c:pt idx="893">
                  <c:v>All Others</c:v>
                </c:pt>
                <c:pt idx="894">
                  <c:v>All Others</c:v>
                </c:pt>
                <c:pt idx="895">
                  <c:v>All Others</c:v>
                </c:pt>
                <c:pt idx="896">
                  <c:v>All Others</c:v>
                </c:pt>
                <c:pt idx="897">
                  <c:v>All Others</c:v>
                </c:pt>
                <c:pt idx="898">
                  <c:v>All Others</c:v>
                </c:pt>
                <c:pt idx="899">
                  <c:v>All Others</c:v>
                </c:pt>
                <c:pt idx="900">
                  <c:v>Triballat R</c:v>
                </c:pt>
                <c:pt idx="901">
                  <c:v>All Others</c:v>
                </c:pt>
                <c:pt idx="902">
                  <c:v>Eurial Autr</c:v>
                </c:pt>
                <c:pt idx="903">
                  <c:v>All Others</c:v>
                </c:pt>
                <c:pt idx="904">
                  <c:v>All Others</c:v>
                </c:pt>
                <c:pt idx="905">
                  <c:v>All Others</c:v>
                </c:pt>
                <c:pt idx="906">
                  <c:v>All Others</c:v>
                </c:pt>
                <c:pt idx="907">
                  <c:v>All Others</c:v>
                </c:pt>
                <c:pt idx="908">
                  <c:v>All Others</c:v>
                </c:pt>
                <c:pt idx="909">
                  <c:v>All Others</c:v>
                </c:pt>
                <c:pt idx="910">
                  <c:v>All Others</c:v>
                </c:pt>
                <c:pt idx="911">
                  <c:v>All Others</c:v>
                </c:pt>
                <c:pt idx="912">
                  <c:v>All Others</c:v>
                </c:pt>
                <c:pt idx="913">
                  <c:v>Etorki</c:v>
                </c:pt>
                <c:pt idx="914">
                  <c:v>All Others</c:v>
                </c:pt>
                <c:pt idx="915">
                  <c:v>Lactalis: A</c:v>
                </c:pt>
                <c:pt idx="916">
                  <c:v>Caprice Des</c:v>
                </c:pt>
                <c:pt idx="917">
                  <c:v>All Others</c:v>
                </c:pt>
                <c:pt idx="918">
                  <c:v>All Others</c:v>
                </c:pt>
                <c:pt idx="919">
                  <c:v>All Others</c:v>
                </c:pt>
                <c:pt idx="920">
                  <c:v>All Others</c:v>
                </c:pt>
                <c:pt idx="921">
                  <c:v>All Others</c:v>
                </c:pt>
                <c:pt idx="922">
                  <c:v>Corsica</c:v>
                </c:pt>
                <c:pt idx="923">
                  <c:v>All Others</c:v>
                </c:pt>
                <c:pt idx="924">
                  <c:v>All Others</c:v>
                </c:pt>
                <c:pt idx="925">
                  <c:v>All Others</c:v>
                </c:pt>
                <c:pt idx="926">
                  <c:v>All Others</c:v>
                </c:pt>
                <c:pt idx="927">
                  <c:v>Mini Babybe</c:v>
                </c:pt>
                <c:pt idx="928">
                  <c:v>All Others</c:v>
                </c:pt>
                <c:pt idx="929">
                  <c:v>All Others</c:v>
                </c:pt>
                <c:pt idx="930">
                  <c:v>All Others</c:v>
                </c:pt>
                <c:pt idx="931">
                  <c:v>All Others</c:v>
                </c:pt>
                <c:pt idx="932">
                  <c:v>Savencia: A</c:v>
                </c:pt>
                <c:pt idx="933">
                  <c:v>All Others</c:v>
                </c:pt>
                <c:pt idx="934">
                  <c:v>All Others</c:v>
                </c:pt>
                <c:pt idx="935">
                  <c:v>All Others</c:v>
                </c:pt>
                <c:pt idx="936">
                  <c:v>All Others</c:v>
                </c:pt>
                <c:pt idx="937">
                  <c:v>All Others</c:v>
                </c:pt>
                <c:pt idx="938">
                  <c:v>All Others</c:v>
                </c:pt>
                <c:pt idx="939">
                  <c:v>All Others</c:v>
                </c:pt>
                <c:pt idx="940">
                  <c:v>All Others</c:v>
                </c:pt>
                <c:pt idx="941">
                  <c:v>All Others</c:v>
                </c:pt>
                <c:pt idx="942">
                  <c:v>Savencia: A</c:v>
                </c:pt>
                <c:pt idx="943">
                  <c:v>All Others</c:v>
                </c:pt>
                <c:pt idx="944">
                  <c:v>All Others</c:v>
                </c:pt>
                <c:pt idx="945">
                  <c:v>All Others</c:v>
                </c:pt>
                <c:pt idx="946">
                  <c:v>Lactalis: A</c:v>
                </c:pt>
                <c:pt idx="947">
                  <c:v>All Others</c:v>
                </c:pt>
                <c:pt idx="948">
                  <c:v>All Others</c:v>
                </c:pt>
                <c:pt idx="949">
                  <c:v>All Others</c:v>
                </c:pt>
                <c:pt idx="950">
                  <c:v>All Others</c:v>
                </c:pt>
                <c:pt idx="951">
                  <c:v>All Others</c:v>
                </c:pt>
                <c:pt idx="952">
                  <c:v>All Others</c:v>
                </c:pt>
                <c:pt idx="953">
                  <c:v>All Others</c:v>
                </c:pt>
                <c:pt idx="954">
                  <c:v>All Others</c:v>
                </c:pt>
                <c:pt idx="955">
                  <c:v>Nurishh</c:v>
                </c:pt>
                <c:pt idx="956">
                  <c:v>All Others</c:v>
                </c:pt>
                <c:pt idx="957">
                  <c:v>All Others</c:v>
                </c:pt>
                <c:pt idx="958">
                  <c:v>Triballat R</c:v>
                </c:pt>
                <c:pt idx="959">
                  <c:v>All Others</c:v>
                </c:pt>
                <c:pt idx="960">
                  <c:v>All Others</c:v>
                </c:pt>
                <c:pt idx="961">
                  <c:v>All Others</c:v>
                </c:pt>
                <c:pt idx="962">
                  <c:v>All Others</c:v>
                </c:pt>
                <c:pt idx="963">
                  <c:v>All Others</c:v>
                </c:pt>
                <c:pt idx="964">
                  <c:v>All Others</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Soignon</c:v>
                </c:pt>
                <c:pt idx="983">
                  <c:v>Soignon</c:v>
                </c:pt>
                <c:pt idx="984">
                  <c:v>All Others</c:v>
                </c:pt>
                <c:pt idx="985">
                  <c:v>All Others</c:v>
                </c:pt>
                <c:pt idx="986">
                  <c:v>Mini Babybe</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Soignon</c:v>
                </c:pt>
                <c:pt idx="998">
                  <c:v>All Others</c:v>
                </c:pt>
                <c:pt idx="999">
                  <c:v>All Others</c:v>
                </c:pt>
                <c:pt idx="1000">
                  <c:v>All Others</c:v>
                </c:pt>
                <c:pt idx="1001">
                  <c:v>All Others</c:v>
                </c:pt>
                <c:pt idx="1002">
                  <c:v>All Others</c:v>
                </c:pt>
                <c:pt idx="1003">
                  <c:v>All Others</c:v>
                </c:pt>
                <c:pt idx="1004">
                  <c:v>Eurial Autr</c:v>
                </c:pt>
                <c:pt idx="1005">
                  <c:v>All Others</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All Others</c:v>
                </c:pt>
                <c:pt idx="1016">
                  <c:v>President</c:v>
                </c:pt>
                <c:pt idx="1017">
                  <c:v>All Others</c:v>
                </c:pt>
                <c:pt idx="1018">
                  <c:v>All Others</c:v>
                </c:pt>
                <c:pt idx="1019">
                  <c:v>All Others</c:v>
                </c:pt>
                <c:pt idx="1020">
                  <c:v>All Others</c:v>
                </c:pt>
                <c:pt idx="1021">
                  <c:v>All Others</c:v>
                </c:pt>
                <c:pt idx="1022">
                  <c:v>All Others</c:v>
                </c:pt>
                <c:pt idx="1023">
                  <c:v>All Others</c:v>
                </c:pt>
                <c:pt idx="1024">
                  <c:v>All Others</c:v>
                </c:pt>
                <c:pt idx="1025">
                  <c:v>All Others</c:v>
                </c:pt>
                <c:pt idx="1026">
                  <c:v>All Others</c:v>
                </c:pt>
                <c:pt idx="1027">
                  <c:v>All Others</c:v>
                </c:pt>
                <c:pt idx="1028">
                  <c:v>Eurial Autr</c:v>
                </c:pt>
                <c:pt idx="1029">
                  <c:v>All Others</c:v>
                </c:pt>
                <c:pt idx="1030">
                  <c:v>All Others</c:v>
                </c:pt>
                <c:pt idx="1031">
                  <c:v>All Others</c:v>
                </c:pt>
                <c:pt idx="1032">
                  <c:v>All Others</c:v>
                </c:pt>
                <c:pt idx="1033">
                  <c:v>All Others</c:v>
                </c:pt>
                <c:pt idx="1034">
                  <c:v>All Others</c:v>
                </c:pt>
                <c:pt idx="1035">
                  <c:v>All Others</c:v>
                </c:pt>
                <c:pt idx="1036">
                  <c:v>All Others</c:v>
                </c:pt>
                <c:pt idx="1037">
                  <c:v>Lactalis: A</c:v>
                </c:pt>
                <c:pt idx="1038">
                  <c:v>All Others</c:v>
                </c:pt>
                <c:pt idx="1039">
                  <c:v>Mini Babybe</c:v>
                </c:pt>
                <c:pt idx="1040">
                  <c:v>All Others</c:v>
                </c:pt>
                <c:pt idx="1041">
                  <c:v>All Others</c:v>
                </c:pt>
                <c:pt idx="1042">
                  <c:v>All Others</c:v>
                </c:pt>
                <c:pt idx="1043">
                  <c:v>All Others</c:v>
                </c:pt>
                <c:pt idx="1044">
                  <c:v>All Others</c:v>
                </c:pt>
                <c:pt idx="1045">
                  <c:v>Lactalis: A</c:v>
                </c:pt>
                <c:pt idx="1046">
                  <c:v>All Others</c:v>
                </c:pt>
                <c:pt idx="1047">
                  <c:v>All Others</c:v>
                </c:pt>
                <c:pt idx="1048">
                  <c:v>Salakis</c:v>
                </c:pt>
                <c:pt idx="1049">
                  <c:v>Societe</c:v>
                </c:pt>
                <c:pt idx="1050">
                  <c:v>All Others</c:v>
                </c:pt>
                <c:pt idx="1051">
                  <c:v>All Others</c:v>
                </c:pt>
                <c:pt idx="1052">
                  <c:v>All Others</c:v>
                </c:pt>
                <c:pt idx="1053">
                  <c:v>All Others</c:v>
                </c:pt>
                <c:pt idx="1054">
                  <c:v>All Others</c:v>
                </c:pt>
                <c:pt idx="1055">
                  <c:v>All Others</c:v>
                </c:pt>
                <c:pt idx="1056">
                  <c:v>All Others</c:v>
                </c:pt>
                <c:pt idx="1057">
                  <c:v>All Others</c:v>
                </c:pt>
                <c:pt idx="1058">
                  <c:v>All Others</c:v>
                </c:pt>
                <c:pt idx="1059">
                  <c:v>All Others</c:v>
                </c:pt>
                <c:pt idx="1060">
                  <c:v>All Others</c:v>
                </c:pt>
                <c:pt idx="1061">
                  <c:v>All Others</c:v>
                </c:pt>
                <c:pt idx="1062">
                  <c:v>Leerdammer</c:v>
                </c:pt>
                <c:pt idx="1063">
                  <c:v>All Others</c:v>
                </c:pt>
                <c:pt idx="1064">
                  <c:v>All Others</c:v>
                </c:pt>
                <c:pt idx="1065">
                  <c:v>All Others</c:v>
                </c:pt>
                <c:pt idx="1066">
                  <c:v>All Others</c:v>
                </c:pt>
                <c:pt idx="1067">
                  <c:v>All Others</c:v>
                </c:pt>
                <c:pt idx="1068">
                  <c:v>All Others</c:v>
                </c:pt>
                <c:pt idx="1069">
                  <c:v>All Others</c:v>
                </c:pt>
                <c:pt idx="1070">
                  <c:v>All Others</c:v>
                </c:pt>
                <c:pt idx="1071">
                  <c:v>All Others</c:v>
                </c:pt>
                <c:pt idx="1072">
                  <c:v>All Others</c:v>
                </c:pt>
                <c:pt idx="1073">
                  <c:v>All Others</c:v>
                </c:pt>
                <c:pt idx="1074">
                  <c:v>Eurial Autr</c:v>
                </c:pt>
                <c:pt idx="1075">
                  <c:v>All Others</c:v>
                </c:pt>
                <c:pt idx="1076">
                  <c:v>All Others</c:v>
                </c:pt>
                <c:pt idx="1077">
                  <c:v>All Others</c:v>
                </c:pt>
                <c:pt idx="1078">
                  <c:v>All Others</c:v>
                </c:pt>
                <c:pt idx="1079">
                  <c:v>All Others</c:v>
                </c:pt>
                <c:pt idx="1080">
                  <c:v>All Others</c:v>
                </c:pt>
                <c:pt idx="1081">
                  <c:v>All Others</c:v>
                </c:pt>
                <c:pt idx="1082">
                  <c:v>All Others</c:v>
                </c:pt>
                <c:pt idx="1083">
                  <c:v>All Others</c:v>
                </c:pt>
                <c:pt idx="1084">
                  <c:v>All Others</c:v>
                </c:pt>
                <c:pt idx="1085">
                  <c:v>All Others</c:v>
                </c:pt>
                <c:pt idx="1086">
                  <c:v>Le Brebiou</c:v>
                </c:pt>
                <c:pt idx="1087">
                  <c:v>All Others</c:v>
                </c:pt>
                <c:pt idx="1088">
                  <c:v>All Others</c:v>
                </c:pt>
                <c:pt idx="1089">
                  <c:v>All Others</c:v>
                </c:pt>
                <c:pt idx="1090">
                  <c:v>All Others</c:v>
                </c:pt>
                <c:pt idx="1091">
                  <c:v>All Others</c:v>
                </c:pt>
                <c:pt idx="1092">
                  <c:v>All Others</c:v>
                </c:pt>
                <c:pt idx="1093">
                  <c:v>All Others</c:v>
                </c:pt>
                <c:pt idx="1094">
                  <c:v>All Others</c:v>
                </c:pt>
                <c:pt idx="1095">
                  <c:v>Petit Billy</c:v>
                </c:pt>
                <c:pt idx="1096">
                  <c:v>All Others</c:v>
                </c:pt>
                <c:pt idx="1097">
                  <c:v>All Others</c:v>
                </c:pt>
                <c:pt idx="1098">
                  <c:v>Lactalis: A</c:v>
                </c:pt>
                <c:pt idx="1099">
                  <c:v>All Others</c:v>
                </c:pt>
                <c:pt idx="1100">
                  <c:v>All Others</c:v>
                </c:pt>
                <c:pt idx="1101">
                  <c:v>All Others</c:v>
                </c:pt>
                <c:pt idx="1102">
                  <c:v>Limiano</c:v>
                </c:pt>
                <c:pt idx="1103">
                  <c:v>All Others</c:v>
                </c:pt>
                <c:pt idx="1104">
                  <c:v>Petit Billy</c:v>
                </c:pt>
                <c:pt idx="1105">
                  <c:v>Mini Babybe</c:v>
                </c:pt>
                <c:pt idx="1106">
                  <c:v>All Others</c:v>
                </c:pt>
                <c:pt idx="1107">
                  <c:v>Boursin</c:v>
                </c:pt>
                <c:pt idx="1108">
                  <c:v>Savencia: A</c:v>
                </c:pt>
                <c:pt idx="1109">
                  <c:v>All Others</c:v>
                </c:pt>
                <c:pt idx="1110">
                  <c:v>All Others</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All Others</c:v>
                </c:pt>
                <c:pt idx="1121">
                  <c:v>All Others</c:v>
                </c:pt>
                <c:pt idx="1122">
                  <c:v>All Others</c:v>
                </c:pt>
                <c:pt idx="1123">
                  <c:v>President</c:v>
                </c:pt>
                <c:pt idx="1124">
                  <c:v>All Others</c:v>
                </c:pt>
                <c:pt idx="1125">
                  <c:v>All Others</c:v>
                </c:pt>
                <c:pt idx="1126">
                  <c:v>All Others</c:v>
                </c:pt>
                <c:pt idx="1127">
                  <c:v>All Others</c:v>
                </c:pt>
                <c:pt idx="1128">
                  <c:v>All Others</c:v>
                </c:pt>
                <c:pt idx="1129">
                  <c:v>All Others</c:v>
                </c:pt>
                <c:pt idx="1130">
                  <c:v>All Others</c:v>
                </c:pt>
                <c:pt idx="1131">
                  <c:v>All Others</c:v>
                </c:pt>
                <c:pt idx="1132">
                  <c:v>All Others</c:v>
                </c:pt>
                <c:pt idx="1133">
                  <c:v>All Others</c:v>
                </c:pt>
                <c:pt idx="1134">
                  <c:v>All Others</c:v>
                </c:pt>
                <c:pt idx="1135">
                  <c:v>All Others</c:v>
                </c:pt>
                <c:pt idx="1136">
                  <c:v>All Others</c:v>
                </c:pt>
                <c:pt idx="1137">
                  <c:v>Boursin</c:v>
                </c:pt>
                <c:pt idx="1138">
                  <c:v>All Others</c:v>
                </c:pt>
                <c:pt idx="1139">
                  <c:v>All Others</c:v>
                </c:pt>
                <c:pt idx="1140">
                  <c:v>All Others</c:v>
                </c:pt>
                <c:pt idx="1141">
                  <c:v>All Others</c:v>
                </c:pt>
                <c:pt idx="1142">
                  <c:v>All Others</c:v>
                </c:pt>
                <c:pt idx="1143">
                  <c:v>Boursin</c:v>
                </c:pt>
              </c:strCache>
            </c:strRef>
          </c:cat>
          <c:val>
            <c:numRef>
              <c:f>Sheet1!$B$2:$B$1145</c:f>
              <c:numCache>
                <c:formatCode>General</c:formatCode>
                <c:ptCount val="1144"/>
                <c:pt idx="0">
                  <c:v>0.90700000000000003</c:v>
                </c:pt>
                <c:pt idx="1">
                  <c:v>0.94799999999999995</c:v>
                </c:pt>
                <c:pt idx="2">
                  <c:v>0.98799999999999999</c:v>
                </c:pt>
                <c:pt idx="3">
                  <c:v>0.95599999999999996</c:v>
                </c:pt>
                <c:pt idx="4">
                  <c:v>0.98599999999999999</c:v>
                </c:pt>
                <c:pt idx="5">
                  <c:v>0.98299999999999998</c:v>
                </c:pt>
                <c:pt idx="6">
                  <c:v>0.93899999999999995</c:v>
                </c:pt>
                <c:pt idx="7">
                  <c:v>0.98399999999999999</c:v>
                </c:pt>
                <c:pt idx="8">
                  <c:v>0.97099999999999997</c:v>
                </c:pt>
                <c:pt idx="9">
                  <c:v>0.98899999999999999</c:v>
                </c:pt>
                <c:pt idx="10">
                  <c:v>0.86199999999999999</c:v>
                </c:pt>
                <c:pt idx="11">
                  <c:v>0.86399999999999999</c:v>
                </c:pt>
                <c:pt idx="12">
                  <c:v>0.98599999999999999</c:v>
                </c:pt>
                <c:pt idx="13">
                  <c:v>0.90900000000000003</c:v>
                </c:pt>
                <c:pt idx="14">
                  <c:v>0.80400000000000005</c:v>
                </c:pt>
                <c:pt idx="15">
                  <c:v>0.83599999999999997</c:v>
                </c:pt>
                <c:pt idx="16">
                  <c:v>0.97799999999999998</c:v>
                </c:pt>
                <c:pt idx="17">
                  <c:v>0.76200000000000001</c:v>
                </c:pt>
                <c:pt idx="18">
                  <c:v>0.84499999999999997</c:v>
                </c:pt>
                <c:pt idx="19">
                  <c:v>0.97299999999999998</c:v>
                </c:pt>
                <c:pt idx="20">
                  <c:v>0.89700000000000002</c:v>
                </c:pt>
                <c:pt idx="21">
                  <c:v>0.91500000000000004</c:v>
                </c:pt>
                <c:pt idx="22">
                  <c:v>0.82399999999999995</c:v>
                </c:pt>
                <c:pt idx="23">
                  <c:v>0.95399999999999996</c:v>
                </c:pt>
                <c:pt idx="24">
                  <c:v>0.82899999999999996</c:v>
                </c:pt>
                <c:pt idx="25">
                  <c:v>0.91500000000000004</c:v>
                </c:pt>
                <c:pt idx="26">
                  <c:v>0.82899999999999996</c:v>
                </c:pt>
                <c:pt idx="27">
                  <c:v>0.98899999999999999</c:v>
                </c:pt>
                <c:pt idx="28">
                  <c:v>0.88500000000000001</c:v>
                </c:pt>
                <c:pt idx="29">
                  <c:v>0.94699999999999995</c:v>
                </c:pt>
                <c:pt idx="30">
                  <c:v>0.80500000000000005</c:v>
                </c:pt>
                <c:pt idx="31">
                  <c:v>0.84299999999999997</c:v>
                </c:pt>
                <c:pt idx="32">
                  <c:v>0.86399999999999999</c:v>
                </c:pt>
                <c:pt idx="33">
                  <c:v>0.69099999999999995</c:v>
                </c:pt>
                <c:pt idx="34">
                  <c:v>0.91500000000000004</c:v>
                </c:pt>
                <c:pt idx="35">
                  <c:v>0.871</c:v>
                </c:pt>
                <c:pt idx="36">
                  <c:v>0.81699999999999995</c:v>
                </c:pt>
                <c:pt idx="37">
                  <c:v>0.73899999999999999</c:v>
                </c:pt>
                <c:pt idx="38">
                  <c:v>0.77800000000000002</c:v>
                </c:pt>
                <c:pt idx="39">
                  <c:v>0.80900000000000005</c:v>
                </c:pt>
                <c:pt idx="40">
                  <c:v>0.97699999999999998</c:v>
                </c:pt>
                <c:pt idx="41">
                  <c:v>0.95499999999999996</c:v>
                </c:pt>
                <c:pt idx="42">
                  <c:v>0.75700000000000001</c:v>
                </c:pt>
                <c:pt idx="43">
                  <c:v>0.85199999999999998</c:v>
                </c:pt>
                <c:pt idx="44">
                  <c:v>0.82099999999999995</c:v>
                </c:pt>
                <c:pt idx="45">
                  <c:v>0.94499999999999995</c:v>
                </c:pt>
                <c:pt idx="46">
                  <c:v>0.438</c:v>
                </c:pt>
                <c:pt idx="47">
                  <c:v>0.83299999999999996</c:v>
                </c:pt>
                <c:pt idx="48">
                  <c:v>0.96799999999999997</c:v>
                </c:pt>
                <c:pt idx="49">
                  <c:v>0.78200000000000003</c:v>
                </c:pt>
                <c:pt idx="50">
                  <c:v>0.82399999999999995</c:v>
                </c:pt>
                <c:pt idx="51">
                  <c:v>0.77400000000000002</c:v>
                </c:pt>
                <c:pt idx="52">
                  <c:v>0.89600000000000002</c:v>
                </c:pt>
                <c:pt idx="53">
                  <c:v>0.90300000000000002</c:v>
                </c:pt>
                <c:pt idx="54">
                  <c:v>0.82</c:v>
                </c:pt>
                <c:pt idx="55">
                  <c:v>0.90200000000000002</c:v>
                </c:pt>
                <c:pt idx="56">
                  <c:v>0.78500000000000003</c:v>
                </c:pt>
                <c:pt idx="57">
                  <c:v>0.81</c:v>
                </c:pt>
                <c:pt idx="58">
                  <c:v>0.90700000000000003</c:v>
                </c:pt>
                <c:pt idx="59">
                  <c:v>0.96099999999999997</c:v>
                </c:pt>
                <c:pt idx="60">
                  <c:v>0.73299999999999998</c:v>
                </c:pt>
                <c:pt idx="61">
                  <c:v>0.80500000000000005</c:v>
                </c:pt>
                <c:pt idx="62">
                  <c:v>0.77400000000000002</c:v>
                </c:pt>
                <c:pt idx="63">
                  <c:v>0.89900000000000002</c:v>
                </c:pt>
                <c:pt idx="64">
                  <c:v>0.78300000000000003</c:v>
                </c:pt>
                <c:pt idx="65">
                  <c:v>0.71799999999999997</c:v>
                </c:pt>
                <c:pt idx="66">
                  <c:v>0.93400000000000005</c:v>
                </c:pt>
                <c:pt idx="67">
                  <c:v>0.68500000000000005</c:v>
                </c:pt>
                <c:pt idx="68">
                  <c:v>0.82499999999999996</c:v>
                </c:pt>
                <c:pt idx="69">
                  <c:v>0.878</c:v>
                </c:pt>
                <c:pt idx="70">
                  <c:v>0.747</c:v>
                </c:pt>
                <c:pt idx="71">
                  <c:v>0.76300000000000001</c:v>
                </c:pt>
                <c:pt idx="72">
                  <c:v>0.96099999999999997</c:v>
                </c:pt>
                <c:pt idx="73">
                  <c:v>0.86399999999999999</c:v>
                </c:pt>
                <c:pt idx="74">
                  <c:v>0.71699999999999997</c:v>
                </c:pt>
                <c:pt idx="75">
                  <c:v>0.89700000000000002</c:v>
                </c:pt>
                <c:pt idx="76">
                  <c:v>0.77700000000000002</c:v>
                </c:pt>
                <c:pt idx="77">
                  <c:v>0.91700000000000004</c:v>
                </c:pt>
                <c:pt idx="78">
                  <c:v>0.88100000000000001</c:v>
                </c:pt>
                <c:pt idx="79">
                  <c:v>0.88600000000000001</c:v>
                </c:pt>
                <c:pt idx="80">
                  <c:v>0.90500000000000003</c:v>
                </c:pt>
                <c:pt idx="81">
                  <c:v>0.82</c:v>
                </c:pt>
                <c:pt idx="82">
                  <c:v>0.93100000000000005</c:v>
                </c:pt>
                <c:pt idx="83">
                  <c:v>0.68700000000000006</c:v>
                </c:pt>
                <c:pt idx="84">
                  <c:v>0.60699999999999998</c:v>
                </c:pt>
                <c:pt idx="85">
                  <c:v>0.82399999999999995</c:v>
                </c:pt>
                <c:pt idx="86">
                  <c:v>0.754</c:v>
                </c:pt>
                <c:pt idx="87">
                  <c:v>0.80100000000000005</c:v>
                </c:pt>
                <c:pt idx="88">
                  <c:v>0.93700000000000006</c:v>
                </c:pt>
                <c:pt idx="89">
                  <c:v>0.61</c:v>
                </c:pt>
                <c:pt idx="90">
                  <c:v>0.83799999999999997</c:v>
                </c:pt>
                <c:pt idx="91">
                  <c:v>0.90600000000000003</c:v>
                </c:pt>
                <c:pt idx="92">
                  <c:v>0.46300000000000002</c:v>
                </c:pt>
                <c:pt idx="93">
                  <c:v>0.90400000000000003</c:v>
                </c:pt>
                <c:pt idx="94">
                  <c:v>0.83099999999999996</c:v>
                </c:pt>
                <c:pt idx="95">
                  <c:v>0.82399999999999995</c:v>
                </c:pt>
                <c:pt idx="96">
                  <c:v>0.94399999999999995</c:v>
                </c:pt>
                <c:pt idx="97">
                  <c:v>0.80100000000000005</c:v>
                </c:pt>
                <c:pt idx="98">
                  <c:v>0.73799999999999999</c:v>
                </c:pt>
                <c:pt idx="99">
                  <c:v>0.73599999999999999</c:v>
                </c:pt>
                <c:pt idx="100">
                  <c:v>0.621</c:v>
                </c:pt>
                <c:pt idx="101">
                  <c:v>0.80400000000000005</c:v>
                </c:pt>
                <c:pt idx="102">
                  <c:v>0.72</c:v>
                </c:pt>
                <c:pt idx="103">
                  <c:v>0.71199999999999997</c:v>
                </c:pt>
                <c:pt idx="104">
                  <c:v>0.82699999999999996</c:v>
                </c:pt>
                <c:pt idx="105">
                  <c:v>0.80500000000000005</c:v>
                </c:pt>
                <c:pt idx="106">
                  <c:v>0.63900000000000001</c:v>
                </c:pt>
                <c:pt idx="107">
                  <c:v>0.65300000000000002</c:v>
                </c:pt>
                <c:pt idx="108">
                  <c:v>0.54200000000000004</c:v>
                </c:pt>
                <c:pt idx="109">
                  <c:v>0.83499999999999996</c:v>
                </c:pt>
                <c:pt idx="110">
                  <c:v>0.80100000000000005</c:v>
                </c:pt>
                <c:pt idx="111">
                  <c:v>0.755</c:v>
                </c:pt>
                <c:pt idx="112">
                  <c:v>0.86399999999999999</c:v>
                </c:pt>
                <c:pt idx="113">
                  <c:v>0.621</c:v>
                </c:pt>
                <c:pt idx="114">
                  <c:v>0.90500000000000003</c:v>
                </c:pt>
                <c:pt idx="115">
                  <c:v>0.58899999999999997</c:v>
                </c:pt>
                <c:pt idx="116">
                  <c:v>0.67200000000000004</c:v>
                </c:pt>
                <c:pt idx="117">
                  <c:v>0.76</c:v>
                </c:pt>
                <c:pt idx="118">
                  <c:v>0.72799999999999998</c:v>
                </c:pt>
                <c:pt idx="119">
                  <c:v>0.71499999999999997</c:v>
                </c:pt>
                <c:pt idx="120">
                  <c:v>0.64</c:v>
                </c:pt>
                <c:pt idx="121">
                  <c:v>0.67800000000000005</c:v>
                </c:pt>
                <c:pt idx="122">
                  <c:v>0.68400000000000005</c:v>
                </c:pt>
                <c:pt idx="123">
                  <c:v>0.73699999999999999</c:v>
                </c:pt>
                <c:pt idx="124">
                  <c:v>0.65900000000000003</c:v>
                </c:pt>
                <c:pt idx="125">
                  <c:v>0.749</c:v>
                </c:pt>
                <c:pt idx="126">
                  <c:v>0.78100000000000003</c:v>
                </c:pt>
                <c:pt idx="127">
                  <c:v>0.73</c:v>
                </c:pt>
                <c:pt idx="128">
                  <c:v>0.79600000000000004</c:v>
                </c:pt>
                <c:pt idx="129">
                  <c:v>0.752</c:v>
                </c:pt>
                <c:pt idx="130">
                  <c:v>0.36099999999999999</c:v>
                </c:pt>
                <c:pt idx="131">
                  <c:v>0.74299999999999999</c:v>
                </c:pt>
                <c:pt idx="132">
                  <c:v>0.76100000000000001</c:v>
                </c:pt>
                <c:pt idx="133">
                  <c:v>0.70599999999999996</c:v>
                </c:pt>
                <c:pt idx="134">
                  <c:v>0.66800000000000004</c:v>
                </c:pt>
                <c:pt idx="135">
                  <c:v>0.749</c:v>
                </c:pt>
                <c:pt idx="136">
                  <c:v>0.60199999999999998</c:v>
                </c:pt>
                <c:pt idx="137">
                  <c:v>0.80100000000000005</c:v>
                </c:pt>
                <c:pt idx="138">
                  <c:v>0.80500000000000005</c:v>
                </c:pt>
                <c:pt idx="139">
                  <c:v>0.623</c:v>
                </c:pt>
                <c:pt idx="140">
                  <c:v>0.69299999999999995</c:v>
                </c:pt>
                <c:pt idx="141">
                  <c:v>0.60199999999999998</c:v>
                </c:pt>
                <c:pt idx="142">
                  <c:v>0.45300000000000001</c:v>
                </c:pt>
                <c:pt idx="143">
                  <c:v>0.71899999999999997</c:v>
                </c:pt>
                <c:pt idx="144">
                  <c:v>0.76200000000000001</c:v>
                </c:pt>
                <c:pt idx="145">
                  <c:v>0.51</c:v>
                </c:pt>
                <c:pt idx="146">
                  <c:v>0.76</c:v>
                </c:pt>
                <c:pt idx="147">
                  <c:v>0.60399999999999998</c:v>
                </c:pt>
                <c:pt idx="148">
                  <c:v>0.80500000000000005</c:v>
                </c:pt>
                <c:pt idx="149">
                  <c:v>0.66200000000000003</c:v>
                </c:pt>
                <c:pt idx="150">
                  <c:v>0.70399999999999996</c:v>
                </c:pt>
                <c:pt idx="151">
                  <c:v>0.52700000000000002</c:v>
                </c:pt>
                <c:pt idx="152">
                  <c:v>0.28999999999999998</c:v>
                </c:pt>
                <c:pt idx="153">
                  <c:v>0.64700000000000002</c:v>
                </c:pt>
                <c:pt idx="154">
                  <c:v>0.71499999999999997</c:v>
                </c:pt>
                <c:pt idx="155">
                  <c:v>0.47199999999999998</c:v>
                </c:pt>
                <c:pt idx="156">
                  <c:v>0.69299999999999995</c:v>
                </c:pt>
                <c:pt idx="157">
                  <c:v>0.69499999999999995</c:v>
                </c:pt>
                <c:pt idx="158">
                  <c:v>0.746</c:v>
                </c:pt>
                <c:pt idx="159">
                  <c:v>0.72199999999999998</c:v>
                </c:pt>
                <c:pt idx="160">
                  <c:v>0.58499999999999996</c:v>
                </c:pt>
                <c:pt idx="161">
                  <c:v>0.65900000000000003</c:v>
                </c:pt>
                <c:pt idx="162">
                  <c:v>0.64700000000000002</c:v>
                </c:pt>
                <c:pt idx="163">
                  <c:v>0.53800000000000003</c:v>
                </c:pt>
                <c:pt idx="164">
                  <c:v>0.69599999999999995</c:v>
                </c:pt>
                <c:pt idx="165">
                  <c:v>0.75</c:v>
                </c:pt>
                <c:pt idx="166">
                  <c:v>0.621</c:v>
                </c:pt>
                <c:pt idx="167">
                  <c:v>0.755</c:v>
                </c:pt>
                <c:pt idx="168">
                  <c:v>0.78400000000000003</c:v>
                </c:pt>
                <c:pt idx="169">
                  <c:v>0.69099999999999995</c:v>
                </c:pt>
                <c:pt idx="170">
                  <c:v>0.45500000000000002</c:v>
                </c:pt>
                <c:pt idx="171">
                  <c:v>0.442</c:v>
                </c:pt>
                <c:pt idx="172">
                  <c:v>0.73599999999999999</c:v>
                </c:pt>
                <c:pt idx="173">
                  <c:v>0.41099999999999998</c:v>
                </c:pt>
                <c:pt idx="174">
                  <c:v>0.54700000000000004</c:v>
                </c:pt>
                <c:pt idx="175">
                  <c:v>0.72199999999999998</c:v>
                </c:pt>
                <c:pt idx="176">
                  <c:v>0.59199999999999997</c:v>
                </c:pt>
                <c:pt idx="177">
                  <c:v>0.41399999999999998</c:v>
                </c:pt>
                <c:pt idx="178">
                  <c:v>0.56000000000000005</c:v>
                </c:pt>
                <c:pt idx="179">
                  <c:v>0.47199999999999998</c:v>
                </c:pt>
                <c:pt idx="180">
                  <c:v>0.38</c:v>
                </c:pt>
                <c:pt idx="181">
                  <c:v>0.40600000000000003</c:v>
                </c:pt>
                <c:pt idx="182">
                  <c:v>0.67700000000000005</c:v>
                </c:pt>
                <c:pt idx="183">
                  <c:v>0.67500000000000004</c:v>
                </c:pt>
                <c:pt idx="184">
                  <c:v>0.77400000000000002</c:v>
                </c:pt>
                <c:pt idx="185">
                  <c:v>2E-3</c:v>
                </c:pt>
                <c:pt idx="186">
                  <c:v>0.79300000000000004</c:v>
                </c:pt>
                <c:pt idx="187">
                  <c:v>0.42599999999999999</c:v>
                </c:pt>
                <c:pt idx="188">
                  <c:v>0.52500000000000002</c:v>
                </c:pt>
                <c:pt idx="189">
                  <c:v>0.55200000000000005</c:v>
                </c:pt>
                <c:pt idx="190">
                  <c:v>0.53300000000000003</c:v>
                </c:pt>
                <c:pt idx="191">
                  <c:v>0.76300000000000001</c:v>
                </c:pt>
                <c:pt idx="192">
                  <c:v>0.57499999999999996</c:v>
                </c:pt>
                <c:pt idx="193">
                  <c:v>0.47199999999999998</c:v>
                </c:pt>
                <c:pt idx="194">
                  <c:v>0.61799999999999999</c:v>
                </c:pt>
                <c:pt idx="195">
                  <c:v>0.69299999999999995</c:v>
                </c:pt>
                <c:pt idx="196">
                  <c:v>0.42399999999999999</c:v>
                </c:pt>
                <c:pt idx="197">
                  <c:v>0.63100000000000001</c:v>
                </c:pt>
                <c:pt idx="198">
                  <c:v>0.32700000000000001</c:v>
                </c:pt>
                <c:pt idx="199">
                  <c:v>0.52100000000000002</c:v>
                </c:pt>
                <c:pt idx="200">
                  <c:v>0.57999999999999996</c:v>
                </c:pt>
                <c:pt idx="201">
                  <c:v>0.59399999999999997</c:v>
                </c:pt>
                <c:pt idx="202">
                  <c:v>0.76600000000000001</c:v>
                </c:pt>
                <c:pt idx="203">
                  <c:v>0.42899999999999999</c:v>
                </c:pt>
                <c:pt idx="204">
                  <c:v>0.40600000000000003</c:v>
                </c:pt>
                <c:pt idx="205">
                  <c:v>0.78600000000000003</c:v>
                </c:pt>
                <c:pt idx="206">
                  <c:v>0.75</c:v>
                </c:pt>
                <c:pt idx="207">
                  <c:v>0.438</c:v>
                </c:pt>
                <c:pt idx="208">
                  <c:v>0.65800000000000003</c:v>
                </c:pt>
                <c:pt idx="209">
                  <c:v>0.74</c:v>
                </c:pt>
                <c:pt idx="210">
                  <c:v>0.40400000000000003</c:v>
                </c:pt>
                <c:pt idx="211">
                  <c:v>0.66</c:v>
                </c:pt>
                <c:pt idx="212">
                  <c:v>0.42399999999999999</c:v>
                </c:pt>
                <c:pt idx="213">
                  <c:v>0.63600000000000001</c:v>
                </c:pt>
                <c:pt idx="214">
                  <c:v>0.45700000000000002</c:v>
                </c:pt>
                <c:pt idx="215">
                  <c:v>9.4E-2</c:v>
                </c:pt>
                <c:pt idx="216">
                  <c:v>0.32</c:v>
                </c:pt>
                <c:pt idx="217">
                  <c:v>0.49399999999999999</c:v>
                </c:pt>
                <c:pt idx="218">
                  <c:v>0.59099999999999997</c:v>
                </c:pt>
                <c:pt idx="219">
                  <c:v>0.41499999999999998</c:v>
                </c:pt>
                <c:pt idx="220">
                  <c:v>0.60799999999999998</c:v>
                </c:pt>
                <c:pt idx="221">
                  <c:v>0.38400000000000001</c:v>
                </c:pt>
                <c:pt idx="222">
                  <c:v>0.46800000000000003</c:v>
                </c:pt>
                <c:pt idx="223">
                  <c:v>0.28199999999999997</c:v>
                </c:pt>
                <c:pt idx="224">
                  <c:v>0.71899999999999997</c:v>
                </c:pt>
                <c:pt idx="225">
                  <c:v>0.623</c:v>
                </c:pt>
                <c:pt idx="226">
                  <c:v>0.64100000000000001</c:v>
                </c:pt>
                <c:pt idx="227">
                  <c:v>0.67200000000000004</c:v>
                </c:pt>
                <c:pt idx="228">
                  <c:v>0.35199999999999998</c:v>
                </c:pt>
                <c:pt idx="229">
                  <c:v>0.61199999999999999</c:v>
                </c:pt>
                <c:pt idx="230">
                  <c:v>0.48399999999999999</c:v>
                </c:pt>
                <c:pt idx="231">
                  <c:v>0.61799999999999999</c:v>
                </c:pt>
                <c:pt idx="232">
                  <c:v>0.61</c:v>
                </c:pt>
                <c:pt idx="233">
                  <c:v>0.64900000000000002</c:v>
                </c:pt>
                <c:pt idx="234">
                  <c:v>0.66600000000000004</c:v>
                </c:pt>
                <c:pt idx="235">
                  <c:v>0.29099999999999998</c:v>
                </c:pt>
                <c:pt idx="236">
                  <c:v>0.66800000000000004</c:v>
                </c:pt>
                <c:pt idx="237">
                  <c:v>0.44700000000000001</c:v>
                </c:pt>
                <c:pt idx="238">
                  <c:v>0.16700000000000001</c:v>
                </c:pt>
                <c:pt idx="239">
                  <c:v>0.54200000000000004</c:v>
                </c:pt>
                <c:pt idx="240">
                  <c:v>0.59599999999999997</c:v>
                </c:pt>
                <c:pt idx="241">
                  <c:v>0.42199999999999999</c:v>
                </c:pt>
                <c:pt idx="242">
                  <c:v>0.38</c:v>
                </c:pt>
                <c:pt idx="243">
                  <c:v>0.57799999999999996</c:v>
                </c:pt>
                <c:pt idx="244">
                  <c:v>0.58899999999999997</c:v>
                </c:pt>
                <c:pt idx="245">
                  <c:v>0.59099999999999997</c:v>
                </c:pt>
                <c:pt idx="246">
                  <c:v>0.53100000000000003</c:v>
                </c:pt>
                <c:pt idx="247">
                  <c:v>0.58499999999999996</c:v>
                </c:pt>
                <c:pt idx="248">
                  <c:v>0.76700000000000002</c:v>
                </c:pt>
                <c:pt idx="249">
                  <c:v>0.55000000000000004</c:v>
                </c:pt>
                <c:pt idx="250">
                  <c:v>0.59899999999999998</c:v>
                </c:pt>
                <c:pt idx="251">
                  <c:v>0.68</c:v>
                </c:pt>
                <c:pt idx="252">
                  <c:v>0.34200000000000003</c:v>
                </c:pt>
                <c:pt idx="253">
                  <c:v>0.29299999999999998</c:v>
                </c:pt>
                <c:pt idx="254">
                  <c:v>0.42</c:v>
                </c:pt>
                <c:pt idx="255">
                  <c:v>0.313</c:v>
                </c:pt>
                <c:pt idx="256">
                  <c:v>0.66300000000000003</c:v>
                </c:pt>
                <c:pt idx="257">
                  <c:v>0.57199999999999995</c:v>
                </c:pt>
                <c:pt idx="258">
                  <c:v>0.42699999999999999</c:v>
                </c:pt>
                <c:pt idx="259">
                  <c:v>0.39700000000000002</c:v>
                </c:pt>
                <c:pt idx="260">
                  <c:v>0.39400000000000002</c:v>
                </c:pt>
                <c:pt idx="261">
                  <c:v>0.29199999999999998</c:v>
                </c:pt>
                <c:pt idx="262">
                  <c:v>0.52200000000000002</c:v>
                </c:pt>
                <c:pt idx="263">
                  <c:v>0.61499999999999999</c:v>
                </c:pt>
                <c:pt idx="264">
                  <c:v>0.69399999999999995</c:v>
                </c:pt>
                <c:pt idx="265">
                  <c:v>0.30199999999999999</c:v>
                </c:pt>
                <c:pt idx="266">
                  <c:v>0.58699999999999997</c:v>
                </c:pt>
                <c:pt idx="267">
                  <c:v>0.69399999999999995</c:v>
                </c:pt>
                <c:pt idx="268">
                  <c:v>0.26900000000000002</c:v>
                </c:pt>
                <c:pt idx="269">
                  <c:v>0.52900000000000003</c:v>
                </c:pt>
                <c:pt idx="270">
                  <c:v>0.71199999999999997</c:v>
                </c:pt>
                <c:pt idx="271">
                  <c:v>0.44400000000000001</c:v>
                </c:pt>
                <c:pt idx="272">
                  <c:v>0.48199999999999998</c:v>
                </c:pt>
                <c:pt idx="273">
                  <c:v>0.34699999999999998</c:v>
                </c:pt>
                <c:pt idx="274">
                  <c:v>0.502</c:v>
                </c:pt>
                <c:pt idx="275">
                  <c:v>0.42899999999999999</c:v>
                </c:pt>
                <c:pt idx="276">
                  <c:v>0.53400000000000003</c:v>
                </c:pt>
                <c:pt idx="277">
                  <c:v>0.45300000000000001</c:v>
                </c:pt>
                <c:pt idx="278">
                  <c:v>0.379</c:v>
                </c:pt>
                <c:pt idx="279">
                  <c:v>0.29199999999999998</c:v>
                </c:pt>
                <c:pt idx="280">
                  <c:v>0.54700000000000004</c:v>
                </c:pt>
                <c:pt idx="281">
                  <c:v>0.24299999999999999</c:v>
                </c:pt>
                <c:pt idx="282">
                  <c:v>0.41099999999999998</c:v>
                </c:pt>
                <c:pt idx="283">
                  <c:v>0.38400000000000001</c:v>
                </c:pt>
                <c:pt idx="284">
                  <c:v>0.41099999999999998</c:v>
                </c:pt>
                <c:pt idx="285">
                  <c:v>0.57999999999999996</c:v>
                </c:pt>
                <c:pt idx="286">
                  <c:v>0.52900000000000003</c:v>
                </c:pt>
                <c:pt idx="287">
                  <c:v>0.107</c:v>
                </c:pt>
                <c:pt idx="288">
                  <c:v>0.45900000000000002</c:v>
                </c:pt>
                <c:pt idx="289">
                  <c:v>0.51900000000000002</c:v>
                </c:pt>
                <c:pt idx="290">
                  <c:v>0.28899999999999998</c:v>
                </c:pt>
                <c:pt idx="291">
                  <c:v>0.42</c:v>
                </c:pt>
                <c:pt idx="292">
                  <c:v>0.42899999999999999</c:v>
                </c:pt>
                <c:pt idx="293">
                  <c:v>0.38700000000000001</c:v>
                </c:pt>
                <c:pt idx="294">
                  <c:v>0.42399999999999999</c:v>
                </c:pt>
                <c:pt idx="295">
                  <c:v>0.48499999999999999</c:v>
                </c:pt>
                <c:pt idx="296">
                  <c:v>0.57399999999999995</c:v>
                </c:pt>
                <c:pt idx="297">
                  <c:v>0.313</c:v>
                </c:pt>
                <c:pt idx="298">
                  <c:v>0.42</c:v>
                </c:pt>
                <c:pt idx="299">
                  <c:v>0.57299999999999995</c:v>
                </c:pt>
                <c:pt idx="300">
                  <c:v>0.39200000000000002</c:v>
                </c:pt>
                <c:pt idx="301">
                  <c:v>0.49099999999999999</c:v>
                </c:pt>
                <c:pt idx="302">
                  <c:v>0.48899999999999999</c:v>
                </c:pt>
                <c:pt idx="303">
                  <c:v>0.36599999999999999</c:v>
                </c:pt>
                <c:pt idx="304">
                  <c:v>0.44800000000000001</c:v>
                </c:pt>
                <c:pt idx="305">
                  <c:v>0.21199999999999999</c:v>
                </c:pt>
                <c:pt idx="306">
                  <c:v>0.499</c:v>
                </c:pt>
                <c:pt idx="307">
                  <c:v>0.434</c:v>
                </c:pt>
                <c:pt idx="308">
                  <c:v>0.379</c:v>
                </c:pt>
                <c:pt idx="309">
                  <c:v>9.8000000000000004E-2</c:v>
                </c:pt>
                <c:pt idx="310">
                  <c:v>7.4999999999999997E-2</c:v>
                </c:pt>
                <c:pt idx="311">
                  <c:v>0.51500000000000001</c:v>
                </c:pt>
                <c:pt idx="312">
                  <c:v>3.4000000000000002E-2</c:v>
                </c:pt>
                <c:pt idx="313">
                  <c:v>0.40100000000000002</c:v>
                </c:pt>
                <c:pt idx="314">
                  <c:v>0.54300000000000004</c:v>
                </c:pt>
                <c:pt idx="315">
                  <c:v>8.9999999999999993E-3</c:v>
                </c:pt>
                <c:pt idx="316">
                  <c:v>0.25900000000000001</c:v>
                </c:pt>
                <c:pt idx="317">
                  <c:v>0.26300000000000001</c:v>
                </c:pt>
                <c:pt idx="318">
                  <c:v>0.317</c:v>
                </c:pt>
                <c:pt idx="319">
                  <c:v>0.37</c:v>
                </c:pt>
                <c:pt idx="320">
                  <c:v>0.217</c:v>
                </c:pt>
                <c:pt idx="321">
                  <c:v>0.44800000000000001</c:v>
                </c:pt>
                <c:pt idx="322">
                  <c:v>0.104</c:v>
                </c:pt>
                <c:pt idx="323">
                  <c:v>0.39700000000000002</c:v>
                </c:pt>
                <c:pt idx="324">
                  <c:v>0.24099999999999999</c:v>
                </c:pt>
                <c:pt idx="325">
                  <c:v>0.27100000000000002</c:v>
                </c:pt>
                <c:pt idx="326">
                  <c:v>0.11</c:v>
                </c:pt>
                <c:pt idx="327">
                  <c:v>0.441</c:v>
                </c:pt>
                <c:pt idx="328">
                  <c:v>5.6000000000000001E-2</c:v>
                </c:pt>
                <c:pt idx="329">
                  <c:v>0.57699999999999996</c:v>
                </c:pt>
                <c:pt idx="330">
                  <c:v>0.112</c:v>
                </c:pt>
                <c:pt idx="331">
                  <c:v>0.32900000000000001</c:v>
                </c:pt>
                <c:pt idx="332">
                  <c:v>0.45200000000000001</c:v>
                </c:pt>
                <c:pt idx="333">
                  <c:v>0.53800000000000003</c:v>
                </c:pt>
                <c:pt idx="334">
                  <c:v>0.47199999999999998</c:v>
                </c:pt>
                <c:pt idx="335">
                  <c:v>0.35</c:v>
                </c:pt>
                <c:pt idx="336">
                  <c:v>0.40699999999999997</c:v>
                </c:pt>
                <c:pt idx="337">
                  <c:v>0.55000000000000004</c:v>
                </c:pt>
                <c:pt idx="338">
                  <c:v>0.1</c:v>
                </c:pt>
                <c:pt idx="339">
                  <c:v>0.49099999999999999</c:v>
                </c:pt>
                <c:pt idx="340">
                  <c:v>0.32500000000000001</c:v>
                </c:pt>
                <c:pt idx="341">
                  <c:v>0.26700000000000002</c:v>
                </c:pt>
                <c:pt idx="342">
                  <c:v>0.11</c:v>
                </c:pt>
                <c:pt idx="343">
                  <c:v>0.41799999999999998</c:v>
                </c:pt>
                <c:pt idx="344">
                  <c:v>0.107</c:v>
                </c:pt>
                <c:pt idx="345">
                  <c:v>0.27700000000000002</c:v>
                </c:pt>
                <c:pt idx="346">
                  <c:v>4.5999999999999999E-2</c:v>
                </c:pt>
                <c:pt idx="347">
                  <c:v>0.21099999999999999</c:v>
                </c:pt>
                <c:pt idx="348">
                  <c:v>0.19800000000000001</c:v>
                </c:pt>
                <c:pt idx="349">
                  <c:v>0.17799999999999999</c:v>
                </c:pt>
                <c:pt idx="350">
                  <c:v>9.9000000000000005E-2</c:v>
                </c:pt>
                <c:pt idx="351">
                  <c:v>0.33300000000000002</c:v>
                </c:pt>
                <c:pt idx="352">
                  <c:v>3.7999999999999999E-2</c:v>
                </c:pt>
                <c:pt idx="353">
                  <c:v>0.58099999999999996</c:v>
                </c:pt>
                <c:pt idx="354">
                  <c:v>0.191</c:v>
                </c:pt>
                <c:pt idx="355">
                  <c:v>0.42899999999999999</c:v>
                </c:pt>
                <c:pt idx="356">
                  <c:v>4.7E-2</c:v>
                </c:pt>
                <c:pt idx="357">
                  <c:v>0.23400000000000001</c:v>
                </c:pt>
                <c:pt idx="358">
                  <c:v>0.434</c:v>
                </c:pt>
                <c:pt idx="359">
                  <c:v>0.33800000000000002</c:v>
                </c:pt>
                <c:pt idx="360">
                  <c:v>0.34899999999999998</c:v>
                </c:pt>
                <c:pt idx="361">
                  <c:v>0.28000000000000003</c:v>
                </c:pt>
                <c:pt idx="362">
                  <c:v>0.14499999999999999</c:v>
                </c:pt>
                <c:pt idx="363">
                  <c:v>9.6000000000000002E-2</c:v>
                </c:pt>
                <c:pt idx="364">
                  <c:v>0.45200000000000001</c:v>
                </c:pt>
                <c:pt idx="365">
                  <c:v>0.372</c:v>
                </c:pt>
                <c:pt idx="366">
                  <c:v>0.41399999999999998</c:v>
                </c:pt>
                <c:pt idx="367">
                  <c:v>0.51300000000000001</c:v>
                </c:pt>
                <c:pt idx="368">
                  <c:v>0.20300000000000001</c:v>
                </c:pt>
                <c:pt idx="369">
                  <c:v>0.23599999999999999</c:v>
                </c:pt>
                <c:pt idx="370">
                  <c:v>0.47099999999999997</c:v>
                </c:pt>
                <c:pt idx="371">
                  <c:v>9.5000000000000001E-2</c:v>
                </c:pt>
                <c:pt idx="372">
                  <c:v>3.2000000000000001E-2</c:v>
                </c:pt>
                <c:pt idx="373">
                  <c:v>0.34799999999999998</c:v>
                </c:pt>
                <c:pt idx="374">
                  <c:v>0.48299999999999998</c:v>
                </c:pt>
                <c:pt idx="375">
                  <c:v>7.8E-2</c:v>
                </c:pt>
                <c:pt idx="376">
                  <c:v>0.20799999999999999</c:v>
                </c:pt>
                <c:pt idx="377">
                  <c:v>0.38500000000000001</c:v>
                </c:pt>
                <c:pt idx="378">
                  <c:v>0.21199999999999999</c:v>
                </c:pt>
                <c:pt idx="379">
                  <c:v>0.14899999999999999</c:v>
                </c:pt>
                <c:pt idx="380">
                  <c:v>0.39600000000000002</c:v>
                </c:pt>
                <c:pt idx="381">
                  <c:v>2.5000000000000001E-2</c:v>
                </c:pt>
                <c:pt idx="382">
                  <c:v>0.21299999999999999</c:v>
                </c:pt>
                <c:pt idx="383">
                  <c:v>0.21299999999999999</c:v>
                </c:pt>
                <c:pt idx="384">
                  <c:v>0.153</c:v>
                </c:pt>
                <c:pt idx="385">
                  <c:v>0.46700000000000003</c:v>
                </c:pt>
                <c:pt idx="386">
                  <c:v>0.42699999999999999</c:v>
                </c:pt>
                <c:pt idx="387">
                  <c:v>0.316</c:v>
                </c:pt>
                <c:pt idx="388">
                  <c:v>8.6999999999999994E-2</c:v>
                </c:pt>
                <c:pt idx="389">
                  <c:v>0.19800000000000001</c:v>
                </c:pt>
                <c:pt idx="390">
                  <c:v>0.16700000000000001</c:v>
                </c:pt>
                <c:pt idx="391">
                  <c:v>0.32500000000000001</c:v>
                </c:pt>
                <c:pt idx="392">
                  <c:v>8.2000000000000003E-2</c:v>
                </c:pt>
                <c:pt idx="393">
                  <c:v>0.23899999999999999</c:v>
                </c:pt>
                <c:pt idx="394">
                  <c:v>0.26600000000000001</c:v>
                </c:pt>
                <c:pt idx="395">
                  <c:v>4.1000000000000002E-2</c:v>
                </c:pt>
                <c:pt idx="396">
                  <c:v>0.224</c:v>
                </c:pt>
                <c:pt idx="397">
                  <c:v>8.0000000000000002E-3</c:v>
                </c:pt>
                <c:pt idx="398">
                  <c:v>0.14599999999999999</c:v>
                </c:pt>
                <c:pt idx="399">
                  <c:v>0.19900000000000001</c:v>
                </c:pt>
                <c:pt idx="400">
                  <c:v>0.14499999999999999</c:v>
                </c:pt>
                <c:pt idx="401">
                  <c:v>0.115</c:v>
                </c:pt>
                <c:pt idx="402">
                  <c:v>0.29699999999999999</c:v>
                </c:pt>
                <c:pt idx="403">
                  <c:v>0.45</c:v>
                </c:pt>
                <c:pt idx="404">
                  <c:v>0.10199999999999999</c:v>
                </c:pt>
                <c:pt idx="405">
                  <c:v>0.23</c:v>
                </c:pt>
                <c:pt idx="406">
                  <c:v>0.222</c:v>
                </c:pt>
                <c:pt idx="407">
                  <c:v>9.8000000000000004E-2</c:v>
                </c:pt>
                <c:pt idx="408">
                  <c:v>0.33600000000000002</c:v>
                </c:pt>
                <c:pt idx="409">
                  <c:v>0.20200000000000001</c:v>
                </c:pt>
                <c:pt idx="410">
                  <c:v>0.316</c:v>
                </c:pt>
                <c:pt idx="411">
                  <c:v>0.159</c:v>
                </c:pt>
                <c:pt idx="412">
                  <c:v>0.02</c:v>
                </c:pt>
                <c:pt idx="413">
                  <c:v>0.42399999999999999</c:v>
                </c:pt>
                <c:pt idx="414">
                  <c:v>0.17</c:v>
                </c:pt>
                <c:pt idx="415">
                  <c:v>4.0000000000000001E-3</c:v>
                </c:pt>
                <c:pt idx="416">
                  <c:v>9.5000000000000001E-2</c:v>
                </c:pt>
                <c:pt idx="417">
                  <c:v>0.48299999999999998</c:v>
                </c:pt>
                <c:pt idx="418">
                  <c:v>3.2000000000000001E-2</c:v>
                </c:pt>
                <c:pt idx="419">
                  <c:v>0.20799999999999999</c:v>
                </c:pt>
                <c:pt idx="420">
                  <c:v>1.7999999999999999E-2</c:v>
                </c:pt>
                <c:pt idx="421">
                  <c:v>0.38400000000000001</c:v>
                </c:pt>
                <c:pt idx="422">
                  <c:v>5.0000000000000001E-3</c:v>
                </c:pt>
                <c:pt idx="423">
                  <c:v>0.35099999999999998</c:v>
                </c:pt>
                <c:pt idx="424">
                  <c:v>0.65700000000000003</c:v>
                </c:pt>
                <c:pt idx="425">
                  <c:v>0.29799999999999999</c:v>
                </c:pt>
                <c:pt idx="426">
                  <c:v>0.161</c:v>
                </c:pt>
                <c:pt idx="427">
                  <c:v>0.16400000000000001</c:v>
                </c:pt>
                <c:pt idx="428">
                  <c:v>8.0000000000000002E-3</c:v>
                </c:pt>
                <c:pt idx="429">
                  <c:v>6.8000000000000005E-2</c:v>
                </c:pt>
                <c:pt idx="430">
                  <c:v>0.214</c:v>
                </c:pt>
                <c:pt idx="431">
                  <c:v>0.36599999999999999</c:v>
                </c:pt>
                <c:pt idx="432">
                  <c:v>0.40600000000000003</c:v>
                </c:pt>
                <c:pt idx="433">
                  <c:v>0.24099999999999999</c:v>
                </c:pt>
                <c:pt idx="434">
                  <c:v>0.20200000000000001</c:v>
                </c:pt>
                <c:pt idx="435">
                  <c:v>0.17199999999999999</c:v>
                </c:pt>
                <c:pt idx="436">
                  <c:v>0.39100000000000001</c:v>
                </c:pt>
                <c:pt idx="437">
                  <c:v>4.0000000000000001E-3</c:v>
                </c:pt>
                <c:pt idx="438">
                  <c:v>6.8000000000000005E-2</c:v>
                </c:pt>
                <c:pt idx="439">
                  <c:v>0.17499999999999999</c:v>
                </c:pt>
                <c:pt idx="440">
                  <c:v>0.44</c:v>
                </c:pt>
                <c:pt idx="441">
                  <c:v>8.0000000000000002E-3</c:v>
                </c:pt>
                <c:pt idx="442">
                  <c:v>0.379</c:v>
                </c:pt>
                <c:pt idx="443">
                  <c:v>0.15</c:v>
                </c:pt>
                <c:pt idx="444">
                  <c:v>0.372</c:v>
                </c:pt>
                <c:pt idx="445">
                  <c:v>4.4999999999999998E-2</c:v>
                </c:pt>
                <c:pt idx="446">
                  <c:v>0.3</c:v>
                </c:pt>
                <c:pt idx="447">
                  <c:v>0.307</c:v>
                </c:pt>
                <c:pt idx="448">
                  <c:v>4.0000000000000001E-3</c:v>
                </c:pt>
                <c:pt idx="449">
                  <c:v>0.32500000000000001</c:v>
                </c:pt>
                <c:pt idx="450">
                  <c:v>8.4000000000000005E-2</c:v>
                </c:pt>
                <c:pt idx="451">
                  <c:v>8.7999999999999995E-2</c:v>
                </c:pt>
                <c:pt idx="452">
                  <c:v>0.13200000000000001</c:v>
                </c:pt>
                <c:pt idx="453">
                  <c:v>0.14499999999999999</c:v>
                </c:pt>
                <c:pt idx="454">
                  <c:v>5.6000000000000001E-2</c:v>
                </c:pt>
                <c:pt idx="455">
                  <c:v>0.34200000000000003</c:v>
                </c:pt>
                <c:pt idx="456">
                  <c:v>0.16700000000000001</c:v>
                </c:pt>
                <c:pt idx="457">
                  <c:v>8.0000000000000002E-3</c:v>
                </c:pt>
                <c:pt idx="458">
                  <c:v>8.9999999999999993E-3</c:v>
                </c:pt>
                <c:pt idx="459">
                  <c:v>1.2999999999999999E-2</c:v>
                </c:pt>
                <c:pt idx="460">
                  <c:v>0.157</c:v>
                </c:pt>
                <c:pt idx="461">
                  <c:v>0.39400000000000002</c:v>
                </c:pt>
                <c:pt idx="462">
                  <c:v>0.28499999999999998</c:v>
                </c:pt>
                <c:pt idx="463">
                  <c:v>3.0000000000000001E-3</c:v>
                </c:pt>
                <c:pt idx="464">
                  <c:v>0.22500000000000001</c:v>
                </c:pt>
                <c:pt idx="465">
                  <c:v>0.35699999999999998</c:v>
                </c:pt>
                <c:pt idx="466">
                  <c:v>0.129</c:v>
                </c:pt>
                <c:pt idx="467">
                  <c:v>9.0999999999999998E-2</c:v>
                </c:pt>
                <c:pt idx="468">
                  <c:v>0.161</c:v>
                </c:pt>
                <c:pt idx="469">
                  <c:v>0.217</c:v>
                </c:pt>
                <c:pt idx="470">
                  <c:v>3.1E-2</c:v>
                </c:pt>
                <c:pt idx="471">
                  <c:v>7.3999999999999996E-2</c:v>
                </c:pt>
                <c:pt idx="472">
                  <c:v>0.14899999999999999</c:v>
                </c:pt>
                <c:pt idx="473">
                  <c:v>4.2999999999999997E-2</c:v>
                </c:pt>
                <c:pt idx="474">
                  <c:v>0.16300000000000001</c:v>
                </c:pt>
                <c:pt idx="475">
                  <c:v>7.2999999999999995E-2</c:v>
                </c:pt>
                <c:pt idx="476">
                  <c:v>0.17399999999999999</c:v>
                </c:pt>
                <c:pt idx="477">
                  <c:v>8.0000000000000002E-3</c:v>
                </c:pt>
                <c:pt idx="478">
                  <c:v>0.14000000000000001</c:v>
                </c:pt>
                <c:pt idx="479">
                  <c:v>5.0000000000000001E-3</c:v>
                </c:pt>
                <c:pt idx="480">
                  <c:v>0.436</c:v>
                </c:pt>
                <c:pt idx="481">
                  <c:v>0.21199999999999999</c:v>
                </c:pt>
                <c:pt idx="482">
                  <c:v>7.0000000000000001E-3</c:v>
                </c:pt>
                <c:pt idx="483">
                  <c:v>1.0999999999999999E-2</c:v>
                </c:pt>
                <c:pt idx="484">
                  <c:v>1.7000000000000001E-2</c:v>
                </c:pt>
                <c:pt idx="485">
                  <c:v>0.32200000000000001</c:v>
                </c:pt>
                <c:pt idx="486">
                  <c:v>7.1999999999999995E-2</c:v>
                </c:pt>
                <c:pt idx="487">
                  <c:v>0.39200000000000002</c:v>
                </c:pt>
                <c:pt idx="488">
                  <c:v>0.126</c:v>
                </c:pt>
                <c:pt idx="489">
                  <c:v>8.0000000000000002E-3</c:v>
                </c:pt>
                <c:pt idx="490">
                  <c:v>0.151</c:v>
                </c:pt>
                <c:pt idx="491">
                  <c:v>8.1000000000000003E-2</c:v>
                </c:pt>
                <c:pt idx="492">
                  <c:v>8.0000000000000002E-3</c:v>
                </c:pt>
                <c:pt idx="493">
                  <c:v>4.9000000000000002E-2</c:v>
                </c:pt>
                <c:pt idx="494">
                  <c:v>0.14899999999999999</c:v>
                </c:pt>
                <c:pt idx="495">
                  <c:v>0.311</c:v>
                </c:pt>
                <c:pt idx="496">
                  <c:v>0.11</c:v>
                </c:pt>
                <c:pt idx="497">
                  <c:v>8.0000000000000002E-3</c:v>
                </c:pt>
                <c:pt idx="498">
                  <c:v>0.112</c:v>
                </c:pt>
                <c:pt idx="499">
                  <c:v>0.35099999999999998</c:v>
                </c:pt>
                <c:pt idx="500">
                  <c:v>0.32700000000000001</c:v>
                </c:pt>
                <c:pt idx="501">
                  <c:v>0.309</c:v>
                </c:pt>
                <c:pt idx="502">
                  <c:v>0.154</c:v>
                </c:pt>
                <c:pt idx="503">
                  <c:v>0.29099999999999998</c:v>
                </c:pt>
                <c:pt idx="504">
                  <c:v>6.0999999999999999E-2</c:v>
                </c:pt>
                <c:pt idx="505">
                  <c:v>7.6999999999999999E-2</c:v>
                </c:pt>
                <c:pt idx="506">
                  <c:v>4.0000000000000001E-3</c:v>
                </c:pt>
                <c:pt idx="507">
                  <c:v>2.9000000000000001E-2</c:v>
                </c:pt>
                <c:pt idx="508">
                  <c:v>0.32600000000000001</c:v>
                </c:pt>
                <c:pt idx="509">
                  <c:v>5.3999999999999999E-2</c:v>
                </c:pt>
                <c:pt idx="510">
                  <c:v>3.9E-2</c:v>
                </c:pt>
                <c:pt idx="511">
                  <c:v>7.6999999999999999E-2</c:v>
                </c:pt>
                <c:pt idx="512">
                  <c:v>3.5000000000000003E-2</c:v>
                </c:pt>
                <c:pt idx="513">
                  <c:v>0.03</c:v>
                </c:pt>
                <c:pt idx="514">
                  <c:v>0.13</c:v>
                </c:pt>
                <c:pt idx="515">
                  <c:v>5.7000000000000002E-2</c:v>
                </c:pt>
                <c:pt idx="516">
                  <c:v>3.5000000000000003E-2</c:v>
                </c:pt>
                <c:pt idx="517">
                  <c:v>0.34</c:v>
                </c:pt>
                <c:pt idx="518">
                  <c:v>6.8000000000000005E-2</c:v>
                </c:pt>
                <c:pt idx="519">
                  <c:v>8.2000000000000003E-2</c:v>
                </c:pt>
                <c:pt idx="520">
                  <c:v>0.30199999999999999</c:v>
                </c:pt>
                <c:pt idx="521">
                  <c:v>5.8999999999999997E-2</c:v>
                </c:pt>
                <c:pt idx="522">
                  <c:v>4.1000000000000002E-2</c:v>
                </c:pt>
                <c:pt idx="523">
                  <c:v>6.3E-2</c:v>
                </c:pt>
                <c:pt idx="524">
                  <c:v>2.4E-2</c:v>
                </c:pt>
                <c:pt idx="525">
                  <c:v>4.8000000000000001E-2</c:v>
                </c:pt>
                <c:pt idx="526">
                  <c:v>2.5999999999999999E-2</c:v>
                </c:pt>
                <c:pt idx="527">
                  <c:v>1.6E-2</c:v>
                </c:pt>
                <c:pt idx="528">
                  <c:v>0.06</c:v>
                </c:pt>
                <c:pt idx="529">
                  <c:v>0.16200000000000001</c:v>
                </c:pt>
                <c:pt idx="530">
                  <c:v>5.2999999999999999E-2</c:v>
                </c:pt>
                <c:pt idx="531">
                  <c:v>0.16600000000000001</c:v>
                </c:pt>
                <c:pt idx="532">
                  <c:v>0.26</c:v>
                </c:pt>
                <c:pt idx="533">
                  <c:v>2.8000000000000001E-2</c:v>
                </c:pt>
                <c:pt idx="534">
                  <c:v>0.30199999999999999</c:v>
                </c:pt>
                <c:pt idx="535">
                  <c:v>0.157</c:v>
                </c:pt>
                <c:pt idx="536">
                  <c:v>5.0000000000000001E-3</c:v>
                </c:pt>
                <c:pt idx="537">
                  <c:v>1.6E-2</c:v>
                </c:pt>
                <c:pt idx="538">
                  <c:v>0.32500000000000001</c:v>
                </c:pt>
                <c:pt idx="539">
                  <c:v>8.0000000000000002E-3</c:v>
                </c:pt>
                <c:pt idx="540">
                  <c:v>2.5999999999999999E-2</c:v>
                </c:pt>
                <c:pt idx="541">
                  <c:v>4.8000000000000001E-2</c:v>
                </c:pt>
                <c:pt idx="542">
                  <c:v>7.1999999999999995E-2</c:v>
                </c:pt>
                <c:pt idx="543">
                  <c:v>1.7999999999999999E-2</c:v>
                </c:pt>
                <c:pt idx="544">
                  <c:v>0.27400000000000002</c:v>
                </c:pt>
                <c:pt idx="545">
                  <c:v>5.0000000000000001E-3</c:v>
                </c:pt>
                <c:pt idx="546">
                  <c:v>4.3999999999999997E-2</c:v>
                </c:pt>
                <c:pt idx="547">
                  <c:v>2.5000000000000001E-2</c:v>
                </c:pt>
                <c:pt idx="548">
                  <c:v>0.124</c:v>
                </c:pt>
                <c:pt idx="549">
                  <c:v>1.0999999999999999E-2</c:v>
                </c:pt>
                <c:pt idx="550">
                  <c:v>8.0000000000000002E-3</c:v>
                </c:pt>
                <c:pt idx="551">
                  <c:v>4.1000000000000002E-2</c:v>
                </c:pt>
                <c:pt idx="552">
                  <c:v>0.28599999999999998</c:v>
                </c:pt>
                <c:pt idx="553">
                  <c:v>0.13900000000000001</c:v>
                </c:pt>
                <c:pt idx="554">
                  <c:v>3.9E-2</c:v>
                </c:pt>
                <c:pt idx="555">
                  <c:v>4.2000000000000003E-2</c:v>
                </c:pt>
                <c:pt idx="556">
                  <c:v>8.0000000000000002E-3</c:v>
                </c:pt>
                <c:pt idx="557">
                  <c:v>3.2000000000000001E-2</c:v>
                </c:pt>
                <c:pt idx="558">
                  <c:v>0.11700000000000001</c:v>
                </c:pt>
                <c:pt idx="559">
                  <c:v>0.11</c:v>
                </c:pt>
                <c:pt idx="560">
                  <c:v>3.9E-2</c:v>
                </c:pt>
                <c:pt idx="561">
                  <c:v>4.4999999999999998E-2</c:v>
                </c:pt>
                <c:pt idx="562">
                  <c:v>4.8000000000000001E-2</c:v>
                </c:pt>
                <c:pt idx="563">
                  <c:v>0.153</c:v>
                </c:pt>
                <c:pt idx="564">
                  <c:v>8.0000000000000002E-3</c:v>
                </c:pt>
                <c:pt idx="565">
                  <c:v>1.0999999999999999E-2</c:v>
                </c:pt>
                <c:pt idx="566">
                  <c:v>4.3999999999999997E-2</c:v>
                </c:pt>
                <c:pt idx="567">
                  <c:v>0.35</c:v>
                </c:pt>
                <c:pt idx="568">
                  <c:v>8.0000000000000002E-3</c:v>
                </c:pt>
                <c:pt idx="569">
                  <c:v>7.6999999999999999E-2</c:v>
                </c:pt>
                <c:pt idx="570">
                  <c:v>0.03</c:v>
                </c:pt>
                <c:pt idx="571">
                  <c:v>0.31900000000000001</c:v>
                </c:pt>
                <c:pt idx="572">
                  <c:v>0.14199999999999999</c:v>
                </c:pt>
                <c:pt idx="573">
                  <c:v>4.1000000000000002E-2</c:v>
                </c:pt>
                <c:pt idx="574">
                  <c:v>0.27700000000000002</c:v>
                </c:pt>
                <c:pt idx="575">
                  <c:v>9.5000000000000001E-2</c:v>
                </c:pt>
                <c:pt idx="576">
                  <c:v>3.0000000000000001E-3</c:v>
                </c:pt>
                <c:pt idx="577">
                  <c:v>0.29499999999999998</c:v>
                </c:pt>
                <c:pt idx="578">
                  <c:v>3.0000000000000001E-3</c:v>
                </c:pt>
                <c:pt idx="579">
                  <c:v>0.315</c:v>
                </c:pt>
                <c:pt idx="580">
                  <c:v>7.1999999999999995E-2</c:v>
                </c:pt>
                <c:pt idx="581">
                  <c:v>4.3999999999999997E-2</c:v>
                </c:pt>
                <c:pt idx="582">
                  <c:v>5.8000000000000003E-2</c:v>
                </c:pt>
                <c:pt idx="583">
                  <c:v>0.02</c:v>
                </c:pt>
                <c:pt idx="584">
                  <c:v>1.2999999999999999E-2</c:v>
                </c:pt>
                <c:pt idx="585">
                  <c:v>0.02</c:v>
                </c:pt>
                <c:pt idx="586">
                  <c:v>0.24</c:v>
                </c:pt>
                <c:pt idx="587">
                  <c:v>0.221</c:v>
                </c:pt>
                <c:pt idx="588">
                  <c:v>2.1999999999999999E-2</c:v>
                </c:pt>
                <c:pt idx="589">
                  <c:v>8.5999999999999993E-2</c:v>
                </c:pt>
                <c:pt idx="590">
                  <c:v>3.0000000000000001E-3</c:v>
                </c:pt>
                <c:pt idx="591">
                  <c:v>5.0000000000000001E-3</c:v>
                </c:pt>
                <c:pt idx="592">
                  <c:v>0.23499999999999999</c:v>
                </c:pt>
                <c:pt idx="593">
                  <c:v>0.26500000000000001</c:v>
                </c:pt>
                <c:pt idx="594">
                  <c:v>5.6000000000000001E-2</c:v>
                </c:pt>
                <c:pt idx="595">
                  <c:v>2E-3</c:v>
                </c:pt>
                <c:pt idx="596">
                  <c:v>7.3999999999999996E-2</c:v>
                </c:pt>
                <c:pt idx="597">
                  <c:v>6.3E-2</c:v>
                </c:pt>
                <c:pt idx="598">
                  <c:v>2.7E-2</c:v>
                </c:pt>
                <c:pt idx="599">
                  <c:v>8.0000000000000002E-3</c:v>
                </c:pt>
                <c:pt idx="600">
                  <c:v>2.8000000000000001E-2</c:v>
                </c:pt>
                <c:pt idx="601">
                  <c:v>7.1999999999999995E-2</c:v>
                </c:pt>
                <c:pt idx="602">
                  <c:v>2.3E-2</c:v>
                </c:pt>
                <c:pt idx="603">
                  <c:v>0.105</c:v>
                </c:pt>
                <c:pt idx="604">
                  <c:v>0.25700000000000001</c:v>
                </c:pt>
                <c:pt idx="605">
                  <c:v>6.2E-2</c:v>
                </c:pt>
                <c:pt idx="606">
                  <c:v>8.1000000000000003E-2</c:v>
                </c:pt>
                <c:pt idx="607">
                  <c:v>8.0000000000000002E-3</c:v>
                </c:pt>
                <c:pt idx="608">
                  <c:v>8.9999999999999993E-3</c:v>
                </c:pt>
                <c:pt idx="609">
                  <c:v>8.0000000000000002E-3</c:v>
                </c:pt>
                <c:pt idx="610">
                  <c:v>0.05</c:v>
                </c:pt>
                <c:pt idx="611">
                  <c:v>5.0000000000000001E-3</c:v>
                </c:pt>
                <c:pt idx="612">
                  <c:v>1.4E-2</c:v>
                </c:pt>
                <c:pt idx="613">
                  <c:v>2.5999999999999999E-2</c:v>
                </c:pt>
                <c:pt idx="614">
                  <c:v>1.0999999999999999E-2</c:v>
                </c:pt>
                <c:pt idx="615">
                  <c:v>3.5000000000000003E-2</c:v>
                </c:pt>
                <c:pt idx="616">
                  <c:v>3.0000000000000001E-3</c:v>
                </c:pt>
                <c:pt idx="617">
                  <c:v>9.2999999999999999E-2</c:v>
                </c:pt>
                <c:pt idx="618">
                  <c:v>5.7000000000000002E-2</c:v>
                </c:pt>
                <c:pt idx="619">
                  <c:v>0.39500000000000002</c:v>
                </c:pt>
                <c:pt idx="620">
                  <c:v>0.13100000000000001</c:v>
                </c:pt>
                <c:pt idx="621">
                  <c:v>2.3E-2</c:v>
                </c:pt>
                <c:pt idx="622">
                  <c:v>2.7E-2</c:v>
                </c:pt>
                <c:pt idx="623">
                  <c:v>0.20799999999999999</c:v>
                </c:pt>
                <c:pt idx="624">
                  <c:v>8.2000000000000003E-2</c:v>
                </c:pt>
                <c:pt idx="625">
                  <c:v>1.2E-2</c:v>
                </c:pt>
                <c:pt idx="626">
                  <c:v>7.5999999999999998E-2</c:v>
                </c:pt>
                <c:pt idx="627">
                  <c:v>3.5000000000000003E-2</c:v>
                </c:pt>
                <c:pt idx="628">
                  <c:v>6.3E-2</c:v>
                </c:pt>
                <c:pt idx="629">
                  <c:v>9.5000000000000001E-2</c:v>
                </c:pt>
                <c:pt idx="630">
                  <c:v>1.2999999999999999E-2</c:v>
                </c:pt>
                <c:pt idx="631">
                  <c:v>3.5999999999999997E-2</c:v>
                </c:pt>
                <c:pt idx="632">
                  <c:v>0.106</c:v>
                </c:pt>
                <c:pt idx="633">
                  <c:v>5.0000000000000001E-3</c:v>
                </c:pt>
                <c:pt idx="634">
                  <c:v>0.26200000000000001</c:v>
                </c:pt>
                <c:pt idx="635">
                  <c:v>1.2999999999999999E-2</c:v>
                </c:pt>
                <c:pt idx="636">
                  <c:v>3.0000000000000001E-3</c:v>
                </c:pt>
                <c:pt idx="637">
                  <c:v>2.3E-2</c:v>
                </c:pt>
                <c:pt idx="638">
                  <c:v>2.1999999999999999E-2</c:v>
                </c:pt>
                <c:pt idx="639">
                  <c:v>1.2999999999999999E-2</c:v>
                </c:pt>
                <c:pt idx="640">
                  <c:v>9.6000000000000002E-2</c:v>
                </c:pt>
                <c:pt idx="641">
                  <c:v>3.5999999999999997E-2</c:v>
                </c:pt>
                <c:pt idx="642">
                  <c:v>8.0000000000000002E-3</c:v>
                </c:pt>
                <c:pt idx="643">
                  <c:v>3.5999999999999997E-2</c:v>
                </c:pt>
                <c:pt idx="644">
                  <c:v>6.3E-2</c:v>
                </c:pt>
                <c:pt idx="645">
                  <c:v>0.193</c:v>
                </c:pt>
                <c:pt idx="646">
                  <c:v>2.7E-2</c:v>
                </c:pt>
                <c:pt idx="647">
                  <c:v>0.08</c:v>
                </c:pt>
                <c:pt idx="648">
                  <c:v>2.5999999999999999E-2</c:v>
                </c:pt>
                <c:pt idx="649">
                  <c:v>4.0000000000000001E-3</c:v>
                </c:pt>
                <c:pt idx="650">
                  <c:v>0.14899999999999999</c:v>
                </c:pt>
                <c:pt idx="651">
                  <c:v>5.8999999999999997E-2</c:v>
                </c:pt>
                <c:pt idx="652">
                  <c:v>2.7E-2</c:v>
                </c:pt>
                <c:pt idx="653">
                  <c:v>3.5999999999999997E-2</c:v>
                </c:pt>
                <c:pt idx="654">
                  <c:v>3.7999999999999999E-2</c:v>
                </c:pt>
                <c:pt idx="655">
                  <c:v>0.185</c:v>
                </c:pt>
                <c:pt idx="656">
                  <c:v>3.1E-2</c:v>
                </c:pt>
                <c:pt idx="657">
                  <c:v>5.0000000000000001E-3</c:v>
                </c:pt>
                <c:pt idx="658">
                  <c:v>7.6999999999999999E-2</c:v>
                </c:pt>
                <c:pt idx="659">
                  <c:v>3.1E-2</c:v>
                </c:pt>
                <c:pt idx="660">
                  <c:v>0.115</c:v>
                </c:pt>
                <c:pt idx="661">
                  <c:v>3.5999999999999997E-2</c:v>
                </c:pt>
                <c:pt idx="662">
                  <c:v>9.5000000000000001E-2</c:v>
                </c:pt>
                <c:pt idx="663">
                  <c:v>2.1999999999999999E-2</c:v>
                </c:pt>
                <c:pt idx="664">
                  <c:v>5.0000000000000001E-3</c:v>
                </c:pt>
                <c:pt idx="665">
                  <c:v>1.7000000000000001E-2</c:v>
                </c:pt>
                <c:pt idx="666">
                  <c:v>2.3E-2</c:v>
                </c:pt>
                <c:pt idx="667">
                  <c:v>0.05</c:v>
                </c:pt>
                <c:pt idx="668">
                  <c:v>3.5999999999999997E-2</c:v>
                </c:pt>
                <c:pt idx="669">
                  <c:v>8.0000000000000002E-3</c:v>
                </c:pt>
                <c:pt idx="670">
                  <c:v>2.7E-2</c:v>
                </c:pt>
                <c:pt idx="671">
                  <c:v>3.4000000000000002E-2</c:v>
                </c:pt>
                <c:pt idx="672">
                  <c:v>4.1000000000000002E-2</c:v>
                </c:pt>
                <c:pt idx="673">
                  <c:v>4.0000000000000001E-3</c:v>
                </c:pt>
                <c:pt idx="674">
                  <c:v>6.8000000000000005E-2</c:v>
                </c:pt>
                <c:pt idx="675">
                  <c:v>1.7000000000000001E-2</c:v>
                </c:pt>
                <c:pt idx="676">
                  <c:v>5.0000000000000001E-3</c:v>
                </c:pt>
                <c:pt idx="677">
                  <c:v>4.9000000000000002E-2</c:v>
                </c:pt>
                <c:pt idx="678">
                  <c:v>4.8000000000000001E-2</c:v>
                </c:pt>
                <c:pt idx="679">
                  <c:v>2.5000000000000001E-2</c:v>
                </c:pt>
                <c:pt idx="680">
                  <c:v>5.0000000000000001E-3</c:v>
                </c:pt>
                <c:pt idx="681">
                  <c:v>1.7999999999999999E-2</c:v>
                </c:pt>
                <c:pt idx="682">
                  <c:v>4.0000000000000001E-3</c:v>
                </c:pt>
                <c:pt idx="683">
                  <c:v>3.5999999999999997E-2</c:v>
                </c:pt>
                <c:pt idx="684">
                  <c:v>0.03</c:v>
                </c:pt>
                <c:pt idx="685">
                  <c:v>5.7000000000000002E-2</c:v>
                </c:pt>
                <c:pt idx="686">
                  <c:v>5.2999999999999999E-2</c:v>
                </c:pt>
                <c:pt idx="687">
                  <c:v>0.153</c:v>
                </c:pt>
                <c:pt idx="688">
                  <c:v>1.2999999999999999E-2</c:v>
                </c:pt>
                <c:pt idx="689">
                  <c:v>4.0000000000000001E-3</c:v>
                </c:pt>
                <c:pt idx="690">
                  <c:v>0.104</c:v>
                </c:pt>
                <c:pt idx="691">
                  <c:v>2.7E-2</c:v>
                </c:pt>
                <c:pt idx="692">
                  <c:v>2.3E-2</c:v>
                </c:pt>
                <c:pt idx="693">
                  <c:v>0.17199999999999999</c:v>
                </c:pt>
                <c:pt idx="694">
                  <c:v>5.0000000000000001E-3</c:v>
                </c:pt>
                <c:pt idx="695">
                  <c:v>2.7E-2</c:v>
                </c:pt>
                <c:pt idx="696">
                  <c:v>2E-3</c:v>
                </c:pt>
                <c:pt idx="697">
                  <c:v>2E-3</c:v>
                </c:pt>
                <c:pt idx="698">
                  <c:v>4.0000000000000001E-3</c:v>
                </c:pt>
                <c:pt idx="699">
                  <c:v>4.1000000000000002E-2</c:v>
                </c:pt>
                <c:pt idx="700">
                  <c:v>8.4000000000000005E-2</c:v>
                </c:pt>
                <c:pt idx="701">
                  <c:v>2.1000000000000001E-2</c:v>
                </c:pt>
                <c:pt idx="702">
                  <c:v>1.2E-2</c:v>
                </c:pt>
                <c:pt idx="703">
                  <c:v>4.0000000000000001E-3</c:v>
                </c:pt>
                <c:pt idx="704">
                  <c:v>3.2000000000000001E-2</c:v>
                </c:pt>
                <c:pt idx="705">
                  <c:v>3.5999999999999997E-2</c:v>
                </c:pt>
                <c:pt idx="706">
                  <c:v>7.8E-2</c:v>
                </c:pt>
                <c:pt idx="707">
                  <c:v>7.1999999999999995E-2</c:v>
                </c:pt>
                <c:pt idx="708">
                  <c:v>1.7000000000000001E-2</c:v>
                </c:pt>
                <c:pt idx="709">
                  <c:v>4.0000000000000001E-3</c:v>
                </c:pt>
                <c:pt idx="710">
                  <c:v>6.3E-2</c:v>
                </c:pt>
                <c:pt idx="711">
                  <c:v>5.7000000000000002E-2</c:v>
                </c:pt>
                <c:pt idx="712">
                  <c:v>1.2999999999999999E-2</c:v>
                </c:pt>
                <c:pt idx="713">
                  <c:v>2E-3</c:v>
                </c:pt>
                <c:pt idx="714">
                  <c:v>0.16700000000000001</c:v>
                </c:pt>
                <c:pt idx="715">
                  <c:v>8.0000000000000002E-3</c:v>
                </c:pt>
                <c:pt idx="716">
                  <c:v>8.0000000000000002E-3</c:v>
                </c:pt>
                <c:pt idx="717">
                  <c:v>8.0000000000000002E-3</c:v>
                </c:pt>
                <c:pt idx="718">
                  <c:v>2.3E-2</c:v>
                </c:pt>
                <c:pt idx="719">
                  <c:v>2.7E-2</c:v>
                </c:pt>
                <c:pt idx="720">
                  <c:v>3.1E-2</c:v>
                </c:pt>
                <c:pt idx="721">
                  <c:v>5.0000000000000001E-3</c:v>
                </c:pt>
                <c:pt idx="722">
                  <c:v>8.0000000000000002E-3</c:v>
                </c:pt>
                <c:pt idx="723">
                  <c:v>2E-3</c:v>
                </c:pt>
                <c:pt idx="724">
                  <c:v>2E-3</c:v>
                </c:pt>
                <c:pt idx="725">
                  <c:v>2.3E-2</c:v>
                </c:pt>
                <c:pt idx="726">
                  <c:v>5.0000000000000001E-3</c:v>
                </c:pt>
                <c:pt idx="727">
                  <c:v>8.0000000000000002E-3</c:v>
                </c:pt>
                <c:pt idx="728">
                  <c:v>8.0000000000000002E-3</c:v>
                </c:pt>
                <c:pt idx="729">
                  <c:v>3.5999999999999997E-2</c:v>
                </c:pt>
                <c:pt idx="730">
                  <c:v>1.7999999999999999E-2</c:v>
                </c:pt>
                <c:pt idx="731">
                  <c:v>0.14000000000000001</c:v>
                </c:pt>
                <c:pt idx="732">
                  <c:v>1.7999999999999999E-2</c:v>
                </c:pt>
                <c:pt idx="733">
                  <c:v>1.7999999999999999E-2</c:v>
                </c:pt>
                <c:pt idx="734">
                  <c:v>3.5000000000000003E-2</c:v>
                </c:pt>
                <c:pt idx="735">
                  <c:v>4.0000000000000001E-3</c:v>
                </c:pt>
                <c:pt idx="736">
                  <c:v>1.7000000000000001E-2</c:v>
                </c:pt>
                <c:pt idx="737">
                  <c:v>4.0000000000000001E-3</c:v>
                </c:pt>
                <c:pt idx="738">
                  <c:v>0.113</c:v>
                </c:pt>
                <c:pt idx="739">
                  <c:v>0.155</c:v>
                </c:pt>
                <c:pt idx="740">
                  <c:v>2.1000000000000001E-2</c:v>
                </c:pt>
                <c:pt idx="741">
                  <c:v>2.7E-2</c:v>
                </c:pt>
                <c:pt idx="742">
                  <c:v>2.7E-2</c:v>
                </c:pt>
                <c:pt idx="743">
                  <c:v>2.4E-2</c:v>
                </c:pt>
                <c:pt idx="744">
                  <c:v>5.0000000000000001E-3</c:v>
                </c:pt>
                <c:pt idx="745">
                  <c:v>2E-3</c:v>
                </c:pt>
                <c:pt idx="746">
                  <c:v>4.0000000000000001E-3</c:v>
                </c:pt>
                <c:pt idx="747">
                  <c:v>6.6000000000000003E-2</c:v>
                </c:pt>
                <c:pt idx="748">
                  <c:v>3.2000000000000001E-2</c:v>
                </c:pt>
                <c:pt idx="749">
                  <c:v>8.9999999999999993E-3</c:v>
                </c:pt>
                <c:pt idx="750">
                  <c:v>2.5999999999999999E-2</c:v>
                </c:pt>
                <c:pt idx="751">
                  <c:v>2.7E-2</c:v>
                </c:pt>
                <c:pt idx="752">
                  <c:v>8.0000000000000002E-3</c:v>
                </c:pt>
                <c:pt idx="753">
                  <c:v>4.0000000000000001E-3</c:v>
                </c:pt>
                <c:pt idx="754">
                  <c:v>2.3E-2</c:v>
                </c:pt>
                <c:pt idx="755">
                  <c:v>2.5000000000000001E-2</c:v>
                </c:pt>
                <c:pt idx="756">
                  <c:v>1.4E-2</c:v>
                </c:pt>
                <c:pt idx="757">
                  <c:v>0.05</c:v>
                </c:pt>
                <c:pt idx="758">
                  <c:v>2.3E-2</c:v>
                </c:pt>
                <c:pt idx="759">
                  <c:v>4.4999999999999998E-2</c:v>
                </c:pt>
                <c:pt idx="760">
                  <c:v>8.0000000000000002E-3</c:v>
                </c:pt>
                <c:pt idx="761">
                  <c:v>0.11700000000000001</c:v>
                </c:pt>
                <c:pt idx="762">
                  <c:v>2E-3</c:v>
                </c:pt>
                <c:pt idx="763">
                  <c:v>5.0000000000000001E-3</c:v>
                </c:pt>
                <c:pt idx="764">
                  <c:v>8.0000000000000002E-3</c:v>
                </c:pt>
                <c:pt idx="765">
                  <c:v>3.2000000000000001E-2</c:v>
                </c:pt>
                <c:pt idx="766">
                  <c:v>4.0000000000000001E-3</c:v>
                </c:pt>
                <c:pt idx="767">
                  <c:v>5.3999999999999999E-2</c:v>
                </c:pt>
                <c:pt idx="768">
                  <c:v>3.2000000000000001E-2</c:v>
                </c:pt>
                <c:pt idx="769">
                  <c:v>1.6E-2</c:v>
                </c:pt>
                <c:pt idx="770">
                  <c:v>2.3E-2</c:v>
                </c:pt>
                <c:pt idx="771">
                  <c:v>4.0000000000000001E-3</c:v>
                </c:pt>
                <c:pt idx="772">
                  <c:v>8.0000000000000002E-3</c:v>
                </c:pt>
                <c:pt idx="773">
                  <c:v>0.11700000000000001</c:v>
                </c:pt>
                <c:pt idx="774">
                  <c:v>1.7000000000000001E-2</c:v>
                </c:pt>
                <c:pt idx="775">
                  <c:v>1.2E-2</c:v>
                </c:pt>
                <c:pt idx="776">
                  <c:v>8.0000000000000002E-3</c:v>
                </c:pt>
                <c:pt idx="777">
                  <c:v>8.9999999999999993E-3</c:v>
                </c:pt>
                <c:pt idx="778">
                  <c:v>5.0000000000000001E-3</c:v>
                </c:pt>
                <c:pt idx="779">
                  <c:v>5.6000000000000001E-2</c:v>
                </c:pt>
                <c:pt idx="780">
                  <c:v>0.13900000000000001</c:v>
                </c:pt>
                <c:pt idx="781">
                  <c:v>1.7999999999999999E-2</c:v>
                </c:pt>
                <c:pt idx="782">
                  <c:v>3.2000000000000001E-2</c:v>
                </c:pt>
                <c:pt idx="783">
                  <c:v>4.0000000000000001E-3</c:v>
                </c:pt>
                <c:pt idx="784">
                  <c:v>2.7E-2</c:v>
                </c:pt>
                <c:pt idx="785">
                  <c:v>3.5999999999999997E-2</c:v>
                </c:pt>
                <c:pt idx="786">
                  <c:v>3.2000000000000001E-2</c:v>
                </c:pt>
                <c:pt idx="787">
                  <c:v>0.09</c:v>
                </c:pt>
                <c:pt idx="788">
                  <c:v>4.1000000000000002E-2</c:v>
                </c:pt>
                <c:pt idx="789">
                  <c:v>1.7000000000000001E-2</c:v>
                </c:pt>
                <c:pt idx="790">
                  <c:v>3.2000000000000001E-2</c:v>
                </c:pt>
                <c:pt idx="791">
                  <c:v>1.9E-2</c:v>
                </c:pt>
                <c:pt idx="792">
                  <c:v>2E-3</c:v>
                </c:pt>
                <c:pt idx="793">
                  <c:v>3.5999999999999997E-2</c:v>
                </c:pt>
                <c:pt idx="794">
                  <c:v>4.0000000000000001E-3</c:v>
                </c:pt>
                <c:pt idx="795">
                  <c:v>2.3E-2</c:v>
                </c:pt>
                <c:pt idx="796">
                  <c:v>4.0000000000000001E-3</c:v>
                </c:pt>
                <c:pt idx="797">
                  <c:v>2.7E-2</c:v>
                </c:pt>
                <c:pt idx="798">
                  <c:v>3.2000000000000001E-2</c:v>
                </c:pt>
                <c:pt idx="799">
                  <c:v>0.126</c:v>
                </c:pt>
                <c:pt idx="800">
                  <c:v>2.5999999999999999E-2</c:v>
                </c:pt>
                <c:pt idx="801">
                  <c:v>5.0000000000000001E-3</c:v>
                </c:pt>
                <c:pt idx="802">
                  <c:v>2E-3</c:v>
                </c:pt>
                <c:pt idx="803">
                  <c:v>1.7000000000000001E-2</c:v>
                </c:pt>
                <c:pt idx="804">
                  <c:v>4.8000000000000001E-2</c:v>
                </c:pt>
                <c:pt idx="805">
                  <c:v>4.0000000000000001E-3</c:v>
                </c:pt>
                <c:pt idx="806">
                  <c:v>2.3E-2</c:v>
                </c:pt>
                <c:pt idx="807">
                  <c:v>4.0000000000000001E-3</c:v>
                </c:pt>
                <c:pt idx="808">
                  <c:v>8.9999999999999993E-3</c:v>
                </c:pt>
                <c:pt idx="809">
                  <c:v>1.7000000000000001E-2</c:v>
                </c:pt>
                <c:pt idx="810">
                  <c:v>0.05</c:v>
                </c:pt>
                <c:pt idx="811">
                  <c:v>8.0000000000000002E-3</c:v>
                </c:pt>
                <c:pt idx="812">
                  <c:v>5.0000000000000001E-3</c:v>
                </c:pt>
                <c:pt idx="813">
                  <c:v>4.0000000000000001E-3</c:v>
                </c:pt>
                <c:pt idx="814">
                  <c:v>4.0000000000000001E-3</c:v>
                </c:pt>
                <c:pt idx="815">
                  <c:v>8.0000000000000002E-3</c:v>
                </c:pt>
                <c:pt idx="816">
                  <c:v>3.1E-2</c:v>
                </c:pt>
                <c:pt idx="817">
                  <c:v>5.0000000000000001E-3</c:v>
                </c:pt>
                <c:pt idx="818">
                  <c:v>0.05</c:v>
                </c:pt>
                <c:pt idx="819">
                  <c:v>4.0000000000000001E-3</c:v>
                </c:pt>
                <c:pt idx="820">
                  <c:v>3.5999999999999997E-2</c:v>
                </c:pt>
                <c:pt idx="821">
                  <c:v>5.0000000000000001E-3</c:v>
                </c:pt>
                <c:pt idx="822">
                  <c:v>0.14899999999999999</c:v>
                </c:pt>
                <c:pt idx="823">
                  <c:v>5.0000000000000001E-3</c:v>
                </c:pt>
                <c:pt idx="824">
                  <c:v>5.0000000000000001E-3</c:v>
                </c:pt>
                <c:pt idx="825">
                  <c:v>8.9999999999999993E-3</c:v>
                </c:pt>
                <c:pt idx="826">
                  <c:v>1.7999999999999999E-2</c:v>
                </c:pt>
                <c:pt idx="827">
                  <c:v>3.2000000000000001E-2</c:v>
                </c:pt>
                <c:pt idx="828">
                  <c:v>1.2999999999999999E-2</c:v>
                </c:pt>
                <c:pt idx="829">
                  <c:v>8.0000000000000002E-3</c:v>
                </c:pt>
                <c:pt idx="830">
                  <c:v>5.0000000000000001E-3</c:v>
                </c:pt>
                <c:pt idx="831">
                  <c:v>7.9000000000000001E-2</c:v>
                </c:pt>
                <c:pt idx="832">
                  <c:v>2.8000000000000001E-2</c:v>
                </c:pt>
                <c:pt idx="833">
                  <c:v>1.6E-2</c:v>
                </c:pt>
                <c:pt idx="834">
                  <c:v>1.2999999999999999E-2</c:v>
                </c:pt>
                <c:pt idx="835">
                  <c:v>1.4E-2</c:v>
                </c:pt>
                <c:pt idx="836">
                  <c:v>5.0000000000000001E-3</c:v>
                </c:pt>
                <c:pt idx="837">
                  <c:v>1.7999999999999999E-2</c:v>
                </c:pt>
                <c:pt idx="838">
                  <c:v>3.2000000000000001E-2</c:v>
                </c:pt>
                <c:pt idx="839">
                  <c:v>8.0000000000000002E-3</c:v>
                </c:pt>
                <c:pt idx="840">
                  <c:v>1.7999999999999999E-2</c:v>
                </c:pt>
                <c:pt idx="841">
                  <c:v>8.0000000000000002E-3</c:v>
                </c:pt>
                <c:pt idx="842">
                  <c:v>1.7000000000000001E-2</c:v>
                </c:pt>
                <c:pt idx="843">
                  <c:v>8.9999999999999993E-3</c:v>
                </c:pt>
                <c:pt idx="844">
                  <c:v>8.9999999999999993E-3</c:v>
                </c:pt>
                <c:pt idx="845">
                  <c:v>2.3E-2</c:v>
                </c:pt>
                <c:pt idx="846">
                  <c:v>5.8999999999999997E-2</c:v>
                </c:pt>
                <c:pt idx="847">
                  <c:v>0.13500000000000001</c:v>
                </c:pt>
                <c:pt idx="848">
                  <c:v>2.3E-2</c:v>
                </c:pt>
                <c:pt idx="849">
                  <c:v>8.9999999999999993E-3</c:v>
                </c:pt>
                <c:pt idx="850">
                  <c:v>2.7E-2</c:v>
                </c:pt>
                <c:pt idx="851">
                  <c:v>2.7E-2</c:v>
                </c:pt>
                <c:pt idx="852">
                  <c:v>1.7999999999999999E-2</c:v>
                </c:pt>
                <c:pt idx="853">
                  <c:v>4.0000000000000001E-3</c:v>
                </c:pt>
                <c:pt idx="854">
                  <c:v>4.2999999999999997E-2</c:v>
                </c:pt>
                <c:pt idx="855">
                  <c:v>5.8999999999999997E-2</c:v>
                </c:pt>
                <c:pt idx="856">
                  <c:v>8.4000000000000005E-2</c:v>
                </c:pt>
                <c:pt idx="857">
                  <c:v>5.0000000000000001E-3</c:v>
                </c:pt>
                <c:pt idx="858">
                  <c:v>2.7E-2</c:v>
                </c:pt>
                <c:pt idx="859">
                  <c:v>4.0000000000000001E-3</c:v>
                </c:pt>
                <c:pt idx="860">
                  <c:v>8.9999999999999993E-3</c:v>
                </c:pt>
                <c:pt idx="861">
                  <c:v>4.0000000000000001E-3</c:v>
                </c:pt>
                <c:pt idx="862">
                  <c:v>1.7000000000000001E-2</c:v>
                </c:pt>
                <c:pt idx="863">
                  <c:v>8.9999999999999993E-3</c:v>
                </c:pt>
                <c:pt idx="864">
                  <c:v>5.0000000000000001E-3</c:v>
                </c:pt>
                <c:pt idx="865">
                  <c:v>1.7000000000000001E-2</c:v>
                </c:pt>
                <c:pt idx="866">
                  <c:v>8.9999999999999993E-3</c:v>
                </c:pt>
                <c:pt idx="867">
                  <c:v>3.5999999999999997E-2</c:v>
                </c:pt>
                <c:pt idx="868">
                  <c:v>4.0000000000000001E-3</c:v>
                </c:pt>
                <c:pt idx="869">
                  <c:v>1.4E-2</c:v>
                </c:pt>
                <c:pt idx="870">
                  <c:v>1.4E-2</c:v>
                </c:pt>
                <c:pt idx="871">
                  <c:v>2.7E-2</c:v>
                </c:pt>
                <c:pt idx="872">
                  <c:v>1.4E-2</c:v>
                </c:pt>
                <c:pt idx="873">
                  <c:v>4.0000000000000001E-3</c:v>
                </c:pt>
                <c:pt idx="874">
                  <c:v>5.0000000000000001E-3</c:v>
                </c:pt>
                <c:pt idx="875">
                  <c:v>4.0000000000000001E-3</c:v>
                </c:pt>
                <c:pt idx="876">
                  <c:v>1.2999999999999999E-2</c:v>
                </c:pt>
                <c:pt idx="877">
                  <c:v>4.0000000000000001E-3</c:v>
                </c:pt>
                <c:pt idx="878">
                  <c:v>1.4E-2</c:v>
                </c:pt>
                <c:pt idx="879">
                  <c:v>5.0000000000000001E-3</c:v>
                </c:pt>
                <c:pt idx="880">
                  <c:v>2.5999999999999999E-2</c:v>
                </c:pt>
                <c:pt idx="881">
                  <c:v>8.9999999999999993E-3</c:v>
                </c:pt>
                <c:pt idx="882">
                  <c:v>8.9999999999999993E-3</c:v>
                </c:pt>
                <c:pt idx="883">
                  <c:v>1.7999999999999999E-2</c:v>
                </c:pt>
                <c:pt idx="884">
                  <c:v>4.0000000000000001E-3</c:v>
                </c:pt>
                <c:pt idx="885">
                  <c:v>3.2000000000000001E-2</c:v>
                </c:pt>
                <c:pt idx="886">
                  <c:v>8.5999999999999993E-2</c:v>
                </c:pt>
                <c:pt idx="887">
                  <c:v>4.0000000000000001E-3</c:v>
                </c:pt>
                <c:pt idx="888">
                  <c:v>0.13100000000000001</c:v>
                </c:pt>
                <c:pt idx="889">
                  <c:v>2.7E-2</c:v>
                </c:pt>
                <c:pt idx="890">
                  <c:v>2.3E-2</c:v>
                </c:pt>
                <c:pt idx="891">
                  <c:v>4.0000000000000001E-3</c:v>
                </c:pt>
                <c:pt idx="892">
                  <c:v>2.3E-2</c:v>
                </c:pt>
                <c:pt idx="893">
                  <c:v>8.9999999999999993E-3</c:v>
                </c:pt>
                <c:pt idx="894">
                  <c:v>3.5999999999999997E-2</c:v>
                </c:pt>
                <c:pt idx="895">
                  <c:v>1.7999999999999999E-2</c:v>
                </c:pt>
                <c:pt idx="896">
                  <c:v>4.0000000000000001E-3</c:v>
                </c:pt>
                <c:pt idx="897">
                  <c:v>9.2999999999999999E-2</c:v>
                </c:pt>
                <c:pt idx="898">
                  <c:v>2.1999999999999999E-2</c:v>
                </c:pt>
                <c:pt idx="899">
                  <c:v>8.0000000000000002E-3</c:v>
                </c:pt>
                <c:pt idx="900">
                  <c:v>6.9000000000000006E-2</c:v>
                </c:pt>
                <c:pt idx="901">
                  <c:v>8.9999999999999993E-3</c:v>
                </c:pt>
                <c:pt idx="902">
                  <c:v>4.0000000000000001E-3</c:v>
                </c:pt>
                <c:pt idx="903">
                  <c:v>2.3E-2</c:v>
                </c:pt>
                <c:pt idx="904">
                  <c:v>4.0000000000000001E-3</c:v>
                </c:pt>
                <c:pt idx="905">
                  <c:v>5.0000000000000001E-3</c:v>
                </c:pt>
                <c:pt idx="906">
                  <c:v>8.0000000000000002E-3</c:v>
                </c:pt>
                <c:pt idx="907">
                  <c:v>4.0000000000000001E-3</c:v>
                </c:pt>
                <c:pt idx="908">
                  <c:v>4.0000000000000001E-3</c:v>
                </c:pt>
                <c:pt idx="909">
                  <c:v>0.05</c:v>
                </c:pt>
                <c:pt idx="910">
                  <c:v>5.0000000000000001E-3</c:v>
                </c:pt>
                <c:pt idx="911">
                  <c:v>1.7999999999999999E-2</c:v>
                </c:pt>
                <c:pt idx="912">
                  <c:v>2.3E-2</c:v>
                </c:pt>
                <c:pt idx="913">
                  <c:v>0.105</c:v>
                </c:pt>
                <c:pt idx="914">
                  <c:v>4.0000000000000001E-3</c:v>
                </c:pt>
                <c:pt idx="915">
                  <c:v>1.2999999999999999E-2</c:v>
                </c:pt>
                <c:pt idx="916">
                  <c:v>0.156</c:v>
                </c:pt>
                <c:pt idx="917">
                  <c:v>3.2000000000000001E-2</c:v>
                </c:pt>
                <c:pt idx="918">
                  <c:v>2.3E-2</c:v>
                </c:pt>
                <c:pt idx="919">
                  <c:v>1.4E-2</c:v>
                </c:pt>
                <c:pt idx="920">
                  <c:v>1.4E-2</c:v>
                </c:pt>
                <c:pt idx="921">
                  <c:v>4.0000000000000001E-3</c:v>
                </c:pt>
                <c:pt idx="922">
                  <c:v>0.104</c:v>
                </c:pt>
                <c:pt idx="923">
                  <c:v>4.0000000000000001E-3</c:v>
                </c:pt>
                <c:pt idx="924">
                  <c:v>1.7999999999999999E-2</c:v>
                </c:pt>
                <c:pt idx="925">
                  <c:v>5.0000000000000001E-3</c:v>
                </c:pt>
                <c:pt idx="926">
                  <c:v>5.0000000000000001E-3</c:v>
                </c:pt>
                <c:pt idx="927">
                  <c:v>0.17799999999999999</c:v>
                </c:pt>
                <c:pt idx="928">
                  <c:v>1.7999999999999999E-2</c:v>
                </c:pt>
                <c:pt idx="929">
                  <c:v>4.0000000000000001E-3</c:v>
                </c:pt>
                <c:pt idx="930">
                  <c:v>1.4E-2</c:v>
                </c:pt>
                <c:pt idx="931">
                  <c:v>5.0000000000000001E-3</c:v>
                </c:pt>
                <c:pt idx="932">
                  <c:v>3.2000000000000001E-2</c:v>
                </c:pt>
                <c:pt idx="933">
                  <c:v>2.7E-2</c:v>
                </c:pt>
                <c:pt idx="934">
                  <c:v>4.0000000000000001E-3</c:v>
                </c:pt>
                <c:pt idx="935">
                  <c:v>5.0000000000000001E-3</c:v>
                </c:pt>
                <c:pt idx="936">
                  <c:v>8.9999999999999993E-3</c:v>
                </c:pt>
                <c:pt idx="937">
                  <c:v>5.0000000000000001E-3</c:v>
                </c:pt>
                <c:pt idx="938">
                  <c:v>4.0000000000000001E-3</c:v>
                </c:pt>
                <c:pt idx="939">
                  <c:v>2.7E-2</c:v>
                </c:pt>
                <c:pt idx="940">
                  <c:v>4.0000000000000001E-3</c:v>
                </c:pt>
                <c:pt idx="941">
                  <c:v>2.3E-2</c:v>
                </c:pt>
                <c:pt idx="942">
                  <c:v>3.2000000000000001E-2</c:v>
                </c:pt>
                <c:pt idx="943">
                  <c:v>5.0000000000000001E-3</c:v>
                </c:pt>
                <c:pt idx="944">
                  <c:v>8.0000000000000002E-3</c:v>
                </c:pt>
                <c:pt idx="945">
                  <c:v>2.3E-2</c:v>
                </c:pt>
                <c:pt idx="946">
                  <c:v>5.0000000000000001E-3</c:v>
                </c:pt>
                <c:pt idx="947">
                  <c:v>2.7E-2</c:v>
                </c:pt>
                <c:pt idx="948">
                  <c:v>1.4E-2</c:v>
                </c:pt>
                <c:pt idx="949">
                  <c:v>2E-3</c:v>
                </c:pt>
                <c:pt idx="950">
                  <c:v>2.3E-2</c:v>
                </c:pt>
                <c:pt idx="951">
                  <c:v>2.7E-2</c:v>
                </c:pt>
                <c:pt idx="952">
                  <c:v>8.9999999999999993E-3</c:v>
                </c:pt>
                <c:pt idx="953">
                  <c:v>1.7999999999999999E-2</c:v>
                </c:pt>
                <c:pt idx="954">
                  <c:v>8.0000000000000002E-3</c:v>
                </c:pt>
                <c:pt idx="955">
                  <c:v>0.157</c:v>
                </c:pt>
                <c:pt idx="956">
                  <c:v>1.7999999999999999E-2</c:v>
                </c:pt>
                <c:pt idx="957">
                  <c:v>4.3999999999999997E-2</c:v>
                </c:pt>
                <c:pt idx="958">
                  <c:v>1.7000000000000001E-2</c:v>
                </c:pt>
                <c:pt idx="959">
                  <c:v>1.7999999999999999E-2</c:v>
                </c:pt>
                <c:pt idx="960">
                  <c:v>5.0000000000000001E-3</c:v>
                </c:pt>
                <c:pt idx="961">
                  <c:v>1.7999999999999999E-2</c:v>
                </c:pt>
                <c:pt idx="962">
                  <c:v>1.4E-2</c:v>
                </c:pt>
                <c:pt idx="963">
                  <c:v>1.4E-2</c:v>
                </c:pt>
                <c:pt idx="964">
                  <c:v>4.0000000000000001E-3</c:v>
                </c:pt>
                <c:pt idx="965">
                  <c:v>4.0000000000000001E-3</c:v>
                </c:pt>
                <c:pt idx="966">
                  <c:v>8.0000000000000002E-3</c:v>
                </c:pt>
                <c:pt idx="967">
                  <c:v>5.0000000000000001E-3</c:v>
                </c:pt>
                <c:pt idx="968">
                  <c:v>5.0000000000000001E-3</c:v>
                </c:pt>
                <c:pt idx="969">
                  <c:v>5.0000000000000001E-3</c:v>
                </c:pt>
                <c:pt idx="970">
                  <c:v>5.0000000000000001E-3</c:v>
                </c:pt>
                <c:pt idx="971">
                  <c:v>4.0000000000000001E-3</c:v>
                </c:pt>
                <c:pt idx="972">
                  <c:v>5.0000000000000001E-3</c:v>
                </c:pt>
                <c:pt idx="973">
                  <c:v>5.0000000000000001E-3</c:v>
                </c:pt>
                <c:pt idx="974">
                  <c:v>6.3E-2</c:v>
                </c:pt>
                <c:pt idx="975">
                  <c:v>1.7999999999999999E-2</c:v>
                </c:pt>
                <c:pt idx="976">
                  <c:v>4.0000000000000001E-3</c:v>
                </c:pt>
                <c:pt idx="977">
                  <c:v>3.5999999999999997E-2</c:v>
                </c:pt>
                <c:pt idx="978">
                  <c:v>1.7999999999999999E-2</c:v>
                </c:pt>
                <c:pt idx="979">
                  <c:v>2.3E-2</c:v>
                </c:pt>
                <c:pt idx="980">
                  <c:v>8.9999999999999993E-3</c:v>
                </c:pt>
                <c:pt idx="981">
                  <c:v>4.0000000000000001E-3</c:v>
                </c:pt>
                <c:pt idx="982">
                  <c:v>8.9999999999999993E-3</c:v>
                </c:pt>
                <c:pt idx="983">
                  <c:v>0.113</c:v>
                </c:pt>
                <c:pt idx="984">
                  <c:v>5.0000000000000001E-3</c:v>
                </c:pt>
                <c:pt idx="985">
                  <c:v>5.0000000000000001E-3</c:v>
                </c:pt>
                <c:pt idx="986">
                  <c:v>1.7999999999999999E-2</c:v>
                </c:pt>
                <c:pt idx="987">
                  <c:v>6.3E-2</c:v>
                </c:pt>
                <c:pt idx="988">
                  <c:v>8.9999999999999993E-3</c:v>
                </c:pt>
                <c:pt idx="989">
                  <c:v>5.0000000000000001E-3</c:v>
                </c:pt>
                <c:pt idx="990">
                  <c:v>8.9999999999999993E-3</c:v>
                </c:pt>
                <c:pt idx="991">
                  <c:v>1.2E-2</c:v>
                </c:pt>
                <c:pt idx="992">
                  <c:v>8.0000000000000002E-3</c:v>
                </c:pt>
                <c:pt idx="993">
                  <c:v>8.9999999999999993E-3</c:v>
                </c:pt>
                <c:pt idx="994">
                  <c:v>5.0000000000000001E-3</c:v>
                </c:pt>
                <c:pt idx="995">
                  <c:v>2.1999999999999999E-2</c:v>
                </c:pt>
                <c:pt idx="996">
                  <c:v>5.0000000000000001E-3</c:v>
                </c:pt>
                <c:pt idx="997">
                  <c:v>8.9999999999999993E-3</c:v>
                </c:pt>
                <c:pt idx="998">
                  <c:v>6.3E-2</c:v>
                </c:pt>
                <c:pt idx="999">
                  <c:v>1.2999999999999999E-2</c:v>
                </c:pt>
                <c:pt idx="1000">
                  <c:v>5.0000000000000001E-3</c:v>
                </c:pt>
                <c:pt idx="1001">
                  <c:v>5.0000000000000001E-3</c:v>
                </c:pt>
                <c:pt idx="1002">
                  <c:v>8.0000000000000002E-3</c:v>
                </c:pt>
                <c:pt idx="1003">
                  <c:v>5.0000000000000001E-3</c:v>
                </c:pt>
                <c:pt idx="1004">
                  <c:v>8.9999999999999993E-3</c:v>
                </c:pt>
                <c:pt idx="1005">
                  <c:v>2.3E-2</c:v>
                </c:pt>
                <c:pt idx="1006">
                  <c:v>5.0000000000000001E-3</c:v>
                </c:pt>
                <c:pt idx="1007">
                  <c:v>4.1000000000000002E-2</c:v>
                </c:pt>
                <c:pt idx="1008">
                  <c:v>5.0000000000000001E-3</c:v>
                </c:pt>
                <c:pt idx="1009">
                  <c:v>1.4E-2</c:v>
                </c:pt>
                <c:pt idx="1010">
                  <c:v>5.0000000000000001E-3</c:v>
                </c:pt>
                <c:pt idx="1011">
                  <c:v>4.0000000000000001E-3</c:v>
                </c:pt>
                <c:pt idx="1012">
                  <c:v>5.0000000000000001E-3</c:v>
                </c:pt>
                <c:pt idx="1013">
                  <c:v>1.7999999999999999E-2</c:v>
                </c:pt>
                <c:pt idx="1014">
                  <c:v>8.9999999999999993E-3</c:v>
                </c:pt>
                <c:pt idx="1015">
                  <c:v>5.0000000000000001E-3</c:v>
                </c:pt>
                <c:pt idx="1016">
                  <c:v>6.8000000000000005E-2</c:v>
                </c:pt>
                <c:pt idx="1017">
                  <c:v>5.0000000000000001E-3</c:v>
                </c:pt>
                <c:pt idx="1018">
                  <c:v>5.0000000000000001E-3</c:v>
                </c:pt>
                <c:pt idx="1019">
                  <c:v>1.7999999999999999E-2</c:v>
                </c:pt>
                <c:pt idx="1020">
                  <c:v>5.3999999999999999E-2</c:v>
                </c:pt>
                <c:pt idx="1021">
                  <c:v>5.0000000000000001E-3</c:v>
                </c:pt>
                <c:pt idx="1022">
                  <c:v>4.0000000000000001E-3</c:v>
                </c:pt>
                <c:pt idx="1023">
                  <c:v>5.0000000000000001E-3</c:v>
                </c:pt>
                <c:pt idx="1024">
                  <c:v>4.0000000000000001E-3</c:v>
                </c:pt>
                <c:pt idx="1025">
                  <c:v>2.3E-2</c:v>
                </c:pt>
                <c:pt idx="1026">
                  <c:v>5.0000000000000001E-3</c:v>
                </c:pt>
                <c:pt idx="1027">
                  <c:v>4.0000000000000001E-3</c:v>
                </c:pt>
                <c:pt idx="1028">
                  <c:v>1.4E-2</c:v>
                </c:pt>
                <c:pt idx="1029">
                  <c:v>5.0000000000000001E-3</c:v>
                </c:pt>
                <c:pt idx="1030">
                  <c:v>5.0000000000000001E-3</c:v>
                </c:pt>
                <c:pt idx="1031">
                  <c:v>5.0000000000000001E-3</c:v>
                </c:pt>
                <c:pt idx="1032">
                  <c:v>5.0000000000000001E-3</c:v>
                </c:pt>
                <c:pt idx="1033">
                  <c:v>5.0000000000000001E-3</c:v>
                </c:pt>
                <c:pt idx="1034">
                  <c:v>4.0000000000000001E-3</c:v>
                </c:pt>
                <c:pt idx="1035">
                  <c:v>5.0000000000000001E-3</c:v>
                </c:pt>
                <c:pt idx="1036">
                  <c:v>5.0000000000000001E-3</c:v>
                </c:pt>
                <c:pt idx="1037">
                  <c:v>8.9999999999999993E-3</c:v>
                </c:pt>
                <c:pt idx="1038">
                  <c:v>8.0000000000000002E-3</c:v>
                </c:pt>
                <c:pt idx="1039">
                  <c:v>3.6999999999999998E-2</c:v>
                </c:pt>
                <c:pt idx="1040">
                  <c:v>1.7999999999999999E-2</c:v>
                </c:pt>
                <c:pt idx="1041">
                  <c:v>5.0000000000000001E-3</c:v>
                </c:pt>
                <c:pt idx="1042">
                  <c:v>8.0000000000000002E-3</c:v>
                </c:pt>
                <c:pt idx="1043">
                  <c:v>4.0000000000000001E-3</c:v>
                </c:pt>
                <c:pt idx="1044">
                  <c:v>2.7E-2</c:v>
                </c:pt>
                <c:pt idx="1045">
                  <c:v>5.0000000000000001E-3</c:v>
                </c:pt>
                <c:pt idx="1046">
                  <c:v>4.0000000000000001E-3</c:v>
                </c:pt>
                <c:pt idx="1047">
                  <c:v>8.9999999999999993E-3</c:v>
                </c:pt>
                <c:pt idx="1048">
                  <c:v>5.0000000000000001E-3</c:v>
                </c:pt>
                <c:pt idx="1049">
                  <c:v>5.0000000000000001E-3</c:v>
                </c:pt>
                <c:pt idx="1050">
                  <c:v>1.4E-2</c:v>
                </c:pt>
                <c:pt idx="1051">
                  <c:v>8.9999999999999993E-3</c:v>
                </c:pt>
                <c:pt idx="1052">
                  <c:v>2.7E-2</c:v>
                </c:pt>
                <c:pt idx="1053">
                  <c:v>5.0000000000000001E-3</c:v>
                </c:pt>
                <c:pt idx="1054">
                  <c:v>5.0000000000000001E-3</c:v>
                </c:pt>
                <c:pt idx="1055">
                  <c:v>8.9999999999999993E-3</c:v>
                </c:pt>
                <c:pt idx="1056">
                  <c:v>5.0000000000000001E-3</c:v>
                </c:pt>
                <c:pt idx="1057">
                  <c:v>5.0000000000000001E-3</c:v>
                </c:pt>
                <c:pt idx="1058">
                  <c:v>1.4E-2</c:v>
                </c:pt>
                <c:pt idx="1059">
                  <c:v>2.3E-2</c:v>
                </c:pt>
                <c:pt idx="1060">
                  <c:v>1.7999999999999999E-2</c:v>
                </c:pt>
                <c:pt idx="1061">
                  <c:v>1.4E-2</c:v>
                </c:pt>
                <c:pt idx="1062">
                  <c:v>4.0000000000000001E-3</c:v>
                </c:pt>
                <c:pt idx="1063">
                  <c:v>5.0000000000000001E-3</c:v>
                </c:pt>
                <c:pt idx="1064">
                  <c:v>5.0000000000000001E-3</c:v>
                </c:pt>
                <c:pt idx="1065">
                  <c:v>5.0000000000000001E-3</c:v>
                </c:pt>
                <c:pt idx="1066">
                  <c:v>5.0000000000000001E-3</c:v>
                </c:pt>
                <c:pt idx="1067">
                  <c:v>5.0000000000000001E-3</c:v>
                </c:pt>
                <c:pt idx="1068">
                  <c:v>4.0000000000000001E-3</c:v>
                </c:pt>
                <c:pt idx="1069">
                  <c:v>1.2999999999999999E-2</c:v>
                </c:pt>
                <c:pt idx="1070">
                  <c:v>5.0000000000000001E-3</c:v>
                </c:pt>
                <c:pt idx="1071">
                  <c:v>5.0000000000000001E-3</c:v>
                </c:pt>
                <c:pt idx="1072">
                  <c:v>1.4E-2</c:v>
                </c:pt>
                <c:pt idx="1073">
                  <c:v>5.0000000000000001E-3</c:v>
                </c:pt>
                <c:pt idx="1074">
                  <c:v>4.0000000000000001E-3</c:v>
                </c:pt>
                <c:pt idx="1075">
                  <c:v>5.0000000000000001E-3</c:v>
                </c:pt>
                <c:pt idx="1076">
                  <c:v>5.0000000000000001E-3</c:v>
                </c:pt>
                <c:pt idx="1077">
                  <c:v>8.9999999999999993E-3</c:v>
                </c:pt>
                <c:pt idx="1078">
                  <c:v>5.0000000000000001E-3</c:v>
                </c:pt>
                <c:pt idx="1079">
                  <c:v>6.3E-2</c:v>
                </c:pt>
                <c:pt idx="1080">
                  <c:v>8.0000000000000002E-3</c:v>
                </c:pt>
                <c:pt idx="1081">
                  <c:v>5.0000000000000001E-3</c:v>
                </c:pt>
                <c:pt idx="1082">
                  <c:v>5.0000000000000001E-3</c:v>
                </c:pt>
                <c:pt idx="1083">
                  <c:v>1.4E-2</c:v>
                </c:pt>
                <c:pt idx="1084">
                  <c:v>2.4E-2</c:v>
                </c:pt>
                <c:pt idx="1085">
                  <c:v>8.9999999999999993E-3</c:v>
                </c:pt>
                <c:pt idx="1086">
                  <c:v>4.9000000000000002E-2</c:v>
                </c:pt>
                <c:pt idx="1087">
                  <c:v>1.4E-2</c:v>
                </c:pt>
                <c:pt idx="1088">
                  <c:v>8.9999999999999993E-3</c:v>
                </c:pt>
                <c:pt idx="1089">
                  <c:v>8.9999999999999993E-3</c:v>
                </c:pt>
                <c:pt idx="1090">
                  <c:v>5.0000000000000001E-3</c:v>
                </c:pt>
                <c:pt idx="1091">
                  <c:v>5.0000000000000001E-3</c:v>
                </c:pt>
                <c:pt idx="1092">
                  <c:v>5.0000000000000001E-3</c:v>
                </c:pt>
                <c:pt idx="1093">
                  <c:v>5.0000000000000001E-3</c:v>
                </c:pt>
                <c:pt idx="1094">
                  <c:v>4.0000000000000001E-3</c:v>
                </c:pt>
                <c:pt idx="1095">
                  <c:v>4.8000000000000001E-2</c:v>
                </c:pt>
                <c:pt idx="1096">
                  <c:v>5.0000000000000001E-3</c:v>
                </c:pt>
                <c:pt idx="1097">
                  <c:v>5.0000000000000001E-3</c:v>
                </c:pt>
                <c:pt idx="1098">
                  <c:v>5.0000000000000001E-3</c:v>
                </c:pt>
                <c:pt idx="1099">
                  <c:v>5.0000000000000001E-3</c:v>
                </c:pt>
                <c:pt idx="1100">
                  <c:v>1.4E-2</c:v>
                </c:pt>
                <c:pt idx="1101">
                  <c:v>5.0000000000000001E-3</c:v>
                </c:pt>
                <c:pt idx="1102">
                  <c:v>5.0000000000000001E-3</c:v>
                </c:pt>
                <c:pt idx="1103">
                  <c:v>8.9999999999999993E-3</c:v>
                </c:pt>
                <c:pt idx="1104">
                  <c:v>4.4999999999999998E-2</c:v>
                </c:pt>
                <c:pt idx="1105">
                  <c:v>3.2000000000000001E-2</c:v>
                </c:pt>
                <c:pt idx="1106">
                  <c:v>0.05</c:v>
                </c:pt>
                <c:pt idx="1107">
                  <c:v>1.0999999999999999E-2</c:v>
                </c:pt>
                <c:pt idx="1108">
                  <c:v>5.0000000000000001E-3</c:v>
                </c:pt>
                <c:pt idx="1109">
                  <c:v>5.0000000000000001E-3</c:v>
                </c:pt>
                <c:pt idx="1110">
                  <c:v>5.0000000000000001E-3</c:v>
                </c:pt>
                <c:pt idx="1111">
                  <c:v>5.0000000000000001E-3</c:v>
                </c:pt>
                <c:pt idx="1112">
                  <c:v>1.2999999999999999E-2</c:v>
                </c:pt>
                <c:pt idx="1113">
                  <c:v>5.0000000000000001E-3</c:v>
                </c:pt>
                <c:pt idx="1114">
                  <c:v>8.9999999999999993E-3</c:v>
                </c:pt>
                <c:pt idx="1115">
                  <c:v>5.0000000000000001E-3</c:v>
                </c:pt>
                <c:pt idx="1116">
                  <c:v>5.0000000000000001E-3</c:v>
                </c:pt>
                <c:pt idx="1117">
                  <c:v>3.5999999999999997E-2</c:v>
                </c:pt>
                <c:pt idx="1118">
                  <c:v>5.0000000000000001E-3</c:v>
                </c:pt>
                <c:pt idx="1119">
                  <c:v>8.9999999999999993E-3</c:v>
                </c:pt>
                <c:pt idx="1120">
                  <c:v>5.0000000000000001E-3</c:v>
                </c:pt>
                <c:pt idx="1121">
                  <c:v>5.0000000000000001E-3</c:v>
                </c:pt>
                <c:pt idx="1122">
                  <c:v>5.0000000000000001E-3</c:v>
                </c:pt>
                <c:pt idx="1123">
                  <c:v>5.3999999999999999E-2</c:v>
                </c:pt>
                <c:pt idx="1124">
                  <c:v>8.9999999999999993E-3</c:v>
                </c:pt>
                <c:pt idx="1125">
                  <c:v>8.9999999999999993E-3</c:v>
                </c:pt>
                <c:pt idx="1126">
                  <c:v>5.0000000000000001E-3</c:v>
                </c:pt>
                <c:pt idx="1127">
                  <c:v>5.0000000000000001E-3</c:v>
                </c:pt>
                <c:pt idx="1128">
                  <c:v>5.0000000000000001E-3</c:v>
                </c:pt>
                <c:pt idx="1129">
                  <c:v>5.0000000000000001E-3</c:v>
                </c:pt>
                <c:pt idx="1130">
                  <c:v>5.0000000000000001E-3</c:v>
                </c:pt>
                <c:pt idx="1131">
                  <c:v>8.9999999999999993E-3</c:v>
                </c:pt>
                <c:pt idx="1132">
                  <c:v>5.0000000000000001E-3</c:v>
                </c:pt>
                <c:pt idx="1133">
                  <c:v>5.0000000000000001E-3</c:v>
                </c:pt>
                <c:pt idx="1134">
                  <c:v>5.0000000000000001E-3</c:v>
                </c:pt>
                <c:pt idx="1135">
                  <c:v>5.0000000000000001E-3</c:v>
                </c:pt>
                <c:pt idx="1136">
                  <c:v>5.0000000000000001E-3</c:v>
                </c:pt>
                <c:pt idx="1137">
                  <c:v>8.9999999999999993E-3</c:v>
                </c:pt>
                <c:pt idx="1138">
                  <c:v>5.0000000000000001E-3</c:v>
                </c:pt>
                <c:pt idx="1139">
                  <c:v>5.0000000000000001E-3</c:v>
                </c:pt>
                <c:pt idx="1140">
                  <c:v>5.0000000000000001E-3</c:v>
                </c:pt>
                <c:pt idx="1141">
                  <c:v>5.0000000000000001E-3</c:v>
                </c:pt>
                <c:pt idx="1142">
                  <c:v>8.9999999999999993E-3</c:v>
                </c:pt>
                <c:pt idx="1143">
                  <c:v>5.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D46E-4B35-AB90-9DEAD12B463E}"/>
              </c:ext>
            </c:extLst>
          </c:dPt>
          <c:dPt>
            <c:idx val="211"/>
            <c:invertIfNegative val="1"/>
            <c:bubble3D val="0"/>
            <c:spPr>
              <a:solidFill>
                <a:srgbClr val="7ECAC4"/>
              </a:solidFill>
            </c:spPr>
            <c:extLst>
              <c:ext xmlns:c16="http://schemas.microsoft.com/office/drawing/2014/chart" uri="{C3380CC4-5D6E-409C-BE32-E72D297353CC}">
                <c16:uniqueId val="{000001A9-D46E-4B35-AB90-9DEAD12B463E}"/>
              </c:ext>
            </c:extLst>
          </c:dPt>
          <c:dPt>
            <c:idx val="212"/>
            <c:invertIfNegative val="1"/>
            <c:bubble3D val="0"/>
            <c:spPr>
              <a:solidFill>
                <a:srgbClr val="7ECAC4"/>
              </a:solidFill>
            </c:spPr>
            <c:extLst>
              <c:ext xmlns:c16="http://schemas.microsoft.com/office/drawing/2014/chart" uri="{C3380CC4-5D6E-409C-BE32-E72D297353CC}">
                <c16:uniqueId val="{000001AB-D46E-4B35-AB90-9DEAD12B463E}"/>
              </c:ext>
            </c:extLst>
          </c:dPt>
          <c:dPt>
            <c:idx val="213"/>
            <c:invertIfNegative val="1"/>
            <c:bubble3D val="0"/>
            <c:spPr>
              <a:solidFill>
                <a:srgbClr val="7ECAC4"/>
              </a:solidFill>
            </c:spPr>
            <c:extLst>
              <c:ext xmlns:c16="http://schemas.microsoft.com/office/drawing/2014/chart" uri="{C3380CC4-5D6E-409C-BE32-E72D297353CC}">
                <c16:uniqueId val="{000001AD-D46E-4B35-AB90-9DEAD12B463E}"/>
              </c:ext>
            </c:extLst>
          </c:dPt>
          <c:dPt>
            <c:idx val="214"/>
            <c:invertIfNegative val="1"/>
            <c:bubble3D val="0"/>
            <c:spPr>
              <a:solidFill>
                <a:srgbClr val="7ECAC4"/>
              </a:solidFill>
            </c:spPr>
            <c:extLst>
              <c:ext xmlns:c16="http://schemas.microsoft.com/office/drawing/2014/chart" uri="{C3380CC4-5D6E-409C-BE32-E72D297353CC}">
                <c16:uniqueId val="{000001AF-D46E-4B35-AB90-9DEAD12B463E}"/>
              </c:ext>
            </c:extLst>
          </c:dPt>
          <c:dPt>
            <c:idx val="215"/>
            <c:invertIfNegative val="1"/>
            <c:bubble3D val="0"/>
            <c:spPr>
              <a:solidFill>
                <a:srgbClr val="7ECAC4"/>
              </a:solidFill>
            </c:spPr>
            <c:extLst>
              <c:ext xmlns:c16="http://schemas.microsoft.com/office/drawing/2014/chart" uri="{C3380CC4-5D6E-409C-BE32-E72D297353CC}">
                <c16:uniqueId val="{000001B1-D46E-4B35-AB90-9DEAD12B463E}"/>
              </c:ext>
            </c:extLst>
          </c:dPt>
          <c:dPt>
            <c:idx val="216"/>
            <c:invertIfNegative val="1"/>
            <c:bubble3D val="0"/>
            <c:spPr>
              <a:solidFill>
                <a:srgbClr val="7ECAC4"/>
              </a:solidFill>
            </c:spPr>
            <c:extLst>
              <c:ext xmlns:c16="http://schemas.microsoft.com/office/drawing/2014/chart" uri="{C3380CC4-5D6E-409C-BE32-E72D297353CC}">
                <c16:uniqueId val="{000001B3-D46E-4B35-AB90-9DEAD12B463E}"/>
              </c:ext>
            </c:extLst>
          </c:dPt>
          <c:dPt>
            <c:idx val="217"/>
            <c:invertIfNegative val="1"/>
            <c:bubble3D val="0"/>
            <c:spPr>
              <a:solidFill>
                <a:srgbClr val="7ECAC4"/>
              </a:solidFill>
            </c:spPr>
            <c:extLst>
              <c:ext xmlns:c16="http://schemas.microsoft.com/office/drawing/2014/chart" uri="{C3380CC4-5D6E-409C-BE32-E72D297353CC}">
                <c16:uniqueId val="{000001B5-D46E-4B35-AB90-9DEAD12B463E}"/>
              </c:ext>
            </c:extLst>
          </c:dPt>
          <c:dPt>
            <c:idx val="218"/>
            <c:invertIfNegative val="1"/>
            <c:bubble3D val="0"/>
            <c:spPr>
              <a:solidFill>
                <a:srgbClr val="7ECAC4"/>
              </a:solidFill>
            </c:spPr>
            <c:extLst>
              <c:ext xmlns:c16="http://schemas.microsoft.com/office/drawing/2014/chart" uri="{C3380CC4-5D6E-409C-BE32-E72D297353CC}">
                <c16:uniqueId val="{000001B7-D46E-4B35-AB90-9DEAD12B463E}"/>
              </c:ext>
            </c:extLst>
          </c:dPt>
          <c:dPt>
            <c:idx val="219"/>
            <c:invertIfNegative val="1"/>
            <c:bubble3D val="0"/>
            <c:spPr>
              <a:solidFill>
                <a:srgbClr val="7ECAC4"/>
              </a:solidFill>
            </c:spPr>
            <c:extLst>
              <c:ext xmlns:c16="http://schemas.microsoft.com/office/drawing/2014/chart" uri="{C3380CC4-5D6E-409C-BE32-E72D297353CC}">
                <c16:uniqueId val="{000001B9-D46E-4B35-AB90-9DEAD12B463E}"/>
              </c:ext>
            </c:extLst>
          </c:dPt>
          <c:dPt>
            <c:idx val="220"/>
            <c:invertIfNegative val="1"/>
            <c:bubble3D val="0"/>
            <c:spPr>
              <a:solidFill>
                <a:srgbClr val="7ECAC4"/>
              </a:solidFill>
            </c:spPr>
            <c:extLst>
              <c:ext xmlns:c16="http://schemas.microsoft.com/office/drawing/2014/chart" uri="{C3380CC4-5D6E-409C-BE32-E72D297353CC}">
                <c16:uniqueId val="{000001BB-D46E-4B35-AB90-9DEAD12B463E}"/>
              </c:ext>
            </c:extLst>
          </c:dPt>
          <c:dPt>
            <c:idx val="221"/>
            <c:invertIfNegative val="1"/>
            <c:bubble3D val="0"/>
            <c:spPr>
              <a:solidFill>
                <a:srgbClr val="7ECAC4"/>
              </a:solidFill>
            </c:spPr>
            <c:extLst>
              <c:ext xmlns:c16="http://schemas.microsoft.com/office/drawing/2014/chart" uri="{C3380CC4-5D6E-409C-BE32-E72D297353CC}">
                <c16:uniqueId val="{000001BD-D46E-4B35-AB90-9DEAD12B463E}"/>
              </c:ext>
            </c:extLst>
          </c:dPt>
          <c:dPt>
            <c:idx val="222"/>
            <c:invertIfNegative val="1"/>
            <c:bubble3D val="0"/>
            <c:spPr>
              <a:solidFill>
                <a:srgbClr val="7ECAC4"/>
              </a:solidFill>
            </c:spPr>
            <c:extLst>
              <c:ext xmlns:c16="http://schemas.microsoft.com/office/drawing/2014/chart" uri="{C3380CC4-5D6E-409C-BE32-E72D297353CC}">
                <c16:uniqueId val="{000001BF-D46E-4B35-AB90-9DEAD12B463E}"/>
              </c:ext>
            </c:extLst>
          </c:dPt>
          <c:dPt>
            <c:idx val="223"/>
            <c:invertIfNegative val="1"/>
            <c:bubble3D val="0"/>
            <c:spPr>
              <a:solidFill>
                <a:srgbClr val="7ECAC4"/>
              </a:solidFill>
            </c:spPr>
            <c:extLst>
              <c:ext xmlns:c16="http://schemas.microsoft.com/office/drawing/2014/chart" uri="{C3380CC4-5D6E-409C-BE32-E72D297353CC}">
                <c16:uniqueId val="{000001C1-D46E-4B35-AB90-9DEAD12B463E}"/>
              </c:ext>
            </c:extLst>
          </c:dPt>
          <c:dPt>
            <c:idx val="224"/>
            <c:invertIfNegative val="1"/>
            <c:bubble3D val="0"/>
            <c:spPr>
              <a:solidFill>
                <a:srgbClr val="7ECAC4"/>
              </a:solidFill>
            </c:spPr>
            <c:extLst>
              <c:ext xmlns:c16="http://schemas.microsoft.com/office/drawing/2014/chart" uri="{C3380CC4-5D6E-409C-BE32-E72D297353CC}">
                <c16:uniqueId val="{000001C3-D46E-4B35-AB90-9DEAD12B463E}"/>
              </c:ext>
            </c:extLst>
          </c:dPt>
          <c:dPt>
            <c:idx val="225"/>
            <c:invertIfNegative val="1"/>
            <c:bubble3D val="0"/>
            <c:spPr>
              <a:solidFill>
                <a:srgbClr val="7ECAC4"/>
              </a:solidFill>
            </c:spPr>
            <c:extLst>
              <c:ext xmlns:c16="http://schemas.microsoft.com/office/drawing/2014/chart" uri="{C3380CC4-5D6E-409C-BE32-E72D297353CC}">
                <c16:uniqueId val="{000001C5-D46E-4B35-AB90-9DEAD12B463E}"/>
              </c:ext>
            </c:extLst>
          </c:dPt>
          <c:dPt>
            <c:idx val="226"/>
            <c:invertIfNegative val="1"/>
            <c:bubble3D val="0"/>
            <c:spPr>
              <a:solidFill>
                <a:srgbClr val="7ECAC4"/>
              </a:solidFill>
            </c:spPr>
            <c:extLst>
              <c:ext xmlns:c16="http://schemas.microsoft.com/office/drawing/2014/chart" uri="{C3380CC4-5D6E-409C-BE32-E72D297353CC}">
                <c16:uniqueId val="{000001C7-D46E-4B35-AB90-9DEAD12B463E}"/>
              </c:ext>
            </c:extLst>
          </c:dPt>
          <c:dPt>
            <c:idx val="227"/>
            <c:invertIfNegative val="1"/>
            <c:bubble3D val="0"/>
            <c:spPr>
              <a:solidFill>
                <a:srgbClr val="7ECAC4"/>
              </a:solidFill>
            </c:spPr>
            <c:extLst>
              <c:ext xmlns:c16="http://schemas.microsoft.com/office/drawing/2014/chart" uri="{C3380CC4-5D6E-409C-BE32-E72D297353CC}">
                <c16:uniqueId val="{000001C9-D46E-4B35-AB90-9DEAD12B463E}"/>
              </c:ext>
            </c:extLst>
          </c:dPt>
          <c:dPt>
            <c:idx val="228"/>
            <c:invertIfNegative val="1"/>
            <c:bubble3D val="0"/>
            <c:spPr>
              <a:solidFill>
                <a:srgbClr val="7ECAC4"/>
              </a:solidFill>
            </c:spPr>
            <c:extLst>
              <c:ext xmlns:c16="http://schemas.microsoft.com/office/drawing/2014/chart" uri="{C3380CC4-5D6E-409C-BE32-E72D297353CC}">
                <c16:uniqueId val="{000001CB-D46E-4B35-AB90-9DEAD12B463E}"/>
              </c:ext>
            </c:extLst>
          </c:dPt>
          <c:dPt>
            <c:idx val="229"/>
            <c:invertIfNegative val="1"/>
            <c:bubble3D val="0"/>
            <c:spPr>
              <a:solidFill>
                <a:srgbClr val="7ECAC4"/>
              </a:solidFill>
            </c:spPr>
            <c:extLst>
              <c:ext xmlns:c16="http://schemas.microsoft.com/office/drawing/2014/chart" uri="{C3380CC4-5D6E-409C-BE32-E72D297353CC}">
                <c16:uniqueId val="{000001CD-D46E-4B35-AB90-9DEAD12B463E}"/>
              </c:ext>
            </c:extLst>
          </c:dPt>
          <c:dPt>
            <c:idx val="230"/>
            <c:invertIfNegative val="1"/>
            <c:bubble3D val="0"/>
            <c:spPr>
              <a:solidFill>
                <a:srgbClr val="7ECAC4"/>
              </a:solidFill>
            </c:spPr>
            <c:extLst>
              <c:ext xmlns:c16="http://schemas.microsoft.com/office/drawing/2014/chart" uri="{C3380CC4-5D6E-409C-BE32-E72D297353CC}">
                <c16:uniqueId val="{000001CF-D46E-4B35-AB90-9DEAD12B463E}"/>
              </c:ext>
            </c:extLst>
          </c:dPt>
          <c:dPt>
            <c:idx val="231"/>
            <c:invertIfNegative val="1"/>
            <c:bubble3D val="0"/>
            <c:spPr>
              <a:solidFill>
                <a:srgbClr val="7ECAC4"/>
              </a:solidFill>
            </c:spPr>
            <c:extLst>
              <c:ext xmlns:c16="http://schemas.microsoft.com/office/drawing/2014/chart" uri="{C3380CC4-5D6E-409C-BE32-E72D297353CC}">
                <c16:uniqueId val="{000001D1-D46E-4B35-AB90-9DEAD12B463E}"/>
              </c:ext>
            </c:extLst>
          </c:dPt>
          <c:dPt>
            <c:idx val="232"/>
            <c:invertIfNegative val="1"/>
            <c:bubble3D val="0"/>
            <c:spPr>
              <a:solidFill>
                <a:srgbClr val="7ECAC4"/>
              </a:solidFill>
            </c:spPr>
            <c:extLst>
              <c:ext xmlns:c16="http://schemas.microsoft.com/office/drawing/2014/chart" uri="{C3380CC4-5D6E-409C-BE32-E72D297353CC}">
                <c16:uniqueId val="{000001D3-D46E-4B35-AB90-9DEAD12B463E}"/>
              </c:ext>
            </c:extLst>
          </c:dPt>
          <c:dPt>
            <c:idx val="233"/>
            <c:invertIfNegative val="1"/>
            <c:bubble3D val="0"/>
            <c:spPr>
              <a:solidFill>
                <a:srgbClr val="7ECAC4"/>
              </a:solidFill>
            </c:spPr>
            <c:extLst>
              <c:ext xmlns:c16="http://schemas.microsoft.com/office/drawing/2014/chart" uri="{C3380CC4-5D6E-409C-BE32-E72D297353CC}">
                <c16:uniqueId val="{000001D5-D46E-4B35-AB90-9DEAD12B463E}"/>
              </c:ext>
            </c:extLst>
          </c:dPt>
          <c:dPt>
            <c:idx val="234"/>
            <c:invertIfNegative val="1"/>
            <c:bubble3D val="0"/>
            <c:spPr>
              <a:solidFill>
                <a:srgbClr val="7ECAC4"/>
              </a:solidFill>
            </c:spPr>
            <c:extLst>
              <c:ext xmlns:c16="http://schemas.microsoft.com/office/drawing/2014/chart" uri="{C3380CC4-5D6E-409C-BE32-E72D297353CC}">
                <c16:uniqueId val="{000001D7-D46E-4B35-AB90-9DEAD12B463E}"/>
              </c:ext>
            </c:extLst>
          </c:dPt>
          <c:dPt>
            <c:idx val="235"/>
            <c:invertIfNegative val="1"/>
            <c:bubble3D val="0"/>
            <c:spPr>
              <a:solidFill>
                <a:srgbClr val="7ECAC4"/>
              </a:solidFill>
            </c:spPr>
            <c:extLst>
              <c:ext xmlns:c16="http://schemas.microsoft.com/office/drawing/2014/chart" uri="{C3380CC4-5D6E-409C-BE32-E72D297353CC}">
                <c16:uniqueId val="{000001D9-D46E-4B35-AB90-9DEAD12B463E}"/>
              </c:ext>
            </c:extLst>
          </c:dPt>
          <c:dPt>
            <c:idx val="236"/>
            <c:invertIfNegative val="1"/>
            <c:bubble3D val="0"/>
            <c:spPr>
              <a:solidFill>
                <a:srgbClr val="7ECAC4"/>
              </a:solidFill>
            </c:spPr>
            <c:extLst>
              <c:ext xmlns:c16="http://schemas.microsoft.com/office/drawing/2014/chart" uri="{C3380CC4-5D6E-409C-BE32-E72D297353CC}">
                <c16:uniqueId val="{000001DB-D46E-4B35-AB90-9DEAD12B463E}"/>
              </c:ext>
            </c:extLst>
          </c:dPt>
          <c:dPt>
            <c:idx val="237"/>
            <c:invertIfNegative val="1"/>
            <c:bubble3D val="0"/>
            <c:spPr>
              <a:solidFill>
                <a:srgbClr val="7ECAC4"/>
              </a:solidFill>
            </c:spPr>
            <c:extLst>
              <c:ext xmlns:c16="http://schemas.microsoft.com/office/drawing/2014/chart" uri="{C3380CC4-5D6E-409C-BE32-E72D297353CC}">
                <c16:uniqueId val="{000001DD-D46E-4B35-AB90-9DEAD12B463E}"/>
              </c:ext>
            </c:extLst>
          </c:dPt>
          <c:dPt>
            <c:idx val="238"/>
            <c:invertIfNegative val="1"/>
            <c:bubble3D val="0"/>
            <c:spPr>
              <a:solidFill>
                <a:srgbClr val="7ECAC4"/>
              </a:solidFill>
            </c:spPr>
            <c:extLst>
              <c:ext xmlns:c16="http://schemas.microsoft.com/office/drawing/2014/chart" uri="{C3380CC4-5D6E-409C-BE32-E72D297353CC}">
                <c16:uniqueId val="{000001DF-D46E-4B35-AB90-9DEAD12B463E}"/>
              </c:ext>
            </c:extLst>
          </c:dPt>
          <c:dPt>
            <c:idx val="239"/>
            <c:invertIfNegative val="1"/>
            <c:bubble3D val="0"/>
            <c:spPr>
              <a:solidFill>
                <a:srgbClr val="7ECAC4"/>
              </a:solidFill>
            </c:spPr>
            <c:extLst>
              <c:ext xmlns:c16="http://schemas.microsoft.com/office/drawing/2014/chart" uri="{C3380CC4-5D6E-409C-BE32-E72D297353CC}">
                <c16:uniqueId val="{000001E1-D46E-4B35-AB90-9DEAD12B463E}"/>
              </c:ext>
            </c:extLst>
          </c:dPt>
          <c:dPt>
            <c:idx val="240"/>
            <c:invertIfNegative val="1"/>
            <c:bubble3D val="0"/>
            <c:spPr>
              <a:solidFill>
                <a:srgbClr val="7ECAC4"/>
              </a:solidFill>
            </c:spPr>
            <c:extLst>
              <c:ext xmlns:c16="http://schemas.microsoft.com/office/drawing/2014/chart" uri="{C3380CC4-5D6E-409C-BE32-E72D297353CC}">
                <c16:uniqueId val="{000001E3-D46E-4B35-AB90-9DEAD12B463E}"/>
              </c:ext>
            </c:extLst>
          </c:dPt>
          <c:dPt>
            <c:idx val="241"/>
            <c:invertIfNegative val="1"/>
            <c:bubble3D val="0"/>
            <c:spPr>
              <a:solidFill>
                <a:srgbClr val="7ECAC4"/>
              </a:solidFill>
            </c:spPr>
            <c:extLst>
              <c:ext xmlns:c16="http://schemas.microsoft.com/office/drawing/2014/chart" uri="{C3380CC4-5D6E-409C-BE32-E72D297353CC}">
                <c16:uniqueId val="{000001E5-D46E-4B35-AB90-9DEAD12B463E}"/>
              </c:ext>
            </c:extLst>
          </c:dPt>
          <c:dPt>
            <c:idx val="242"/>
            <c:invertIfNegative val="1"/>
            <c:bubble3D val="0"/>
            <c:spPr>
              <a:solidFill>
                <a:srgbClr val="7ECAC4"/>
              </a:solidFill>
            </c:spPr>
            <c:extLst>
              <c:ext xmlns:c16="http://schemas.microsoft.com/office/drawing/2014/chart" uri="{C3380CC4-5D6E-409C-BE32-E72D297353CC}">
                <c16:uniqueId val="{000001E7-D46E-4B35-AB90-9DEAD12B463E}"/>
              </c:ext>
            </c:extLst>
          </c:dPt>
          <c:dPt>
            <c:idx val="243"/>
            <c:invertIfNegative val="1"/>
            <c:bubble3D val="0"/>
            <c:spPr>
              <a:solidFill>
                <a:srgbClr val="7ECAC4"/>
              </a:solidFill>
            </c:spPr>
            <c:extLst>
              <c:ext xmlns:c16="http://schemas.microsoft.com/office/drawing/2014/chart" uri="{C3380CC4-5D6E-409C-BE32-E72D297353CC}">
                <c16:uniqueId val="{000001E9-D46E-4B35-AB90-9DEAD12B463E}"/>
              </c:ext>
            </c:extLst>
          </c:dPt>
          <c:dPt>
            <c:idx val="244"/>
            <c:invertIfNegative val="1"/>
            <c:bubble3D val="0"/>
            <c:spPr>
              <a:solidFill>
                <a:srgbClr val="7ECAC4"/>
              </a:solidFill>
            </c:spPr>
            <c:extLst>
              <c:ext xmlns:c16="http://schemas.microsoft.com/office/drawing/2014/chart" uri="{C3380CC4-5D6E-409C-BE32-E72D297353CC}">
                <c16:uniqueId val="{000001EB-D46E-4B35-AB90-9DEAD12B463E}"/>
              </c:ext>
            </c:extLst>
          </c:dPt>
          <c:dPt>
            <c:idx val="245"/>
            <c:invertIfNegative val="1"/>
            <c:bubble3D val="0"/>
            <c:spPr>
              <a:solidFill>
                <a:srgbClr val="7ECAC4"/>
              </a:solidFill>
            </c:spPr>
            <c:extLst>
              <c:ext xmlns:c16="http://schemas.microsoft.com/office/drawing/2014/chart" uri="{C3380CC4-5D6E-409C-BE32-E72D297353CC}">
                <c16:uniqueId val="{000001ED-D46E-4B35-AB90-9DEAD12B463E}"/>
              </c:ext>
            </c:extLst>
          </c:dPt>
          <c:dPt>
            <c:idx val="246"/>
            <c:invertIfNegative val="1"/>
            <c:bubble3D val="0"/>
            <c:spPr>
              <a:solidFill>
                <a:srgbClr val="7ECAC4"/>
              </a:solidFill>
            </c:spPr>
            <c:extLst>
              <c:ext xmlns:c16="http://schemas.microsoft.com/office/drawing/2014/chart" uri="{C3380CC4-5D6E-409C-BE32-E72D297353CC}">
                <c16:uniqueId val="{000001EF-D46E-4B35-AB90-9DEAD12B463E}"/>
              </c:ext>
            </c:extLst>
          </c:dPt>
          <c:dPt>
            <c:idx val="247"/>
            <c:invertIfNegative val="1"/>
            <c:bubble3D val="0"/>
            <c:spPr>
              <a:solidFill>
                <a:srgbClr val="7ECAC4"/>
              </a:solidFill>
            </c:spPr>
            <c:extLst>
              <c:ext xmlns:c16="http://schemas.microsoft.com/office/drawing/2014/chart" uri="{C3380CC4-5D6E-409C-BE32-E72D297353CC}">
                <c16:uniqueId val="{000001F1-D46E-4B35-AB90-9DEAD12B463E}"/>
              </c:ext>
            </c:extLst>
          </c:dPt>
          <c:dPt>
            <c:idx val="248"/>
            <c:invertIfNegative val="1"/>
            <c:bubble3D val="0"/>
            <c:spPr>
              <a:solidFill>
                <a:srgbClr val="7ECAC4"/>
              </a:solidFill>
            </c:spPr>
            <c:extLst>
              <c:ext xmlns:c16="http://schemas.microsoft.com/office/drawing/2014/chart" uri="{C3380CC4-5D6E-409C-BE32-E72D297353CC}">
                <c16:uniqueId val="{000001F3-D46E-4B35-AB90-9DEAD12B463E}"/>
              </c:ext>
            </c:extLst>
          </c:dPt>
          <c:dPt>
            <c:idx val="249"/>
            <c:invertIfNegative val="1"/>
            <c:bubble3D val="0"/>
            <c:spPr>
              <a:solidFill>
                <a:srgbClr val="7ECAC4"/>
              </a:solidFill>
            </c:spPr>
            <c:extLst>
              <c:ext xmlns:c16="http://schemas.microsoft.com/office/drawing/2014/chart" uri="{C3380CC4-5D6E-409C-BE32-E72D297353CC}">
                <c16:uniqueId val="{000001F5-D46E-4B35-AB90-9DEAD12B463E}"/>
              </c:ext>
            </c:extLst>
          </c:dPt>
          <c:dPt>
            <c:idx val="250"/>
            <c:invertIfNegative val="1"/>
            <c:bubble3D val="0"/>
            <c:spPr>
              <a:solidFill>
                <a:srgbClr val="7ECAC4"/>
              </a:solidFill>
            </c:spPr>
            <c:extLst>
              <c:ext xmlns:c16="http://schemas.microsoft.com/office/drawing/2014/chart" uri="{C3380CC4-5D6E-409C-BE32-E72D297353CC}">
                <c16:uniqueId val="{000001F7-D46E-4B35-AB90-9DEAD12B463E}"/>
              </c:ext>
            </c:extLst>
          </c:dPt>
          <c:dPt>
            <c:idx val="251"/>
            <c:invertIfNegative val="1"/>
            <c:bubble3D val="0"/>
            <c:spPr>
              <a:solidFill>
                <a:srgbClr val="7ECAC4"/>
              </a:solidFill>
            </c:spPr>
            <c:extLst>
              <c:ext xmlns:c16="http://schemas.microsoft.com/office/drawing/2014/chart" uri="{C3380CC4-5D6E-409C-BE32-E72D297353CC}">
                <c16:uniqueId val="{000001F9-D46E-4B35-AB90-9DEAD12B463E}"/>
              </c:ext>
            </c:extLst>
          </c:dPt>
          <c:dPt>
            <c:idx val="252"/>
            <c:invertIfNegative val="1"/>
            <c:bubble3D val="0"/>
            <c:spPr>
              <a:solidFill>
                <a:srgbClr val="7ECAC4"/>
              </a:solidFill>
            </c:spPr>
            <c:extLst>
              <c:ext xmlns:c16="http://schemas.microsoft.com/office/drawing/2014/chart" uri="{C3380CC4-5D6E-409C-BE32-E72D297353CC}">
                <c16:uniqueId val="{000001FB-D46E-4B35-AB90-9DEAD12B463E}"/>
              </c:ext>
            </c:extLst>
          </c:dPt>
          <c:dPt>
            <c:idx val="253"/>
            <c:invertIfNegative val="1"/>
            <c:bubble3D val="0"/>
            <c:spPr>
              <a:solidFill>
                <a:srgbClr val="7ECAC4"/>
              </a:solidFill>
            </c:spPr>
            <c:extLst>
              <c:ext xmlns:c16="http://schemas.microsoft.com/office/drawing/2014/chart" uri="{C3380CC4-5D6E-409C-BE32-E72D297353CC}">
                <c16:uniqueId val="{000001FD-D46E-4B35-AB90-9DEAD12B463E}"/>
              </c:ext>
            </c:extLst>
          </c:dPt>
          <c:dPt>
            <c:idx val="254"/>
            <c:invertIfNegative val="1"/>
            <c:bubble3D val="0"/>
            <c:spPr>
              <a:solidFill>
                <a:srgbClr val="7ECAC4"/>
              </a:solidFill>
            </c:spPr>
            <c:extLst>
              <c:ext xmlns:c16="http://schemas.microsoft.com/office/drawing/2014/chart" uri="{C3380CC4-5D6E-409C-BE32-E72D297353CC}">
                <c16:uniqueId val="{000001FF-D46E-4B35-AB90-9DEAD12B463E}"/>
              </c:ext>
            </c:extLst>
          </c:dPt>
          <c:dPt>
            <c:idx val="255"/>
            <c:invertIfNegative val="1"/>
            <c:bubble3D val="0"/>
            <c:spPr>
              <a:solidFill>
                <a:srgbClr val="7ECAC4"/>
              </a:solidFill>
            </c:spPr>
            <c:extLst>
              <c:ext xmlns:c16="http://schemas.microsoft.com/office/drawing/2014/chart" uri="{C3380CC4-5D6E-409C-BE32-E72D297353CC}">
                <c16:uniqueId val="{00000201-D46E-4B35-AB90-9DEAD12B463E}"/>
              </c:ext>
            </c:extLst>
          </c:dPt>
          <c:dPt>
            <c:idx val="256"/>
            <c:invertIfNegative val="1"/>
            <c:bubble3D val="0"/>
            <c:spPr>
              <a:solidFill>
                <a:srgbClr val="7ECAC4"/>
              </a:solidFill>
            </c:spPr>
            <c:extLst>
              <c:ext xmlns:c16="http://schemas.microsoft.com/office/drawing/2014/chart" uri="{C3380CC4-5D6E-409C-BE32-E72D297353CC}">
                <c16:uniqueId val="{00000203-D46E-4B35-AB90-9DEAD12B463E}"/>
              </c:ext>
            </c:extLst>
          </c:dPt>
          <c:dPt>
            <c:idx val="257"/>
            <c:invertIfNegative val="1"/>
            <c:bubble3D val="0"/>
            <c:spPr>
              <a:solidFill>
                <a:srgbClr val="7ECAC4"/>
              </a:solidFill>
            </c:spPr>
            <c:extLst>
              <c:ext xmlns:c16="http://schemas.microsoft.com/office/drawing/2014/chart" uri="{C3380CC4-5D6E-409C-BE32-E72D297353CC}">
                <c16:uniqueId val="{00000205-D46E-4B35-AB90-9DEAD12B463E}"/>
              </c:ext>
            </c:extLst>
          </c:dPt>
          <c:dPt>
            <c:idx val="258"/>
            <c:invertIfNegative val="1"/>
            <c:bubble3D val="0"/>
            <c:spPr>
              <a:solidFill>
                <a:srgbClr val="7ECAC4"/>
              </a:solidFill>
            </c:spPr>
            <c:extLst>
              <c:ext xmlns:c16="http://schemas.microsoft.com/office/drawing/2014/chart" uri="{C3380CC4-5D6E-409C-BE32-E72D297353CC}">
                <c16:uniqueId val="{00000207-D46E-4B35-AB90-9DEAD12B463E}"/>
              </c:ext>
            </c:extLst>
          </c:dPt>
          <c:dPt>
            <c:idx val="259"/>
            <c:invertIfNegative val="1"/>
            <c:bubble3D val="0"/>
            <c:spPr>
              <a:solidFill>
                <a:srgbClr val="7ECAC4"/>
              </a:solidFill>
            </c:spPr>
            <c:extLst>
              <c:ext xmlns:c16="http://schemas.microsoft.com/office/drawing/2014/chart" uri="{C3380CC4-5D6E-409C-BE32-E72D297353CC}">
                <c16:uniqueId val="{00000209-D46E-4B35-AB90-9DEAD12B463E}"/>
              </c:ext>
            </c:extLst>
          </c:dPt>
          <c:dPt>
            <c:idx val="260"/>
            <c:invertIfNegative val="1"/>
            <c:bubble3D val="0"/>
            <c:spPr>
              <a:solidFill>
                <a:srgbClr val="7ECAC4"/>
              </a:solidFill>
            </c:spPr>
            <c:extLst>
              <c:ext xmlns:c16="http://schemas.microsoft.com/office/drawing/2014/chart" uri="{C3380CC4-5D6E-409C-BE32-E72D297353CC}">
                <c16:uniqueId val="{0000020B-D46E-4B35-AB90-9DEAD12B463E}"/>
              </c:ext>
            </c:extLst>
          </c:dPt>
          <c:dPt>
            <c:idx val="261"/>
            <c:invertIfNegative val="1"/>
            <c:bubble3D val="0"/>
            <c:spPr>
              <a:solidFill>
                <a:srgbClr val="7ECAC4"/>
              </a:solidFill>
            </c:spPr>
            <c:extLst>
              <c:ext xmlns:c16="http://schemas.microsoft.com/office/drawing/2014/chart" uri="{C3380CC4-5D6E-409C-BE32-E72D297353CC}">
                <c16:uniqueId val="{0000020D-D46E-4B35-AB90-9DEAD12B463E}"/>
              </c:ext>
            </c:extLst>
          </c:dPt>
          <c:dPt>
            <c:idx val="262"/>
            <c:invertIfNegative val="1"/>
            <c:bubble3D val="0"/>
            <c:spPr>
              <a:solidFill>
                <a:srgbClr val="7ECAC4"/>
              </a:solidFill>
            </c:spPr>
            <c:extLst>
              <c:ext xmlns:c16="http://schemas.microsoft.com/office/drawing/2014/chart" uri="{C3380CC4-5D6E-409C-BE32-E72D297353CC}">
                <c16:uniqueId val="{0000020F-D46E-4B35-AB90-9DEAD12B463E}"/>
              </c:ext>
            </c:extLst>
          </c:dPt>
          <c:dPt>
            <c:idx val="263"/>
            <c:invertIfNegative val="1"/>
            <c:bubble3D val="0"/>
            <c:spPr>
              <a:solidFill>
                <a:srgbClr val="7ECAC4"/>
              </a:solidFill>
            </c:spPr>
            <c:extLst>
              <c:ext xmlns:c16="http://schemas.microsoft.com/office/drawing/2014/chart" uri="{C3380CC4-5D6E-409C-BE32-E72D297353CC}">
                <c16:uniqueId val="{00000211-D46E-4B35-AB90-9DEAD12B463E}"/>
              </c:ext>
            </c:extLst>
          </c:dPt>
          <c:dPt>
            <c:idx val="264"/>
            <c:invertIfNegative val="1"/>
            <c:bubble3D val="0"/>
            <c:spPr>
              <a:solidFill>
                <a:srgbClr val="7ECAC4"/>
              </a:solidFill>
            </c:spPr>
            <c:extLst>
              <c:ext xmlns:c16="http://schemas.microsoft.com/office/drawing/2014/chart" uri="{C3380CC4-5D6E-409C-BE32-E72D297353CC}">
                <c16:uniqueId val="{00000213-D46E-4B35-AB90-9DEAD12B463E}"/>
              </c:ext>
            </c:extLst>
          </c:dPt>
          <c:dPt>
            <c:idx val="265"/>
            <c:invertIfNegative val="1"/>
            <c:bubble3D val="0"/>
            <c:spPr>
              <a:solidFill>
                <a:srgbClr val="7ECAC4"/>
              </a:solidFill>
            </c:spPr>
            <c:extLst>
              <c:ext xmlns:c16="http://schemas.microsoft.com/office/drawing/2014/chart" uri="{C3380CC4-5D6E-409C-BE32-E72D297353CC}">
                <c16:uniqueId val="{00000215-D46E-4B35-AB90-9DEAD12B463E}"/>
              </c:ext>
            </c:extLst>
          </c:dPt>
          <c:dPt>
            <c:idx val="266"/>
            <c:invertIfNegative val="1"/>
            <c:bubble3D val="0"/>
            <c:spPr>
              <a:solidFill>
                <a:srgbClr val="7ECAC4"/>
              </a:solidFill>
            </c:spPr>
            <c:extLst>
              <c:ext xmlns:c16="http://schemas.microsoft.com/office/drawing/2014/chart" uri="{C3380CC4-5D6E-409C-BE32-E72D297353CC}">
                <c16:uniqueId val="{00000217-D46E-4B35-AB90-9DEAD12B463E}"/>
              </c:ext>
            </c:extLst>
          </c:dPt>
          <c:dPt>
            <c:idx val="267"/>
            <c:invertIfNegative val="1"/>
            <c:bubble3D val="0"/>
            <c:spPr>
              <a:solidFill>
                <a:srgbClr val="7ECAC4"/>
              </a:solidFill>
            </c:spPr>
            <c:extLst>
              <c:ext xmlns:c16="http://schemas.microsoft.com/office/drawing/2014/chart" uri="{C3380CC4-5D6E-409C-BE32-E72D297353CC}">
                <c16:uniqueId val="{00000219-D46E-4B35-AB90-9DEAD12B463E}"/>
              </c:ext>
            </c:extLst>
          </c:dPt>
          <c:dPt>
            <c:idx val="268"/>
            <c:invertIfNegative val="1"/>
            <c:bubble3D val="0"/>
            <c:spPr>
              <a:solidFill>
                <a:srgbClr val="7ECAC4"/>
              </a:solidFill>
            </c:spPr>
            <c:extLst>
              <c:ext xmlns:c16="http://schemas.microsoft.com/office/drawing/2014/chart" uri="{C3380CC4-5D6E-409C-BE32-E72D297353CC}">
                <c16:uniqueId val="{0000021B-D46E-4B35-AB90-9DEAD12B463E}"/>
              </c:ext>
            </c:extLst>
          </c:dPt>
          <c:dPt>
            <c:idx val="269"/>
            <c:invertIfNegative val="1"/>
            <c:bubble3D val="0"/>
            <c:spPr>
              <a:solidFill>
                <a:srgbClr val="7ECAC4"/>
              </a:solidFill>
            </c:spPr>
            <c:extLst>
              <c:ext xmlns:c16="http://schemas.microsoft.com/office/drawing/2014/chart" uri="{C3380CC4-5D6E-409C-BE32-E72D297353CC}">
                <c16:uniqueId val="{0000021D-D46E-4B35-AB90-9DEAD12B463E}"/>
              </c:ext>
            </c:extLst>
          </c:dPt>
          <c:dPt>
            <c:idx val="270"/>
            <c:invertIfNegative val="1"/>
            <c:bubble3D val="0"/>
            <c:spPr>
              <a:solidFill>
                <a:srgbClr val="7ECAC4"/>
              </a:solidFill>
            </c:spPr>
            <c:extLst>
              <c:ext xmlns:c16="http://schemas.microsoft.com/office/drawing/2014/chart" uri="{C3380CC4-5D6E-409C-BE32-E72D297353CC}">
                <c16:uniqueId val="{0000021F-D46E-4B35-AB90-9DEAD12B463E}"/>
              </c:ext>
            </c:extLst>
          </c:dPt>
          <c:dPt>
            <c:idx val="271"/>
            <c:invertIfNegative val="1"/>
            <c:bubble3D val="0"/>
            <c:spPr>
              <a:solidFill>
                <a:srgbClr val="7ECAC4"/>
              </a:solidFill>
            </c:spPr>
            <c:extLst>
              <c:ext xmlns:c16="http://schemas.microsoft.com/office/drawing/2014/chart" uri="{C3380CC4-5D6E-409C-BE32-E72D297353CC}">
                <c16:uniqueId val="{00000221-D46E-4B35-AB90-9DEAD12B463E}"/>
              </c:ext>
            </c:extLst>
          </c:dPt>
          <c:dPt>
            <c:idx val="272"/>
            <c:invertIfNegative val="1"/>
            <c:bubble3D val="0"/>
            <c:spPr>
              <a:solidFill>
                <a:srgbClr val="7ECAC4"/>
              </a:solidFill>
            </c:spPr>
            <c:extLst>
              <c:ext xmlns:c16="http://schemas.microsoft.com/office/drawing/2014/chart" uri="{C3380CC4-5D6E-409C-BE32-E72D297353CC}">
                <c16:uniqueId val="{00000223-D46E-4B35-AB90-9DEAD12B463E}"/>
              </c:ext>
            </c:extLst>
          </c:dPt>
          <c:dPt>
            <c:idx val="273"/>
            <c:invertIfNegative val="1"/>
            <c:bubble3D val="0"/>
            <c:spPr>
              <a:solidFill>
                <a:srgbClr val="7ECAC4"/>
              </a:solidFill>
            </c:spPr>
            <c:extLst>
              <c:ext xmlns:c16="http://schemas.microsoft.com/office/drawing/2014/chart" uri="{C3380CC4-5D6E-409C-BE32-E72D297353CC}">
                <c16:uniqueId val="{00000225-D46E-4B35-AB90-9DEAD12B463E}"/>
              </c:ext>
            </c:extLst>
          </c:dPt>
          <c:dPt>
            <c:idx val="274"/>
            <c:invertIfNegative val="1"/>
            <c:bubble3D val="0"/>
            <c:spPr>
              <a:solidFill>
                <a:srgbClr val="7ECAC4"/>
              </a:solidFill>
            </c:spPr>
            <c:extLst>
              <c:ext xmlns:c16="http://schemas.microsoft.com/office/drawing/2014/chart" uri="{C3380CC4-5D6E-409C-BE32-E72D297353CC}">
                <c16:uniqueId val="{00000227-D46E-4B35-AB90-9DEAD12B463E}"/>
              </c:ext>
            </c:extLst>
          </c:dPt>
          <c:dPt>
            <c:idx val="275"/>
            <c:invertIfNegative val="1"/>
            <c:bubble3D val="0"/>
            <c:spPr>
              <a:solidFill>
                <a:srgbClr val="7ECAC4"/>
              </a:solidFill>
            </c:spPr>
            <c:extLst>
              <c:ext xmlns:c16="http://schemas.microsoft.com/office/drawing/2014/chart" uri="{C3380CC4-5D6E-409C-BE32-E72D297353CC}">
                <c16:uniqueId val="{00000229-D46E-4B35-AB90-9DEAD12B463E}"/>
              </c:ext>
            </c:extLst>
          </c:dPt>
          <c:dPt>
            <c:idx val="276"/>
            <c:invertIfNegative val="1"/>
            <c:bubble3D val="0"/>
            <c:spPr>
              <a:solidFill>
                <a:srgbClr val="7ECAC4"/>
              </a:solidFill>
            </c:spPr>
            <c:extLst>
              <c:ext xmlns:c16="http://schemas.microsoft.com/office/drawing/2014/chart" uri="{C3380CC4-5D6E-409C-BE32-E72D297353CC}">
                <c16:uniqueId val="{0000022B-D46E-4B35-AB90-9DEAD12B463E}"/>
              </c:ext>
            </c:extLst>
          </c:dPt>
          <c:dPt>
            <c:idx val="277"/>
            <c:invertIfNegative val="1"/>
            <c:bubble3D val="0"/>
            <c:spPr>
              <a:solidFill>
                <a:srgbClr val="7ECAC4"/>
              </a:solidFill>
            </c:spPr>
            <c:extLst>
              <c:ext xmlns:c16="http://schemas.microsoft.com/office/drawing/2014/chart" uri="{C3380CC4-5D6E-409C-BE32-E72D297353CC}">
                <c16:uniqueId val="{0000022D-D46E-4B35-AB90-9DEAD12B463E}"/>
              </c:ext>
            </c:extLst>
          </c:dPt>
          <c:dPt>
            <c:idx val="278"/>
            <c:invertIfNegative val="1"/>
            <c:bubble3D val="0"/>
            <c:spPr>
              <a:solidFill>
                <a:srgbClr val="7ECAC4"/>
              </a:solidFill>
            </c:spPr>
            <c:extLst>
              <c:ext xmlns:c16="http://schemas.microsoft.com/office/drawing/2014/chart" uri="{C3380CC4-5D6E-409C-BE32-E72D297353CC}">
                <c16:uniqueId val="{0000022F-D46E-4B35-AB90-9DEAD12B463E}"/>
              </c:ext>
            </c:extLst>
          </c:dPt>
          <c:dPt>
            <c:idx val="279"/>
            <c:invertIfNegative val="1"/>
            <c:bubble3D val="0"/>
            <c:spPr>
              <a:solidFill>
                <a:srgbClr val="7ECAC4"/>
              </a:solidFill>
            </c:spPr>
            <c:extLst>
              <c:ext xmlns:c16="http://schemas.microsoft.com/office/drawing/2014/chart" uri="{C3380CC4-5D6E-409C-BE32-E72D297353CC}">
                <c16:uniqueId val="{00000231-D46E-4B35-AB90-9DEAD12B463E}"/>
              </c:ext>
            </c:extLst>
          </c:dPt>
          <c:dPt>
            <c:idx val="280"/>
            <c:invertIfNegative val="1"/>
            <c:bubble3D val="0"/>
            <c:spPr>
              <a:solidFill>
                <a:srgbClr val="7ECAC4"/>
              </a:solidFill>
            </c:spPr>
            <c:extLst>
              <c:ext xmlns:c16="http://schemas.microsoft.com/office/drawing/2014/chart" uri="{C3380CC4-5D6E-409C-BE32-E72D297353CC}">
                <c16:uniqueId val="{00000233-D46E-4B35-AB90-9DEAD12B463E}"/>
              </c:ext>
            </c:extLst>
          </c:dPt>
          <c:dPt>
            <c:idx val="281"/>
            <c:invertIfNegative val="1"/>
            <c:bubble3D val="0"/>
            <c:spPr>
              <a:solidFill>
                <a:srgbClr val="7ECAC4"/>
              </a:solidFill>
            </c:spPr>
            <c:extLst>
              <c:ext xmlns:c16="http://schemas.microsoft.com/office/drawing/2014/chart" uri="{C3380CC4-5D6E-409C-BE32-E72D297353CC}">
                <c16:uniqueId val="{00000235-D46E-4B35-AB90-9DEAD12B463E}"/>
              </c:ext>
            </c:extLst>
          </c:dPt>
          <c:dPt>
            <c:idx val="282"/>
            <c:invertIfNegative val="1"/>
            <c:bubble3D val="0"/>
            <c:spPr>
              <a:solidFill>
                <a:srgbClr val="7ECAC4"/>
              </a:solidFill>
            </c:spPr>
            <c:extLst>
              <c:ext xmlns:c16="http://schemas.microsoft.com/office/drawing/2014/chart" uri="{C3380CC4-5D6E-409C-BE32-E72D297353CC}">
                <c16:uniqueId val="{00000237-D46E-4B35-AB90-9DEAD12B463E}"/>
              </c:ext>
            </c:extLst>
          </c:dPt>
          <c:dPt>
            <c:idx val="283"/>
            <c:invertIfNegative val="1"/>
            <c:bubble3D val="0"/>
            <c:spPr>
              <a:solidFill>
                <a:srgbClr val="7ECAC4"/>
              </a:solidFill>
            </c:spPr>
            <c:extLst>
              <c:ext xmlns:c16="http://schemas.microsoft.com/office/drawing/2014/chart" uri="{C3380CC4-5D6E-409C-BE32-E72D297353CC}">
                <c16:uniqueId val="{00000239-D46E-4B35-AB90-9DEAD12B463E}"/>
              </c:ext>
            </c:extLst>
          </c:dPt>
          <c:dPt>
            <c:idx val="284"/>
            <c:invertIfNegative val="1"/>
            <c:bubble3D val="0"/>
            <c:spPr>
              <a:solidFill>
                <a:srgbClr val="7ECAC4"/>
              </a:solidFill>
            </c:spPr>
            <c:extLst>
              <c:ext xmlns:c16="http://schemas.microsoft.com/office/drawing/2014/chart" uri="{C3380CC4-5D6E-409C-BE32-E72D297353CC}">
                <c16:uniqueId val="{0000023B-D46E-4B35-AB90-9DEAD12B463E}"/>
              </c:ext>
            </c:extLst>
          </c:dPt>
          <c:dPt>
            <c:idx val="285"/>
            <c:invertIfNegative val="1"/>
            <c:bubble3D val="0"/>
            <c:spPr>
              <a:solidFill>
                <a:srgbClr val="7ECAC4"/>
              </a:solidFill>
            </c:spPr>
            <c:extLst>
              <c:ext xmlns:c16="http://schemas.microsoft.com/office/drawing/2014/chart" uri="{C3380CC4-5D6E-409C-BE32-E72D297353CC}">
                <c16:uniqueId val="{0000023D-D46E-4B35-AB90-9DEAD12B463E}"/>
              </c:ext>
            </c:extLst>
          </c:dPt>
          <c:dPt>
            <c:idx val="286"/>
            <c:invertIfNegative val="1"/>
            <c:bubble3D val="0"/>
            <c:spPr>
              <a:solidFill>
                <a:srgbClr val="7ECAC4"/>
              </a:solidFill>
            </c:spPr>
            <c:extLst>
              <c:ext xmlns:c16="http://schemas.microsoft.com/office/drawing/2014/chart" uri="{C3380CC4-5D6E-409C-BE32-E72D297353CC}">
                <c16:uniqueId val="{0000023F-D46E-4B35-AB90-9DEAD12B463E}"/>
              </c:ext>
            </c:extLst>
          </c:dPt>
          <c:dPt>
            <c:idx val="287"/>
            <c:invertIfNegative val="1"/>
            <c:bubble3D val="0"/>
            <c:spPr>
              <a:solidFill>
                <a:srgbClr val="7ECAC4"/>
              </a:solidFill>
            </c:spPr>
            <c:extLst>
              <c:ext xmlns:c16="http://schemas.microsoft.com/office/drawing/2014/chart" uri="{C3380CC4-5D6E-409C-BE32-E72D297353CC}">
                <c16:uniqueId val="{00000241-D46E-4B35-AB90-9DEAD12B463E}"/>
              </c:ext>
            </c:extLst>
          </c:dPt>
          <c:dPt>
            <c:idx val="288"/>
            <c:invertIfNegative val="1"/>
            <c:bubble3D val="0"/>
            <c:spPr>
              <a:solidFill>
                <a:srgbClr val="7ECAC4"/>
              </a:solidFill>
            </c:spPr>
            <c:extLst>
              <c:ext xmlns:c16="http://schemas.microsoft.com/office/drawing/2014/chart" uri="{C3380CC4-5D6E-409C-BE32-E72D297353CC}">
                <c16:uniqueId val="{00000243-D46E-4B35-AB90-9DEAD12B463E}"/>
              </c:ext>
            </c:extLst>
          </c:dPt>
          <c:dPt>
            <c:idx val="289"/>
            <c:invertIfNegative val="1"/>
            <c:bubble3D val="0"/>
            <c:spPr>
              <a:solidFill>
                <a:srgbClr val="7ECAC4"/>
              </a:solidFill>
            </c:spPr>
            <c:extLst>
              <c:ext xmlns:c16="http://schemas.microsoft.com/office/drawing/2014/chart" uri="{C3380CC4-5D6E-409C-BE32-E72D297353CC}">
                <c16:uniqueId val="{00000245-D46E-4B35-AB90-9DEAD12B463E}"/>
              </c:ext>
            </c:extLst>
          </c:dPt>
          <c:dPt>
            <c:idx val="290"/>
            <c:invertIfNegative val="1"/>
            <c:bubble3D val="0"/>
            <c:spPr>
              <a:solidFill>
                <a:srgbClr val="7ECAC4"/>
              </a:solidFill>
            </c:spPr>
            <c:extLst>
              <c:ext xmlns:c16="http://schemas.microsoft.com/office/drawing/2014/chart" uri="{C3380CC4-5D6E-409C-BE32-E72D297353CC}">
                <c16:uniqueId val="{00000247-D46E-4B35-AB90-9DEAD12B463E}"/>
              </c:ext>
            </c:extLst>
          </c:dPt>
          <c:dPt>
            <c:idx val="291"/>
            <c:invertIfNegative val="1"/>
            <c:bubble3D val="0"/>
            <c:spPr>
              <a:solidFill>
                <a:srgbClr val="7ECAC4"/>
              </a:solidFill>
            </c:spPr>
            <c:extLst>
              <c:ext xmlns:c16="http://schemas.microsoft.com/office/drawing/2014/chart" uri="{C3380CC4-5D6E-409C-BE32-E72D297353CC}">
                <c16:uniqueId val="{00000249-D46E-4B35-AB90-9DEAD12B463E}"/>
              </c:ext>
            </c:extLst>
          </c:dPt>
          <c:dPt>
            <c:idx val="292"/>
            <c:invertIfNegative val="1"/>
            <c:bubble3D val="0"/>
            <c:spPr>
              <a:solidFill>
                <a:srgbClr val="7ECAC4"/>
              </a:solidFill>
            </c:spPr>
            <c:extLst>
              <c:ext xmlns:c16="http://schemas.microsoft.com/office/drawing/2014/chart" uri="{C3380CC4-5D6E-409C-BE32-E72D297353CC}">
                <c16:uniqueId val="{0000024B-D46E-4B35-AB90-9DEAD12B463E}"/>
              </c:ext>
            </c:extLst>
          </c:dPt>
          <c:dPt>
            <c:idx val="293"/>
            <c:invertIfNegative val="1"/>
            <c:bubble3D val="0"/>
            <c:spPr>
              <a:solidFill>
                <a:srgbClr val="7ECAC4"/>
              </a:solidFill>
            </c:spPr>
            <c:extLst>
              <c:ext xmlns:c16="http://schemas.microsoft.com/office/drawing/2014/chart" uri="{C3380CC4-5D6E-409C-BE32-E72D297353CC}">
                <c16:uniqueId val="{0000024D-D46E-4B35-AB90-9DEAD12B463E}"/>
              </c:ext>
            </c:extLst>
          </c:dPt>
          <c:dPt>
            <c:idx val="294"/>
            <c:invertIfNegative val="1"/>
            <c:bubble3D val="0"/>
            <c:spPr>
              <a:solidFill>
                <a:srgbClr val="7ECAC4"/>
              </a:solidFill>
            </c:spPr>
            <c:extLst>
              <c:ext xmlns:c16="http://schemas.microsoft.com/office/drawing/2014/chart" uri="{C3380CC4-5D6E-409C-BE32-E72D297353CC}">
                <c16:uniqueId val="{0000024F-D46E-4B35-AB90-9DEAD12B463E}"/>
              </c:ext>
            </c:extLst>
          </c:dPt>
          <c:dPt>
            <c:idx val="295"/>
            <c:invertIfNegative val="1"/>
            <c:bubble3D val="0"/>
            <c:spPr>
              <a:solidFill>
                <a:srgbClr val="7ECAC4"/>
              </a:solidFill>
            </c:spPr>
            <c:extLst>
              <c:ext xmlns:c16="http://schemas.microsoft.com/office/drawing/2014/chart" uri="{C3380CC4-5D6E-409C-BE32-E72D297353CC}">
                <c16:uniqueId val="{00000251-D46E-4B35-AB90-9DEAD12B463E}"/>
              </c:ext>
            </c:extLst>
          </c:dPt>
          <c:dPt>
            <c:idx val="296"/>
            <c:invertIfNegative val="1"/>
            <c:bubble3D val="0"/>
            <c:spPr>
              <a:solidFill>
                <a:srgbClr val="7ECAC4"/>
              </a:solidFill>
            </c:spPr>
            <c:extLst>
              <c:ext xmlns:c16="http://schemas.microsoft.com/office/drawing/2014/chart" uri="{C3380CC4-5D6E-409C-BE32-E72D297353CC}">
                <c16:uniqueId val="{00000253-D46E-4B35-AB90-9DEAD12B463E}"/>
              </c:ext>
            </c:extLst>
          </c:dPt>
          <c:dPt>
            <c:idx val="297"/>
            <c:invertIfNegative val="1"/>
            <c:bubble3D val="0"/>
            <c:spPr>
              <a:solidFill>
                <a:srgbClr val="7ECAC4"/>
              </a:solidFill>
            </c:spPr>
            <c:extLst>
              <c:ext xmlns:c16="http://schemas.microsoft.com/office/drawing/2014/chart" uri="{C3380CC4-5D6E-409C-BE32-E72D297353CC}">
                <c16:uniqueId val="{00000255-D46E-4B35-AB90-9DEAD12B463E}"/>
              </c:ext>
            </c:extLst>
          </c:dPt>
          <c:dPt>
            <c:idx val="298"/>
            <c:invertIfNegative val="1"/>
            <c:bubble3D val="0"/>
            <c:spPr>
              <a:solidFill>
                <a:srgbClr val="AEABAB"/>
              </a:solidFill>
            </c:spPr>
            <c:extLst>
              <c:ext xmlns:c16="http://schemas.microsoft.com/office/drawing/2014/chart" uri="{C3380CC4-5D6E-409C-BE32-E72D297353CC}">
                <c16:uniqueId val="{00000257-D46E-4B35-AB90-9DEAD12B463E}"/>
              </c:ext>
            </c:extLst>
          </c:dPt>
          <c:dPt>
            <c:idx val="299"/>
            <c:invertIfNegative val="1"/>
            <c:bubble3D val="0"/>
            <c:spPr>
              <a:solidFill>
                <a:srgbClr val="AEABAB"/>
              </a:solidFill>
            </c:spPr>
            <c:extLst>
              <c:ext xmlns:c16="http://schemas.microsoft.com/office/drawing/2014/chart" uri="{C3380CC4-5D6E-409C-BE32-E72D297353CC}">
                <c16:uniqueId val="{00000259-D46E-4B35-AB90-9DEAD12B463E}"/>
              </c:ext>
            </c:extLst>
          </c:dPt>
          <c:dPt>
            <c:idx val="300"/>
            <c:invertIfNegative val="1"/>
            <c:bubble3D val="0"/>
            <c:spPr>
              <a:solidFill>
                <a:srgbClr val="AEABAB"/>
              </a:solidFill>
            </c:spPr>
            <c:extLst>
              <c:ext xmlns:c16="http://schemas.microsoft.com/office/drawing/2014/chart" uri="{C3380CC4-5D6E-409C-BE32-E72D297353CC}">
                <c16:uniqueId val="{0000025B-D46E-4B35-AB90-9DEAD12B463E}"/>
              </c:ext>
            </c:extLst>
          </c:dPt>
          <c:dPt>
            <c:idx val="301"/>
            <c:invertIfNegative val="1"/>
            <c:bubble3D val="0"/>
            <c:spPr>
              <a:solidFill>
                <a:srgbClr val="AEABAB"/>
              </a:solidFill>
            </c:spPr>
            <c:extLst>
              <c:ext xmlns:c16="http://schemas.microsoft.com/office/drawing/2014/chart" uri="{C3380CC4-5D6E-409C-BE32-E72D297353CC}">
                <c16:uniqueId val="{0000025D-D46E-4B35-AB90-9DEAD12B463E}"/>
              </c:ext>
            </c:extLst>
          </c:dPt>
          <c:dPt>
            <c:idx val="302"/>
            <c:invertIfNegative val="1"/>
            <c:bubble3D val="0"/>
            <c:spPr>
              <a:solidFill>
                <a:srgbClr val="AEABAB"/>
              </a:solidFill>
            </c:spPr>
            <c:extLst>
              <c:ext xmlns:c16="http://schemas.microsoft.com/office/drawing/2014/chart" uri="{C3380CC4-5D6E-409C-BE32-E72D297353CC}">
                <c16:uniqueId val="{0000025F-D46E-4B35-AB90-9DEAD12B463E}"/>
              </c:ext>
            </c:extLst>
          </c:dPt>
          <c:dPt>
            <c:idx val="303"/>
            <c:invertIfNegative val="1"/>
            <c:bubble3D val="0"/>
            <c:spPr>
              <a:solidFill>
                <a:srgbClr val="AEABAB"/>
              </a:solidFill>
            </c:spPr>
            <c:extLst>
              <c:ext xmlns:c16="http://schemas.microsoft.com/office/drawing/2014/chart" uri="{C3380CC4-5D6E-409C-BE32-E72D297353CC}">
                <c16:uniqueId val="{00000261-D46E-4B35-AB90-9DEAD12B463E}"/>
              </c:ext>
            </c:extLst>
          </c:dPt>
          <c:dPt>
            <c:idx val="304"/>
            <c:invertIfNegative val="1"/>
            <c:bubble3D val="0"/>
            <c:spPr>
              <a:solidFill>
                <a:srgbClr val="AEABAB"/>
              </a:solidFill>
            </c:spPr>
            <c:extLst>
              <c:ext xmlns:c16="http://schemas.microsoft.com/office/drawing/2014/chart" uri="{C3380CC4-5D6E-409C-BE32-E72D297353CC}">
                <c16:uniqueId val="{00000263-D46E-4B35-AB90-9DEAD12B463E}"/>
              </c:ext>
            </c:extLst>
          </c:dPt>
          <c:dPt>
            <c:idx val="305"/>
            <c:invertIfNegative val="1"/>
            <c:bubble3D val="0"/>
            <c:spPr>
              <a:solidFill>
                <a:srgbClr val="AEABAB"/>
              </a:solidFill>
            </c:spPr>
            <c:extLst>
              <c:ext xmlns:c16="http://schemas.microsoft.com/office/drawing/2014/chart" uri="{C3380CC4-5D6E-409C-BE32-E72D297353CC}">
                <c16:uniqueId val="{00000265-D46E-4B35-AB90-9DEAD12B463E}"/>
              </c:ext>
            </c:extLst>
          </c:dPt>
          <c:dPt>
            <c:idx val="306"/>
            <c:invertIfNegative val="1"/>
            <c:bubble3D val="0"/>
            <c:spPr>
              <a:solidFill>
                <a:srgbClr val="AEABAB"/>
              </a:solidFill>
            </c:spPr>
            <c:extLst>
              <c:ext xmlns:c16="http://schemas.microsoft.com/office/drawing/2014/chart" uri="{C3380CC4-5D6E-409C-BE32-E72D297353CC}">
                <c16:uniqueId val="{00000267-D46E-4B35-AB90-9DEAD12B463E}"/>
              </c:ext>
            </c:extLst>
          </c:dPt>
          <c:dPt>
            <c:idx val="307"/>
            <c:invertIfNegative val="1"/>
            <c:bubble3D val="0"/>
            <c:spPr>
              <a:solidFill>
                <a:srgbClr val="AEABAB"/>
              </a:solidFill>
            </c:spPr>
            <c:extLst>
              <c:ext xmlns:c16="http://schemas.microsoft.com/office/drawing/2014/chart" uri="{C3380CC4-5D6E-409C-BE32-E72D297353CC}">
                <c16:uniqueId val="{00000269-D46E-4B35-AB90-9DEAD12B463E}"/>
              </c:ext>
            </c:extLst>
          </c:dPt>
          <c:dPt>
            <c:idx val="308"/>
            <c:invertIfNegative val="1"/>
            <c:bubble3D val="0"/>
            <c:spPr>
              <a:solidFill>
                <a:srgbClr val="AEABAB"/>
              </a:solidFill>
            </c:spPr>
            <c:extLst>
              <c:ext xmlns:c16="http://schemas.microsoft.com/office/drawing/2014/chart" uri="{C3380CC4-5D6E-409C-BE32-E72D297353CC}">
                <c16:uniqueId val="{0000026B-D46E-4B35-AB90-9DEAD12B463E}"/>
              </c:ext>
            </c:extLst>
          </c:dPt>
          <c:dPt>
            <c:idx val="309"/>
            <c:invertIfNegative val="1"/>
            <c:bubble3D val="0"/>
            <c:spPr>
              <a:solidFill>
                <a:srgbClr val="AEABAB"/>
              </a:solidFill>
            </c:spPr>
            <c:extLst>
              <c:ext xmlns:c16="http://schemas.microsoft.com/office/drawing/2014/chart" uri="{C3380CC4-5D6E-409C-BE32-E72D297353CC}">
                <c16:uniqueId val="{0000026D-D46E-4B35-AB90-9DEAD12B463E}"/>
              </c:ext>
            </c:extLst>
          </c:dPt>
          <c:dPt>
            <c:idx val="310"/>
            <c:invertIfNegative val="1"/>
            <c:bubble3D val="0"/>
            <c:spPr>
              <a:solidFill>
                <a:srgbClr val="AEABAB"/>
              </a:solidFill>
            </c:spPr>
            <c:extLst>
              <c:ext xmlns:c16="http://schemas.microsoft.com/office/drawing/2014/chart" uri="{C3380CC4-5D6E-409C-BE32-E72D297353CC}">
                <c16:uniqueId val="{0000026F-D46E-4B35-AB90-9DEAD12B463E}"/>
              </c:ext>
            </c:extLst>
          </c:dPt>
          <c:dPt>
            <c:idx val="311"/>
            <c:invertIfNegative val="1"/>
            <c:bubble3D val="0"/>
            <c:spPr>
              <a:solidFill>
                <a:srgbClr val="AEABAB"/>
              </a:solidFill>
            </c:spPr>
            <c:extLst>
              <c:ext xmlns:c16="http://schemas.microsoft.com/office/drawing/2014/chart" uri="{C3380CC4-5D6E-409C-BE32-E72D297353CC}">
                <c16:uniqueId val="{00000271-D46E-4B35-AB90-9DEAD12B463E}"/>
              </c:ext>
            </c:extLst>
          </c:dPt>
          <c:dPt>
            <c:idx val="312"/>
            <c:invertIfNegative val="1"/>
            <c:bubble3D val="0"/>
            <c:spPr>
              <a:solidFill>
                <a:srgbClr val="AEABAB"/>
              </a:solidFill>
            </c:spPr>
            <c:extLst>
              <c:ext xmlns:c16="http://schemas.microsoft.com/office/drawing/2014/chart" uri="{C3380CC4-5D6E-409C-BE32-E72D297353CC}">
                <c16:uniqueId val="{00000273-D46E-4B35-AB90-9DEAD12B463E}"/>
              </c:ext>
            </c:extLst>
          </c:dPt>
          <c:dPt>
            <c:idx val="313"/>
            <c:invertIfNegative val="1"/>
            <c:bubble3D val="0"/>
            <c:spPr>
              <a:solidFill>
                <a:srgbClr val="AEABAB"/>
              </a:solidFill>
            </c:spPr>
            <c:extLst>
              <c:ext xmlns:c16="http://schemas.microsoft.com/office/drawing/2014/chart" uri="{C3380CC4-5D6E-409C-BE32-E72D297353CC}">
                <c16:uniqueId val="{00000275-D46E-4B35-AB90-9DEAD12B463E}"/>
              </c:ext>
            </c:extLst>
          </c:dPt>
          <c:dPt>
            <c:idx val="314"/>
            <c:invertIfNegative val="1"/>
            <c:bubble3D val="0"/>
            <c:spPr>
              <a:solidFill>
                <a:srgbClr val="AEABAB"/>
              </a:solidFill>
            </c:spPr>
            <c:extLst>
              <c:ext xmlns:c16="http://schemas.microsoft.com/office/drawing/2014/chart" uri="{C3380CC4-5D6E-409C-BE32-E72D297353CC}">
                <c16:uniqueId val="{00000277-D46E-4B35-AB90-9DEAD12B463E}"/>
              </c:ext>
            </c:extLst>
          </c:dPt>
          <c:dPt>
            <c:idx val="315"/>
            <c:invertIfNegative val="1"/>
            <c:bubble3D val="0"/>
            <c:spPr>
              <a:solidFill>
                <a:srgbClr val="AEABAB"/>
              </a:solidFill>
            </c:spPr>
            <c:extLst>
              <c:ext xmlns:c16="http://schemas.microsoft.com/office/drawing/2014/chart" uri="{C3380CC4-5D6E-409C-BE32-E72D297353CC}">
                <c16:uniqueId val="{00000279-D46E-4B35-AB90-9DEAD12B463E}"/>
              </c:ext>
            </c:extLst>
          </c:dPt>
          <c:dPt>
            <c:idx val="316"/>
            <c:invertIfNegative val="1"/>
            <c:bubble3D val="0"/>
            <c:spPr>
              <a:solidFill>
                <a:srgbClr val="AEABAB"/>
              </a:solidFill>
            </c:spPr>
            <c:extLst>
              <c:ext xmlns:c16="http://schemas.microsoft.com/office/drawing/2014/chart" uri="{C3380CC4-5D6E-409C-BE32-E72D297353CC}">
                <c16:uniqueId val="{0000027B-D46E-4B35-AB90-9DEAD12B463E}"/>
              </c:ext>
            </c:extLst>
          </c:dPt>
          <c:dPt>
            <c:idx val="317"/>
            <c:invertIfNegative val="1"/>
            <c:bubble3D val="0"/>
            <c:spPr>
              <a:solidFill>
                <a:srgbClr val="AEABAB"/>
              </a:solidFill>
            </c:spPr>
            <c:extLst>
              <c:ext xmlns:c16="http://schemas.microsoft.com/office/drawing/2014/chart" uri="{C3380CC4-5D6E-409C-BE32-E72D297353CC}">
                <c16:uniqueId val="{0000027D-D46E-4B35-AB90-9DEAD12B463E}"/>
              </c:ext>
            </c:extLst>
          </c:dPt>
          <c:dPt>
            <c:idx val="318"/>
            <c:invertIfNegative val="1"/>
            <c:bubble3D val="0"/>
            <c:spPr>
              <a:solidFill>
                <a:srgbClr val="AEABAB"/>
              </a:solidFill>
            </c:spPr>
            <c:extLst>
              <c:ext xmlns:c16="http://schemas.microsoft.com/office/drawing/2014/chart" uri="{C3380CC4-5D6E-409C-BE32-E72D297353CC}">
                <c16:uniqueId val="{0000027F-D46E-4B35-AB90-9DEAD12B463E}"/>
              </c:ext>
            </c:extLst>
          </c:dPt>
          <c:dPt>
            <c:idx val="319"/>
            <c:invertIfNegative val="1"/>
            <c:bubble3D val="0"/>
            <c:spPr>
              <a:solidFill>
                <a:srgbClr val="AEABAB"/>
              </a:solidFill>
            </c:spPr>
            <c:extLst>
              <c:ext xmlns:c16="http://schemas.microsoft.com/office/drawing/2014/chart" uri="{C3380CC4-5D6E-409C-BE32-E72D297353CC}">
                <c16:uniqueId val="{00000281-D46E-4B35-AB90-9DEAD12B463E}"/>
              </c:ext>
            </c:extLst>
          </c:dPt>
          <c:dPt>
            <c:idx val="320"/>
            <c:invertIfNegative val="1"/>
            <c:bubble3D val="0"/>
            <c:spPr>
              <a:solidFill>
                <a:srgbClr val="AEABAB"/>
              </a:solidFill>
            </c:spPr>
            <c:extLst>
              <c:ext xmlns:c16="http://schemas.microsoft.com/office/drawing/2014/chart" uri="{C3380CC4-5D6E-409C-BE32-E72D297353CC}">
                <c16:uniqueId val="{00000283-D46E-4B35-AB90-9DEAD12B463E}"/>
              </c:ext>
            </c:extLst>
          </c:dPt>
          <c:dPt>
            <c:idx val="321"/>
            <c:invertIfNegative val="1"/>
            <c:bubble3D val="0"/>
            <c:spPr>
              <a:solidFill>
                <a:srgbClr val="AEABAB"/>
              </a:solidFill>
            </c:spPr>
            <c:extLst>
              <c:ext xmlns:c16="http://schemas.microsoft.com/office/drawing/2014/chart" uri="{C3380CC4-5D6E-409C-BE32-E72D297353CC}">
                <c16:uniqueId val="{00000285-D46E-4B35-AB90-9DEAD12B463E}"/>
              </c:ext>
            </c:extLst>
          </c:dPt>
          <c:dPt>
            <c:idx val="322"/>
            <c:invertIfNegative val="1"/>
            <c:bubble3D val="0"/>
            <c:spPr>
              <a:solidFill>
                <a:srgbClr val="AEABAB"/>
              </a:solidFill>
            </c:spPr>
            <c:extLst>
              <c:ext xmlns:c16="http://schemas.microsoft.com/office/drawing/2014/chart" uri="{C3380CC4-5D6E-409C-BE32-E72D297353CC}">
                <c16:uniqueId val="{00000287-D46E-4B35-AB90-9DEAD12B463E}"/>
              </c:ext>
            </c:extLst>
          </c:dPt>
          <c:dPt>
            <c:idx val="323"/>
            <c:invertIfNegative val="1"/>
            <c:bubble3D val="0"/>
            <c:spPr>
              <a:solidFill>
                <a:srgbClr val="AEABAB"/>
              </a:solidFill>
            </c:spPr>
            <c:extLst>
              <c:ext xmlns:c16="http://schemas.microsoft.com/office/drawing/2014/chart" uri="{C3380CC4-5D6E-409C-BE32-E72D297353CC}">
                <c16:uniqueId val="{00000289-D46E-4B35-AB90-9DEAD12B463E}"/>
              </c:ext>
            </c:extLst>
          </c:dPt>
          <c:dPt>
            <c:idx val="324"/>
            <c:invertIfNegative val="1"/>
            <c:bubble3D val="0"/>
            <c:spPr>
              <a:solidFill>
                <a:srgbClr val="AEABAB"/>
              </a:solidFill>
            </c:spPr>
            <c:extLst>
              <c:ext xmlns:c16="http://schemas.microsoft.com/office/drawing/2014/chart" uri="{C3380CC4-5D6E-409C-BE32-E72D297353CC}">
                <c16:uniqueId val="{0000028B-D46E-4B35-AB90-9DEAD12B463E}"/>
              </c:ext>
            </c:extLst>
          </c:dPt>
          <c:dPt>
            <c:idx val="325"/>
            <c:invertIfNegative val="1"/>
            <c:bubble3D val="0"/>
            <c:spPr>
              <a:solidFill>
                <a:srgbClr val="AEABAB"/>
              </a:solidFill>
            </c:spPr>
            <c:extLst>
              <c:ext xmlns:c16="http://schemas.microsoft.com/office/drawing/2014/chart" uri="{C3380CC4-5D6E-409C-BE32-E72D297353CC}">
                <c16:uniqueId val="{0000028D-D46E-4B35-AB90-9DEAD12B463E}"/>
              </c:ext>
            </c:extLst>
          </c:dPt>
          <c:dPt>
            <c:idx val="326"/>
            <c:invertIfNegative val="1"/>
            <c:bubble3D val="0"/>
            <c:spPr>
              <a:solidFill>
                <a:srgbClr val="AEABAB"/>
              </a:solidFill>
            </c:spPr>
            <c:extLst>
              <c:ext xmlns:c16="http://schemas.microsoft.com/office/drawing/2014/chart" uri="{C3380CC4-5D6E-409C-BE32-E72D297353CC}">
                <c16:uniqueId val="{0000028F-D46E-4B35-AB90-9DEAD12B463E}"/>
              </c:ext>
            </c:extLst>
          </c:dPt>
          <c:dPt>
            <c:idx val="327"/>
            <c:invertIfNegative val="1"/>
            <c:bubble3D val="0"/>
            <c:spPr>
              <a:solidFill>
                <a:srgbClr val="AEABAB"/>
              </a:solidFill>
            </c:spPr>
            <c:extLst>
              <c:ext xmlns:c16="http://schemas.microsoft.com/office/drawing/2014/chart" uri="{C3380CC4-5D6E-409C-BE32-E72D297353CC}">
                <c16:uniqueId val="{00000291-D46E-4B35-AB90-9DEAD12B463E}"/>
              </c:ext>
            </c:extLst>
          </c:dPt>
          <c:dPt>
            <c:idx val="328"/>
            <c:invertIfNegative val="1"/>
            <c:bubble3D val="0"/>
            <c:spPr>
              <a:solidFill>
                <a:srgbClr val="AEABAB"/>
              </a:solidFill>
            </c:spPr>
            <c:extLst>
              <c:ext xmlns:c16="http://schemas.microsoft.com/office/drawing/2014/chart" uri="{C3380CC4-5D6E-409C-BE32-E72D297353CC}">
                <c16:uniqueId val="{00000293-D46E-4B35-AB90-9DEAD12B463E}"/>
              </c:ext>
            </c:extLst>
          </c:dPt>
          <c:dPt>
            <c:idx val="329"/>
            <c:invertIfNegative val="1"/>
            <c:bubble3D val="0"/>
            <c:spPr>
              <a:solidFill>
                <a:srgbClr val="AEABAB"/>
              </a:solidFill>
            </c:spPr>
            <c:extLst>
              <c:ext xmlns:c16="http://schemas.microsoft.com/office/drawing/2014/chart" uri="{C3380CC4-5D6E-409C-BE32-E72D297353CC}">
                <c16:uniqueId val="{00000295-D46E-4B35-AB90-9DEAD12B463E}"/>
              </c:ext>
            </c:extLst>
          </c:dPt>
          <c:dPt>
            <c:idx val="330"/>
            <c:invertIfNegative val="1"/>
            <c:bubble3D val="0"/>
            <c:spPr>
              <a:solidFill>
                <a:srgbClr val="AEABAB"/>
              </a:solidFill>
            </c:spPr>
            <c:extLst>
              <c:ext xmlns:c16="http://schemas.microsoft.com/office/drawing/2014/chart" uri="{C3380CC4-5D6E-409C-BE32-E72D297353CC}">
                <c16:uniqueId val="{00000297-D46E-4B35-AB90-9DEAD12B463E}"/>
              </c:ext>
            </c:extLst>
          </c:dPt>
          <c:dPt>
            <c:idx val="331"/>
            <c:invertIfNegative val="1"/>
            <c:bubble3D val="0"/>
            <c:spPr>
              <a:solidFill>
                <a:srgbClr val="AEABAB"/>
              </a:solidFill>
            </c:spPr>
            <c:extLst>
              <c:ext xmlns:c16="http://schemas.microsoft.com/office/drawing/2014/chart" uri="{C3380CC4-5D6E-409C-BE32-E72D297353CC}">
                <c16:uniqueId val="{00000299-D46E-4B35-AB90-9DEAD12B463E}"/>
              </c:ext>
            </c:extLst>
          </c:dPt>
          <c:dPt>
            <c:idx val="332"/>
            <c:invertIfNegative val="1"/>
            <c:bubble3D val="0"/>
            <c:spPr>
              <a:solidFill>
                <a:srgbClr val="AEABAB"/>
              </a:solidFill>
            </c:spPr>
            <c:extLst>
              <c:ext xmlns:c16="http://schemas.microsoft.com/office/drawing/2014/chart" uri="{C3380CC4-5D6E-409C-BE32-E72D297353CC}">
                <c16:uniqueId val="{0000029B-D46E-4B35-AB90-9DEAD12B463E}"/>
              </c:ext>
            </c:extLst>
          </c:dPt>
          <c:dPt>
            <c:idx val="333"/>
            <c:invertIfNegative val="1"/>
            <c:bubble3D val="0"/>
            <c:spPr>
              <a:solidFill>
                <a:srgbClr val="AEABAB"/>
              </a:solidFill>
            </c:spPr>
            <c:extLst>
              <c:ext xmlns:c16="http://schemas.microsoft.com/office/drawing/2014/chart" uri="{C3380CC4-5D6E-409C-BE32-E72D297353CC}">
                <c16:uniqueId val="{0000029D-D46E-4B35-AB90-9DEAD12B463E}"/>
              </c:ext>
            </c:extLst>
          </c:dPt>
          <c:dPt>
            <c:idx val="334"/>
            <c:invertIfNegative val="1"/>
            <c:bubble3D val="0"/>
            <c:spPr>
              <a:solidFill>
                <a:srgbClr val="AEABAB"/>
              </a:solidFill>
            </c:spPr>
            <c:extLst>
              <c:ext xmlns:c16="http://schemas.microsoft.com/office/drawing/2014/chart" uri="{C3380CC4-5D6E-409C-BE32-E72D297353CC}">
                <c16:uniqueId val="{0000029F-D46E-4B35-AB90-9DEAD12B463E}"/>
              </c:ext>
            </c:extLst>
          </c:dPt>
          <c:dPt>
            <c:idx val="335"/>
            <c:invertIfNegative val="1"/>
            <c:bubble3D val="0"/>
            <c:spPr>
              <a:solidFill>
                <a:srgbClr val="AEABAB"/>
              </a:solidFill>
            </c:spPr>
            <c:extLst>
              <c:ext xmlns:c16="http://schemas.microsoft.com/office/drawing/2014/chart" uri="{C3380CC4-5D6E-409C-BE32-E72D297353CC}">
                <c16:uniqueId val="{000002A1-D46E-4B35-AB90-9DEAD12B463E}"/>
              </c:ext>
            </c:extLst>
          </c:dPt>
          <c:dPt>
            <c:idx val="336"/>
            <c:invertIfNegative val="1"/>
            <c:bubble3D val="0"/>
            <c:spPr>
              <a:solidFill>
                <a:srgbClr val="AEABAB"/>
              </a:solidFill>
            </c:spPr>
            <c:extLst>
              <c:ext xmlns:c16="http://schemas.microsoft.com/office/drawing/2014/chart" uri="{C3380CC4-5D6E-409C-BE32-E72D297353CC}">
                <c16:uniqueId val="{000002A3-D46E-4B35-AB90-9DEAD12B463E}"/>
              </c:ext>
            </c:extLst>
          </c:dPt>
          <c:dPt>
            <c:idx val="337"/>
            <c:invertIfNegative val="1"/>
            <c:bubble3D val="0"/>
            <c:spPr>
              <a:solidFill>
                <a:srgbClr val="AEABAB"/>
              </a:solidFill>
            </c:spPr>
            <c:extLst>
              <c:ext xmlns:c16="http://schemas.microsoft.com/office/drawing/2014/chart" uri="{C3380CC4-5D6E-409C-BE32-E72D297353CC}">
                <c16:uniqueId val="{000002A5-D46E-4B35-AB90-9DEAD12B463E}"/>
              </c:ext>
            </c:extLst>
          </c:dPt>
          <c:dPt>
            <c:idx val="338"/>
            <c:invertIfNegative val="1"/>
            <c:bubble3D val="0"/>
            <c:spPr>
              <a:solidFill>
                <a:srgbClr val="AEABAB"/>
              </a:solidFill>
            </c:spPr>
            <c:extLst>
              <c:ext xmlns:c16="http://schemas.microsoft.com/office/drawing/2014/chart" uri="{C3380CC4-5D6E-409C-BE32-E72D297353CC}">
                <c16:uniqueId val="{000002A7-D46E-4B35-AB90-9DEAD12B463E}"/>
              </c:ext>
            </c:extLst>
          </c:dPt>
          <c:dPt>
            <c:idx val="339"/>
            <c:invertIfNegative val="1"/>
            <c:bubble3D val="0"/>
            <c:spPr>
              <a:solidFill>
                <a:srgbClr val="AEABAB"/>
              </a:solidFill>
            </c:spPr>
            <c:extLst>
              <c:ext xmlns:c16="http://schemas.microsoft.com/office/drawing/2014/chart" uri="{C3380CC4-5D6E-409C-BE32-E72D297353CC}">
                <c16:uniqueId val="{000002A9-D46E-4B35-AB90-9DEAD12B463E}"/>
              </c:ext>
            </c:extLst>
          </c:dPt>
          <c:dPt>
            <c:idx val="340"/>
            <c:invertIfNegative val="1"/>
            <c:bubble3D val="0"/>
            <c:spPr>
              <a:solidFill>
                <a:srgbClr val="AEABAB"/>
              </a:solidFill>
            </c:spPr>
            <c:extLst>
              <c:ext xmlns:c16="http://schemas.microsoft.com/office/drawing/2014/chart" uri="{C3380CC4-5D6E-409C-BE32-E72D297353CC}">
                <c16:uniqueId val="{000002AB-D46E-4B35-AB90-9DEAD12B463E}"/>
              </c:ext>
            </c:extLst>
          </c:dPt>
          <c:dPt>
            <c:idx val="341"/>
            <c:invertIfNegative val="1"/>
            <c:bubble3D val="0"/>
            <c:spPr>
              <a:solidFill>
                <a:srgbClr val="AEABAB"/>
              </a:solidFill>
            </c:spPr>
            <c:extLst>
              <c:ext xmlns:c16="http://schemas.microsoft.com/office/drawing/2014/chart" uri="{C3380CC4-5D6E-409C-BE32-E72D297353CC}">
                <c16:uniqueId val="{000002AD-D46E-4B35-AB90-9DEAD12B463E}"/>
              </c:ext>
            </c:extLst>
          </c:dPt>
          <c:dPt>
            <c:idx val="342"/>
            <c:invertIfNegative val="1"/>
            <c:bubble3D val="0"/>
            <c:spPr>
              <a:solidFill>
                <a:srgbClr val="AEABAB"/>
              </a:solidFill>
            </c:spPr>
            <c:extLst>
              <c:ext xmlns:c16="http://schemas.microsoft.com/office/drawing/2014/chart" uri="{C3380CC4-5D6E-409C-BE32-E72D297353CC}">
                <c16:uniqueId val="{000002AF-D46E-4B35-AB90-9DEAD12B463E}"/>
              </c:ext>
            </c:extLst>
          </c:dPt>
          <c:dPt>
            <c:idx val="343"/>
            <c:invertIfNegative val="1"/>
            <c:bubble3D val="0"/>
            <c:spPr>
              <a:solidFill>
                <a:srgbClr val="AEABAB"/>
              </a:solidFill>
            </c:spPr>
            <c:extLst>
              <c:ext xmlns:c16="http://schemas.microsoft.com/office/drawing/2014/chart" uri="{C3380CC4-5D6E-409C-BE32-E72D297353CC}">
                <c16:uniqueId val="{000002B1-D46E-4B35-AB90-9DEAD12B463E}"/>
              </c:ext>
            </c:extLst>
          </c:dPt>
          <c:dPt>
            <c:idx val="344"/>
            <c:invertIfNegative val="1"/>
            <c:bubble3D val="0"/>
            <c:spPr>
              <a:solidFill>
                <a:srgbClr val="AEABAB"/>
              </a:solidFill>
            </c:spPr>
            <c:extLst>
              <c:ext xmlns:c16="http://schemas.microsoft.com/office/drawing/2014/chart" uri="{C3380CC4-5D6E-409C-BE32-E72D297353CC}">
                <c16:uniqueId val="{000002B3-D46E-4B35-AB90-9DEAD12B463E}"/>
              </c:ext>
            </c:extLst>
          </c:dPt>
          <c:dPt>
            <c:idx val="345"/>
            <c:invertIfNegative val="1"/>
            <c:bubble3D val="0"/>
            <c:spPr>
              <a:solidFill>
                <a:srgbClr val="AEABAB"/>
              </a:solidFill>
            </c:spPr>
            <c:extLst>
              <c:ext xmlns:c16="http://schemas.microsoft.com/office/drawing/2014/chart" uri="{C3380CC4-5D6E-409C-BE32-E72D297353CC}">
                <c16:uniqueId val="{000002B5-D46E-4B35-AB90-9DEAD12B463E}"/>
              </c:ext>
            </c:extLst>
          </c:dPt>
          <c:dPt>
            <c:idx val="346"/>
            <c:invertIfNegative val="1"/>
            <c:bubble3D val="0"/>
            <c:spPr>
              <a:solidFill>
                <a:srgbClr val="AEABAB"/>
              </a:solidFill>
            </c:spPr>
            <c:extLst>
              <c:ext xmlns:c16="http://schemas.microsoft.com/office/drawing/2014/chart" uri="{C3380CC4-5D6E-409C-BE32-E72D297353CC}">
                <c16:uniqueId val="{000002B7-D46E-4B35-AB90-9DEAD12B463E}"/>
              </c:ext>
            </c:extLst>
          </c:dPt>
          <c:dPt>
            <c:idx val="347"/>
            <c:invertIfNegative val="1"/>
            <c:bubble3D val="0"/>
            <c:spPr>
              <a:solidFill>
                <a:srgbClr val="AEABAB"/>
              </a:solidFill>
            </c:spPr>
            <c:extLst>
              <c:ext xmlns:c16="http://schemas.microsoft.com/office/drawing/2014/chart" uri="{C3380CC4-5D6E-409C-BE32-E72D297353CC}">
                <c16:uniqueId val="{000002B9-D46E-4B35-AB90-9DEAD12B463E}"/>
              </c:ext>
            </c:extLst>
          </c:dPt>
          <c:dPt>
            <c:idx val="348"/>
            <c:invertIfNegative val="1"/>
            <c:bubble3D val="0"/>
            <c:spPr>
              <a:solidFill>
                <a:srgbClr val="AEABAB"/>
              </a:solidFill>
            </c:spPr>
            <c:extLst>
              <c:ext xmlns:c16="http://schemas.microsoft.com/office/drawing/2014/chart" uri="{C3380CC4-5D6E-409C-BE32-E72D297353CC}">
                <c16:uniqueId val="{000002BB-D46E-4B35-AB90-9DEAD12B463E}"/>
              </c:ext>
            </c:extLst>
          </c:dPt>
          <c:dPt>
            <c:idx val="349"/>
            <c:invertIfNegative val="1"/>
            <c:bubble3D val="0"/>
            <c:spPr>
              <a:solidFill>
                <a:srgbClr val="AEABAB"/>
              </a:solidFill>
            </c:spPr>
            <c:extLst>
              <c:ext xmlns:c16="http://schemas.microsoft.com/office/drawing/2014/chart" uri="{C3380CC4-5D6E-409C-BE32-E72D297353CC}">
                <c16:uniqueId val="{000002BD-D46E-4B35-AB90-9DEAD12B463E}"/>
              </c:ext>
            </c:extLst>
          </c:dPt>
          <c:dPt>
            <c:idx val="350"/>
            <c:invertIfNegative val="1"/>
            <c:bubble3D val="0"/>
            <c:spPr>
              <a:solidFill>
                <a:srgbClr val="AEABAB"/>
              </a:solidFill>
            </c:spPr>
            <c:extLst>
              <c:ext xmlns:c16="http://schemas.microsoft.com/office/drawing/2014/chart" uri="{C3380CC4-5D6E-409C-BE32-E72D297353CC}">
                <c16:uniqueId val="{000002BF-D46E-4B35-AB90-9DEAD12B463E}"/>
              </c:ext>
            </c:extLst>
          </c:dPt>
          <c:dPt>
            <c:idx val="351"/>
            <c:invertIfNegative val="1"/>
            <c:bubble3D val="0"/>
            <c:spPr>
              <a:solidFill>
                <a:srgbClr val="AEABAB"/>
              </a:solidFill>
            </c:spPr>
            <c:extLst>
              <c:ext xmlns:c16="http://schemas.microsoft.com/office/drawing/2014/chart" uri="{C3380CC4-5D6E-409C-BE32-E72D297353CC}">
                <c16:uniqueId val="{000002C1-D46E-4B35-AB90-9DEAD12B463E}"/>
              </c:ext>
            </c:extLst>
          </c:dPt>
          <c:dPt>
            <c:idx val="352"/>
            <c:invertIfNegative val="1"/>
            <c:bubble3D val="0"/>
            <c:spPr>
              <a:solidFill>
                <a:srgbClr val="AEABAB"/>
              </a:solidFill>
            </c:spPr>
            <c:extLst>
              <c:ext xmlns:c16="http://schemas.microsoft.com/office/drawing/2014/chart" uri="{C3380CC4-5D6E-409C-BE32-E72D297353CC}">
                <c16:uniqueId val="{000002C3-D46E-4B35-AB90-9DEAD12B463E}"/>
              </c:ext>
            </c:extLst>
          </c:dPt>
          <c:dPt>
            <c:idx val="353"/>
            <c:invertIfNegative val="1"/>
            <c:bubble3D val="0"/>
            <c:spPr>
              <a:solidFill>
                <a:srgbClr val="AEABAB"/>
              </a:solidFill>
            </c:spPr>
            <c:extLst>
              <c:ext xmlns:c16="http://schemas.microsoft.com/office/drawing/2014/chart" uri="{C3380CC4-5D6E-409C-BE32-E72D297353CC}">
                <c16:uniqueId val="{000002C5-D46E-4B35-AB90-9DEAD12B463E}"/>
              </c:ext>
            </c:extLst>
          </c:dPt>
          <c:dPt>
            <c:idx val="354"/>
            <c:invertIfNegative val="1"/>
            <c:bubble3D val="0"/>
            <c:spPr>
              <a:solidFill>
                <a:srgbClr val="AEABAB"/>
              </a:solidFill>
            </c:spPr>
            <c:extLst>
              <c:ext xmlns:c16="http://schemas.microsoft.com/office/drawing/2014/chart" uri="{C3380CC4-5D6E-409C-BE32-E72D297353CC}">
                <c16:uniqueId val="{000002C7-D46E-4B35-AB90-9DEAD12B463E}"/>
              </c:ext>
            </c:extLst>
          </c:dPt>
          <c:dPt>
            <c:idx val="355"/>
            <c:invertIfNegative val="1"/>
            <c:bubble3D val="0"/>
            <c:spPr>
              <a:solidFill>
                <a:srgbClr val="AEABAB"/>
              </a:solidFill>
            </c:spPr>
            <c:extLst>
              <c:ext xmlns:c16="http://schemas.microsoft.com/office/drawing/2014/chart" uri="{C3380CC4-5D6E-409C-BE32-E72D297353CC}">
                <c16:uniqueId val="{000002C9-D46E-4B35-AB90-9DEAD12B463E}"/>
              </c:ext>
            </c:extLst>
          </c:dPt>
          <c:dPt>
            <c:idx val="356"/>
            <c:invertIfNegative val="1"/>
            <c:bubble3D val="0"/>
            <c:spPr>
              <a:solidFill>
                <a:srgbClr val="AEABAB"/>
              </a:solidFill>
            </c:spPr>
            <c:extLst>
              <c:ext xmlns:c16="http://schemas.microsoft.com/office/drawing/2014/chart" uri="{C3380CC4-5D6E-409C-BE32-E72D297353CC}">
                <c16:uniqueId val="{000002CB-D46E-4B35-AB90-9DEAD12B463E}"/>
              </c:ext>
            </c:extLst>
          </c:dPt>
          <c:dPt>
            <c:idx val="357"/>
            <c:invertIfNegative val="1"/>
            <c:bubble3D val="0"/>
            <c:spPr>
              <a:solidFill>
                <a:srgbClr val="AEABAB"/>
              </a:solidFill>
            </c:spPr>
            <c:extLst>
              <c:ext xmlns:c16="http://schemas.microsoft.com/office/drawing/2014/chart" uri="{C3380CC4-5D6E-409C-BE32-E72D297353CC}">
                <c16:uniqueId val="{000002CD-D46E-4B35-AB90-9DEAD12B463E}"/>
              </c:ext>
            </c:extLst>
          </c:dPt>
          <c:dPt>
            <c:idx val="358"/>
            <c:invertIfNegative val="1"/>
            <c:bubble3D val="0"/>
            <c:spPr>
              <a:solidFill>
                <a:srgbClr val="AEABAB"/>
              </a:solidFill>
            </c:spPr>
            <c:extLst>
              <c:ext xmlns:c16="http://schemas.microsoft.com/office/drawing/2014/chart" uri="{C3380CC4-5D6E-409C-BE32-E72D297353CC}">
                <c16:uniqueId val="{000002CF-D46E-4B35-AB90-9DEAD12B463E}"/>
              </c:ext>
            </c:extLst>
          </c:dPt>
          <c:dPt>
            <c:idx val="359"/>
            <c:invertIfNegative val="1"/>
            <c:bubble3D val="0"/>
            <c:spPr>
              <a:solidFill>
                <a:srgbClr val="AEABAB"/>
              </a:solidFill>
            </c:spPr>
            <c:extLst>
              <c:ext xmlns:c16="http://schemas.microsoft.com/office/drawing/2014/chart" uri="{C3380CC4-5D6E-409C-BE32-E72D297353CC}">
                <c16:uniqueId val="{000002D1-D46E-4B35-AB90-9DEAD12B463E}"/>
              </c:ext>
            </c:extLst>
          </c:dPt>
          <c:dPt>
            <c:idx val="360"/>
            <c:invertIfNegative val="1"/>
            <c:bubble3D val="0"/>
            <c:spPr>
              <a:solidFill>
                <a:srgbClr val="AEABAB"/>
              </a:solidFill>
            </c:spPr>
            <c:extLst>
              <c:ext xmlns:c16="http://schemas.microsoft.com/office/drawing/2014/chart" uri="{C3380CC4-5D6E-409C-BE32-E72D297353CC}">
                <c16:uniqueId val="{000002D3-D46E-4B35-AB90-9DEAD12B463E}"/>
              </c:ext>
            </c:extLst>
          </c:dPt>
          <c:dPt>
            <c:idx val="361"/>
            <c:invertIfNegative val="1"/>
            <c:bubble3D val="0"/>
            <c:spPr>
              <a:solidFill>
                <a:srgbClr val="AEABAB"/>
              </a:solidFill>
            </c:spPr>
            <c:extLst>
              <c:ext xmlns:c16="http://schemas.microsoft.com/office/drawing/2014/chart" uri="{C3380CC4-5D6E-409C-BE32-E72D297353CC}">
                <c16:uniqueId val="{000002D5-D46E-4B35-AB90-9DEAD12B463E}"/>
              </c:ext>
            </c:extLst>
          </c:dPt>
          <c:dPt>
            <c:idx val="362"/>
            <c:invertIfNegative val="1"/>
            <c:bubble3D val="0"/>
            <c:spPr>
              <a:solidFill>
                <a:srgbClr val="AEABAB"/>
              </a:solidFill>
            </c:spPr>
            <c:extLst>
              <c:ext xmlns:c16="http://schemas.microsoft.com/office/drawing/2014/chart" uri="{C3380CC4-5D6E-409C-BE32-E72D297353CC}">
                <c16:uniqueId val="{000002D7-D46E-4B35-AB90-9DEAD12B463E}"/>
              </c:ext>
            </c:extLst>
          </c:dPt>
          <c:dPt>
            <c:idx val="363"/>
            <c:invertIfNegative val="1"/>
            <c:bubble3D val="0"/>
            <c:spPr>
              <a:solidFill>
                <a:srgbClr val="AEABAB"/>
              </a:solidFill>
            </c:spPr>
            <c:extLst>
              <c:ext xmlns:c16="http://schemas.microsoft.com/office/drawing/2014/chart" uri="{C3380CC4-5D6E-409C-BE32-E72D297353CC}">
                <c16:uniqueId val="{000002D9-D46E-4B35-AB90-9DEAD12B463E}"/>
              </c:ext>
            </c:extLst>
          </c:dPt>
          <c:dPt>
            <c:idx val="364"/>
            <c:invertIfNegative val="1"/>
            <c:bubble3D val="0"/>
            <c:spPr>
              <a:solidFill>
                <a:srgbClr val="AEABAB"/>
              </a:solidFill>
            </c:spPr>
            <c:extLst>
              <c:ext xmlns:c16="http://schemas.microsoft.com/office/drawing/2014/chart" uri="{C3380CC4-5D6E-409C-BE32-E72D297353CC}">
                <c16:uniqueId val="{000002DB-D46E-4B35-AB90-9DEAD12B463E}"/>
              </c:ext>
            </c:extLst>
          </c:dPt>
          <c:dPt>
            <c:idx val="365"/>
            <c:invertIfNegative val="1"/>
            <c:bubble3D val="0"/>
            <c:spPr>
              <a:solidFill>
                <a:srgbClr val="AEABAB"/>
              </a:solidFill>
            </c:spPr>
            <c:extLst>
              <c:ext xmlns:c16="http://schemas.microsoft.com/office/drawing/2014/chart" uri="{C3380CC4-5D6E-409C-BE32-E72D297353CC}">
                <c16:uniqueId val="{000002DD-D46E-4B35-AB90-9DEAD12B463E}"/>
              </c:ext>
            </c:extLst>
          </c:dPt>
          <c:dPt>
            <c:idx val="366"/>
            <c:invertIfNegative val="1"/>
            <c:bubble3D val="0"/>
            <c:spPr>
              <a:solidFill>
                <a:srgbClr val="AEABAB"/>
              </a:solidFill>
            </c:spPr>
            <c:extLst>
              <c:ext xmlns:c16="http://schemas.microsoft.com/office/drawing/2014/chart" uri="{C3380CC4-5D6E-409C-BE32-E72D297353CC}">
                <c16:uniqueId val="{000002DF-D46E-4B35-AB90-9DEAD12B463E}"/>
              </c:ext>
            </c:extLst>
          </c:dPt>
          <c:dPt>
            <c:idx val="367"/>
            <c:invertIfNegative val="1"/>
            <c:bubble3D val="0"/>
            <c:spPr>
              <a:solidFill>
                <a:srgbClr val="AEABAB"/>
              </a:solidFill>
            </c:spPr>
            <c:extLst>
              <c:ext xmlns:c16="http://schemas.microsoft.com/office/drawing/2014/chart" uri="{C3380CC4-5D6E-409C-BE32-E72D297353CC}">
                <c16:uniqueId val="{000002E1-D46E-4B35-AB90-9DEAD12B463E}"/>
              </c:ext>
            </c:extLst>
          </c:dPt>
          <c:dPt>
            <c:idx val="368"/>
            <c:invertIfNegative val="1"/>
            <c:bubble3D val="0"/>
            <c:spPr>
              <a:solidFill>
                <a:srgbClr val="AEABAB"/>
              </a:solidFill>
            </c:spPr>
            <c:extLst>
              <c:ext xmlns:c16="http://schemas.microsoft.com/office/drawing/2014/chart" uri="{C3380CC4-5D6E-409C-BE32-E72D297353CC}">
                <c16:uniqueId val="{000002E3-D46E-4B35-AB90-9DEAD12B463E}"/>
              </c:ext>
            </c:extLst>
          </c:dPt>
          <c:dPt>
            <c:idx val="369"/>
            <c:invertIfNegative val="1"/>
            <c:bubble3D val="0"/>
            <c:spPr>
              <a:solidFill>
                <a:srgbClr val="AEABAB"/>
              </a:solidFill>
            </c:spPr>
            <c:extLst>
              <c:ext xmlns:c16="http://schemas.microsoft.com/office/drawing/2014/chart" uri="{C3380CC4-5D6E-409C-BE32-E72D297353CC}">
                <c16:uniqueId val="{000002E5-D46E-4B35-AB90-9DEAD12B463E}"/>
              </c:ext>
            </c:extLst>
          </c:dPt>
          <c:dPt>
            <c:idx val="370"/>
            <c:invertIfNegative val="1"/>
            <c:bubble3D val="0"/>
            <c:spPr>
              <a:solidFill>
                <a:srgbClr val="AEABAB"/>
              </a:solidFill>
            </c:spPr>
            <c:extLst>
              <c:ext xmlns:c16="http://schemas.microsoft.com/office/drawing/2014/chart" uri="{C3380CC4-5D6E-409C-BE32-E72D297353CC}">
                <c16:uniqueId val="{000002E7-D46E-4B35-AB90-9DEAD12B463E}"/>
              </c:ext>
            </c:extLst>
          </c:dPt>
          <c:dPt>
            <c:idx val="371"/>
            <c:invertIfNegative val="1"/>
            <c:bubble3D val="0"/>
            <c:spPr>
              <a:solidFill>
                <a:srgbClr val="AEABAB"/>
              </a:solidFill>
            </c:spPr>
            <c:extLst>
              <c:ext xmlns:c16="http://schemas.microsoft.com/office/drawing/2014/chart" uri="{C3380CC4-5D6E-409C-BE32-E72D297353CC}">
                <c16:uniqueId val="{000002E9-D46E-4B35-AB90-9DEAD12B463E}"/>
              </c:ext>
            </c:extLst>
          </c:dPt>
          <c:dPt>
            <c:idx val="372"/>
            <c:invertIfNegative val="1"/>
            <c:bubble3D val="0"/>
            <c:spPr>
              <a:solidFill>
                <a:srgbClr val="AEABAB"/>
              </a:solidFill>
            </c:spPr>
            <c:extLst>
              <c:ext xmlns:c16="http://schemas.microsoft.com/office/drawing/2014/chart" uri="{C3380CC4-5D6E-409C-BE32-E72D297353CC}">
                <c16:uniqueId val="{000002EB-D46E-4B35-AB90-9DEAD12B463E}"/>
              </c:ext>
            </c:extLst>
          </c:dPt>
          <c:dPt>
            <c:idx val="373"/>
            <c:invertIfNegative val="1"/>
            <c:bubble3D val="0"/>
            <c:spPr>
              <a:solidFill>
                <a:srgbClr val="AEABAB"/>
              </a:solidFill>
            </c:spPr>
            <c:extLst>
              <c:ext xmlns:c16="http://schemas.microsoft.com/office/drawing/2014/chart" uri="{C3380CC4-5D6E-409C-BE32-E72D297353CC}">
                <c16:uniqueId val="{000002ED-D46E-4B35-AB90-9DEAD12B463E}"/>
              </c:ext>
            </c:extLst>
          </c:dPt>
          <c:dPt>
            <c:idx val="374"/>
            <c:invertIfNegative val="1"/>
            <c:bubble3D val="0"/>
            <c:spPr>
              <a:solidFill>
                <a:srgbClr val="AEABAB"/>
              </a:solidFill>
            </c:spPr>
            <c:extLst>
              <c:ext xmlns:c16="http://schemas.microsoft.com/office/drawing/2014/chart" uri="{C3380CC4-5D6E-409C-BE32-E72D297353CC}">
                <c16:uniqueId val="{000002EF-D46E-4B35-AB90-9DEAD12B463E}"/>
              </c:ext>
            </c:extLst>
          </c:dPt>
          <c:dPt>
            <c:idx val="375"/>
            <c:invertIfNegative val="1"/>
            <c:bubble3D val="0"/>
            <c:spPr>
              <a:solidFill>
                <a:srgbClr val="AEABAB"/>
              </a:solidFill>
            </c:spPr>
            <c:extLst>
              <c:ext xmlns:c16="http://schemas.microsoft.com/office/drawing/2014/chart" uri="{C3380CC4-5D6E-409C-BE32-E72D297353CC}">
                <c16:uniqueId val="{000002F1-D46E-4B35-AB90-9DEAD12B463E}"/>
              </c:ext>
            </c:extLst>
          </c:dPt>
          <c:dPt>
            <c:idx val="376"/>
            <c:invertIfNegative val="1"/>
            <c:bubble3D val="0"/>
            <c:spPr>
              <a:solidFill>
                <a:srgbClr val="AEABAB"/>
              </a:solidFill>
            </c:spPr>
            <c:extLst>
              <c:ext xmlns:c16="http://schemas.microsoft.com/office/drawing/2014/chart" uri="{C3380CC4-5D6E-409C-BE32-E72D297353CC}">
                <c16:uniqueId val="{000002F3-D46E-4B35-AB90-9DEAD12B463E}"/>
              </c:ext>
            </c:extLst>
          </c:dPt>
          <c:dPt>
            <c:idx val="377"/>
            <c:invertIfNegative val="1"/>
            <c:bubble3D val="0"/>
            <c:spPr>
              <a:solidFill>
                <a:srgbClr val="AEABAB"/>
              </a:solidFill>
            </c:spPr>
            <c:extLst>
              <c:ext xmlns:c16="http://schemas.microsoft.com/office/drawing/2014/chart" uri="{C3380CC4-5D6E-409C-BE32-E72D297353CC}">
                <c16:uniqueId val="{000002F5-D46E-4B35-AB90-9DEAD12B463E}"/>
              </c:ext>
            </c:extLst>
          </c:dPt>
          <c:dPt>
            <c:idx val="378"/>
            <c:invertIfNegative val="1"/>
            <c:bubble3D val="0"/>
            <c:spPr>
              <a:solidFill>
                <a:srgbClr val="AEABAB"/>
              </a:solidFill>
            </c:spPr>
            <c:extLst>
              <c:ext xmlns:c16="http://schemas.microsoft.com/office/drawing/2014/chart" uri="{C3380CC4-5D6E-409C-BE32-E72D297353CC}">
                <c16:uniqueId val="{000002F7-D46E-4B35-AB90-9DEAD12B463E}"/>
              </c:ext>
            </c:extLst>
          </c:dPt>
          <c:dPt>
            <c:idx val="379"/>
            <c:invertIfNegative val="1"/>
            <c:bubble3D val="0"/>
            <c:spPr>
              <a:solidFill>
                <a:srgbClr val="AEABAB"/>
              </a:solidFill>
            </c:spPr>
            <c:extLst>
              <c:ext xmlns:c16="http://schemas.microsoft.com/office/drawing/2014/chart" uri="{C3380CC4-5D6E-409C-BE32-E72D297353CC}">
                <c16:uniqueId val="{000002F9-D46E-4B35-AB90-9DEAD12B463E}"/>
              </c:ext>
            </c:extLst>
          </c:dPt>
          <c:dPt>
            <c:idx val="380"/>
            <c:invertIfNegative val="1"/>
            <c:bubble3D val="0"/>
            <c:spPr>
              <a:solidFill>
                <a:srgbClr val="AEABAB"/>
              </a:solidFill>
            </c:spPr>
            <c:extLst>
              <c:ext xmlns:c16="http://schemas.microsoft.com/office/drawing/2014/chart" uri="{C3380CC4-5D6E-409C-BE32-E72D297353CC}">
                <c16:uniqueId val="{000002FB-D46E-4B35-AB90-9DEAD12B463E}"/>
              </c:ext>
            </c:extLst>
          </c:dPt>
          <c:dPt>
            <c:idx val="381"/>
            <c:invertIfNegative val="1"/>
            <c:bubble3D val="0"/>
            <c:spPr>
              <a:solidFill>
                <a:srgbClr val="AEABAB"/>
              </a:solidFill>
            </c:spPr>
            <c:extLst>
              <c:ext xmlns:c16="http://schemas.microsoft.com/office/drawing/2014/chart" uri="{C3380CC4-5D6E-409C-BE32-E72D297353CC}">
                <c16:uniqueId val="{000002FD-D46E-4B35-AB90-9DEAD12B463E}"/>
              </c:ext>
            </c:extLst>
          </c:dPt>
          <c:dPt>
            <c:idx val="382"/>
            <c:invertIfNegative val="1"/>
            <c:bubble3D val="0"/>
            <c:spPr>
              <a:solidFill>
                <a:srgbClr val="AEABAB"/>
              </a:solidFill>
            </c:spPr>
            <c:extLst>
              <c:ext xmlns:c16="http://schemas.microsoft.com/office/drawing/2014/chart" uri="{C3380CC4-5D6E-409C-BE32-E72D297353CC}">
                <c16:uniqueId val="{000002FF-D46E-4B35-AB90-9DEAD12B463E}"/>
              </c:ext>
            </c:extLst>
          </c:dPt>
          <c:dPt>
            <c:idx val="383"/>
            <c:invertIfNegative val="1"/>
            <c:bubble3D val="0"/>
            <c:spPr>
              <a:solidFill>
                <a:srgbClr val="AEABAB"/>
              </a:solidFill>
            </c:spPr>
            <c:extLst>
              <c:ext xmlns:c16="http://schemas.microsoft.com/office/drawing/2014/chart" uri="{C3380CC4-5D6E-409C-BE32-E72D297353CC}">
                <c16:uniqueId val="{00000301-D46E-4B35-AB90-9DEAD12B463E}"/>
              </c:ext>
            </c:extLst>
          </c:dPt>
          <c:dPt>
            <c:idx val="384"/>
            <c:invertIfNegative val="1"/>
            <c:bubble3D val="0"/>
            <c:spPr>
              <a:solidFill>
                <a:srgbClr val="AEABAB"/>
              </a:solidFill>
            </c:spPr>
            <c:extLst>
              <c:ext xmlns:c16="http://schemas.microsoft.com/office/drawing/2014/chart" uri="{C3380CC4-5D6E-409C-BE32-E72D297353CC}">
                <c16:uniqueId val="{00000303-D46E-4B35-AB90-9DEAD12B463E}"/>
              </c:ext>
            </c:extLst>
          </c:dPt>
          <c:dPt>
            <c:idx val="385"/>
            <c:invertIfNegative val="1"/>
            <c:bubble3D val="0"/>
            <c:spPr>
              <a:solidFill>
                <a:srgbClr val="AEABAB"/>
              </a:solidFill>
            </c:spPr>
            <c:extLst>
              <c:ext xmlns:c16="http://schemas.microsoft.com/office/drawing/2014/chart" uri="{C3380CC4-5D6E-409C-BE32-E72D297353CC}">
                <c16:uniqueId val="{00000305-D46E-4B35-AB90-9DEAD12B463E}"/>
              </c:ext>
            </c:extLst>
          </c:dPt>
          <c:dPt>
            <c:idx val="386"/>
            <c:invertIfNegative val="1"/>
            <c:bubble3D val="0"/>
            <c:spPr>
              <a:solidFill>
                <a:srgbClr val="AEABAB"/>
              </a:solidFill>
            </c:spPr>
            <c:extLst>
              <c:ext xmlns:c16="http://schemas.microsoft.com/office/drawing/2014/chart" uri="{C3380CC4-5D6E-409C-BE32-E72D297353CC}">
                <c16:uniqueId val="{00000307-D46E-4B35-AB90-9DEAD12B463E}"/>
              </c:ext>
            </c:extLst>
          </c:dPt>
          <c:dPt>
            <c:idx val="387"/>
            <c:invertIfNegative val="1"/>
            <c:bubble3D val="0"/>
            <c:spPr>
              <a:solidFill>
                <a:srgbClr val="AEABAB"/>
              </a:solidFill>
            </c:spPr>
            <c:extLst>
              <c:ext xmlns:c16="http://schemas.microsoft.com/office/drawing/2014/chart" uri="{C3380CC4-5D6E-409C-BE32-E72D297353CC}">
                <c16:uniqueId val="{00000309-D46E-4B35-AB90-9DEAD12B463E}"/>
              </c:ext>
            </c:extLst>
          </c:dPt>
          <c:dPt>
            <c:idx val="388"/>
            <c:invertIfNegative val="1"/>
            <c:bubble3D val="0"/>
            <c:spPr>
              <a:solidFill>
                <a:srgbClr val="AEABAB"/>
              </a:solidFill>
            </c:spPr>
            <c:extLst>
              <c:ext xmlns:c16="http://schemas.microsoft.com/office/drawing/2014/chart" uri="{C3380CC4-5D6E-409C-BE32-E72D297353CC}">
                <c16:uniqueId val="{0000030B-D46E-4B35-AB90-9DEAD12B463E}"/>
              </c:ext>
            </c:extLst>
          </c:dPt>
          <c:dPt>
            <c:idx val="389"/>
            <c:invertIfNegative val="1"/>
            <c:bubble3D val="0"/>
            <c:spPr>
              <a:solidFill>
                <a:srgbClr val="AEABAB"/>
              </a:solidFill>
            </c:spPr>
            <c:extLst>
              <c:ext xmlns:c16="http://schemas.microsoft.com/office/drawing/2014/chart" uri="{C3380CC4-5D6E-409C-BE32-E72D297353CC}">
                <c16:uniqueId val="{0000030D-D46E-4B35-AB90-9DEAD12B463E}"/>
              </c:ext>
            </c:extLst>
          </c:dPt>
          <c:dPt>
            <c:idx val="390"/>
            <c:invertIfNegative val="1"/>
            <c:bubble3D val="0"/>
            <c:spPr>
              <a:solidFill>
                <a:srgbClr val="AEABAB"/>
              </a:solidFill>
            </c:spPr>
            <c:extLst>
              <c:ext xmlns:c16="http://schemas.microsoft.com/office/drawing/2014/chart" uri="{C3380CC4-5D6E-409C-BE32-E72D297353CC}">
                <c16:uniqueId val="{0000030F-D46E-4B35-AB90-9DEAD12B463E}"/>
              </c:ext>
            </c:extLst>
          </c:dPt>
          <c:dPt>
            <c:idx val="391"/>
            <c:invertIfNegative val="1"/>
            <c:bubble3D val="0"/>
            <c:spPr>
              <a:solidFill>
                <a:srgbClr val="AEABAB"/>
              </a:solidFill>
            </c:spPr>
            <c:extLst>
              <c:ext xmlns:c16="http://schemas.microsoft.com/office/drawing/2014/chart" uri="{C3380CC4-5D6E-409C-BE32-E72D297353CC}">
                <c16:uniqueId val="{00000311-D46E-4B35-AB90-9DEAD12B463E}"/>
              </c:ext>
            </c:extLst>
          </c:dPt>
          <c:dPt>
            <c:idx val="392"/>
            <c:invertIfNegative val="1"/>
            <c:bubble3D val="0"/>
            <c:spPr>
              <a:solidFill>
                <a:srgbClr val="AEABAB"/>
              </a:solidFill>
            </c:spPr>
            <c:extLst>
              <c:ext xmlns:c16="http://schemas.microsoft.com/office/drawing/2014/chart" uri="{C3380CC4-5D6E-409C-BE32-E72D297353CC}">
                <c16:uniqueId val="{00000313-D46E-4B35-AB90-9DEAD12B463E}"/>
              </c:ext>
            </c:extLst>
          </c:dPt>
          <c:dPt>
            <c:idx val="393"/>
            <c:invertIfNegative val="1"/>
            <c:bubble3D val="0"/>
            <c:spPr>
              <a:solidFill>
                <a:srgbClr val="AEABAB"/>
              </a:solidFill>
            </c:spPr>
            <c:extLst>
              <c:ext xmlns:c16="http://schemas.microsoft.com/office/drawing/2014/chart" uri="{C3380CC4-5D6E-409C-BE32-E72D297353CC}">
                <c16:uniqueId val="{00000315-D46E-4B35-AB90-9DEAD12B463E}"/>
              </c:ext>
            </c:extLst>
          </c:dPt>
          <c:dPt>
            <c:idx val="394"/>
            <c:invertIfNegative val="1"/>
            <c:bubble3D val="0"/>
            <c:spPr>
              <a:solidFill>
                <a:srgbClr val="AEABAB"/>
              </a:solidFill>
            </c:spPr>
            <c:extLst>
              <c:ext xmlns:c16="http://schemas.microsoft.com/office/drawing/2014/chart" uri="{C3380CC4-5D6E-409C-BE32-E72D297353CC}">
                <c16:uniqueId val="{00000317-D46E-4B35-AB90-9DEAD12B463E}"/>
              </c:ext>
            </c:extLst>
          </c:dPt>
          <c:dPt>
            <c:idx val="395"/>
            <c:invertIfNegative val="1"/>
            <c:bubble3D val="0"/>
            <c:spPr>
              <a:solidFill>
                <a:srgbClr val="AEABAB"/>
              </a:solidFill>
            </c:spPr>
            <c:extLst>
              <c:ext xmlns:c16="http://schemas.microsoft.com/office/drawing/2014/chart" uri="{C3380CC4-5D6E-409C-BE32-E72D297353CC}">
                <c16:uniqueId val="{00000319-D46E-4B35-AB90-9DEAD12B463E}"/>
              </c:ext>
            </c:extLst>
          </c:dPt>
          <c:dPt>
            <c:idx val="396"/>
            <c:invertIfNegative val="1"/>
            <c:bubble3D val="0"/>
            <c:spPr>
              <a:solidFill>
                <a:srgbClr val="AEABAB"/>
              </a:solidFill>
            </c:spPr>
            <c:extLst>
              <c:ext xmlns:c16="http://schemas.microsoft.com/office/drawing/2014/chart" uri="{C3380CC4-5D6E-409C-BE32-E72D297353CC}">
                <c16:uniqueId val="{0000031B-D46E-4B35-AB90-9DEAD12B463E}"/>
              </c:ext>
            </c:extLst>
          </c:dPt>
          <c:dPt>
            <c:idx val="397"/>
            <c:invertIfNegative val="1"/>
            <c:bubble3D val="0"/>
            <c:spPr>
              <a:solidFill>
                <a:srgbClr val="AEABAB"/>
              </a:solidFill>
            </c:spPr>
            <c:extLst>
              <c:ext xmlns:c16="http://schemas.microsoft.com/office/drawing/2014/chart" uri="{C3380CC4-5D6E-409C-BE32-E72D297353CC}">
                <c16:uniqueId val="{0000031D-D46E-4B35-AB90-9DEAD12B463E}"/>
              </c:ext>
            </c:extLst>
          </c:dPt>
          <c:dPt>
            <c:idx val="398"/>
            <c:invertIfNegative val="1"/>
            <c:bubble3D val="0"/>
            <c:spPr>
              <a:solidFill>
                <a:srgbClr val="AEABAB"/>
              </a:solidFill>
            </c:spPr>
            <c:extLst>
              <c:ext xmlns:c16="http://schemas.microsoft.com/office/drawing/2014/chart" uri="{C3380CC4-5D6E-409C-BE32-E72D297353CC}">
                <c16:uniqueId val="{0000031F-D46E-4B35-AB90-9DEAD12B463E}"/>
              </c:ext>
            </c:extLst>
          </c:dPt>
          <c:dPt>
            <c:idx val="399"/>
            <c:invertIfNegative val="1"/>
            <c:bubble3D val="0"/>
            <c:spPr>
              <a:solidFill>
                <a:srgbClr val="AEABAB"/>
              </a:solidFill>
            </c:spPr>
            <c:extLst>
              <c:ext xmlns:c16="http://schemas.microsoft.com/office/drawing/2014/chart" uri="{C3380CC4-5D6E-409C-BE32-E72D297353CC}">
                <c16:uniqueId val="{00000321-D46E-4B35-AB90-9DEAD12B463E}"/>
              </c:ext>
            </c:extLst>
          </c:dPt>
          <c:dPt>
            <c:idx val="400"/>
            <c:invertIfNegative val="1"/>
            <c:bubble3D val="0"/>
            <c:spPr>
              <a:solidFill>
                <a:srgbClr val="AEABAB"/>
              </a:solidFill>
            </c:spPr>
            <c:extLst>
              <c:ext xmlns:c16="http://schemas.microsoft.com/office/drawing/2014/chart" uri="{C3380CC4-5D6E-409C-BE32-E72D297353CC}">
                <c16:uniqueId val="{00000323-D46E-4B35-AB90-9DEAD12B463E}"/>
              </c:ext>
            </c:extLst>
          </c:dPt>
          <c:dPt>
            <c:idx val="401"/>
            <c:invertIfNegative val="1"/>
            <c:bubble3D val="0"/>
            <c:spPr>
              <a:solidFill>
                <a:srgbClr val="AEABAB"/>
              </a:solidFill>
            </c:spPr>
            <c:extLst>
              <c:ext xmlns:c16="http://schemas.microsoft.com/office/drawing/2014/chart" uri="{C3380CC4-5D6E-409C-BE32-E72D297353CC}">
                <c16:uniqueId val="{00000325-D46E-4B35-AB90-9DEAD12B463E}"/>
              </c:ext>
            </c:extLst>
          </c:dPt>
          <c:dPt>
            <c:idx val="402"/>
            <c:invertIfNegative val="1"/>
            <c:bubble3D val="0"/>
            <c:spPr>
              <a:solidFill>
                <a:srgbClr val="AEABAB"/>
              </a:solidFill>
            </c:spPr>
            <c:extLst>
              <c:ext xmlns:c16="http://schemas.microsoft.com/office/drawing/2014/chart" uri="{C3380CC4-5D6E-409C-BE32-E72D297353CC}">
                <c16:uniqueId val="{00000327-D46E-4B35-AB90-9DEAD12B463E}"/>
              </c:ext>
            </c:extLst>
          </c:dPt>
          <c:dPt>
            <c:idx val="403"/>
            <c:invertIfNegative val="1"/>
            <c:bubble3D val="0"/>
            <c:spPr>
              <a:solidFill>
                <a:srgbClr val="AEABAB"/>
              </a:solidFill>
            </c:spPr>
            <c:extLst>
              <c:ext xmlns:c16="http://schemas.microsoft.com/office/drawing/2014/chart" uri="{C3380CC4-5D6E-409C-BE32-E72D297353CC}">
                <c16:uniqueId val="{00000329-D46E-4B35-AB90-9DEAD12B463E}"/>
              </c:ext>
            </c:extLst>
          </c:dPt>
          <c:dPt>
            <c:idx val="404"/>
            <c:invertIfNegative val="1"/>
            <c:bubble3D val="0"/>
            <c:spPr>
              <a:solidFill>
                <a:srgbClr val="AEABAB"/>
              </a:solidFill>
            </c:spPr>
            <c:extLst>
              <c:ext xmlns:c16="http://schemas.microsoft.com/office/drawing/2014/chart" uri="{C3380CC4-5D6E-409C-BE32-E72D297353CC}">
                <c16:uniqueId val="{0000032B-D46E-4B35-AB90-9DEAD12B463E}"/>
              </c:ext>
            </c:extLst>
          </c:dPt>
          <c:dPt>
            <c:idx val="405"/>
            <c:invertIfNegative val="1"/>
            <c:bubble3D val="0"/>
            <c:spPr>
              <a:solidFill>
                <a:srgbClr val="AEABAB"/>
              </a:solidFill>
            </c:spPr>
            <c:extLst>
              <c:ext xmlns:c16="http://schemas.microsoft.com/office/drawing/2014/chart" uri="{C3380CC4-5D6E-409C-BE32-E72D297353CC}">
                <c16:uniqueId val="{0000032D-D46E-4B35-AB90-9DEAD12B463E}"/>
              </c:ext>
            </c:extLst>
          </c:dPt>
          <c:dPt>
            <c:idx val="406"/>
            <c:invertIfNegative val="1"/>
            <c:bubble3D val="0"/>
            <c:spPr>
              <a:solidFill>
                <a:srgbClr val="AEABAB"/>
              </a:solidFill>
            </c:spPr>
            <c:extLst>
              <c:ext xmlns:c16="http://schemas.microsoft.com/office/drawing/2014/chart" uri="{C3380CC4-5D6E-409C-BE32-E72D297353CC}">
                <c16:uniqueId val="{0000032F-D46E-4B35-AB90-9DEAD12B463E}"/>
              </c:ext>
            </c:extLst>
          </c:dPt>
          <c:dPt>
            <c:idx val="407"/>
            <c:invertIfNegative val="1"/>
            <c:bubble3D val="0"/>
            <c:spPr>
              <a:solidFill>
                <a:srgbClr val="AEABAB"/>
              </a:solidFill>
            </c:spPr>
            <c:extLst>
              <c:ext xmlns:c16="http://schemas.microsoft.com/office/drawing/2014/chart" uri="{C3380CC4-5D6E-409C-BE32-E72D297353CC}">
                <c16:uniqueId val="{00000331-D46E-4B35-AB90-9DEAD12B463E}"/>
              </c:ext>
            </c:extLst>
          </c:dPt>
          <c:dPt>
            <c:idx val="408"/>
            <c:invertIfNegative val="1"/>
            <c:bubble3D val="0"/>
            <c:spPr>
              <a:solidFill>
                <a:srgbClr val="AEABAB"/>
              </a:solidFill>
            </c:spPr>
            <c:extLst>
              <c:ext xmlns:c16="http://schemas.microsoft.com/office/drawing/2014/chart" uri="{C3380CC4-5D6E-409C-BE32-E72D297353CC}">
                <c16:uniqueId val="{00000333-D46E-4B35-AB90-9DEAD12B463E}"/>
              </c:ext>
            </c:extLst>
          </c:dPt>
          <c:dPt>
            <c:idx val="409"/>
            <c:invertIfNegative val="1"/>
            <c:bubble3D val="0"/>
            <c:spPr>
              <a:solidFill>
                <a:srgbClr val="AEABAB"/>
              </a:solidFill>
            </c:spPr>
            <c:extLst>
              <c:ext xmlns:c16="http://schemas.microsoft.com/office/drawing/2014/chart" uri="{C3380CC4-5D6E-409C-BE32-E72D297353CC}">
                <c16:uniqueId val="{00000335-D46E-4B35-AB90-9DEAD12B463E}"/>
              </c:ext>
            </c:extLst>
          </c:dPt>
          <c:dPt>
            <c:idx val="410"/>
            <c:invertIfNegative val="1"/>
            <c:bubble3D val="0"/>
            <c:spPr>
              <a:solidFill>
                <a:srgbClr val="AEABAB"/>
              </a:solidFill>
            </c:spPr>
            <c:extLst>
              <c:ext xmlns:c16="http://schemas.microsoft.com/office/drawing/2014/chart" uri="{C3380CC4-5D6E-409C-BE32-E72D297353CC}">
                <c16:uniqueId val="{00000337-D46E-4B35-AB90-9DEAD12B463E}"/>
              </c:ext>
            </c:extLst>
          </c:dPt>
          <c:dPt>
            <c:idx val="411"/>
            <c:invertIfNegative val="1"/>
            <c:bubble3D val="0"/>
            <c:spPr>
              <a:solidFill>
                <a:srgbClr val="AEABAB"/>
              </a:solidFill>
            </c:spPr>
            <c:extLst>
              <c:ext xmlns:c16="http://schemas.microsoft.com/office/drawing/2014/chart" uri="{C3380CC4-5D6E-409C-BE32-E72D297353CC}">
                <c16:uniqueId val="{00000339-D46E-4B35-AB90-9DEAD12B463E}"/>
              </c:ext>
            </c:extLst>
          </c:dPt>
          <c:dPt>
            <c:idx val="412"/>
            <c:invertIfNegative val="1"/>
            <c:bubble3D val="0"/>
            <c:spPr>
              <a:solidFill>
                <a:srgbClr val="AEABAB"/>
              </a:solidFill>
            </c:spPr>
            <c:extLst>
              <c:ext xmlns:c16="http://schemas.microsoft.com/office/drawing/2014/chart" uri="{C3380CC4-5D6E-409C-BE32-E72D297353CC}">
                <c16:uniqueId val="{0000033B-D46E-4B35-AB90-9DEAD12B463E}"/>
              </c:ext>
            </c:extLst>
          </c:dPt>
          <c:dPt>
            <c:idx val="413"/>
            <c:invertIfNegative val="1"/>
            <c:bubble3D val="0"/>
            <c:spPr>
              <a:solidFill>
                <a:srgbClr val="AEABAB"/>
              </a:solidFill>
            </c:spPr>
            <c:extLst>
              <c:ext xmlns:c16="http://schemas.microsoft.com/office/drawing/2014/chart" uri="{C3380CC4-5D6E-409C-BE32-E72D297353CC}">
                <c16:uniqueId val="{0000033D-D46E-4B35-AB90-9DEAD12B463E}"/>
              </c:ext>
            </c:extLst>
          </c:dPt>
          <c:dPt>
            <c:idx val="414"/>
            <c:invertIfNegative val="1"/>
            <c:bubble3D val="0"/>
            <c:spPr>
              <a:solidFill>
                <a:srgbClr val="AEABAB"/>
              </a:solidFill>
            </c:spPr>
            <c:extLst>
              <c:ext xmlns:c16="http://schemas.microsoft.com/office/drawing/2014/chart" uri="{C3380CC4-5D6E-409C-BE32-E72D297353CC}">
                <c16:uniqueId val="{0000033F-D46E-4B35-AB90-9DEAD12B463E}"/>
              </c:ext>
            </c:extLst>
          </c:dPt>
          <c:dPt>
            <c:idx val="415"/>
            <c:invertIfNegative val="1"/>
            <c:bubble3D val="0"/>
            <c:spPr>
              <a:solidFill>
                <a:srgbClr val="AEABAB"/>
              </a:solidFill>
            </c:spPr>
            <c:extLst>
              <c:ext xmlns:c16="http://schemas.microsoft.com/office/drawing/2014/chart" uri="{C3380CC4-5D6E-409C-BE32-E72D297353CC}">
                <c16:uniqueId val="{00000341-D46E-4B35-AB90-9DEAD12B463E}"/>
              </c:ext>
            </c:extLst>
          </c:dPt>
          <c:dPt>
            <c:idx val="416"/>
            <c:invertIfNegative val="1"/>
            <c:bubble3D val="0"/>
            <c:spPr>
              <a:solidFill>
                <a:srgbClr val="AEABAB"/>
              </a:solidFill>
            </c:spPr>
            <c:extLst>
              <c:ext xmlns:c16="http://schemas.microsoft.com/office/drawing/2014/chart" uri="{C3380CC4-5D6E-409C-BE32-E72D297353CC}">
                <c16:uniqueId val="{00000343-D46E-4B35-AB90-9DEAD12B463E}"/>
              </c:ext>
            </c:extLst>
          </c:dPt>
          <c:dPt>
            <c:idx val="417"/>
            <c:invertIfNegative val="1"/>
            <c:bubble3D val="0"/>
            <c:spPr>
              <a:solidFill>
                <a:srgbClr val="AEABAB"/>
              </a:solidFill>
            </c:spPr>
            <c:extLst>
              <c:ext xmlns:c16="http://schemas.microsoft.com/office/drawing/2014/chart" uri="{C3380CC4-5D6E-409C-BE32-E72D297353CC}">
                <c16:uniqueId val="{00000345-D46E-4B35-AB90-9DEAD12B463E}"/>
              </c:ext>
            </c:extLst>
          </c:dPt>
          <c:dPt>
            <c:idx val="418"/>
            <c:invertIfNegative val="1"/>
            <c:bubble3D val="0"/>
            <c:spPr>
              <a:solidFill>
                <a:srgbClr val="AEABAB"/>
              </a:solidFill>
            </c:spPr>
            <c:extLst>
              <c:ext xmlns:c16="http://schemas.microsoft.com/office/drawing/2014/chart" uri="{C3380CC4-5D6E-409C-BE32-E72D297353CC}">
                <c16:uniqueId val="{00000347-D46E-4B35-AB90-9DEAD12B463E}"/>
              </c:ext>
            </c:extLst>
          </c:dPt>
          <c:dPt>
            <c:idx val="419"/>
            <c:invertIfNegative val="1"/>
            <c:bubble3D val="0"/>
            <c:spPr>
              <a:solidFill>
                <a:srgbClr val="AEABAB"/>
              </a:solidFill>
            </c:spPr>
            <c:extLst>
              <c:ext xmlns:c16="http://schemas.microsoft.com/office/drawing/2014/chart" uri="{C3380CC4-5D6E-409C-BE32-E72D297353CC}">
                <c16:uniqueId val="{00000349-D46E-4B35-AB90-9DEAD12B463E}"/>
              </c:ext>
            </c:extLst>
          </c:dPt>
          <c:dPt>
            <c:idx val="420"/>
            <c:invertIfNegative val="1"/>
            <c:bubble3D val="0"/>
            <c:spPr>
              <a:solidFill>
                <a:srgbClr val="AEABAB"/>
              </a:solidFill>
            </c:spPr>
            <c:extLst>
              <c:ext xmlns:c16="http://schemas.microsoft.com/office/drawing/2014/chart" uri="{C3380CC4-5D6E-409C-BE32-E72D297353CC}">
                <c16:uniqueId val="{0000034B-D46E-4B35-AB90-9DEAD12B463E}"/>
              </c:ext>
            </c:extLst>
          </c:dPt>
          <c:dPt>
            <c:idx val="421"/>
            <c:invertIfNegative val="1"/>
            <c:bubble3D val="0"/>
            <c:spPr>
              <a:solidFill>
                <a:srgbClr val="AEABAB"/>
              </a:solidFill>
            </c:spPr>
            <c:extLst>
              <c:ext xmlns:c16="http://schemas.microsoft.com/office/drawing/2014/chart" uri="{C3380CC4-5D6E-409C-BE32-E72D297353CC}">
                <c16:uniqueId val="{0000034D-D46E-4B35-AB90-9DEAD12B463E}"/>
              </c:ext>
            </c:extLst>
          </c:dPt>
          <c:dPt>
            <c:idx val="422"/>
            <c:invertIfNegative val="1"/>
            <c:bubble3D val="0"/>
            <c:spPr>
              <a:solidFill>
                <a:srgbClr val="AEABAB"/>
              </a:solidFill>
            </c:spPr>
            <c:extLst>
              <c:ext xmlns:c16="http://schemas.microsoft.com/office/drawing/2014/chart" uri="{C3380CC4-5D6E-409C-BE32-E72D297353CC}">
                <c16:uniqueId val="{0000034F-D46E-4B35-AB90-9DEAD12B463E}"/>
              </c:ext>
            </c:extLst>
          </c:dPt>
          <c:dPt>
            <c:idx val="423"/>
            <c:invertIfNegative val="1"/>
            <c:bubble3D val="0"/>
            <c:spPr>
              <a:solidFill>
                <a:srgbClr val="AEABAB"/>
              </a:solidFill>
            </c:spPr>
            <c:extLst>
              <c:ext xmlns:c16="http://schemas.microsoft.com/office/drawing/2014/chart" uri="{C3380CC4-5D6E-409C-BE32-E72D297353CC}">
                <c16:uniqueId val="{00000351-D46E-4B35-AB90-9DEAD12B463E}"/>
              </c:ext>
            </c:extLst>
          </c:dPt>
          <c:dPt>
            <c:idx val="424"/>
            <c:invertIfNegative val="1"/>
            <c:bubble3D val="0"/>
            <c:spPr>
              <a:solidFill>
                <a:srgbClr val="AEABAB"/>
              </a:solidFill>
            </c:spPr>
            <c:extLst>
              <c:ext xmlns:c16="http://schemas.microsoft.com/office/drawing/2014/chart" uri="{C3380CC4-5D6E-409C-BE32-E72D297353CC}">
                <c16:uniqueId val="{00000353-D46E-4B35-AB90-9DEAD12B463E}"/>
              </c:ext>
            </c:extLst>
          </c:dPt>
          <c:dPt>
            <c:idx val="425"/>
            <c:invertIfNegative val="1"/>
            <c:bubble3D val="0"/>
            <c:spPr>
              <a:solidFill>
                <a:srgbClr val="AEABAB"/>
              </a:solidFill>
            </c:spPr>
            <c:extLst>
              <c:ext xmlns:c16="http://schemas.microsoft.com/office/drawing/2014/chart" uri="{C3380CC4-5D6E-409C-BE32-E72D297353CC}">
                <c16:uniqueId val="{00000355-D46E-4B35-AB90-9DEAD12B463E}"/>
              </c:ext>
            </c:extLst>
          </c:dPt>
          <c:dPt>
            <c:idx val="426"/>
            <c:invertIfNegative val="1"/>
            <c:bubble3D val="0"/>
            <c:spPr>
              <a:solidFill>
                <a:srgbClr val="AEABAB"/>
              </a:solidFill>
            </c:spPr>
            <c:extLst>
              <c:ext xmlns:c16="http://schemas.microsoft.com/office/drawing/2014/chart" uri="{C3380CC4-5D6E-409C-BE32-E72D297353CC}">
                <c16:uniqueId val="{00000357-D46E-4B35-AB90-9DEAD12B463E}"/>
              </c:ext>
            </c:extLst>
          </c:dPt>
          <c:dPt>
            <c:idx val="427"/>
            <c:invertIfNegative val="1"/>
            <c:bubble3D val="0"/>
            <c:spPr>
              <a:solidFill>
                <a:srgbClr val="AEABAB"/>
              </a:solidFill>
            </c:spPr>
            <c:extLst>
              <c:ext xmlns:c16="http://schemas.microsoft.com/office/drawing/2014/chart" uri="{C3380CC4-5D6E-409C-BE32-E72D297353CC}">
                <c16:uniqueId val="{00000359-D46E-4B35-AB90-9DEAD12B463E}"/>
              </c:ext>
            </c:extLst>
          </c:dPt>
          <c:dPt>
            <c:idx val="428"/>
            <c:invertIfNegative val="1"/>
            <c:bubble3D val="0"/>
            <c:spPr>
              <a:solidFill>
                <a:srgbClr val="AEABAB"/>
              </a:solidFill>
            </c:spPr>
            <c:extLst>
              <c:ext xmlns:c16="http://schemas.microsoft.com/office/drawing/2014/chart" uri="{C3380CC4-5D6E-409C-BE32-E72D297353CC}">
                <c16:uniqueId val="{0000035B-D46E-4B35-AB90-9DEAD12B463E}"/>
              </c:ext>
            </c:extLst>
          </c:dPt>
          <c:dPt>
            <c:idx val="429"/>
            <c:invertIfNegative val="1"/>
            <c:bubble3D val="0"/>
            <c:spPr>
              <a:solidFill>
                <a:srgbClr val="AEABAB"/>
              </a:solidFill>
            </c:spPr>
            <c:extLst>
              <c:ext xmlns:c16="http://schemas.microsoft.com/office/drawing/2014/chart" uri="{C3380CC4-5D6E-409C-BE32-E72D297353CC}">
                <c16:uniqueId val="{0000035D-D46E-4B35-AB90-9DEAD12B463E}"/>
              </c:ext>
            </c:extLst>
          </c:dPt>
          <c:dPt>
            <c:idx val="430"/>
            <c:invertIfNegative val="1"/>
            <c:bubble3D val="0"/>
            <c:spPr>
              <a:solidFill>
                <a:srgbClr val="AEABAB"/>
              </a:solidFill>
            </c:spPr>
            <c:extLst>
              <c:ext xmlns:c16="http://schemas.microsoft.com/office/drawing/2014/chart" uri="{C3380CC4-5D6E-409C-BE32-E72D297353CC}">
                <c16:uniqueId val="{0000035F-D46E-4B35-AB90-9DEAD12B463E}"/>
              </c:ext>
            </c:extLst>
          </c:dPt>
          <c:dPt>
            <c:idx val="431"/>
            <c:invertIfNegative val="1"/>
            <c:bubble3D val="0"/>
            <c:spPr>
              <a:solidFill>
                <a:srgbClr val="AEABAB"/>
              </a:solidFill>
            </c:spPr>
            <c:extLst>
              <c:ext xmlns:c16="http://schemas.microsoft.com/office/drawing/2014/chart" uri="{C3380CC4-5D6E-409C-BE32-E72D297353CC}">
                <c16:uniqueId val="{00000361-D46E-4B35-AB90-9DEAD12B463E}"/>
              </c:ext>
            </c:extLst>
          </c:dPt>
          <c:dPt>
            <c:idx val="432"/>
            <c:invertIfNegative val="1"/>
            <c:bubble3D val="0"/>
            <c:spPr>
              <a:solidFill>
                <a:srgbClr val="AEABAB"/>
              </a:solidFill>
            </c:spPr>
            <c:extLst>
              <c:ext xmlns:c16="http://schemas.microsoft.com/office/drawing/2014/chart" uri="{C3380CC4-5D6E-409C-BE32-E72D297353CC}">
                <c16:uniqueId val="{00000363-D46E-4B35-AB90-9DEAD12B463E}"/>
              </c:ext>
            </c:extLst>
          </c:dPt>
          <c:dPt>
            <c:idx val="433"/>
            <c:invertIfNegative val="1"/>
            <c:bubble3D val="0"/>
            <c:spPr>
              <a:solidFill>
                <a:srgbClr val="AEABAB"/>
              </a:solidFill>
            </c:spPr>
            <c:extLst>
              <c:ext xmlns:c16="http://schemas.microsoft.com/office/drawing/2014/chart" uri="{C3380CC4-5D6E-409C-BE32-E72D297353CC}">
                <c16:uniqueId val="{00000365-D46E-4B35-AB90-9DEAD12B463E}"/>
              </c:ext>
            </c:extLst>
          </c:dPt>
          <c:dPt>
            <c:idx val="434"/>
            <c:invertIfNegative val="1"/>
            <c:bubble3D val="0"/>
            <c:spPr>
              <a:solidFill>
                <a:srgbClr val="AEABAB"/>
              </a:solidFill>
            </c:spPr>
            <c:extLst>
              <c:ext xmlns:c16="http://schemas.microsoft.com/office/drawing/2014/chart" uri="{C3380CC4-5D6E-409C-BE32-E72D297353CC}">
                <c16:uniqueId val="{00000367-D46E-4B35-AB90-9DEAD12B463E}"/>
              </c:ext>
            </c:extLst>
          </c:dPt>
          <c:dPt>
            <c:idx val="435"/>
            <c:invertIfNegative val="1"/>
            <c:bubble3D val="0"/>
            <c:spPr>
              <a:solidFill>
                <a:srgbClr val="AEABAB"/>
              </a:solidFill>
            </c:spPr>
            <c:extLst>
              <c:ext xmlns:c16="http://schemas.microsoft.com/office/drawing/2014/chart" uri="{C3380CC4-5D6E-409C-BE32-E72D297353CC}">
                <c16:uniqueId val="{00000369-D46E-4B35-AB90-9DEAD12B463E}"/>
              </c:ext>
            </c:extLst>
          </c:dPt>
          <c:dPt>
            <c:idx val="436"/>
            <c:invertIfNegative val="1"/>
            <c:bubble3D val="0"/>
            <c:spPr>
              <a:solidFill>
                <a:srgbClr val="AEABAB"/>
              </a:solidFill>
            </c:spPr>
            <c:extLst>
              <c:ext xmlns:c16="http://schemas.microsoft.com/office/drawing/2014/chart" uri="{C3380CC4-5D6E-409C-BE32-E72D297353CC}">
                <c16:uniqueId val="{0000036B-D46E-4B35-AB90-9DEAD12B463E}"/>
              </c:ext>
            </c:extLst>
          </c:dPt>
          <c:dPt>
            <c:idx val="437"/>
            <c:invertIfNegative val="1"/>
            <c:bubble3D val="0"/>
            <c:spPr>
              <a:solidFill>
                <a:srgbClr val="AEABAB"/>
              </a:solidFill>
            </c:spPr>
            <c:extLst>
              <c:ext xmlns:c16="http://schemas.microsoft.com/office/drawing/2014/chart" uri="{C3380CC4-5D6E-409C-BE32-E72D297353CC}">
                <c16:uniqueId val="{0000036D-D46E-4B35-AB90-9DEAD12B463E}"/>
              </c:ext>
            </c:extLst>
          </c:dPt>
          <c:dPt>
            <c:idx val="438"/>
            <c:invertIfNegative val="1"/>
            <c:bubble3D val="0"/>
            <c:spPr>
              <a:solidFill>
                <a:srgbClr val="AEABAB"/>
              </a:solidFill>
            </c:spPr>
            <c:extLst>
              <c:ext xmlns:c16="http://schemas.microsoft.com/office/drawing/2014/chart" uri="{C3380CC4-5D6E-409C-BE32-E72D297353CC}">
                <c16:uniqueId val="{0000036F-D46E-4B35-AB90-9DEAD12B463E}"/>
              </c:ext>
            </c:extLst>
          </c:dPt>
          <c:dPt>
            <c:idx val="439"/>
            <c:invertIfNegative val="1"/>
            <c:bubble3D val="0"/>
            <c:spPr>
              <a:solidFill>
                <a:srgbClr val="AEABAB"/>
              </a:solidFill>
            </c:spPr>
            <c:extLst>
              <c:ext xmlns:c16="http://schemas.microsoft.com/office/drawing/2014/chart" uri="{C3380CC4-5D6E-409C-BE32-E72D297353CC}">
                <c16:uniqueId val="{00000371-D46E-4B35-AB90-9DEAD12B463E}"/>
              </c:ext>
            </c:extLst>
          </c:dPt>
          <c:dPt>
            <c:idx val="440"/>
            <c:invertIfNegative val="1"/>
            <c:bubble3D val="0"/>
            <c:spPr>
              <a:solidFill>
                <a:srgbClr val="AEABAB"/>
              </a:solidFill>
            </c:spPr>
            <c:extLst>
              <c:ext xmlns:c16="http://schemas.microsoft.com/office/drawing/2014/chart" uri="{C3380CC4-5D6E-409C-BE32-E72D297353CC}">
                <c16:uniqueId val="{00000373-D46E-4B35-AB90-9DEAD12B463E}"/>
              </c:ext>
            </c:extLst>
          </c:dPt>
          <c:dPt>
            <c:idx val="441"/>
            <c:invertIfNegative val="1"/>
            <c:bubble3D val="0"/>
            <c:spPr>
              <a:solidFill>
                <a:srgbClr val="AEABAB"/>
              </a:solidFill>
            </c:spPr>
            <c:extLst>
              <c:ext xmlns:c16="http://schemas.microsoft.com/office/drawing/2014/chart" uri="{C3380CC4-5D6E-409C-BE32-E72D297353CC}">
                <c16:uniqueId val="{00000375-D46E-4B35-AB90-9DEAD12B463E}"/>
              </c:ext>
            </c:extLst>
          </c:dPt>
          <c:dPt>
            <c:idx val="442"/>
            <c:invertIfNegative val="1"/>
            <c:bubble3D val="0"/>
            <c:spPr>
              <a:solidFill>
                <a:srgbClr val="AEABAB"/>
              </a:solidFill>
            </c:spPr>
            <c:extLst>
              <c:ext xmlns:c16="http://schemas.microsoft.com/office/drawing/2014/chart" uri="{C3380CC4-5D6E-409C-BE32-E72D297353CC}">
                <c16:uniqueId val="{00000377-D46E-4B35-AB90-9DEAD12B463E}"/>
              </c:ext>
            </c:extLst>
          </c:dPt>
          <c:dPt>
            <c:idx val="443"/>
            <c:invertIfNegative val="1"/>
            <c:bubble3D val="0"/>
            <c:spPr>
              <a:solidFill>
                <a:srgbClr val="AEABAB"/>
              </a:solidFill>
            </c:spPr>
            <c:extLst>
              <c:ext xmlns:c16="http://schemas.microsoft.com/office/drawing/2014/chart" uri="{C3380CC4-5D6E-409C-BE32-E72D297353CC}">
                <c16:uniqueId val="{00000379-D46E-4B35-AB90-9DEAD12B463E}"/>
              </c:ext>
            </c:extLst>
          </c:dPt>
          <c:dPt>
            <c:idx val="444"/>
            <c:invertIfNegative val="1"/>
            <c:bubble3D val="0"/>
            <c:spPr>
              <a:solidFill>
                <a:srgbClr val="AEABAB"/>
              </a:solidFill>
            </c:spPr>
            <c:extLst>
              <c:ext xmlns:c16="http://schemas.microsoft.com/office/drawing/2014/chart" uri="{C3380CC4-5D6E-409C-BE32-E72D297353CC}">
                <c16:uniqueId val="{0000037B-D46E-4B35-AB90-9DEAD12B463E}"/>
              </c:ext>
            </c:extLst>
          </c:dPt>
          <c:dPt>
            <c:idx val="445"/>
            <c:invertIfNegative val="1"/>
            <c:bubble3D val="0"/>
            <c:spPr>
              <a:solidFill>
                <a:srgbClr val="AEABAB"/>
              </a:solidFill>
            </c:spPr>
            <c:extLst>
              <c:ext xmlns:c16="http://schemas.microsoft.com/office/drawing/2014/chart" uri="{C3380CC4-5D6E-409C-BE32-E72D297353CC}">
                <c16:uniqueId val="{0000037D-D46E-4B35-AB90-9DEAD12B463E}"/>
              </c:ext>
            </c:extLst>
          </c:dPt>
          <c:dPt>
            <c:idx val="446"/>
            <c:invertIfNegative val="1"/>
            <c:bubble3D val="0"/>
            <c:spPr>
              <a:solidFill>
                <a:srgbClr val="AEABAB"/>
              </a:solidFill>
            </c:spPr>
            <c:extLst>
              <c:ext xmlns:c16="http://schemas.microsoft.com/office/drawing/2014/chart" uri="{C3380CC4-5D6E-409C-BE32-E72D297353CC}">
                <c16:uniqueId val="{0000037F-D46E-4B35-AB90-9DEAD12B463E}"/>
              </c:ext>
            </c:extLst>
          </c:dPt>
          <c:dPt>
            <c:idx val="447"/>
            <c:invertIfNegative val="1"/>
            <c:bubble3D val="0"/>
            <c:spPr>
              <a:solidFill>
                <a:srgbClr val="AEABAB"/>
              </a:solidFill>
            </c:spPr>
            <c:extLst>
              <c:ext xmlns:c16="http://schemas.microsoft.com/office/drawing/2014/chart" uri="{C3380CC4-5D6E-409C-BE32-E72D297353CC}">
                <c16:uniqueId val="{00000381-D46E-4B35-AB90-9DEAD12B463E}"/>
              </c:ext>
            </c:extLst>
          </c:dPt>
          <c:dPt>
            <c:idx val="448"/>
            <c:invertIfNegative val="1"/>
            <c:bubble3D val="0"/>
            <c:spPr>
              <a:solidFill>
                <a:srgbClr val="AEABAB"/>
              </a:solidFill>
            </c:spPr>
            <c:extLst>
              <c:ext xmlns:c16="http://schemas.microsoft.com/office/drawing/2014/chart" uri="{C3380CC4-5D6E-409C-BE32-E72D297353CC}">
                <c16:uniqueId val="{00000383-D46E-4B35-AB90-9DEAD12B463E}"/>
              </c:ext>
            </c:extLst>
          </c:dPt>
          <c:dPt>
            <c:idx val="449"/>
            <c:invertIfNegative val="1"/>
            <c:bubble3D val="0"/>
            <c:spPr>
              <a:solidFill>
                <a:srgbClr val="AEABAB"/>
              </a:solidFill>
            </c:spPr>
            <c:extLst>
              <c:ext xmlns:c16="http://schemas.microsoft.com/office/drawing/2014/chart" uri="{C3380CC4-5D6E-409C-BE32-E72D297353CC}">
                <c16:uniqueId val="{00000385-D46E-4B35-AB90-9DEAD12B463E}"/>
              </c:ext>
            </c:extLst>
          </c:dPt>
          <c:dPt>
            <c:idx val="450"/>
            <c:invertIfNegative val="1"/>
            <c:bubble3D val="0"/>
            <c:spPr>
              <a:solidFill>
                <a:srgbClr val="AEABAB"/>
              </a:solidFill>
            </c:spPr>
            <c:extLst>
              <c:ext xmlns:c16="http://schemas.microsoft.com/office/drawing/2014/chart" uri="{C3380CC4-5D6E-409C-BE32-E72D297353CC}">
                <c16:uniqueId val="{00000387-D46E-4B35-AB90-9DEAD12B463E}"/>
              </c:ext>
            </c:extLst>
          </c:dPt>
          <c:dPt>
            <c:idx val="451"/>
            <c:invertIfNegative val="1"/>
            <c:bubble3D val="0"/>
            <c:spPr>
              <a:solidFill>
                <a:srgbClr val="AEABAB"/>
              </a:solidFill>
            </c:spPr>
            <c:extLst>
              <c:ext xmlns:c16="http://schemas.microsoft.com/office/drawing/2014/chart" uri="{C3380CC4-5D6E-409C-BE32-E72D297353CC}">
                <c16:uniqueId val="{00000389-D46E-4B35-AB90-9DEAD12B463E}"/>
              </c:ext>
            </c:extLst>
          </c:dPt>
          <c:dPt>
            <c:idx val="452"/>
            <c:invertIfNegative val="1"/>
            <c:bubble3D val="0"/>
            <c:spPr>
              <a:solidFill>
                <a:srgbClr val="AEABAB"/>
              </a:solidFill>
            </c:spPr>
            <c:extLst>
              <c:ext xmlns:c16="http://schemas.microsoft.com/office/drawing/2014/chart" uri="{C3380CC4-5D6E-409C-BE32-E72D297353CC}">
                <c16:uniqueId val="{0000038B-D46E-4B35-AB90-9DEAD12B463E}"/>
              </c:ext>
            </c:extLst>
          </c:dPt>
          <c:dPt>
            <c:idx val="453"/>
            <c:invertIfNegative val="1"/>
            <c:bubble3D val="0"/>
            <c:spPr>
              <a:solidFill>
                <a:srgbClr val="AEABAB"/>
              </a:solidFill>
            </c:spPr>
            <c:extLst>
              <c:ext xmlns:c16="http://schemas.microsoft.com/office/drawing/2014/chart" uri="{C3380CC4-5D6E-409C-BE32-E72D297353CC}">
                <c16:uniqueId val="{0000038D-D46E-4B35-AB90-9DEAD12B463E}"/>
              </c:ext>
            </c:extLst>
          </c:dPt>
          <c:dPt>
            <c:idx val="454"/>
            <c:invertIfNegative val="1"/>
            <c:bubble3D val="0"/>
            <c:spPr>
              <a:solidFill>
                <a:srgbClr val="AEABAB"/>
              </a:solidFill>
            </c:spPr>
            <c:extLst>
              <c:ext xmlns:c16="http://schemas.microsoft.com/office/drawing/2014/chart" uri="{C3380CC4-5D6E-409C-BE32-E72D297353CC}">
                <c16:uniqueId val="{0000038F-D46E-4B35-AB90-9DEAD12B463E}"/>
              </c:ext>
            </c:extLst>
          </c:dPt>
          <c:dPt>
            <c:idx val="455"/>
            <c:invertIfNegative val="1"/>
            <c:bubble3D val="0"/>
            <c:spPr>
              <a:solidFill>
                <a:srgbClr val="AEABAB"/>
              </a:solidFill>
            </c:spPr>
            <c:extLst>
              <c:ext xmlns:c16="http://schemas.microsoft.com/office/drawing/2014/chart" uri="{C3380CC4-5D6E-409C-BE32-E72D297353CC}">
                <c16:uniqueId val="{00000391-D46E-4B35-AB90-9DEAD12B463E}"/>
              </c:ext>
            </c:extLst>
          </c:dPt>
          <c:dPt>
            <c:idx val="456"/>
            <c:invertIfNegative val="1"/>
            <c:bubble3D val="0"/>
            <c:spPr>
              <a:solidFill>
                <a:srgbClr val="AEABAB"/>
              </a:solidFill>
            </c:spPr>
            <c:extLst>
              <c:ext xmlns:c16="http://schemas.microsoft.com/office/drawing/2014/chart" uri="{C3380CC4-5D6E-409C-BE32-E72D297353CC}">
                <c16:uniqueId val="{00000393-D46E-4B35-AB90-9DEAD12B463E}"/>
              </c:ext>
            </c:extLst>
          </c:dPt>
          <c:dPt>
            <c:idx val="457"/>
            <c:invertIfNegative val="1"/>
            <c:bubble3D val="0"/>
            <c:spPr>
              <a:solidFill>
                <a:srgbClr val="AEABAB"/>
              </a:solidFill>
            </c:spPr>
            <c:extLst>
              <c:ext xmlns:c16="http://schemas.microsoft.com/office/drawing/2014/chart" uri="{C3380CC4-5D6E-409C-BE32-E72D297353CC}">
                <c16:uniqueId val="{00000395-D46E-4B35-AB90-9DEAD12B463E}"/>
              </c:ext>
            </c:extLst>
          </c:dPt>
          <c:dPt>
            <c:idx val="458"/>
            <c:invertIfNegative val="1"/>
            <c:bubble3D val="0"/>
            <c:spPr>
              <a:solidFill>
                <a:srgbClr val="AEABAB"/>
              </a:solidFill>
            </c:spPr>
            <c:extLst>
              <c:ext xmlns:c16="http://schemas.microsoft.com/office/drawing/2014/chart" uri="{C3380CC4-5D6E-409C-BE32-E72D297353CC}">
                <c16:uniqueId val="{00000397-D46E-4B35-AB90-9DEAD12B463E}"/>
              </c:ext>
            </c:extLst>
          </c:dPt>
          <c:dPt>
            <c:idx val="459"/>
            <c:invertIfNegative val="1"/>
            <c:bubble3D val="0"/>
            <c:spPr>
              <a:solidFill>
                <a:srgbClr val="AEABAB"/>
              </a:solidFill>
            </c:spPr>
            <c:extLst>
              <c:ext xmlns:c16="http://schemas.microsoft.com/office/drawing/2014/chart" uri="{C3380CC4-5D6E-409C-BE32-E72D297353CC}">
                <c16:uniqueId val="{00000399-D46E-4B35-AB90-9DEAD12B463E}"/>
              </c:ext>
            </c:extLst>
          </c:dPt>
          <c:dPt>
            <c:idx val="460"/>
            <c:invertIfNegative val="1"/>
            <c:bubble3D val="0"/>
            <c:spPr>
              <a:solidFill>
                <a:srgbClr val="AEABAB"/>
              </a:solidFill>
            </c:spPr>
            <c:extLst>
              <c:ext xmlns:c16="http://schemas.microsoft.com/office/drawing/2014/chart" uri="{C3380CC4-5D6E-409C-BE32-E72D297353CC}">
                <c16:uniqueId val="{0000039B-D46E-4B35-AB90-9DEAD12B463E}"/>
              </c:ext>
            </c:extLst>
          </c:dPt>
          <c:dPt>
            <c:idx val="461"/>
            <c:invertIfNegative val="1"/>
            <c:bubble3D val="0"/>
            <c:spPr>
              <a:solidFill>
                <a:srgbClr val="AEABAB"/>
              </a:solidFill>
            </c:spPr>
            <c:extLst>
              <c:ext xmlns:c16="http://schemas.microsoft.com/office/drawing/2014/chart" uri="{C3380CC4-5D6E-409C-BE32-E72D297353CC}">
                <c16:uniqueId val="{0000039D-D46E-4B35-AB90-9DEAD12B463E}"/>
              </c:ext>
            </c:extLst>
          </c:dPt>
          <c:dPt>
            <c:idx val="462"/>
            <c:invertIfNegative val="1"/>
            <c:bubble3D val="0"/>
            <c:spPr>
              <a:solidFill>
                <a:srgbClr val="AEABAB"/>
              </a:solidFill>
            </c:spPr>
            <c:extLst>
              <c:ext xmlns:c16="http://schemas.microsoft.com/office/drawing/2014/chart" uri="{C3380CC4-5D6E-409C-BE32-E72D297353CC}">
                <c16:uniqueId val="{0000039F-D46E-4B35-AB90-9DEAD12B463E}"/>
              </c:ext>
            </c:extLst>
          </c:dPt>
          <c:dPt>
            <c:idx val="463"/>
            <c:invertIfNegative val="1"/>
            <c:bubble3D val="0"/>
            <c:spPr>
              <a:solidFill>
                <a:srgbClr val="AEABAB"/>
              </a:solidFill>
            </c:spPr>
            <c:extLst>
              <c:ext xmlns:c16="http://schemas.microsoft.com/office/drawing/2014/chart" uri="{C3380CC4-5D6E-409C-BE32-E72D297353CC}">
                <c16:uniqueId val="{000003A1-D46E-4B35-AB90-9DEAD12B463E}"/>
              </c:ext>
            </c:extLst>
          </c:dPt>
          <c:dPt>
            <c:idx val="464"/>
            <c:invertIfNegative val="1"/>
            <c:bubble3D val="0"/>
            <c:spPr>
              <a:solidFill>
                <a:srgbClr val="AEABAB"/>
              </a:solidFill>
            </c:spPr>
            <c:extLst>
              <c:ext xmlns:c16="http://schemas.microsoft.com/office/drawing/2014/chart" uri="{C3380CC4-5D6E-409C-BE32-E72D297353CC}">
                <c16:uniqueId val="{000003A3-D46E-4B35-AB90-9DEAD12B463E}"/>
              </c:ext>
            </c:extLst>
          </c:dPt>
          <c:dPt>
            <c:idx val="465"/>
            <c:invertIfNegative val="1"/>
            <c:bubble3D val="0"/>
            <c:spPr>
              <a:solidFill>
                <a:srgbClr val="AEABAB"/>
              </a:solidFill>
            </c:spPr>
            <c:extLst>
              <c:ext xmlns:c16="http://schemas.microsoft.com/office/drawing/2014/chart" uri="{C3380CC4-5D6E-409C-BE32-E72D297353CC}">
                <c16:uniqueId val="{000003A5-D46E-4B35-AB90-9DEAD12B463E}"/>
              </c:ext>
            </c:extLst>
          </c:dPt>
          <c:dPt>
            <c:idx val="466"/>
            <c:invertIfNegative val="1"/>
            <c:bubble3D val="0"/>
            <c:spPr>
              <a:solidFill>
                <a:srgbClr val="AEABAB"/>
              </a:solidFill>
            </c:spPr>
            <c:extLst>
              <c:ext xmlns:c16="http://schemas.microsoft.com/office/drawing/2014/chart" uri="{C3380CC4-5D6E-409C-BE32-E72D297353CC}">
                <c16:uniqueId val="{000003A7-D46E-4B35-AB90-9DEAD12B463E}"/>
              </c:ext>
            </c:extLst>
          </c:dPt>
          <c:dPt>
            <c:idx val="467"/>
            <c:invertIfNegative val="1"/>
            <c:bubble3D val="0"/>
            <c:spPr>
              <a:solidFill>
                <a:srgbClr val="AEABAB"/>
              </a:solidFill>
            </c:spPr>
            <c:extLst>
              <c:ext xmlns:c16="http://schemas.microsoft.com/office/drawing/2014/chart" uri="{C3380CC4-5D6E-409C-BE32-E72D297353CC}">
                <c16:uniqueId val="{000003A9-D46E-4B35-AB90-9DEAD12B463E}"/>
              </c:ext>
            </c:extLst>
          </c:dPt>
          <c:dPt>
            <c:idx val="468"/>
            <c:invertIfNegative val="1"/>
            <c:bubble3D val="0"/>
            <c:spPr>
              <a:solidFill>
                <a:srgbClr val="AEABAB"/>
              </a:solidFill>
            </c:spPr>
            <c:extLst>
              <c:ext xmlns:c16="http://schemas.microsoft.com/office/drawing/2014/chart" uri="{C3380CC4-5D6E-409C-BE32-E72D297353CC}">
                <c16:uniqueId val="{000003AB-D46E-4B35-AB90-9DEAD12B463E}"/>
              </c:ext>
            </c:extLst>
          </c:dPt>
          <c:dPt>
            <c:idx val="469"/>
            <c:invertIfNegative val="1"/>
            <c:bubble3D val="0"/>
            <c:spPr>
              <a:solidFill>
                <a:srgbClr val="AEABAB"/>
              </a:solidFill>
            </c:spPr>
            <c:extLst>
              <c:ext xmlns:c16="http://schemas.microsoft.com/office/drawing/2014/chart" uri="{C3380CC4-5D6E-409C-BE32-E72D297353CC}">
                <c16:uniqueId val="{000003AD-D46E-4B35-AB90-9DEAD12B463E}"/>
              </c:ext>
            </c:extLst>
          </c:dPt>
          <c:dPt>
            <c:idx val="470"/>
            <c:invertIfNegative val="1"/>
            <c:bubble3D val="0"/>
            <c:spPr>
              <a:solidFill>
                <a:srgbClr val="AEABAB"/>
              </a:solidFill>
            </c:spPr>
            <c:extLst>
              <c:ext xmlns:c16="http://schemas.microsoft.com/office/drawing/2014/chart" uri="{C3380CC4-5D6E-409C-BE32-E72D297353CC}">
                <c16:uniqueId val="{000003AF-D46E-4B35-AB90-9DEAD12B463E}"/>
              </c:ext>
            </c:extLst>
          </c:dPt>
          <c:dPt>
            <c:idx val="471"/>
            <c:invertIfNegative val="1"/>
            <c:bubble3D val="0"/>
            <c:spPr>
              <a:solidFill>
                <a:srgbClr val="AEABAB"/>
              </a:solidFill>
            </c:spPr>
            <c:extLst>
              <c:ext xmlns:c16="http://schemas.microsoft.com/office/drawing/2014/chart" uri="{C3380CC4-5D6E-409C-BE32-E72D297353CC}">
                <c16:uniqueId val="{000003B1-D46E-4B35-AB90-9DEAD12B463E}"/>
              </c:ext>
            </c:extLst>
          </c:dPt>
          <c:dPt>
            <c:idx val="472"/>
            <c:invertIfNegative val="1"/>
            <c:bubble3D val="0"/>
            <c:spPr>
              <a:solidFill>
                <a:srgbClr val="AEABAB"/>
              </a:solidFill>
            </c:spPr>
            <c:extLst>
              <c:ext xmlns:c16="http://schemas.microsoft.com/office/drawing/2014/chart" uri="{C3380CC4-5D6E-409C-BE32-E72D297353CC}">
                <c16:uniqueId val="{000003B3-D46E-4B35-AB90-9DEAD12B463E}"/>
              </c:ext>
            </c:extLst>
          </c:dPt>
          <c:dPt>
            <c:idx val="473"/>
            <c:invertIfNegative val="1"/>
            <c:bubble3D val="0"/>
            <c:spPr>
              <a:solidFill>
                <a:srgbClr val="AEABAB"/>
              </a:solidFill>
            </c:spPr>
            <c:extLst>
              <c:ext xmlns:c16="http://schemas.microsoft.com/office/drawing/2014/chart" uri="{C3380CC4-5D6E-409C-BE32-E72D297353CC}">
                <c16:uniqueId val="{000003B5-D46E-4B35-AB90-9DEAD12B463E}"/>
              </c:ext>
            </c:extLst>
          </c:dPt>
          <c:dPt>
            <c:idx val="474"/>
            <c:invertIfNegative val="1"/>
            <c:bubble3D val="0"/>
            <c:spPr>
              <a:solidFill>
                <a:srgbClr val="AEABAB"/>
              </a:solidFill>
            </c:spPr>
            <c:extLst>
              <c:ext xmlns:c16="http://schemas.microsoft.com/office/drawing/2014/chart" uri="{C3380CC4-5D6E-409C-BE32-E72D297353CC}">
                <c16:uniqueId val="{000003B7-D46E-4B35-AB90-9DEAD12B463E}"/>
              </c:ext>
            </c:extLst>
          </c:dPt>
          <c:dPt>
            <c:idx val="475"/>
            <c:invertIfNegative val="1"/>
            <c:bubble3D val="0"/>
            <c:spPr>
              <a:solidFill>
                <a:srgbClr val="AEABAB"/>
              </a:solidFill>
            </c:spPr>
            <c:extLst>
              <c:ext xmlns:c16="http://schemas.microsoft.com/office/drawing/2014/chart" uri="{C3380CC4-5D6E-409C-BE32-E72D297353CC}">
                <c16:uniqueId val="{000003B9-D46E-4B35-AB90-9DEAD12B463E}"/>
              </c:ext>
            </c:extLst>
          </c:dPt>
          <c:dPt>
            <c:idx val="476"/>
            <c:invertIfNegative val="1"/>
            <c:bubble3D val="0"/>
            <c:spPr>
              <a:solidFill>
                <a:srgbClr val="AEABAB"/>
              </a:solidFill>
            </c:spPr>
            <c:extLst>
              <c:ext xmlns:c16="http://schemas.microsoft.com/office/drawing/2014/chart" uri="{C3380CC4-5D6E-409C-BE32-E72D297353CC}">
                <c16:uniqueId val="{000003BB-D46E-4B35-AB90-9DEAD12B463E}"/>
              </c:ext>
            </c:extLst>
          </c:dPt>
          <c:dPt>
            <c:idx val="477"/>
            <c:invertIfNegative val="1"/>
            <c:bubble3D val="0"/>
            <c:spPr>
              <a:solidFill>
                <a:srgbClr val="AEABAB"/>
              </a:solidFill>
            </c:spPr>
            <c:extLst>
              <c:ext xmlns:c16="http://schemas.microsoft.com/office/drawing/2014/chart" uri="{C3380CC4-5D6E-409C-BE32-E72D297353CC}">
                <c16:uniqueId val="{000003BD-D46E-4B35-AB90-9DEAD12B463E}"/>
              </c:ext>
            </c:extLst>
          </c:dPt>
          <c:dPt>
            <c:idx val="478"/>
            <c:invertIfNegative val="1"/>
            <c:bubble3D val="0"/>
            <c:spPr>
              <a:solidFill>
                <a:srgbClr val="AEABAB"/>
              </a:solidFill>
            </c:spPr>
            <c:extLst>
              <c:ext xmlns:c16="http://schemas.microsoft.com/office/drawing/2014/chart" uri="{C3380CC4-5D6E-409C-BE32-E72D297353CC}">
                <c16:uniqueId val="{000003BF-D46E-4B35-AB90-9DEAD12B463E}"/>
              </c:ext>
            </c:extLst>
          </c:dPt>
          <c:dPt>
            <c:idx val="479"/>
            <c:invertIfNegative val="1"/>
            <c:bubble3D val="0"/>
            <c:spPr>
              <a:solidFill>
                <a:srgbClr val="AEABAB"/>
              </a:solidFill>
            </c:spPr>
            <c:extLst>
              <c:ext xmlns:c16="http://schemas.microsoft.com/office/drawing/2014/chart" uri="{C3380CC4-5D6E-409C-BE32-E72D297353CC}">
                <c16:uniqueId val="{000003C1-D46E-4B35-AB90-9DEAD12B463E}"/>
              </c:ext>
            </c:extLst>
          </c:dPt>
          <c:dPt>
            <c:idx val="480"/>
            <c:invertIfNegative val="1"/>
            <c:bubble3D val="0"/>
            <c:spPr>
              <a:solidFill>
                <a:srgbClr val="AEABAB"/>
              </a:solidFill>
            </c:spPr>
            <c:extLst>
              <c:ext xmlns:c16="http://schemas.microsoft.com/office/drawing/2014/chart" uri="{C3380CC4-5D6E-409C-BE32-E72D297353CC}">
                <c16:uniqueId val="{000003C3-D46E-4B35-AB90-9DEAD12B463E}"/>
              </c:ext>
            </c:extLst>
          </c:dPt>
          <c:dPt>
            <c:idx val="481"/>
            <c:invertIfNegative val="1"/>
            <c:bubble3D val="0"/>
            <c:spPr>
              <a:solidFill>
                <a:srgbClr val="AEABAB"/>
              </a:solidFill>
            </c:spPr>
            <c:extLst>
              <c:ext xmlns:c16="http://schemas.microsoft.com/office/drawing/2014/chart" uri="{C3380CC4-5D6E-409C-BE32-E72D297353CC}">
                <c16:uniqueId val="{000003C5-D46E-4B35-AB90-9DEAD12B463E}"/>
              </c:ext>
            </c:extLst>
          </c:dPt>
          <c:dPt>
            <c:idx val="482"/>
            <c:invertIfNegative val="1"/>
            <c:bubble3D val="0"/>
            <c:spPr>
              <a:solidFill>
                <a:srgbClr val="AEABAB"/>
              </a:solidFill>
            </c:spPr>
            <c:extLst>
              <c:ext xmlns:c16="http://schemas.microsoft.com/office/drawing/2014/chart" uri="{C3380CC4-5D6E-409C-BE32-E72D297353CC}">
                <c16:uniqueId val="{000003C7-D46E-4B35-AB90-9DEAD12B463E}"/>
              </c:ext>
            </c:extLst>
          </c:dPt>
          <c:dPt>
            <c:idx val="483"/>
            <c:invertIfNegative val="1"/>
            <c:bubble3D val="0"/>
            <c:spPr>
              <a:solidFill>
                <a:srgbClr val="AEABAB"/>
              </a:solidFill>
            </c:spPr>
            <c:extLst>
              <c:ext xmlns:c16="http://schemas.microsoft.com/office/drawing/2014/chart" uri="{C3380CC4-5D6E-409C-BE32-E72D297353CC}">
                <c16:uniqueId val="{000003C9-D46E-4B35-AB90-9DEAD12B463E}"/>
              </c:ext>
            </c:extLst>
          </c:dPt>
          <c:dPt>
            <c:idx val="484"/>
            <c:invertIfNegative val="1"/>
            <c:bubble3D val="0"/>
            <c:spPr>
              <a:solidFill>
                <a:srgbClr val="AEABAB"/>
              </a:solidFill>
            </c:spPr>
            <c:extLst>
              <c:ext xmlns:c16="http://schemas.microsoft.com/office/drawing/2014/chart" uri="{C3380CC4-5D6E-409C-BE32-E72D297353CC}">
                <c16:uniqueId val="{000003CB-D46E-4B35-AB90-9DEAD12B463E}"/>
              </c:ext>
            </c:extLst>
          </c:dPt>
          <c:dPt>
            <c:idx val="485"/>
            <c:invertIfNegative val="1"/>
            <c:bubble3D val="0"/>
            <c:spPr>
              <a:solidFill>
                <a:srgbClr val="AEABAB"/>
              </a:solidFill>
            </c:spPr>
            <c:extLst>
              <c:ext xmlns:c16="http://schemas.microsoft.com/office/drawing/2014/chart" uri="{C3380CC4-5D6E-409C-BE32-E72D297353CC}">
                <c16:uniqueId val="{000003CD-D46E-4B35-AB90-9DEAD12B463E}"/>
              </c:ext>
            </c:extLst>
          </c:dPt>
          <c:dPt>
            <c:idx val="486"/>
            <c:invertIfNegative val="1"/>
            <c:bubble3D val="0"/>
            <c:spPr>
              <a:solidFill>
                <a:srgbClr val="AEABAB"/>
              </a:solidFill>
            </c:spPr>
            <c:extLst>
              <c:ext xmlns:c16="http://schemas.microsoft.com/office/drawing/2014/chart" uri="{C3380CC4-5D6E-409C-BE32-E72D297353CC}">
                <c16:uniqueId val="{000003CF-D46E-4B35-AB90-9DEAD12B463E}"/>
              </c:ext>
            </c:extLst>
          </c:dPt>
          <c:dPt>
            <c:idx val="487"/>
            <c:invertIfNegative val="1"/>
            <c:bubble3D val="0"/>
            <c:spPr>
              <a:solidFill>
                <a:srgbClr val="AEABAB"/>
              </a:solidFill>
            </c:spPr>
            <c:extLst>
              <c:ext xmlns:c16="http://schemas.microsoft.com/office/drawing/2014/chart" uri="{C3380CC4-5D6E-409C-BE32-E72D297353CC}">
                <c16:uniqueId val="{000003D1-D46E-4B35-AB90-9DEAD12B463E}"/>
              </c:ext>
            </c:extLst>
          </c:dPt>
          <c:dPt>
            <c:idx val="488"/>
            <c:invertIfNegative val="1"/>
            <c:bubble3D val="0"/>
            <c:spPr>
              <a:solidFill>
                <a:srgbClr val="AEABAB"/>
              </a:solidFill>
            </c:spPr>
            <c:extLst>
              <c:ext xmlns:c16="http://schemas.microsoft.com/office/drawing/2014/chart" uri="{C3380CC4-5D6E-409C-BE32-E72D297353CC}">
                <c16:uniqueId val="{000003D3-D46E-4B35-AB90-9DEAD12B463E}"/>
              </c:ext>
            </c:extLst>
          </c:dPt>
          <c:dPt>
            <c:idx val="489"/>
            <c:invertIfNegative val="1"/>
            <c:bubble3D val="0"/>
            <c:spPr>
              <a:solidFill>
                <a:srgbClr val="AEABAB"/>
              </a:solidFill>
            </c:spPr>
            <c:extLst>
              <c:ext xmlns:c16="http://schemas.microsoft.com/office/drawing/2014/chart" uri="{C3380CC4-5D6E-409C-BE32-E72D297353CC}">
                <c16:uniqueId val="{000003D5-D46E-4B35-AB90-9DEAD12B463E}"/>
              </c:ext>
            </c:extLst>
          </c:dPt>
          <c:dPt>
            <c:idx val="490"/>
            <c:invertIfNegative val="1"/>
            <c:bubble3D val="0"/>
            <c:spPr>
              <a:solidFill>
                <a:srgbClr val="AEABAB"/>
              </a:solidFill>
            </c:spPr>
            <c:extLst>
              <c:ext xmlns:c16="http://schemas.microsoft.com/office/drawing/2014/chart" uri="{C3380CC4-5D6E-409C-BE32-E72D297353CC}">
                <c16:uniqueId val="{000003D7-D46E-4B35-AB90-9DEAD12B463E}"/>
              </c:ext>
            </c:extLst>
          </c:dPt>
          <c:dPt>
            <c:idx val="491"/>
            <c:invertIfNegative val="1"/>
            <c:bubble3D val="0"/>
            <c:spPr>
              <a:solidFill>
                <a:srgbClr val="AEABAB"/>
              </a:solidFill>
            </c:spPr>
            <c:extLst>
              <c:ext xmlns:c16="http://schemas.microsoft.com/office/drawing/2014/chart" uri="{C3380CC4-5D6E-409C-BE32-E72D297353CC}">
                <c16:uniqueId val="{000003D9-D46E-4B35-AB90-9DEAD12B463E}"/>
              </c:ext>
            </c:extLst>
          </c:dPt>
          <c:dPt>
            <c:idx val="492"/>
            <c:invertIfNegative val="1"/>
            <c:bubble3D val="0"/>
            <c:spPr>
              <a:solidFill>
                <a:srgbClr val="AEABAB"/>
              </a:solidFill>
            </c:spPr>
            <c:extLst>
              <c:ext xmlns:c16="http://schemas.microsoft.com/office/drawing/2014/chart" uri="{C3380CC4-5D6E-409C-BE32-E72D297353CC}">
                <c16:uniqueId val="{000003DB-D46E-4B35-AB90-9DEAD12B463E}"/>
              </c:ext>
            </c:extLst>
          </c:dPt>
          <c:dPt>
            <c:idx val="493"/>
            <c:invertIfNegative val="1"/>
            <c:bubble3D val="0"/>
            <c:spPr>
              <a:solidFill>
                <a:srgbClr val="AEABAB"/>
              </a:solidFill>
            </c:spPr>
            <c:extLst>
              <c:ext xmlns:c16="http://schemas.microsoft.com/office/drawing/2014/chart" uri="{C3380CC4-5D6E-409C-BE32-E72D297353CC}">
                <c16:uniqueId val="{000003DD-D46E-4B35-AB90-9DEAD12B463E}"/>
              </c:ext>
            </c:extLst>
          </c:dPt>
          <c:dPt>
            <c:idx val="494"/>
            <c:invertIfNegative val="1"/>
            <c:bubble3D val="0"/>
            <c:spPr>
              <a:solidFill>
                <a:srgbClr val="AEABAB"/>
              </a:solidFill>
            </c:spPr>
            <c:extLst>
              <c:ext xmlns:c16="http://schemas.microsoft.com/office/drawing/2014/chart" uri="{C3380CC4-5D6E-409C-BE32-E72D297353CC}">
                <c16:uniqueId val="{000003DF-D46E-4B35-AB90-9DEAD12B463E}"/>
              </c:ext>
            </c:extLst>
          </c:dPt>
          <c:dPt>
            <c:idx val="495"/>
            <c:invertIfNegative val="1"/>
            <c:bubble3D val="0"/>
            <c:spPr>
              <a:solidFill>
                <a:srgbClr val="AEABAB"/>
              </a:solidFill>
            </c:spPr>
            <c:extLst>
              <c:ext xmlns:c16="http://schemas.microsoft.com/office/drawing/2014/chart" uri="{C3380CC4-5D6E-409C-BE32-E72D297353CC}">
                <c16:uniqueId val="{000003E1-D46E-4B35-AB90-9DEAD12B463E}"/>
              </c:ext>
            </c:extLst>
          </c:dPt>
          <c:dPt>
            <c:idx val="496"/>
            <c:invertIfNegative val="1"/>
            <c:bubble3D val="0"/>
            <c:spPr>
              <a:solidFill>
                <a:srgbClr val="AEABAB"/>
              </a:solidFill>
            </c:spPr>
            <c:extLst>
              <c:ext xmlns:c16="http://schemas.microsoft.com/office/drawing/2014/chart" uri="{C3380CC4-5D6E-409C-BE32-E72D297353CC}">
                <c16:uniqueId val="{000003E3-D46E-4B35-AB90-9DEAD12B463E}"/>
              </c:ext>
            </c:extLst>
          </c:dPt>
          <c:dPt>
            <c:idx val="497"/>
            <c:invertIfNegative val="1"/>
            <c:bubble3D val="0"/>
            <c:spPr>
              <a:solidFill>
                <a:srgbClr val="AEABAB"/>
              </a:solidFill>
            </c:spPr>
            <c:extLst>
              <c:ext xmlns:c16="http://schemas.microsoft.com/office/drawing/2014/chart" uri="{C3380CC4-5D6E-409C-BE32-E72D297353CC}">
                <c16:uniqueId val="{000003E5-D46E-4B35-AB90-9DEAD12B463E}"/>
              </c:ext>
            </c:extLst>
          </c:dPt>
          <c:dPt>
            <c:idx val="498"/>
            <c:invertIfNegative val="1"/>
            <c:bubble3D val="0"/>
            <c:spPr>
              <a:solidFill>
                <a:srgbClr val="AEABAB"/>
              </a:solidFill>
            </c:spPr>
            <c:extLst>
              <c:ext xmlns:c16="http://schemas.microsoft.com/office/drawing/2014/chart" uri="{C3380CC4-5D6E-409C-BE32-E72D297353CC}">
                <c16:uniqueId val="{000003E7-D46E-4B35-AB90-9DEAD12B463E}"/>
              </c:ext>
            </c:extLst>
          </c:dPt>
          <c:dPt>
            <c:idx val="499"/>
            <c:invertIfNegative val="1"/>
            <c:bubble3D val="0"/>
            <c:spPr>
              <a:solidFill>
                <a:srgbClr val="AEABAB"/>
              </a:solidFill>
            </c:spPr>
            <c:extLst>
              <c:ext xmlns:c16="http://schemas.microsoft.com/office/drawing/2014/chart" uri="{C3380CC4-5D6E-409C-BE32-E72D297353CC}">
                <c16:uniqueId val="{000003E9-D46E-4B35-AB90-9DEAD12B463E}"/>
              </c:ext>
            </c:extLst>
          </c:dPt>
          <c:dPt>
            <c:idx val="500"/>
            <c:invertIfNegative val="1"/>
            <c:bubble3D val="0"/>
            <c:spPr>
              <a:solidFill>
                <a:srgbClr val="AEABAB"/>
              </a:solidFill>
            </c:spPr>
            <c:extLst>
              <c:ext xmlns:c16="http://schemas.microsoft.com/office/drawing/2014/chart" uri="{C3380CC4-5D6E-409C-BE32-E72D297353CC}">
                <c16:uniqueId val="{000003EB-D46E-4B35-AB90-9DEAD12B463E}"/>
              </c:ext>
            </c:extLst>
          </c:dPt>
          <c:dPt>
            <c:idx val="501"/>
            <c:invertIfNegative val="1"/>
            <c:bubble3D val="0"/>
            <c:spPr>
              <a:solidFill>
                <a:srgbClr val="AEABAB"/>
              </a:solidFill>
            </c:spPr>
            <c:extLst>
              <c:ext xmlns:c16="http://schemas.microsoft.com/office/drawing/2014/chart" uri="{C3380CC4-5D6E-409C-BE32-E72D297353CC}">
                <c16:uniqueId val="{000003ED-D46E-4B35-AB90-9DEAD12B463E}"/>
              </c:ext>
            </c:extLst>
          </c:dPt>
          <c:dPt>
            <c:idx val="502"/>
            <c:invertIfNegative val="1"/>
            <c:bubble3D val="0"/>
            <c:spPr>
              <a:solidFill>
                <a:srgbClr val="AEABAB"/>
              </a:solidFill>
            </c:spPr>
            <c:extLst>
              <c:ext xmlns:c16="http://schemas.microsoft.com/office/drawing/2014/chart" uri="{C3380CC4-5D6E-409C-BE32-E72D297353CC}">
                <c16:uniqueId val="{000003EF-D46E-4B35-AB90-9DEAD12B463E}"/>
              </c:ext>
            </c:extLst>
          </c:dPt>
          <c:dPt>
            <c:idx val="503"/>
            <c:invertIfNegative val="1"/>
            <c:bubble3D val="0"/>
            <c:spPr>
              <a:solidFill>
                <a:srgbClr val="AEABAB"/>
              </a:solidFill>
            </c:spPr>
            <c:extLst>
              <c:ext xmlns:c16="http://schemas.microsoft.com/office/drawing/2014/chart" uri="{C3380CC4-5D6E-409C-BE32-E72D297353CC}">
                <c16:uniqueId val="{000003F1-D46E-4B35-AB90-9DEAD12B463E}"/>
              </c:ext>
            </c:extLst>
          </c:dPt>
          <c:dPt>
            <c:idx val="504"/>
            <c:invertIfNegative val="1"/>
            <c:bubble3D val="0"/>
            <c:spPr>
              <a:solidFill>
                <a:srgbClr val="AEABAB"/>
              </a:solidFill>
            </c:spPr>
            <c:extLst>
              <c:ext xmlns:c16="http://schemas.microsoft.com/office/drawing/2014/chart" uri="{C3380CC4-5D6E-409C-BE32-E72D297353CC}">
                <c16:uniqueId val="{000003F3-D46E-4B35-AB90-9DEAD12B463E}"/>
              </c:ext>
            </c:extLst>
          </c:dPt>
          <c:dPt>
            <c:idx val="505"/>
            <c:invertIfNegative val="1"/>
            <c:bubble3D val="0"/>
            <c:spPr>
              <a:solidFill>
                <a:srgbClr val="AEABAB"/>
              </a:solidFill>
            </c:spPr>
            <c:extLst>
              <c:ext xmlns:c16="http://schemas.microsoft.com/office/drawing/2014/chart" uri="{C3380CC4-5D6E-409C-BE32-E72D297353CC}">
                <c16:uniqueId val="{000003F5-D46E-4B35-AB90-9DEAD12B463E}"/>
              </c:ext>
            </c:extLst>
          </c:dPt>
          <c:dPt>
            <c:idx val="506"/>
            <c:invertIfNegative val="1"/>
            <c:bubble3D val="0"/>
            <c:spPr>
              <a:solidFill>
                <a:srgbClr val="AEABAB"/>
              </a:solidFill>
            </c:spPr>
            <c:extLst>
              <c:ext xmlns:c16="http://schemas.microsoft.com/office/drawing/2014/chart" uri="{C3380CC4-5D6E-409C-BE32-E72D297353CC}">
                <c16:uniqueId val="{000003F7-D46E-4B35-AB90-9DEAD12B463E}"/>
              </c:ext>
            </c:extLst>
          </c:dPt>
          <c:dPt>
            <c:idx val="507"/>
            <c:invertIfNegative val="1"/>
            <c:bubble3D val="0"/>
            <c:spPr>
              <a:solidFill>
                <a:srgbClr val="AEABAB"/>
              </a:solidFill>
            </c:spPr>
            <c:extLst>
              <c:ext xmlns:c16="http://schemas.microsoft.com/office/drawing/2014/chart" uri="{C3380CC4-5D6E-409C-BE32-E72D297353CC}">
                <c16:uniqueId val="{000003F9-D46E-4B35-AB90-9DEAD12B463E}"/>
              </c:ext>
            </c:extLst>
          </c:dPt>
          <c:dPt>
            <c:idx val="508"/>
            <c:invertIfNegative val="1"/>
            <c:bubble3D val="0"/>
            <c:spPr>
              <a:solidFill>
                <a:srgbClr val="AEABAB"/>
              </a:solidFill>
            </c:spPr>
            <c:extLst>
              <c:ext xmlns:c16="http://schemas.microsoft.com/office/drawing/2014/chart" uri="{C3380CC4-5D6E-409C-BE32-E72D297353CC}">
                <c16:uniqueId val="{000003FB-D46E-4B35-AB90-9DEAD12B463E}"/>
              </c:ext>
            </c:extLst>
          </c:dPt>
          <c:dPt>
            <c:idx val="509"/>
            <c:invertIfNegative val="1"/>
            <c:bubble3D val="0"/>
            <c:spPr>
              <a:solidFill>
                <a:srgbClr val="AEABAB"/>
              </a:solidFill>
            </c:spPr>
            <c:extLst>
              <c:ext xmlns:c16="http://schemas.microsoft.com/office/drawing/2014/chart" uri="{C3380CC4-5D6E-409C-BE32-E72D297353CC}">
                <c16:uniqueId val="{000003FD-D46E-4B35-AB90-9DEAD12B463E}"/>
              </c:ext>
            </c:extLst>
          </c:dPt>
          <c:dPt>
            <c:idx val="510"/>
            <c:invertIfNegative val="1"/>
            <c:bubble3D val="0"/>
            <c:spPr>
              <a:solidFill>
                <a:srgbClr val="AEABAB"/>
              </a:solidFill>
            </c:spPr>
            <c:extLst>
              <c:ext xmlns:c16="http://schemas.microsoft.com/office/drawing/2014/chart" uri="{C3380CC4-5D6E-409C-BE32-E72D297353CC}">
                <c16:uniqueId val="{000003FF-D46E-4B35-AB90-9DEAD12B463E}"/>
              </c:ext>
            </c:extLst>
          </c:dPt>
          <c:dPt>
            <c:idx val="511"/>
            <c:invertIfNegative val="1"/>
            <c:bubble3D val="0"/>
            <c:spPr>
              <a:solidFill>
                <a:srgbClr val="AEABAB"/>
              </a:solidFill>
            </c:spPr>
            <c:extLst>
              <c:ext xmlns:c16="http://schemas.microsoft.com/office/drawing/2014/chart" uri="{C3380CC4-5D6E-409C-BE32-E72D297353CC}">
                <c16:uniqueId val="{00000401-D46E-4B35-AB90-9DEAD12B463E}"/>
              </c:ext>
            </c:extLst>
          </c:dPt>
          <c:dPt>
            <c:idx val="512"/>
            <c:invertIfNegative val="1"/>
            <c:bubble3D val="0"/>
            <c:spPr>
              <a:solidFill>
                <a:srgbClr val="AEABAB"/>
              </a:solidFill>
            </c:spPr>
            <c:extLst>
              <c:ext xmlns:c16="http://schemas.microsoft.com/office/drawing/2014/chart" uri="{C3380CC4-5D6E-409C-BE32-E72D297353CC}">
                <c16:uniqueId val="{00000403-D46E-4B35-AB90-9DEAD12B463E}"/>
              </c:ext>
            </c:extLst>
          </c:dPt>
          <c:dPt>
            <c:idx val="513"/>
            <c:invertIfNegative val="1"/>
            <c:bubble3D val="0"/>
            <c:spPr>
              <a:solidFill>
                <a:srgbClr val="AEABAB"/>
              </a:solidFill>
            </c:spPr>
            <c:extLst>
              <c:ext xmlns:c16="http://schemas.microsoft.com/office/drawing/2014/chart" uri="{C3380CC4-5D6E-409C-BE32-E72D297353CC}">
                <c16:uniqueId val="{00000405-D46E-4B35-AB90-9DEAD12B463E}"/>
              </c:ext>
            </c:extLst>
          </c:dPt>
          <c:dPt>
            <c:idx val="514"/>
            <c:invertIfNegative val="1"/>
            <c:bubble3D val="0"/>
            <c:spPr>
              <a:solidFill>
                <a:srgbClr val="AEABAB"/>
              </a:solidFill>
            </c:spPr>
            <c:extLst>
              <c:ext xmlns:c16="http://schemas.microsoft.com/office/drawing/2014/chart" uri="{C3380CC4-5D6E-409C-BE32-E72D297353CC}">
                <c16:uniqueId val="{00000407-D46E-4B35-AB90-9DEAD12B463E}"/>
              </c:ext>
            </c:extLst>
          </c:dPt>
          <c:dPt>
            <c:idx val="515"/>
            <c:invertIfNegative val="1"/>
            <c:bubble3D val="0"/>
            <c:spPr>
              <a:solidFill>
                <a:srgbClr val="AEABAB"/>
              </a:solidFill>
            </c:spPr>
            <c:extLst>
              <c:ext xmlns:c16="http://schemas.microsoft.com/office/drawing/2014/chart" uri="{C3380CC4-5D6E-409C-BE32-E72D297353CC}">
                <c16:uniqueId val="{00000409-D46E-4B35-AB90-9DEAD12B463E}"/>
              </c:ext>
            </c:extLst>
          </c:dPt>
          <c:dPt>
            <c:idx val="516"/>
            <c:invertIfNegative val="1"/>
            <c:bubble3D val="0"/>
            <c:spPr>
              <a:solidFill>
                <a:srgbClr val="AEABAB"/>
              </a:solidFill>
            </c:spPr>
            <c:extLst>
              <c:ext xmlns:c16="http://schemas.microsoft.com/office/drawing/2014/chart" uri="{C3380CC4-5D6E-409C-BE32-E72D297353CC}">
                <c16:uniqueId val="{0000040B-D46E-4B35-AB90-9DEAD12B463E}"/>
              </c:ext>
            </c:extLst>
          </c:dPt>
          <c:dPt>
            <c:idx val="517"/>
            <c:invertIfNegative val="1"/>
            <c:bubble3D val="0"/>
            <c:spPr>
              <a:solidFill>
                <a:srgbClr val="AEABAB"/>
              </a:solidFill>
            </c:spPr>
            <c:extLst>
              <c:ext xmlns:c16="http://schemas.microsoft.com/office/drawing/2014/chart" uri="{C3380CC4-5D6E-409C-BE32-E72D297353CC}">
                <c16:uniqueId val="{0000040D-D46E-4B35-AB90-9DEAD12B463E}"/>
              </c:ext>
            </c:extLst>
          </c:dPt>
          <c:dPt>
            <c:idx val="518"/>
            <c:invertIfNegative val="1"/>
            <c:bubble3D val="0"/>
            <c:spPr>
              <a:solidFill>
                <a:srgbClr val="AEABAB"/>
              </a:solidFill>
            </c:spPr>
            <c:extLst>
              <c:ext xmlns:c16="http://schemas.microsoft.com/office/drawing/2014/chart" uri="{C3380CC4-5D6E-409C-BE32-E72D297353CC}">
                <c16:uniqueId val="{0000040F-D46E-4B35-AB90-9DEAD12B463E}"/>
              </c:ext>
            </c:extLst>
          </c:dPt>
          <c:dPt>
            <c:idx val="519"/>
            <c:invertIfNegative val="1"/>
            <c:bubble3D val="0"/>
            <c:spPr>
              <a:solidFill>
                <a:srgbClr val="AEABAB"/>
              </a:solidFill>
            </c:spPr>
            <c:extLst>
              <c:ext xmlns:c16="http://schemas.microsoft.com/office/drawing/2014/chart" uri="{C3380CC4-5D6E-409C-BE32-E72D297353CC}">
                <c16:uniqueId val="{00000411-D46E-4B35-AB90-9DEAD12B463E}"/>
              </c:ext>
            </c:extLst>
          </c:dPt>
          <c:dPt>
            <c:idx val="520"/>
            <c:invertIfNegative val="1"/>
            <c:bubble3D val="0"/>
            <c:spPr>
              <a:solidFill>
                <a:srgbClr val="AEABAB"/>
              </a:solidFill>
            </c:spPr>
            <c:extLst>
              <c:ext xmlns:c16="http://schemas.microsoft.com/office/drawing/2014/chart" uri="{C3380CC4-5D6E-409C-BE32-E72D297353CC}">
                <c16:uniqueId val="{00000413-D46E-4B35-AB90-9DEAD12B463E}"/>
              </c:ext>
            </c:extLst>
          </c:dPt>
          <c:dPt>
            <c:idx val="521"/>
            <c:invertIfNegative val="1"/>
            <c:bubble3D val="0"/>
            <c:spPr>
              <a:solidFill>
                <a:srgbClr val="AEABAB"/>
              </a:solidFill>
            </c:spPr>
            <c:extLst>
              <c:ext xmlns:c16="http://schemas.microsoft.com/office/drawing/2014/chart" uri="{C3380CC4-5D6E-409C-BE32-E72D297353CC}">
                <c16:uniqueId val="{00000415-D46E-4B35-AB90-9DEAD12B463E}"/>
              </c:ext>
            </c:extLst>
          </c:dPt>
          <c:dPt>
            <c:idx val="522"/>
            <c:invertIfNegative val="1"/>
            <c:bubble3D val="0"/>
            <c:spPr>
              <a:solidFill>
                <a:srgbClr val="AEABAB"/>
              </a:solidFill>
            </c:spPr>
            <c:extLst>
              <c:ext xmlns:c16="http://schemas.microsoft.com/office/drawing/2014/chart" uri="{C3380CC4-5D6E-409C-BE32-E72D297353CC}">
                <c16:uniqueId val="{00000417-D46E-4B35-AB90-9DEAD12B463E}"/>
              </c:ext>
            </c:extLst>
          </c:dPt>
          <c:dPt>
            <c:idx val="523"/>
            <c:invertIfNegative val="1"/>
            <c:bubble3D val="0"/>
            <c:spPr>
              <a:solidFill>
                <a:srgbClr val="AEABAB"/>
              </a:solidFill>
            </c:spPr>
            <c:extLst>
              <c:ext xmlns:c16="http://schemas.microsoft.com/office/drawing/2014/chart" uri="{C3380CC4-5D6E-409C-BE32-E72D297353CC}">
                <c16:uniqueId val="{00000419-D46E-4B35-AB90-9DEAD12B463E}"/>
              </c:ext>
            </c:extLst>
          </c:dPt>
          <c:dPt>
            <c:idx val="524"/>
            <c:invertIfNegative val="1"/>
            <c:bubble3D val="0"/>
            <c:spPr>
              <a:solidFill>
                <a:srgbClr val="AEABAB"/>
              </a:solidFill>
            </c:spPr>
            <c:extLst>
              <c:ext xmlns:c16="http://schemas.microsoft.com/office/drawing/2014/chart" uri="{C3380CC4-5D6E-409C-BE32-E72D297353CC}">
                <c16:uniqueId val="{0000041B-D46E-4B35-AB90-9DEAD12B463E}"/>
              </c:ext>
            </c:extLst>
          </c:dPt>
          <c:dPt>
            <c:idx val="525"/>
            <c:invertIfNegative val="1"/>
            <c:bubble3D val="0"/>
            <c:spPr>
              <a:solidFill>
                <a:srgbClr val="AEABAB"/>
              </a:solidFill>
            </c:spPr>
            <c:extLst>
              <c:ext xmlns:c16="http://schemas.microsoft.com/office/drawing/2014/chart" uri="{C3380CC4-5D6E-409C-BE32-E72D297353CC}">
                <c16:uniqueId val="{0000041D-D46E-4B35-AB90-9DEAD12B463E}"/>
              </c:ext>
            </c:extLst>
          </c:dPt>
          <c:dPt>
            <c:idx val="526"/>
            <c:invertIfNegative val="1"/>
            <c:bubble3D val="0"/>
            <c:spPr>
              <a:solidFill>
                <a:srgbClr val="AEABAB"/>
              </a:solidFill>
            </c:spPr>
            <c:extLst>
              <c:ext xmlns:c16="http://schemas.microsoft.com/office/drawing/2014/chart" uri="{C3380CC4-5D6E-409C-BE32-E72D297353CC}">
                <c16:uniqueId val="{0000041F-D46E-4B35-AB90-9DEAD12B463E}"/>
              </c:ext>
            </c:extLst>
          </c:dPt>
          <c:dPt>
            <c:idx val="527"/>
            <c:invertIfNegative val="1"/>
            <c:bubble3D val="0"/>
            <c:spPr>
              <a:solidFill>
                <a:srgbClr val="AEABAB"/>
              </a:solidFill>
            </c:spPr>
            <c:extLst>
              <c:ext xmlns:c16="http://schemas.microsoft.com/office/drawing/2014/chart" uri="{C3380CC4-5D6E-409C-BE32-E72D297353CC}">
                <c16:uniqueId val="{00000421-D46E-4B35-AB90-9DEAD12B463E}"/>
              </c:ext>
            </c:extLst>
          </c:dPt>
          <c:dPt>
            <c:idx val="528"/>
            <c:invertIfNegative val="1"/>
            <c:bubble3D val="0"/>
            <c:spPr>
              <a:solidFill>
                <a:srgbClr val="AEABAB"/>
              </a:solidFill>
            </c:spPr>
            <c:extLst>
              <c:ext xmlns:c16="http://schemas.microsoft.com/office/drawing/2014/chart" uri="{C3380CC4-5D6E-409C-BE32-E72D297353CC}">
                <c16:uniqueId val="{00000423-D46E-4B35-AB90-9DEAD12B463E}"/>
              </c:ext>
            </c:extLst>
          </c:dPt>
          <c:dPt>
            <c:idx val="529"/>
            <c:invertIfNegative val="1"/>
            <c:bubble3D val="0"/>
            <c:spPr>
              <a:solidFill>
                <a:srgbClr val="AEABAB"/>
              </a:solidFill>
            </c:spPr>
            <c:extLst>
              <c:ext xmlns:c16="http://schemas.microsoft.com/office/drawing/2014/chart" uri="{C3380CC4-5D6E-409C-BE32-E72D297353CC}">
                <c16:uniqueId val="{00000425-D46E-4B35-AB90-9DEAD12B463E}"/>
              </c:ext>
            </c:extLst>
          </c:dPt>
          <c:dPt>
            <c:idx val="530"/>
            <c:invertIfNegative val="1"/>
            <c:bubble3D val="0"/>
            <c:spPr>
              <a:solidFill>
                <a:srgbClr val="AEABAB"/>
              </a:solidFill>
            </c:spPr>
            <c:extLst>
              <c:ext xmlns:c16="http://schemas.microsoft.com/office/drawing/2014/chart" uri="{C3380CC4-5D6E-409C-BE32-E72D297353CC}">
                <c16:uniqueId val="{00000427-D46E-4B35-AB90-9DEAD12B463E}"/>
              </c:ext>
            </c:extLst>
          </c:dPt>
          <c:dPt>
            <c:idx val="531"/>
            <c:invertIfNegative val="1"/>
            <c:bubble3D val="0"/>
            <c:spPr>
              <a:solidFill>
                <a:srgbClr val="AEABAB"/>
              </a:solidFill>
            </c:spPr>
            <c:extLst>
              <c:ext xmlns:c16="http://schemas.microsoft.com/office/drawing/2014/chart" uri="{C3380CC4-5D6E-409C-BE32-E72D297353CC}">
                <c16:uniqueId val="{00000429-D46E-4B35-AB90-9DEAD12B463E}"/>
              </c:ext>
            </c:extLst>
          </c:dPt>
          <c:dPt>
            <c:idx val="532"/>
            <c:invertIfNegative val="1"/>
            <c:bubble3D val="0"/>
            <c:spPr>
              <a:solidFill>
                <a:srgbClr val="AEABAB"/>
              </a:solidFill>
            </c:spPr>
            <c:extLst>
              <c:ext xmlns:c16="http://schemas.microsoft.com/office/drawing/2014/chart" uri="{C3380CC4-5D6E-409C-BE32-E72D297353CC}">
                <c16:uniqueId val="{0000042B-D46E-4B35-AB90-9DEAD12B463E}"/>
              </c:ext>
            </c:extLst>
          </c:dPt>
          <c:dPt>
            <c:idx val="533"/>
            <c:invertIfNegative val="1"/>
            <c:bubble3D val="0"/>
            <c:spPr>
              <a:solidFill>
                <a:srgbClr val="AEABAB"/>
              </a:solidFill>
            </c:spPr>
            <c:extLst>
              <c:ext xmlns:c16="http://schemas.microsoft.com/office/drawing/2014/chart" uri="{C3380CC4-5D6E-409C-BE32-E72D297353CC}">
                <c16:uniqueId val="{0000042D-D46E-4B35-AB90-9DEAD12B463E}"/>
              </c:ext>
            </c:extLst>
          </c:dPt>
          <c:dPt>
            <c:idx val="534"/>
            <c:invertIfNegative val="1"/>
            <c:bubble3D val="0"/>
            <c:spPr>
              <a:solidFill>
                <a:srgbClr val="AEABAB"/>
              </a:solidFill>
            </c:spPr>
            <c:extLst>
              <c:ext xmlns:c16="http://schemas.microsoft.com/office/drawing/2014/chart" uri="{C3380CC4-5D6E-409C-BE32-E72D297353CC}">
                <c16:uniqueId val="{0000042F-D46E-4B35-AB90-9DEAD12B463E}"/>
              </c:ext>
            </c:extLst>
          </c:dPt>
          <c:dPt>
            <c:idx val="535"/>
            <c:invertIfNegative val="1"/>
            <c:bubble3D val="0"/>
            <c:spPr>
              <a:solidFill>
                <a:srgbClr val="AEABAB"/>
              </a:solidFill>
            </c:spPr>
            <c:extLst>
              <c:ext xmlns:c16="http://schemas.microsoft.com/office/drawing/2014/chart" uri="{C3380CC4-5D6E-409C-BE32-E72D297353CC}">
                <c16:uniqueId val="{00000431-D46E-4B35-AB90-9DEAD12B463E}"/>
              </c:ext>
            </c:extLst>
          </c:dPt>
          <c:dPt>
            <c:idx val="536"/>
            <c:invertIfNegative val="1"/>
            <c:bubble3D val="0"/>
            <c:spPr>
              <a:solidFill>
                <a:srgbClr val="AEABAB"/>
              </a:solidFill>
            </c:spPr>
            <c:extLst>
              <c:ext xmlns:c16="http://schemas.microsoft.com/office/drawing/2014/chart" uri="{C3380CC4-5D6E-409C-BE32-E72D297353CC}">
                <c16:uniqueId val="{00000433-D46E-4B35-AB90-9DEAD12B463E}"/>
              </c:ext>
            </c:extLst>
          </c:dPt>
          <c:dPt>
            <c:idx val="537"/>
            <c:invertIfNegative val="1"/>
            <c:bubble3D val="0"/>
            <c:spPr>
              <a:solidFill>
                <a:srgbClr val="AEABAB"/>
              </a:solidFill>
            </c:spPr>
            <c:extLst>
              <c:ext xmlns:c16="http://schemas.microsoft.com/office/drawing/2014/chart" uri="{C3380CC4-5D6E-409C-BE32-E72D297353CC}">
                <c16:uniqueId val="{00000435-D46E-4B35-AB90-9DEAD12B463E}"/>
              </c:ext>
            </c:extLst>
          </c:dPt>
          <c:dPt>
            <c:idx val="538"/>
            <c:invertIfNegative val="1"/>
            <c:bubble3D val="0"/>
            <c:spPr>
              <a:solidFill>
                <a:srgbClr val="AEABAB"/>
              </a:solidFill>
            </c:spPr>
            <c:extLst>
              <c:ext xmlns:c16="http://schemas.microsoft.com/office/drawing/2014/chart" uri="{C3380CC4-5D6E-409C-BE32-E72D297353CC}">
                <c16:uniqueId val="{00000437-D46E-4B35-AB90-9DEAD12B463E}"/>
              </c:ext>
            </c:extLst>
          </c:dPt>
          <c:dPt>
            <c:idx val="539"/>
            <c:invertIfNegative val="1"/>
            <c:bubble3D val="0"/>
            <c:spPr>
              <a:solidFill>
                <a:srgbClr val="AEABAB"/>
              </a:solidFill>
            </c:spPr>
            <c:extLst>
              <c:ext xmlns:c16="http://schemas.microsoft.com/office/drawing/2014/chart" uri="{C3380CC4-5D6E-409C-BE32-E72D297353CC}">
                <c16:uniqueId val="{00000439-D46E-4B35-AB90-9DEAD12B463E}"/>
              </c:ext>
            </c:extLst>
          </c:dPt>
          <c:dPt>
            <c:idx val="540"/>
            <c:invertIfNegative val="1"/>
            <c:bubble3D val="0"/>
            <c:spPr>
              <a:solidFill>
                <a:srgbClr val="AEABAB"/>
              </a:solidFill>
            </c:spPr>
            <c:extLst>
              <c:ext xmlns:c16="http://schemas.microsoft.com/office/drawing/2014/chart" uri="{C3380CC4-5D6E-409C-BE32-E72D297353CC}">
                <c16:uniqueId val="{0000043B-D46E-4B35-AB90-9DEAD12B463E}"/>
              </c:ext>
            </c:extLst>
          </c:dPt>
          <c:dPt>
            <c:idx val="541"/>
            <c:invertIfNegative val="1"/>
            <c:bubble3D val="0"/>
            <c:spPr>
              <a:solidFill>
                <a:srgbClr val="AEABAB"/>
              </a:solidFill>
            </c:spPr>
            <c:extLst>
              <c:ext xmlns:c16="http://schemas.microsoft.com/office/drawing/2014/chart" uri="{C3380CC4-5D6E-409C-BE32-E72D297353CC}">
                <c16:uniqueId val="{0000043D-D46E-4B35-AB90-9DEAD12B463E}"/>
              </c:ext>
            </c:extLst>
          </c:dPt>
          <c:dPt>
            <c:idx val="542"/>
            <c:invertIfNegative val="1"/>
            <c:bubble3D val="0"/>
            <c:spPr>
              <a:solidFill>
                <a:srgbClr val="AEABAB"/>
              </a:solidFill>
            </c:spPr>
            <c:extLst>
              <c:ext xmlns:c16="http://schemas.microsoft.com/office/drawing/2014/chart" uri="{C3380CC4-5D6E-409C-BE32-E72D297353CC}">
                <c16:uniqueId val="{0000043F-D46E-4B35-AB90-9DEAD12B463E}"/>
              </c:ext>
            </c:extLst>
          </c:dPt>
          <c:dPt>
            <c:idx val="543"/>
            <c:invertIfNegative val="1"/>
            <c:bubble3D val="0"/>
            <c:spPr>
              <a:solidFill>
                <a:srgbClr val="AEABAB"/>
              </a:solidFill>
            </c:spPr>
            <c:extLst>
              <c:ext xmlns:c16="http://schemas.microsoft.com/office/drawing/2014/chart" uri="{C3380CC4-5D6E-409C-BE32-E72D297353CC}">
                <c16:uniqueId val="{00000441-D46E-4B35-AB90-9DEAD12B463E}"/>
              </c:ext>
            </c:extLst>
          </c:dPt>
          <c:dPt>
            <c:idx val="544"/>
            <c:invertIfNegative val="1"/>
            <c:bubble3D val="0"/>
            <c:spPr>
              <a:solidFill>
                <a:srgbClr val="AEABAB"/>
              </a:solidFill>
            </c:spPr>
            <c:extLst>
              <c:ext xmlns:c16="http://schemas.microsoft.com/office/drawing/2014/chart" uri="{C3380CC4-5D6E-409C-BE32-E72D297353CC}">
                <c16:uniqueId val="{00000443-D46E-4B35-AB90-9DEAD12B463E}"/>
              </c:ext>
            </c:extLst>
          </c:dPt>
          <c:dPt>
            <c:idx val="545"/>
            <c:invertIfNegative val="1"/>
            <c:bubble3D val="0"/>
            <c:spPr>
              <a:solidFill>
                <a:srgbClr val="AEABAB"/>
              </a:solidFill>
            </c:spPr>
            <c:extLst>
              <c:ext xmlns:c16="http://schemas.microsoft.com/office/drawing/2014/chart" uri="{C3380CC4-5D6E-409C-BE32-E72D297353CC}">
                <c16:uniqueId val="{00000445-D46E-4B35-AB90-9DEAD12B463E}"/>
              </c:ext>
            </c:extLst>
          </c:dPt>
          <c:dPt>
            <c:idx val="546"/>
            <c:invertIfNegative val="1"/>
            <c:bubble3D val="0"/>
            <c:spPr>
              <a:solidFill>
                <a:srgbClr val="AEABAB"/>
              </a:solidFill>
            </c:spPr>
            <c:extLst>
              <c:ext xmlns:c16="http://schemas.microsoft.com/office/drawing/2014/chart" uri="{C3380CC4-5D6E-409C-BE32-E72D297353CC}">
                <c16:uniqueId val="{00000447-D46E-4B35-AB90-9DEAD12B463E}"/>
              </c:ext>
            </c:extLst>
          </c:dPt>
          <c:dPt>
            <c:idx val="547"/>
            <c:invertIfNegative val="1"/>
            <c:bubble3D val="0"/>
            <c:spPr>
              <a:solidFill>
                <a:srgbClr val="AEABAB"/>
              </a:solidFill>
            </c:spPr>
            <c:extLst>
              <c:ext xmlns:c16="http://schemas.microsoft.com/office/drawing/2014/chart" uri="{C3380CC4-5D6E-409C-BE32-E72D297353CC}">
                <c16:uniqueId val="{00000449-D46E-4B35-AB90-9DEAD12B463E}"/>
              </c:ext>
            </c:extLst>
          </c:dPt>
          <c:dPt>
            <c:idx val="548"/>
            <c:invertIfNegative val="1"/>
            <c:bubble3D val="0"/>
            <c:spPr>
              <a:solidFill>
                <a:srgbClr val="AEABAB"/>
              </a:solidFill>
            </c:spPr>
            <c:extLst>
              <c:ext xmlns:c16="http://schemas.microsoft.com/office/drawing/2014/chart" uri="{C3380CC4-5D6E-409C-BE32-E72D297353CC}">
                <c16:uniqueId val="{0000044B-D46E-4B35-AB90-9DEAD12B463E}"/>
              </c:ext>
            </c:extLst>
          </c:dPt>
          <c:dPt>
            <c:idx val="549"/>
            <c:invertIfNegative val="1"/>
            <c:bubble3D val="0"/>
            <c:spPr>
              <a:solidFill>
                <a:srgbClr val="AEABAB"/>
              </a:solidFill>
            </c:spPr>
            <c:extLst>
              <c:ext xmlns:c16="http://schemas.microsoft.com/office/drawing/2014/chart" uri="{C3380CC4-5D6E-409C-BE32-E72D297353CC}">
                <c16:uniqueId val="{0000044D-D46E-4B35-AB90-9DEAD12B463E}"/>
              </c:ext>
            </c:extLst>
          </c:dPt>
          <c:dPt>
            <c:idx val="550"/>
            <c:invertIfNegative val="1"/>
            <c:bubble3D val="0"/>
            <c:spPr>
              <a:solidFill>
                <a:srgbClr val="AEABAB"/>
              </a:solidFill>
            </c:spPr>
            <c:extLst>
              <c:ext xmlns:c16="http://schemas.microsoft.com/office/drawing/2014/chart" uri="{C3380CC4-5D6E-409C-BE32-E72D297353CC}">
                <c16:uniqueId val="{0000044F-D46E-4B35-AB90-9DEAD12B463E}"/>
              </c:ext>
            </c:extLst>
          </c:dPt>
          <c:dPt>
            <c:idx val="551"/>
            <c:invertIfNegative val="1"/>
            <c:bubble3D val="0"/>
            <c:spPr>
              <a:solidFill>
                <a:srgbClr val="AEABAB"/>
              </a:solidFill>
            </c:spPr>
            <c:extLst>
              <c:ext xmlns:c16="http://schemas.microsoft.com/office/drawing/2014/chart" uri="{C3380CC4-5D6E-409C-BE32-E72D297353CC}">
                <c16:uniqueId val="{00000451-D46E-4B35-AB90-9DEAD12B463E}"/>
              </c:ext>
            </c:extLst>
          </c:dPt>
          <c:dPt>
            <c:idx val="552"/>
            <c:invertIfNegative val="1"/>
            <c:bubble3D val="0"/>
            <c:spPr>
              <a:solidFill>
                <a:srgbClr val="AEABAB"/>
              </a:solidFill>
            </c:spPr>
            <c:extLst>
              <c:ext xmlns:c16="http://schemas.microsoft.com/office/drawing/2014/chart" uri="{C3380CC4-5D6E-409C-BE32-E72D297353CC}">
                <c16:uniqueId val="{00000453-D46E-4B35-AB90-9DEAD12B463E}"/>
              </c:ext>
            </c:extLst>
          </c:dPt>
          <c:dPt>
            <c:idx val="553"/>
            <c:invertIfNegative val="1"/>
            <c:bubble3D val="0"/>
            <c:spPr>
              <a:solidFill>
                <a:srgbClr val="AEABAB"/>
              </a:solidFill>
            </c:spPr>
            <c:extLst>
              <c:ext xmlns:c16="http://schemas.microsoft.com/office/drawing/2014/chart" uri="{C3380CC4-5D6E-409C-BE32-E72D297353CC}">
                <c16:uniqueId val="{00000455-D46E-4B35-AB90-9DEAD12B463E}"/>
              </c:ext>
            </c:extLst>
          </c:dPt>
          <c:dPt>
            <c:idx val="554"/>
            <c:invertIfNegative val="1"/>
            <c:bubble3D val="0"/>
            <c:spPr>
              <a:solidFill>
                <a:srgbClr val="AEABAB"/>
              </a:solidFill>
            </c:spPr>
            <c:extLst>
              <c:ext xmlns:c16="http://schemas.microsoft.com/office/drawing/2014/chart" uri="{C3380CC4-5D6E-409C-BE32-E72D297353CC}">
                <c16:uniqueId val="{00000457-D46E-4B35-AB90-9DEAD12B463E}"/>
              </c:ext>
            </c:extLst>
          </c:dPt>
          <c:dPt>
            <c:idx val="555"/>
            <c:invertIfNegative val="1"/>
            <c:bubble3D val="0"/>
            <c:spPr>
              <a:solidFill>
                <a:srgbClr val="AEABAB"/>
              </a:solidFill>
            </c:spPr>
            <c:extLst>
              <c:ext xmlns:c16="http://schemas.microsoft.com/office/drawing/2014/chart" uri="{C3380CC4-5D6E-409C-BE32-E72D297353CC}">
                <c16:uniqueId val="{00000459-D46E-4B35-AB90-9DEAD12B463E}"/>
              </c:ext>
            </c:extLst>
          </c:dPt>
          <c:dPt>
            <c:idx val="556"/>
            <c:invertIfNegative val="1"/>
            <c:bubble3D val="0"/>
            <c:spPr>
              <a:solidFill>
                <a:srgbClr val="AEABAB"/>
              </a:solidFill>
            </c:spPr>
            <c:extLst>
              <c:ext xmlns:c16="http://schemas.microsoft.com/office/drawing/2014/chart" uri="{C3380CC4-5D6E-409C-BE32-E72D297353CC}">
                <c16:uniqueId val="{0000045B-D46E-4B35-AB90-9DEAD12B463E}"/>
              </c:ext>
            </c:extLst>
          </c:dPt>
          <c:dPt>
            <c:idx val="557"/>
            <c:invertIfNegative val="1"/>
            <c:bubble3D val="0"/>
            <c:spPr>
              <a:solidFill>
                <a:srgbClr val="AEABAB"/>
              </a:solidFill>
            </c:spPr>
            <c:extLst>
              <c:ext xmlns:c16="http://schemas.microsoft.com/office/drawing/2014/chart" uri="{C3380CC4-5D6E-409C-BE32-E72D297353CC}">
                <c16:uniqueId val="{0000045D-D46E-4B35-AB90-9DEAD12B463E}"/>
              </c:ext>
            </c:extLst>
          </c:dPt>
          <c:dPt>
            <c:idx val="558"/>
            <c:invertIfNegative val="1"/>
            <c:bubble3D val="0"/>
            <c:spPr>
              <a:solidFill>
                <a:srgbClr val="AEABAB"/>
              </a:solidFill>
            </c:spPr>
            <c:extLst>
              <c:ext xmlns:c16="http://schemas.microsoft.com/office/drawing/2014/chart" uri="{C3380CC4-5D6E-409C-BE32-E72D297353CC}">
                <c16:uniqueId val="{0000045F-D46E-4B35-AB90-9DEAD12B463E}"/>
              </c:ext>
            </c:extLst>
          </c:dPt>
          <c:dPt>
            <c:idx val="559"/>
            <c:invertIfNegative val="1"/>
            <c:bubble3D val="0"/>
            <c:spPr>
              <a:solidFill>
                <a:srgbClr val="AEABAB"/>
              </a:solidFill>
            </c:spPr>
            <c:extLst>
              <c:ext xmlns:c16="http://schemas.microsoft.com/office/drawing/2014/chart" uri="{C3380CC4-5D6E-409C-BE32-E72D297353CC}">
                <c16:uniqueId val="{00000461-D46E-4B35-AB90-9DEAD12B463E}"/>
              </c:ext>
            </c:extLst>
          </c:dPt>
          <c:dPt>
            <c:idx val="560"/>
            <c:invertIfNegative val="1"/>
            <c:bubble3D val="0"/>
            <c:spPr>
              <a:solidFill>
                <a:srgbClr val="AEABAB"/>
              </a:solidFill>
            </c:spPr>
            <c:extLst>
              <c:ext xmlns:c16="http://schemas.microsoft.com/office/drawing/2014/chart" uri="{C3380CC4-5D6E-409C-BE32-E72D297353CC}">
                <c16:uniqueId val="{00000463-D46E-4B35-AB90-9DEAD12B463E}"/>
              </c:ext>
            </c:extLst>
          </c:dPt>
          <c:dPt>
            <c:idx val="561"/>
            <c:invertIfNegative val="1"/>
            <c:bubble3D val="0"/>
            <c:spPr>
              <a:solidFill>
                <a:srgbClr val="AEABAB"/>
              </a:solidFill>
            </c:spPr>
            <c:extLst>
              <c:ext xmlns:c16="http://schemas.microsoft.com/office/drawing/2014/chart" uri="{C3380CC4-5D6E-409C-BE32-E72D297353CC}">
                <c16:uniqueId val="{00000465-D46E-4B35-AB90-9DEAD12B463E}"/>
              </c:ext>
            </c:extLst>
          </c:dPt>
          <c:dPt>
            <c:idx val="562"/>
            <c:invertIfNegative val="1"/>
            <c:bubble3D val="0"/>
            <c:spPr>
              <a:solidFill>
                <a:srgbClr val="AEABAB"/>
              </a:solidFill>
            </c:spPr>
            <c:extLst>
              <c:ext xmlns:c16="http://schemas.microsoft.com/office/drawing/2014/chart" uri="{C3380CC4-5D6E-409C-BE32-E72D297353CC}">
                <c16:uniqueId val="{00000467-D46E-4B35-AB90-9DEAD12B463E}"/>
              </c:ext>
            </c:extLst>
          </c:dPt>
          <c:dPt>
            <c:idx val="563"/>
            <c:invertIfNegative val="1"/>
            <c:bubble3D val="0"/>
            <c:spPr>
              <a:solidFill>
                <a:srgbClr val="AEABAB"/>
              </a:solidFill>
            </c:spPr>
            <c:extLst>
              <c:ext xmlns:c16="http://schemas.microsoft.com/office/drawing/2014/chart" uri="{C3380CC4-5D6E-409C-BE32-E72D297353CC}">
                <c16:uniqueId val="{00000469-D46E-4B35-AB90-9DEAD12B463E}"/>
              </c:ext>
            </c:extLst>
          </c:dPt>
          <c:dPt>
            <c:idx val="564"/>
            <c:invertIfNegative val="1"/>
            <c:bubble3D val="0"/>
            <c:spPr>
              <a:solidFill>
                <a:srgbClr val="AEABAB"/>
              </a:solidFill>
            </c:spPr>
            <c:extLst>
              <c:ext xmlns:c16="http://schemas.microsoft.com/office/drawing/2014/chart" uri="{C3380CC4-5D6E-409C-BE32-E72D297353CC}">
                <c16:uniqueId val="{0000046B-D46E-4B35-AB90-9DEAD12B463E}"/>
              </c:ext>
            </c:extLst>
          </c:dPt>
          <c:dPt>
            <c:idx val="565"/>
            <c:invertIfNegative val="1"/>
            <c:bubble3D val="0"/>
            <c:spPr>
              <a:solidFill>
                <a:srgbClr val="AEABAB"/>
              </a:solidFill>
            </c:spPr>
            <c:extLst>
              <c:ext xmlns:c16="http://schemas.microsoft.com/office/drawing/2014/chart" uri="{C3380CC4-5D6E-409C-BE32-E72D297353CC}">
                <c16:uniqueId val="{0000046D-D46E-4B35-AB90-9DEAD12B463E}"/>
              </c:ext>
            </c:extLst>
          </c:dPt>
          <c:dPt>
            <c:idx val="566"/>
            <c:invertIfNegative val="1"/>
            <c:bubble3D val="0"/>
            <c:spPr>
              <a:solidFill>
                <a:srgbClr val="AEABAB"/>
              </a:solidFill>
            </c:spPr>
            <c:extLst>
              <c:ext xmlns:c16="http://schemas.microsoft.com/office/drawing/2014/chart" uri="{C3380CC4-5D6E-409C-BE32-E72D297353CC}">
                <c16:uniqueId val="{0000046F-D46E-4B35-AB90-9DEAD12B463E}"/>
              </c:ext>
            </c:extLst>
          </c:dPt>
          <c:dPt>
            <c:idx val="567"/>
            <c:invertIfNegative val="1"/>
            <c:bubble3D val="0"/>
            <c:spPr>
              <a:solidFill>
                <a:srgbClr val="AEABAB"/>
              </a:solidFill>
            </c:spPr>
            <c:extLst>
              <c:ext xmlns:c16="http://schemas.microsoft.com/office/drawing/2014/chart" uri="{C3380CC4-5D6E-409C-BE32-E72D297353CC}">
                <c16:uniqueId val="{00000471-D46E-4B35-AB90-9DEAD12B463E}"/>
              </c:ext>
            </c:extLst>
          </c:dPt>
          <c:dPt>
            <c:idx val="568"/>
            <c:invertIfNegative val="1"/>
            <c:bubble3D val="0"/>
            <c:spPr>
              <a:solidFill>
                <a:srgbClr val="AEABAB"/>
              </a:solidFill>
            </c:spPr>
            <c:extLst>
              <c:ext xmlns:c16="http://schemas.microsoft.com/office/drawing/2014/chart" uri="{C3380CC4-5D6E-409C-BE32-E72D297353CC}">
                <c16:uniqueId val="{00000473-D46E-4B35-AB90-9DEAD12B463E}"/>
              </c:ext>
            </c:extLst>
          </c:dPt>
          <c:dPt>
            <c:idx val="569"/>
            <c:invertIfNegative val="1"/>
            <c:bubble3D val="0"/>
            <c:spPr>
              <a:solidFill>
                <a:srgbClr val="AEABAB"/>
              </a:solidFill>
            </c:spPr>
            <c:extLst>
              <c:ext xmlns:c16="http://schemas.microsoft.com/office/drawing/2014/chart" uri="{C3380CC4-5D6E-409C-BE32-E72D297353CC}">
                <c16:uniqueId val="{00000475-D46E-4B35-AB90-9DEAD12B463E}"/>
              </c:ext>
            </c:extLst>
          </c:dPt>
          <c:dPt>
            <c:idx val="570"/>
            <c:invertIfNegative val="1"/>
            <c:bubble3D val="0"/>
            <c:spPr>
              <a:solidFill>
                <a:srgbClr val="AEABAB"/>
              </a:solidFill>
            </c:spPr>
            <c:extLst>
              <c:ext xmlns:c16="http://schemas.microsoft.com/office/drawing/2014/chart" uri="{C3380CC4-5D6E-409C-BE32-E72D297353CC}">
                <c16:uniqueId val="{00000477-D46E-4B35-AB90-9DEAD12B463E}"/>
              </c:ext>
            </c:extLst>
          </c:dPt>
          <c:dPt>
            <c:idx val="571"/>
            <c:invertIfNegative val="1"/>
            <c:bubble3D val="0"/>
            <c:spPr>
              <a:solidFill>
                <a:srgbClr val="AEABAB"/>
              </a:solidFill>
            </c:spPr>
            <c:extLst>
              <c:ext xmlns:c16="http://schemas.microsoft.com/office/drawing/2014/chart" uri="{C3380CC4-5D6E-409C-BE32-E72D297353CC}">
                <c16:uniqueId val="{00000479-D46E-4B35-AB90-9DEAD12B463E}"/>
              </c:ext>
            </c:extLst>
          </c:dPt>
          <c:dPt>
            <c:idx val="572"/>
            <c:invertIfNegative val="1"/>
            <c:bubble3D val="0"/>
            <c:spPr>
              <a:solidFill>
                <a:srgbClr val="AEABAB"/>
              </a:solidFill>
            </c:spPr>
            <c:extLst>
              <c:ext xmlns:c16="http://schemas.microsoft.com/office/drawing/2014/chart" uri="{C3380CC4-5D6E-409C-BE32-E72D297353CC}">
                <c16:uniqueId val="{0000047B-D46E-4B35-AB90-9DEAD12B463E}"/>
              </c:ext>
            </c:extLst>
          </c:dPt>
          <c:dPt>
            <c:idx val="573"/>
            <c:invertIfNegative val="1"/>
            <c:bubble3D val="0"/>
            <c:spPr>
              <a:solidFill>
                <a:srgbClr val="AEABAB"/>
              </a:solidFill>
            </c:spPr>
            <c:extLst>
              <c:ext xmlns:c16="http://schemas.microsoft.com/office/drawing/2014/chart" uri="{C3380CC4-5D6E-409C-BE32-E72D297353CC}">
                <c16:uniqueId val="{0000047D-D46E-4B35-AB90-9DEAD12B463E}"/>
              </c:ext>
            </c:extLst>
          </c:dPt>
          <c:dPt>
            <c:idx val="574"/>
            <c:invertIfNegative val="1"/>
            <c:bubble3D val="0"/>
            <c:spPr>
              <a:solidFill>
                <a:srgbClr val="AEABAB"/>
              </a:solidFill>
            </c:spPr>
            <c:extLst>
              <c:ext xmlns:c16="http://schemas.microsoft.com/office/drawing/2014/chart" uri="{C3380CC4-5D6E-409C-BE32-E72D297353CC}">
                <c16:uniqueId val="{0000047F-D46E-4B35-AB90-9DEAD12B463E}"/>
              </c:ext>
            </c:extLst>
          </c:dPt>
          <c:dPt>
            <c:idx val="575"/>
            <c:invertIfNegative val="1"/>
            <c:bubble3D val="0"/>
            <c:spPr>
              <a:solidFill>
                <a:srgbClr val="AEABAB"/>
              </a:solidFill>
            </c:spPr>
            <c:extLst>
              <c:ext xmlns:c16="http://schemas.microsoft.com/office/drawing/2014/chart" uri="{C3380CC4-5D6E-409C-BE32-E72D297353CC}">
                <c16:uniqueId val="{00000481-D46E-4B35-AB90-9DEAD12B463E}"/>
              </c:ext>
            </c:extLst>
          </c:dPt>
          <c:dPt>
            <c:idx val="576"/>
            <c:invertIfNegative val="1"/>
            <c:bubble3D val="0"/>
            <c:spPr>
              <a:solidFill>
                <a:srgbClr val="AEABAB"/>
              </a:solidFill>
            </c:spPr>
            <c:extLst>
              <c:ext xmlns:c16="http://schemas.microsoft.com/office/drawing/2014/chart" uri="{C3380CC4-5D6E-409C-BE32-E72D297353CC}">
                <c16:uniqueId val="{00000483-D46E-4B35-AB90-9DEAD12B463E}"/>
              </c:ext>
            </c:extLst>
          </c:dPt>
          <c:dPt>
            <c:idx val="577"/>
            <c:invertIfNegative val="1"/>
            <c:bubble3D val="0"/>
            <c:spPr>
              <a:solidFill>
                <a:srgbClr val="AEABAB"/>
              </a:solidFill>
            </c:spPr>
            <c:extLst>
              <c:ext xmlns:c16="http://schemas.microsoft.com/office/drawing/2014/chart" uri="{C3380CC4-5D6E-409C-BE32-E72D297353CC}">
                <c16:uniqueId val="{00000485-D46E-4B35-AB90-9DEAD12B463E}"/>
              </c:ext>
            </c:extLst>
          </c:dPt>
          <c:dPt>
            <c:idx val="578"/>
            <c:invertIfNegative val="1"/>
            <c:bubble3D val="0"/>
            <c:spPr>
              <a:solidFill>
                <a:srgbClr val="AEABAB"/>
              </a:solidFill>
            </c:spPr>
            <c:extLst>
              <c:ext xmlns:c16="http://schemas.microsoft.com/office/drawing/2014/chart" uri="{C3380CC4-5D6E-409C-BE32-E72D297353CC}">
                <c16:uniqueId val="{00000487-D46E-4B35-AB90-9DEAD12B463E}"/>
              </c:ext>
            </c:extLst>
          </c:dPt>
          <c:dPt>
            <c:idx val="579"/>
            <c:invertIfNegative val="1"/>
            <c:bubble3D val="0"/>
            <c:spPr>
              <a:solidFill>
                <a:srgbClr val="AEABAB"/>
              </a:solidFill>
            </c:spPr>
            <c:extLst>
              <c:ext xmlns:c16="http://schemas.microsoft.com/office/drawing/2014/chart" uri="{C3380CC4-5D6E-409C-BE32-E72D297353CC}">
                <c16:uniqueId val="{00000489-D46E-4B35-AB90-9DEAD12B463E}"/>
              </c:ext>
            </c:extLst>
          </c:dPt>
          <c:dPt>
            <c:idx val="580"/>
            <c:invertIfNegative val="1"/>
            <c:bubble3D val="0"/>
            <c:spPr>
              <a:solidFill>
                <a:srgbClr val="AEABAB"/>
              </a:solidFill>
            </c:spPr>
            <c:extLst>
              <c:ext xmlns:c16="http://schemas.microsoft.com/office/drawing/2014/chart" uri="{C3380CC4-5D6E-409C-BE32-E72D297353CC}">
                <c16:uniqueId val="{0000048B-D46E-4B35-AB90-9DEAD12B463E}"/>
              </c:ext>
            </c:extLst>
          </c:dPt>
          <c:dPt>
            <c:idx val="581"/>
            <c:invertIfNegative val="1"/>
            <c:bubble3D val="0"/>
            <c:spPr>
              <a:solidFill>
                <a:srgbClr val="AEABAB"/>
              </a:solidFill>
            </c:spPr>
            <c:extLst>
              <c:ext xmlns:c16="http://schemas.microsoft.com/office/drawing/2014/chart" uri="{C3380CC4-5D6E-409C-BE32-E72D297353CC}">
                <c16:uniqueId val="{0000048D-D46E-4B35-AB90-9DEAD12B463E}"/>
              </c:ext>
            </c:extLst>
          </c:dPt>
          <c:dPt>
            <c:idx val="582"/>
            <c:invertIfNegative val="1"/>
            <c:bubble3D val="0"/>
            <c:spPr>
              <a:solidFill>
                <a:srgbClr val="AEABAB"/>
              </a:solidFill>
            </c:spPr>
            <c:extLst>
              <c:ext xmlns:c16="http://schemas.microsoft.com/office/drawing/2014/chart" uri="{C3380CC4-5D6E-409C-BE32-E72D297353CC}">
                <c16:uniqueId val="{0000048F-D46E-4B35-AB90-9DEAD12B463E}"/>
              </c:ext>
            </c:extLst>
          </c:dPt>
          <c:dPt>
            <c:idx val="583"/>
            <c:invertIfNegative val="1"/>
            <c:bubble3D val="0"/>
            <c:spPr>
              <a:solidFill>
                <a:srgbClr val="AEABAB"/>
              </a:solidFill>
            </c:spPr>
            <c:extLst>
              <c:ext xmlns:c16="http://schemas.microsoft.com/office/drawing/2014/chart" uri="{C3380CC4-5D6E-409C-BE32-E72D297353CC}">
                <c16:uniqueId val="{00000491-D46E-4B35-AB90-9DEAD12B463E}"/>
              </c:ext>
            </c:extLst>
          </c:dPt>
          <c:dPt>
            <c:idx val="584"/>
            <c:invertIfNegative val="1"/>
            <c:bubble3D val="0"/>
            <c:spPr>
              <a:solidFill>
                <a:srgbClr val="AEABAB"/>
              </a:solidFill>
            </c:spPr>
            <c:extLst>
              <c:ext xmlns:c16="http://schemas.microsoft.com/office/drawing/2014/chart" uri="{C3380CC4-5D6E-409C-BE32-E72D297353CC}">
                <c16:uniqueId val="{00000493-D46E-4B35-AB90-9DEAD12B463E}"/>
              </c:ext>
            </c:extLst>
          </c:dPt>
          <c:dPt>
            <c:idx val="585"/>
            <c:invertIfNegative val="1"/>
            <c:bubble3D val="0"/>
            <c:spPr>
              <a:solidFill>
                <a:srgbClr val="AEABAB"/>
              </a:solidFill>
            </c:spPr>
            <c:extLst>
              <c:ext xmlns:c16="http://schemas.microsoft.com/office/drawing/2014/chart" uri="{C3380CC4-5D6E-409C-BE32-E72D297353CC}">
                <c16:uniqueId val="{00000495-D46E-4B35-AB90-9DEAD12B463E}"/>
              </c:ext>
            </c:extLst>
          </c:dPt>
          <c:dPt>
            <c:idx val="586"/>
            <c:invertIfNegative val="1"/>
            <c:bubble3D val="0"/>
            <c:spPr>
              <a:solidFill>
                <a:srgbClr val="AEABAB"/>
              </a:solidFill>
            </c:spPr>
            <c:extLst>
              <c:ext xmlns:c16="http://schemas.microsoft.com/office/drawing/2014/chart" uri="{C3380CC4-5D6E-409C-BE32-E72D297353CC}">
                <c16:uniqueId val="{00000497-D46E-4B35-AB90-9DEAD12B463E}"/>
              </c:ext>
            </c:extLst>
          </c:dPt>
          <c:dPt>
            <c:idx val="587"/>
            <c:invertIfNegative val="1"/>
            <c:bubble3D val="0"/>
            <c:spPr>
              <a:solidFill>
                <a:srgbClr val="AEABAB"/>
              </a:solidFill>
            </c:spPr>
            <c:extLst>
              <c:ext xmlns:c16="http://schemas.microsoft.com/office/drawing/2014/chart" uri="{C3380CC4-5D6E-409C-BE32-E72D297353CC}">
                <c16:uniqueId val="{00000499-D46E-4B35-AB90-9DEAD12B463E}"/>
              </c:ext>
            </c:extLst>
          </c:dPt>
          <c:dPt>
            <c:idx val="588"/>
            <c:invertIfNegative val="1"/>
            <c:bubble3D val="0"/>
            <c:spPr>
              <a:solidFill>
                <a:srgbClr val="AEABAB"/>
              </a:solidFill>
            </c:spPr>
            <c:extLst>
              <c:ext xmlns:c16="http://schemas.microsoft.com/office/drawing/2014/chart" uri="{C3380CC4-5D6E-409C-BE32-E72D297353CC}">
                <c16:uniqueId val="{0000049B-D46E-4B35-AB90-9DEAD12B463E}"/>
              </c:ext>
            </c:extLst>
          </c:dPt>
          <c:dPt>
            <c:idx val="589"/>
            <c:invertIfNegative val="1"/>
            <c:bubble3D val="0"/>
            <c:spPr>
              <a:solidFill>
                <a:srgbClr val="AEABAB"/>
              </a:solidFill>
            </c:spPr>
            <c:extLst>
              <c:ext xmlns:c16="http://schemas.microsoft.com/office/drawing/2014/chart" uri="{C3380CC4-5D6E-409C-BE32-E72D297353CC}">
                <c16:uniqueId val="{0000049D-D46E-4B35-AB90-9DEAD12B463E}"/>
              </c:ext>
            </c:extLst>
          </c:dPt>
          <c:dPt>
            <c:idx val="590"/>
            <c:invertIfNegative val="1"/>
            <c:bubble3D val="0"/>
            <c:spPr>
              <a:solidFill>
                <a:srgbClr val="AEABAB"/>
              </a:solidFill>
            </c:spPr>
            <c:extLst>
              <c:ext xmlns:c16="http://schemas.microsoft.com/office/drawing/2014/chart" uri="{C3380CC4-5D6E-409C-BE32-E72D297353CC}">
                <c16:uniqueId val="{0000049F-D46E-4B35-AB90-9DEAD12B463E}"/>
              </c:ext>
            </c:extLst>
          </c:dPt>
          <c:dPt>
            <c:idx val="591"/>
            <c:invertIfNegative val="1"/>
            <c:bubble3D val="0"/>
            <c:spPr>
              <a:solidFill>
                <a:srgbClr val="AEABAB"/>
              </a:solidFill>
            </c:spPr>
            <c:extLst>
              <c:ext xmlns:c16="http://schemas.microsoft.com/office/drawing/2014/chart" uri="{C3380CC4-5D6E-409C-BE32-E72D297353CC}">
                <c16:uniqueId val="{000004A1-D46E-4B35-AB90-9DEAD12B463E}"/>
              </c:ext>
            </c:extLst>
          </c:dPt>
          <c:dPt>
            <c:idx val="592"/>
            <c:invertIfNegative val="1"/>
            <c:bubble3D val="0"/>
            <c:spPr>
              <a:solidFill>
                <a:srgbClr val="AEABAB"/>
              </a:solidFill>
            </c:spPr>
            <c:extLst>
              <c:ext xmlns:c16="http://schemas.microsoft.com/office/drawing/2014/chart" uri="{C3380CC4-5D6E-409C-BE32-E72D297353CC}">
                <c16:uniqueId val="{000004A3-D46E-4B35-AB90-9DEAD12B463E}"/>
              </c:ext>
            </c:extLst>
          </c:dPt>
          <c:dPt>
            <c:idx val="593"/>
            <c:invertIfNegative val="1"/>
            <c:bubble3D val="0"/>
            <c:spPr>
              <a:solidFill>
                <a:srgbClr val="AEABAB"/>
              </a:solidFill>
            </c:spPr>
            <c:extLst>
              <c:ext xmlns:c16="http://schemas.microsoft.com/office/drawing/2014/chart" uri="{C3380CC4-5D6E-409C-BE32-E72D297353CC}">
                <c16:uniqueId val="{000004A5-D46E-4B35-AB90-9DEAD12B463E}"/>
              </c:ext>
            </c:extLst>
          </c:dPt>
          <c:dPt>
            <c:idx val="594"/>
            <c:invertIfNegative val="1"/>
            <c:bubble3D val="0"/>
            <c:spPr>
              <a:solidFill>
                <a:srgbClr val="AEABAB"/>
              </a:solidFill>
            </c:spPr>
            <c:extLst>
              <c:ext xmlns:c16="http://schemas.microsoft.com/office/drawing/2014/chart" uri="{C3380CC4-5D6E-409C-BE32-E72D297353CC}">
                <c16:uniqueId val="{000004A7-D46E-4B35-AB90-9DEAD12B463E}"/>
              </c:ext>
            </c:extLst>
          </c:dPt>
          <c:dPt>
            <c:idx val="595"/>
            <c:invertIfNegative val="1"/>
            <c:bubble3D val="0"/>
            <c:spPr>
              <a:solidFill>
                <a:srgbClr val="AEABAB"/>
              </a:solidFill>
            </c:spPr>
            <c:extLst>
              <c:ext xmlns:c16="http://schemas.microsoft.com/office/drawing/2014/chart" uri="{C3380CC4-5D6E-409C-BE32-E72D297353CC}">
                <c16:uniqueId val="{000004A9-D46E-4B35-AB90-9DEAD12B463E}"/>
              </c:ext>
            </c:extLst>
          </c:dPt>
          <c:dPt>
            <c:idx val="596"/>
            <c:invertIfNegative val="1"/>
            <c:bubble3D val="0"/>
            <c:spPr>
              <a:solidFill>
                <a:srgbClr val="AEABAB"/>
              </a:solidFill>
            </c:spPr>
            <c:extLst>
              <c:ext xmlns:c16="http://schemas.microsoft.com/office/drawing/2014/chart" uri="{C3380CC4-5D6E-409C-BE32-E72D297353CC}">
                <c16:uniqueId val="{000004AB-D46E-4B35-AB90-9DEAD12B463E}"/>
              </c:ext>
            </c:extLst>
          </c:dPt>
          <c:dPt>
            <c:idx val="597"/>
            <c:invertIfNegative val="1"/>
            <c:bubble3D val="0"/>
            <c:spPr>
              <a:solidFill>
                <a:srgbClr val="AEABAB"/>
              </a:solidFill>
            </c:spPr>
            <c:extLst>
              <c:ext xmlns:c16="http://schemas.microsoft.com/office/drawing/2014/chart" uri="{C3380CC4-5D6E-409C-BE32-E72D297353CC}">
                <c16:uniqueId val="{000004AD-D46E-4B35-AB90-9DEAD12B463E}"/>
              </c:ext>
            </c:extLst>
          </c:dPt>
          <c:dPt>
            <c:idx val="598"/>
            <c:invertIfNegative val="1"/>
            <c:bubble3D val="0"/>
            <c:spPr>
              <a:solidFill>
                <a:srgbClr val="AEABAB"/>
              </a:solidFill>
            </c:spPr>
            <c:extLst>
              <c:ext xmlns:c16="http://schemas.microsoft.com/office/drawing/2014/chart" uri="{C3380CC4-5D6E-409C-BE32-E72D297353CC}">
                <c16:uniqueId val="{000004AF-D46E-4B35-AB90-9DEAD12B463E}"/>
              </c:ext>
            </c:extLst>
          </c:dPt>
          <c:dPt>
            <c:idx val="599"/>
            <c:invertIfNegative val="1"/>
            <c:bubble3D val="0"/>
            <c:spPr>
              <a:solidFill>
                <a:srgbClr val="AEABAB"/>
              </a:solidFill>
            </c:spPr>
            <c:extLst>
              <c:ext xmlns:c16="http://schemas.microsoft.com/office/drawing/2014/chart" uri="{C3380CC4-5D6E-409C-BE32-E72D297353CC}">
                <c16:uniqueId val="{000004B1-D46E-4B35-AB90-9DEAD12B463E}"/>
              </c:ext>
            </c:extLst>
          </c:dPt>
          <c:dPt>
            <c:idx val="600"/>
            <c:invertIfNegative val="1"/>
            <c:bubble3D val="0"/>
            <c:spPr>
              <a:solidFill>
                <a:srgbClr val="AEABAB"/>
              </a:solidFill>
            </c:spPr>
            <c:extLst>
              <c:ext xmlns:c16="http://schemas.microsoft.com/office/drawing/2014/chart" uri="{C3380CC4-5D6E-409C-BE32-E72D297353CC}">
                <c16:uniqueId val="{000004B3-D46E-4B35-AB90-9DEAD12B463E}"/>
              </c:ext>
            </c:extLst>
          </c:dPt>
          <c:dPt>
            <c:idx val="601"/>
            <c:invertIfNegative val="1"/>
            <c:bubble3D val="0"/>
            <c:spPr>
              <a:solidFill>
                <a:srgbClr val="AEABAB"/>
              </a:solidFill>
            </c:spPr>
            <c:extLst>
              <c:ext xmlns:c16="http://schemas.microsoft.com/office/drawing/2014/chart" uri="{C3380CC4-5D6E-409C-BE32-E72D297353CC}">
                <c16:uniqueId val="{000004B5-D46E-4B35-AB90-9DEAD12B463E}"/>
              </c:ext>
            </c:extLst>
          </c:dPt>
          <c:dPt>
            <c:idx val="602"/>
            <c:invertIfNegative val="1"/>
            <c:bubble3D val="0"/>
            <c:spPr>
              <a:solidFill>
                <a:srgbClr val="AEABAB"/>
              </a:solidFill>
            </c:spPr>
            <c:extLst>
              <c:ext xmlns:c16="http://schemas.microsoft.com/office/drawing/2014/chart" uri="{C3380CC4-5D6E-409C-BE32-E72D297353CC}">
                <c16:uniqueId val="{000004B7-D46E-4B35-AB90-9DEAD12B463E}"/>
              </c:ext>
            </c:extLst>
          </c:dPt>
          <c:dPt>
            <c:idx val="603"/>
            <c:invertIfNegative val="1"/>
            <c:bubble3D val="0"/>
            <c:spPr>
              <a:solidFill>
                <a:srgbClr val="AEABAB"/>
              </a:solidFill>
            </c:spPr>
            <c:extLst>
              <c:ext xmlns:c16="http://schemas.microsoft.com/office/drawing/2014/chart" uri="{C3380CC4-5D6E-409C-BE32-E72D297353CC}">
                <c16:uniqueId val="{000004B9-D46E-4B35-AB90-9DEAD12B463E}"/>
              </c:ext>
            </c:extLst>
          </c:dPt>
          <c:dPt>
            <c:idx val="604"/>
            <c:invertIfNegative val="1"/>
            <c:bubble3D val="0"/>
            <c:spPr>
              <a:solidFill>
                <a:srgbClr val="AEABAB"/>
              </a:solidFill>
            </c:spPr>
            <c:extLst>
              <c:ext xmlns:c16="http://schemas.microsoft.com/office/drawing/2014/chart" uri="{C3380CC4-5D6E-409C-BE32-E72D297353CC}">
                <c16:uniqueId val="{000004BB-D46E-4B35-AB90-9DEAD12B463E}"/>
              </c:ext>
            </c:extLst>
          </c:dPt>
          <c:dPt>
            <c:idx val="605"/>
            <c:invertIfNegative val="1"/>
            <c:bubble3D val="0"/>
            <c:spPr>
              <a:solidFill>
                <a:srgbClr val="AEABAB"/>
              </a:solidFill>
            </c:spPr>
            <c:extLst>
              <c:ext xmlns:c16="http://schemas.microsoft.com/office/drawing/2014/chart" uri="{C3380CC4-5D6E-409C-BE32-E72D297353CC}">
                <c16:uniqueId val="{000004BD-D46E-4B35-AB90-9DEAD12B463E}"/>
              </c:ext>
            </c:extLst>
          </c:dPt>
          <c:dPt>
            <c:idx val="606"/>
            <c:invertIfNegative val="1"/>
            <c:bubble3D val="0"/>
            <c:spPr>
              <a:solidFill>
                <a:srgbClr val="AEABAB"/>
              </a:solidFill>
            </c:spPr>
            <c:extLst>
              <c:ext xmlns:c16="http://schemas.microsoft.com/office/drawing/2014/chart" uri="{C3380CC4-5D6E-409C-BE32-E72D297353CC}">
                <c16:uniqueId val="{000004BF-D46E-4B35-AB90-9DEAD12B463E}"/>
              </c:ext>
            </c:extLst>
          </c:dPt>
          <c:dPt>
            <c:idx val="607"/>
            <c:invertIfNegative val="1"/>
            <c:bubble3D val="0"/>
            <c:spPr>
              <a:solidFill>
                <a:srgbClr val="AEABAB"/>
              </a:solidFill>
            </c:spPr>
            <c:extLst>
              <c:ext xmlns:c16="http://schemas.microsoft.com/office/drawing/2014/chart" uri="{C3380CC4-5D6E-409C-BE32-E72D297353CC}">
                <c16:uniqueId val="{000004C1-D46E-4B35-AB90-9DEAD12B463E}"/>
              </c:ext>
            </c:extLst>
          </c:dPt>
          <c:dPt>
            <c:idx val="608"/>
            <c:invertIfNegative val="1"/>
            <c:bubble3D val="0"/>
            <c:spPr>
              <a:solidFill>
                <a:srgbClr val="AEABAB"/>
              </a:solidFill>
            </c:spPr>
            <c:extLst>
              <c:ext xmlns:c16="http://schemas.microsoft.com/office/drawing/2014/chart" uri="{C3380CC4-5D6E-409C-BE32-E72D297353CC}">
                <c16:uniqueId val="{000004C3-D46E-4B35-AB90-9DEAD12B463E}"/>
              </c:ext>
            </c:extLst>
          </c:dPt>
          <c:dPt>
            <c:idx val="609"/>
            <c:invertIfNegative val="1"/>
            <c:bubble3D val="0"/>
            <c:spPr>
              <a:solidFill>
                <a:srgbClr val="AEABAB"/>
              </a:solidFill>
            </c:spPr>
            <c:extLst>
              <c:ext xmlns:c16="http://schemas.microsoft.com/office/drawing/2014/chart" uri="{C3380CC4-5D6E-409C-BE32-E72D297353CC}">
                <c16:uniqueId val="{000004C5-D46E-4B35-AB90-9DEAD12B463E}"/>
              </c:ext>
            </c:extLst>
          </c:dPt>
          <c:dPt>
            <c:idx val="610"/>
            <c:invertIfNegative val="1"/>
            <c:bubble3D val="0"/>
            <c:spPr>
              <a:solidFill>
                <a:srgbClr val="AEABAB"/>
              </a:solidFill>
            </c:spPr>
            <c:extLst>
              <c:ext xmlns:c16="http://schemas.microsoft.com/office/drawing/2014/chart" uri="{C3380CC4-5D6E-409C-BE32-E72D297353CC}">
                <c16:uniqueId val="{000004C7-D46E-4B35-AB90-9DEAD12B463E}"/>
              </c:ext>
            </c:extLst>
          </c:dPt>
          <c:dPt>
            <c:idx val="611"/>
            <c:invertIfNegative val="1"/>
            <c:bubble3D val="0"/>
            <c:spPr>
              <a:solidFill>
                <a:srgbClr val="AEABAB"/>
              </a:solidFill>
            </c:spPr>
            <c:extLst>
              <c:ext xmlns:c16="http://schemas.microsoft.com/office/drawing/2014/chart" uri="{C3380CC4-5D6E-409C-BE32-E72D297353CC}">
                <c16:uniqueId val="{000004C9-D46E-4B35-AB90-9DEAD12B463E}"/>
              </c:ext>
            </c:extLst>
          </c:dPt>
          <c:dPt>
            <c:idx val="612"/>
            <c:invertIfNegative val="1"/>
            <c:bubble3D val="0"/>
            <c:spPr>
              <a:solidFill>
                <a:srgbClr val="AEABAB"/>
              </a:solidFill>
            </c:spPr>
            <c:extLst>
              <c:ext xmlns:c16="http://schemas.microsoft.com/office/drawing/2014/chart" uri="{C3380CC4-5D6E-409C-BE32-E72D297353CC}">
                <c16:uniqueId val="{000004CB-D46E-4B35-AB90-9DEAD12B463E}"/>
              </c:ext>
            </c:extLst>
          </c:dPt>
          <c:dPt>
            <c:idx val="613"/>
            <c:invertIfNegative val="1"/>
            <c:bubble3D val="0"/>
            <c:spPr>
              <a:solidFill>
                <a:srgbClr val="AEABAB"/>
              </a:solidFill>
            </c:spPr>
            <c:extLst>
              <c:ext xmlns:c16="http://schemas.microsoft.com/office/drawing/2014/chart" uri="{C3380CC4-5D6E-409C-BE32-E72D297353CC}">
                <c16:uniqueId val="{000004CD-D46E-4B35-AB90-9DEAD12B463E}"/>
              </c:ext>
            </c:extLst>
          </c:dPt>
          <c:dPt>
            <c:idx val="614"/>
            <c:invertIfNegative val="1"/>
            <c:bubble3D val="0"/>
            <c:spPr>
              <a:solidFill>
                <a:srgbClr val="AEABAB"/>
              </a:solidFill>
            </c:spPr>
            <c:extLst>
              <c:ext xmlns:c16="http://schemas.microsoft.com/office/drawing/2014/chart" uri="{C3380CC4-5D6E-409C-BE32-E72D297353CC}">
                <c16:uniqueId val="{000004CF-D46E-4B35-AB90-9DEAD12B463E}"/>
              </c:ext>
            </c:extLst>
          </c:dPt>
          <c:dPt>
            <c:idx val="615"/>
            <c:invertIfNegative val="1"/>
            <c:bubble3D val="0"/>
            <c:spPr>
              <a:solidFill>
                <a:srgbClr val="AEABAB"/>
              </a:solidFill>
            </c:spPr>
            <c:extLst>
              <c:ext xmlns:c16="http://schemas.microsoft.com/office/drawing/2014/chart" uri="{C3380CC4-5D6E-409C-BE32-E72D297353CC}">
                <c16:uniqueId val="{000004D1-D46E-4B35-AB90-9DEAD12B463E}"/>
              </c:ext>
            </c:extLst>
          </c:dPt>
          <c:dPt>
            <c:idx val="616"/>
            <c:invertIfNegative val="1"/>
            <c:bubble3D val="0"/>
            <c:spPr>
              <a:solidFill>
                <a:srgbClr val="AEABAB"/>
              </a:solidFill>
            </c:spPr>
            <c:extLst>
              <c:ext xmlns:c16="http://schemas.microsoft.com/office/drawing/2014/chart" uri="{C3380CC4-5D6E-409C-BE32-E72D297353CC}">
                <c16:uniqueId val="{000004D3-D46E-4B35-AB90-9DEAD12B463E}"/>
              </c:ext>
            </c:extLst>
          </c:dPt>
          <c:dPt>
            <c:idx val="617"/>
            <c:invertIfNegative val="1"/>
            <c:bubble3D val="0"/>
            <c:spPr>
              <a:solidFill>
                <a:srgbClr val="AEABAB"/>
              </a:solidFill>
            </c:spPr>
            <c:extLst>
              <c:ext xmlns:c16="http://schemas.microsoft.com/office/drawing/2014/chart" uri="{C3380CC4-5D6E-409C-BE32-E72D297353CC}">
                <c16:uniqueId val="{000004D5-D46E-4B35-AB90-9DEAD12B463E}"/>
              </c:ext>
            </c:extLst>
          </c:dPt>
          <c:dPt>
            <c:idx val="618"/>
            <c:invertIfNegative val="1"/>
            <c:bubble3D val="0"/>
            <c:spPr>
              <a:solidFill>
                <a:srgbClr val="AEABAB"/>
              </a:solidFill>
            </c:spPr>
            <c:extLst>
              <c:ext xmlns:c16="http://schemas.microsoft.com/office/drawing/2014/chart" uri="{C3380CC4-5D6E-409C-BE32-E72D297353CC}">
                <c16:uniqueId val="{000004D7-D46E-4B35-AB90-9DEAD12B463E}"/>
              </c:ext>
            </c:extLst>
          </c:dPt>
          <c:dPt>
            <c:idx val="619"/>
            <c:invertIfNegative val="1"/>
            <c:bubble3D val="0"/>
            <c:spPr>
              <a:solidFill>
                <a:srgbClr val="AEABAB"/>
              </a:solidFill>
            </c:spPr>
            <c:extLst>
              <c:ext xmlns:c16="http://schemas.microsoft.com/office/drawing/2014/chart" uri="{C3380CC4-5D6E-409C-BE32-E72D297353CC}">
                <c16:uniqueId val="{000004D9-D46E-4B35-AB90-9DEAD12B463E}"/>
              </c:ext>
            </c:extLst>
          </c:dPt>
          <c:dPt>
            <c:idx val="620"/>
            <c:invertIfNegative val="1"/>
            <c:bubble3D val="0"/>
            <c:spPr>
              <a:solidFill>
                <a:srgbClr val="AEABAB"/>
              </a:solidFill>
            </c:spPr>
            <c:extLst>
              <c:ext xmlns:c16="http://schemas.microsoft.com/office/drawing/2014/chart" uri="{C3380CC4-5D6E-409C-BE32-E72D297353CC}">
                <c16:uniqueId val="{000004DB-D46E-4B35-AB90-9DEAD12B463E}"/>
              </c:ext>
            </c:extLst>
          </c:dPt>
          <c:dPt>
            <c:idx val="621"/>
            <c:invertIfNegative val="1"/>
            <c:bubble3D val="0"/>
            <c:spPr>
              <a:solidFill>
                <a:srgbClr val="AEABAB"/>
              </a:solidFill>
            </c:spPr>
            <c:extLst>
              <c:ext xmlns:c16="http://schemas.microsoft.com/office/drawing/2014/chart" uri="{C3380CC4-5D6E-409C-BE32-E72D297353CC}">
                <c16:uniqueId val="{000004DD-D46E-4B35-AB90-9DEAD12B463E}"/>
              </c:ext>
            </c:extLst>
          </c:dPt>
          <c:dPt>
            <c:idx val="622"/>
            <c:invertIfNegative val="1"/>
            <c:bubble3D val="0"/>
            <c:spPr>
              <a:solidFill>
                <a:srgbClr val="AEABAB"/>
              </a:solidFill>
            </c:spPr>
            <c:extLst>
              <c:ext xmlns:c16="http://schemas.microsoft.com/office/drawing/2014/chart" uri="{C3380CC4-5D6E-409C-BE32-E72D297353CC}">
                <c16:uniqueId val="{000004DF-D46E-4B35-AB90-9DEAD12B463E}"/>
              </c:ext>
            </c:extLst>
          </c:dPt>
          <c:dPt>
            <c:idx val="623"/>
            <c:invertIfNegative val="1"/>
            <c:bubble3D val="0"/>
            <c:spPr>
              <a:solidFill>
                <a:srgbClr val="AEABAB"/>
              </a:solidFill>
            </c:spPr>
            <c:extLst>
              <c:ext xmlns:c16="http://schemas.microsoft.com/office/drawing/2014/chart" uri="{C3380CC4-5D6E-409C-BE32-E72D297353CC}">
                <c16:uniqueId val="{000004E1-D46E-4B35-AB90-9DEAD12B463E}"/>
              </c:ext>
            </c:extLst>
          </c:dPt>
          <c:dPt>
            <c:idx val="624"/>
            <c:invertIfNegative val="1"/>
            <c:bubble3D val="0"/>
            <c:spPr>
              <a:solidFill>
                <a:srgbClr val="AEABAB"/>
              </a:solidFill>
            </c:spPr>
            <c:extLst>
              <c:ext xmlns:c16="http://schemas.microsoft.com/office/drawing/2014/chart" uri="{C3380CC4-5D6E-409C-BE32-E72D297353CC}">
                <c16:uniqueId val="{000004E3-D46E-4B35-AB90-9DEAD12B463E}"/>
              </c:ext>
            </c:extLst>
          </c:dPt>
          <c:dPt>
            <c:idx val="625"/>
            <c:invertIfNegative val="1"/>
            <c:bubble3D val="0"/>
            <c:spPr>
              <a:solidFill>
                <a:srgbClr val="AEABAB"/>
              </a:solidFill>
            </c:spPr>
            <c:extLst>
              <c:ext xmlns:c16="http://schemas.microsoft.com/office/drawing/2014/chart" uri="{C3380CC4-5D6E-409C-BE32-E72D297353CC}">
                <c16:uniqueId val="{000004E5-D46E-4B35-AB90-9DEAD12B463E}"/>
              </c:ext>
            </c:extLst>
          </c:dPt>
          <c:dPt>
            <c:idx val="626"/>
            <c:invertIfNegative val="1"/>
            <c:bubble3D val="0"/>
            <c:spPr>
              <a:solidFill>
                <a:srgbClr val="AEABAB"/>
              </a:solidFill>
            </c:spPr>
            <c:extLst>
              <c:ext xmlns:c16="http://schemas.microsoft.com/office/drawing/2014/chart" uri="{C3380CC4-5D6E-409C-BE32-E72D297353CC}">
                <c16:uniqueId val="{000004E7-D46E-4B35-AB90-9DEAD12B463E}"/>
              </c:ext>
            </c:extLst>
          </c:dPt>
          <c:dPt>
            <c:idx val="627"/>
            <c:invertIfNegative val="1"/>
            <c:bubble3D val="0"/>
            <c:spPr>
              <a:solidFill>
                <a:srgbClr val="AEABAB"/>
              </a:solidFill>
            </c:spPr>
            <c:extLst>
              <c:ext xmlns:c16="http://schemas.microsoft.com/office/drawing/2014/chart" uri="{C3380CC4-5D6E-409C-BE32-E72D297353CC}">
                <c16:uniqueId val="{000004E9-D46E-4B35-AB90-9DEAD12B463E}"/>
              </c:ext>
            </c:extLst>
          </c:dPt>
          <c:dPt>
            <c:idx val="628"/>
            <c:invertIfNegative val="1"/>
            <c:bubble3D val="0"/>
            <c:spPr>
              <a:solidFill>
                <a:srgbClr val="AEABAB"/>
              </a:solidFill>
            </c:spPr>
            <c:extLst>
              <c:ext xmlns:c16="http://schemas.microsoft.com/office/drawing/2014/chart" uri="{C3380CC4-5D6E-409C-BE32-E72D297353CC}">
                <c16:uniqueId val="{000004EB-D46E-4B35-AB90-9DEAD12B463E}"/>
              </c:ext>
            </c:extLst>
          </c:dPt>
          <c:dPt>
            <c:idx val="629"/>
            <c:invertIfNegative val="1"/>
            <c:bubble3D val="0"/>
            <c:spPr>
              <a:solidFill>
                <a:srgbClr val="AEABAB"/>
              </a:solidFill>
            </c:spPr>
            <c:extLst>
              <c:ext xmlns:c16="http://schemas.microsoft.com/office/drawing/2014/chart" uri="{C3380CC4-5D6E-409C-BE32-E72D297353CC}">
                <c16:uniqueId val="{000004ED-D46E-4B35-AB90-9DEAD12B463E}"/>
              </c:ext>
            </c:extLst>
          </c:dPt>
          <c:dPt>
            <c:idx val="630"/>
            <c:invertIfNegative val="1"/>
            <c:bubble3D val="0"/>
            <c:spPr>
              <a:solidFill>
                <a:srgbClr val="AEABAB"/>
              </a:solidFill>
            </c:spPr>
            <c:extLst>
              <c:ext xmlns:c16="http://schemas.microsoft.com/office/drawing/2014/chart" uri="{C3380CC4-5D6E-409C-BE32-E72D297353CC}">
                <c16:uniqueId val="{000004EF-D46E-4B35-AB90-9DEAD12B463E}"/>
              </c:ext>
            </c:extLst>
          </c:dPt>
          <c:dPt>
            <c:idx val="631"/>
            <c:invertIfNegative val="1"/>
            <c:bubble3D val="0"/>
            <c:spPr>
              <a:solidFill>
                <a:srgbClr val="AEABAB"/>
              </a:solidFill>
            </c:spPr>
            <c:extLst>
              <c:ext xmlns:c16="http://schemas.microsoft.com/office/drawing/2014/chart" uri="{C3380CC4-5D6E-409C-BE32-E72D297353CC}">
                <c16:uniqueId val="{000004F1-D46E-4B35-AB90-9DEAD12B463E}"/>
              </c:ext>
            </c:extLst>
          </c:dPt>
          <c:dPt>
            <c:idx val="632"/>
            <c:invertIfNegative val="1"/>
            <c:bubble3D val="0"/>
            <c:spPr>
              <a:solidFill>
                <a:srgbClr val="AEABAB"/>
              </a:solidFill>
            </c:spPr>
            <c:extLst>
              <c:ext xmlns:c16="http://schemas.microsoft.com/office/drawing/2014/chart" uri="{C3380CC4-5D6E-409C-BE32-E72D297353CC}">
                <c16:uniqueId val="{000004F3-D46E-4B35-AB90-9DEAD12B463E}"/>
              </c:ext>
            </c:extLst>
          </c:dPt>
          <c:dPt>
            <c:idx val="633"/>
            <c:invertIfNegative val="1"/>
            <c:bubble3D val="0"/>
            <c:spPr>
              <a:solidFill>
                <a:srgbClr val="AEABAB"/>
              </a:solidFill>
            </c:spPr>
            <c:extLst>
              <c:ext xmlns:c16="http://schemas.microsoft.com/office/drawing/2014/chart" uri="{C3380CC4-5D6E-409C-BE32-E72D297353CC}">
                <c16:uniqueId val="{000004F5-D46E-4B35-AB90-9DEAD12B463E}"/>
              </c:ext>
            </c:extLst>
          </c:dPt>
          <c:dPt>
            <c:idx val="634"/>
            <c:invertIfNegative val="1"/>
            <c:bubble3D val="0"/>
            <c:spPr>
              <a:solidFill>
                <a:srgbClr val="AEABAB"/>
              </a:solidFill>
            </c:spPr>
            <c:extLst>
              <c:ext xmlns:c16="http://schemas.microsoft.com/office/drawing/2014/chart" uri="{C3380CC4-5D6E-409C-BE32-E72D297353CC}">
                <c16:uniqueId val="{000004F7-D46E-4B35-AB90-9DEAD12B463E}"/>
              </c:ext>
            </c:extLst>
          </c:dPt>
          <c:dPt>
            <c:idx val="635"/>
            <c:invertIfNegative val="1"/>
            <c:bubble3D val="0"/>
            <c:spPr>
              <a:solidFill>
                <a:srgbClr val="AEABAB"/>
              </a:solidFill>
            </c:spPr>
            <c:extLst>
              <c:ext xmlns:c16="http://schemas.microsoft.com/office/drawing/2014/chart" uri="{C3380CC4-5D6E-409C-BE32-E72D297353CC}">
                <c16:uniqueId val="{000004F9-D46E-4B35-AB90-9DEAD12B463E}"/>
              </c:ext>
            </c:extLst>
          </c:dPt>
          <c:dPt>
            <c:idx val="636"/>
            <c:invertIfNegative val="1"/>
            <c:bubble3D val="0"/>
            <c:spPr>
              <a:solidFill>
                <a:srgbClr val="AEABAB"/>
              </a:solidFill>
            </c:spPr>
            <c:extLst>
              <c:ext xmlns:c16="http://schemas.microsoft.com/office/drawing/2014/chart" uri="{C3380CC4-5D6E-409C-BE32-E72D297353CC}">
                <c16:uniqueId val="{000004FB-D46E-4B35-AB90-9DEAD12B463E}"/>
              </c:ext>
            </c:extLst>
          </c:dPt>
          <c:dPt>
            <c:idx val="637"/>
            <c:invertIfNegative val="1"/>
            <c:bubble3D val="0"/>
            <c:spPr>
              <a:solidFill>
                <a:srgbClr val="AEABAB"/>
              </a:solidFill>
            </c:spPr>
            <c:extLst>
              <c:ext xmlns:c16="http://schemas.microsoft.com/office/drawing/2014/chart" uri="{C3380CC4-5D6E-409C-BE32-E72D297353CC}">
                <c16:uniqueId val="{000004FD-D46E-4B35-AB90-9DEAD12B463E}"/>
              </c:ext>
            </c:extLst>
          </c:dPt>
          <c:dPt>
            <c:idx val="638"/>
            <c:invertIfNegative val="1"/>
            <c:bubble3D val="0"/>
            <c:spPr>
              <a:solidFill>
                <a:srgbClr val="AEABAB"/>
              </a:solidFill>
            </c:spPr>
            <c:extLst>
              <c:ext xmlns:c16="http://schemas.microsoft.com/office/drawing/2014/chart" uri="{C3380CC4-5D6E-409C-BE32-E72D297353CC}">
                <c16:uniqueId val="{000004FF-D46E-4B35-AB90-9DEAD12B463E}"/>
              </c:ext>
            </c:extLst>
          </c:dPt>
          <c:dPt>
            <c:idx val="639"/>
            <c:invertIfNegative val="1"/>
            <c:bubble3D val="0"/>
            <c:spPr>
              <a:solidFill>
                <a:srgbClr val="AEABAB"/>
              </a:solidFill>
            </c:spPr>
            <c:extLst>
              <c:ext xmlns:c16="http://schemas.microsoft.com/office/drawing/2014/chart" uri="{C3380CC4-5D6E-409C-BE32-E72D297353CC}">
                <c16:uniqueId val="{00000501-D46E-4B35-AB90-9DEAD12B463E}"/>
              </c:ext>
            </c:extLst>
          </c:dPt>
          <c:dPt>
            <c:idx val="640"/>
            <c:invertIfNegative val="1"/>
            <c:bubble3D val="0"/>
            <c:spPr>
              <a:solidFill>
                <a:srgbClr val="AEABAB"/>
              </a:solidFill>
            </c:spPr>
            <c:extLst>
              <c:ext xmlns:c16="http://schemas.microsoft.com/office/drawing/2014/chart" uri="{C3380CC4-5D6E-409C-BE32-E72D297353CC}">
                <c16:uniqueId val="{00000503-D46E-4B35-AB90-9DEAD12B463E}"/>
              </c:ext>
            </c:extLst>
          </c:dPt>
          <c:dPt>
            <c:idx val="641"/>
            <c:invertIfNegative val="1"/>
            <c:bubble3D val="0"/>
            <c:spPr>
              <a:solidFill>
                <a:srgbClr val="AEABAB"/>
              </a:solidFill>
            </c:spPr>
            <c:extLst>
              <c:ext xmlns:c16="http://schemas.microsoft.com/office/drawing/2014/chart" uri="{C3380CC4-5D6E-409C-BE32-E72D297353CC}">
                <c16:uniqueId val="{00000505-D46E-4B35-AB90-9DEAD12B463E}"/>
              </c:ext>
            </c:extLst>
          </c:dPt>
          <c:dPt>
            <c:idx val="642"/>
            <c:invertIfNegative val="1"/>
            <c:bubble3D val="0"/>
            <c:spPr>
              <a:solidFill>
                <a:srgbClr val="AEABAB"/>
              </a:solidFill>
            </c:spPr>
            <c:extLst>
              <c:ext xmlns:c16="http://schemas.microsoft.com/office/drawing/2014/chart" uri="{C3380CC4-5D6E-409C-BE32-E72D297353CC}">
                <c16:uniqueId val="{00000507-D46E-4B35-AB90-9DEAD12B463E}"/>
              </c:ext>
            </c:extLst>
          </c:dPt>
          <c:dPt>
            <c:idx val="643"/>
            <c:invertIfNegative val="1"/>
            <c:bubble3D val="0"/>
            <c:spPr>
              <a:solidFill>
                <a:srgbClr val="AEABAB"/>
              </a:solidFill>
            </c:spPr>
            <c:extLst>
              <c:ext xmlns:c16="http://schemas.microsoft.com/office/drawing/2014/chart" uri="{C3380CC4-5D6E-409C-BE32-E72D297353CC}">
                <c16:uniqueId val="{00000509-D46E-4B35-AB90-9DEAD12B463E}"/>
              </c:ext>
            </c:extLst>
          </c:dPt>
          <c:dPt>
            <c:idx val="644"/>
            <c:invertIfNegative val="1"/>
            <c:bubble3D val="0"/>
            <c:spPr>
              <a:solidFill>
                <a:srgbClr val="AEABAB"/>
              </a:solidFill>
            </c:spPr>
            <c:extLst>
              <c:ext xmlns:c16="http://schemas.microsoft.com/office/drawing/2014/chart" uri="{C3380CC4-5D6E-409C-BE32-E72D297353CC}">
                <c16:uniqueId val="{0000050B-D46E-4B35-AB90-9DEAD12B463E}"/>
              </c:ext>
            </c:extLst>
          </c:dPt>
          <c:dPt>
            <c:idx val="645"/>
            <c:invertIfNegative val="1"/>
            <c:bubble3D val="0"/>
            <c:spPr>
              <a:solidFill>
                <a:srgbClr val="AEABAB"/>
              </a:solidFill>
            </c:spPr>
            <c:extLst>
              <c:ext xmlns:c16="http://schemas.microsoft.com/office/drawing/2014/chart" uri="{C3380CC4-5D6E-409C-BE32-E72D297353CC}">
                <c16:uniqueId val="{0000050D-D46E-4B35-AB90-9DEAD12B463E}"/>
              </c:ext>
            </c:extLst>
          </c:dPt>
          <c:dPt>
            <c:idx val="646"/>
            <c:invertIfNegative val="1"/>
            <c:bubble3D val="0"/>
            <c:spPr>
              <a:solidFill>
                <a:srgbClr val="AEABAB"/>
              </a:solidFill>
            </c:spPr>
            <c:extLst>
              <c:ext xmlns:c16="http://schemas.microsoft.com/office/drawing/2014/chart" uri="{C3380CC4-5D6E-409C-BE32-E72D297353CC}">
                <c16:uniqueId val="{0000050F-D46E-4B35-AB90-9DEAD12B463E}"/>
              </c:ext>
            </c:extLst>
          </c:dPt>
          <c:dPt>
            <c:idx val="647"/>
            <c:invertIfNegative val="1"/>
            <c:bubble3D val="0"/>
            <c:spPr>
              <a:solidFill>
                <a:srgbClr val="AEABAB"/>
              </a:solidFill>
            </c:spPr>
            <c:extLst>
              <c:ext xmlns:c16="http://schemas.microsoft.com/office/drawing/2014/chart" uri="{C3380CC4-5D6E-409C-BE32-E72D297353CC}">
                <c16:uniqueId val="{00000511-D46E-4B35-AB90-9DEAD12B463E}"/>
              </c:ext>
            </c:extLst>
          </c:dPt>
          <c:dPt>
            <c:idx val="648"/>
            <c:invertIfNegative val="1"/>
            <c:bubble3D val="0"/>
            <c:spPr>
              <a:solidFill>
                <a:srgbClr val="AEABAB"/>
              </a:solidFill>
            </c:spPr>
            <c:extLst>
              <c:ext xmlns:c16="http://schemas.microsoft.com/office/drawing/2014/chart" uri="{C3380CC4-5D6E-409C-BE32-E72D297353CC}">
                <c16:uniqueId val="{00000513-D46E-4B35-AB90-9DEAD12B463E}"/>
              </c:ext>
            </c:extLst>
          </c:dPt>
          <c:dPt>
            <c:idx val="649"/>
            <c:invertIfNegative val="1"/>
            <c:bubble3D val="0"/>
            <c:spPr>
              <a:solidFill>
                <a:srgbClr val="AEABAB"/>
              </a:solidFill>
            </c:spPr>
            <c:extLst>
              <c:ext xmlns:c16="http://schemas.microsoft.com/office/drawing/2014/chart" uri="{C3380CC4-5D6E-409C-BE32-E72D297353CC}">
                <c16:uniqueId val="{00000515-D46E-4B35-AB90-9DEAD12B463E}"/>
              </c:ext>
            </c:extLst>
          </c:dPt>
          <c:dPt>
            <c:idx val="650"/>
            <c:invertIfNegative val="1"/>
            <c:bubble3D val="0"/>
            <c:spPr>
              <a:solidFill>
                <a:srgbClr val="AEABAB"/>
              </a:solidFill>
            </c:spPr>
            <c:extLst>
              <c:ext xmlns:c16="http://schemas.microsoft.com/office/drawing/2014/chart" uri="{C3380CC4-5D6E-409C-BE32-E72D297353CC}">
                <c16:uniqueId val="{00000517-D46E-4B35-AB90-9DEAD12B463E}"/>
              </c:ext>
            </c:extLst>
          </c:dPt>
          <c:dPt>
            <c:idx val="651"/>
            <c:invertIfNegative val="1"/>
            <c:bubble3D val="0"/>
            <c:spPr>
              <a:solidFill>
                <a:srgbClr val="AEABAB"/>
              </a:solidFill>
            </c:spPr>
            <c:extLst>
              <c:ext xmlns:c16="http://schemas.microsoft.com/office/drawing/2014/chart" uri="{C3380CC4-5D6E-409C-BE32-E72D297353CC}">
                <c16:uniqueId val="{00000519-D46E-4B35-AB90-9DEAD12B463E}"/>
              </c:ext>
            </c:extLst>
          </c:dPt>
          <c:dPt>
            <c:idx val="652"/>
            <c:invertIfNegative val="1"/>
            <c:bubble3D val="0"/>
            <c:spPr>
              <a:solidFill>
                <a:srgbClr val="AEABAB"/>
              </a:solidFill>
            </c:spPr>
            <c:extLst>
              <c:ext xmlns:c16="http://schemas.microsoft.com/office/drawing/2014/chart" uri="{C3380CC4-5D6E-409C-BE32-E72D297353CC}">
                <c16:uniqueId val="{0000051B-D46E-4B35-AB90-9DEAD12B463E}"/>
              </c:ext>
            </c:extLst>
          </c:dPt>
          <c:dPt>
            <c:idx val="653"/>
            <c:invertIfNegative val="1"/>
            <c:bubble3D val="0"/>
            <c:spPr>
              <a:solidFill>
                <a:srgbClr val="AEABAB"/>
              </a:solidFill>
            </c:spPr>
            <c:extLst>
              <c:ext xmlns:c16="http://schemas.microsoft.com/office/drawing/2014/chart" uri="{C3380CC4-5D6E-409C-BE32-E72D297353CC}">
                <c16:uniqueId val="{0000051D-D46E-4B35-AB90-9DEAD12B463E}"/>
              </c:ext>
            </c:extLst>
          </c:dPt>
          <c:dPt>
            <c:idx val="654"/>
            <c:invertIfNegative val="1"/>
            <c:bubble3D val="0"/>
            <c:spPr>
              <a:solidFill>
                <a:srgbClr val="AEABAB"/>
              </a:solidFill>
            </c:spPr>
            <c:extLst>
              <c:ext xmlns:c16="http://schemas.microsoft.com/office/drawing/2014/chart" uri="{C3380CC4-5D6E-409C-BE32-E72D297353CC}">
                <c16:uniqueId val="{0000051F-D46E-4B35-AB90-9DEAD12B463E}"/>
              </c:ext>
            </c:extLst>
          </c:dPt>
          <c:dPt>
            <c:idx val="655"/>
            <c:invertIfNegative val="1"/>
            <c:bubble3D val="0"/>
            <c:spPr>
              <a:solidFill>
                <a:srgbClr val="AEABAB"/>
              </a:solidFill>
            </c:spPr>
            <c:extLst>
              <c:ext xmlns:c16="http://schemas.microsoft.com/office/drawing/2014/chart" uri="{C3380CC4-5D6E-409C-BE32-E72D297353CC}">
                <c16:uniqueId val="{00000521-D46E-4B35-AB90-9DEAD12B463E}"/>
              </c:ext>
            </c:extLst>
          </c:dPt>
          <c:dPt>
            <c:idx val="656"/>
            <c:invertIfNegative val="1"/>
            <c:bubble3D val="0"/>
            <c:spPr>
              <a:solidFill>
                <a:srgbClr val="AEABAB"/>
              </a:solidFill>
            </c:spPr>
            <c:extLst>
              <c:ext xmlns:c16="http://schemas.microsoft.com/office/drawing/2014/chart" uri="{C3380CC4-5D6E-409C-BE32-E72D297353CC}">
                <c16:uniqueId val="{00000523-D46E-4B35-AB90-9DEAD12B463E}"/>
              </c:ext>
            </c:extLst>
          </c:dPt>
          <c:dPt>
            <c:idx val="657"/>
            <c:invertIfNegative val="1"/>
            <c:bubble3D val="0"/>
            <c:spPr>
              <a:solidFill>
                <a:srgbClr val="AEABAB"/>
              </a:solidFill>
            </c:spPr>
            <c:extLst>
              <c:ext xmlns:c16="http://schemas.microsoft.com/office/drawing/2014/chart" uri="{C3380CC4-5D6E-409C-BE32-E72D297353CC}">
                <c16:uniqueId val="{00000525-D46E-4B35-AB90-9DEAD12B463E}"/>
              </c:ext>
            </c:extLst>
          </c:dPt>
          <c:dPt>
            <c:idx val="658"/>
            <c:invertIfNegative val="1"/>
            <c:bubble3D val="0"/>
            <c:spPr>
              <a:solidFill>
                <a:srgbClr val="AEABAB"/>
              </a:solidFill>
            </c:spPr>
            <c:extLst>
              <c:ext xmlns:c16="http://schemas.microsoft.com/office/drawing/2014/chart" uri="{C3380CC4-5D6E-409C-BE32-E72D297353CC}">
                <c16:uniqueId val="{00000527-D46E-4B35-AB90-9DEAD12B463E}"/>
              </c:ext>
            </c:extLst>
          </c:dPt>
          <c:dPt>
            <c:idx val="659"/>
            <c:invertIfNegative val="1"/>
            <c:bubble3D val="0"/>
            <c:spPr>
              <a:solidFill>
                <a:srgbClr val="AEABAB"/>
              </a:solidFill>
            </c:spPr>
            <c:extLst>
              <c:ext xmlns:c16="http://schemas.microsoft.com/office/drawing/2014/chart" uri="{C3380CC4-5D6E-409C-BE32-E72D297353CC}">
                <c16:uniqueId val="{00000529-D46E-4B35-AB90-9DEAD12B463E}"/>
              </c:ext>
            </c:extLst>
          </c:dPt>
          <c:dPt>
            <c:idx val="660"/>
            <c:invertIfNegative val="1"/>
            <c:bubble3D val="0"/>
            <c:spPr>
              <a:solidFill>
                <a:srgbClr val="AEABAB"/>
              </a:solidFill>
            </c:spPr>
            <c:extLst>
              <c:ext xmlns:c16="http://schemas.microsoft.com/office/drawing/2014/chart" uri="{C3380CC4-5D6E-409C-BE32-E72D297353CC}">
                <c16:uniqueId val="{0000052B-D46E-4B35-AB90-9DEAD12B463E}"/>
              </c:ext>
            </c:extLst>
          </c:dPt>
          <c:dPt>
            <c:idx val="661"/>
            <c:invertIfNegative val="1"/>
            <c:bubble3D val="0"/>
            <c:spPr>
              <a:solidFill>
                <a:srgbClr val="AEABAB"/>
              </a:solidFill>
            </c:spPr>
            <c:extLst>
              <c:ext xmlns:c16="http://schemas.microsoft.com/office/drawing/2014/chart" uri="{C3380CC4-5D6E-409C-BE32-E72D297353CC}">
                <c16:uniqueId val="{0000052D-D46E-4B35-AB90-9DEAD12B463E}"/>
              </c:ext>
            </c:extLst>
          </c:dPt>
          <c:dPt>
            <c:idx val="662"/>
            <c:invertIfNegative val="1"/>
            <c:bubble3D val="0"/>
            <c:spPr>
              <a:solidFill>
                <a:srgbClr val="AEABAB"/>
              </a:solidFill>
            </c:spPr>
            <c:extLst>
              <c:ext xmlns:c16="http://schemas.microsoft.com/office/drawing/2014/chart" uri="{C3380CC4-5D6E-409C-BE32-E72D297353CC}">
                <c16:uniqueId val="{0000052F-D46E-4B35-AB90-9DEAD12B463E}"/>
              </c:ext>
            </c:extLst>
          </c:dPt>
          <c:dPt>
            <c:idx val="663"/>
            <c:invertIfNegative val="1"/>
            <c:bubble3D val="0"/>
            <c:spPr>
              <a:solidFill>
                <a:srgbClr val="AEABAB"/>
              </a:solidFill>
            </c:spPr>
            <c:extLst>
              <c:ext xmlns:c16="http://schemas.microsoft.com/office/drawing/2014/chart" uri="{C3380CC4-5D6E-409C-BE32-E72D297353CC}">
                <c16:uniqueId val="{00000531-D46E-4B35-AB90-9DEAD12B463E}"/>
              </c:ext>
            </c:extLst>
          </c:dPt>
          <c:dPt>
            <c:idx val="664"/>
            <c:invertIfNegative val="1"/>
            <c:bubble3D val="0"/>
            <c:spPr>
              <a:solidFill>
                <a:srgbClr val="AEABAB"/>
              </a:solidFill>
            </c:spPr>
            <c:extLst>
              <c:ext xmlns:c16="http://schemas.microsoft.com/office/drawing/2014/chart" uri="{C3380CC4-5D6E-409C-BE32-E72D297353CC}">
                <c16:uniqueId val="{00000533-D46E-4B35-AB90-9DEAD12B463E}"/>
              </c:ext>
            </c:extLst>
          </c:dPt>
          <c:dPt>
            <c:idx val="665"/>
            <c:invertIfNegative val="1"/>
            <c:bubble3D val="0"/>
            <c:spPr>
              <a:solidFill>
                <a:srgbClr val="AEABAB"/>
              </a:solidFill>
            </c:spPr>
            <c:extLst>
              <c:ext xmlns:c16="http://schemas.microsoft.com/office/drawing/2014/chart" uri="{C3380CC4-5D6E-409C-BE32-E72D297353CC}">
                <c16:uniqueId val="{00000535-D46E-4B35-AB90-9DEAD12B463E}"/>
              </c:ext>
            </c:extLst>
          </c:dPt>
          <c:dPt>
            <c:idx val="666"/>
            <c:invertIfNegative val="1"/>
            <c:bubble3D val="0"/>
            <c:spPr>
              <a:solidFill>
                <a:srgbClr val="AEABAB"/>
              </a:solidFill>
            </c:spPr>
            <c:extLst>
              <c:ext xmlns:c16="http://schemas.microsoft.com/office/drawing/2014/chart" uri="{C3380CC4-5D6E-409C-BE32-E72D297353CC}">
                <c16:uniqueId val="{00000537-D46E-4B35-AB90-9DEAD12B463E}"/>
              </c:ext>
            </c:extLst>
          </c:dPt>
          <c:dPt>
            <c:idx val="667"/>
            <c:invertIfNegative val="1"/>
            <c:bubble3D val="0"/>
            <c:spPr>
              <a:solidFill>
                <a:srgbClr val="AEABAB"/>
              </a:solidFill>
            </c:spPr>
            <c:extLst>
              <c:ext xmlns:c16="http://schemas.microsoft.com/office/drawing/2014/chart" uri="{C3380CC4-5D6E-409C-BE32-E72D297353CC}">
                <c16:uniqueId val="{00000539-D46E-4B35-AB90-9DEAD12B463E}"/>
              </c:ext>
            </c:extLst>
          </c:dPt>
          <c:dPt>
            <c:idx val="668"/>
            <c:invertIfNegative val="1"/>
            <c:bubble3D val="0"/>
            <c:spPr>
              <a:solidFill>
                <a:srgbClr val="AEABAB"/>
              </a:solidFill>
            </c:spPr>
            <c:extLst>
              <c:ext xmlns:c16="http://schemas.microsoft.com/office/drawing/2014/chart" uri="{C3380CC4-5D6E-409C-BE32-E72D297353CC}">
                <c16:uniqueId val="{0000053B-D46E-4B35-AB90-9DEAD12B463E}"/>
              </c:ext>
            </c:extLst>
          </c:dPt>
          <c:dPt>
            <c:idx val="669"/>
            <c:invertIfNegative val="1"/>
            <c:bubble3D val="0"/>
            <c:spPr>
              <a:solidFill>
                <a:srgbClr val="AEABAB"/>
              </a:solidFill>
            </c:spPr>
            <c:extLst>
              <c:ext xmlns:c16="http://schemas.microsoft.com/office/drawing/2014/chart" uri="{C3380CC4-5D6E-409C-BE32-E72D297353CC}">
                <c16:uniqueId val="{0000053D-D46E-4B35-AB90-9DEAD12B463E}"/>
              </c:ext>
            </c:extLst>
          </c:dPt>
          <c:dPt>
            <c:idx val="670"/>
            <c:invertIfNegative val="1"/>
            <c:bubble3D val="0"/>
            <c:spPr>
              <a:solidFill>
                <a:srgbClr val="AEABAB"/>
              </a:solidFill>
            </c:spPr>
            <c:extLst>
              <c:ext xmlns:c16="http://schemas.microsoft.com/office/drawing/2014/chart" uri="{C3380CC4-5D6E-409C-BE32-E72D297353CC}">
                <c16:uniqueId val="{0000053F-D46E-4B35-AB90-9DEAD12B463E}"/>
              </c:ext>
            </c:extLst>
          </c:dPt>
          <c:dPt>
            <c:idx val="671"/>
            <c:invertIfNegative val="1"/>
            <c:bubble3D val="0"/>
            <c:spPr>
              <a:solidFill>
                <a:srgbClr val="AEABAB"/>
              </a:solidFill>
            </c:spPr>
            <c:extLst>
              <c:ext xmlns:c16="http://schemas.microsoft.com/office/drawing/2014/chart" uri="{C3380CC4-5D6E-409C-BE32-E72D297353CC}">
                <c16:uniqueId val="{00000541-D46E-4B35-AB90-9DEAD12B463E}"/>
              </c:ext>
            </c:extLst>
          </c:dPt>
          <c:dPt>
            <c:idx val="672"/>
            <c:invertIfNegative val="1"/>
            <c:bubble3D val="0"/>
            <c:spPr>
              <a:solidFill>
                <a:srgbClr val="AEABAB"/>
              </a:solidFill>
            </c:spPr>
            <c:extLst>
              <c:ext xmlns:c16="http://schemas.microsoft.com/office/drawing/2014/chart" uri="{C3380CC4-5D6E-409C-BE32-E72D297353CC}">
                <c16:uniqueId val="{00000543-D46E-4B35-AB90-9DEAD12B463E}"/>
              </c:ext>
            </c:extLst>
          </c:dPt>
          <c:dPt>
            <c:idx val="673"/>
            <c:invertIfNegative val="1"/>
            <c:bubble3D val="0"/>
            <c:spPr>
              <a:solidFill>
                <a:srgbClr val="AEABAB"/>
              </a:solidFill>
            </c:spPr>
            <c:extLst>
              <c:ext xmlns:c16="http://schemas.microsoft.com/office/drawing/2014/chart" uri="{C3380CC4-5D6E-409C-BE32-E72D297353CC}">
                <c16:uniqueId val="{00000545-D46E-4B35-AB90-9DEAD12B463E}"/>
              </c:ext>
            </c:extLst>
          </c:dPt>
          <c:dPt>
            <c:idx val="674"/>
            <c:invertIfNegative val="1"/>
            <c:bubble3D val="0"/>
            <c:spPr>
              <a:solidFill>
                <a:srgbClr val="AEABAB"/>
              </a:solidFill>
            </c:spPr>
            <c:extLst>
              <c:ext xmlns:c16="http://schemas.microsoft.com/office/drawing/2014/chart" uri="{C3380CC4-5D6E-409C-BE32-E72D297353CC}">
                <c16:uniqueId val="{00000547-D46E-4B35-AB90-9DEAD12B463E}"/>
              </c:ext>
            </c:extLst>
          </c:dPt>
          <c:dPt>
            <c:idx val="675"/>
            <c:invertIfNegative val="1"/>
            <c:bubble3D val="0"/>
            <c:spPr>
              <a:solidFill>
                <a:srgbClr val="AEABAB"/>
              </a:solidFill>
            </c:spPr>
            <c:extLst>
              <c:ext xmlns:c16="http://schemas.microsoft.com/office/drawing/2014/chart" uri="{C3380CC4-5D6E-409C-BE32-E72D297353CC}">
                <c16:uniqueId val="{00000549-D46E-4B35-AB90-9DEAD12B463E}"/>
              </c:ext>
            </c:extLst>
          </c:dPt>
          <c:dPt>
            <c:idx val="676"/>
            <c:invertIfNegative val="1"/>
            <c:bubble3D val="0"/>
            <c:spPr>
              <a:solidFill>
                <a:srgbClr val="AEABAB"/>
              </a:solidFill>
            </c:spPr>
            <c:extLst>
              <c:ext xmlns:c16="http://schemas.microsoft.com/office/drawing/2014/chart" uri="{C3380CC4-5D6E-409C-BE32-E72D297353CC}">
                <c16:uniqueId val="{0000054B-D46E-4B35-AB90-9DEAD12B463E}"/>
              </c:ext>
            </c:extLst>
          </c:dPt>
          <c:dPt>
            <c:idx val="677"/>
            <c:invertIfNegative val="1"/>
            <c:bubble3D val="0"/>
            <c:spPr>
              <a:solidFill>
                <a:srgbClr val="AEABAB"/>
              </a:solidFill>
            </c:spPr>
            <c:extLst>
              <c:ext xmlns:c16="http://schemas.microsoft.com/office/drawing/2014/chart" uri="{C3380CC4-5D6E-409C-BE32-E72D297353CC}">
                <c16:uniqueId val="{0000054D-D46E-4B35-AB90-9DEAD12B463E}"/>
              </c:ext>
            </c:extLst>
          </c:dPt>
          <c:dPt>
            <c:idx val="678"/>
            <c:invertIfNegative val="1"/>
            <c:bubble3D val="0"/>
            <c:spPr>
              <a:solidFill>
                <a:srgbClr val="AEABAB"/>
              </a:solidFill>
            </c:spPr>
            <c:extLst>
              <c:ext xmlns:c16="http://schemas.microsoft.com/office/drawing/2014/chart" uri="{C3380CC4-5D6E-409C-BE32-E72D297353CC}">
                <c16:uniqueId val="{0000054F-D46E-4B35-AB90-9DEAD12B463E}"/>
              </c:ext>
            </c:extLst>
          </c:dPt>
          <c:dPt>
            <c:idx val="679"/>
            <c:invertIfNegative val="1"/>
            <c:bubble3D val="0"/>
            <c:spPr>
              <a:solidFill>
                <a:srgbClr val="AEABAB"/>
              </a:solidFill>
            </c:spPr>
            <c:extLst>
              <c:ext xmlns:c16="http://schemas.microsoft.com/office/drawing/2014/chart" uri="{C3380CC4-5D6E-409C-BE32-E72D297353CC}">
                <c16:uniqueId val="{00000551-D46E-4B35-AB90-9DEAD12B463E}"/>
              </c:ext>
            </c:extLst>
          </c:dPt>
          <c:dPt>
            <c:idx val="680"/>
            <c:invertIfNegative val="1"/>
            <c:bubble3D val="0"/>
            <c:spPr>
              <a:solidFill>
                <a:srgbClr val="AEABAB"/>
              </a:solidFill>
            </c:spPr>
            <c:extLst>
              <c:ext xmlns:c16="http://schemas.microsoft.com/office/drawing/2014/chart" uri="{C3380CC4-5D6E-409C-BE32-E72D297353CC}">
                <c16:uniqueId val="{00000553-D46E-4B35-AB90-9DEAD12B463E}"/>
              </c:ext>
            </c:extLst>
          </c:dPt>
          <c:dPt>
            <c:idx val="681"/>
            <c:invertIfNegative val="1"/>
            <c:bubble3D val="0"/>
            <c:spPr>
              <a:solidFill>
                <a:srgbClr val="AEABAB"/>
              </a:solidFill>
            </c:spPr>
            <c:extLst>
              <c:ext xmlns:c16="http://schemas.microsoft.com/office/drawing/2014/chart" uri="{C3380CC4-5D6E-409C-BE32-E72D297353CC}">
                <c16:uniqueId val="{00000555-D46E-4B35-AB90-9DEAD12B463E}"/>
              </c:ext>
            </c:extLst>
          </c:dPt>
          <c:dPt>
            <c:idx val="682"/>
            <c:invertIfNegative val="1"/>
            <c:bubble3D val="0"/>
            <c:spPr>
              <a:solidFill>
                <a:srgbClr val="AEABAB"/>
              </a:solidFill>
            </c:spPr>
            <c:extLst>
              <c:ext xmlns:c16="http://schemas.microsoft.com/office/drawing/2014/chart" uri="{C3380CC4-5D6E-409C-BE32-E72D297353CC}">
                <c16:uniqueId val="{00000557-D46E-4B35-AB90-9DEAD12B463E}"/>
              </c:ext>
            </c:extLst>
          </c:dPt>
          <c:dPt>
            <c:idx val="683"/>
            <c:invertIfNegative val="1"/>
            <c:bubble3D val="0"/>
            <c:spPr>
              <a:solidFill>
                <a:srgbClr val="AEABAB"/>
              </a:solidFill>
            </c:spPr>
            <c:extLst>
              <c:ext xmlns:c16="http://schemas.microsoft.com/office/drawing/2014/chart" uri="{C3380CC4-5D6E-409C-BE32-E72D297353CC}">
                <c16:uniqueId val="{00000559-D46E-4B35-AB90-9DEAD12B463E}"/>
              </c:ext>
            </c:extLst>
          </c:dPt>
          <c:dPt>
            <c:idx val="684"/>
            <c:invertIfNegative val="1"/>
            <c:bubble3D val="0"/>
            <c:spPr>
              <a:solidFill>
                <a:srgbClr val="AEABAB"/>
              </a:solidFill>
            </c:spPr>
            <c:extLst>
              <c:ext xmlns:c16="http://schemas.microsoft.com/office/drawing/2014/chart" uri="{C3380CC4-5D6E-409C-BE32-E72D297353CC}">
                <c16:uniqueId val="{0000055B-D46E-4B35-AB90-9DEAD12B463E}"/>
              </c:ext>
            </c:extLst>
          </c:dPt>
          <c:dPt>
            <c:idx val="685"/>
            <c:invertIfNegative val="1"/>
            <c:bubble3D val="0"/>
            <c:spPr>
              <a:solidFill>
                <a:srgbClr val="AEABAB"/>
              </a:solidFill>
            </c:spPr>
            <c:extLst>
              <c:ext xmlns:c16="http://schemas.microsoft.com/office/drawing/2014/chart" uri="{C3380CC4-5D6E-409C-BE32-E72D297353CC}">
                <c16:uniqueId val="{0000055D-D46E-4B35-AB90-9DEAD12B463E}"/>
              </c:ext>
            </c:extLst>
          </c:dPt>
          <c:dPt>
            <c:idx val="686"/>
            <c:invertIfNegative val="1"/>
            <c:bubble3D val="0"/>
            <c:spPr>
              <a:solidFill>
                <a:srgbClr val="AEABAB"/>
              </a:solidFill>
            </c:spPr>
            <c:extLst>
              <c:ext xmlns:c16="http://schemas.microsoft.com/office/drawing/2014/chart" uri="{C3380CC4-5D6E-409C-BE32-E72D297353CC}">
                <c16:uniqueId val="{0000055F-D46E-4B35-AB90-9DEAD12B463E}"/>
              </c:ext>
            </c:extLst>
          </c:dPt>
          <c:dPt>
            <c:idx val="687"/>
            <c:invertIfNegative val="1"/>
            <c:bubble3D val="0"/>
            <c:spPr>
              <a:solidFill>
                <a:srgbClr val="AEABAB"/>
              </a:solidFill>
            </c:spPr>
            <c:extLst>
              <c:ext xmlns:c16="http://schemas.microsoft.com/office/drawing/2014/chart" uri="{C3380CC4-5D6E-409C-BE32-E72D297353CC}">
                <c16:uniqueId val="{00000561-D46E-4B35-AB90-9DEAD12B463E}"/>
              </c:ext>
            </c:extLst>
          </c:dPt>
          <c:dPt>
            <c:idx val="688"/>
            <c:invertIfNegative val="1"/>
            <c:bubble3D val="0"/>
            <c:spPr>
              <a:solidFill>
                <a:srgbClr val="AEABAB"/>
              </a:solidFill>
            </c:spPr>
            <c:extLst>
              <c:ext xmlns:c16="http://schemas.microsoft.com/office/drawing/2014/chart" uri="{C3380CC4-5D6E-409C-BE32-E72D297353CC}">
                <c16:uniqueId val="{00000563-D46E-4B35-AB90-9DEAD12B463E}"/>
              </c:ext>
            </c:extLst>
          </c:dPt>
          <c:dPt>
            <c:idx val="689"/>
            <c:invertIfNegative val="1"/>
            <c:bubble3D val="0"/>
            <c:spPr>
              <a:solidFill>
                <a:srgbClr val="AEABAB"/>
              </a:solidFill>
            </c:spPr>
            <c:extLst>
              <c:ext xmlns:c16="http://schemas.microsoft.com/office/drawing/2014/chart" uri="{C3380CC4-5D6E-409C-BE32-E72D297353CC}">
                <c16:uniqueId val="{00000565-D46E-4B35-AB90-9DEAD12B463E}"/>
              </c:ext>
            </c:extLst>
          </c:dPt>
          <c:dPt>
            <c:idx val="690"/>
            <c:invertIfNegative val="1"/>
            <c:bubble3D val="0"/>
            <c:spPr>
              <a:solidFill>
                <a:srgbClr val="AEABAB"/>
              </a:solidFill>
            </c:spPr>
            <c:extLst>
              <c:ext xmlns:c16="http://schemas.microsoft.com/office/drawing/2014/chart" uri="{C3380CC4-5D6E-409C-BE32-E72D297353CC}">
                <c16:uniqueId val="{00000567-D46E-4B35-AB90-9DEAD12B463E}"/>
              </c:ext>
            </c:extLst>
          </c:dPt>
          <c:dPt>
            <c:idx val="691"/>
            <c:invertIfNegative val="1"/>
            <c:bubble3D val="0"/>
            <c:spPr>
              <a:solidFill>
                <a:srgbClr val="AEABAB"/>
              </a:solidFill>
            </c:spPr>
            <c:extLst>
              <c:ext xmlns:c16="http://schemas.microsoft.com/office/drawing/2014/chart" uri="{C3380CC4-5D6E-409C-BE32-E72D297353CC}">
                <c16:uniqueId val="{00000569-D46E-4B35-AB90-9DEAD12B463E}"/>
              </c:ext>
            </c:extLst>
          </c:dPt>
          <c:dPt>
            <c:idx val="692"/>
            <c:invertIfNegative val="1"/>
            <c:bubble3D val="0"/>
            <c:spPr>
              <a:solidFill>
                <a:srgbClr val="AEABAB"/>
              </a:solidFill>
            </c:spPr>
            <c:extLst>
              <c:ext xmlns:c16="http://schemas.microsoft.com/office/drawing/2014/chart" uri="{C3380CC4-5D6E-409C-BE32-E72D297353CC}">
                <c16:uniqueId val="{0000056B-D46E-4B35-AB90-9DEAD12B463E}"/>
              </c:ext>
            </c:extLst>
          </c:dPt>
          <c:dPt>
            <c:idx val="693"/>
            <c:invertIfNegative val="1"/>
            <c:bubble3D val="0"/>
            <c:spPr>
              <a:solidFill>
                <a:srgbClr val="AEABAB"/>
              </a:solidFill>
            </c:spPr>
            <c:extLst>
              <c:ext xmlns:c16="http://schemas.microsoft.com/office/drawing/2014/chart" uri="{C3380CC4-5D6E-409C-BE32-E72D297353CC}">
                <c16:uniqueId val="{0000056D-D46E-4B35-AB90-9DEAD12B463E}"/>
              </c:ext>
            </c:extLst>
          </c:dPt>
          <c:dPt>
            <c:idx val="694"/>
            <c:invertIfNegative val="1"/>
            <c:bubble3D val="0"/>
            <c:spPr>
              <a:solidFill>
                <a:srgbClr val="AEABAB"/>
              </a:solidFill>
            </c:spPr>
            <c:extLst>
              <c:ext xmlns:c16="http://schemas.microsoft.com/office/drawing/2014/chart" uri="{C3380CC4-5D6E-409C-BE32-E72D297353CC}">
                <c16:uniqueId val="{0000056F-D46E-4B35-AB90-9DEAD12B463E}"/>
              </c:ext>
            </c:extLst>
          </c:dPt>
          <c:dPt>
            <c:idx val="695"/>
            <c:invertIfNegative val="1"/>
            <c:bubble3D val="0"/>
            <c:spPr>
              <a:solidFill>
                <a:srgbClr val="AEABAB"/>
              </a:solidFill>
            </c:spPr>
            <c:extLst>
              <c:ext xmlns:c16="http://schemas.microsoft.com/office/drawing/2014/chart" uri="{C3380CC4-5D6E-409C-BE32-E72D297353CC}">
                <c16:uniqueId val="{00000571-D46E-4B35-AB90-9DEAD12B463E}"/>
              </c:ext>
            </c:extLst>
          </c:dPt>
          <c:dPt>
            <c:idx val="696"/>
            <c:invertIfNegative val="1"/>
            <c:bubble3D val="0"/>
            <c:spPr>
              <a:solidFill>
                <a:srgbClr val="AEABAB"/>
              </a:solidFill>
            </c:spPr>
            <c:extLst>
              <c:ext xmlns:c16="http://schemas.microsoft.com/office/drawing/2014/chart" uri="{C3380CC4-5D6E-409C-BE32-E72D297353CC}">
                <c16:uniqueId val="{00000573-D46E-4B35-AB90-9DEAD12B463E}"/>
              </c:ext>
            </c:extLst>
          </c:dPt>
          <c:dPt>
            <c:idx val="697"/>
            <c:invertIfNegative val="1"/>
            <c:bubble3D val="0"/>
            <c:spPr>
              <a:solidFill>
                <a:srgbClr val="AEABAB"/>
              </a:solidFill>
            </c:spPr>
            <c:extLst>
              <c:ext xmlns:c16="http://schemas.microsoft.com/office/drawing/2014/chart" uri="{C3380CC4-5D6E-409C-BE32-E72D297353CC}">
                <c16:uniqueId val="{00000575-D46E-4B35-AB90-9DEAD12B463E}"/>
              </c:ext>
            </c:extLst>
          </c:dPt>
          <c:dPt>
            <c:idx val="698"/>
            <c:invertIfNegative val="1"/>
            <c:bubble3D val="0"/>
            <c:spPr>
              <a:solidFill>
                <a:srgbClr val="AEABAB"/>
              </a:solidFill>
            </c:spPr>
            <c:extLst>
              <c:ext xmlns:c16="http://schemas.microsoft.com/office/drawing/2014/chart" uri="{C3380CC4-5D6E-409C-BE32-E72D297353CC}">
                <c16:uniqueId val="{00000577-D46E-4B35-AB90-9DEAD12B463E}"/>
              </c:ext>
            </c:extLst>
          </c:dPt>
          <c:dPt>
            <c:idx val="699"/>
            <c:invertIfNegative val="1"/>
            <c:bubble3D val="0"/>
            <c:spPr>
              <a:solidFill>
                <a:srgbClr val="AEABAB"/>
              </a:solidFill>
            </c:spPr>
            <c:extLst>
              <c:ext xmlns:c16="http://schemas.microsoft.com/office/drawing/2014/chart" uri="{C3380CC4-5D6E-409C-BE32-E72D297353CC}">
                <c16:uniqueId val="{00000579-D46E-4B35-AB90-9DEAD12B463E}"/>
              </c:ext>
            </c:extLst>
          </c:dPt>
          <c:dPt>
            <c:idx val="700"/>
            <c:invertIfNegative val="1"/>
            <c:bubble3D val="0"/>
            <c:spPr>
              <a:solidFill>
                <a:srgbClr val="AEABAB"/>
              </a:solidFill>
            </c:spPr>
            <c:extLst>
              <c:ext xmlns:c16="http://schemas.microsoft.com/office/drawing/2014/chart" uri="{C3380CC4-5D6E-409C-BE32-E72D297353CC}">
                <c16:uniqueId val="{0000057B-D46E-4B35-AB90-9DEAD12B463E}"/>
              </c:ext>
            </c:extLst>
          </c:dPt>
          <c:dPt>
            <c:idx val="701"/>
            <c:invertIfNegative val="1"/>
            <c:bubble3D val="0"/>
            <c:spPr>
              <a:solidFill>
                <a:srgbClr val="AEABAB"/>
              </a:solidFill>
            </c:spPr>
            <c:extLst>
              <c:ext xmlns:c16="http://schemas.microsoft.com/office/drawing/2014/chart" uri="{C3380CC4-5D6E-409C-BE32-E72D297353CC}">
                <c16:uniqueId val="{0000057D-D46E-4B35-AB90-9DEAD12B463E}"/>
              </c:ext>
            </c:extLst>
          </c:dPt>
          <c:dPt>
            <c:idx val="702"/>
            <c:invertIfNegative val="1"/>
            <c:bubble3D val="0"/>
            <c:spPr>
              <a:solidFill>
                <a:srgbClr val="AEABAB"/>
              </a:solidFill>
            </c:spPr>
            <c:extLst>
              <c:ext xmlns:c16="http://schemas.microsoft.com/office/drawing/2014/chart" uri="{C3380CC4-5D6E-409C-BE32-E72D297353CC}">
                <c16:uniqueId val="{0000057F-D46E-4B35-AB90-9DEAD12B463E}"/>
              </c:ext>
            </c:extLst>
          </c:dPt>
          <c:dPt>
            <c:idx val="703"/>
            <c:invertIfNegative val="1"/>
            <c:bubble3D val="0"/>
            <c:spPr>
              <a:solidFill>
                <a:srgbClr val="AEABAB"/>
              </a:solidFill>
            </c:spPr>
            <c:extLst>
              <c:ext xmlns:c16="http://schemas.microsoft.com/office/drawing/2014/chart" uri="{C3380CC4-5D6E-409C-BE32-E72D297353CC}">
                <c16:uniqueId val="{00000581-D46E-4B35-AB90-9DEAD12B463E}"/>
              </c:ext>
            </c:extLst>
          </c:dPt>
          <c:dPt>
            <c:idx val="704"/>
            <c:invertIfNegative val="1"/>
            <c:bubble3D val="0"/>
            <c:spPr>
              <a:solidFill>
                <a:srgbClr val="AEABAB"/>
              </a:solidFill>
            </c:spPr>
            <c:extLst>
              <c:ext xmlns:c16="http://schemas.microsoft.com/office/drawing/2014/chart" uri="{C3380CC4-5D6E-409C-BE32-E72D297353CC}">
                <c16:uniqueId val="{00000583-D46E-4B35-AB90-9DEAD12B463E}"/>
              </c:ext>
            </c:extLst>
          </c:dPt>
          <c:dPt>
            <c:idx val="705"/>
            <c:invertIfNegative val="1"/>
            <c:bubble3D val="0"/>
            <c:spPr>
              <a:solidFill>
                <a:srgbClr val="AEABAB"/>
              </a:solidFill>
            </c:spPr>
            <c:extLst>
              <c:ext xmlns:c16="http://schemas.microsoft.com/office/drawing/2014/chart" uri="{C3380CC4-5D6E-409C-BE32-E72D297353CC}">
                <c16:uniqueId val="{00000585-D46E-4B35-AB90-9DEAD12B463E}"/>
              </c:ext>
            </c:extLst>
          </c:dPt>
          <c:dPt>
            <c:idx val="706"/>
            <c:invertIfNegative val="1"/>
            <c:bubble3D val="0"/>
            <c:spPr>
              <a:solidFill>
                <a:srgbClr val="AEABAB"/>
              </a:solidFill>
            </c:spPr>
            <c:extLst>
              <c:ext xmlns:c16="http://schemas.microsoft.com/office/drawing/2014/chart" uri="{C3380CC4-5D6E-409C-BE32-E72D297353CC}">
                <c16:uniqueId val="{00000587-D46E-4B35-AB90-9DEAD12B463E}"/>
              </c:ext>
            </c:extLst>
          </c:dPt>
          <c:dPt>
            <c:idx val="707"/>
            <c:invertIfNegative val="1"/>
            <c:bubble3D val="0"/>
            <c:spPr>
              <a:solidFill>
                <a:srgbClr val="AEABAB"/>
              </a:solidFill>
            </c:spPr>
            <c:extLst>
              <c:ext xmlns:c16="http://schemas.microsoft.com/office/drawing/2014/chart" uri="{C3380CC4-5D6E-409C-BE32-E72D297353CC}">
                <c16:uniqueId val="{00000589-D46E-4B35-AB90-9DEAD12B463E}"/>
              </c:ext>
            </c:extLst>
          </c:dPt>
          <c:dPt>
            <c:idx val="708"/>
            <c:invertIfNegative val="1"/>
            <c:bubble3D val="0"/>
            <c:spPr>
              <a:solidFill>
                <a:srgbClr val="AEABAB"/>
              </a:solidFill>
            </c:spPr>
            <c:extLst>
              <c:ext xmlns:c16="http://schemas.microsoft.com/office/drawing/2014/chart" uri="{C3380CC4-5D6E-409C-BE32-E72D297353CC}">
                <c16:uniqueId val="{0000058B-D46E-4B35-AB90-9DEAD12B463E}"/>
              </c:ext>
            </c:extLst>
          </c:dPt>
          <c:dPt>
            <c:idx val="709"/>
            <c:invertIfNegative val="1"/>
            <c:bubble3D val="0"/>
            <c:spPr>
              <a:solidFill>
                <a:srgbClr val="AEABAB"/>
              </a:solidFill>
            </c:spPr>
            <c:extLst>
              <c:ext xmlns:c16="http://schemas.microsoft.com/office/drawing/2014/chart" uri="{C3380CC4-5D6E-409C-BE32-E72D297353CC}">
                <c16:uniqueId val="{0000058D-D46E-4B35-AB90-9DEAD12B463E}"/>
              </c:ext>
            </c:extLst>
          </c:dPt>
          <c:dPt>
            <c:idx val="710"/>
            <c:invertIfNegative val="1"/>
            <c:bubble3D val="0"/>
            <c:spPr>
              <a:solidFill>
                <a:srgbClr val="AEABAB"/>
              </a:solidFill>
            </c:spPr>
            <c:extLst>
              <c:ext xmlns:c16="http://schemas.microsoft.com/office/drawing/2014/chart" uri="{C3380CC4-5D6E-409C-BE32-E72D297353CC}">
                <c16:uniqueId val="{0000058F-D46E-4B35-AB90-9DEAD12B463E}"/>
              </c:ext>
            </c:extLst>
          </c:dPt>
          <c:dPt>
            <c:idx val="711"/>
            <c:invertIfNegative val="1"/>
            <c:bubble3D val="0"/>
            <c:spPr>
              <a:solidFill>
                <a:srgbClr val="AEABAB"/>
              </a:solidFill>
            </c:spPr>
            <c:extLst>
              <c:ext xmlns:c16="http://schemas.microsoft.com/office/drawing/2014/chart" uri="{C3380CC4-5D6E-409C-BE32-E72D297353CC}">
                <c16:uniqueId val="{00000591-D46E-4B35-AB90-9DEAD12B463E}"/>
              </c:ext>
            </c:extLst>
          </c:dPt>
          <c:dPt>
            <c:idx val="712"/>
            <c:invertIfNegative val="1"/>
            <c:bubble3D val="0"/>
            <c:spPr>
              <a:solidFill>
                <a:srgbClr val="AEABAB"/>
              </a:solidFill>
            </c:spPr>
            <c:extLst>
              <c:ext xmlns:c16="http://schemas.microsoft.com/office/drawing/2014/chart" uri="{C3380CC4-5D6E-409C-BE32-E72D297353CC}">
                <c16:uniqueId val="{00000593-D46E-4B35-AB90-9DEAD12B463E}"/>
              </c:ext>
            </c:extLst>
          </c:dPt>
          <c:dPt>
            <c:idx val="713"/>
            <c:invertIfNegative val="1"/>
            <c:bubble3D val="0"/>
            <c:spPr>
              <a:solidFill>
                <a:srgbClr val="AEABAB"/>
              </a:solidFill>
            </c:spPr>
            <c:extLst>
              <c:ext xmlns:c16="http://schemas.microsoft.com/office/drawing/2014/chart" uri="{C3380CC4-5D6E-409C-BE32-E72D297353CC}">
                <c16:uniqueId val="{00000595-D46E-4B35-AB90-9DEAD12B463E}"/>
              </c:ext>
            </c:extLst>
          </c:dPt>
          <c:dPt>
            <c:idx val="714"/>
            <c:invertIfNegative val="1"/>
            <c:bubble3D val="0"/>
            <c:spPr>
              <a:solidFill>
                <a:srgbClr val="AEABAB"/>
              </a:solidFill>
            </c:spPr>
            <c:extLst>
              <c:ext xmlns:c16="http://schemas.microsoft.com/office/drawing/2014/chart" uri="{C3380CC4-5D6E-409C-BE32-E72D297353CC}">
                <c16:uniqueId val="{00000597-D46E-4B35-AB90-9DEAD12B463E}"/>
              </c:ext>
            </c:extLst>
          </c:dPt>
          <c:dPt>
            <c:idx val="715"/>
            <c:invertIfNegative val="1"/>
            <c:bubble3D val="0"/>
            <c:spPr>
              <a:solidFill>
                <a:srgbClr val="AEABAB"/>
              </a:solidFill>
            </c:spPr>
            <c:extLst>
              <c:ext xmlns:c16="http://schemas.microsoft.com/office/drawing/2014/chart" uri="{C3380CC4-5D6E-409C-BE32-E72D297353CC}">
                <c16:uniqueId val="{00000599-D46E-4B35-AB90-9DEAD12B463E}"/>
              </c:ext>
            </c:extLst>
          </c:dPt>
          <c:dPt>
            <c:idx val="716"/>
            <c:invertIfNegative val="1"/>
            <c:bubble3D val="0"/>
            <c:spPr>
              <a:solidFill>
                <a:srgbClr val="AEABAB"/>
              </a:solidFill>
            </c:spPr>
            <c:extLst>
              <c:ext xmlns:c16="http://schemas.microsoft.com/office/drawing/2014/chart" uri="{C3380CC4-5D6E-409C-BE32-E72D297353CC}">
                <c16:uniqueId val="{0000059B-D46E-4B35-AB90-9DEAD12B463E}"/>
              </c:ext>
            </c:extLst>
          </c:dPt>
          <c:dPt>
            <c:idx val="717"/>
            <c:invertIfNegative val="1"/>
            <c:bubble3D val="0"/>
            <c:spPr>
              <a:solidFill>
                <a:srgbClr val="AEABAB"/>
              </a:solidFill>
            </c:spPr>
            <c:extLst>
              <c:ext xmlns:c16="http://schemas.microsoft.com/office/drawing/2014/chart" uri="{C3380CC4-5D6E-409C-BE32-E72D297353CC}">
                <c16:uniqueId val="{0000059D-D46E-4B35-AB90-9DEAD12B463E}"/>
              </c:ext>
            </c:extLst>
          </c:dPt>
          <c:dPt>
            <c:idx val="718"/>
            <c:invertIfNegative val="1"/>
            <c:bubble3D val="0"/>
            <c:spPr>
              <a:solidFill>
                <a:srgbClr val="AEABAB"/>
              </a:solidFill>
            </c:spPr>
            <c:extLst>
              <c:ext xmlns:c16="http://schemas.microsoft.com/office/drawing/2014/chart" uri="{C3380CC4-5D6E-409C-BE32-E72D297353CC}">
                <c16:uniqueId val="{0000059F-D46E-4B35-AB90-9DEAD12B463E}"/>
              </c:ext>
            </c:extLst>
          </c:dPt>
          <c:dPt>
            <c:idx val="719"/>
            <c:invertIfNegative val="1"/>
            <c:bubble3D val="0"/>
            <c:spPr>
              <a:solidFill>
                <a:srgbClr val="AEABAB"/>
              </a:solidFill>
            </c:spPr>
            <c:extLst>
              <c:ext xmlns:c16="http://schemas.microsoft.com/office/drawing/2014/chart" uri="{C3380CC4-5D6E-409C-BE32-E72D297353CC}">
                <c16:uniqueId val="{000005A1-D46E-4B35-AB90-9DEAD12B463E}"/>
              </c:ext>
            </c:extLst>
          </c:dPt>
          <c:dPt>
            <c:idx val="720"/>
            <c:invertIfNegative val="1"/>
            <c:bubble3D val="0"/>
            <c:spPr>
              <a:solidFill>
                <a:srgbClr val="AEABAB"/>
              </a:solidFill>
            </c:spPr>
            <c:extLst>
              <c:ext xmlns:c16="http://schemas.microsoft.com/office/drawing/2014/chart" uri="{C3380CC4-5D6E-409C-BE32-E72D297353CC}">
                <c16:uniqueId val="{000005A3-D46E-4B35-AB90-9DEAD12B463E}"/>
              </c:ext>
            </c:extLst>
          </c:dPt>
          <c:dPt>
            <c:idx val="721"/>
            <c:invertIfNegative val="1"/>
            <c:bubble3D val="0"/>
            <c:spPr>
              <a:solidFill>
                <a:srgbClr val="AEABAB"/>
              </a:solidFill>
            </c:spPr>
            <c:extLst>
              <c:ext xmlns:c16="http://schemas.microsoft.com/office/drawing/2014/chart" uri="{C3380CC4-5D6E-409C-BE32-E72D297353CC}">
                <c16:uniqueId val="{000005A5-D46E-4B35-AB90-9DEAD12B463E}"/>
              </c:ext>
            </c:extLst>
          </c:dPt>
          <c:dPt>
            <c:idx val="722"/>
            <c:invertIfNegative val="1"/>
            <c:bubble3D val="0"/>
            <c:spPr>
              <a:solidFill>
                <a:srgbClr val="AEABAB"/>
              </a:solidFill>
            </c:spPr>
            <c:extLst>
              <c:ext xmlns:c16="http://schemas.microsoft.com/office/drawing/2014/chart" uri="{C3380CC4-5D6E-409C-BE32-E72D297353CC}">
                <c16:uniqueId val="{000005A7-D46E-4B35-AB90-9DEAD12B463E}"/>
              </c:ext>
            </c:extLst>
          </c:dPt>
          <c:dPt>
            <c:idx val="723"/>
            <c:invertIfNegative val="1"/>
            <c:bubble3D val="0"/>
            <c:spPr>
              <a:solidFill>
                <a:srgbClr val="AEABAB"/>
              </a:solidFill>
            </c:spPr>
            <c:extLst>
              <c:ext xmlns:c16="http://schemas.microsoft.com/office/drawing/2014/chart" uri="{C3380CC4-5D6E-409C-BE32-E72D297353CC}">
                <c16:uniqueId val="{000005A9-D46E-4B35-AB90-9DEAD12B463E}"/>
              </c:ext>
            </c:extLst>
          </c:dPt>
          <c:dPt>
            <c:idx val="724"/>
            <c:invertIfNegative val="1"/>
            <c:bubble3D val="0"/>
            <c:spPr>
              <a:solidFill>
                <a:srgbClr val="AEABAB"/>
              </a:solidFill>
            </c:spPr>
            <c:extLst>
              <c:ext xmlns:c16="http://schemas.microsoft.com/office/drawing/2014/chart" uri="{C3380CC4-5D6E-409C-BE32-E72D297353CC}">
                <c16:uniqueId val="{000005AB-D46E-4B35-AB90-9DEAD12B463E}"/>
              </c:ext>
            </c:extLst>
          </c:dPt>
          <c:dPt>
            <c:idx val="725"/>
            <c:invertIfNegative val="1"/>
            <c:bubble3D val="0"/>
            <c:spPr>
              <a:solidFill>
                <a:srgbClr val="AEABAB"/>
              </a:solidFill>
            </c:spPr>
            <c:extLst>
              <c:ext xmlns:c16="http://schemas.microsoft.com/office/drawing/2014/chart" uri="{C3380CC4-5D6E-409C-BE32-E72D297353CC}">
                <c16:uniqueId val="{000005AD-D46E-4B35-AB90-9DEAD12B463E}"/>
              </c:ext>
            </c:extLst>
          </c:dPt>
          <c:dPt>
            <c:idx val="726"/>
            <c:invertIfNegative val="1"/>
            <c:bubble3D val="0"/>
            <c:spPr>
              <a:solidFill>
                <a:srgbClr val="AEABAB"/>
              </a:solidFill>
            </c:spPr>
            <c:extLst>
              <c:ext xmlns:c16="http://schemas.microsoft.com/office/drawing/2014/chart" uri="{C3380CC4-5D6E-409C-BE32-E72D297353CC}">
                <c16:uniqueId val="{000005AF-D46E-4B35-AB90-9DEAD12B463E}"/>
              </c:ext>
            </c:extLst>
          </c:dPt>
          <c:dPt>
            <c:idx val="727"/>
            <c:invertIfNegative val="1"/>
            <c:bubble3D val="0"/>
            <c:spPr>
              <a:solidFill>
                <a:srgbClr val="AEABAB"/>
              </a:solidFill>
            </c:spPr>
            <c:extLst>
              <c:ext xmlns:c16="http://schemas.microsoft.com/office/drawing/2014/chart" uri="{C3380CC4-5D6E-409C-BE32-E72D297353CC}">
                <c16:uniqueId val="{000005B1-D46E-4B35-AB90-9DEAD12B463E}"/>
              </c:ext>
            </c:extLst>
          </c:dPt>
          <c:dPt>
            <c:idx val="728"/>
            <c:invertIfNegative val="1"/>
            <c:bubble3D val="0"/>
            <c:spPr>
              <a:solidFill>
                <a:srgbClr val="AEABAB"/>
              </a:solidFill>
            </c:spPr>
            <c:extLst>
              <c:ext xmlns:c16="http://schemas.microsoft.com/office/drawing/2014/chart" uri="{C3380CC4-5D6E-409C-BE32-E72D297353CC}">
                <c16:uniqueId val="{000005B3-D46E-4B35-AB90-9DEAD12B463E}"/>
              </c:ext>
            </c:extLst>
          </c:dPt>
          <c:dPt>
            <c:idx val="729"/>
            <c:invertIfNegative val="1"/>
            <c:bubble3D val="0"/>
            <c:spPr>
              <a:solidFill>
                <a:srgbClr val="AEABAB"/>
              </a:solidFill>
            </c:spPr>
            <c:extLst>
              <c:ext xmlns:c16="http://schemas.microsoft.com/office/drawing/2014/chart" uri="{C3380CC4-5D6E-409C-BE32-E72D297353CC}">
                <c16:uniqueId val="{000005B5-D46E-4B35-AB90-9DEAD12B463E}"/>
              </c:ext>
            </c:extLst>
          </c:dPt>
          <c:dPt>
            <c:idx val="730"/>
            <c:invertIfNegative val="1"/>
            <c:bubble3D val="0"/>
            <c:spPr>
              <a:solidFill>
                <a:srgbClr val="AEABAB"/>
              </a:solidFill>
            </c:spPr>
            <c:extLst>
              <c:ext xmlns:c16="http://schemas.microsoft.com/office/drawing/2014/chart" uri="{C3380CC4-5D6E-409C-BE32-E72D297353CC}">
                <c16:uniqueId val="{000005B7-D46E-4B35-AB90-9DEAD12B463E}"/>
              </c:ext>
            </c:extLst>
          </c:dPt>
          <c:dPt>
            <c:idx val="731"/>
            <c:invertIfNegative val="1"/>
            <c:bubble3D val="0"/>
            <c:spPr>
              <a:solidFill>
                <a:srgbClr val="AEABAB"/>
              </a:solidFill>
            </c:spPr>
            <c:extLst>
              <c:ext xmlns:c16="http://schemas.microsoft.com/office/drawing/2014/chart" uri="{C3380CC4-5D6E-409C-BE32-E72D297353CC}">
                <c16:uniqueId val="{000005B9-D46E-4B35-AB90-9DEAD12B463E}"/>
              </c:ext>
            </c:extLst>
          </c:dPt>
          <c:dPt>
            <c:idx val="732"/>
            <c:invertIfNegative val="1"/>
            <c:bubble3D val="0"/>
            <c:spPr>
              <a:solidFill>
                <a:srgbClr val="AEABAB"/>
              </a:solidFill>
            </c:spPr>
            <c:extLst>
              <c:ext xmlns:c16="http://schemas.microsoft.com/office/drawing/2014/chart" uri="{C3380CC4-5D6E-409C-BE32-E72D297353CC}">
                <c16:uniqueId val="{000005BB-D46E-4B35-AB90-9DEAD12B463E}"/>
              </c:ext>
            </c:extLst>
          </c:dPt>
          <c:dPt>
            <c:idx val="733"/>
            <c:invertIfNegative val="1"/>
            <c:bubble3D val="0"/>
            <c:spPr>
              <a:solidFill>
                <a:srgbClr val="AEABAB"/>
              </a:solidFill>
            </c:spPr>
            <c:extLst>
              <c:ext xmlns:c16="http://schemas.microsoft.com/office/drawing/2014/chart" uri="{C3380CC4-5D6E-409C-BE32-E72D297353CC}">
                <c16:uniqueId val="{000005BD-D46E-4B35-AB90-9DEAD12B463E}"/>
              </c:ext>
            </c:extLst>
          </c:dPt>
          <c:dPt>
            <c:idx val="734"/>
            <c:invertIfNegative val="1"/>
            <c:bubble3D val="0"/>
            <c:spPr>
              <a:solidFill>
                <a:srgbClr val="AEABAB"/>
              </a:solidFill>
            </c:spPr>
            <c:extLst>
              <c:ext xmlns:c16="http://schemas.microsoft.com/office/drawing/2014/chart" uri="{C3380CC4-5D6E-409C-BE32-E72D297353CC}">
                <c16:uniqueId val="{000005BF-D46E-4B35-AB90-9DEAD12B463E}"/>
              </c:ext>
            </c:extLst>
          </c:dPt>
          <c:dPt>
            <c:idx val="735"/>
            <c:invertIfNegative val="1"/>
            <c:bubble3D val="0"/>
            <c:spPr>
              <a:solidFill>
                <a:srgbClr val="AEABAB"/>
              </a:solidFill>
            </c:spPr>
            <c:extLst>
              <c:ext xmlns:c16="http://schemas.microsoft.com/office/drawing/2014/chart" uri="{C3380CC4-5D6E-409C-BE32-E72D297353CC}">
                <c16:uniqueId val="{000005C1-D46E-4B35-AB90-9DEAD12B463E}"/>
              </c:ext>
            </c:extLst>
          </c:dPt>
          <c:dPt>
            <c:idx val="736"/>
            <c:invertIfNegative val="1"/>
            <c:bubble3D val="0"/>
            <c:spPr>
              <a:solidFill>
                <a:srgbClr val="AEABAB"/>
              </a:solidFill>
            </c:spPr>
            <c:extLst>
              <c:ext xmlns:c16="http://schemas.microsoft.com/office/drawing/2014/chart" uri="{C3380CC4-5D6E-409C-BE32-E72D297353CC}">
                <c16:uniqueId val="{000005C3-D46E-4B35-AB90-9DEAD12B463E}"/>
              </c:ext>
            </c:extLst>
          </c:dPt>
          <c:dPt>
            <c:idx val="737"/>
            <c:invertIfNegative val="1"/>
            <c:bubble3D val="0"/>
            <c:spPr>
              <a:solidFill>
                <a:srgbClr val="AEABAB"/>
              </a:solidFill>
            </c:spPr>
            <c:extLst>
              <c:ext xmlns:c16="http://schemas.microsoft.com/office/drawing/2014/chart" uri="{C3380CC4-5D6E-409C-BE32-E72D297353CC}">
                <c16:uniqueId val="{000005C5-D46E-4B35-AB90-9DEAD12B463E}"/>
              </c:ext>
            </c:extLst>
          </c:dPt>
          <c:dPt>
            <c:idx val="738"/>
            <c:invertIfNegative val="1"/>
            <c:bubble3D val="0"/>
            <c:spPr>
              <a:solidFill>
                <a:srgbClr val="AEABAB"/>
              </a:solidFill>
            </c:spPr>
            <c:extLst>
              <c:ext xmlns:c16="http://schemas.microsoft.com/office/drawing/2014/chart" uri="{C3380CC4-5D6E-409C-BE32-E72D297353CC}">
                <c16:uniqueId val="{000005C7-D46E-4B35-AB90-9DEAD12B463E}"/>
              </c:ext>
            </c:extLst>
          </c:dPt>
          <c:dPt>
            <c:idx val="739"/>
            <c:invertIfNegative val="1"/>
            <c:bubble3D val="0"/>
            <c:spPr>
              <a:solidFill>
                <a:srgbClr val="AEABAB"/>
              </a:solidFill>
            </c:spPr>
            <c:extLst>
              <c:ext xmlns:c16="http://schemas.microsoft.com/office/drawing/2014/chart" uri="{C3380CC4-5D6E-409C-BE32-E72D297353CC}">
                <c16:uniqueId val="{000005C9-D46E-4B35-AB90-9DEAD12B463E}"/>
              </c:ext>
            </c:extLst>
          </c:dPt>
          <c:dPt>
            <c:idx val="740"/>
            <c:invertIfNegative val="1"/>
            <c:bubble3D val="0"/>
            <c:spPr>
              <a:solidFill>
                <a:srgbClr val="AEABAB"/>
              </a:solidFill>
            </c:spPr>
            <c:extLst>
              <c:ext xmlns:c16="http://schemas.microsoft.com/office/drawing/2014/chart" uri="{C3380CC4-5D6E-409C-BE32-E72D297353CC}">
                <c16:uniqueId val="{000005CB-D46E-4B35-AB90-9DEAD12B463E}"/>
              </c:ext>
            </c:extLst>
          </c:dPt>
          <c:dPt>
            <c:idx val="741"/>
            <c:invertIfNegative val="1"/>
            <c:bubble3D val="0"/>
            <c:spPr>
              <a:solidFill>
                <a:srgbClr val="AEABAB"/>
              </a:solidFill>
            </c:spPr>
            <c:extLst>
              <c:ext xmlns:c16="http://schemas.microsoft.com/office/drawing/2014/chart" uri="{C3380CC4-5D6E-409C-BE32-E72D297353CC}">
                <c16:uniqueId val="{000005CD-D46E-4B35-AB90-9DEAD12B463E}"/>
              </c:ext>
            </c:extLst>
          </c:dPt>
          <c:dPt>
            <c:idx val="742"/>
            <c:invertIfNegative val="1"/>
            <c:bubble3D val="0"/>
            <c:spPr>
              <a:solidFill>
                <a:srgbClr val="AEABAB"/>
              </a:solidFill>
            </c:spPr>
            <c:extLst>
              <c:ext xmlns:c16="http://schemas.microsoft.com/office/drawing/2014/chart" uri="{C3380CC4-5D6E-409C-BE32-E72D297353CC}">
                <c16:uniqueId val="{000005CF-D46E-4B35-AB90-9DEAD12B463E}"/>
              </c:ext>
            </c:extLst>
          </c:dPt>
          <c:dPt>
            <c:idx val="743"/>
            <c:invertIfNegative val="1"/>
            <c:bubble3D val="0"/>
            <c:spPr>
              <a:solidFill>
                <a:srgbClr val="AEABAB"/>
              </a:solidFill>
            </c:spPr>
            <c:extLst>
              <c:ext xmlns:c16="http://schemas.microsoft.com/office/drawing/2014/chart" uri="{C3380CC4-5D6E-409C-BE32-E72D297353CC}">
                <c16:uniqueId val="{000005D1-D46E-4B35-AB90-9DEAD12B463E}"/>
              </c:ext>
            </c:extLst>
          </c:dPt>
          <c:dPt>
            <c:idx val="744"/>
            <c:invertIfNegative val="1"/>
            <c:bubble3D val="0"/>
            <c:spPr>
              <a:solidFill>
                <a:srgbClr val="AEABAB"/>
              </a:solidFill>
            </c:spPr>
            <c:extLst>
              <c:ext xmlns:c16="http://schemas.microsoft.com/office/drawing/2014/chart" uri="{C3380CC4-5D6E-409C-BE32-E72D297353CC}">
                <c16:uniqueId val="{000005D3-D46E-4B35-AB90-9DEAD12B463E}"/>
              </c:ext>
            </c:extLst>
          </c:dPt>
          <c:dPt>
            <c:idx val="745"/>
            <c:invertIfNegative val="1"/>
            <c:bubble3D val="0"/>
            <c:spPr>
              <a:solidFill>
                <a:srgbClr val="AEABAB"/>
              </a:solidFill>
            </c:spPr>
            <c:extLst>
              <c:ext xmlns:c16="http://schemas.microsoft.com/office/drawing/2014/chart" uri="{C3380CC4-5D6E-409C-BE32-E72D297353CC}">
                <c16:uniqueId val="{000005D5-D46E-4B35-AB90-9DEAD12B463E}"/>
              </c:ext>
            </c:extLst>
          </c:dPt>
          <c:dPt>
            <c:idx val="746"/>
            <c:invertIfNegative val="1"/>
            <c:bubble3D val="0"/>
            <c:spPr>
              <a:solidFill>
                <a:srgbClr val="AEABAB"/>
              </a:solidFill>
            </c:spPr>
            <c:extLst>
              <c:ext xmlns:c16="http://schemas.microsoft.com/office/drawing/2014/chart" uri="{C3380CC4-5D6E-409C-BE32-E72D297353CC}">
                <c16:uniqueId val="{000005D7-D46E-4B35-AB90-9DEAD12B463E}"/>
              </c:ext>
            </c:extLst>
          </c:dPt>
          <c:dPt>
            <c:idx val="747"/>
            <c:invertIfNegative val="1"/>
            <c:bubble3D val="0"/>
            <c:spPr>
              <a:solidFill>
                <a:srgbClr val="AEABAB"/>
              </a:solidFill>
            </c:spPr>
            <c:extLst>
              <c:ext xmlns:c16="http://schemas.microsoft.com/office/drawing/2014/chart" uri="{C3380CC4-5D6E-409C-BE32-E72D297353CC}">
                <c16:uniqueId val="{000005D9-D46E-4B35-AB90-9DEAD12B463E}"/>
              </c:ext>
            </c:extLst>
          </c:dPt>
          <c:dPt>
            <c:idx val="748"/>
            <c:invertIfNegative val="1"/>
            <c:bubble3D val="0"/>
            <c:spPr>
              <a:solidFill>
                <a:srgbClr val="AEABAB"/>
              </a:solidFill>
            </c:spPr>
            <c:extLst>
              <c:ext xmlns:c16="http://schemas.microsoft.com/office/drawing/2014/chart" uri="{C3380CC4-5D6E-409C-BE32-E72D297353CC}">
                <c16:uniqueId val="{000005DB-D46E-4B35-AB90-9DEAD12B463E}"/>
              </c:ext>
            </c:extLst>
          </c:dPt>
          <c:dPt>
            <c:idx val="749"/>
            <c:invertIfNegative val="1"/>
            <c:bubble3D val="0"/>
            <c:spPr>
              <a:solidFill>
                <a:srgbClr val="AEABAB"/>
              </a:solidFill>
            </c:spPr>
            <c:extLst>
              <c:ext xmlns:c16="http://schemas.microsoft.com/office/drawing/2014/chart" uri="{C3380CC4-5D6E-409C-BE32-E72D297353CC}">
                <c16:uniqueId val="{000005DD-D46E-4B35-AB90-9DEAD12B463E}"/>
              </c:ext>
            </c:extLst>
          </c:dPt>
          <c:dPt>
            <c:idx val="750"/>
            <c:invertIfNegative val="1"/>
            <c:bubble3D val="0"/>
            <c:spPr>
              <a:solidFill>
                <a:srgbClr val="AEABAB"/>
              </a:solidFill>
            </c:spPr>
            <c:extLst>
              <c:ext xmlns:c16="http://schemas.microsoft.com/office/drawing/2014/chart" uri="{C3380CC4-5D6E-409C-BE32-E72D297353CC}">
                <c16:uniqueId val="{000005DF-D46E-4B35-AB90-9DEAD12B463E}"/>
              </c:ext>
            </c:extLst>
          </c:dPt>
          <c:dPt>
            <c:idx val="751"/>
            <c:invertIfNegative val="1"/>
            <c:bubble3D val="0"/>
            <c:spPr>
              <a:solidFill>
                <a:srgbClr val="AEABAB"/>
              </a:solidFill>
            </c:spPr>
            <c:extLst>
              <c:ext xmlns:c16="http://schemas.microsoft.com/office/drawing/2014/chart" uri="{C3380CC4-5D6E-409C-BE32-E72D297353CC}">
                <c16:uniqueId val="{000005E1-D46E-4B35-AB90-9DEAD12B463E}"/>
              </c:ext>
            </c:extLst>
          </c:dPt>
          <c:dPt>
            <c:idx val="752"/>
            <c:invertIfNegative val="1"/>
            <c:bubble3D val="0"/>
            <c:spPr>
              <a:solidFill>
                <a:srgbClr val="AEABAB"/>
              </a:solidFill>
            </c:spPr>
            <c:extLst>
              <c:ext xmlns:c16="http://schemas.microsoft.com/office/drawing/2014/chart" uri="{C3380CC4-5D6E-409C-BE32-E72D297353CC}">
                <c16:uniqueId val="{000005E3-D46E-4B35-AB90-9DEAD12B463E}"/>
              </c:ext>
            </c:extLst>
          </c:dPt>
          <c:dPt>
            <c:idx val="753"/>
            <c:invertIfNegative val="1"/>
            <c:bubble3D val="0"/>
            <c:spPr>
              <a:solidFill>
                <a:srgbClr val="AEABAB"/>
              </a:solidFill>
            </c:spPr>
            <c:extLst>
              <c:ext xmlns:c16="http://schemas.microsoft.com/office/drawing/2014/chart" uri="{C3380CC4-5D6E-409C-BE32-E72D297353CC}">
                <c16:uniqueId val="{000005E5-D46E-4B35-AB90-9DEAD12B463E}"/>
              </c:ext>
            </c:extLst>
          </c:dPt>
          <c:dPt>
            <c:idx val="754"/>
            <c:invertIfNegative val="1"/>
            <c:bubble3D val="0"/>
            <c:spPr>
              <a:solidFill>
                <a:srgbClr val="AEABAB"/>
              </a:solidFill>
            </c:spPr>
            <c:extLst>
              <c:ext xmlns:c16="http://schemas.microsoft.com/office/drawing/2014/chart" uri="{C3380CC4-5D6E-409C-BE32-E72D297353CC}">
                <c16:uniqueId val="{000005E7-D46E-4B35-AB90-9DEAD12B463E}"/>
              </c:ext>
            </c:extLst>
          </c:dPt>
          <c:dPt>
            <c:idx val="755"/>
            <c:invertIfNegative val="1"/>
            <c:bubble3D val="0"/>
            <c:spPr>
              <a:solidFill>
                <a:srgbClr val="AEABAB"/>
              </a:solidFill>
            </c:spPr>
            <c:extLst>
              <c:ext xmlns:c16="http://schemas.microsoft.com/office/drawing/2014/chart" uri="{C3380CC4-5D6E-409C-BE32-E72D297353CC}">
                <c16:uniqueId val="{000005E9-D46E-4B35-AB90-9DEAD12B463E}"/>
              </c:ext>
            </c:extLst>
          </c:dPt>
          <c:dPt>
            <c:idx val="756"/>
            <c:invertIfNegative val="1"/>
            <c:bubble3D val="0"/>
            <c:spPr>
              <a:solidFill>
                <a:srgbClr val="AEABAB"/>
              </a:solidFill>
            </c:spPr>
            <c:extLst>
              <c:ext xmlns:c16="http://schemas.microsoft.com/office/drawing/2014/chart" uri="{C3380CC4-5D6E-409C-BE32-E72D297353CC}">
                <c16:uniqueId val="{000005EB-D46E-4B35-AB90-9DEAD12B463E}"/>
              </c:ext>
            </c:extLst>
          </c:dPt>
          <c:dPt>
            <c:idx val="757"/>
            <c:invertIfNegative val="1"/>
            <c:bubble3D val="0"/>
            <c:spPr>
              <a:solidFill>
                <a:srgbClr val="AEABAB"/>
              </a:solidFill>
            </c:spPr>
            <c:extLst>
              <c:ext xmlns:c16="http://schemas.microsoft.com/office/drawing/2014/chart" uri="{C3380CC4-5D6E-409C-BE32-E72D297353CC}">
                <c16:uniqueId val="{000005ED-D46E-4B35-AB90-9DEAD12B463E}"/>
              </c:ext>
            </c:extLst>
          </c:dPt>
          <c:dPt>
            <c:idx val="758"/>
            <c:invertIfNegative val="1"/>
            <c:bubble3D val="0"/>
            <c:spPr>
              <a:solidFill>
                <a:srgbClr val="AEABAB"/>
              </a:solidFill>
            </c:spPr>
            <c:extLst>
              <c:ext xmlns:c16="http://schemas.microsoft.com/office/drawing/2014/chart" uri="{C3380CC4-5D6E-409C-BE32-E72D297353CC}">
                <c16:uniqueId val="{000005EF-D46E-4B35-AB90-9DEAD12B463E}"/>
              </c:ext>
            </c:extLst>
          </c:dPt>
          <c:dPt>
            <c:idx val="759"/>
            <c:invertIfNegative val="1"/>
            <c:bubble3D val="0"/>
            <c:spPr>
              <a:solidFill>
                <a:srgbClr val="AEABAB"/>
              </a:solidFill>
            </c:spPr>
            <c:extLst>
              <c:ext xmlns:c16="http://schemas.microsoft.com/office/drawing/2014/chart" uri="{C3380CC4-5D6E-409C-BE32-E72D297353CC}">
                <c16:uniqueId val="{000005F1-D46E-4B35-AB90-9DEAD12B463E}"/>
              </c:ext>
            </c:extLst>
          </c:dPt>
          <c:dPt>
            <c:idx val="760"/>
            <c:invertIfNegative val="1"/>
            <c:bubble3D val="0"/>
            <c:spPr>
              <a:solidFill>
                <a:srgbClr val="AEABAB"/>
              </a:solidFill>
            </c:spPr>
            <c:extLst>
              <c:ext xmlns:c16="http://schemas.microsoft.com/office/drawing/2014/chart" uri="{C3380CC4-5D6E-409C-BE32-E72D297353CC}">
                <c16:uniqueId val="{000005F3-D46E-4B35-AB90-9DEAD12B463E}"/>
              </c:ext>
            </c:extLst>
          </c:dPt>
          <c:dPt>
            <c:idx val="761"/>
            <c:invertIfNegative val="1"/>
            <c:bubble3D val="0"/>
            <c:spPr>
              <a:solidFill>
                <a:srgbClr val="AEABAB"/>
              </a:solidFill>
            </c:spPr>
            <c:extLst>
              <c:ext xmlns:c16="http://schemas.microsoft.com/office/drawing/2014/chart" uri="{C3380CC4-5D6E-409C-BE32-E72D297353CC}">
                <c16:uniqueId val="{000005F5-D46E-4B35-AB90-9DEAD12B463E}"/>
              </c:ext>
            </c:extLst>
          </c:dPt>
          <c:dPt>
            <c:idx val="762"/>
            <c:invertIfNegative val="1"/>
            <c:bubble3D val="0"/>
            <c:spPr>
              <a:solidFill>
                <a:srgbClr val="AEABAB"/>
              </a:solidFill>
            </c:spPr>
            <c:extLst>
              <c:ext xmlns:c16="http://schemas.microsoft.com/office/drawing/2014/chart" uri="{C3380CC4-5D6E-409C-BE32-E72D297353CC}">
                <c16:uniqueId val="{000005F7-D46E-4B35-AB90-9DEAD12B463E}"/>
              </c:ext>
            </c:extLst>
          </c:dPt>
          <c:dPt>
            <c:idx val="763"/>
            <c:invertIfNegative val="1"/>
            <c:bubble3D val="0"/>
            <c:spPr>
              <a:solidFill>
                <a:srgbClr val="AEABAB"/>
              </a:solidFill>
            </c:spPr>
            <c:extLst>
              <c:ext xmlns:c16="http://schemas.microsoft.com/office/drawing/2014/chart" uri="{C3380CC4-5D6E-409C-BE32-E72D297353CC}">
                <c16:uniqueId val="{000005F9-D46E-4B35-AB90-9DEAD12B463E}"/>
              </c:ext>
            </c:extLst>
          </c:dPt>
          <c:dPt>
            <c:idx val="764"/>
            <c:invertIfNegative val="1"/>
            <c:bubble3D val="0"/>
            <c:spPr>
              <a:solidFill>
                <a:srgbClr val="AEABAB"/>
              </a:solidFill>
            </c:spPr>
            <c:extLst>
              <c:ext xmlns:c16="http://schemas.microsoft.com/office/drawing/2014/chart" uri="{C3380CC4-5D6E-409C-BE32-E72D297353CC}">
                <c16:uniqueId val="{000005FB-D46E-4B35-AB90-9DEAD12B463E}"/>
              </c:ext>
            </c:extLst>
          </c:dPt>
          <c:dPt>
            <c:idx val="765"/>
            <c:invertIfNegative val="1"/>
            <c:bubble3D val="0"/>
            <c:spPr>
              <a:solidFill>
                <a:srgbClr val="AEABAB"/>
              </a:solidFill>
            </c:spPr>
            <c:extLst>
              <c:ext xmlns:c16="http://schemas.microsoft.com/office/drawing/2014/chart" uri="{C3380CC4-5D6E-409C-BE32-E72D297353CC}">
                <c16:uniqueId val="{000005FD-D46E-4B35-AB90-9DEAD12B463E}"/>
              </c:ext>
            </c:extLst>
          </c:dPt>
          <c:dPt>
            <c:idx val="766"/>
            <c:invertIfNegative val="1"/>
            <c:bubble3D val="0"/>
            <c:spPr>
              <a:solidFill>
                <a:srgbClr val="AEABAB"/>
              </a:solidFill>
            </c:spPr>
            <c:extLst>
              <c:ext xmlns:c16="http://schemas.microsoft.com/office/drawing/2014/chart" uri="{C3380CC4-5D6E-409C-BE32-E72D297353CC}">
                <c16:uniqueId val="{000005FF-D46E-4B35-AB90-9DEAD12B463E}"/>
              </c:ext>
            </c:extLst>
          </c:dPt>
          <c:dPt>
            <c:idx val="767"/>
            <c:invertIfNegative val="1"/>
            <c:bubble3D val="0"/>
            <c:spPr>
              <a:solidFill>
                <a:srgbClr val="AEABAB"/>
              </a:solidFill>
            </c:spPr>
            <c:extLst>
              <c:ext xmlns:c16="http://schemas.microsoft.com/office/drawing/2014/chart" uri="{C3380CC4-5D6E-409C-BE32-E72D297353CC}">
                <c16:uniqueId val="{00000601-D46E-4B35-AB90-9DEAD12B463E}"/>
              </c:ext>
            </c:extLst>
          </c:dPt>
          <c:dPt>
            <c:idx val="768"/>
            <c:invertIfNegative val="1"/>
            <c:bubble3D val="0"/>
            <c:spPr>
              <a:solidFill>
                <a:srgbClr val="AEABAB"/>
              </a:solidFill>
            </c:spPr>
            <c:extLst>
              <c:ext xmlns:c16="http://schemas.microsoft.com/office/drawing/2014/chart" uri="{C3380CC4-5D6E-409C-BE32-E72D297353CC}">
                <c16:uniqueId val="{00000603-D46E-4B35-AB90-9DEAD12B463E}"/>
              </c:ext>
            </c:extLst>
          </c:dPt>
          <c:dPt>
            <c:idx val="769"/>
            <c:invertIfNegative val="1"/>
            <c:bubble3D val="0"/>
            <c:spPr>
              <a:solidFill>
                <a:srgbClr val="AEABAB"/>
              </a:solidFill>
            </c:spPr>
            <c:extLst>
              <c:ext xmlns:c16="http://schemas.microsoft.com/office/drawing/2014/chart" uri="{C3380CC4-5D6E-409C-BE32-E72D297353CC}">
                <c16:uniqueId val="{00000605-D46E-4B35-AB90-9DEAD12B463E}"/>
              </c:ext>
            </c:extLst>
          </c:dPt>
          <c:dPt>
            <c:idx val="770"/>
            <c:invertIfNegative val="1"/>
            <c:bubble3D val="0"/>
            <c:spPr>
              <a:solidFill>
                <a:srgbClr val="AEABAB"/>
              </a:solidFill>
            </c:spPr>
            <c:extLst>
              <c:ext xmlns:c16="http://schemas.microsoft.com/office/drawing/2014/chart" uri="{C3380CC4-5D6E-409C-BE32-E72D297353CC}">
                <c16:uniqueId val="{00000607-D46E-4B35-AB90-9DEAD12B463E}"/>
              </c:ext>
            </c:extLst>
          </c:dPt>
          <c:dPt>
            <c:idx val="771"/>
            <c:invertIfNegative val="1"/>
            <c:bubble3D val="0"/>
            <c:spPr>
              <a:solidFill>
                <a:srgbClr val="AEABAB"/>
              </a:solidFill>
            </c:spPr>
            <c:extLst>
              <c:ext xmlns:c16="http://schemas.microsoft.com/office/drawing/2014/chart" uri="{C3380CC4-5D6E-409C-BE32-E72D297353CC}">
                <c16:uniqueId val="{00000609-D46E-4B35-AB90-9DEAD12B463E}"/>
              </c:ext>
            </c:extLst>
          </c:dPt>
          <c:dPt>
            <c:idx val="772"/>
            <c:invertIfNegative val="1"/>
            <c:bubble3D val="0"/>
            <c:spPr>
              <a:solidFill>
                <a:srgbClr val="AEABAB"/>
              </a:solidFill>
            </c:spPr>
            <c:extLst>
              <c:ext xmlns:c16="http://schemas.microsoft.com/office/drawing/2014/chart" uri="{C3380CC4-5D6E-409C-BE32-E72D297353CC}">
                <c16:uniqueId val="{0000060B-D46E-4B35-AB90-9DEAD12B463E}"/>
              </c:ext>
            </c:extLst>
          </c:dPt>
          <c:dPt>
            <c:idx val="773"/>
            <c:invertIfNegative val="1"/>
            <c:bubble3D val="0"/>
            <c:spPr>
              <a:solidFill>
                <a:srgbClr val="AEABAB"/>
              </a:solidFill>
            </c:spPr>
            <c:extLst>
              <c:ext xmlns:c16="http://schemas.microsoft.com/office/drawing/2014/chart" uri="{C3380CC4-5D6E-409C-BE32-E72D297353CC}">
                <c16:uniqueId val="{0000060D-D46E-4B35-AB90-9DEAD12B463E}"/>
              </c:ext>
            </c:extLst>
          </c:dPt>
          <c:dPt>
            <c:idx val="774"/>
            <c:invertIfNegative val="1"/>
            <c:bubble3D val="0"/>
            <c:spPr>
              <a:solidFill>
                <a:srgbClr val="AEABAB"/>
              </a:solidFill>
            </c:spPr>
            <c:extLst>
              <c:ext xmlns:c16="http://schemas.microsoft.com/office/drawing/2014/chart" uri="{C3380CC4-5D6E-409C-BE32-E72D297353CC}">
                <c16:uniqueId val="{0000060F-D46E-4B35-AB90-9DEAD12B463E}"/>
              </c:ext>
            </c:extLst>
          </c:dPt>
          <c:dPt>
            <c:idx val="775"/>
            <c:invertIfNegative val="1"/>
            <c:bubble3D val="0"/>
            <c:spPr>
              <a:solidFill>
                <a:srgbClr val="AEABAB"/>
              </a:solidFill>
            </c:spPr>
            <c:extLst>
              <c:ext xmlns:c16="http://schemas.microsoft.com/office/drawing/2014/chart" uri="{C3380CC4-5D6E-409C-BE32-E72D297353CC}">
                <c16:uniqueId val="{00000611-D46E-4B35-AB90-9DEAD12B463E}"/>
              </c:ext>
            </c:extLst>
          </c:dPt>
          <c:dPt>
            <c:idx val="776"/>
            <c:invertIfNegative val="1"/>
            <c:bubble3D val="0"/>
            <c:spPr>
              <a:solidFill>
                <a:srgbClr val="AEABAB"/>
              </a:solidFill>
            </c:spPr>
            <c:extLst>
              <c:ext xmlns:c16="http://schemas.microsoft.com/office/drawing/2014/chart" uri="{C3380CC4-5D6E-409C-BE32-E72D297353CC}">
                <c16:uniqueId val="{00000613-D46E-4B35-AB90-9DEAD12B463E}"/>
              </c:ext>
            </c:extLst>
          </c:dPt>
          <c:dPt>
            <c:idx val="777"/>
            <c:invertIfNegative val="1"/>
            <c:bubble3D val="0"/>
            <c:spPr>
              <a:solidFill>
                <a:srgbClr val="AEABAB"/>
              </a:solidFill>
            </c:spPr>
            <c:extLst>
              <c:ext xmlns:c16="http://schemas.microsoft.com/office/drawing/2014/chart" uri="{C3380CC4-5D6E-409C-BE32-E72D297353CC}">
                <c16:uniqueId val="{00000615-D46E-4B35-AB90-9DEAD12B463E}"/>
              </c:ext>
            </c:extLst>
          </c:dPt>
          <c:dPt>
            <c:idx val="778"/>
            <c:invertIfNegative val="1"/>
            <c:bubble3D val="0"/>
            <c:spPr>
              <a:solidFill>
                <a:srgbClr val="AEABAB"/>
              </a:solidFill>
            </c:spPr>
            <c:extLst>
              <c:ext xmlns:c16="http://schemas.microsoft.com/office/drawing/2014/chart" uri="{C3380CC4-5D6E-409C-BE32-E72D297353CC}">
                <c16:uniqueId val="{00000617-D46E-4B35-AB90-9DEAD12B463E}"/>
              </c:ext>
            </c:extLst>
          </c:dPt>
          <c:dPt>
            <c:idx val="779"/>
            <c:invertIfNegative val="1"/>
            <c:bubble3D val="0"/>
            <c:spPr>
              <a:solidFill>
                <a:srgbClr val="AEABAB"/>
              </a:solidFill>
            </c:spPr>
            <c:extLst>
              <c:ext xmlns:c16="http://schemas.microsoft.com/office/drawing/2014/chart" uri="{C3380CC4-5D6E-409C-BE32-E72D297353CC}">
                <c16:uniqueId val="{00000619-D46E-4B35-AB90-9DEAD12B463E}"/>
              </c:ext>
            </c:extLst>
          </c:dPt>
          <c:dPt>
            <c:idx val="780"/>
            <c:invertIfNegative val="1"/>
            <c:bubble3D val="0"/>
            <c:spPr>
              <a:solidFill>
                <a:srgbClr val="AEABAB"/>
              </a:solidFill>
            </c:spPr>
            <c:extLst>
              <c:ext xmlns:c16="http://schemas.microsoft.com/office/drawing/2014/chart" uri="{C3380CC4-5D6E-409C-BE32-E72D297353CC}">
                <c16:uniqueId val="{0000061B-D46E-4B35-AB90-9DEAD12B463E}"/>
              </c:ext>
            </c:extLst>
          </c:dPt>
          <c:dPt>
            <c:idx val="781"/>
            <c:invertIfNegative val="1"/>
            <c:bubble3D val="0"/>
            <c:spPr>
              <a:solidFill>
                <a:srgbClr val="AEABAB"/>
              </a:solidFill>
            </c:spPr>
            <c:extLst>
              <c:ext xmlns:c16="http://schemas.microsoft.com/office/drawing/2014/chart" uri="{C3380CC4-5D6E-409C-BE32-E72D297353CC}">
                <c16:uniqueId val="{0000061D-D46E-4B35-AB90-9DEAD12B463E}"/>
              </c:ext>
            </c:extLst>
          </c:dPt>
          <c:dPt>
            <c:idx val="782"/>
            <c:invertIfNegative val="1"/>
            <c:bubble3D val="0"/>
            <c:spPr>
              <a:solidFill>
                <a:srgbClr val="AEABAB"/>
              </a:solidFill>
            </c:spPr>
            <c:extLst>
              <c:ext xmlns:c16="http://schemas.microsoft.com/office/drawing/2014/chart" uri="{C3380CC4-5D6E-409C-BE32-E72D297353CC}">
                <c16:uniqueId val="{0000061F-D46E-4B35-AB90-9DEAD12B463E}"/>
              </c:ext>
            </c:extLst>
          </c:dPt>
          <c:dPt>
            <c:idx val="783"/>
            <c:invertIfNegative val="1"/>
            <c:bubble3D val="0"/>
            <c:spPr>
              <a:solidFill>
                <a:srgbClr val="AEABAB"/>
              </a:solidFill>
            </c:spPr>
            <c:extLst>
              <c:ext xmlns:c16="http://schemas.microsoft.com/office/drawing/2014/chart" uri="{C3380CC4-5D6E-409C-BE32-E72D297353CC}">
                <c16:uniqueId val="{00000621-D46E-4B35-AB90-9DEAD12B463E}"/>
              </c:ext>
            </c:extLst>
          </c:dPt>
          <c:dPt>
            <c:idx val="784"/>
            <c:invertIfNegative val="1"/>
            <c:bubble3D val="0"/>
            <c:spPr>
              <a:solidFill>
                <a:srgbClr val="AEABAB"/>
              </a:solidFill>
            </c:spPr>
            <c:extLst>
              <c:ext xmlns:c16="http://schemas.microsoft.com/office/drawing/2014/chart" uri="{C3380CC4-5D6E-409C-BE32-E72D297353CC}">
                <c16:uniqueId val="{00000623-D46E-4B35-AB90-9DEAD12B463E}"/>
              </c:ext>
            </c:extLst>
          </c:dPt>
          <c:dPt>
            <c:idx val="785"/>
            <c:invertIfNegative val="1"/>
            <c:bubble3D val="0"/>
            <c:spPr>
              <a:solidFill>
                <a:srgbClr val="AEABAB"/>
              </a:solidFill>
            </c:spPr>
            <c:extLst>
              <c:ext xmlns:c16="http://schemas.microsoft.com/office/drawing/2014/chart" uri="{C3380CC4-5D6E-409C-BE32-E72D297353CC}">
                <c16:uniqueId val="{00000625-D46E-4B35-AB90-9DEAD12B463E}"/>
              </c:ext>
            </c:extLst>
          </c:dPt>
          <c:dPt>
            <c:idx val="786"/>
            <c:invertIfNegative val="1"/>
            <c:bubble3D val="0"/>
            <c:spPr>
              <a:solidFill>
                <a:srgbClr val="AEABAB"/>
              </a:solidFill>
            </c:spPr>
            <c:extLst>
              <c:ext xmlns:c16="http://schemas.microsoft.com/office/drawing/2014/chart" uri="{C3380CC4-5D6E-409C-BE32-E72D297353CC}">
                <c16:uniqueId val="{00000627-D46E-4B35-AB90-9DEAD12B463E}"/>
              </c:ext>
            </c:extLst>
          </c:dPt>
          <c:dPt>
            <c:idx val="787"/>
            <c:invertIfNegative val="1"/>
            <c:bubble3D val="0"/>
            <c:spPr>
              <a:solidFill>
                <a:srgbClr val="AEABAB"/>
              </a:solidFill>
            </c:spPr>
            <c:extLst>
              <c:ext xmlns:c16="http://schemas.microsoft.com/office/drawing/2014/chart" uri="{C3380CC4-5D6E-409C-BE32-E72D297353CC}">
                <c16:uniqueId val="{00000629-D46E-4B35-AB90-9DEAD12B463E}"/>
              </c:ext>
            </c:extLst>
          </c:dPt>
          <c:dPt>
            <c:idx val="788"/>
            <c:invertIfNegative val="1"/>
            <c:bubble3D val="0"/>
            <c:spPr>
              <a:solidFill>
                <a:srgbClr val="AEABAB"/>
              </a:solidFill>
            </c:spPr>
            <c:extLst>
              <c:ext xmlns:c16="http://schemas.microsoft.com/office/drawing/2014/chart" uri="{C3380CC4-5D6E-409C-BE32-E72D297353CC}">
                <c16:uniqueId val="{0000062B-D46E-4B35-AB90-9DEAD12B463E}"/>
              </c:ext>
            </c:extLst>
          </c:dPt>
          <c:dPt>
            <c:idx val="789"/>
            <c:invertIfNegative val="1"/>
            <c:bubble3D val="0"/>
            <c:spPr>
              <a:solidFill>
                <a:srgbClr val="AEABAB"/>
              </a:solidFill>
            </c:spPr>
            <c:extLst>
              <c:ext xmlns:c16="http://schemas.microsoft.com/office/drawing/2014/chart" uri="{C3380CC4-5D6E-409C-BE32-E72D297353CC}">
                <c16:uniqueId val="{0000062D-D46E-4B35-AB90-9DEAD12B463E}"/>
              </c:ext>
            </c:extLst>
          </c:dPt>
          <c:dPt>
            <c:idx val="790"/>
            <c:invertIfNegative val="1"/>
            <c:bubble3D val="0"/>
            <c:spPr>
              <a:solidFill>
                <a:srgbClr val="AEABAB"/>
              </a:solidFill>
            </c:spPr>
            <c:extLst>
              <c:ext xmlns:c16="http://schemas.microsoft.com/office/drawing/2014/chart" uri="{C3380CC4-5D6E-409C-BE32-E72D297353CC}">
                <c16:uniqueId val="{0000062F-D46E-4B35-AB90-9DEAD12B463E}"/>
              </c:ext>
            </c:extLst>
          </c:dPt>
          <c:dPt>
            <c:idx val="791"/>
            <c:invertIfNegative val="1"/>
            <c:bubble3D val="0"/>
            <c:spPr>
              <a:solidFill>
                <a:srgbClr val="AEABAB"/>
              </a:solidFill>
            </c:spPr>
            <c:extLst>
              <c:ext xmlns:c16="http://schemas.microsoft.com/office/drawing/2014/chart" uri="{C3380CC4-5D6E-409C-BE32-E72D297353CC}">
                <c16:uniqueId val="{00000631-D46E-4B35-AB90-9DEAD12B463E}"/>
              </c:ext>
            </c:extLst>
          </c:dPt>
          <c:dPt>
            <c:idx val="792"/>
            <c:invertIfNegative val="1"/>
            <c:bubble3D val="0"/>
            <c:spPr>
              <a:solidFill>
                <a:srgbClr val="AEABAB"/>
              </a:solidFill>
            </c:spPr>
            <c:extLst>
              <c:ext xmlns:c16="http://schemas.microsoft.com/office/drawing/2014/chart" uri="{C3380CC4-5D6E-409C-BE32-E72D297353CC}">
                <c16:uniqueId val="{00000633-D46E-4B35-AB90-9DEAD12B463E}"/>
              </c:ext>
            </c:extLst>
          </c:dPt>
          <c:dPt>
            <c:idx val="793"/>
            <c:invertIfNegative val="1"/>
            <c:bubble3D val="0"/>
            <c:spPr>
              <a:solidFill>
                <a:srgbClr val="AEABAB"/>
              </a:solidFill>
            </c:spPr>
            <c:extLst>
              <c:ext xmlns:c16="http://schemas.microsoft.com/office/drawing/2014/chart" uri="{C3380CC4-5D6E-409C-BE32-E72D297353CC}">
                <c16:uniqueId val="{00000635-D46E-4B35-AB90-9DEAD12B463E}"/>
              </c:ext>
            </c:extLst>
          </c:dPt>
          <c:dPt>
            <c:idx val="794"/>
            <c:invertIfNegative val="1"/>
            <c:bubble3D val="0"/>
            <c:spPr>
              <a:solidFill>
                <a:srgbClr val="AEABAB"/>
              </a:solidFill>
            </c:spPr>
            <c:extLst>
              <c:ext xmlns:c16="http://schemas.microsoft.com/office/drawing/2014/chart" uri="{C3380CC4-5D6E-409C-BE32-E72D297353CC}">
                <c16:uniqueId val="{00000637-D46E-4B35-AB90-9DEAD12B463E}"/>
              </c:ext>
            </c:extLst>
          </c:dPt>
          <c:dPt>
            <c:idx val="795"/>
            <c:invertIfNegative val="1"/>
            <c:bubble3D val="0"/>
            <c:spPr>
              <a:solidFill>
                <a:srgbClr val="AEABAB"/>
              </a:solidFill>
            </c:spPr>
            <c:extLst>
              <c:ext xmlns:c16="http://schemas.microsoft.com/office/drawing/2014/chart" uri="{C3380CC4-5D6E-409C-BE32-E72D297353CC}">
                <c16:uniqueId val="{00000639-D46E-4B35-AB90-9DEAD12B463E}"/>
              </c:ext>
            </c:extLst>
          </c:dPt>
          <c:dPt>
            <c:idx val="796"/>
            <c:invertIfNegative val="1"/>
            <c:bubble3D val="0"/>
            <c:spPr>
              <a:solidFill>
                <a:srgbClr val="AEABAB"/>
              </a:solidFill>
            </c:spPr>
            <c:extLst>
              <c:ext xmlns:c16="http://schemas.microsoft.com/office/drawing/2014/chart" uri="{C3380CC4-5D6E-409C-BE32-E72D297353CC}">
                <c16:uniqueId val="{0000063B-D46E-4B35-AB90-9DEAD12B463E}"/>
              </c:ext>
            </c:extLst>
          </c:dPt>
          <c:dPt>
            <c:idx val="797"/>
            <c:invertIfNegative val="1"/>
            <c:bubble3D val="0"/>
            <c:spPr>
              <a:solidFill>
                <a:srgbClr val="AEABAB"/>
              </a:solidFill>
            </c:spPr>
            <c:extLst>
              <c:ext xmlns:c16="http://schemas.microsoft.com/office/drawing/2014/chart" uri="{C3380CC4-5D6E-409C-BE32-E72D297353CC}">
                <c16:uniqueId val="{0000063D-D46E-4B35-AB90-9DEAD12B463E}"/>
              </c:ext>
            </c:extLst>
          </c:dPt>
          <c:dPt>
            <c:idx val="798"/>
            <c:invertIfNegative val="1"/>
            <c:bubble3D val="0"/>
            <c:spPr>
              <a:solidFill>
                <a:srgbClr val="AEABAB"/>
              </a:solidFill>
            </c:spPr>
            <c:extLst>
              <c:ext xmlns:c16="http://schemas.microsoft.com/office/drawing/2014/chart" uri="{C3380CC4-5D6E-409C-BE32-E72D297353CC}">
                <c16:uniqueId val="{0000063F-D46E-4B35-AB90-9DEAD12B463E}"/>
              </c:ext>
            </c:extLst>
          </c:dPt>
          <c:dPt>
            <c:idx val="799"/>
            <c:invertIfNegative val="1"/>
            <c:bubble3D val="0"/>
            <c:spPr>
              <a:solidFill>
                <a:srgbClr val="AEABAB"/>
              </a:solidFill>
            </c:spPr>
            <c:extLst>
              <c:ext xmlns:c16="http://schemas.microsoft.com/office/drawing/2014/chart" uri="{C3380CC4-5D6E-409C-BE32-E72D297353CC}">
                <c16:uniqueId val="{00000641-D46E-4B35-AB90-9DEAD12B463E}"/>
              </c:ext>
            </c:extLst>
          </c:dPt>
          <c:dPt>
            <c:idx val="800"/>
            <c:invertIfNegative val="1"/>
            <c:bubble3D val="0"/>
            <c:spPr>
              <a:solidFill>
                <a:srgbClr val="AEABAB"/>
              </a:solidFill>
            </c:spPr>
            <c:extLst>
              <c:ext xmlns:c16="http://schemas.microsoft.com/office/drawing/2014/chart" uri="{C3380CC4-5D6E-409C-BE32-E72D297353CC}">
                <c16:uniqueId val="{00000643-D46E-4B35-AB90-9DEAD12B463E}"/>
              </c:ext>
            </c:extLst>
          </c:dPt>
          <c:dPt>
            <c:idx val="801"/>
            <c:invertIfNegative val="1"/>
            <c:bubble3D val="0"/>
            <c:spPr>
              <a:solidFill>
                <a:srgbClr val="AEABAB"/>
              </a:solidFill>
            </c:spPr>
            <c:extLst>
              <c:ext xmlns:c16="http://schemas.microsoft.com/office/drawing/2014/chart" uri="{C3380CC4-5D6E-409C-BE32-E72D297353CC}">
                <c16:uniqueId val="{00000645-D46E-4B35-AB90-9DEAD12B463E}"/>
              </c:ext>
            </c:extLst>
          </c:dPt>
          <c:dPt>
            <c:idx val="802"/>
            <c:invertIfNegative val="1"/>
            <c:bubble3D val="0"/>
            <c:spPr>
              <a:solidFill>
                <a:srgbClr val="AEABAB"/>
              </a:solidFill>
            </c:spPr>
            <c:extLst>
              <c:ext xmlns:c16="http://schemas.microsoft.com/office/drawing/2014/chart" uri="{C3380CC4-5D6E-409C-BE32-E72D297353CC}">
                <c16:uniqueId val="{00000647-D46E-4B35-AB90-9DEAD12B463E}"/>
              </c:ext>
            </c:extLst>
          </c:dPt>
          <c:dPt>
            <c:idx val="803"/>
            <c:invertIfNegative val="1"/>
            <c:bubble3D val="0"/>
            <c:spPr>
              <a:solidFill>
                <a:srgbClr val="AEABAB"/>
              </a:solidFill>
            </c:spPr>
            <c:extLst>
              <c:ext xmlns:c16="http://schemas.microsoft.com/office/drawing/2014/chart" uri="{C3380CC4-5D6E-409C-BE32-E72D297353CC}">
                <c16:uniqueId val="{00000649-D46E-4B35-AB90-9DEAD12B463E}"/>
              </c:ext>
            </c:extLst>
          </c:dPt>
          <c:dPt>
            <c:idx val="804"/>
            <c:invertIfNegative val="1"/>
            <c:bubble3D val="0"/>
            <c:spPr>
              <a:solidFill>
                <a:srgbClr val="AEABAB"/>
              </a:solidFill>
            </c:spPr>
            <c:extLst>
              <c:ext xmlns:c16="http://schemas.microsoft.com/office/drawing/2014/chart" uri="{C3380CC4-5D6E-409C-BE32-E72D297353CC}">
                <c16:uniqueId val="{0000064B-D46E-4B35-AB90-9DEAD12B463E}"/>
              </c:ext>
            </c:extLst>
          </c:dPt>
          <c:dPt>
            <c:idx val="805"/>
            <c:invertIfNegative val="1"/>
            <c:bubble3D val="0"/>
            <c:spPr>
              <a:solidFill>
                <a:srgbClr val="AEABAB"/>
              </a:solidFill>
            </c:spPr>
            <c:extLst>
              <c:ext xmlns:c16="http://schemas.microsoft.com/office/drawing/2014/chart" uri="{C3380CC4-5D6E-409C-BE32-E72D297353CC}">
                <c16:uniqueId val="{0000064D-D46E-4B35-AB90-9DEAD12B463E}"/>
              </c:ext>
            </c:extLst>
          </c:dPt>
          <c:dPt>
            <c:idx val="806"/>
            <c:invertIfNegative val="1"/>
            <c:bubble3D val="0"/>
            <c:spPr>
              <a:solidFill>
                <a:srgbClr val="AEABAB"/>
              </a:solidFill>
            </c:spPr>
            <c:extLst>
              <c:ext xmlns:c16="http://schemas.microsoft.com/office/drawing/2014/chart" uri="{C3380CC4-5D6E-409C-BE32-E72D297353CC}">
                <c16:uniqueId val="{0000064F-D46E-4B35-AB90-9DEAD12B463E}"/>
              </c:ext>
            </c:extLst>
          </c:dPt>
          <c:dPt>
            <c:idx val="807"/>
            <c:invertIfNegative val="1"/>
            <c:bubble3D val="0"/>
            <c:spPr>
              <a:solidFill>
                <a:srgbClr val="AEABAB"/>
              </a:solidFill>
            </c:spPr>
            <c:extLst>
              <c:ext xmlns:c16="http://schemas.microsoft.com/office/drawing/2014/chart" uri="{C3380CC4-5D6E-409C-BE32-E72D297353CC}">
                <c16:uniqueId val="{00000651-D46E-4B35-AB90-9DEAD12B463E}"/>
              </c:ext>
            </c:extLst>
          </c:dPt>
          <c:dPt>
            <c:idx val="808"/>
            <c:invertIfNegative val="1"/>
            <c:bubble3D val="0"/>
            <c:spPr>
              <a:solidFill>
                <a:srgbClr val="AEABAB"/>
              </a:solidFill>
            </c:spPr>
            <c:extLst>
              <c:ext xmlns:c16="http://schemas.microsoft.com/office/drawing/2014/chart" uri="{C3380CC4-5D6E-409C-BE32-E72D297353CC}">
                <c16:uniqueId val="{00000653-D46E-4B35-AB90-9DEAD12B463E}"/>
              </c:ext>
            </c:extLst>
          </c:dPt>
          <c:dPt>
            <c:idx val="809"/>
            <c:invertIfNegative val="1"/>
            <c:bubble3D val="0"/>
            <c:spPr>
              <a:solidFill>
                <a:srgbClr val="AEABAB"/>
              </a:solidFill>
            </c:spPr>
            <c:extLst>
              <c:ext xmlns:c16="http://schemas.microsoft.com/office/drawing/2014/chart" uri="{C3380CC4-5D6E-409C-BE32-E72D297353CC}">
                <c16:uniqueId val="{00000655-D46E-4B35-AB90-9DEAD12B463E}"/>
              </c:ext>
            </c:extLst>
          </c:dPt>
          <c:dPt>
            <c:idx val="810"/>
            <c:invertIfNegative val="1"/>
            <c:bubble3D val="0"/>
            <c:spPr>
              <a:solidFill>
                <a:srgbClr val="AEABAB"/>
              </a:solidFill>
            </c:spPr>
            <c:extLst>
              <c:ext xmlns:c16="http://schemas.microsoft.com/office/drawing/2014/chart" uri="{C3380CC4-5D6E-409C-BE32-E72D297353CC}">
                <c16:uniqueId val="{00000657-D46E-4B35-AB90-9DEAD12B463E}"/>
              </c:ext>
            </c:extLst>
          </c:dPt>
          <c:dPt>
            <c:idx val="811"/>
            <c:invertIfNegative val="1"/>
            <c:bubble3D val="0"/>
            <c:spPr>
              <a:solidFill>
                <a:srgbClr val="AEABAB"/>
              </a:solidFill>
            </c:spPr>
            <c:extLst>
              <c:ext xmlns:c16="http://schemas.microsoft.com/office/drawing/2014/chart" uri="{C3380CC4-5D6E-409C-BE32-E72D297353CC}">
                <c16:uniqueId val="{00000659-D46E-4B35-AB90-9DEAD12B463E}"/>
              </c:ext>
            </c:extLst>
          </c:dPt>
          <c:dPt>
            <c:idx val="812"/>
            <c:invertIfNegative val="1"/>
            <c:bubble3D val="0"/>
            <c:spPr>
              <a:solidFill>
                <a:srgbClr val="AEABAB"/>
              </a:solidFill>
            </c:spPr>
            <c:extLst>
              <c:ext xmlns:c16="http://schemas.microsoft.com/office/drawing/2014/chart" uri="{C3380CC4-5D6E-409C-BE32-E72D297353CC}">
                <c16:uniqueId val="{0000065B-D46E-4B35-AB90-9DEAD12B463E}"/>
              </c:ext>
            </c:extLst>
          </c:dPt>
          <c:dPt>
            <c:idx val="813"/>
            <c:invertIfNegative val="1"/>
            <c:bubble3D val="0"/>
            <c:spPr>
              <a:solidFill>
                <a:srgbClr val="AEABAB"/>
              </a:solidFill>
            </c:spPr>
            <c:extLst>
              <c:ext xmlns:c16="http://schemas.microsoft.com/office/drawing/2014/chart" uri="{C3380CC4-5D6E-409C-BE32-E72D297353CC}">
                <c16:uniqueId val="{0000065D-D46E-4B35-AB90-9DEAD12B463E}"/>
              </c:ext>
            </c:extLst>
          </c:dPt>
          <c:dPt>
            <c:idx val="814"/>
            <c:invertIfNegative val="1"/>
            <c:bubble3D val="0"/>
            <c:spPr>
              <a:solidFill>
                <a:srgbClr val="AEABAB"/>
              </a:solidFill>
            </c:spPr>
            <c:extLst>
              <c:ext xmlns:c16="http://schemas.microsoft.com/office/drawing/2014/chart" uri="{C3380CC4-5D6E-409C-BE32-E72D297353CC}">
                <c16:uniqueId val="{0000065F-D46E-4B35-AB90-9DEAD12B463E}"/>
              </c:ext>
            </c:extLst>
          </c:dPt>
          <c:dPt>
            <c:idx val="815"/>
            <c:invertIfNegative val="1"/>
            <c:bubble3D val="0"/>
            <c:spPr>
              <a:solidFill>
                <a:srgbClr val="AEABAB"/>
              </a:solidFill>
            </c:spPr>
            <c:extLst>
              <c:ext xmlns:c16="http://schemas.microsoft.com/office/drawing/2014/chart" uri="{C3380CC4-5D6E-409C-BE32-E72D297353CC}">
                <c16:uniqueId val="{00000661-D46E-4B35-AB90-9DEAD12B463E}"/>
              </c:ext>
            </c:extLst>
          </c:dPt>
          <c:dPt>
            <c:idx val="816"/>
            <c:invertIfNegative val="1"/>
            <c:bubble3D val="0"/>
            <c:spPr>
              <a:solidFill>
                <a:srgbClr val="AEABAB"/>
              </a:solidFill>
            </c:spPr>
            <c:extLst>
              <c:ext xmlns:c16="http://schemas.microsoft.com/office/drawing/2014/chart" uri="{C3380CC4-5D6E-409C-BE32-E72D297353CC}">
                <c16:uniqueId val="{00000663-D46E-4B35-AB90-9DEAD12B463E}"/>
              </c:ext>
            </c:extLst>
          </c:dPt>
          <c:dPt>
            <c:idx val="817"/>
            <c:invertIfNegative val="1"/>
            <c:bubble3D val="0"/>
            <c:spPr>
              <a:solidFill>
                <a:srgbClr val="AEABAB"/>
              </a:solidFill>
            </c:spPr>
            <c:extLst>
              <c:ext xmlns:c16="http://schemas.microsoft.com/office/drawing/2014/chart" uri="{C3380CC4-5D6E-409C-BE32-E72D297353CC}">
                <c16:uniqueId val="{00000665-D46E-4B35-AB90-9DEAD12B463E}"/>
              </c:ext>
            </c:extLst>
          </c:dPt>
          <c:dPt>
            <c:idx val="818"/>
            <c:invertIfNegative val="1"/>
            <c:bubble3D val="0"/>
            <c:spPr>
              <a:solidFill>
                <a:srgbClr val="AEABAB"/>
              </a:solidFill>
            </c:spPr>
            <c:extLst>
              <c:ext xmlns:c16="http://schemas.microsoft.com/office/drawing/2014/chart" uri="{C3380CC4-5D6E-409C-BE32-E72D297353CC}">
                <c16:uniqueId val="{00000667-D46E-4B35-AB90-9DEAD12B463E}"/>
              </c:ext>
            </c:extLst>
          </c:dPt>
          <c:dPt>
            <c:idx val="819"/>
            <c:invertIfNegative val="1"/>
            <c:bubble3D val="0"/>
            <c:spPr>
              <a:solidFill>
                <a:srgbClr val="AEABAB"/>
              </a:solidFill>
            </c:spPr>
            <c:extLst>
              <c:ext xmlns:c16="http://schemas.microsoft.com/office/drawing/2014/chart" uri="{C3380CC4-5D6E-409C-BE32-E72D297353CC}">
                <c16:uniqueId val="{00000669-D46E-4B35-AB90-9DEAD12B463E}"/>
              </c:ext>
            </c:extLst>
          </c:dPt>
          <c:dPt>
            <c:idx val="820"/>
            <c:invertIfNegative val="1"/>
            <c:bubble3D val="0"/>
            <c:spPr>
              <a:solidFill>
                <a:srgbClr val="AEABAB"/>
              </a:solidFill>
            </c:spPr>
            <c:extLst>
              <c:ext xmlns:c16="http://schemas.microsoft.com/office/drawing/2014/chart" uri="{C3380CC4-5D6E-409C-BE32-E72D297353CC}">
                <c16:uniqueId val="{0000066B-D46E-4B35-AB90-9DEAD12B463E}"/>
              </c:ext>
            </c:extLst>
          </c:dPt>
          <c:dPt>
            <c:idx val="821"/>
            <c:invertIfNegative val="1"/>
            <c:bubble3D val="0"/>
            <c:spPr>
              <a:solidFill>
                <a:srgbClr val="AEABAB"/>
              </a:solidFill>
            </c:spPr>
            <c:extLst>
              <c:ext xmlns:c16="http://schemas.microsoft.com/office/drawing/2014/chart" uri="{C3380CC4-5D6E-409C-BE32-E72D297353CC}">
                <c16:uniqueId val="{0000066D-D46E-4B35-AB90-9DEAD12B463E}"/>
              </c:ext>
            </c:extLst>
          </c:dPt>
          <c:dPt>
            <c:idx val="822"/>
            <c:invertIfNegative val="1"/>
            <c:bubble3D val="0"/>
            <c:spPr>
              <a:solidFill>
                <a:srgbClr val="AEABAB"/>
              </a:solidFill>
            </c:spPr>
            <c:extLst>
              <c:ext xmlns:c16="http://schemas.microsoft.com/office/drawing/2014/chart" uri="{C3380CC4-5D6E-409C-BE32-E72D297353CC}">
                <c16:uniqueId val="{0000066F-D46E-4B35-AB90-9DEAD12B463E}"/>
              </c:ext>
            </c:extLst>
          </c:dPt>
          <c:dPt>
            <c:idx val="823"/>
            <c:invertIfNegative val="1"/>
            <c:bubble3D val="0"/>
            <c:spPr>
              <a:solidFill>
                <a:srgbClr val="AEABAB"/>
              </a:solidFill>
            </c:spPr>
            <c:extLst>
              <c:ext xmlns:c16="http://schemas.microsoft.com/office/drawing/2014/chart" uri="{C3380CC4-5D6E-409C-BE32-E72D297353CC}">
                <c16:uniqueId val="{00000671-D46E-4B35-AB90-9DEAD12B463E}"/>
              </c:ext>
            </c:extLst>
          </c:dPt>
          <c:dPt>
            <c:idx val="824"/>
            <c:invertIfNegative val="1"/>
            <c:bubble3D val="0"/>
            <c:spPr>
              <a:solidFill>
                <a:srgbClr val="AEABAB"/>
              </a:solidFill>
            </c:spPr>
            <c:extLst>
              <c:ext xmlns:c16="http://schemas.microsoft.com/office/drawing/2014/chart" uri="{C3380CC4-5D6E-409C-BE32-E72D297353CC}">
                <c16:uniqueId val="{00000673-D46E-4B35-AB90-9DEAD12B463E}"/>
              </c:ext>
            </c:extLst>
          </c:dPt>
          <c:dPt>
            <c:idx val="825"/>
            <c:invertIfNegative val="1"/>
            <c:bubble3D val="0"/>
            <c:spPr>
              <a:solidFill>
                <a:srgbClr val="AEABAB"/>
              </a:solidFill>
            </c:spPr>
            <c:extLst>
              <c:ext xmlns:c16="http://schemas.microsoft.com/office/drawing/2014/chart" uri="{C3380CC4-5D6E-409C-BE32-E72D297353CC}">
                <c16:uniqueId val="{00000675-D46E-4B35-AB90-9DEAD12B463E}"/>
              </c:ext>
            </c:extLst>
          </c:dPt>
          <c:dPt>
            <c:idx val="826"/>
            <c:invertIfNegative val="1"/>
            <c:bubble3D val="0"/>
            <c:spPr>
              <a:solidFill>
                <a:srgbClr val="AEABAB"/>
              </a:solidFill>
            </c:spPr>
            <c:extLst>
              <c:ext xmlns:c16="http://schemas.microsoft.com/office/drawing/2014/chart" uri="{C3380CC4-5D6E-409C-BE32-E72D297353CC}">
                <c16:uniqueId val="{00000677-D46E-4B35-AB90-9DEAD12B463E}"/>
              </c:ext>
            </c:extLst>
          </c:dPt>
          <c:dPt>
            <c:idx val="827"/>
            <c:invertIfNegative val="1"/>
            <c:bubble3D val="0"/>
            <c:spPr>
              <a:solidFill>
                <a:srgbClr val="AEABAB"/>
              </a:solidFill>
            </c:spPr>
            <c:extLst>
              <c:ext xmlns:c16="http://schemas.microsoft.com/office/drawing/2014/chart" uri="{C3380CC4-5D6E-409C-BE32-E72D297353CC}">
                <c16:uniqueId val="{00000679-D46E-4B35-AB90-9DEAD12B463E}"/>
              </c:ext>
            </c:extLst>
          </c:dPt>
          <c:dPt>
            <c:idx val="828"/>
            <c:invertIfNegative val="1"/>
            <c:bubble3D val="0"/>
            <c:spPr>
              <a:solidFill>
                <a:srgbClr val="AEABAB"/>
              </a:solidFill>
            </c:spPr>
            <c:extLst>
              <c:ext xmlns:c16="http://schemas.microsoft.com/office/drawing/2014/chart" uri="{C3380CC4-5D6E-409C-BE32-E72D297353CC}">
                <c16:uniqueId val="{0000067B-D46E-4B35-AB90-9DEAD12B463E}"/>
              </c:ext>
            </c:extLst>
          </c:dPt>
          <c:dPt>
            <c:idx val="829"/>
            <c:invertIfNegative val="1"/>
            <c:bubble3D val="0"/>
            <c:spPr>
              <a:solidFill>
                <a:srgbClr val="AEABAB"/>
              </a:solidFill>
            </c:spPr>
            <c:extLst>
              <c:ext xmlns:c16="http://schemas.microsoft.com/office/drawing/2014/chart" uri="{C3380CC4-5D6E-409C-BE32-E72D297353CC}">
                <c16:uniqueId val="{0000067D-D46E-4B35-AB90-9DEAD12B463E}"/>
              </c:ext>
            </c:extLst>
          </c:dPt>
          <c:dPt>
            <c:idx val="830"/>
            <c:invertIfNegative val="1"/>
            <c:bubble3D val="0"/>
            <c:spPr>
              <a:solidFill>
                <a:srgbClr val="AEABAB"/>
              </a:solidFill>
            </c:spPr>
            <c:extLst>
              <c:ext xmlns:c16="http://schemas.microsoft.com/office/drawing/2014/chart" uri="{C3380CC4-5D6E-409C-BE32-E72D297353CC}">
                <c16:uniqueId val="{0000067F-D46E-4B35-AB90-9DEAD12B463E}"/>
              </c:ext>
            </c:extLst>
          </c:dPt>
          <c:dPt>
            <c:idx val="831"/>
            <c:invertIfNegative val="1"/>
            <c:bubble3D val="0"/>
            <c:spPr>
              <a:solidFill>
                <a:srgbClr val="AEABAB"/>
              </a:solidFill>
            </c:spPr>
            <c:extLst>
              <c:ext xmlns:c16="http://schemas.microsoft.com/office/drawing/2014/chart" uri="{C3380CC4-5D6E-409C-BE32-E72D297353CC}">
                <c16:uniqueId val="{00000681-D46E-4B35-AB90-9DEAD12B463E}"/>
              </c:ext>
            </c:extLst>
          </c:dPt>
          <c:dPt>
            <c:idx val="832"/>
            <c:invertIfNegative val="1"/>
            <c:bubble3D val="0"/>
            <c:spPr>
              <a:solidFill>
                <a:srgbClr val="AEABAB"/>
              </a:solidFill>
            </c:spPr>
            <c:extLst>
              <c:ext xmlns:c16="http://schemas.microsoft.com/office/drawing/2014/chart" uri="{C3380CC4-5D6E-409C-BE32-E72D297353CC}">
                <c16:uniqueId val="{00000683-D46E-4B35-AB90-9DEAD12B463E}"/>
              </c:ext>
            </c:extLst>
          </c:dPt>
          <c:dPt>
            <c:idx val="833"/>
            <c:invertIfNegative val="1"/>
            <c:bubble3D val="0"/>
            <c:spPr>
              <a:solidFill>
                <a:srgbClr val="AEABAB"/>
              </a:solidFill>
            </c:spPr>
            <c:extLst>
              <c:ext xmlns:c16="http://schemas.microsoft.com/office/drawing/2014/chart" uri="{C3380CC4-5D6E-409C-BE32-E72D297353CC}">
                <c16:uniqueId val="{00000685-D46E-4B35-AB90-9DEAD12B463E}"/>
              </c:ext>
            </c:extLst>
          </c:dPt>
          <c:dPt>
            <c:idx val="834"/>
            <c:invertIfNegative val="1"/>
            <c:bubble3D val="0"/>
            <c:spPr>
              <a:solidFill>
                <a:srgbClr val="AEABAB"/>
              </a:solidFill>
            </c:spPr>
            <c:extLst>
              <c:ext xmlns:c16="http://schemas.microsoft.com/office/drawing/2014/chart" uri="{C3380CC4-5D6E-409C-BE32-E72D297353CC}">
                <c16:uniqueId val="{00000687-D46E-4B35-AB90-9DEAD12B463E}"/>
              </c:ext>
            </c:extLst>
          </c:dPt>
          <c:dPt>
            <c:idx val="835"/>
            <c:invertIfNegative val="1"/>
            <c:bubble3D val="0"/>
            <c:spPr>
              <a:solidFill>
                <a:srgbClr val="AEABAB"/>
              </a:solidFill>
            </c:spPr>
            <c:extLst>
              <c:ext xmlns:c16="http://schemas.microsoft.com/office/drawing/2014/chart" uri="{C3380CC4-5D6E-409C-BE32-E72D297353CC}">
                <c16:uniqueId val="{00000689-D46E-4B35-AB90-9DEAD12B463E}"/>
              </c:ext>
            </c:extLst>
          </c:dPt>
          <c:dPt>
            <c:idx val="836"/>
            <c:invertIfNegative val="1"/>
            <c:bubble3D val="0"/>
            <c:spPr>
              <a:solidFill>
                <a:srgbClr val="AEABAB"/>
              </a:solidFill>
            </c:spPr>
            <c:extLst>
              <c:ext xmlns:c16="http://schemas.microsoft.com/office/drawing/2014/chart" uri="{C3380CC4-5D6E-409C-BE32-E72D297353CC}">
                <c16:uniqueId val="{0000068B-D46E-4B35-AB90-9DEAD12B463E}"/>
              </c:ext>
            </c:extLst>
          </c:dPt>
          <c:dPt>
            <c:idx val="837"/>
            <c:invertIfNegative val="1"/>
            <c:bubble3D val="0"/>
            <c:spPr>
              <a:solidFill>
                <a:srgbClr val="AEABAB"/>
              </a:solidFill>
            </c:spPr>
            <c:extLst>
              <c:ext xmlns:c16="http://schemas.microsoft.com/office/drawing/2014/chart" uri="{C3380CC4-5D6E-409C-BE32-E72D297353CC}">
                <c16:uniqueId val="{0000068D-D46E-4B35-AB90-9DEAD12B463E}"/>
              </c:ext>
            </c:extLst>
          </c:dPt>
          <c:dPt>
            <c:idx val="838"/>
            <c:invertIfNegative val="1"/>
            <c:bubble3D val="0"/>
            <c:spPr>
              <a:solidFill>
                <a:srgbClr val="AEABAB"/>
              </a:solidFill>
            </c:spPr>
            <c:extLst>
              <c:ext xmlns:c16="http://schemas.microsoft.com/office/drawing/2014/chart" uri="{C3380CC4-5D6E-409C-BE32-E72D297353CC}">
                <c16:uniqueId val="{0000068F-D46E-4B35-AB90-9DEAD12B463E}"/>
              </c:ext>
            </c:extLst>
          </c:dPt>
          <c:dPt>
            <c:idx val="839"/>
            <c:invertIfNegative val="1"/>
            <c:bubble3D val="0"/>
            <c:spPr>
              <a:solidFill>
                <a:srgbClr val="AEABAB"/>
              </a:solidFill>
            </c:spPr>
            <c:extLst>
              <c:ext xmlns:c16="http://schemas.microsoft.com/office/drawing/2014/chart" uri="{C3380CC4-5D6E-409C-BE32-E72D297353CC}">
                <c16:uniqueId val="{00000691-D46E-4B35-AB90-9DEAD12B463E}"/>
              </c:ext>
            </c:extLst>
          </c:dPt>
          <c:dPt>
            <c:idx val="840"/>
            <c:invertIfNegative val="1"/>
            <c:bubble3D val="0"/>
            <c:spPr>
              <a:solidFill>
                <a:srgbClr val="AEABAB"/>
              </a:solidFill>
            </c:spPr>
            <c:extLst>
              <c:ext xmlns:c16="http://schemas.microsoft.com/office/drawing/2014/chart" uri="{C3380CC4-5D6E-409C-BE32-E72D297353CC}">
                <c16:uniqueId val="{00000693-D46E-4B35-AB90-9DEAD12B463E}"/>
              </c:ext>
            </c:extLst>
          </c:dPt>
          <c:dPt>
            <c:idx val="841"/>
            <c:invertIfNegative val="1"/>
            <c:bubble3D val="0"/>
            <c:spPr>
              <a:solidFill>
                <a:srgbClr val="AEABAB"/>
              </a:solidFill>
            </c:spPr>
            <c:extLst>
              <c:ext xmlns:c16="http://schemas.microsoft.com/office/drawing/2014/chart" uri="{C3380CC4-5D6E-409C-BE32-E72D297353CC}">
                <c16:uniqueId val="{00000695-D46E-4B35-AB90-9DEAD12B463E}"/>
              </c:ext>
            </c:extLst>
          </c:dPt>
          <c:dPt>
            <c:idx val="842"/>
            <c:invertIfNegative val="1"/>
            <c:bubble3D val="0"/>
            <c:spPr>
              <a:solidFill>
                <a:srgbClr val="AEABAB"/>
              </a:solidFill>
            </c:spPr>
            <c:extLst>
              <c:ext xmlns:c16="http://schemas.microsoft.com/office/drawing/2014/chart" uri="{C3380CC4-5D6E-409C-BE32-E72D297353CC}">
                <c16:uniqueId val="{00000697-D46E-4B35-AB90-9DEAD12B463E}"/>
              </c:ext>
            </c:extLst>
          </c:dPt>
          <c:dPt>
            <c:idx val="843"/>
            <c:invertIfNegative val="1"/>
            <c:bubble3D val="0"/>
            <c:spPr>
              <a:solidFill>
                <a:srgbClr val="AEABAB"/>
              </a:solidFill>
            </c:spPr>
            <c:extLst>
              <c:ext xmlns:c16="http://schemas.microsoft.com/office/drawing/2014/chart" uri="{C3380CC4-5D6E-409C-BE32-E72D297353CC}">
                <c16:uniqueId val="{00000699-D46E-4B35-AB90-9DEAD12B463E}"/>
              </c:ext>
            </c:extLst>
          </c:dPt>
          <c:dPt>
            <c:idx val="844"/>
            <c:invertIfNegative val="1"/>
            <c:bubble3D val="0"/>
            <c:spPr>
              <a:solidFill>
                <a:srgbClr val="AEABAB"/>
              </a:solidFill>
            </c:spPr>
            <c:extLst>
              <c:ext xmlns:c16="http://schemas.microsoft.com/office/drawing/2014/chart" uri="{C3380CC4-5D6E-409C-BE32-E72D297353CC}">
                <c16:uniqueId val="{0000069B-D46E-4B35-AB90-9DEAD12B463E}"/>
              </c:ext>
            </c:extLst>
          </c:dPt>
          <c:dPt>
            <c:idx val="845"/>
            <c:invertIfNegative val="1"/>
            <c:bubble3D val="0"/>
            <c:spPr>
              <a:solidFill>
                <a:srgbClr val="AEABAB"/>
              </a:solidFill>
            </c:spPr>
            <c:extLst>
              <c:ext xmlns:c16="http://schemas.microsoft.com/office/drawing/2014/chart" uri="{C3380CC4-5D6E-409C-BE32-E72D297353CC}">
                <c16:uniqueId val="{0000069D-D46E-4B35-AB90-9DEAD12B463E}"/>
              </c:ext>
            </c:extLst>
          </c:dPt>
          <c:dPt>
            <c:idx val="846"/>
            <c:invertIfNegative val="1"/>
            <c:bubble3D val="0"/>
            <c:spPr>
              <a:solidFill>
                <a:srgbClr val="AEABAB"/>
              </a:solidFill>
            </c:spPr>
            <c:extLst>
              <c:ext xmlns:c16="http://schemas.microsoft.com/office/drawing/2014/chart" uri="{C3380CC4-5D6E-409C-BE32-E72D297353CC}">
                <c16:uniqueId val="{0000069F-D46E-4B35-AB90-9DEAD12B463E}"/>
              </c:ext>
            </c:extLst>
          </c:dPt>
          <c:dPt>
            <c:idx val="847"/>
            <c:invertIfNegative val="1"/>
            <c:bubble3D val="0"/>
            <c:spPr>
              <a:solidFill>
                <a:srgbClr val="AEABAB"/>
              </a:solidFill>
            </c:spPr>
            <c:extLst>
              <c:ext xmlns:c16="http://schemas.microsoft.com/office/drawing/2014/chart" uri="{C3380CC4-5D6E-409C-BE32-E72D297353CC}">
                <c16:uniqueId val="{000006A1-D46E-4B35-AB90-9DEAD12B463E}"/>
              </c:ext>
            </c:extLst>
          </c:dPt>
          <c:dPt>
            <c:idx val="848"/>
            <c:invertIfNegative val="1"/>
            <c:bubble3D val="0"/>
            <c:spPr>
              <a:solidFill>
                <a:srgbClr val="AEABAB"/>
              </a:solidFill>
            </c:spPr>
            <c:extLst>
              <c:ext xmlns:c16="http://schemas.microsoft.com/office/drawing/2014/chart" uri="{C3380CC4-5D6E-409C-BE32-E72D297353CC}">
                <c16:uniqueId val="{000006A3-D46E-4B35-AB90-9DEAD12B463E}"/>
              </c:ext>
            </c:extLst>
          </c:dPt>
          <c:dPt>
            <c:idx val="849"/>
            <c:invertIfNegative val="1"/>
            <c:bubble3D val="0"/>
            <c:spPr>
              <a:solidFill>
                <a:srgbClr val="AEABAB"/>
              </a:solidFill>
            </c:spPr>
            <c:extLst>
              <c:ext xmlns:c16="http://schemas.microsoft.com/office/drawing/2014/chart" uri="{C3380CC4-5D6E-409C-BE32-E72D297353CC}">
                <c16:uniqueId val="{000006A5-D46E-4B35-AB90-9DEAD12B463E}"/>
              </c:ext>
            </c:extLst>
          </c:dPt>
          <c:dPt>
            <c:idx val="850"/>
            <c:invertIfNegative val="1"/>
            <c:bubble3D val="0"/>
            <c:spPr>
              <a:solidFill>
                <a:srgbClr val="AEABAB"/>
              </a:solidFill>
            </c:spPr>
            <c:extLst>
              <c:ext xmlns:c16="http://schemas.microsoft.com/office/drawing/2014/chart" uri="{C3380CC4-5D6E-409C-BE32-E72D297353CC}">
                <c16:uniqueId val="{000006A7-D46E-4B35-AB90-9DEAD12B463E}"/>
              </c:ext>
            </c:extLst>
          </c:dPt>
          <c:dPt>
            <c:idx val="851"/>
            <c:invertIfNegative val="1"/>
            <c:bubble3D val="0"/>
            <c:spPr>
              <a:solidFill>
                <a:srgbClr val="AEABAB"/>
              </a:solidFill>
            </c:spPr>
            <c:extLst>
              <c:ext xmlns:c16="http://schemas.microsoft.com/office/drawing/2014/chart" uri="{C3380CC4-5D6E-409C-BE32-E72D297353CC}">
                <c16:uniqueId val="{000006A9-D46E-4B35-AB90-9DEAD12B463E}"/>
              </c:ext>
            </c:extLst>
          </c:dPt>
          <c:dPt>
            <c:idx val="852"/>
            <c:invertIfNegative val="1"/>
            <c:bubble3D val="0"/>
            <c:spPr>
              <a:solidFill>
                <a:srgbClr val="AEABAB"/>
              </a:solidFill>
            </c:spPr>
            <c:extLst>
              <c:ext xmlns:c16="http://schemas.microsoft.com/office/drawing/2014/chart" uri="{C3380CC4-5D6E-409C-BE32-E72D297353CC}">
                <c16:uniqueId val="{000006AB-D46E-4B35-AB90-9DEAD12B463E}"/>
              </c:ext>
            </c:extLst>
          </c:dPt>
          <c:dPt>
            <c:idx val="853"/>
            <c:invertIfNegative val="1"/>
            <c:bubble3D val="0"/>
            <c:spPr>
              <a:solidFill>
                <a:srgbClr val="AEABAB"/>
              </a:solidFill>
            </c:spPr>
            <c:extLst>
              <c:ext xmlns:c16="http://schemas.microsoft.com/office/drawing/2014/chart" uri="{C3380CC4-5D6E-409C-BE32-E72D297353CC}">
                <c16:uniqueId val="{000006AD-D46E-4B35-AB90-9DEAD12B463E}"/>
              </c:ext>
            </c:extLst>
          </c:dPt>
          <c:dPt>
            <c:idx val="854"/>
            <c:invertIfNegative val="1"/>
            <c:bubble3D val="0"/>
            <c:spPr>
              <a:solidFill>
                <a:srgbClr val="AEABAB"/>
              </a:solidFill>
            </c:spPr>
            <c:extLst>
              <c:ext xmlns:c16="http://schemas.microsoft.com/office/drawing/2014/chart" uri="{C3380CC4-5D6E-409C-BE32-E72D297353CC}">
                <c16:uniqueId val="{000006AF-D46E-4B35-AB90-9DEAD12B463E}"/>
              </c:ext>
            </c:extLst>
          </c:dPt>
          <c:dPt>
            <c:idx val="855"/>
            <c:invertIfNegative val="1"/>
            <c:bubble3D val="0"/>
            <c:spPr>
              <a:solidFill>
                <a:srgbClr val="AEABAB"/>
              </a:solidFill>
            </c:spPr>
            <c:extLst>
              <c:ext xmlns:c16="http://schemas.microsoft.com/office/drawing/2014/chart" uri="{C3380CC4-5D6E-409C-BE32-E72D297353CC}">
                <c16:uniqueId val="{000006B1-D46E-4B35-AB90-9DEAD12B463E}"/>
              </c:ext>
            </c:extLst>
          </c:dPt>
          <c:dPt>
            <c:idx val="856"/>
            <c:invertIfNegative val="1"/>
            <c:bubble3D val="0"/>
            <c:spPr>
              <a:solidFill>
                <a:srgbClr val="AEABAB"/>
              </a:solidFill>
            </c:spPr>
            <c:extLst>
              <c:ext xmlns:c16="http://schemas.microsoft.com/office/drawing/2014/chart" uri="{C3380CC4-5D6E-409C-BE32-E72D297353CC}">
                <c16:uniqueId val="{000006B3-D46E-4B35-AB90-9DEAD12B463E}"/>
              </c:ext>
            </c:extLst>
          </c:dPt>
          <c:dPt>
            <c:idx val="857"/>
            <c:invertIfNegative val="1"/>
            <c:bubble3D val="0"/>
            <c:spPr>
              <a:solidFill>
                <a:srgbClr val="AEABAB"/>
              </a:solidFill>
            </c:spPr>
            <c:extLst>
              <c:ext xmlns:c16="http://schemas.microsoft.com/office/drawing/2014/chart" uri="{C3380CC4-5D6E-409C-BE32-E72D297353CC}">
                <c16:uniqueId val="{000006B5-D46E-4B35-AB90-9DEAD12B463E}"/>
              </c:ext>
            </c:extLst>
          </c:dPt>
          <c:dPt>
            <c:idx val="858"/>
            <c:invertIfNegative val="1"/>
            <c:bubble3D val="0"/>
            <c:spPr>
              <a:solidFill>
                <a:srgbClr val="AEABAB"/>
              </a:solidFill>
            </c:spPr>
            <c:extLst>
              <c:ext xmlns:c16="http://schemas.microsoft.com/office/drawing/2014/chart" uri="{C3380CC4-5D6E-409C-BE32-E72D297353CC}">
                <c16:uniqueId val="{000006B7-D46E-4B35-AB90-9DEAD12B463E}"/>
              </c:ext>
            </c:extLst>
          </c:dPt>
          <c:dPt>
            <c:idx val="859"/>
            <c:invertIfNegative val="1"/>
            <c:bubble3D val="0"/>
            <c:spPr>
              <a:solidFill>
                <a:srgbClr val="AEABAB"/>
              </a:solidFill>
            </c:spPr>
            <c:extLst>
              <c:ext xmlns:c16="http://schemas.microsoft.com/office/drawing/2014/chart" uri="{C3380CC4-5D6E-409C-BE32-E72D297353CC}">
                <c16:uniqueId val="{000006B9-D46E-4B35-AB90-9DEAD12B463E}"/>
              </c:ext>
            </c:extLst>
          </c:dPt>
          <c:dPt>
            <c:idx val="860"/>
            <c:invertIfNegative val="1"/>
            <c:bubble3D val="0"/>
            <c:spPr>
              <a:solidFill>
                <a:srgbClr val="AEABAB"/>
              </a:solidFill>
            </c:spPr>
            <c:extLst>
              <c:ext xmlns:c16="http://schemas.microsoft.com/office/drawing/2014/chart" uri="{C3380CC4-5D6E-409C-BE32-E72D297353CC}">
                <c16:uniqueId val="{000006BB-D46E-4B35-AB90-9DEAD12B463E}"/>
              </c:ext>
            </c:extLst>
          </c:dPt>
          <c:dPt>
            <c:idx val="861"/>
            <c:invertIfNegative val="1"/>
            <c:bubble3D val="0"/>
            <c:spPr>
              <a:solidFill>
                <a:srgbClr val="AEABAB"/>
              </a:solidFill>
            </c:spPr>
            <c:extLst>
              <c:ext xmlns:c16="http://schemas.microsoft.com/office/drawing/2014/chart" uri="{C3380CC4-5D6E-409C-BE32-E72D297353CC}">
                <c16:uniqueId val="{000006BD-D46E-4B35-AB90-9DEAD12B463E}"/>
              </c:ext>
            </c:extLst>
          </c:dPt>
          <c:dPt>
            <c:idx val="862"/>
            <c:invertIfNegative val="1"/>
            <c:bubble3D val="0"/>
            <c:spPr>
              <a:solidFill>
                <a:srgbClr val="AEABAB"/>
              </a:solidFill>
            </c:spPr>
            <c:extLst>
              <c:ext xmlns:c16="http://schemas.microsoft.com/office/drawing/2014/chart" uri="{C3380CC4-5D6E-409C-BE32-E72D297353CC}">
                <c16:uniqueId val="{000006BF-D46E-4B35-AB90-9DEAD12B463E}"/>
              </c:ext>
            </c:extLst>
          </c:dPt>
          <c:dPt>
            <c:idx val="863"/>
            <c:invertIfNegative val="1"/>
            <c:bubble3D val="0"/>
            <c:spPr>
              <a:solidFill>
                <a:srgbClr val="AEABAB"/>
              </a:solidFill>
            </c:spPr>
            <c:extLst>
              <c:ext xmlns:c16="http://schemas.microsoft.com/office/drawing/2014/chart" uri="{C3380CC4-5D6E-409C-BE32-E72D297353CC}">
                <c16:uniqueId val="{000006C1-D46E-4B35-AB90-9DEAD12B463E}"/>
              </c:ext>
            </c:extLst>
          </c:dPt>
          <c:dPt>
            <c:idx val="864"/>
            <c:invertIfNegative val="1"/>
            <c:bubble3D val="0"/>
            <c:spPr>
              <a:solidFill>
                <a:srgbClr val="AEABAB"/>
              </a:solidFill>
            </c:spPr>
            <c:extLst>
              <c:ext xmlns:c16="http://schemas.microsoft.com/office/drawing/2014/chart" uri="{C3380CC4-5D6E-409C-BE32-E72D297353CC}">
                <c16:uniqueId val="{000006C3-D46E-4B35-AB90-9DEAD12B463E}"/>
              </c:ext>
            </c:extLst>
          </c:dPt>
          <c:dPt>
            <c:idx val="865"/>
            <c:invertIfNegative val="1"/>
            <c:bubble3D val="0"/>
            <c:spPr>
              <a:solidFill>
                <a:srgbClr val="AEABAB"/>
              </a:solidFill>
            </c:spPr>
            <c:extLst>
              <c:ext xmlns:c16="http://schemas.microsoft.com/office/drawing/2014/chart" uri="{C3380CC4-5D6E-409C-BE32-E72D297353CC}">
                <c16:uniqueId val="{000006C5-D46E-4B35-AB90-9DEAD12B463E}"/>
              </c:ext>
            </c:extLst>
          </c:dPt>
          <c:dPt>
            <c:idx val="866"/>
            <c:invertIfNegative val="1"/>
            <c:bubble3D val="0"/>
            <c:spPr>
              <a:solidFill>
                <a:srgbClr val="AEABAB"/>
              </a:solidFill>
            </c:spPr>
            <c:extLst>
              <c:ext xmlns:c16="http://schemas.microsoft.com/office/drawing/2014/chart" uri="{C3380CC4-5D6E-409C-BE32-E72D297353CC}">
                <c16:uniqueId val="{000006C7-D46E-4B35-AB90-9DEAD12B463E}"/>
              </c:ext>
            </c:extLst>
          </c:dPt>
          <c:dPt>
            <c:idx val="867"/>
            <c:invertIfNegative val="1"/>
            <c:bubble3D val="0"/>
            <c:spPr>
              <a:solidFill>
                <a:srgbClr val="AEABAB"/>
              </a:solidFill>
            </c:spPr>
            <c:extLst>
              <c:ext xmlns:c16="http://schemas.microsoft.com/office/drawing/2014/chart" uri="{C3380CC4-5D6E-409C-BE32-E72D297353CC}">
                <c16:uniqueId val="{000006C9-D46E-4B35-AB90-9DEAD12B463E}"/>
              </c:ext>
            </c:extLst>
          </c:dPt>
          <c:dPt>
            <c:idx val="868"/>
            <c:invertIfNegative val="1"/>
            <c:bubble3D val="0"/>
            <c:spPr>
              <a:solidFill>
                <a:srgbClr val="AEABAB"/>
              </a:solidFill>
            </c:spPr>
            <c:extLst>
              <c:ext xmlns:c16="http://schemas.microsoft.com/office/drawing/2014/chart" uri="{C3380CC4-5D6E-409C-BE32-E72D297353CC}">
                <c16:uniqueId val="{000006CB-D46E-4B35-AB90-9DEAD12B463E}"/>
              </c:ext>
            </c:extLst>
          </c:dPt>
          <c:dPt>
            <c:idx val="869"/>
            <c:invertIfNegative val="1"/>
            <c:bubble3D val="0"/>
            <c:spPr>
              <a:solidFill>
                <a:srgbClr val="AEABAB"/>
              </a:solidFill>
            </c:spPr>
            <c:extLst>
              <c:ext xmlns:c16="http://schemas.microsoft.com/office/drawing/2014/chart" uri="{C3380CC4-5D6E-409C-BE32-E72D297353CC}">
                <c16:uniqueId val="{000006CD-D46E-4B35-AB90-9DEAD12B463E}"/>
              </c:ext>
            </c:extLst>
          </c:dPt>
          <c:dPt>
            <c:idx val="870"/>
            <c:invertIfNegative val="1"/>
            <c:bubble3D val="0"/>
            <c:spPr>
              <a:solidFill>
                <a:srgbClr val="AEABAB"/>
              </a:solidFill>
            </c:spPr>
            <c:extLst>
              <c:ext xmlns:c16="http://schemas.microsoft.com/office/drawing/2014/chart" uri="{C3380CC4-5D6E-409C-BE32-E72D297353CC}">
                <c16:uniqueId val="{000006CF-D46E-4B35-AB90-9DEAD12B463E}"/>
              </c:ext>
            </c:extLst>
          </c:dPt>
          <c:dPt>
            <c:idx val="871"/>
            <c:invertIfNegative val="1"/>
            <c:bubble3D val="0"/>
            <c:spPr>
              <a:solidFill>
                <a:srgbClr val="AEABAB"/>
              </a:solidFill>
            </c:spPr>
            <c:extLst>
              <c:ext xmlns:c16="http://schemas.microsoft.com/office/drawing/2014/chart" uri="{C3380CC4-5D6E-409C-BE32-E72D297353CC}">
                <c16:uniqueId val="{000006D1-D46E-4B35-AB90-9DEAD12B463E}"/>
              </c:ext>
            </c:extLst>
          </c:dPt>
          <c:dPt>
            <c:idx val="872"/>
            <c:invertIfNegative val="1"/>
            <c:bubble3D val="0"/>
            <c:spPr>
              <a:solidFill>
                <a:srgbClr val="AEABAB"/>
              </a:solidFill>
            </c:spPr>
            <c:extLst>
              <c:ext xmlns:c16="http://schemas.microsoft.com/office/drawing/2014/chart" uri="{C3380CC4-5D6E-409C-BE32-E72D297353CC}">
                <c16:uniqueId val="{000006D3-D46E-4B35-AB90-9DEAD12B463E}"/>
              </c:ext>
            </c:extLst>
          </c:dPt>
          <c:dPt>
            <c:idx val="873"/>
            <c:invertIfNegative val="1"/>
            <c:bubble3D val="0"/>
            <c:spPr>
              <a:solidFill>
                <a:srgbClr val="AEABAB"/>
              </a:solidFill>
            </c:spPr>
            <c:extLst>
              <c:ext xmlns:c16="http://schemas.microsoft.com/office/drawing/2014/chart" uri="{C3380CC4-5D6E-409C-BE32-E72D297353CC}">
                <c16:uniqueId val="{000006D5-D46E-4B35-AB90-9DEAD12B463E}"/>
              </c:ext>
            </c:extLst>
          </c:dPt>
          <c:dPt>
            <c:idx val="874"/>
            <c:invertIfNegative val="1"/>
            <c:bubble3D val="0"/>
            <c:spPr>
              <a:solidFill>
                <a:srgbClr val="AEABAB"/>
              </a:solidFill>
            </c:spPr>
            <c:extLst>
              <c:ext xmlns:c16="http://schemas.microsoft.com/office/drawing/2014/chart" uri="{C3380CC4-5D6E-409C-BE32-E72D297353CC}">
                <c16:uniqueId val="{000006D7-D46E-4B35-AB90-9DEAD12B463E}"/>
              </c:ext>
            </c:extLst>
          </c:dPt>
          <c:dPt>
            <c:idx val="875"/>
            <c:invertIfNegative val="1"/>
            <c:bubble3D val="0"/>
            <c:spPr>
              <a:solidFill>
                <a:srgbClr val="AEABAB"/>
              </a:solidFill>
            </c:spPr>
            <c:extLst>
              <c:ext xmlns:c16="http://schemas.microsoft.com/office/drawing/2014/chart" uri="{C3380CC4-5D6E-409C-BE32-E72D297353CC}">
                <c16:uniqueId val="{000006D9-D46E-4B35-AB90-9DEAD12B463E}"/>
              </c:ext>
            </c:extLst>
          </c:dPt>
          <c:dPt>
            <c:idx val="876"/>
            <c:invertIfNegative val="1"/>
            <c:bubble3D val="0"/>
            <c:spPr>
              <a:solidFill>
                <a:srgbClr val="AEABAB"/>
              </a:solidFill>
            </c:spPr>
            <c:extLst>
              <c:ext xmlns:c16="http://schemas.microsoft.com/office/drawing/2014/chart" uri="{C3380CC4-5D6E-409C-BE32-E72D297353CC}">
                <c16:uniqueId val="{000006DB-D46E-4B35-AB90-9DEAD12B463E}"/>
              </c:ext>
            </c:extLst>
          </c:dPt>
          <c:dPt>
            <c:idx val="877"/>
            <c:invertIfNegative val="1"/>
            <c:bubble3D val="0"/>
            <c:spPr>
              <a:solidFill>
                <a:srgbClr val="AEABAB"/>
              </a:solidFill>
            </c:spPr>
            <c:extLst>
              <c:ext xmlns:c16="http://schemas.microsoft.com/office/drawing/2014/chart" uri="{C3380CC4-5D6E-409C-BE32-E72D297353CC}">
                <c16:uniqueId val="{000006DD-D46E-4B35-AB90-9DEAD12B463E}"/>
              </c:ext>
            </c:extLst>
          </c:dPt>
          <c:dPt>
            <c:idx val="878"/>
            <c:invertIfNegative val="1"/>
            <c:bubble3D val="0"/>
            <c:spPr>
              <a:solidFill>
                <a:srgbClr val="AEABAB"/>
              </a:solidFill>
            </c:spPr>
            <c:extLst>
              <c:ext xmlns:c16="http://schemas.microsoft.com/office/drawing/2014/chart" uri="{C3380CC4-5D6E-409C-BE32-E72D297353CC}">
                <c16:uniqueId val="{000006DF-D46E-4B35-AB90-9DEAD12B463E}"/>
              </c:ext>
            </c:extLst>
          </c:dPt>
          <c:dPt>
            <c:idx val="879"/>
            <c:invertIfNegative val="1"/>
            <c:bubble3D val="0"/>
            <c:spPr>
              <a:solidFill>
                <a:srgbClr val="AEABAB"/>
              </a:solidFill>
            </c:spPr>
            <c:extLst>
              <c:ext xmlns:c16="http://schemas.microsoft.com/office/drawing/2014/chart" uri="{C3380CC4-5D6E-409C-BE32-E72D297353CC}">
                <c16:uniqueId val="{000006E1-D46E-4B35-AB90-9DEAD12B463E}"/>
              </c:ext>
            </c:extLst>
          </c:dPt>
          <c:dPt>
            <c:idx val="880"/>
            <c:invertIfNegative val="1"/>
            <c:bubble3D val="0"/>
            <c:spPr>
              <a:solidFill>
                <a:srgbClr val="AEABAB"/>
              </a:solidFill>
            </c:spPr>
            <c:extLst>
              <c:ext xmlns:c16="http://schemas.microsoft.com/office/drawing/2014/chart" uri="{C3380CC4-5D6E-409C-BE32-E72D297353CC}">
                <c16:uniqueId val="{000006E3-D46E-4B35-AB90-9DEAD12B463E}"/>
              </c:ext>
            </c:extLst>
          </c:dPt>
          <c:dPt>
            <c:idx val="881"/>
            <c:invertIfNegative val="1"/>
            <c:bubble3D val="0"/>
            <c:spPr>
              <a:solidFill>
                <a:srgbClr val="AEABAB"/>
              </a:solidFill>
            </c:spPr>
            <c:extLst>
              <c:ext xmlns:c16="http://schemas.microsoft.com/office/drawing/2014/chart" uri="{C3380CC4-5D6E-409C-BE32-E72D297353CC}">
                <c16:uniqueId val="{000006E5-D46E-4B35-AB90-9DEAD12B463E}"/>
              </c:ext>
            </c:extLst>
          </c:dPt>
          <c:dPt>
            <c:idx val="882"/>
            <c:invertIfNegative val="1"/>
            <c:bubble3D val="0"/>
            <c:spPr>
              <a:solidFill>
                <a:srgbClr val="AEABAB"/>
              </a:solidFill>
            </c:spPr>
            <c:extLst>
              <c:ext xmlns:c16="http://schemas.microsoft.com/office/drawing/2014/chart" uri="{C3380CC4-5D6E-409C-BE32-E72D297353CC}">
                <c16:uniqueId val="{000006E7-D46E-4B35-AB90-9DEAD12B463E}"/>
              </c:ext>
            </c:extLst>
          </c:dPt>
          <c:dPt>
            <c:idx val="883"/>
            <c:invertIfNegative val="1"/>
            <c:bubble3D val="0"/>
            <c:spPr>
              <a:solidFill>
                <a:srgbClr val="AEABAB"/>
              </a:solidFill>
            </c:spPr>
            <c:extLst>
              <c:ext xmlns:c16="http://schemas.microsoft.com/office/drawing/2014/chart" uri="{C3380CC4-5D6E-409C-BE32-E72D297353CC}">
                <c16:uniqueId val="{000006E9-D46E-4B35-AB90-9DEAD12B463E}"/>
              </c:ext>
            </c:extLst>
          </c:dPt>
          <c:dPt>
            <c:idx val="884"/>
            <c:invertIfNegative val="1"/>
            <c:bubble3D val="0"/>
            <c:spPr>
              <a:solidFill>
                <a:srgbClr val="AEABAB"/>
              </a:solidFill>
            </c:spPr>
            <c:extLst>
              <c:ext xmlns:c16="http://schemas.microsoft.com/office/drawing/2014/chart" uri="{C3380CC4-5D6E-409C-BE32-E72D297353CC}">
                <c16:uniqueId val="{000006EB-D46E-4B35-AB90-9DEAD12B463E}"/>
              </c:ext>
            </c:extLst>
          </c:dPt>
          <c:dPt>
            <c:idx val="885"/>
            <c:invertIfNegative val="1"/>
            <c:bubble3D val="0"/>
            <c:spPr>
              <a:solidFill>
                <a:srgbClr val="AEABAB"/>
              </a:solidFill>
            </c:spPr>
            <c:extLst>
              <c:ext xmlns:c16="http://schemas.microsoft.com/office/drawing/2014/chart" uri="{C3380CC4-5D6E-409C-BE32-E72D297353CC}">
                <c16:uniqueId val="{000006ED-D46E-4B35-AB90-9DEAD12B463E}"/>
              </c:ext>
            </c:extLst>
          </c:dPt>
          <c:dPt>
            <c:idx val="886"/>
            <c:invertIfNegative val="1"/>
            <c:bubble3D val="0"/>
            <c:spPr>
              <a:solidFill>
                <a:srgbClr val="AEABAB"/>
              </a:solidFill>
            </c:spPr>
            <c:extLst>
              <c:ext xmlns:c16="http://schemas.microsoft.com/office/drawing/2014/chart" uri="{C3380CC4-5D6E-409C-BE32-E72D297353CC}">
                <c16:uniqueId val="{000006EF-D46E-4B35-AB90-9DEAD12B463E}"/>
              </c:ext>
            </c:extLst>
          </c:dPt>
          <c:dPt>
            <c:idx val="887"/>
            <c:invertIfNegative val="1"/>
            <c:bubble3D val="0"/>
            <c:spPr>
              <a:solidFill>
                <a:srgbClr val="AEABAB"/>
              </a:solidFill>
            </c:spPr>
            <c:extLst>
              <c:ext xmlns:c16="http://schemas.microsoft.com/office/drawing/2014/chart" uri="{C3380CC4-5D6E-409C-BE32-E72D297353CC}">
                <c16:uniqueId val="{000006F1-D46E-4B35-AB90-9DEAD12B463E}"/>
              </c:ext>
            </c:extLst>
          </c:dPt>
          <c:dPt>
            <c:idx val="888"/>
            <c:invertIfNegative val="1"/>
            <c:bubble3D val="0"/>
            <c:spPr>
              <a:solidFill>
                <a:srgbClr val="AEABAB"/>
              </a:solidFill>
            </c:spPr>
            <c:extLst>
              <c:ext xmlns:c16="http://schemas.microsoft.com/office/drawing/2014/chart" uri="{C3380CC4-5D6E-409C-BE32-E72D297353CC}">
                <c16:uniqueId val="{000006F3-D46E-4B35-AB90-9DEAD12B463E}"/>
              </c:ext>
            </c:extLst>
          </c:dPt>
          <c:dPt>
            <c:idx val="889"/>
            <c:invertIfNegative val="1"/>
            <c:bubble3D val="0"/>
            <c:spPr>
              <a:solidFill>
                <a:srgbClr val="AEABAB"/>
              </a:solidFill>
            </c:spPr>
            <c:extLst>
              <c:ext xmlns:c16="http://schemas.microsoft.com/office/drawing/2014/chart" uri="{C3380CC4-5D6E-409C-BE32-E72D297353CC}">
                <c16:uniqueId val="{000006F5-D46E-4B35-AB90-9DEAD12B463E}"/>
              </c:ext>
            </c:extLst>
          </c:dPt>
          <c:dPt>
            <c:idx val="890"/>
            <c:invertIfNegative val="1"/>
            <c:bubble3D val="0"/>
            <c:spPr>
              <a:solidFill>
                <a:srgbClr val="AEABAB"/>
              </a:solidFill>
            </c:spPr>
            <c:extLst>
              <c:ext xmlns:c16="http://schemas.microsoft.com/office/drawing/2014/chart" uri="{C3380CC4-5D6E-409C-BE32-E72D297353CC}">
                <c16:uniqueId val="{000006F7-D46E-4B35-AB90-9DEAD12B463E}"/>
              </c:ext>
            </c:extLst>
          </c:dPt>
          <c:dPt>
            <c:idx val="891"/>
            <c:invertIfNegative val="1"/>
            <c:bubble3D val="0"/>
            <c:spPr>
              <a:solidFill>
                <a:srgbClr val="AEABAB"/>
              </a:solidFill>
            </c:spPr>
            <c:extLst>
              <c:ext xmlns:c16="http://schemas.microsoft.com/office/drawing/2014/chart" uri="{C3380CC4-5D6E-409C-BE32-E72D297353CC}">
                <c16:uniqueId val="{000006F9-D46E-4B35-AB90-9DEAD12B463E}"/>
              </c:ext>
            </c:extLst>
          </c:dPt>
          <c:dPt>
            <c:idx val="892"/>
            <c:invertIfNegative val="1"/>
            <c:bubble3D val="0"/>
            <c:spPr>
              <a:solidFill>
                <a:srgbClr val="AEABAB"/>
              </a:solidFill>
            </c:spPr>
            <c:extLst>
              <c:ext xmlns:c16="http://schemas.microsoft.com/office/drawing/2014/chart" uri="{C3380CC4-5D6E-409C-BE32-E72D297353CC}">
                <c16:uniqueId val="{000006FB-D46E-4B35-AB90-9DEAD12B463E}"/>
              </c:ext>
            </c:extLst>
          </c:dPt>
          <c:dPt>
            <c:idx val="893"/>
            <c:invertIfNegative val="1"/>
            <c:bubble3D val="0"/>
            <c:spPr>
              <a:solidFill>
                <a:srgbClr val="AEABAB"/>
              </a:solidFill>
            </c:spPr>
            <c:extLst>
              <c:ext xmlns:c16="http://schemas.microsoft.com/office/drawing/2014/chart" uri="{C3380CC4-5D6E-409C-BE32-E72D297353CC}">
                <c16:uniqueId val="{000006FD-D46E-4B35-AB90-9DEAD12B463E}"/>
              </c:ext>
            </c:extLst>
          </c:dPt>
          <c:dPt>
            <c:idx val="894"/>
            <c:invertIfNegative val="1"/>
            <c:bubble3D val="0"/>
            <c:spPr>
              <a:solidFill>
                <a:srgbClr val="AEABAB"/>
              </a:solidFill>
            </c:spPr>
            <c:extLst>
              <c:ext xmlns:c16="http://schemas.microsoft.com/office/drawing/2014/chart" uri="{C3380CC4-5D6E-409C-BE32-E72D297353CC}">
                <c16:uniqueId val="{000006FF-D46E-4B35-AB90-9DEAD12B463E}"/>
              </c:ext>
            </c:extLst>
          </c:dPt>
          <c:dPt>
            <c:idx val="895"/>
            <c:invertIfNegative val="1"/>
            <c:bubble3D val="0"/>
            <c:spPr>
              <a:solidFill>
                <a:srgbClr val="AEABAB"/>
              </a:solidFill>
            </c:spPr>
            <c:extLst>
              <c:ext xmlns:c16="http://schemas.microsoft.com/office/drawing/2014/chart" uri="{C3380CC4-5D6E-409C-BE32-E72D297353CC}">
                <c16:uniqueId val="{00000701-D46E-4B35-AB90-9DEAD12B463E}"/>
              </c:ext>
            </c:extLst>
          </c:dPt>
          <c:dPt>
            <c:idx val="896"/>
            <c:invertIfNegative val="1"/>
            <c:bubble3D val="0"/>
            <c:spPr>
              <a:solidFill>
                <a:srgbClr val="AEABAB"/>
              </a:solidFill>
            </c:spPr>
            <c:extLst>
              <c:ext xmlns:c16="http://schemas.microsoft.com/office/drawing/2014/chart" uri="{C3380CC4-5D6E-409C-BE32-E72D297353CC}">
                <c16:uniqueId val="{00000703-D46E-4B35-AB90-9DEAD12B463E}"/>
              </c:ext>
            </c:extLst>
          </c:dPt>
          <c:dPt>
            <c:idx val="897"/>
            <c:invertIfNegative val="1"/>
            <c:bubble3D val="0"/>
            <c:spPr>
              <a:solidFill>
                <a:srgbClr val="AEABAB"/>
              </a:solidFill>
            </c:spPr>
            <c:extLst>
              <c:ext xmlns:c16="http://schemas.microsoft.com/office/drawing/2014/chart" uri="{C3380CC4-5D6E-409C-BE32-E72D297353CC}">
                <c16:uniqueId val="{00000705-D46E-4B35-AB90-9DEAD12B463E}"/>
              </c:ext>
            </c:extLst>
          </c:dPt>
          <c:dPt>
            <c:idx val="898"/>
            <c:invertIfNegative val="1"/>
            <c:bubble3D val="0"/>
            <c:spPr>
              <a:solidFill>
                <a:srgbClr val="AEABAB"/>
              </a:solidFill>
            </c:spPr>
            <c:extLst>
              <c:ext xmlns:c16="http://schemas.microsoft.com/office/drawing/2014/chart" uri="{C3380CC4-5D6E-409C-BE32-E72D297353CC}">
                <c16:uniqueId val="{00000707-D46E-4B35-AB90-9DEAD12B463E}"/>
              </c:ext>
            </c:extLst>
          </c:dPt>
          <c:dPt>
            <c:idx val="899"/>
            <c:invertIfNegative val="1"/>
            <c:bubble3D val="0"/>
            <c:spPr>
              <a:solidFill>
                <a:srgbClr val="AEABAB"/>
              </a:solidFill>
            </c:spPr>
            <c:extLst>
              <c:ext xmlns:c16="http://schemas.microsoft.com/office/drawing/2014/chart" uri="{C3380CC4-5D6E-409C-BE32-E72D297353CC}">
                <c16:uniqueId val="{00000709-D46E-4B35-AB90-9DEAD12B463E}"/>
              </c:ext>
            </c:extLst>
          </c:dPt>
          <c:dPt>
            <c:idx val="900"/>
            <c:invertIfNegative val="1"/>
            <c:bubble3D val="0"/>
            <c:spPr>
              <a:solidFill>
                <a:srgbClr val="AEABAB"/>
              </a:solidFill>
            </c:spPr>
            <c:extLst>
              <c:ext xmlns:c16="http://schemas.microsoft.com/office/drawing/2014/chart" uri="{C3380CC4-5D6E-409C-BE32-E72D297353CC}">
                <c16:uniqueId val="{0000070B-D46E-4B35-AB90-9DEAD12B463E}"/>
              </c:ext>
            </c:extLst>
          </c:dPt>
          <c:dPt>
            <c:idx val="901"/>
            <c:invertIfNegative val="1"/>
            <c:bubble3D val="0"/>
            <c:spPr>
              <a:solidFill>
                <a:srgbClr val="AEABAB"/>
              </a:solidFill>
            </c:spPr>
            <c:extLst>
              <c:ext xmlns:c16="http://schemas.microsoft.com/office/drawing/2014/chart" uri="{C3380CC4-5D6E-409C-BE32-E72D297353CC}">
                <c16:uniqueId val="{0000070D-D46E-4B35-AB90-9DEAD12B463E}"/>
              </c:ext>
            </c:extLst>
          </c:dPt>
          <c:dPt>
            <c:idx val="902"/>
            <c:invertIfNegative val="1"/>
            <c:bubble3D val="0"/>
            <c:spPr>
              <a:solidFill>
                <a:srgbClr val="AEABAB"/>
              </a:solidFill>
            </c:spPr>
            <c:extLst>
              <c:ext xmlns:c16="http://schemas.microsoft.com/office/drawing/2014/chart" uri="{C3380CC4-5D6E-409C-BE32-E72D297353CC}">
                <c16:uniqueId val="{0000070F-D46E-4B35-AB90-9DEAD12B463E}"/>
              </c:ext>
            </c:extLst>
          </c:dPt>
          <c:dPt>
            <c:idx val="903"/>
            <c:invertIfNegative val="1"/>
            <c:bubble3D val="0"/>
            <c:spPr>
              <a:solidFill>
                <a:srgbClr val="AEABAB"/>
              </a:solidFill>
            </c:spPr>
            <c:extLst>
              <c:ext xmlns:c16="http://schemas.microsoft.com/office/drawing/2014/chart" uri="{C3380CC4-5D6E-409C-BE32-E72D297353CC}">
                <c16:uniqueId val="{00000711-D46E-4B35-AB90-9DEAD12B463E}"/>
              </c:ext>
            </c:extLst>
          </c:dPt>
          <c:dPt>
            <c:idx val="904"/>
            <c:invertIfNegative val="1"/>
            <c:bubble3D val="0"/>
            <c:spPr>
              <a:solidFill>
                <a:srgbClr val="AEABAB"/>
              </a:solidFill>
            </c:spPr>
            <c:extLst>
              <c:ext xmlns:c16="http://schemas.microsoft.com/office/drawing/2014/chart" uri="{C3380CC4-5D6E-409C-BE32-E72D297353CC}">
                <c16:uniqueId val="{00000713-D46E-4B35-AB90-9DEAD12B463E}"/>
              </c:ext>
            </c:extLst>
          </c:dPt>
          <c:dPt>
            <c:idx val="905"/>
            <c:invertIfNegative val="1"/>
            <c:bubble3D val="0"/>
            <c:spPr>
              <a:solidFill>
                <a:srgbClr val="AEABAB"/>
              </a:solidFill>
            </c:spPr>
            <c:extLst>
              <c:ext xmlns:c16="http://schemas.microsoft.com/office/drawing/2014/chart" uri="{C3380CC4-5D6E-409C-BE32-E72D297353CC}">
                <c16:uniqueId val="{00000715-D46E-4B35-AB90-9DEAD12B463E}"/>
              </c:ext>
            </c:extLst>
          </c:dPt>
          <c:dPt>
            <c:idx val="906"/>
            <c:invertIfNegative val="1"/>
            <c:bubble3D val="0"/>
            <c:spPr>
              <a:solidFill>
                <a:srgbClr val="AEABAB"/>
              </a:solidFill>
            </c:spPr>
            <c:extLst>
              <c:ext xmlns:c16="http://schemas.microsoft.com/office/drawing/2014/chart" uri="{C3380CC4-5D6E-409C-BE32-E72D297353CC}">
                <c16:uniqueId val="{00000717-D46E-4B35-AB90-9DEAD12B463E}"/>
              </c:ext>
            </c:extLst>
          </c:dPt>
          <c:dPt>
            <c:idx val="907"/>
            <c:invertIfNegative val="1"/>
            <c:bubble3D val="0"/>
            <c:spPr>
              <a:solidFill>
                <a:srgbClr val="AEABAB"/>
              </a:solidFill>
            </c:spPr>
            <c:extLst>
              <c:ext xmlns:c16="http://schemas.microsoft.com/office/drawing/2014/chart" uri="{C3380CC4-5D6E-409C-BE32-E72D297353CC}">
                <c16:uniqueId val="{00000719-D46E-4B35-AB90-9DEAD12B463E}"/>
              </c:ext>
            </c:extLst>
          </c:dPt>
          <c:dPt>
            <c:idx val="908"/>
            <c:invertIfNegative val="1"/>
            <c:bubble3D val="0"/>
            <c:spPr>
              <a:solidFill>
                <a:srgbClr val="AEABAB"/>
              </a:solidFill>
            </c:spPr>
            <c:extLst>
              <c:ext xmlns:c16="http://schemas.microsoft.com/office/drawing/2014/chart" uri="{C3380CC4-5D6E-409C-BE32-E72D297353CC}">
                <c16:uniqueId val="{0000071B-D46E-4B35-AB90-9DEAD12B463E}"/>
              </c:ext>
            </c:extLst>
          </c:dPt>
          <c:dPt>
            <c:idx val="909"/>
            <c:invertIfNegative val="1"/>
            <c:bubble3D val="0"/>
            <c:spPr>
              <a:solidFill>
                <a:srgbClr val="AEABAB"/>
              </a:solidFill>
            </c:spPr>
            <c:extLst>
              <c:ext xmlns:c16="http://schemas.microsoft.com/office/drawing/2014/chart" uri="{C3380CC4-5D6E-409C-BE32-E72D297353CC}">
                <c16:uniqueId val="{0000071D-D46E-4B35-AB90-9DEAD12B463E}"/>
              </c:ext>
            </c:extLst>
          </c:dPt>
          <c:dPt>
            <c:idx val="910"/>
            <c:invertIfNegative val="1"/>
            <c:bubble3D val="0"/>
            <c:spPr>
              <a:solidFill>
                <a:srgbClr val="AEABAB"/>
              </a:solidFill>
            </c:spPr>
            <c:extLst>
              <c:ext xmlns:c16="http://schemas.microsoft.com/office/drawing/2014/chart" uri="{C3380CC4-5D6E-409C-BE32-E72D297353CC}">
                <c16:uniqueId val="{0000071F-D46E-4B35-AB90-9DEAD12B463E}"/>
              </c:ext>
            </c:extLst>
          </c:dPt>
          <c:dPt>
            <c:idx val="911"/>
            <c:invertIfNegative val="1"/>
            <c:bubble3D val="0"/>
            <c:spPr>
              <a:solidFill>
                <a:srgbClr val="AEABAB"/>
              </a:solidFill>
            </c:spPr>
            <c:extLst>
              <c:ext xmlns:c16="http://schemas.microsoft.com/office/drawing/2014/chart" uri="{C3380CC4-5D6E-409C-BE32-E72D297353CC}">
                <c16:uniqueId val="{00000721-D46E-4B35-AB90-9DEAD12B463E}"/>
              </c:ext>
            </c:extLst>
          </c:dPt>
          <c:dPt>
            <c:idx val="912"/>
            <c:invertIfNegative val="1"/>
            <c:bubble3D val="0"/>
            <c:spPr>
              <a:solidFill>
                <a:srgbClr val="AEABAB"/>
              </a:solidFill>
            </c:spPr>
            <c:extLst>
              <c:ext xmlns:c16="http://schemas.microsoft.com/office/drawing/2014/chart" uri="{C3380CC4-5D6E-409C-BE32-E72D297353CC}">
                <c16:uniqueId val="{00000723-D46E-4B35-AB90-9DEAD12B463E}"/>
              </c:ext>
            </c:extLst>
          </c:dPt>
          <c:dPt>
            <c:idx val="913"/>
            <c:invertIfNegative val="1"/>
            <c:bubble3D val="0"/>
            <c:spPr>
              <a:solidFill>
                <a:srgbClr val="AEABAB"/>
              </a:solidFill>
            </c:spPr>
            <c:extLst>
              <c:ext xmlns:c16="http://schemas.microsoft.com/office/drawing/2014/chart" uri="{C3380CC4-5D6E-409C-BE32-E72D297353CC}">
                <c16:uniqueId val="{00000725-D46E-4B35-AB90-9DEAD12B463E}"/>
              </c:ext>
            </c:extLst>
          </c:dPt>
          <c:dPt>
            <c:idx val="914"/>
            <c:invertIfNegative val="1"/>
            <c:bubble3D val="0"/>
            <c:spPr>
              <a:solidFill>
                <a:srgbClr val="AEABAB"/>
              </a:solidFill>
            </c:spPr>
            <c:extLst>
              <c:ext xmlns:c16="http://schemas.microsoft.com/office/drawing/2014/chart" uri="{C3380CC4-5D6E-409C-BE32-E72D297353CC}">
                <c16:uniqueId val="{00000727-D46E-4B35-AB90-9DEAD12B463E}"/>
              </c:ext>
            </c:extLst>
          </c:dPt>
          <c:dPt>
            <c:idx val="915"/>
            <c:invertIfNegative val="1"/>
            <c:bubble3D val="0"/>
            <c:spPr>
              <a:solidFill>
                <a:srgbClr val="AEABAB"/>
              </a:solidFill>
            </c:spPr>
            <c:extLst>
              <c:ext xmlns:c16="http://schemas.microsoft.com/office/drawing/2014/chart" uri="{C3380CC4-5D6E-409C-BE32-E72D297353CC}">
                <c16:uniqueId val="{00000729-D46E-4B35-AB90-9DEAD12B463E}"/>
              </c:ext>
            </c:extLst>
          </c:dPt>
          <c:dPt>
            <c:idx val="916"/>
            <c:invertIfNegative val="1"/>
            <c:bubble3D val="0"/>
            <c:spPr>
              <a:solidFill>
                <a:srgbClr val="AEABAB"/>
              </a:solidFill>
            </c:spPr>
            <c:extLst>
              <c:ext xmlns:c16="http://schemas.microsoft.com/office/drawing/2014/chart" uri="{C3380CC4-5D6E-409C-BE32-E72D297353CC}">
                <c16:uniqueId val="{0000072B-D46E-4B35-AB90-9DEAD12B463E}"/>
              </c:ext>
            </c:extLst>
          </c:dPt>
          <c:dPt>
            <c:idx val="917"/>
            <c:invertIfNegative val="1"/>
            <c:bubble3D val="0"/>
            <c:spPr>
              <a:solidFill>
                <a:srgbClr val="AEABAB"/>
              </a:solidFill>
            </c:spPr>
            <c:extLst>
              <c:ext xmlns:c16="http://schemas.microsoft.com/office/drawing/2014/chart" uri="{C3380CC4-5D6E-409C-BE32-E72D297353CC}">
                <c16:uniqueId val="{0000072D-D46E-4B35-AB90-9DEAD12B463E}"/>
              </c:ext>
            </c:extLst>
          </c:dPt>
          <c:dPt>
            <c:idx val="918"/>
            <c:invertIfNegative val="1"/>
            <c:bubble3D val="0"/>
            <c:spPr>
              <a:solidFill>
                <a:srgbClr val="AEABAB"/>
              </a:solidFill>
            </c:spPr>
            <c:extLst>
              <c:ext xmlns:c16="http://schemas.microsoft.com/office/drawing/2014/chart" uri="{C3380CC4-5D6E-409C-BE32-E72D297353CC}">
                <c16:uniqueId val="{0000072F-D46E-4B35-AB90-9DEAD12B463E}"/>
              </c:ext>
            </c:extLst>
          </c:dPt>
          <c:dPt>
            <c:idx val="919"/>
            <c:invertIfNegative val="1"/>
            <c:bubble3D val="0"/>
            <c:spPr>
              <a:solidFill>
                <a:srgbClr val="AEABAB"/>
              </a:solidFill>
            </c:spPr>
            <c:extLst>
              <c:ext xmlns:c16="http://schemas.microsoft.com/office/drawing/2014/chart" uri="{C3380CC4-5D6E-409C-BE32-E72D297353CC}">
                <c16:uniqueId val="{00000731-D46E-4B35-AB90-9DEAD12B463E}"/>
              </c:ext>
            </c:extLst>
          </c:dPt>
          <c:dPt>
            <c:idx val="920"/>
            <c:invertIfNegative val="1"/>
            <c:bubble3D val="0"/>
            <c:spPr>
              <a:solidFill>
                <a:srgbClr val="AEABAB"/>
              </a:solidFill>
            </c:spPr>
            <c:extLst>
              <c:ext xmlns:c16="http://schemas.microsoft.com/office/drawing/2014/chart" uri="{C3380CC4-5D6E-409C-BE32-E72D297353CC}">
                <c16:uniqueId val="{00000733-D46E-4B35-AB90-9DEAD12B463E}"/>
              </c:ext>
            </c:extLst>
          </c:dPt>
          <c:dPt>
            <c:idx val="921"/>
            <c:invertIfNegative val="1"/>
            <c:bubble3D val="0"/>
            <c:spPr>
              <a:solidFill>
                <a:srgbClr val="AEABAB"/>
              </a:solidFill>
            </c:spPr>
            <c:extLst>
              <c:ext xmlns:c16="http://schemas.microsoft.com/office/drawing/2014/chart" uri="{C3380CC4-5D6E-409C-BE32-E72D297353CC}">
                <c16:uniqueId val="{00000735-D46E-4B35-AB90-9DEAD12B463E}"/>
              </c:ext>
            </c:extLst>
          </c:dPt>
          <c:dPt>
            <c:idx val="922"/>
            <c:invertIfNegative val="1"/>
            <c:bubble3D val="0"/>
            <c:spPr>
              <a:solidFill>
                <a:srgbClr val="AEABAB"/>
              </a:solidFill>
            </c:spPr>
            <c:extLst>
              <c:ext xmlns:c16="http://schemas.microsoft.com/office/drawing/2014/chart" uri="{C3380CC4-5D6E-409C-BE32-E72D297353CC}">
                <c16:uniqueId val="{00000737-D46E-4B35-AB90-9DEAD12B463E}"/>
              </c:ext>
            </c:extLst>
          </c:dPt>
          <c:dPt>
            <c:idx val="923"/>
            <c:invertIfNegative val="1"/>
            <c:bubble3D val="0"/>
            <c:spPr>
              <a:solidFill>
                <a:srgbClr val="AEABAB"/>
              </a:solidFill>
            </c:spPr>
            <c:extLst>
              <c:ext xmlns:c16="http://schemas.microsoft.com/office/drawing/2014/chart" uri="{C3380CC4-5D6E-409C-BE32-E72D297353CC}">
                <c16:uniqueId val="{00000739-D46E-4B35-AB90-9DEAD12B463E}"/>
              </c:ext>
            </c:extLst>
          </c:dPt>
          <c:dPt>
            <c:idx val="924"/>
            <c:invertIfNegative val="1"/>
            <c:bubble3D val="0"/>
            <c:spPr>
              <a:solidFill>
                <a:srgbClr val="AEABAB"/>
              </a:solidFill>
            </c:spPr>
            <c:extLst>
              <c:ext xmlns:c16="http://schemas.microsoft.com/office/drawing/2014/chart" uri="{C3380CC4-5D6E-409C-BE32-E72D297353CC}">
                <c16:uniqueId val="{0000073B-D46E-4B35-AB90-9DEAD12B463E}"/>
              </c:ext>
            </c:extLst>
          </c:dPt>
          <c:dPt>
            <c:idx val="925"/>
            <c:invertIfNegative val="1"/>
            <c:bubble3D val="0"/>
            <c:spPr>
              <a:solidFill>
                <a:srgbClr val="AEABAB"/>
              </a:solidFill>
            </c:spPr>
            <c:extLst>
              <c:ext xmlns:c16="http://schemas.microsoft.com/office/drawing/2014/chart" uri="{C3380CC4-5D6E-409C-BE32-E72D297353CC}">
                <c16:uniqueId val="{0000073D-D46E-4B35-AB90-9DEAD12B463E}"/>
              </c:ext>
            </c:extLst>
          </c:dPt>
          <c:dPt>
            <c:idx val="926"/>
            <c:invertIfNegative val="1"/>
            <c:bubble3D val="0"/>
            <c:spPr>
              <a:solidFill>
                <a:srgbClr val="AEABAB"/>
              </a:solidFill>
            </c:spPr>
            <c:extLst>
              <c:ext xmlns:c16="http://schemas.microsoft.com/office/drawing/2014/chart" uri="{C3380CC4-5D6E-409C-BE32-E72D297353CC}">
                <c16:uniqueId val="{0000073F-D46E-4B35-AB90-9DEAD12B463E}"/>
              </c:ext>
            </c:extLst>
          </c:dPt>
          <c:dPt>
            <c:idx val="927"/>
            <c:invertIfNegative val="1"/>
            <c:bubble3D val="0"/>
            <c:spPr>
              <a:solidFill>
                <a:srgbClr val="AEABAB"/>
              </a:solidFill>
            </c:spPr>
            <c:extLst>
              <c:ext xmlns:c16="http://schemas.microsoft.com/office/drawing/2014/chart" uri="{C3380CC4-5D6E-409C-BE32-E72D297353CC}">
                <c16:uniqueId val="{00000741-D46E-4B35-AB90-9DEAD12B463E}"/>
              </c:ext>
            </c:extLst>
          </c:dPt>
          <c:dPt>
            <c:idx val="928"/>
            <c:invertIfNegative val="1"/>
            <c:bubble3D val="0"/>
            <c:spPr>
              <a:solidFill>
                <a:srgbClr val="AEABAB"/>
              </a:solidFill>
            </c:spPr>
            <c:extLst>
              <c:ext xmlns:c16="http://schemas.microsoft.com/office/drawing/2014/chart" uri="{C3380CC4-5D6E-409C-BE32-E72D297353CC}">
                <c16:uniqueId val="{00000743-D46E-4B35-AB90-9DEAD12B463E}"/>
              </c:ext>
            </c:extLst>
          </c:dPt>
          <c:dPt>
            <c:idx val="929"/>
            <c:invertIfNegative val="1"/>
            <c:bubble3D val="0"/>
            <c:spPr>
              <a:solidFill>
                <a:srgbClr val="AEABAB"/>
              </a:solidFill>
            </c:spPr>
            <c:extLst>
              <c:ext xmlns:c16="http://schemas.microsoft.com/office/drawing/2014/chart" uri="{C3380CC4-5D6E-409C-BE32-E72D297353CC}">
                <c16:uniqueId val="{00000745-D46E-4B35-AB90-9DEAD12B463E}"/>
              </c:ext>
            </c:extLst>
          </c:dPt>
          <c:dPt>
            <c:idx val="930"/>
            <c:invertIfNegative val="1"/>
            <c:bubble3D val="0"/>
            <c:spPr>
              <a:solidFill>
                <a:srgbClr val="AEABAB"/>
              </a:solidFill>
            </c:spPr>
            <c:extLst>
              <c:ext xmlns:c16="http://schemas.microsoft.com/office/drawing/2014/chart" uri="{C3380CC4-5D6E-409C-BE32-E72D297353CC}">
                <c16:uniqueId val="{00000747-D46E-4B35-AB90-9DEAD12B463E}"/>
              </c:ext>
            </c:extLst>
          </c:dPt>
          <c:dPt>
            <c:idx val="931"/>
            <c:invertIfNegative val="1"/>
            <c:bubble3D val="0"/>
            <c:spPr>
              <a:solidFill>
                <a:srgbClr val="AEABAB"/>
              </a:solidFill>
            </c:spPr>
            <c:extLst>
              <c:ext xmlns:c16="http://schemas.microsoft.com/office/drawing/2014/chart" uri="{C3380CC4-5D6E-409C-BE32-E72D297353CC}">
                <c16:uniqueId val="{00000749-D46E-4B35-AB90-9DEAD12B463E}"/>
              </c:ext>
            </c:extLst>
          </c:dPt>
          <c:dPt>
            <c:idx val="932"/>
            <c:invertIfNegative val="1"/>
            <c:bubble3D val="0"/>
            <c:spPr>
              <a:solidFill>
                <a:srgbClr val="AEABAB"/>
              </a:solidFill>
            </c:spPr>
            <c:extLst>
              <c:ext xmlns:c16="http://schemas.microsoft.com/office/drawing/2014/chart" uri="{C3380CC4-5D6E-409C-BE32-E72D297353CC}">
                <c16:uniqueId val="{0000074B-D46E-4B35-AB90-9DEAD12B463E}"/>
              </c:ext>
            </c:extLst>
          </c:dPt>
          <c:dPt>
            <c:idx val="933"/>
            <c:invertIfNegative val="1"/>
            <c:bubble3D val="0"/>
            <c:spPr>
              <a:solidFill>
                <a:srgbClr val="AEABAB"/>
              </a:solidFill>
            </c:spPr>
            <c:extLst>
              <c:ext xmlns:c16="http://schemas.microsoft.com/office/drawing/2014/chart" uri="{C3380CC4-5D6E-409C-BE32-E72D297353CC}">
                <c16:uniqueId val="{0000074D-D46E-4B35-AB90-9DEAD12B463E}"/>
              </c:ext>
            </c:extLst>
          </c:dPt>
          <c:dPt>
            <c:idx val="934"/>
            <c:invertIfNegative val="1"/>
            <c:bubble3D val="0"/>
            <c:spPr>
              <a:solidFill>
                <a:srgbClr val="AEABAB"/>
              </a:solidFill>
            </c:spPr>
            <c:extLst>
              <c:ext xmlns:c16="http://schemas.microsoft.com/office/drawing/2014/chart" uri="{C3380CC4-5D6E-409C-BE32-E72D297353CC}">
                <c16:uniqueId val="{0000074F-D46E-4B35-AB90-9DEAD12B463E}"/>
              </c:ext>
            </c:extLst>
          </c:dPt>
          <c:dPt>
            <c:idx val="935"/>
            <c:invertIfNegative val="1"/>
            <c:bubble3D val="0"/>
            <c:spPr>
              <a:solidFill>
                <a:srgbClr val="AEABAB"/>
              </a:solidFill>
            </c:spPr>
            <c:extLst>
              <c:ext xmlns:c16="http://schemas.microsoft.com/office/drawing/2014/chart" uri="{C3380CC4-5D6E-409C-BE32-E72D297353CC}">
                <c16:uniqueId val="{00000751-D46E-4B35-AB90-9DEAD12B463E}"/>
              </c:ext>
            </c:extLst>
          </c:dPt>
          <c:dPt>
            <c:idx val="936"/>
            <c:invertIfNegative val="1"/>
            <c:bubble3D val="0"/>
            <c:spPr>
              <a:solidFill>
                <a:srgbClr val="AEABAB"/>
              </a:solidFill>
            </c:spPr>
            <c:extLst>
              <c:ext xmlns:c16="http://schemas.microsoft.com/office/drawing/2014/chart" uri="{C3380CC4-5D6E-409C-BE32-E72D297353CC}">
                <c16:uniqueId val="{00000753-D46E-4B35-AB90-9DEAD12B463E}"/>
              </c:ext>
            </c:extLst>
          </c:dPt>
          <c:dPt>
            <c:idx val="937"/>
            <c:invertIfNegative val="1"/>
            <c:bubble3D val="0"/>
            <c:spPr>
              <a:solidFill>
                <a:srgbClr val="AEABAB"/>
              </a:solidFill>
            </c:spPr>
            <c:extLst>
              <c:ext xmlns:c16="http://schemas.microsoft.com/office/drawing/2014/chart" uri="{C3380CC4-5D6E-409C-BE32-E72D297353CC}">
                <c16:uniqueId val="{00000755-D46E-4B35-AB90-9DEAD12B463E}"/>
              </c:ext>
            </c:extLst>
          </c:dPt>
          <c:dPt>
            <c:idx val="938"/>
            <c:invertIfNegative val="1"/>
            <c:bubble3D val="0"/>
            <c:spPr>
              <a:solidFill>
                <a:srgbClr val="AEABAB"/>
              </a:solidFill>
            </c:spPr>
            <c:extLst>
              <c:ext xmlns:c16="http://schemas.microsoft.com/office/drawing/2014/chart" uri="{C3380CC4-5D6E-409C-BE32-E72D297353CC}">
                <c16:uniqueId val="{00000757-D46E-4B35-AB90-9DEAD12B463E}"/>
              </c:ext>
            </c:extLst>
          </c:dPt>
          <c:dPt>
            <c:idx val="939"/>
            <c:invertIfNegative val="1"/>
            <c:bubble3D val="0"/>
            <c:spPr>
              <a:solidFill>
                <a:srgbClr val="AEABAB"/>
              </a:solidFill>
            </c:spPr>
            <c:extLst>
              <c:ext xmlns:c16="http://schemas.microsoft.com/office/drawing/2014/chart" uri="{C3380CC4-5D6E-409C-BE32-E72D297353CC}">
                <c16:uniqueId val="{00000759-D46E-4B35-AB90-9DEAD12B463E}"/>
              </c:ext>
            </c:extLst>
          </c:dPt>
          <c:dPt>
            <c:idx val="940"/>
            <c:invertIfNegative val="1"/>
            <c:bubble3D val="0"/>
            <c:spPr>
              <a:solidFill>
                <a:srgbClr val="AEABAB"/>
              </a:solidFill>
            </c:spPr>
            <c:extLst>
              <c:ext xmlns:c16="http://schemas.microsoft.com/office/drawing/2014/chart" uri="{C3380CC4-5D6E-409C-BE32-E72D297353CC}">
                <c16:uniqueId val="{0000075B-D46E-4B35-AB90-9DEAD12B463E}"/>
              </c:ext>
            </c:extLst>
          </c:dPt>
          <c:dPt>
            <c:idx val="941"/>
            <c:invertIfNegative val="1"/>
            <c:bubble3D val="0"/>
            <c:spPr>
              <a:solidFill>
                <a:srgbClr val="AEABAB"/>
              </a:solidFill>
            </c:spPr>
            <c:extLst>
              <c:ext xmlns:c16="http://schemas.microsoft.com/office/drawing/2014/chart" uri="{C3380CC4-5D6E-409C-BE32-E72D297353CC}">
                <c16:uniqueId val="{0000075D-D46E-4B35-AB90-9DEAD12B463E}"/>
              </c:ext>
            </c:extLst>
          </c:dPt>
          <c:dPt>
            <c:idx val="942"/>
            <c:invertIfNegative val="1"/>
            <c:bubble3D val="0"/>
            <c:spPr>
              <a:solidFill>
                <a:srgbClr val="AEABAB"/>
              </a:solidFill>
            </c:spPr>
            <c:extLst>
              <c:ext xmlns:c16="http://schemas.microsoft.com/office/drawing/2014/chart" uri="{C3380CC4-5D6E-409C-BE32-E72D297353CC}">
                <c16:uniqueId val="{0000075F-D46E-4B35-AB90-9DEAD12B463E}"/>
              </c:ext>
            </c:extLst>
          </c:dPt>
          <c:dPt>
            <c:idx val="943"/>
            <c:invertIfNegative val="1"/>
            <c:bubble3D val="0"/>
            <c:spPr>
              <a:solidFill>
                <a:srgbClr val="AEABAB"/>
              </a:solidFill>
            </c:spPr>
            <c:extLst>
              <c:ext xmlns:c16="http://schemas.microsoft.com/office/drawing/2014/chart" uri="{C3380CC4-5D6E-409C-BE32-E72D297353CC}">
                <c16:uniqueId val="{00000761-D46E-4B35-AB90-9DEAD12B463E}"/>
              </c:ext>
            </c:extLst>
          </c:dPt>
          <c:dPt>
            <c:idx val="944"/>
            <c:invertIfNegative val="1"/>
            <c:bubble3D val="0"/>
            <c:spPr>
              <a:solidFill>
                <a:srgbClr val="AEABAB"/>
              </a:solidFill>
            </c:spPr>
            <c:extLst>
              <c:ext xmlns:c16="http://schemas.microsoft.com/office/drawing/2014/chart" uri="{C3380CC4-5D6E-409C-BE32-E72D297353CC}">
                <c16:uniqueId val="{00000763-D46E-4B35-AB90-9DEAD12B463E}"/>
              </c:ext>
            </c:extLst>
          </c:dPt>
          <c:dPt>
            <c:idx val="945"/>
            <c:invertIfNegative val="1"/>
            <c:bubble3D val="0"/>
            <c:spPr>
              <a:solidFill>
                <a:srgbClr val="AEABAB"/>
              </a:solidFill>
            </c:spPr>
            <c:extLst>
              <c:ext xmlns:c16="http://schemas.microsoft.com/office/drawing/2014/chart" uri="{C3380CC4-5D6E-409C-BE32-E72D297353CC}">
                <c16:uniqueId val="{00000765-D46E-4B35-AB90-9DEAD12B463E}"/>
              </c:ext>
            </c:extLst>
          </c:dPt>
          <c:dPt>
            <c:idx val="946"/>
            <c:invertIfNegative val="1"/>
            <c:bubble3D val="0"/>
            <c:spPr>
              <a:solidFill>
                <a:srgbClr val="AEABAB"/>
              </a:solidFill>
            </c:spPr>
            <c:extLst>
              <c:ext xmlns:c16="http://schemas.microsoft.com/office/drawing/2014/chart" uri="{C3380CC4-5D6E-409C-BE32-E72D297353CC}">
                <c16:uniqueId val="{00000767-D46E-4B35-AB90-9DEAD12B463E}"/>
              </c:ext>
            </c:extLst>
          </c:dPt>
          <c:dPt>
            <c:idx val="947"/>
            <c:invertIfNegative val="1"/>
            <c:bubble3D val="0"/>
            <c:spPr>
              <a:solidFill>
                <a:srgbClr val="AEABAB"/>
              </a:solidFill>
            </c:spPr>
            <c:extLst>
              <c:ext xmlns:c16="http://schemas.microsoft.com/office/drawing/2014/chart" uri="{C3380CC4-5D6E-409C-BE32-E72D297353CC}">
                <c16:uniqueId val="{00000769-D46E-4B35-AB90-9DEAD12B463E}"/>
              </c:ext>
            </c:extLst>
          </c:dPt>
          <c:dPt>
            <c:idx val="948"/>
            <c:invertIfNegative val="1"/>
            <c:bubble3D val="0"/>
            <c:spPr>
              <a:solidFill>
                <a:srgbClr val="AEABAB"/>
              </a:solidFill>
            </c:spPr>
            <c:extLst>
              <c:ext xmlns:c16="http://schemas.microsoft.com/office/drawing/2014/chart" uri="{C3380CC4-5D6E-409C-BE32-E72D297353CC}">
                <c16:uniqueId val="{0000076B-D46E-4B35-AB90-9DEAD12B463E}"/>
              </c:ext>
            </c:extLst>
          </c:dPt>
          <c:dPt>
            <c:idx val="949"/>
            <c:invertIfNegative val="1"/>
            <c:bubble3D val="0"/>
            <c:spPr>
              <a:solidFill>
                <a:srgbClr val="AEABAB"/>
              </a:solidFill>
            </c:spPr>
            <c:extLst>
              <c:ext xmlns:c16="http://schemas.microsoft.com/office/drawing/2014/chart" uri="{C3380CC4-5D6E-409C-BE32-E72D297353CC}">
                <c16:uniqueId val="{0000076D-D46E-4B35-AB90-9DEAD12B463E}"/>
              </c:ext>
            </c:extLst>
          </c:dPt>
          <c:dPt>
            <c:idx val="950"/>
            <c:invertIfNegative val="1"/>
            <c:bubble3D val="0"/>
            <c:spPr>
              <a:solidFill>
                <a:srgbClr val="AEABAB"/>
              </a:solidFill>
            </c:spPr>
            <c:extLst>
              <c:ext xmlns:c16="http://schemas.microsoft.com/office/drawing/2014/chart" uri="{C3380CC4-5D6E-409C-BE32-E72D297353CC}">
                <c16:uniqueId val="{0000076F-D46E-4B35-AB90-9DEAD12B463E}"/>
              </c:ext>
            </c:extLst>
          </c:dPt>
          <c:dPt>
            <c:idx val="951"/>
            <c:invertIfNegative val="1"/>
            <c:bubble3D val="0"/>
            <c:spPr>
              <a:solidFill>
                <a:srgbClr val="AEABAB"/>
              </a:solidFill>
            </c:spPr>
            <c:extLst>
              <c:ext xmlns:c16="http://schemas.microsoft.com/office/drawing/2014/chart" uri="{C3380CC4-5D6E-409C-BE32-E72D297353CC}">
                <c16:uniqueId val="{00000771-D46E-4B35-AB90-9DEAD12B463E}"/>
              </c:ext>
            </c:extLst>
          </c:dPt>
          <c:dPt>
            <c:idx val="952"/>
            <c:invertIfNegative val="1"/>
            <c:bubble3D val="0"/>
            <c:spPr>
              <a:solidFill>
                <a:srgbClr val="AEABAB"/>
              </a:solidFill>
            </c:spPr>
            <c:extLst>
              <c:ext xmlns:c16="http://schemas.microsoft.com/office/drawing/2014/chart" uri="{C3380CC4-5D6E-409C-BE32-E72D297353CC}">
                <c16:uniqueId val="{00000773-D46E-4B35-AB90-9DEAD12B463E}"/>
              </c:ext>
            </c:extLst>
          </c:dPt>
          <c:dPt>
            <c:idx val="953"/>
            <c:invertIfNegative val="1"/>
            <c:bubble3D val="0"/>
            <c:spPr>
              <a:solidFill>
                <a:srgbClr val="AEABAB"/>
              </a:solidFill>
            </c:spPr>
            <c:extLst>
              <c:ext xmlns:c16="http://schemas.microsoft.com/office/drawing/2014/chart" uri="{C3380CC4-5D6E-409C-BE32-E72D297353CC}">
                <c16:uniqueId val="{00000775-D46E-4B35-AB90-9DEAD12B463E}"/>
              </c:ext>
            </c:extLst>
          </c:dPt>
          <c:dPt>
            <c:idx val="954"/>
            <c:invertIfNegative val="1"/>
            <c:bubble3D val="0"/>
            <c:spPr>
              <a:solidFill>
                <a:srgbClr val="AEABAB"/>
              </a:solidFill>
            </c:spPr>
            <c:extLst>
              <c:ext xmlns:c16="http://schemas.microsoft.com/office/drawing/2014/chart" uri="{C3380CC4-5D6E-409C-BE32-E72D297353CC}">
                <c16:uniqueId val="{00000777-D46E-4B35-AB90-9DEAD12B463E}"/>
              </c:ext>
            </c:extLst>
          </c:dPt>
          <c:dPt>
            <c:idx val="955"/>
            <c:invertIfNegative val="1"/>
            <c:bubble3D val="0"/>
            <c:spPr>
              <a:solidFill>
                <a:srgbClr val="AEABAB"/>
              </a:solidFill>
            </c:spPr>
            <c:extLst>
              <c:ext xmlns:c16="http://schemas.microsoft.com/office/drawing/2014/chart" uri="{C3380CC4-5D6E-409C-BE32-E72D297353CC}">
                <c16:uniqueId val="{00000779-D46E-4B35-AB90-9DEAD12B463E}"/>
              </c:ext>
            </c:extLst>
          </c:dPt>
          <c:dPt>
            <c:idx val="956"/>
            <c:invertIfNegative val="1"/>
            <c:bubble3D val="0"/>
            <c:spPr>
              <a:solidFill>
                <a:srgbClr val="AEABAB"/>
              </a:solidFill>
            </c:spPr>
            <c:extLst>
              <c:ext xmlns:c16="http://schemas.microsoft.com/office/drawing/2014/chart" uri="{C3380CC4-5D6E-409C-BE32-E72D297353CC}">
                <c16:uniqueId val="{0000077B-D46E-4B35-AB90-9DEAD12B463E}"/>
              </c:ext>
            </c:extLst>
          </c:dPt>
          <c:dPt>
            <c:idx val="957"/>
            <c:invertIfNegative val="1"/>
            <c:bubble3D val="0"/>
            <c:spPr>
              <a:solidFill>
                <a:srgbClr val="AEABAB"/>
              </a:solidFill>
            </c:spPr>
            <c:extLst>
              <c:ext xmlns:c16="http://schemas.microsoft.com/office/drawing/2014/chart" uri="{C3380CC4-5D6E-409C-BE32-E72D297353CC}">
                <c16:uniqueId val="{0000077D-D46E-4B35-AB90-9DEAD12B463E}"/>
              </c:ext>
            </c:extLst>
          </c:dPt>
          <c:dPt>
            <c:idx val="958"/>
            <c:invertIfNegative val="1"/>
            <c:bubble3D val="0"/>
            <c:spPr>
              <a:solidFill>
                <a:srgbClr val="AEABAB"/>
              </a:solidFill>
            </c:spPr>
            <c:extLst>
              <c:ext xmlns:c16="http://schemas.microsoft.com/office/drawing/2014/chart" uri="{C3380CC4-5D6E-409C-BE32-E72D297353CC}">
                <c16:uniqueId val="{0000077F-D46E-4B35-AB90-9DEAD12B463E}"/>
              </c:ext>
            </c:extLst>
          </c:dPt>
          <c:dPt>
            <c:idx val="959"/>
            <c:invertIfNegative val="1"/>
            <c:bubble3D val="0"/>
            <c:spPr>
              <a:solidFill>
                <a:srgbClr val="AEABAB"/>
              </a:solidFill>
            </c:spPr>
            <c:extLst>
              <c:ext xmlns:c16="http://schemas.microsoft.com/office/drawing/2014/chart" uri="{C3380CC4-5D6E-409C-BE32-E72D297353CC}">
                <c16:uniqueId val="{00000781-D46E-4B35-AB90-9DEAD12B463E}"/>
              </c:ext>
            </c:extLst>
          </c:dPt>
          <c:dPt>
            <c:idx val="960"/>
            <c:invertIfNegative val="1"/>
            <c:bubble3D val="0"/>
            <c:spPr>
              <a:solidFill>
                <a:srgbClr val="AEABAB"/>
              </a:solidFill>
            </c:spPr>
            <c:extLst>
              <c:ext xmlns:c16="http://schemas.microsoft.com/office/drawing/2014/chart" uri="{C3380CC4-5D6E-409C-BE32-E72D297353CC}">
                <c16:uniqueId val="{00000783-D46E-4B35-AB90-9DEAD12B463E}"/>
              </c:ext>
            </c:extLst>
          </c:dPt>
          <c:dPt>
            <c:idx val="961"/>
            <c:invertIfNegative val="1"/>
            <c:bubble3D val="0"/>
            <c:spPr>
              <a:solidFill>
                <a:srgbClr val="AEABAB"/>
              </a:solidFill>
            </c:spPr>
            <c:extLst>
              <c:ext xmlns:c16="http://schemas.microsoft.com/office/drawing/2014/chart" uri="{C3380CC4-5D6E-409C-BE32-E72D297353CC}">
                <c16:uniqueId val="{00000785-D46E-4B35-AB90-9DEAD12B463E}"/>
              </c:ext>
            </c:extLst>
          </c:dPt>
          <c:dPt>
            <c:idx val="962"/>
            <c:invertIfNegative val="1"/>
            <c:bubble3D val="0"/>
            <c:spPr>
              <a:solidFill>
                <a:srgbClr val="AEABAB"/>
              </a:solidFill>
            </c:spPr>
            <c:extLst>
              <c:ext xmlns:c16="http://schemas.microsoft.com/office/drawing/2014/chart" uri="{C3380CC4-5D6E-409C-BE32-E72D297353CC}">
                <c16:uniqueId val="{00000787-D46E-4B35-AB90-9DEAD12B463E}"/>
              </c:ext>
            </c:extLst>
          </c:dPt>
          <c:dPt>
            <c:idx val="963"/>
            <c:invertIfNegative val="1"/>
            <c:bubble3D val="0"/>
            <c:spPr>
              <a:solidFill>
                <a:srgbClr val="AEABAB"/>
              </a:solidFill>
            </c:spPr>
            <c:extLst>
              <c:ext xmlns:c16="http://schemas.microsoft.com/office/drawing/2014/chart" uri="{C3380CC4-5D6E-409C-BE32-E72D297353CC}">
                <c16:uniqueId val="{00000789-D46E-4B35-AB90-9DEAD12B463E}"/>
              </c:ext>
            </c:extLst>
          </c:dPt>
          <c:dPt>
            <c:idx val="964"/>
            <c:invertIfNegative val="1"/>
            <c:bubble3D val="0"/>
            <c:spPr>
              <a:solidFill>
                <a:srgbClr val="AEABAB"/>
              </a:solidFill>
            </c:spPr>
            <c:extLst>
              <c:ext xmlns:c16="http://schemas.microsoft.com/office/drawing/2014/chart" uri="{C3380CC4-5D6E-409C-BE32-E72D297353CC}">
                <c16:uniqueId val="{0000078B-D46E-4B35-AB90-9DEAD12B463E}"/>
              </c:ext>
            </c:extLst>
          </c:dPt>
          <c:dPt>
            <c:idx val="965"/>
            <c:invertIfNegative val="1"/>
            <c:bubble3D val="0"/>
            <c:spPr>
              <a:solidFill>
                <a:srgbClr val="AEABAB"/>
              </a:solidFill>
            </c:spPr>
            <c:extLst>
              <c:ext xmlns:c16="http://schemas.microsoft.com/office/drawing/2014/chart" uri="{C3380CC4-5D6E-409C-BE32-E72D297353CC}">
                <c16:uniqueId val="{0000078D-D46E-4B35-AB90-9DEAD12B463E}"/>
              </c:ext>
            </c:extLst>
          </c:dPt>
          <c:dPt>
            <c:idx val="966"/>
            <c:invertIfNegative val="1"/>
            <c:bubble3D val="0"/>
            <c:spPr>
              <a:solidFill>
                <a:srgbClr val="AEABAB"/>
              </a:solidFill>
            </c:spPr>
            <c:extLst>
              <c:ext xmlns:c16="http://schemas.microsoft.com/office/drawing/2014/chart" uri="{C3380CC4-5D6E-409C-BE32-E72D297353CC}">
                <c16:uniqueId val="{0000078F-D46E-4B35-AB90-9DEAD12B463E}"/>
              </c:ext>
            </c:extLst>
          </c:dPt>
          <c:dPt>
            <c:idx val="967"/>
            <c:invertIfNegative val="1"/>
            <c:bubble3D val="0"/>
            <c:spPr>
              <a:solidFill>
                <a:srgbClr val="AEABAB"/>
              </a:solidFill>
            </c:spPr>
            <c:extLst>
              <c:ext xmlns:c16="http://schemas.microsoft.com/office/drawing/2014/chart" uri="{C3380CC4-5D6E-409C-BE32-E72D297353CC}">
                <c16:uniqueId val="{00000791-D46E-4B35-AB90-9DEAD12B463E}"/>
              </c:ext>
            </c:extLst>
          </c:dPt>
          <c:dPt>
            <c:idx val="968"/>
            <c:invertIfNegative val="1"/>
            <c:bubble3D val="0"/>
            <c:spPr>
              <a:solidFill>
                <a:srgbClr val="AEABAB"/>
              </a:solidFill>
            </c:spPr>
            <c:extLst>
              <c:ext xmlns:c16="http://schemas.microsoft.com/office/drawing/2014/chart" uri="{C3380CC4-5D6E-409C-BE32-E72D297353CC}">
                <c16:uniqueId val="{00000793-D46E-4B35-AB90-9DEAD12B463E}"/>
              </c:ext>
            </c:extLst>
          </c:dPt>
          <c:dPt>
            <c:idx val="969"/>
            <c:invertIfNegative val="1"/>
            <c:bubble3D val="0"/>
            <c:spPr>
              <a:solidFill>
                <a:srgbClr val="AEABAB"/>
              </a:solidFill>
            </c:spPr>
            <c:extLst>
              <c:ext xmlns:c16="http://schemas.microsoft.com/office/drawing/2014/chart" uri="{C3380CC4-5D6E-409C-BE32-E72D297353CC}">
                <c16:uniqueId val="{00000795-D46E-4B35-AB90-9DEAD12B463E}"/>
              </c:ext>
            </c:extLst>
          </c:dPt>
          <c:dPt>
            <c:idx val="970"/>
            <c:invertIfNegative val="1"/>
            <c:bubble3D val="0"/>
            <c:spPr>
              <a:solidFill>
                <a:srgbClr val="AEABAB"/>
              </a:solidFill>
            </c:spPr>
            <c:extLst>
              <c:ext xmlns:c16="http://schemas.microsoft.com/office/drawing/2014/chart" uri="{C3380CC4-5D6E-409C-BE32-E72D297353CC}">
                <c16:uniqueId val="{00000797-D46E-4B35-AB90-9DEAD12B463E}"/>
              </c:ext>
            </c:extLst>
          </c:dPt>
          <c:dPt>
            <c:idx val="971"/>
            <c:invertIfNegative val="1"/>
            <c:bubble3D val="0"/>
            <c:spPr>
              <a:solidFill>
                <a:srgbClr val="AEABAB"/>
              </a:solidFill>
            </c:spPr>
            <c:extLst>
              <c:ext xmlns:c16="http://schemas.microsoft.com/office/drawing/2014/chart" uri="{C3380CC4-5D6E-409C-BE32-E72D297353CC}">
                <c16:uniqueId val="{00000799-D46E-4B35-AB90-9DEAD12B463E}"/>
              </c:ext>
            </c:extLst>
          </c:dPt>
          <c:dPt>
            <c:idx val="972"/>
            <c:invertIfNegative val="1"/>
            <c:bubble3D val="0"/>
            <c:spPr>
              <a:solidFill>
                <a:srgbClr val="AEABAB"/>
              </a:solidFill>
            </c:spPr>
            <c:extLst>
              <c:ext xmlns:c16="http://schemas.microsoft.com/office/drawing/2014/chart" uri="{C3380CC4-5D6E-409C-BE32-E72D297353CC}">
                <c16:uniqueId val="{0000079B-D46E-4B35-AB90-9DEAD12B463E}"/>
              </c:ext>
            </c:extLst>
          </c:dPt>
          <c:dPt>
            <c:idx val="973"/>
            <c:invertIfNegative val="1"/>
            <c:bubble3D val="0"/>
            <c:spPr>
              <a:solidFill>
                <a:srgbClr val="AEABAB"/>
              </a:solidFill>
            </c:spPr>
            <c:extLst>
              <c:ext xmlns:c16="http://schemas.microsoft.com/office/drawing/2014/chart" uri="{C3380CC4-5D6E-409C-BE32-E72D297353CC}">
                <c16:uniqueId val="{0000079D-D46E-4B35-AB90-9DEAD12B463E}"/>
              </c:ext>
            </c:extLst>
          </c:dPt>
          <c:dPt>
            <c:idx val="974"/>
            <c:invertIfNegative val="1"/>
            <c:bubble3D val="0"/>
            <c:spPr>
              <a:solidFill>
                <a:srgbClr val="AEABAB"/>
              </a:solidFill>
            </c:spPr>
            <c:extLst>
              <c:ext xmlns:c16="http://schemas.microsoft.com/office/drawing/2014/chart" uri="{C3380CC4-5D6E-409C-BE32-E72D297353CC}">
                <c16:uniqueId val="{0000079F-D46E-4B35-AB90-9DEAD12B463E}"/>
              </c:ext>
            </c:extLst>
          </c:dPt>
          <c:dPt>
            <c:idx val="975"/>
            <c:invertIfNegative val="1"/>
            <c:bubble3D val="0"/>
            <c:spPr>
              <a:solidFill>
                <a:srgbClr val="AEABAB"/>
              </a:solidFill>
            </c:spPr>
            <c:extLst>
              <c:ext xmlns:c16="http://schemas.microsoft.com/office/drawing/2014/chart" uri="{C3380CC4-5D6E-409C-BE32-E72D297353CC}">
                <c16:uniqueId val="{000007A1-D46E-4B35-AB90-9DEAD12B463E}"/>
              </c:ext>
            </c:extLst>
          </c:dPt>
          <c:dPt>
            <c:idx val="976"/>
            <c:invertIfNegative val="1"/>
            <c:bubble3D val="0"/>
            <c:spPr>
              <a:solidFill>
                <a:srgbClr val="AEABAB"/>
              </a:solidFill>
            </c:spPr>
            <c:extLst>
              <c:ext xmlns:c16="http://schemas.microsoft.com/office/drawing/2014/chart" uri="{C3380CC4-5D6E-409C-BE32-E72D297353CC}">
                <c16:uniqueId val="{000007A3-D46E-4B35-AB90-9DEAD12B463E}"/>
              </c:ext>
            </c:extLst>
          </c:dPt>
          <c:dPt>
            <c:idx val="977"/>
            <c:invertIfNegative val="1"/>
            <c:bubble3D val="0"/>
            <c:spPr>
              <a:solidFill>
                <a:srgbClr val="AEABAB"/>
              </a:solidFill>
            </c:spPr>
            <c:extLst>
              <c:ext xmlns:c16="http://schemas.microsoft.com/office/drawing/2014/chart" uri="{C3380CC4-5D6E-409C-BE32-E72D297353CC}">
                <c16:uniqueId val="{000007A5-D46E-4B35-AB90-9DEAD12B463E}"/>
              </c:ext>
            </c:extLst>
          </c:dPt>
          <c:dPt>
            <c:idx val="978"/>
            <c:invertIfNegative val="1"/>
            <c:bubble3D val="0"/>
            <c:spPr>
              <a:solidFill>
                <a:srgbClr val="AEABAB"/>
              </a:solidFill>
            </c:spPr>
            <c:extLst>
              <c:ext xmlns:c16="http://schemas.microsoft.com/office/drawing/2014/chart" uri="{C3380CC4-5D6E-409C-BE32-E72D297353CC}">
                <c16:uniqueId val="{000007A7-D46E-4B35-AB90-9DEAD12B463E}"/>
              </c:ext>
            </c:extLst>
          </c:dPt>
          <c:dPt>
            <c:idx val="979"/>
            <c:invertIfNegative val="1"/>
            <c:bubble3D val="0"/>
            <c:spPr>
              <a:solidFill>
                <a:srgbClr val="AEABAB"/>
              </a:solidFill>
            </c:spPr>
            <c:extLst>
              <c:ext xmlns:c16="http://schemas.microsoft.com/office/drawing/2014/chart" uri="{C3380CC4-5D6E-409C-BE32-E72D297353CC}">
                <c16:uniqueId val="{000007A9-D46E-4B35-AB90-9DEAD12B463E}"/>
              </c:ext>
            </c:extLst>
          </c:dPt>
          <c:dPt>
            <c:idx val="980"/>
            <c:invertIfNegative val="1"/>
            <c:bubble3D val="0"/>
            <c:spPr>
              <a:solidFill>
                <a:srgbClr val="AEABAB"/>
              </a:solidFill>
            </c:spPr>
            <c:extLst>
              <c:ext xmlns:c16="http://schemas.microsoft.com/office/drawing/2014/chart" uri="{C3380CC4-5D6E-409C-BE32-E72D297353CC}">
                <c16:uniqueId val="{000007AB-D46E-4B35-AB90-9DEAD12B463E}"/>
              </c:ext>
            </c:extLst>
          </c:dPt>
          <c:dPt>
            <c:idx val="981"/>
            <c:invertIfNegative val="1"/>
            <c:bubble3D val="0"/>
            <c:spPr>
              <a:solidFill>
                <a:srgbClr val="AEABAB"/>
              </a:solidFill>
            </c:spPr>
            <c:extLst>
              <c:ext xmlns:c16="http://schemas.microsoft.com/office/drawing/2014/chart" uri="{C3380CC4-5D6E-409C-BE32-E72D297353CC}">
                <c16:uniqueId val="{000007AD-D46E-4B35-AB90-9DEAD12B463E}"/>
              </c:ext>
            </c:extLst>
          </c:dPt>
          <c:dPt>
            <c:idx val="982"/>
            <c:invertIfNegative val="1"/>
            <c:bubble3D val="0"/>
            <c:spPr>
              <a:solidFill>
                <a:srgbClr val="AEABAB"/>
              </a:solidFill>
            </c:spPr>
            <c:extLst>
              <c:ext xmlns:c16="http://schemas.microsoft.com/office/drawing/2014/chart" uri="{C3380CC4-5D6E-409C-BE32-E72D297353CC}">
                <c16:uniqueId val="{000007AF-D46E-4B35-AB90-9DEAD12B463E}"/>
              </c:ext>
            </c:extLst>
          </c:dPt>
          <c:dPt>
            <c:idx val="983"/>
            <c:invertIfNegative val="1"/>
            <c:bubble3D val="0"/>
            <c:spPr>
              <a:solidFill>
                <a:srgbClr val="AEABAB"/>
              </a:solidFill>
            </c:spPr>
            <c:extLst>
              <c:ext xmlns:c16="http://schemas.microsoft.com/office/drawing/2014/chart" uri="{C3380CC4-5D6E-409C-BE32-E72D297353CC}">
                <c16:uniqueId val="{000007B1-D46E-4B35-AB90-9DEAD12B463E}"/>
              </c:ext>
            </c:extLst>
          </c:dPt>
          <c:dPt>
            <c:idx val="984"/>
            <c:invertIfNegative val="1"/>
            <c:bubble3D val="0"/>
            <c:spPr>
              <a:solidFill>
                <a:srgbClr val="AEABAB"/>
              </a:solidFill>
            </c:spPr>
            <c:extLst>
              <c:ext xmlns:c16="http://schemas.microsoft.com/office/drawing/2014/chart" uri="{C3380CC4-5D6E-409C-BE32-E72D297353CC}">
                <c16:uniqueId val="{000007B3-D46E-4B35-AB90-9DEAD12B463E}"/>
              </c:ext>
            </c:extLst>
          </c:dPt>
          <c:dPt>
            <c:idx val="985"/>
            <c:invertIfNegative val="1"/>
            <c:bubble3D val="0"/>
            <c:spPr>
              <a:solidFill>
                <a:srgbClr val="AEABAB"/>
              </a:solidFill>
            </c:spPr>
            <c:extLst>
              <c:ext xmlns:c16="http://schemas.microsoft.com/office/drawing/2014/chart" uri="{C3380CC4-5D6E-409C-BE32-E72D297353CC}">
                <c16:uniqueId val="{000007B5-D46E-4B35-AB90-9DEAD12B463E}"/>
              </c:ext>
            </c:extLst>
          </c:dPt>
          <c:dPt>
            <c:idx val="986"/>
            <c:invertIfNegative val="1"/>
            <c:bubble3D val="0"/>
            <c:spPr>
              <a:solidFill>
                <a:srgbClr val="AEABAB"/>
              </a:solidFill>
            </c:spPr>
            <c:extLst>
              <c:ext xmlns:c16="http://schemas.microsoft.com/office/drawing/2014/chart" uri="{C3380CC4-5D6E-409C-BE32-E72D297353CC}">
                <c16:uniqueId val="{000007B7-D46E-4B35-AB90-9DEAD12B463E}"/>
              </c:ext>
            </c:extLst>
          </c:dPt>
          <c:dPt>
            <c:idx val="987"/>
            <c:invertIfNegative val="1"/>
            <c:bubble3D val="0"/>
            <c:spPr>
              <a:solidFill>
                <a:srgbClr val="AEABAB"/>
              </a:solidFill>
            </c:spPr>
            <c:extLst>
              <c:ext xmlns:c16="http://schemas.microsoft.com/office/drawing/2014/chart" uri="{C3380CC4-5D6E-409C-BE32-E72D297353CC}">
                <c16:uniqueId val="{000007B9-D46E-4B35-AB90-9DEAD12B463E}"/>
              </c:ext>
            </c:extLst>
          </c:dPt>
          <c:dPt>
            <c:idx val="988"/>
            <c:invertIfNegative val="1"/>
            <c:bubble3D val="0"/>
            <c:spPr>
              <a:solidFill>
                <a:srgbClr val="AEABAB"/>
              </a:solidFill>
            </c:spPr>
            <c:extLst>
              <c:ext xmlns:c16="http://schemas.microsoft.com/office/drawing/2014/chart" uri="{C3380CC4-5D6E-409C-BE32-E72D297353CC}">
                <c16:uniqueId val="{000007BB-D46E-4B35-AB90-9DEAD12B463E}"/>
              </c:ext>
            </c:extLst>
          </c:dPt>
          <c:dPt>
            <c:idx val="989"/>
            <c:invertIfNegative val="1"/>
            <c:bubble3D val="0"/>
            <c:spPr>
              <a:solidFill>
                <a:srgbClr val="AEABAB"/>
              </a:solidFill>
            </c:spPr>
            <c:extLst>
              <c:ext xmlns:c16="http://schemas.microsoft.com/office/drawing/2014/chart" uri="{C3380CC4-5D6E-409C-BE32-E72D297353CC}">
                <c16:uniqueId val="{000007BD-D46E-4B35-AB90-9DEAD12B463E}"/>
              </c:ext>
            </c:extLst>
          </c:dPt>
          <c:dPt>
            <c:idx val="990"/>
            <c:invertIfNegative val="1"/>
            <c:bubble3D val="0"/>
            <c:spPr>
              <a:solidFill>
                <a:srgbClr val="AEABAB"/>
              </a:solidFill>
            </c:spPr>
            <c:extLst>
              <c:ext xmlns:c16="http://schemas.microsoft.com/office/drawing/2014/chart" uri="{C3380CC4-5D6E-409C-BE32-E72D297353CC}">
                <c16:uniqueId val="{000007BF-D46E-4B35-AB90-9DEAD12B463E}"/>
              </c:ext>
            </c:extLst>
          </c:dPt>
          <c:dPt>
            <c:idx val="991"/>
            <c:invertIfNegative val="1"/>
            <c:bubble3D val="0"/>
            <c:spPr>
              <a:solidFill>
                <a:srgbClr val="AEABAB"/>
              </a:solidFill>
            </c:spPr>
            <c:extLst>
              <c:ext xmlns:c16="http://schemas.microsoft.com/office/drawing/2014/chart" uri="{C3380CC4-5D6E-409C-BE32-E72D297353CC}">
                <c16:uniqueId val="{000007C1-D46E-4B35-AB90-9DEAD12B463E}"/>
              </c:ext>
            </c:extLst>
          </c:dPt>
          <c:dPt>
            <c:idx val="992"/>
            <c:invertIfNegative val="1"/>
            <c:bubble3D val="0"/>
            <c:spPr>
              <a:solidFill>
                <a:srgbClr val="AEABAB"/>
              </a:solidFill>
            </c:spPr>
            <c:extLst>
              <c:ext xmlns:c16="http://schemas.microsoft.com/office/drawing/2014/chart" uri="{C3380CC4-5D6E-409C-BE32-E72D297353CC}">
                <c16:uniqueId val="{000007C3-D46E-4B35-AB90-9DEAD12B463E}"/>
              </c:ext>
            </c:extLst>
          </c:dPt>
          <c:dPt>
            <c:idx val="993"/>
            <c:invertIfNegative val="1"/>
            <c:bubble3D val="0"/>
            <c:spPr>
              <a:solidFill>
                <a:srgbClr val="AEABAB"/>
              </a:solidFill>
            </c:spPr>
            <c:extLst>
              <c:ext xmlns:c16="http://schemas.microsoft.com/office/drawing/2014/chart" uri="{C3380CC4-5D6E-409C-BE32-E72D297353CC}">
                <c16:uniqueId val="{000007C5-D46E-4B35-AB90-9DEAD12B463E}"/>
              </c:ext>
            </c:extLst>
          </c:dPt>
          <c:dPt>
            <c:idx val="994"/>
            <c:invertIfNegative val="1"/>
            <c:bubble3D val="0"/>
            <c:spPr>
              <a:solidFill>
                <a:srgbClr val="AEABAB"/>
              </a:solidFill>
            </c:spPr>
            <c:extLst>
              <c:ext xmlns:c16="http://schemas.microsoft.com/office/drawing/2014/chart" uri="{C3380CC4-5D6E-409C-BE32-E72D297353CC}">
                <c16:uniqueId val="{000007C7-D46E-4B35-AB90-9DEAD12B463E}"/>
              </c:ext>
            </c:extLst>
          </c:dPt>
          <c:dPt>
            <c:idx val="995"/>
            <c:invertIfNegative val="1"/>
            <c:bubble3D val="0"/>
            <c:spPr>
              <a:solidFill>
                <a:srgbClr val="AEABAB"/>
              </a:solidFill>
            </c:spPr>
            <c:extLst>
              <c:ext xmlns:c16="http://schemas.microsoft.com/office/drawing/2014/chart" uri="{C3380CC4-5D6E-409C-BE32-E72D297353CC}">
                <c16:uniqueId val="{000007C9-D46E-4B35-AB90-9DEAD12B463E}"/>
              </c:ext>
            </c:extLst>
          </c:dPt>
          <c:dPt>
            <c:idx val="996"/>
            <c:invertIfNegative val="1"/>
            <c:bubble3D val="0"/>
            <c:spPr>
              <a:solidFill>
                <a:srgbClr val="AEABAB"/>
              </a:solidFill>
            </c:spPr>
            <c:extLst>
              <c:ext xmlns:c16="http://schemas.microsoft.com/office/drawing/2014/chart" uri="{C3380CC4-5D6E-409C-BE32-E72D297353CC}">
                <c16:uniqueId val="{000007CB-D46E-4B35-AB90-9DEAD12B463E}"/>
              </c:ext>
            </c:extLst>
          </c:dPt>
          <c:dPt>
            <c:idx val="997"/>
            <c:invertIfNegative val="1"/>
            <c:bubble3D val="0"/>
            <c:spPr>
              <a:solidFill>
                <a:srgbClr val="AEABAB"/>
              </a:solidFill>
            </c:spPr>
            <c:extLst>
              <c:ext xmlns:c16="http://schemas.microsoft.com/office/drawing/2014/chart" uri="{C3380CC4-5D6E-409C-BE32-E72D297353CC}">
                <c16:uniqueId val="{000007CD-D46E-4B35-AB90-9DEAD12B463E}"/>
              </c:ext>
            </c:extLst>
          </c:dPt>
          <c:dPt>
            <c:idx val="998"/>
            <c:invertIfNegative val="1"/>
            <c:bubble3D val="0"/>
            <c:spPr>
              <a:solidFill>
                <a:srgbClr val="AEABAB"/>
              </a:solidFill>
            </c:spPr>
            <c:extLst>
              <c:ext xmlns:c16="http://schemas.microsoft.com/office/drawing/2014/chart" uri="{C3380CC4-5D6E-409C-BE32-E72D297353CC}">
                <c16:uniqueId val="{000007CF-D46E-4B35-AB90-9DEAD12B463E}"/>
              </c:ext>
            </c:extLst>
          </c:dPt>
          <c:dPt>
            <c:idx val="999"/>
            <c:invertIfNegative val="1"/>
            <c:bubble3D val="0"/>
            <c:spPr>
              <a:solidFill>
                <a:srgbClr val="AEABAB"/>
              </a:solidFill>
            </c:spPr>
            <c:extLst>
              <c:ext xmlns:c16="http://schemas.microsoft.com/office/drawing/2014/chart" uri="{C3380CC4-5D6E-409C-BE32-E72D297353CC}">
                <c16:uniqueId val="{000007D1-D46E-4B35-AB90-9DEAD12B463E}"/>
              </c:ext>
            </c:extLst>
          </c:dPt>
          <c:dPt>
            <c:idx val="1000"/>
            <c:invertIfNegative val="1"/>
            <c:bubble3D val="0"/>
            <c:spPr>
              <a:solidFill>
                <a:srgbClr val="AEABAB"/>
              </a:solidFill>
            </c:spPr>
            <c:extLst>
              <c:ext xmlns:c16="http://schemas.microsoft.com/office/drawing/2014/chart" uri="{C3380CC4-5D6E-409C-BE32-E72D297353CC}">
                <c16:uniqueId val="{000007D3-D46E-4B35-AB90-9DEAD12B463E}"/>
              </c:ext>
            </c:extLst>
          </c:dPt>
          <c:dPt>
            <c:idx val="1001"/>
            <c:invertIfNegative val="1"/>
            <c:bubble3D val="0"/>
            <c:spPr>
              <a:solidFill>
                <a:srgbClr val="AEABAB"/>
              </a:solidFill>
            </c:spPr>
            <c:extLst>
              <c:ext xmlns:c16="http://schemas.microsoft.com/office/drawing/2014/chart" uri="{C3380CC4-5D6E-409C-BE32-E72D297353CC}">
                <c16:uniqueId val="{000007D5-D46E-4B35-AB90-9DEAD12B463E}"/>
              </c:ext>
            </c:extLst>
          </c:dPt>
          <c:dPt>
            <c:idx val="1002"/>
            <c:invertIfNegative val="1"/>
            <c:bubble3D val="0"/>
            <c:spPr>
              <a:solidFill>
                <a:srgbClr val="AEABAB"/>
              </a:solidFill>
            </c:spPr>
            <c:extLst>
              <c:ext xmlns:c16="http://schemas.microsoft.com/office/drawing/2014/chart" uri="{C3380CC4-5D6E-409C-BE32-E72D297353CC}">
                <c16:uniqueId val="{000007D7-D46E-4B35-AB90-9DEAD12B463E}"/>
              </c:ext>
            </c:extLst>
          </c:dPt>
          <c:dPt>
            <c:idx val="1003"/>
            <c:invertIfNegative val="1"/>
            <c:bubble3D val="0"/>
            <c:spPr>
              <a:solidFill>
                <a:srgbClr val="AEABAB"/>
              </a:solidFill>
            </c:spPr>
            <c:extLst>
              <c:ext xmlns:c16="http://schemas.microsoft.com/office/drawing/2014/chart" uri="{C3380CC4-5D6E-409C-BE32-E72D297353CC}">
                <c16:uniqueId val="{000007D9-D46E-4B35-AB90-9DEAD12B463E}"/>
              </c:ext>
            </c:extLst>
          </c:dPt>
          <c:dPt>
            <c:idx val="1004"/>
            <c:invertIfNegative val="1"/>
            <c:bubble3D val="0"/>
            <c:spPr>
              <a:solidFill>
                <a:srgbClr val="AEABAB"/>
              </a:solidFill>
            </c:spPr>
            <c:extLst>
              <c:ext xmlns:c16="http://schemas.microsoft.com/office/drawing/2014/chart" uri="{C3380CC4-5D6E-409C-BE32-E72D297353CC}">
                <c16:uniqueId val="{000007DB-D46E-4B35-AB90-9DEAD12B463E}"/>
              </c:ext>
            </c:extLst>
          </c:dPt>
          <c:dPt>
            <c:idx val="1005"/>
            <c:invertIfNegative val="1"/>
            <c:bubble3D val="0"/>
            <c:spPr>
              <a:solidFill>
                <a:srgbClr val="AEABAB"/>
              </a:solidFill>
            </c:spPr>
            <c:extLst>
              <c:ext xmlns:c16="http://schemas.microsoft.com/office/drawing/2014/chart" uri="{C3380CC4-5D6E-409C-BE32-E72D297353CC}">
                <c16:uniqueId val="{000007DD-D46E-4B35-AB90-9DEAD12B463E}"/>
              </c:ext>
            </c:extLst>
          </c:dPt>
          <c:dPt>
            <c:idx val="1006"/>
            <c:invertIfNegative val="1"/>
            <c:bubble3D val="0"/>
            <c:spPr>
              <a:solidFill>
                <a:srgbClr val="AEABAB"/>
              </a:solidFill>
            </c:spPr>
            <c:extLst>
              <c:ext xmlns:c16="http://schemas.microsoft.com/office/drawing/2014/chart" uri="{C3380CC4-5D6E-409C-BE32-E72D297353CC}">
                <c16:uniqueId val="{000007DF-D46E-4B35-AB90-9DEAD12B463E}"/>
              </c:ext>
            </c:extLst>
          </c:dPt>
          <c:dPt>
            <c:idx val="1007"/>
            <c:invertIfNegative val="1"/>
            <c:bubble3D val="0"/>
            <c:spPr>
              <a:solidFill>
                <a:srgbClr val="AEABAB"/>
              </a:solidFill>
            </c:spPr>
            <c:extLst>
              <c:ext xmlns:c16="http://schemas.microsoft.com/office/drawing/2014/chart" uri="{C3380CC4-5D6E-409C-BE32-E72D297353CC}">
                <c16:uniqueId val="{000007E1-D46E-4B35-AB90-9DEAD12B463E}"/>
              </c:ext>
            </c:extLst>
          </c:dPt>
          <c:dPt>
            <c:idx val="1008"/>
            <c:invertIfNegative val="1"/>
            <c:bubble3D val="0"/>
            <c:spPr>
              <a:solidFill>
                <a:srgbClr val="AEABAB"/>
              </a:solidFill>
            </c:spPr>
            <c:extLst>
              <c:ext xmlns:c16="http://schemas.microsoft.com/office/drawing/2014/chart" uri="{C3380CC4-5D6E-409C-BE32-E72D297353CC}">
                <c16:uniqueId val="{000007E3-D46E-4B35-AB90-9DEAD12B463E}"/>
              </c:ext>
            </c:extLst>
          </c:dPt>
          <c:dPt>
            <c:idx val="1009"/>
            <c:invertIfNegative val="1"/>
            <c:bubble3D val="0"/>
            <c:spPr>
              <a:solidFill>
                <a:srgbClr val="AEABAB"/>
              </a:solidFill>
            </c:spPr>
            <c:extLst>
              <c:ext xmlns:c16="http://schemas.microsoft.com/office/drawing/2014/chart" uri="{C3380CC4-5D6E-409C-BE32-E72D297353CC}">
                <c16:uniqueId val="{000007E5-D46E-4B35-AB90-9DEAD12B463E}"/>
              </c:ext>
            </c:extLst>
          </c:dPt>
          <c:dPt>
            <c:idx val="1010"/>
            <c:invertIfNegative val="1"/>
            <c:bubble3D val="0"/>
            <c:spPr>
              <a:solidFill>
                <a:srgbClr val="AEABAB"/>
              </a:solidFill>
            </c:spPr>
            <c:extLst>
              <c:ext xmlns:c16="http://schemas.microsoft.com/office/drawing/2014/chart" uri="{C3380CC4-5D6E-409C-BE32-E72D297353CC}">
                <c16:uniqueId val="{000007E7-D46E-4B35-AB90-9DEAD12B463E}"/>
              </c:ext>
            </c:extLst>
          </c:dPt>
          <c:dPt>
            <c:idx val="1011"/>
            <c:invertIfNegative val="1"/>
            <c:bubble3D val="0"/>
            <c:spPr>
              <a:solidFill>
                <a:srgbClr val="AEABAB"/>
              </a:solidFill>
            </c:spPr>
            <c:extLst>
              <c:ext xmlns:c16="http://schemas.microsoft.com/office/drawing/2014/chart" uri="{C3380CC4-5D6E-409C-BE32-E72D297353CC}">
                <c16:uniqueId val="{000007E9-D46E-4B35-AB90-9DEAD12B463E}"/>
              </c:ext>
            </c:extLst>
          </c:dPt>
          <c:dPt>
            <c:idx val="1012"/>
            <c:invertIfNegative val="1"/>
            <c:bubble3D val="0"/>
            <c:spPr>
              <a:solidFill>
                <a:srgbClr val="AEABAB"/>
              </a:solidFill>
            </c:spPr>
            <c:extLst>
              <c:ext xmlns:c16="http://schemas.microsoft.com/office/drawing/2014/chart" uri="{C3380CC4-5D6E-409C-BE32-E72D297353CC}">
                <c16:uniqueId val="{000007EB-D46E-4B35-AB90-9DEAD12B463E}"/>
              </c:ext>
            </c:extLst>
          </c:dPt>
          <c:dPt>
            <c:idx val="1013"/>
            <c:invertIfNegative val="1"/>
            <c:bubble3D val="0"/>
            <c:spPr>
              <a:solidFill>
                <a:srgbClr val="AEABAB"/>
              </a:solidFill>
            </c:spPr>
            <c:extLst>
              <c:ext xmlns:c16="http://schemas.microsoft.com/office/drawing/2014/chart" uri="{C3380CC4-5D6E-409C-BE32-E72D297353CC}">
                <c16:uniqueId val="{000007ED-D46E-4B35-AB90-9DEAD12B463E}"/>
              </c:ext>
            </c:extLst>
          </c:dPt>
          <c:dPt>
            <c:idx val="1014"/>
            <c:invertIfNegative val="1"/>
            <c:bubble3D val="0"/>
            <c:spPr>
              <a:solidFill>
                <a:srgbClr val="AEABAB"/>
              </a:solidFill>
            </c:spPr>
            <c:extLst>
              <c:ext xmlns:c16="http://schemas.microsoft.com/office/drawing/2014/chart" uri="{C3380CC4-5D6E-409C-BE32-E72D297353CC}">
                <c16:uniqueId val="{000007EF-D46E-4B35-AB90-9DEAD12B463E}"/>
              </c:ext>
            </c:extLst>
          </c:dPt>
          <c:dPt>
            <c:idx val="1015"/>
            <c:invertIfNegative val="1"/>
            <c:bubble3D val="0"/>
            <c:spPr>
              <a:solidFill>
                <a:srgbClr val="AEABAB"/>
              </a:solidFill>
            </c:spPr>
            <c:extLst>
              <c:ext xmlns:c16="http://schemas.microsoft.com/office/drawing/2014/chart" uri="{C3380CC4-5D6E-409C-BE32-E72D297353CC}">
                <c16:uniqueId val="{000007F1-D46E-4B35-AB90-9DEAD12B463E}"/>
              </c:ext>
            </c:extLst>
          </c:dPt>
          <c:dPt>
            <c:idx val="1016"/>
            <c:invertIfNegative val="1"/>
            <c:bubble3D val="0"/>
            <c:spPr>
              <a:solidFill>
                <a:srgbClr val="AEABAB"/>
              </a:solidFill>
            </c:spPr>
            <c:extLst>
              <c:ext xmlns:c16="http://schemas.microsoft.com/office/drawing/2014/chart" uri="{C3380CC4-5D6E-409C-BE32-E72D297353CC}">
                <c16:uniqueId val="{000007F3-D46E-4B35-AB90-9DEAD12B463E}"/>
              </c:ext>
            </c:extLst>
          </c:dPt>
          <c:dPt>
            <c:idx val="1017"/>
            <c:invertIfNegative val="1"/>
            <c:bubble3D val="0"/>
            <c:spPr>
              <a:solidFill>
                <a:srgbClr val="AEABAB"/>
              </a:solidFill>
            </c:spPr>
            <c:extLst>
              <c:ext xmlns:c16="http://schemas.microsoft.com/office/drawing/2014/chart" uri="{C3380CC4-5D6E-409C-BE32-E72D297353CC}">
                <c16:uniqueId val="{000007F5-D46E-4B35-AB90-9DEAD12B463E}"/>
              </c:ext>
            </c:extLst>
          </c:dPt>
          <c:dPt>
            <c:idx val="1018"/>
            <c:invertIfNegative val="1"/>
            <c:bubble3D val="0"/>
            <c:spPr>
              <a:solidFill>
                <a:srgbClr val="AEABAB"/>
              </a:solidFill>
            </c:spPr>
            <c:extLst>
              <c:ext xmlns:c16="http://schemas.microsoft.com/office/drawing/2014/chart" uri="{C3380CC4-5D6E-409C-BE32-E72D297353CC}">
                <c16:uniqueId val="{000007F7-D46E-4B35-AB90-9DEAD12B463E}"/>
              </c:ext>
            </c:extLst>
          </c:dPt>
          <c:dPt>
            <c:idx val="1019"/>
            <c:invertIfNegative val="1"/>
            <c:bubble3D val="0"/>
            <c:spPr>
              <a:solidFill>
                <a:srgbClr val="AEABAB"/>
              </a:solidFill>
            </c:spPr>
            <c:extLst>
              <c:ext xmlns:c16="http://schemas.microsoft.com/office/drawing/2014/chart" uri="{C3380CC4-5D6E-409C-BE32-E72D297353CC}">
                <c16:uniqueId val="{000007F9-D46E-4B35-AB90-9DEAD12B463E}"/>
              </c:ext>
            </c:extLst>
          </c:dPt>
          <c:dPt>
            <c:idx val="1020"/>
            <c:invertIfNegative val="1"/>
            <c:bubble3D val="0"/>
            <c:spPr>
              <a:solidFill>
                <a:srgbClr val="AEABAB"/>
              </a:solidFill>
            </c:spPr>
            <c:extLst>
              <c:ext xmlns:c16="http://schemas.microsoft.com/office/drawing/2014/chart" uri="{C3380CC4-5D6E-409C-BE32-E72D297353CC}">
                <c16:uniqueId val="{000007FB-D46E-4B35-AB90-9DEAD12B463E}"/>
              </c:ext>
            </c:extLst>
          </c:dPt>
          <c:dPt>
            <c:idx val="1021"/>
            <c:invertIfNegative val="1"/>
            <c:bubble3D val="0"/>
            <c:spPr>
              <a:solidFill>
                <a:srgbClr val="AEABAB"/>
              </a:solidFill>
            </c:spPr>
            <c:extLst>
              <c:ext xmlns:c16="http://schemas.microsoft.com/office/drawing/2014/chart" uri="{C3380CC4-5D6E-409C-BE32-E72D297353CC}">
                <c16:uniqueId val="{000007FD-D46E-4B35-AB90-9DEAD12B463E}"/>
              </c:ext>
            </c:extLst>
          </c:dPt>
          <c:dPt>
            <c:idx val="1022"/>
            <c:invertIfNegative val="1"/>
            <c:bubble3D val="0"/>
            <c:spPr>
              <a:solidFill>
                <a:srgbClr val="AEABAB"/>
              </a:solidFill>
            </c:spPr>
            <c:extLst>
              <c:ext xmlns:c16="http://schemas.microsoft.com/office/drawing/2014/chart" uri="{C3380CC4-5D6E-409C-BE32-E72D297353CC}">
                <c16:uniqueId val="{000007FF-D46E-4B35-AB90-9DEAD12B463E}"/>
              </c:ext>
            </c:extLst>
          </c:dPt>
          <c:dPt>
            <c:idx val="1023"/>
            <c:invertIfNegative val="1"/>
            <c:bubble3D val="0"/>
            <c:spPr>
              <a:solidFill>
                <a:srgbClr val="AEABAB"/>
              </a:solidFill>
            </c:spPr>
            <c:extLst>
              <c:ext xmlns:c16="http://schemas.microsoft.com/office/drawing/2014/chart" uri="{C3380CC4-5D6E-409C-BE32-E72D297353CC}">
                <c16:uniqueId val="{00000801-D46E-4B35-AB90-9DEAD12B463E}"/>
              </c:ext>
            </c:extLst>
          </c:dPt>
          <c:dPt>
            <c:idx val="1024"/>
            <c:invertIfNegative val="1"/>
            <c:bubble3D val="0"/>
            <c:spPr>
              <a:solidFill>
                <a:srgbClr val="AEABAB"/>
              </a:solidFill>
            </c:spPr>
            <c:extLst>
              <c:ext xmlns:c16="http://schemas.microsoft.com/office/drawing/2014/chart" uri="{C3380CC4-5D6E-409C-BE32-E72D297353CC}">
                <c16:uniqueId val="{00000803-D46E-4B35-AB90-9DEAD12B463E}"/>
              </c:ext>
            </c:extLst>
          </c:dPt>
          <c:dPt>
            <c:idx val="1025"/>
            <c:invertIfNegative val="1"/>
            <c:bubble3D val="0"/>
            <c:spPr>
              <a:solidFill>
                <a:srgbClr val="AEABAB"/>
              </a:solidFill>
            </c:spPr>
            <c:extLst>
              <c:ext xmlns:c16="http://schemas.microsoft.com/office/drawing/2014/chart" uri="{C3380CC4-5D6E-409C-BE32-E72D297353CC}">
                <c16:uniqueId val="{00000805-D46E-4B35-AB90-9DEAD12B463E}"/>
              </c:ext>
            </c:extLst>
          </c:dPt>
          <c:dPt>
            <c:idx val="1026"/>
            <c:invertIfNegative val="1"/>
            <c:bubble3D val="0"/>
            <c:spPr>
              <a:solidFill>
                <a:srgbClr val="AEABAB"/>
              </a:solidFill>
            </c:spPr>
            <c:extLst>
              <c:ext xmlns:c16="http://schemas.microsoft.com/office/drawing/2014/chart" uri="{C3380CC4-5D6E-409C-BE32-E72D297353CC}">
                <c16:uniqueId val="{00000807-D46E-4B35-AB90-9DEAD12B463E}"/>
              </c:ext>
            </c:extLst>
          </c:dPt>
          <c:dPt>
            <c:idx val="1027"/>
            <c:invertIfNegative val="1"/>
            <c:bubble3D val="0"/>
            <c:spPr>
              <a:solidFill>
                <a:srgbClr val="AEABAB"/>
              </a:solidFill>
            </c:spPr>
            <c:extLst>
              <c:ext xmlns:c16="http://schemas.microsoft.com/office/drawing/2014/chart" uri="{C3380CC4-5D6E-409C-BE32-E72D297353CC}">
                <c16:uniqueId val="{00000809-D46E-4B35-AB90-9DEAD12B463E}"/>
              </c:ext>
            </c:extLst>
          </c:dPt>
          <c:dPt>
            <c:idx val="1028"/>
            <c:invertIfNegative val="1"/>
            <c:bubble3D val="0"/>
            <c:spPr>
              <a:solidFill>
                <a:srgbClr val="AEABAB"/>
              </a:solidFill>
            </c:spPr>
            <c:extLst>
              <c:ext xmlns:c16="http://schemas.microsoft.com/office/drawing/2014/chart" uri="{C3380CC4-5D6E-409C-BE32-E72D297353CC}">
                <c16:uniqueId val="{0000080B-D46E-4B35-AB90-9DEAD12B463E}"/>
              </c:ext>
            </c:extLst>
          </c:dPt>
          <c:dPt>
            <c:idx val="1029"/>
            <c:invertIfNegative val="1"/>
            <c:bubble3D val="0"/>
            <c:spPr>
              <a:solidFill>
                <a:srgbClr val="AEABAB"/>
              </a:solidFill>
            </c:spPr>
            <c:extLst>
              <c:ext xmlns:c16="http://schemas.microsoft.com/office/drawing/2014/chart" uri="{C3380CC4-5D6E-409C-BE32-E72D297353CC}">
                <c16:uniqueId val="{0000080D-D46E-4B35-AB90-9DEAD12B463E}"/>
              </c:ext>
            </c:extLst>
          </c:dPt>
          <c:dPt>
            <c:idx val="1030"/>
            <c:invertIfNegative val="1"/>
            <c:bubble3D val="0"/>
            <c:spPr>
              <a:solidFill>
                <a:srgbClr val="AEABAB"/>
              </a:solidFill>
            </c:spPr>
            <c:extLst>
              <c:ext xmlns:c16="http://schemas.microsoft.com/office/drawing/2014/chart" uri="{C3380CC4-5D6E-409C-BE32-E72D297353CC}">
                <c16:uniqueId val="{0000080F-D46E-4B35-AB90-9DEAD12B463E}"/>
              </c:ext>
            </c:extLst>
          </c:dPt>
          <c:dPt>
            <c:idx val="1031"/>
            <c:invertIfNegative val="1"/>
            <c:bubble3D val="0"/>
            <c:spPr>
              <a:solidFill>
                <a:srgbClr val="AEABAB"/>
              </a:solidFill>
            </c:spPr>
            <c:extLst>
              <c:ext xmlns:c16="http://schemas.microsoft.com/office/drawing/2014/chart" uri="{C3380CC4-5D6E-409C-BE32-E72D297353CC}">
                <c16:uniqueId val="{00000811-D46E-4B35-AB90-9DEAD12B463E}"/>
              </c:ext>
            </c:extLst>
          </c:dPt>
          <c:dPt>
            <c:idx val="1032"/>
            <c:invertIfNegative val="1"/>
            <c:bubble3D val="0"/>
            <c:spPr>
              <a:solidFill>
                <a:srgbClr val="AEABAB"/>
              </a:solidFill>
            </c:spPr>
            <c:extLst>
              <c:ext xmlns:c16="http://schemas.microsoft.com/office/drawing/2014/chart" uri="{C3380CC4-5D6E-409C-BE32-E72D297353CC}">
                <c16:uniqueId val="{00000813-D46E-4B35-AB90-9DEAD12B463E}"/>
              </c:ext>
            </c:extLst>
          </c:dPt>
          <c:dPt>
            <c:idx val="1033"/>
            <c:invertIfNegative val="1"/>
            <c:bubble3D val="0"/>
            <c:spPr>
              <a:solidFill>
                <a:srgbClr val="AEABAB"/>
              </a:solidFill>
            </c:spPr>
            <c:extLst>
              <c:ext xmlns:c16="http://schemas.microsoft.com/office/drawing/2014/chart" uri="{C3380CC4-5D6E-409C-BE32-E72D297353CC}">
                <c16:uniqueId val="{00000815-D46E-4B35-AB90-9DEAD12B463E}"/>
              </c:ext>
            </c:extLst>
          </c:dPt>
          <c:dPt>
            <c:idx val="1034"/>
            <c:invertIfNegative val="1"/>
            <c:bubble3D val="0"/>
            <c:spPr>
              <a:solidFill>
                <a:srgbClr val="AEABAB"/>
              </a:solidFill>
            </c:spPr>
            <c:extLst>
              <c:ext xmlns:c16="http://schemas.microsoft.com/office/drawing/2014/chart" uri="{C3380CC4-5D6E-409C-BE32-E72D297353CC}">
                <c16:uniqueId val="{00000817-D46E-4B35-AB90-9DEAD12B463E}"/>
              </c:ext>
            </c:extLst>
          </c:dPt>
          <c:dPt>
            <c:idx val="1035"/>
            <c:invertIfNegative val="1"/>
            <c:bubble3D val="0"/>
            <c:spPr>
              <a:solidFill>
                <a:srgbClr val="AEABAB"/>
              </a:solidFill>
            </c:spPr>
            <c:extLst>
              <c:ext xmlns:c16="http://schemas.microsoft.com/office/drawing/2014/chart" uri="{C3380CC4-5D6E-409C-BE32-E72D297353CC}">
                <c16:uniqueId val="{00000819-D46E-4B35-AB90-9DEAD12B463E}"/>
              </c:ext>
            </c:extLst>
          </c:dPt>
          <c:dPt>
            <c:idx val="1036"/>
            <c:invertIfNegative val="1"/>
            <c:bubble3D val="0"/>
            <c:spPr>
              <a:solidFill>
                <a:srgbClr val="AEABAB"/>
              </a:solidFill>
            </c:spPr>
            <c:extLst>
              <c:ext xmlns:c16="http://schemas.microsoft.com/office/drawing/2014/chart" uri="{C3380CC4-5D6E-409C-BE32-E72D297353CC}">
                <c16:uniqueId val="{0000081B-D46E-4B35-AB90-9DEAD12B463E}"/>
              </c:ext>
            </c:extLst>
          </c:dPt>
          <c:dPt>
            <c:idx val="1037"/>
            <c:invertIfNegative val="1"/>
            <c:bubble3D val="0"/>
            <c:spPr>
              <a:solidFill>
                <a:srgbClr val="AEABAB"/>
              </a:solidFill>
            </c:spPr>
            <c:extLst>
              <c:ext xmlns:c16="http://schemas.microsoft.com/office/drawing/2014/chart" uri="{C3380CC4-5D6E-409C-BE32-E72D297353CC}">
                <c16:uniqueId val="{0000081D-D46E-4B35-AB90-9DEAD12B463E}"/>
              </c:ext>
            </c:extLst>
          </c:dPt>
          <c:dPt>
            <c:idx val="1038"/>
            <c:invertIfNegative val="1"/>
            <c:bubble3D val="0"/>
            <c:spPr>
              <a:solidFill>
                <a:srgbClr val="AEABAB"/>
              </a:solidFill>
            </c:spPr>
            <c:extLst>
              <c:ext xmlns:c16="http://schemas.microsoft.com/office/drawing/2014/chart" uri="{C3380CC4-5D6E-409C-BE32-E72D297353CC}">
                <c16:uniqueId val="{0000081F-D46E-4B35-AB90-9DEAD12B463E}"/>
              </c:ext>
            </c:extLst>
          </c:dPt>
          <c:dPt>
            <c:idx val="1039"/>
            <c:invertIfNegative val="1"/>
            <c:bubble3D val="0"/>
            <c:spPr>
              <a:solidFill>
                <a:srgbClr val="AEABAB"/>
              </a:solidFill>
            </c:spPr>
            <c:extLst>
              <c:ext xmlns:c16="http://schemas.microsoft.com/office/drawing/2014/chart" uri="{C3380CC4-5D6E-409C-BE32-E72D297353CC}">
                <c16:uniqueId val="{00000821-D46E-4B35-AB90-9DEAD12B463E}"/>
              </c:ext>
            </c:extLst>
          </c:dPt>
          <c:dPt>
            <c:idx val="1040"/>
            <c:invertIfNegative val="1"/>
            <c:bubble3D val="0"/>
            <c:spPr>
              <a:solidFill>
                <a:srgbClr val="AEABAB"/>
              </a:solidFill>
            </c:spPr>
            <c:extLst>
              <c:ext xmlns:c16="http://schemas.microsoft.com/office/drawing/2014/chart" uri="{C3380CC4-5D6E-409C-BE32-E72D297353CC}">
                <c16:uniqueId val="{00000823-D46E-4B35-AB90-9DEAD12B463E}"/>
              </c:ext>
            </c:extLst>
          </c:dPt>
          <c:dPt>
            <c:idx val="1041"/>
            <c:invertIfNegative val="1"/>
            <c:bubble3D val="0"/>
            <c:spPr>
              <a:solidFill>
                <a:srgbClr val="AEABAB"/>
              </a:solidFill>
            </c:spPr>
            <c:extLst>
              <c:ext xmlns:c16="http://schemas.microsoft.com/office/drawing/2014/chart" uri="{C3380CC4-5D6E-409C-BE32-E72D297353CC}">
                <c16:uniqueId val="{00000825-D46E-4B35-AB90-9DEAD12B463E}"/>
              </c:ext>
            </c:extLst>
          </c:dPt>
          <c:dPt>
            <c:idx val="1042"/>
            <c:invertIfNegative val="1"/>
            <c:bubble3D val="0"/>
            <c:spPr>
              <a:solidFill>
                <a:srgbClr val="AEABAB"/>
              </a:solidFill>
            </c:spPr>
            <c:extLst>
              <c:ext xmlns:c16="http://schemas.microsoft.com/office/drawing/2014/chart" uri="{C3380CC4-5D6E-409C-BE32-E72D297353CC}">
                <c16:uniqueId val="{00000827-D46E-4B35-AB90-9DEAD12B463E}"/>
              </c:ext>
            </c:extLst>
          </c:dPt>
          <c:dPt>
            <c:idx val="1043"/>
            <c:invertIfNegative val="1"/>
            <c:bubble3D val="0"/>
            <c:spPr>
              <a:solidFill>
                <a:srgbClr val="AEABAB"/>
              </a:solidFill>
            </c:spPr>
            <c:extLst>
              <c:ext xmlns:c16="http://schemas.microsoft.com/office/drawing/2014/chart" uri="{C3380CC4-5D6E-409C-BE32-E72D297353CC}">
                <c16:uniqueId val="{00000829-D46E-4B35-AB90-9DEAD12B463E}"/>
              </c:ext>
            </c:extLst>
          </c:dPt>
          <c:dPt>
            <c:idx val="1044"/>
            <c:invertIfNegative val="1"/>
            <c:bubble3D val="0"/>
            <c:spPr>
              <a:solidFill>
                <a:srgbClr val="AEABAB"/>
              </a:solidFill>
            </c:spPr>
            <c:extLst>
              <c:ext xmlns:c16="http://schemas.microsoft.com/office/drawing/2014/chart" uri="{C3380CC4-5D6E-409C-BE32-E72D297353CC}">
                <c16:uniqueId val="{0000082B-D46E-4B35-AB90-9DEAD12B463E}"/>
              </c:ext>
            </c:extLst>
          </c:dPt>
          <c:dPt>
            <c:idx val="1045"/>
            <c:invertIfNegative val="1"/>
            <c:bubble3D val="0"/>
            <c:spPr>
              <a:solidFill>
                <a:srgbClr val="AEABAB"/>
              </a:solidFill>
            </c:spPr>
            <c:extLst>
              <c:ext xmlns:c16="http://schemas.microsoft.com/office/drawing/2014/chart" uri="{C3380CC4-5D6E-409C-BE32-E72D297353CC}">
                <c16:uniqueId val="{0000082D-D46E-4B35-AB90-9DEAD12B463E}"/>
              </c:ext>
            </c:extLst>
          </c:dPt>
          <c:dPt>
            <c:idx val="1046"/>
            <c:invertIfNegative val="1"/>
            <c:bubble3D val="0"/>
            <c:spPr>
              <a:solidFill>
                <a:srgbClr val="AEABAB"/>
              </a:solidFill>
            </c:spPr>
            <c:extLst>
              <c:ext xmlns:c16="http://schemas.microsoft.com/office/drawing/2014/chart" uri="{C3380CC4-5D6E-409C-BE32-E72D297353CC}">
                <c16:uniqueId val="{0000082F-D46E-4B35-AB90-9DEAD12B463E}"/>
              </c:ext>
            </c:extLst>
          </c:dPt>
          <c:dPt>
            <c:idx val="1047"/>
            <c:invertIfNegative val="1"/>
            <c:bubble3D val="0"/>
            <c:spPr>
              <a:solidFill>
                <a:srgbClr val="AEABAB"/>
              </a:solidFill>
            </c:spPr>
            <c:extLst>
              <c:ext xmlns:c16="http://schemas.microsoft.com/office/drawing/2014/chart" uri="{C3380CC4-5D6E-409C-BE32-E72D297353CC}">
                <c16:uniqueId val="{00000831-D46E-4B35-AB90-9DEAD12B463E}"/>
              </c:ext>
            </c:extLst>
          </c:dPt>
          <c:dPt>
            <c:idx val="1048"/>
            <c:invertIfNegative val="1"/>
            <c:bubble3D val="0"/>
            <c:spPr>
              <a:solidFill>
                <a:srgbClr val="AEABAB"/>
              </a:solidFill>
            </c:spPr>
            <c:extLst>
              <c:ext xmlns:c16="http://schemas.microsoft.com/office/drawing/2014/chart" uri="{C3380CC4-5D6E-409C-BE32-E72D297353CC}">
                <c16:uniqueId val="{00000833-D46E-4B35-AB90-9DEAD12B463E}"/>
              </c:ext>
            </c:extLst>
          </c:dPt>
          <c:dPt>
            <c:idx val="1049"/>
            <c:invertIfNegative val="1"/>
            <c:bubble3D val="0"/>
            <c:spPr>
              <a:solidFill>
                <a:srgbClr val="AEABAB"/>
              </a:solidFill>
            </c:spPr>
            <c:extLst>
              <c:ext xmlns:c16="http://schemas.microsoft.com/office/drawing/2014/chart" uri="{C3380CC4-5D6E-409C-BE32-E72D297353CC}">
                <c16:uniqueId val="{00000835-D46E-4B35-AB90-9DEAD12B463E}"/>
              </c:ext>
            </c:extLst>
          </c:dPt>
          <c:dPt>
            <c:idx val="1050"/>
            <c:invertIfNegative val="1"/>
            <c:bubble3D val="0"/>
            <c:spPr>
              <a:solidFill>
                <a:srgbClr val="AEABAB"/>
              </a:solidFill>
            </c:spPr>
            <c:extLst>
              <c:ext xmlns:c16="http://schemas.microsoft.com/office/drawing/2014/chart" uri="{C3380CC4-5D6E-409C-BE32-E72D297353CC}">
                <c16:uniqueId val="{00000837-D46E-4B35-AB90-9DEAD12B463E}"/>
              </c:ext>
            </c:extLst>
          </c:dPt>
          <c:dPt>
            <c:idx val="1051"/>
            <c:invertIfNegative val="1"/>
            <c:bubble3D val="0"/>
            <c:spPr>
              <a:solidFill>
                <a:srgbClr val="AEABAB"/>
              </a:solidFill>
            </c:spPr>
            <c:extLst>
              <c:ext xmlns:c16="http://schemas.microsoft.com/office/drawing/2014/chart" uri="{C3380CC4-5D6E-409C-BE32-E72D297353CC}">
                <c16:uniqueId val="{00000839-D46E-4B35-AB90-9DEAD12B463E}"/>
              </c:ext>
            </c:extLst>
          </c:dPt>
          <c:dPt>
            <c:idx val="1052"/>
            <c:invertIfNegative val="1"/>
            <c:bubble3D val="0"/>
            <c:spPr>
              <a:solidFill>
                <a:srgbClr val="AEABAB"/>
              </a:solidFill>
            </c:spPr>
            <c:extLst>
              <c:ext xmlns:c16="http://schemas.microsoft.com/office/drawing/2014/chart" uri="{C3380CC4-5D6E-409C-BE32-E72D297353CC}">
                <c16:uniqueId val="{0000083B-D46E-4B35-AB90-9DEAD12B463E}"/>
              </c:ext>
            </c:extLst>
          </c:dPt>
          <c:dPt>
            <c:idx val="1053"/>
            <c:invertIfNegative val="1"/>
            <c:bubble3D val="0"/>
            <c:spPr>
              <a:solidFill>
                <a:srgbClr val="AEABAB"/>
              </a:solidFill>
            </c:spPr>
            <c:extLst>
              <c:ext xmlns:c16="http://schemas.microsoft.com/office/drawing/2014/chart" uri="{C3380CC4-5D6E-409C-BE32-E72D297353CC}">
                <c16:uniqueId val="{0000083D-D46E-4B35-AB90-9DEAD12B463E}"/>
              </c:ext>
            </c:extLst>
          </c:dPt>
          <c:dPt>
            <c:idx val="1054"/>
            <c:invertIfNegative val="1"/>
            <c:bubble3D val="0"/>
            <c:spPr>
              <a:solidFill>
                <a:srgbClr val="AEABAB"/>
              </a:solidFill>
            </c:spPr>
            <c:extLst>
              <c:ext xmlns:c16="http://schemas.microsoft.com/office/drawing/2014/chart" uri="{C3380CC4-5D6E-409C-BE32-E72D297353CC}">
                <c16:uniqueId val="{0000083F-D46E-4B35-AB90-9DEAD12B463E}"/>
              </c:ext>
            </c:extLst>
          </c:dPt>
          <c:dPt>
            <c:idx val="1055"/>
            <c:invertIfNegative val="1"/>
            <c:bubble3D val="0"/>
            <c:spPr>
              <a:solidFill>
                <a:srgbClr val="AEABAB"/>
              </a:solidFill>
            </c:spPr>
            <c:extLst>
              <c:ext xmlns:c16="http://schemas.microsoft.com/office/drawing/2014/chart" uri="{C3380CC4-5D6E-409C-BE32-E72D297353CC}">
                <c16:uniqueId val="{00000841-D46E-4B35-AB90-9DEAD12B463E}"/>
              </c:ext>
            </c:extLst>
          </c:dPt>
          <c:dPt>
            <c:idx val="1056"/>
            <c:invertIfNegative val="1"/>
            <c:bubble3D val="0"/>
            <c:spPr>
              <a:solidFill>
                <a:srgbClr val="AEABAB"/>
              </a:solidFill>
            </c:spPr>
            <c:extLst>
              <c:ext xmlns:c16="http://schemas.microsoft.com/office/drawing/2014/chart" uri="{C3380CC4-5D6E-409C-BE32-E72D297353CC}">
                <c16:uniqueId val="{00000843-D46E-4B35-AB90-9DEAD12B463E}"/>
              </c:ext>
            </c:extLst>
          </c:dPt>
          <c:dPt>
            <c:idx val="1057"/>
            <c:invertIfNegative val="1"/>
            <c:bubble3D val="0"/>
            <c:spPr>
              <a:solidFill>
                <a:srgbClr val="AEABAB"/>
              </a:solidFill>
            </c:spPr>
            <c:extLst>
              <c:ext xmlns:c16="http://schemas.microsoft.com/office/drawing/2014/chart" uri="{C3380CC4-5D6E-409C-BE32-E72D297353CC}">
                <c16:uniqueId val="{00000845-D46E-4B35-AB90-9DEAD12B463E}"/>
              </c:ext>
            </c:extLst>
          </c:dPt>
          <c:dPt>
            <c:idx val="1058"/>
            <c:invertIfNegative val="1"/>
            <c:bubble3D val="0"/>
            <c:spPr>
              <a:solidFill>
                <a:srgbClr val="AEABAB"/>
              </a:solidFill>
            </c:spPr>
            <c:extLst>
              <c:ext xmlns:c16="http://schemas.microsoft.com/office/drawing/2014/chart" uri="{C3380CC4-5D6E-409C-BE32-E72D297353CC}">
                <c16:uniqueId val="{00000847-D46E-4B35-AB90-9DEAD12B463E}"/>
              </c:ext>
            </c:extLst>
          </c:dPt>
          <c:dPt>
            <c:idx val="1059"/>
            <c:invertIfNegative val="1"/>
            <c:bubble3D val="0"/>
            <c:spPr>
              <a:solidFill>
                <a:srgbClr val="AEABAB"/>
              </a:solidFill>
            </c:spPr>
            <c:extLst>
              <c:ext xmlns:c16="http://schemas.microsoft.com/office/drawing/2014/chart" uri="{C3380CC4-5D6E-409C-BE32-E72D297353CC}">
                <c16:uniqueId val="{00000849-D46E-4B35-AB90-9DEAD12B463E}"/>
              </c:ext>
            </c:extLst>
          </c:dPt>
          <c:dPt>
            <c:idx val="1060"/>
            <c:invertIfNegative val="1"/>
            <c:bubble3D val="0"/>
            <c:spPr>
              <a:solidFill>
                <a:srgbClr val="AEABAB"/>
              </a:solidFill>
            </c:spPr>
            <c:extLst>
              <c:ext xmlns:c16="http://schemas.microsoft.com/office/drawing/2014/chart" uri="{C3380CC4-5D6E-409C-BE32-E72D297353CC}">
                <c16:uniqueId val="{0000084B-D46E-4B35-AB90-9DEAD12B463E}"/>
              </c:ext>
            </c:extLst>
          </c:dPt>
          <c:dPt>
            <c:idx val="1061"/>
            <c:invertIfNegative val="1"/>
            <c:bubble3D val="0"/>
            <c:spPr>
              <a:solidFill>
                <a:srgbClr val="AEABAB"/>
              </a:solidFill>
            </c:spPr>
            <c:extLst>
              <c:ext xmlns:c16="http://schemas.microsoft.com/office/drawing/2014/chart" uri="{C3380CC4-5D6E-409C-BE32-E72D297353CC}">
                <c16:uniqueId val="{0000084D-D46E-4B35-AB90-9DEAD12B463E}"/>
              </c:ext>
            </c:extLst>
          </c:dPt>
          <c:dPt>
            <c:idx val="1062"/>
            <c:invertIfNegative val="1"/>
            <c:bubble3D val="0"/>
            <c:spPr>
              <a:solidFill>
                <a:srgbClr val="AEABAB"/>
              </a:solidFill>
            </c:spPr>
            <c:extLst>
              <c:ext xmlns:c16="http://schemas.microsoft.com/office/drawing/2014/chart" uri="{C3380CC4-5D6E-409C-BE32-E72D297353CC}">
                <c16:uniqueId val="{0000084F-D46E-4B35-AB90-9DEAD12B463E}"/>
              </c:ext>
            </c:extLst>
          </c:dPt>
          <c:dPt>
            <c:idx val="1063"/>
            <c:invertIfNegative val="1"/>
            <c:bubble3D val="0"/>
            <c:spPr>
              <a:solidFill>
                <a:srgbClr val="AEABAB"/>
              </a:solidFill>
            </c:spPr>
            <c:extLst>
              <c:ext xmlns:c16="http://schemas.microsoft.com/office/drawing/2014/chart" uri="{C3380CC4-5D6E-409C-BE32-E72D297353CC}">
                <c16:uniqueId val="{00000851-D46E-4B35-AB90-9DEAD12B463E}"/>
              </c:ext>
            </c:extLst>
          </c:dPt>
          <c:dPt>
            <c:idx val="1064"/>
            <c:invertIfNegative val="1"/>
            <c:bubble3D val="0"/>
            <c:spPr>
              <a:solidFill>
                <a:srgbClr val="AEABAB"/>
              </a:solidFill>
            </c:spPr>
            <c:extLst>
              <c:ext xmlns:c16="http://schemas.microsoft.com/office/drawing/2014/chart" uri="{C3380CC4-5D6E-409C-BE32-E72D297353CC}">
                <c16:uniqueId val="{00000853-D46E-4B35-AB90-9DEAD12B463E}"/>
              </c:ext>
            </c:extLst>
          </c:dPt>
          <c:dPt>
            <c:idx val="1065"/>
            <c:invertIfNegative val="1"/>
            <c:bubble3D val="0"/>
            <c:spPr>
              <a:solidFill>
                <a:srgbClr val="AEABAB"/>
              </a:solidFill>
            </c:spPr>
            <c:extLst>
              <c:ext xmlns:c16="http://schemas.microsoft.com/office/drawing/2014/chart" uri="{C3380CC4-5D6E-409C-BE32-E72D297353CC}">
                <c16:uniqueId val="{00000855-D46E-4B35-AB90-9DEAD12B463E}"/>
              </c:ext>
            </c:extLst>
          </c:dPt>
          <c:dPt>
            <c:idx val="1066"/>
            <c:invertIfNegative val="1"/>
            <c:bubble3D val="0"/>
            <c:spPr>
              <a:solidFill>
                <a:srgbClr val="AEABAB"/>
              </a:solidFill>
            </c:spPr>
            <c:extLst>
              <c:ext xmlns:c16="http://schemas.microsoft.com/office/drawing/2014/chart" uri="{C3380CC4-5D6E-409C-BE32-E72D297353CC}">
                <c16:uniqueId val="{00000857-D46E-4B35-AB90-9DEAD12B463E}"/>
              </c:ext>
            </c:extLst>
          </c:dPt>
          <c:dPt>
            <c:idx val="1067"/>
            <c:invertIfNegative val="1"/>
            <c:bubble3D val="0"/>
            <c:spPr>
              <a:solidFill>
                <a:srgbClr val="AEABAB"/>
              </a:solidFill>
            </c:spPr>
            <c:extLst>
              <c:ext xmlns:c16="http://schemas.microsoft.com/office/drawing/2014/chart" uri="{C3380CC4-5D6E-409C-BE32-E72D297353CC}">
                <c16:uniqueId val="{00000859-D46E-4B35-AB90-9DEAD12B463E}"/>
              </c:ext>
            </c:extLst>
          </c:dPt>
          <c:dPt>
            <c:idx val="1068"/>
            <c:invertIfNegative val="1"/>
            <c:bubble3D val="0"/>
            <c:spPr>
              <a:solidFill>
                <a:srgbClr val="AEABAB"/>
              </a:solidFill>
            </c:spPr>
            <c:extLst>
              <c:ext xmlns:c16="http://schemas.microsoft.com/office/drawing/2014/chart" uri="{C3380CC4-5D6E-409C-BE32-E72D297353CC}">
                <c16:uniqueId val="{0000085B-D46E-4B35-AB90-9DEAD12B463E}"/>
              </c:ext>
            </c:extLst>
          </c:dPt>
          <c:dPt>
            <c:idx val="1069"/>
            <c:invertIfNegative val="1"/>
            <c:bubble3D val="0"/>
            <c:spPr>
              <a:solidFill>
                <a:srgbClr val="AEABAB"/>
              </a:solidFill>
            </c:spPr>
            <c:extLst>
              <c:ext xmlns:c16="http://schemas.microsoft.com/office/drawing/2014/chart" uri="{C3380CC4-5D6E-409C-BE32-E72D297353CC}">
                <c16:uniqueId val="{0000085D-D46E-4B35-AB90-9DEAD12B463E}"/>
              </c:ext>
            </c:extLst>
          </c:dPt>
          <c:dPt>
            <c:idx val="1070"/>
            <c:invertIfNegative val="1"/>
            <c:bubble3D val="0"/>
            <c:spPr>
              <a:solidFill>
                <a:srgbClr val="AEABAB"/>
              </a:solidFill>
            </c:spPr>
            <c:extLst>
              <c:ext xmlns:c16="http://schemas.microsoft.com/office/drawing/2014/chart" uri="{C3380CC4-5D6E-409C-BE32-E72D297353CC}">
                <c16:uniqueId val="{0000085F-D46E-4B35-AB90-9DEAD12B463E}"/>
              </c:ext>
            </c:extLst>
          </c:dPt>
          <c:dPt>
            <c:idx val="1071"/>
            <c:invertIfNegative val="1"/>
            <c:bubble3D val="0"/>
            <c:spPr>
              <a:solidFill>
                <a:srgbClr val="AEABAB"/>
              </a:solidFill>
            </c:spPr>
            <c:extLst>
              <c:ext xmlns:c16="http://schemas.microsoft.com/office/drawing/2014/chart" uri="{C3380CC4-5D6E-409C-BE32-E72D297353CC}">
                <c16:uniqueId val="{00000861-D46E-4B35-AB90-9DEAD12B463E}"/>
              </c:ext>
            </c:extLst>
          </c:dPt>
          <c:dPt>
            <c:idx val="1072"/>
            <c:invertIfNegative val="1"/>
            <c:bubble3D val="0"/>
            <c:spPr>
              <a:solidFill>
                <a:srgbClr val="AEABAB"/>
              </a:solidFill>
            </c:spPr>
            <c:extLst>
              <c:ext xmlns:c16="http://schemas.microsoft.com/office/drawing/2014/chart" uri="{C3380CC4-5D6E-409C-BE32-E72D297353CC}">
                <c16:uniqueId val="{00000863-D46E-4B35-AB90-9DEAD12B463E}"/>
              </c:ext>
            </c:extLst>
          </c:dPt>
          <c:dPt>
            <c:idx val="1073"/>
            <c:invertIfNegative val="1"/>
            <c:bubble3D val="0"/>
            <c:spPr>
              <a:solidFill>
                <a:srgbClr val="AEABAB"/>
              </a:solidFill>
            </c:spPr>
            <c:extLst>
              <c:ext xmlns:c16="http://schemas.microsoft.com/office/drawing/2014/chart" uri="{C3380CC4-5D6E-409C-BE32-E72D297353CC}">
                <c16:uniqueId val="{00000865-D46E-4B35-AB90-9DEAD12B463E}"/>
              </c:ext>
            </c:extLst>
          </c:dPt>
          <c:dPt>
            <c:idx val="1074"/>
            <c:invertIfNegative val="1"/>
            <c:bubble3D val="0"/>
            <c:spPr>
              <a:solidFill>
                <a:srgbClr val="AEABAB"/>
              </a:solidFill>
            </c:spPr>
            <c:extLst>
              <c:ext xmlns:c16="http://schemas.microsoft.com/office/drawing/2014/chart" uri="{C3380CC4-5D6E-409C-BE32-E72D297353CC}">
                <c16:uniqueId val="{00000867-D46E-4B35-AB90-9DEAD12B463E}"/>
              </c:ext>
            </c:extLst>
          </c:dPt>
          <c:dPt>
            <c:idx val="1075"/>
            <c:invertIfNegative val="1"/>
            <c:bubble3D val="0"/>
            <c:spPr>
              <a:solidFill>
                <a:srgbClr val="AEABAB"/>
              </a:solidFill>
            </c:spPr>
            <c:extLst>
              <c:ext xmlns:c16="http://schemas.microsoft.com/office/drawing/2014/chart" uri="{C3380CC4-5D6E-409C-BE32-E72D297353CC}">
                <c16:uniqueId val="{00000869-D46E-4B35-AB90-9DEAD12B463E}"/>
              </c:ext>
            </c:extLst>
          </c:dPt>
          <c:dPt>
            <c:idx val="1076"/>
            <c:invertIfNegative val="1"/>
            <c:bubble3D val="0"/>
            <c:spPr>
              <a:solidFill>
                <a:srgbClr val="AEABAB"/>
              </a:solidFill>
            </c:spPr>
            <c:extLst>
              <c:ext xmlns:c16="http://schemas.microsoft.com/office/drawing/2014/chart" uri="{C3380CC4-5D6E-409C-BE32-E72D297353CC}">
                <c16:uniqueId val="{0000086B-D46E-4B35-AB90-9DEAD12B463E}"/>
              </c:ext>
            </c:extLst>
          </c:dPt>
          <c:dPt>
            <c:idx val="1077"/>
            <c:invertIfNegative val="1"/>
            <c:bubble3D val="0"/>
            <c:spPr>
              <a:solidFill>
                <a:srgbClr val="AEABAB"/>
              </a:solidFill>
            </c:spPr>
            <c:extLst>
              <c:ext xmlns:c16="http://schemas.microsoft.com/office/drawing/2014/chart" uri="{C3380CC4-5D6E-409C-BE32-E72D297353CC}">
                <c16:uniqueId val="{0000086D-D46E-4B35-AB90-9DEAD12B463E}"/>
              </c:ext>
            </c:extLst>
          </c:dPt>
          <c:dPt>
            <c:idx val="1078"/>
            <c:invertIfNegative val="1"/>
            <c:bubble3D val="0"/>
            <c:spPr>
              <a:solidFill>
                <a:srgbClr val="AEABAB"/>
              </a:solidFill>
            </c:spPr>
            <c:extLst>
              <c:ext xmlns:c16="http://schemas.microsoft.com/office/drawing/2014/chart" uri="{C3380CC4-5D6E-409C-BE32-E72D297353CC}">
                <c16:uniqueId val="{0000086F-D46E-4B35-AB90-9DEAD12B463E}"/>
              </c:ext>
            </c:extLst>
          </c:dPt>
          <c:dPt>
            <c:idx val="1079"/>
            <c:invertIfNegative val="1"/>
            <c:bubble3D val="0"/>
            <c:spPr>
              <a:solidFill>
                <a:srgbClr val="AEABAB"/>
              </a:solidFill>
            </c:spPr>
            <c:extLst>
              <c:ext xmlns:c16="http://schemas.microsoft.com/office/drawing/2014/chart" uri="{C3380CC4-5D6E-409C-BE32-E72D297353CC}">
                <c16:uniqueId val="{00000871-D46E-4B35-AB90-9DEAD12B463E}"/>
              </c:ext>
            </c:extLst>
          </c:dPt>
          <c:dPt>
            <c:idx val="1080"/>
            <c:invertIfNegative val="1"/>
            <c:bubble3D val="0"/>
            <c:spPr>
              <a:solidFill>
                <a:srgbClr val="AEABAB"/>
              </a:solidFill>
            </c:spPr>
            <c:extLst>
              <c:ext xmlns:c16="http://schemas.microsoft.com/office/drawing/2014/chart" uri="{C3380CC4-5D6E-409C-BE32-E72D297353CC}">
                <c16:uniqueId val="{00000873-D46E-4B35-AB90-9DEAD12B463E}"/>
              </c:ext>
            </c:extLst>
          </c:dPt>
          <c:dPt>
            <c:idx val="1081"/>
            <c:invertIfNegative val="1"/>
            <c:bubble3D val="0"/>
            <c:spPr>
              <a:solidFill>
                <a:srgbClr val="AEABAB"/>
              </a:solidFill>
            </c:spPr>
            <c:extLst>
              <c:ext xmlns:c16="http://schemas.microsoft.com/office/drawing/2014/chart" uri="{C3380CC4-5D6E-409C-BE32-E72D297353CC}">
                <c16:uniqueId val="{00000875-D46E-4B35-AB90-9DEAD12B463E}"/>
              </c:ext>
            </c:extLst>
          </c:dPt>
          <c:dPt>
            <c:idx val="1082"/>
            <c:invertIfNegative val="1"/>
            <c:bubble3D val="0"/>
            <c:spPr>
              <a:solidFill>
                <a:srgbClr val="AEABAB"/>
              </a:solidFill>
            </c:spPr>
            <c:extLst>
              <c:ext xmlns:c16="http://schemas.microsoft.com/office/drawing/2014/chart" uri="{C3380CC4-5D6E-409C-BE32-E72D297353CC}">
                <c16:uniqueId val="{00000877-D46E-4B35-AB90-9DEAD12B463E}"/>
              </c:ext>
            </c:extLst>
          </c:dPt>
          <c:dPt>
            <c:idx val="1083"/>
            <c:invertIfNegative val="1"/>
            <c:bubble3D val="0"/>
            <c:spPr>
              <a:solidFill>
                <a:srgbClr val="AEABAB"/>
              </a:solidFill>
            </c:spPr>
            <c:extLst>
              <c:ext xmlns:c16="http://schemas.microsoft.com/office/drawing/2014/chart" uri="{C3380CC4-5D6E-409C-BE32-E72D297353CC}">
                <c16:uniqueId val="{00000879-D46E-4B35-AB90-9DEAD12B463E}"/>
              </c:ext>
            </c:extLst>
          </c:dPt>
          <c:dPt>
            <c:idx val="1084"/>
            <c:invertIfNegative val="1"/>
            <c:bubble3D val="0"/>
            <c:spPr>
              <a:solidFill>
                <a:srgbClr val="AEABAB"/>
              </a:solidFill>
            </c:spPr>
            <c:extLst>
              <c:ext xmlns:c16="http://schemas.microsoft.com/office/drawing/2014/chart" uri="{C3380CC4-5D6E-409C-BE32-E72D297353CC}">
                <c16:uniqueId val="{0000087B-D46E-4B35-AB90-9DEAD12B463E}"/>
              </c:ext>
            </c:extLst>
          </c:dPt>
          <c:dPt>
            <c:idx val="1085"/>
            <c:invertIfNegative val="1"/>
            <c:bubble3D val="0"/>
            <c:spPr>
              <a:solidFill>
                <a:srgbClr val="AEABAB"/>
              </a:solidFill>
            </c:spPr>
            <c:extLst>
              <c:ext xmlns:c16="http://schemas.microsoft.com/office/drawing/2014/chart" uri="{C3380CC4-5D6E-409C-BE32-E72D297353CC}">
                <c16:uniqueId val="{0000087D-D46E-4B35-AB90-9DEAD12B463E}"/>
              </c:ext>
            </c:extLst>
          </c:dPt>
          <c:dPt>
            <c:idx val="1086"/>
            <c:invertIfNegative val="1"/>
            <c:bubble3D val="0"/>
            <c:spPr>
              <a:solidFill>
                <a:srgbClr val="AEABAB"/>
              </a:solidFill>
            </c:spPr>
            <c:extLst>
              <c:ext xmlns:c16="http://schemas.microsoft.com/office/drawing/2014/chart" uri="{C3380CC4-5D6E-409C-BE32-E72D297353CC}">
                <c16:uniqueId val="{0000087F-D46E-4B35-AB90-9DEAD12B463E}"/>
              </c:ext>
            </c:extLst>
          </c:dPt>
          <c:dPt>
            <c:idx val="1087"/>
            <c:invertIfNegative val="1"/>
            <c:bubble3D val="0"/>
            <c:spPr>
              <a:solidFill>
                <a:srgbClr val="AEABAB"/>
              </a:solidFill>
            </c:spPr>
            <c:extLst>
              <c:ext xmlns:c16="http://schemas.microsoft.com/office/drawing/2014/chart" uri="{C3380CC4-5D6E-409C-BE32-E72D297353CC}">
                <c16:uniqueId val="{00000881-D46E-4B35-AB90-9DEAD12B463E}"/>
              </c:ext>
            </c:extLst>
          </c:dPt>
          <c:dPt>
            <c:idx val="1088"/>
            <c:invertIfNegative val="1"/>
            <c:bubble3D val="0"/>
            <c:spPr>
              <a:solidFill>
                <a:srgbClr val="AEABAB"/>
              </a:solidFill>
            </c:spPr>
            <c:extLst>
              <c:ext xmlns:c16="http://schemas.microsoft.com/office/drawing/2014/chart" uri="{C3380CC4-5D6E-409C-BE32-E72D297353CC}">
                <c16:uniqueId val="{00000883-D46E-4B35-AB90-9DEAD12B463E}"/>
              </c:ext>
            </c:extLst>
          </c:dPt>
          <c:dPt>
            <c:idx val="1089"/>
            <c:invertIfNegative val="1"/>
            <c:bubble3D val="0"/>
            <c:spPr>
              <a:solidFill>
                <a:srgbClr val="AEABAB"/>
              </a:solidFill>
            </c:spPr>
            <c:extLst>
              <c:ext xmlns:c16="http://schemas.microsoft.com/office/drawing/2014/chart" uri="{C3380CC4-5D6E-409C-BE32-E72D297353CC}">
                <c16:uniqueId val="{00000885-D46E-4B35-AB90-9DEAD12B463E}"/>
              </c:ext>
            </c:extLst>
          </c:dPt>
          <c:dPt>
            <c:idx val="1090"/>
            <c:invertIfNegative val="1"/>
            <c:bubble3D val="0"/>
            <c:spPr>
              <a:solidFill>
                <a:srgbClr val="AEABAB"/>
              </a:solidFill>
            </c:spPr>
            <c:extLst>
              <c:ext xmlns:c16="http://schemas.microsoft.com/office/drawing/2014/chart" uri="{C3380CC4-5D6E-409C-BE32-E72D297353CC}">
                <c16:uniqueId val="{00000887-D46E-4B35-AB90-9DEAD12B463E}"/>
              </c:ext>
            </c:extLst>
          </c:dPt>
          <c:dPt>
            <c:idx val="1091"/>
            <c:invertIfNegative val="1"/>
            <c:bubble3D val="0"/>
            <c:spPr>
              <a:solidFill>
                <a:srgbClr val="AEABAB"/>
              </a:solidFill>
            </c:spPr>
            <c:extLst>
              <c:ext xmlns:c16="http://schemas.microsoft.com/office/drawing/2014/chart" uri="{C3380CC4-5D6E-409C-BE32-E72D297353CC}">
                <c16:uniqueId val="{00000889-D46E-4B35-AB90-9DEAD12B463E}"/>
              </c:ext>
            </c:extLst>
          </c:dPt>
          <c:dPt>
            <c:idx val="1092"/>
            <c:invertIfNegative val="1"/>
            <c:bubble3D val="0"/>
            <c:spPr>
              <a:solidFill>
                <a:srgbClr val="AEABAB"/>
              </a:solidFill>
            </c:spPr>
            <c:extLst>
              <c:ext xmlns:c16="http://schemas.microsoft.com/office/drawing/2014/chart" uri="{C3380CC4-5D6E-409C-BE32-E72D297353CC}">
                <c16:uniqueId val="{0000088B-D46E-4B35-AB90-9DEAD12B463E}"/>
              </c:ext>
            </c:extLst>
          </c:dPt>
          <c:dPt>
            <c:idx val="1093"/>
            <c:invertIfNegative val="1"/>
            <c:bubble3D val="0"/>
            <c:spPr>
              <a:solidFill>
                <a:srgbClr val="AEABAB"/>
              </a:solidFill>
            </c:spPr>
            <c:extLst>
              <c:ext xmlns:c16="http://schemas.microsoft.com/office/drawing/2014/chart" uri="{C3380CC4-5D6E-409C-BE32-E72D297353CC}">
                <c16:uniqueId val="{0000088D-D46E-4B35-AB90-9DEAD12B463E}"/>
              </c:ext>
            </c:extLst>
          </c:dPt>
          <c:dPt>
            <c:idx val="1094"/>
            <c:invertIfNegative val="1"/>
            <c:bubble3D val="0"/>
            <c:spPr>
              <a:solidFill>
                <a:srgbClr val="AEABAB"/>
              </a:solidFill>
            </c:spPr>
            <c:extLst>
              <c:ext xmlns:c16="http://schemas.microsoft.com/office/drawing/2014/chart" uri="{C3380CC4-5D6E-409C-BE32-E72D297353CC}">
                <c16:uniqueId val="{0000088F-D46E-4B35-AB90-9DEAD12B463E}"/>
              </c:ext>
            </c:extLst>
          </c:dPt>
          <c:dPt>
            <c:idx val="1095"/>
            <c:invertIfNegative val="1"/>
            <c:bubble3D val="0"/>
            <c:spPr>
              <a:solidFill>
                <a:srgbClr val="AEABAB"/>
              </a:solidFill>
            </c:spPr>
            <c:extLst>
              <c:ext xmlns:c16="http://schemas.microsoft.com/office/drawing/2014/chart" uri="{C3380CC4-5D6E-409C-BE32-E72D297353CC}">
                <c16:uniqueId val="{00000891-D46E-4B35-AB90-9DEAD12B463E}"/>
              </c:ext>
            </c:extLst>
          </c:dPt>
          <c:dPt>
            <c:idx val="1096"/>
            <c:invertIfNegative val="1"/>
            <c:bubble3D val="0"/>
            <c:spPr>
              <a:solidFill>
                <a:srgbClr val="AEABAB"/>
              </a:solidFill>
            </c:spPr>
            <c:extLst>
              <c:ext xmlns:c16="http://schemas.microsoft.com/office/drawing/2014/chart" uri="{C3380CC4-5D6E-409C-BE32-E72D297353CC}">
                <c16:uniqueId val="{00000893-D46E-4B35-AB90-9DEAD12B463E}"/>
              </c:ext>
            </c:extLst>
          </c:dPt>
          <c:dPt>
            <c:idx val="1097"/>
            <c:invertIfNegative val="1"/>
            <c:bubble3D val="0"/>
            <c:spPr>
              <a:solidFill>
                <a:srgbClr val="AEABAB"/>
              </a:solidFill>
            </c:spPr>
            <c:extLst>
              <c:ext xmlns:c16="http://schemas.microsoft.com/office/drawing/2014/chart" uri="{C3380CC4-5D6E-409C-BE32-E72D297353CC}">
                <c16:uniqueId val="{00000895-D46E-4B35-AB90-9DEAD12B463E}"/>
              </c:ext>
            </c:extLst>
          </c:dPt>
          <c:dPt>
            <c:idx val="1098"/>
            <c:invertIfNegative val="1"/>
            <c:bubble3D val="0"/>
            <c:spPr>
              <a:solidFill>
                <a:srgbClr val="AEABAB"/>
              </a:solidFill>
            </c:spPr>
            <c:extLst>
              <c:ext xmlns:c16="http://schemas.microsoft.com/office/drawing/2014/chart" uri="{C3380CC4-5D6E-409C-BE32-E72D297353CC}">
                <c16:uniqueId val="{00000897-D46E-4B35-AB90-9DEAD12B463E}"/>
              </c:ext>
            </c:extLst>
          </c:dPt>
          <c:dPt>
            <c:idx val="1099"/>
            <c:invertIfNegative val="1"/>
            <c:bubble3D val="0"/>
            <c:spPr>
              <a:solidFill>
                <a:srgbClr val="AEABAB"/>
              </a:solidFill>
            </c:spPr>
            <c:extLst>
              <c:ext xmlns:c16="http://schemas.microsoft.com/office/drawing/2014/chart" uri="{C3380CC4-5D6E-409C-BE32-E72D297353CC}">
                <c16:uniqueId val="{00000899-D46E-4B35-AB90-9DEAD12B463E}"/>
              </c:ext>
            </c:extLst>
          </c:dPt>
          <c:dPt>
            <c:idx val="1100"/>
            <c:invertIfNegative val="1"/>
            <c:bubble3D val="0"/>
            <c:spPr>
              <a:solidFill>
                <a:srgbClr val="AEABAB"/>
              </a:solidFill>
            </c:spPr>
            <c:extLst>
              <c:ext xmlns:c16="http://schemas.microsoft.com/office/drawing/2014/chart" uri="{C3380CC4-5D6E-409C-BE32-E72D297353CC}">
                <c16:uniqueId val="{0000089B-D46E-4B35-AB90-9DEAD12B463E}"/>
              </c:ext>
            </c:extLst>
          </c:dPt>
          <c:dPt>
            <c:idx val="1101"/>
            <c:invertIfNegative val="1"/>
            <c:bubble3D val="0"/>
            <c:spPr>
              <a:solidFill>
                <a:srgbClr val="AEABAB"/>
              </a:solidFill>
            </c:spPr>
            <c:extLst>
              <c:ext xmlns:c16="http://schemas.microsoft.com/office/drawing/2014/chart" uri="{C3380CC4-5D6E-409C-BE32-E72D297353CC}">
                <c16:uniqueId val="{0000089D-D46E-4B35-AB90-9DEAD12B463E}"/>
              </c:ext>
            </c:extLst>
          </c:dPt>
          <c:dPt>
            <c:idx val="1102"/>
            <c:invertIfNegative val="1"/>
            <c:bubble3D val="0"/>
            <c:spPr>
              <a:solidFill>
                <a:srgbClr val="AEABAB"/>
              </a:solidFill>
            </c:spPr>
            <c:extLst>
              <c:ext xmlns:c16="http://schemas.microsoft.com/office/drawing/2014/chart" uri="{C3380CC4-5D6E-409C-BE32-E72D297353CC}">
                <c16:uniqueId val="{0000089F-D46E-4B35-AB90-9DEAD12B463E}"/>
              </c:ext>
            </c:extLst>
          </c:dPt>
          <c:dPt>
            <c:idx val="1103"/>
            <c:invertIfNegative val="1"/>
            <c:bubble3D val="0"/>
            <c:spPr>
              <a:solidFill>
                <a:srgbClr val="AEABAB"/>
              </a:solidFill>
            </c:spPr>
            <c:extLst>
              <c:ext xmlns:c16="http://schemas.microsoft.com/office/drawing/2014/chart" uri="{C3380CC4-5D6E-409C-BE32-E72D297353CC}">
                <c16:uniqueId val="{000008A1-D46E-4B35-AB90-9DEAD12B463E}"/>
              </c:ext>
            </c:extLst>
          </c:dPt>
          <c:dPt>
            <c:idx val="1104"/>
            <c:invertIfNegative val="1"/>
            <c:bubble3D val="0"/>
            <c:spPr>
              <a:solidFill>
                <a:srgbClr val="AEABAB"/>
              </a:solidFill>
            </c:spPr>
            <c:extLst>
              <c:ext xmlns:c16="http://schemas.microsoft.com/office/drawing/2014/chart" uri="{C3380CC4-5D6E-409C-BE32-E72D297353CC}">
                <c16:uniqueId val="{000008A3-D46E-4B35-AB90-9DEAD12B463E}"/>
              </c:ext>
            </c:extLst>
          </c:dPt>
          <c:dPt>
            <c:idx val="1105"/>
            <c:invertIfNegative val="1"/>
            <c:bubble3D val="0"/>
            <c:spPr>
              <a:solidFill>
                <a:srgbClr val="AEABAB"/>
              </a:solidFill>
            </c:spPr>
            <c:extLst>
              <c:ext xmlns:c16="http://schemas.microsoft.com/office/drawing/2014/chart" uri="{C3380CC4-5D6E-409C-BE32-E72D297353CC}">
                <c16:uniqueId val="{000008A5-D46E-4B35-AB90-9DEAD12B463E}"/>
              </c:ext>
            </c:extLst>
          </c:dPt>
          <c:dPt>
            <c:idx val="1106"/>
            <c:invertIfNegative val="1"/>
            <c:bubble3D val="0"/>
            <c:spPr>
              <a:solidFill>
                <a:srgbClr val="AEABAB"/>
              </a:solidFill>
            </c:spPr>
            <c:extLst>
              <c:ext xmlns:c16="http://schemas.microsoft.com/office/drawing/2014/chart" uri="{C3380CC4-5D6E-409C-BE32-E72D297353CC}">
                <c16:uniqueId val="{000008A7-D46E-4B35-AB90-9DEAD12B463E}"/>
              </c:ext>
            </c:extLst>
          </c:dPt>
          <c:dPt>
            <c:idx val="1107"/>
            <c:invertIfNegative val="1"/>
            <c:bubble3D val="0"/>
            <c:spPr>
              <a:solidFill>
                <a:srgbClr val="AEABAB"/>
              </a:solidFill>
            </c:spPr>
            <c:extLst>
              <c:ext xmlns:c16="http://schemas.microsoft.com/office/drawing/2014/chart" uri="{C3380CC4-5D6E-409C-BE32-E72D297353CC}">
                <c16:uniqueId val="{000008A9-D46E-4B35-AB90-9DEAD12B463E}"/>
              </c:ext>
            </c:extLst>
          </c:dPt>
          <c:dPt>
            <c:idx val="1108"/>
            <c:invertIfNegative val="1"/>
            <c:bubble3D val="0"/>
            <c:spPr>
              <a:solidFill>
                <a:srgbClr val="AEABAB"/>
              </a:solidFill>
            </c:spPr>
            <c:extLst>
              <c:ext xmlns:c16="http://schemas.microsoft.com/office/drawing/2014/chart" uri="{C3380CC4-5D6E-409C-BE32-E72D297353CC}">
                <c16:uniqueId val="{000008AB-D46E-4B35-AB90-9DEAD12B463E}"/>
              </c:ext>
            </c:extLst>
          </c:dPt>
          <c:dPt>
            <c:idx val="1109"/>
            <c:invertIfNegative val="1"/>
            <c:bubble3D val="0"/>
            <c:spPr>
              <a:solidFill>
                <a:srgbClr val="AEABAB"/>
              </a:solidFill>
            </c:spPr>
            <c:extLst>
              <c:ext xmlns:c16="http://schemas.microsoft.com/office/drawing/2014/chart" uri="{C3380CC4-5D6E-409C-BE32-E72D297353CC}">
                <c16:uniqueId val="{000008AD-D46E-4B35-AB90-9DEAD12B463E}"/>
              </c:ext>
            </c:extLst>
          </c:dPt>
          <c:dPt>
            <c:idx val="1110"/>
            <c:invertIfNegative val="1"/>
            <c:bubble3D val="0"/>
            <c:spPr>
              <a:solidFill>
                <a:srgbClr val="AEABAB"/>
              </a:solidFill>
            </c:spPr>
            <c:extLst>
              <c:ext xmlns:c16="http://schemas.microsoft.com/office/drawing/2014/chart" uri="{C3380CC4-5D6E-409C-BE32-E72D297353CC}">
                <c16:uniqueId val="{000008AF-D46E-4B35-AB90-9DEAD12B463E}"/>
              </c:ext>
            </c:extLst>
          </c:dPt>
          <c:dPt>
            <c:idx val="1111"/>
            <c:invertIfNegative val="1"/>
            <c:bubble3D val="0"/>
            <c:spPr>
              <a:solidFill>
                <a:srgbClr val="AEABAB"/>
              </a:solidFill>
            </c:spPr>
            <c:extLst>
              <c:ext xmlns:c16="http://schemas.microsoft.com/office/drawing/2014/chart" uri="{C3380CC4-5D6E-409C-BE32-E72D297353CC}">
                <c16:uniqueId val="{000008B1-D46E-4B35-AB90-9DEAD12B463E}"/>
              </c:ext>
            </c:extLst>
          </c:dPt>
          <c:dPt>
            <c:idx val="1112"/>
            <c:invertIfNegative val="1"/>
            <c:bubble3D val="0"/>
            <c:spPr>
              <a:solidFill>
                <a:srgbClr val="AEABAB"/>
              </a:solidFill>
            </c:spPr>
            <c:extLst>
              <c:ext xmlns:c16="http://schemas.microsoft.com/office/drawing/2014/chart" uri="{C3380CC4-5D6E-409C-BE32-E72D297353CC}">
                <c16:uniqueId val="{000008B3-D46E-4B35-AB90-9DEAD12B463E}"/>
              </c:ext>
            </c:extLst>
          </c:dPt>
          <c:dPt>
            <c:idx val="1113"/>
            <c:invertIfNegative val="1"/>
            <c:bubble3D val="0"/>
            <c:spPr>
              <a:solidFill>
                <a:srgbClr val="AEABAB"/>
              </a:solidFill>
            </c:spPr>
            <c:extLst>
              <c:ext xmlns:c16="http://schemas.microsoft.com/office/drawing/2014/chart" uri="{C3380CC4-5D6E-409C-BE32-E72D297353CC}">
                <c16:uniqueId val="{000008B5-D46E-4B35-AB90-9DEAD12B463E}"/>
              </c:ext>
            </c:extLst>
          </c:dPt>
          <c:dPt>
            <c:idx val="1114"/>
            <c:invertIfNegative val="1"/>
            <c:bubble3D val="0"/>
            <c:spPr>
              <a:solidFill>
                <a:srgbClr val="AEABAB"/>
              </a:solidFill>
            </c:spPr>
            <c:extLst>
              <c:ext xmlns:c16="http://schemas.microsoft.com/office/drawing/2014/chart" uri="{C3380CC4-5D6E-409C-BE32-E72D297353CC}">
                <c16:uniqueId val="{000008B7-D46E-4B35-AB90-9DEAD12B463E}"/>
              </c:ext>
            </c:extLst>
          </c:dPt>
          <c:dPt>
            <c:idx val="1115"/>
            <c:invertIfNegative val="1"/>
            <c:bubble3D val="0"/>
            <c:spPr>
              <a:solidFill>
                <a:srgbClr val="AEABAB"/>
              </a:solidFill>
            </c:spPr>
            <c:extLst>
              <c:ext xmlns:c16="http://schemas.microsoft.com/office/drawing/2014/chart" uri="{C3380CC4-5D6E-409C-BE32-E72D297353CC}">
                <c16:uniqueId val="{000008B9-D46E-4B35-AB90-9DEAD12B463E}"/>
              </c:ext>
            </c:extLst>
          </c:dPt>
          <c:dPt>
            <c:idx val="1116"/>
            <c:invertIfNegative val="1"/>
            <c:bubble3D val="0"/>
            <c:spPr>
              <a:solidFill>
                <a:srgbClr val="AEABAB"/>
              </a:solidFill>
            </c:spPr>
            <c:extLst>
              <c:ext xmlns:c16="http://schemas.microsoft.com/office/drawing/2014/chart" uri="{C3380CC4-5D6E-409C-BE32-E72D297353CC}">
                <c16:uniqueId val="{000008BB-D46E-4B35-AB90-9DEAD12B463E}"/>
              </c:ext>
            </c:extLst>
          </c:dPt>
          <c:dPt>
            <c:idx val="1117"/>
            <c:invertIfNegative val="1"/>
            <c:bubble3D val="0"/>
            <c:spPr>
              <a:solidFill>
                <a:srgbClr val="AEABAB"/>
              </a:solidFill>
            </c:spPr>
            <c:extLst>
              <c:ext xmlns:c16="http://schemas.microsoft.com/office/drawing/2014/chart" uri="{C3380CC4-5D6E-409C-BE32-E72D297353CC}">
                <c16:uniqueId val="{000008BD-D46E-4B35-AB90-9DEAD12B463E}"/>
              </c:ext>
            </c:extLst>
          </c:dPt>
          <c:dPt>
            <c:idx val="1118"/>
            <c:invertIfNegative val="1"/>
            <c:bubble3D val="0"/>
            <c:spPr>
              <a:solidFill>
                <a:srgbClr val="AEABAB"/>
              </a:solidFill>
            </c:spPr>
            <c:extLst>
              <c:ext xmlns:c16="http://schemas.microsoft.com/office/drawing/2014/chart" uri="{C3380CC4-5D6E-409C-BE32-E72D297353CC}">
                <c16:uniqueId val="{000008BF-D46E-4B35-AB90-9DEAD12B463E}"/>
              </c:ext>
            </c:extLst>
          </c:dPt>
          <c:dPt>
            <c:idx val="1119"/>
            <c:invertIfNegative val="1"/>
            <c:bubble3D val="0"/>
            <c:spPr>
              <a:solidFill>
                <a:srgbClr val="AEABAB"/>
              </a:solidFill>
            </c:spPr>
            <c:extLst>
              <c:ext xmlns:c16="http://schemas.microsoft.com/office/drawing/2014/chart" uri="{C3380CC4-5D6E-409C-BE32-E72D297353CC}">
                <c16:uniqueId val="{000008C1-D46E-4B35-AB90-9DEAD12B463E}"/>
              </c:ext>
            </c:extLst>
          </c:dPt>
          <c:dPt>
            <c:idx val="1120"/>
            <c:invertIfNegative val="1"/>
            <c:bubble3D val="0"/>
            <c:spPr>
              <a:solidFill>
                <a:srgbClr val="AEABAB"/>
              </a:solidFill>
            </c:spPr>
            <c:extLst>
              <c:ext xmlns:c16="http://schemas.microsoft.com/office/drawing/2014/chart" uri="{C3380CC4-5D6E-409C-BE32-E72D297353CC}">
                <c16:uniqueId val="{000008C3-D46E-4B35-AB90-9DEAD12B463E}"/>
              </c:ext>
            </c:extLst>
          </c:dPt>
          <c:dPt>
            <c:idx val="1121"/>
            <c:invertIfNegative val="1"/>
            <c:bubble3D val="0"/>
            <c:spPr>
              <a:solidFill>
                <a:srgbClr val="AEABAB"/>
              </a:solidFill>
            </c:spPr>
            <c:extLst>
              <c:ext xmlns:c16="http://schemas.microsoft.com/office/drawing/2014/chart" uri="{C3380CC4-5D6E-409C-BE32-E72D297353CC}">
                <c16:uniqueId val="{000008C5-D46E-4B35-AB90-9DEAD12B463E}"/>
              </c:ext>
            </c:extLst>
          </c:dPt>
          <c:dPt>
            <c:idx val="1122"/>
            <c:invertIfNegative val="1"/>
            <c:bubble3D val="0"/>
            <c:spPr>
              <a:solidFill>
                <a:srgbClr val="AEABAB"/>
              </a:solidFill>
            </c:spPr>
            <c:extLst>
              <c:ext xmlns:c16="http://schemas.microsoft.com/office/drawing/2014/chart" uri="{C3380CC4-5D6E-409C-BE32-E72D297353CC}">
                <c16:uniqueId val="{000008C7-D46E-4B35-AB90-9DEAD12B463E}"/>
              </c:ext>
            </c:extLst>
          </c:dPt>
          <c:dPt>
            <c:idx val="1123"/>
            <c:invertIfNegative val="1"/>
            <c:bubble3D val="0"/>
            <c:spPr>
              <a:solidFill>
                <a:srgbClr val="AEABAB"/>
              </a:solidFill>
            </c:spPr>
            <c:extLst>
              <c:ext xmlns:c16="http://schemas.microsoft.com/office/drawing/2014/chart" uri="{C3380CC4-5D6E-409C-BE32-E72D297353CC}">
                <c16:uniqueId val="{000008C9-D46E-4B35-AB90-9DEAD12B463E}"/>
              </c:ext>
            </c:extLst>
          </c:dPt>
          <c:dPt>
            <c:idx val="1124"/>
            <c:invertIfNegative val="1"/>
            <c:bubble3D val="0"/>
            <c:spPr>
              <a:solidFill>
                <a:srgbClr val="AEABAB"/>
              </a:solidFill>
            </c:spPr>
            <c:extLst>
              <c:ext xmlns:c16="http://schemas.microsoft.com/office/drawing/2014/chart" uri="{C3380CC4-5D6E-409C-BE32-E72D297353CC}">
                <c16:uniqueId val="{000008CB-D46E-4B35-AB90-9DEAD12B463E}"/>
              </c:ext>
            </c:extLst>
          </c:dPt>
          <c:dPt>
            <c:idx val="1125"/>
            <c:invertIfNegative val="1"/>
            <c:bubble3D val="0"/>
            <c:spPr>
              <a:solidFill>
                <a:srgbClr val="AEABAB"/>
              </a:solidFill>
            </c:spPr>
            <c:extLst>
              <c:ext xmlns:c16="http://schemas.microsoft.com/office/drawing/2014/chart" uri="{C3380CC4-5D6E-409C-BE32-E72D297353CC}">
                <c16:uniqueId val="{000008CD-D46E-4B35-AB90-9DEAD12B463E}"/>
              </c:ext>
            </c:extLst>
          </c:dPt>
          <c:dPt>
            <c:idx val="1126"/>
            <c:invertIfNegative val="1"/>
            <c:bubble3D val="0"/>
            <c:spPr>
              <a:solidFill>
                <a:srgbClr val="AEABAB"/>
              </a:solidFill>
            </c:spPr>
            <c:extLst>
              <c:ext xmlns:c16="http://schemas.microsoft.com/office/drawing/2014/chart" uri="{C3380CC4-5D6E-409C-BE32-E72D297353CC}">
                <c16:uniqueId val="{000008CF-D46E-4B35-AB90-9DEAD12B463E}"/>
              </c:ext>
            </c:extLst>
          </c:dPt>
          <c:dPt>
            <c:idx val="1127"/>
            <c:invertIfNegative val="1"/>
            <c:bubble3D val="0"/>
            <c:spPr>
              <a:solidFill>
                <a:srgbClr val="AEABAB"/>
              </a:solidFill>
            </c:spPr>
            <c:extLst>
              <c:ext xmlns:c16="http://schemas.microsoft.com/office/drawing/2014/chart" uri="{C3380CC4-5D6E-409C-BE32-E72D297353CC}">
                <c16:uniqueId val="{000008D1-D46E-4B35-AB90-9DEAD12B463E}"/>
              </c:ext>
            </c:extLst>
          </c:dPt>
          <c:dPt>
            <c:idx val="1128"/>
            <c:invertIfNegative val="1"/>
            <c:bubble3D val="0"/>
            <c:spPr>
              <a:solidFill>
                <a:srgbClr val="AEABAB"/>
              </a:solidFill>
            </c:spPr>
            <c:extLst>
              <c:ext xmlns:c16="http://schemas.microsoft.com/office/drawing/2014/chart" uri="{C3380CC4-5D6E-409C-BE32-E72D297353CC}">
                <c16:uniqueId val="{000008D3-D46E-4B35-AB90-9DEAD12B463E}"/>
              </c:ext>
            </c:extLst>
          </c:dPt>
          <c:dPt>
            <c:idx val="1129"/>
            <c:invertIfNegative val="1"/>
            <c:bubble3D val="0"/>
            <c:spPr>
              <a:solidFill>
                <a:srgbClr val="AEABAB"/>
              </a:solidFill>
            </c:spPr>
            <c:extLst>
              <c:ext xmlns:c16="http://schemas.microsoft.com/office/drawing/2014/chart" uri="{C3380CC4-5D6E-409C-BE32-E72D297353CC}">
                <c16:uniqueId val="{000008D5-D46E-4B35-AB90-9DEAD12B463E}"/>
              </c:ext>
            </c:extLst>
          </c:dPt>
          <c:dPt>
            <c:idx val="1130"/>
            <c:invertIfNegative val="1"/>
            <c:bubble3D val="0"/>
            <c:spPr>
              <a:solidFill>
                <a:srgbClr val="AEABAB"/>
              </a:solidFill>
            </c:spPr>
            <c:extLst>
              <c:ext xmlns:c16="http://schemas.microsoft.com/office/drawing/2014/chart" uri="{C3380CC4-5D6E-409C-BE32-E72D297353CC}">
                <c16:uniqueId val="{000008D7-D46E-4B35-AB90-9DEAD12B463E}"/>
              </c:ext>
            </c:extLst>
          </c:dPt>
          <c:dPt>
            <c:idx val="1131"/>
            <c:invertIfNegative val="1"/>
            <c:bubble3D val="0"/>
            <c:spPr>
              <a:solidFill>
                <a:srgbClr val="AEABAB"/>
              </a:solidFill>
            </c:spPr>
            <c:extLst>
              <c:ext xmlns:c16="http://schemas.microsoft.com/office/drawing/2014/chart" uri="{C3380CC4-5D6E-409C-BE32-E72D297353CC}">
                <c16:uniqueId val="{000008D9-D46E-4B35-AB90-9DEAD12B463E}"/>
              </c:ext>
            </c:extLst>
          </c:dPt>
          <c:dPt>
            <c:idx val="1132"/>
            <c:invertIfNegative val="1"/>
            <c:bubble3D val="0"/>
            <c:spPr>
              <a:solidFill>
                <a:srgbClr val="AEABAB"/>
              </a:solidFill>
            </c:spPr>
            <c:extLst>
              <c:ext xmlns:c16="http://schemas.microsoft.com/office/drawing/2014/chart" uri="{C3380CC4-5D6E-409C-BE32-E72D297353CC}">
                <c16:uniqueId val="{000008DB-D46E-4B35-AB90-9DEAD12B463E}"/>
              </c:ext>
            </c:extLst>
          </c:dPt>
          <c:dPt>
            <c:idx val="1133"/>
            <c:invertIfNegative val="1"/>
            <c:bubble3D val="0"/>
            <c:spPr>
              <a:solidFill>
                <a:srgbClr val="AEABAB"/>
              </a:solidFill>
            </c:spPr>
            <c:extLst>
              <c:ext xmlns:c16="http://schemas.microsoft.com/office/drawing/2014/chart" uri="{C3380CC4-5D6E-409C-BE32-E72D297353CC}">
                <c16:uniqueId val="{000008DD-D46E-4B35-AB90-9DEAD12B463E}"/>
              </c:ext>
            </c:extLst>
          </c:dPt>
          <c:dPt>
            <c:idx val="1134"/>
            <c:invertIfNegative val="1"/>
            <c:bubble3D val="0"/>
            <c:spPr>
              <a:solidFill>
                <a:srgbClr val="AEABAB"/>
              </a:solidFill>
            </c:spPr>
            <c:extLst>
              <c:ext xmlns:c16="http://schemas.microsoft.com/office/drawing/2014/chart" uri="{C3380CC4-5D6E-409C-BE32-E72D297353CC}">
                <c16:uniqueId val="{000008DF-D46E-4B35-AB90-9DEAD12B463E}"/>
              </c:ext>
            </c:extLst>
          </c:dPt>
          <c:dPt>
            <c:idx val="1135"/>
            <c:invertIfNegative val="1"/>
            <c:bubble3D val="0"/>
            <c:spPr>
              <a:solidFill>
                <a:srgbClr val="AEABAB"/>
              </a:solidFill>
            </c:spPr>
            <c:extLst>
              <c:ext xmlns:c16="http://schemas.microsoft.com/office/drawing/2014/chart" uri="{C3380CC4-5D6E-409C-BE32-E72D297353CC}">
                <c16:uniqueId val="{000008E1-D46E-4B35-AB90-9DEAD12B463E}"/>
              </c:ext>
            </c:extLst>
          </c:dPt>
          <c:dPt>
            <c:idx val="1136"/>
            <c:invertIfNegative val="1"/>
            <c:bubble3D val="0"/>
            <c:spPr>
              <a:solidFill>
                <a:srgbClr val="AEABAB"/>
              </a:solidFill>
            </c:spPr>
            <c:extLst>
              <c:ext xmlns:c16="http://schemas.microsoft.com/office/drawing/2014/chart" uri="{C3380CC4-5D6E-409C-BE32-E72D297353CC}">
                <c16:uniqueId val="{000008E3-D46E-4B35-AB90-9DEAD12B463E}"/>
              </c:ext>
            </c:extLst>
          </c:dPt>
          <c:dPt>
            <c:idx val="1137"/>
            <c:invertIfNegative val="1"/>
            <c:bubble3D val="0"/>
            <c:spPr>
              <a:solidFill>
                <a:srgbClr val="AEABAB"/>
              </a:solidFill>
            </c:spPr>
            <c:extLst>
              <c:ext xmlns:c16="http://schemas.microsoft.com/office/drawing/2014/chart" uri="{C3380CC4-5D6E-409C-BE32-E72D297353CC}">
                <c16:uniqueId val="{000008E5-D46E-4B35-AB90-9DEAD12B463E}"/>
              </c:ext>
            </c:extLst>
          </c:dPt>
          <c:dPt>
            <c:idx val="1138"/>
            <c:invertIfNegative val="1"/>
            <c:bubble3D val="0"/>
            <c:spPr>
              <a:solidFill>
                <a:srgbClr val="AEABAB"/>
              </a:solidFill>
            </c:spPr>
            <c:extLst>
              <c:ext xmlns:c16="http://schemas.microsoft.com/office/drawing/2014/chart" uri="{C3380CC4-5D6E-409C-BE32-E72D297353CC}">
                <c16:uniqueId val="{000008E7-D46E-4B35-AB90-9DEAD12B463E}"/>
              </c:ext>
            </c:extLst>
          </c:dPt>
          <c:dPt>
            <c:idx val="1139"/>
            <c:invertIfNegative val="1"/>
            <c:bubble3D val="0"/>
            <c:spPr>
              <a:solidFill>
                <a:srgbClr val="AEABAB"/>
              </a:solidFill>
            </c:spPr>
            <c:extLst>
              <c:ext xmlns:c16="http://schemas.microsoft.com/office/drawing/2014/chart" uri="{C3380CC4-5D6E-409C-BE32-E72D297353CC}">
                <c16:uniqueId val="{000008E9-D46E-4B35-AB90-9DEAD12B463E}"/>
              </c:ext>
            </c:extLst>
          </c:dPt>
          <c:dPt>
            <c:idx val="1140"/>
            <c:invertIfNegative val="1"/>
            <c:bubble3D val="0"/>
            <c:spPr>
              <a:solidFill>
                <a:srgbClr val="AEABAB"/>
              </a:solidFill>
            </c:spPr>
            <c:extLst>
              <c:ext xmlns:c16="http://schemas.microsoft.com/office/drawing/2014/chart" uri="{C3380CC4-5D6E-409C-BE32-E72D297353CC}">
                <c16:uniqueId val="{000008EB-D46E-4B35-AB90-9DEAD12B463E}"/>
              </c:ext>
            </c:extLst>
          </c:dPt>
          <c:dPt>
            <c:idx val="1141"/>
            <c:invertIfNegative val="1"/>
            <c:bubble3D val="0"/>
            <c:spPr>
              <a:solidFill>
                <a:srgbClr val="AEABAB"/>
              </a:solidFill>
            </c:spPr>
            <c:extLst>
              <c:ext xmlns:c16="http://schemas.microsoft.com/office/drawing/2014/chart" uri="{C3380CC4-5D6E-409C-BE32-E72D297353CC}">
                <c16:uniqueId val="{000008ED-D46E-4B35-AB90-9DEAD12B463E}"/>
              </c:ext>
            </c:extLst>
          </c:dPt>
          <c:dPt>
            <c:idx val="1142"/>
            <c:invertIfNegative val="1"/>
            <c:bubble3D val="0"/>
            <c:spPr>
              <a:solidFill>
                <a:srgbClr val="AEABAB"/>
              </a:solidFill>
            </c:spPr>
            <c:extLst>
              <c:ext xmlns:c16="http://schemas.microsoft.com/office/drawing/2014/chart" uri="{C3380CC4-5D6E-409C-BE32-E72D297353CC}">
                <c16:uniqueId val="{000008EF-D46E-4B35-AB90-9DEAD12B463E}"/>
              </c:ext>
            </c:extLst>
          </c:dPt>
          <c:dPt>
            <c:idx val="1143"/>
            <c:invertIfNegative val="1"/>
            <c:bubble3D val="0"/>
            <c:spPr>
              <a:solidFill>
                <a:srgbClr val="AEABAB"/>
              </a:solidFill>
            </c:spPr>
            <c:extLst>
              <c:ext xmlns:c16="http://schemas.microsoft.com/office/drawing/2014/chart" uri="{C3380CC4-5D6E-409C-BE32-E72D297353CC}">
                <c16:uniqueId val="{000008F1-D46E-4B35-AB90-9DEAD12B463E}"/>
              </c:ext>
            </c:extLst>
          </c:dPt>
          <c:cat>
            <c:strRef>
              <c:f>Sheet1!$A$2:$A$1145</c:f>
              <c:strCache>
                <c:ptCount val="1144"/>
                <c:pt idx="0">
                  <c:v>Caprice Des</c:v>
                </c:pt>
                <c:pt idx="1">
                  <c:v>Galbani</c:v>
                </c:pt>
                <c:pt idx="2">
                  <c:v>Caprice Des</c:v>
                </c:pt>
                <c:pt idx="3">
                  <c:v>Coeur De Li</c:v>
                </c:pt>
                <c:pt idx="4">
                  <c:v>President</c:v>
                </c:pt>
                <c:pt idx="5">
                  <c:v>Soignon</c:v>
                </c:pt>
                <c:pt idx="6">
                  <c:v>Salakis</c:v>
                </c:pt>
                <c:pt idx="7">
                  <c:v>Le Rustique</c:v>
                </c:pt>
                <c:pt idx="8">
                  <c:v>Coeur De Li</c:v>
                </c:pt>
                <c:pt idx="9">
                  <c:v>Mini Babybe</c:v>
                </c:pt>
                <c:pt idx="10">
                  <c:v>Mini Babybe</c:v>
                </c:pt>
                <c:pt idx="11">
                  <c:v>La Vache Qu</c:v>
                </c:pt>
                <c:pt idx="12">
                  <c:v>St Moret</c:v>
                </c:pt>
                <c:pt idx="13">
                  <c:v>Soignon</c:v>
                </c:pt>
                <c:pt idx="14">
                  <c:v>La Vache Qu</c:v>
                </c:pt>
                <c:pt idx="15">
                  <c:v>Islos</c:v>
                </c:pt>
                <c:pt idx="16">
                  <c:v>La Vache Qu</c:v>
                </c:pt>
                <c:pt idx="17">
                  <c:v>Kiri</c:v>
                </c:pt>
                <c:pt idx="18">
                  <c:v>St Moret</c:v>
                </c:pt>
                <c:pt idx="19">
                  <c:v>Paysan Bret</c:v>
                </c:pt>
                <c:pt idx="20">
                  <c:v>Tartare</c:v>
                </c:pt>
                <c:pt idx="21">
                  <c:v>Salakis</c:v>
                </c:pt>
                <c:pt idx="22">
                  <c:v>Soignon</c:v>
                </c:pt>
                <c:pt idx="23">
                  <c:v>St Moret</c:v>
                </c:pt>
                <c:pt idx="24">
                  <c:v>All Others</c:v>
                </c:pt>
                <c:pt idx="25">
                  <c:v>President</c:v>
                </c:pt>
                <c:pt idx="26">
                  <c:v>Ficello</c:v>
                </c:pt>
                <c:pt idx="27">
                  <c:v>Kiri</c:v>
                </c:pt>
                <c:pt idx="28">
                  <c:v>Apericube</c:v>
                </c:pt>
                <c:pt idx="29">
                  <c:v>Kiri</c:v>
                </c:pt>
                <c:pt idx="30">
                  <c:v>Mini Babybe</c:v>
                </c:pt>
                <c:pt idx="31">
                  <c:v>Galbani</c:v>
                </c:pt>
                <c:pt idx="32">
                  <c:v>Apericube</c:v>
                </c:pt>
                <c:pt idx="33">
                  <c:v>Galbani</c:v>
                </c:pt>
                <c:pt idx="34">
                  <c:v>Carre Frais</c:v>
                </c:pt>
                <c:pt idx="35">
                  <c:v>Carre Frais</c:v>
                </c:pt>
                <c:pt idx="36">
                  <c:v>Paysan Bret</c:v>
                </c:pt>
                <c:pt idx="37">
                  <c:v>All Others</c:v>
                </c:pt>
                <c:pt idx="38">
                  <c:v>Casa Azzurr</c:v>
                </c:pt>
                <c:pt idx="39">
                  <c:v>Casa Azzurr</c:v>
                </c:pt>
                <c:pt idx="40">
                  <c:v>Philadelphi</c:v>
                </c:pt>
                <c:pt idx="41">
                  <c:v>Petit Billy</c:v>
                </c:pt>
                <c:pt idx="42">
                  <c:v>All Others</c:v>
                </c:pt>
                <c:pt idx="43">
                  <c:v>President</c:v>
                </c:pt>
                <c:pt idx="44">
                  <c:v>Coeur De Li</c:v>
                </c:pt>
                <c:pt idx="45">
                  <c:v>Ficello</c:v>
                </c:pt>
                <c:pt idx="46">
                  <c:v>Mini Babybe</c:v>
                </c:pt>
                <c:pt idx="47">
                  <c:v>Galbani</c:v>
                </c:pt>
                <c:pt idx="48">
                  <c:v>Boursin</c:v>
                </c:pt>
                <c:pt idx="49">
                  <c:v>St Moret</c:v>
                </c:pt>
                <c:pt idx="50">
                  <c:v>Kiri</c:v>
                </c:pt>
                <c:pt idx="51">
                  <c:v>Casa Azzurr</c:v>
                </c:pt>
                <c:pt idx="52">
                  <c:v>St Moret</c:v>
                </c:pt>
                <c:pt idx="53">
                  <c:v>Boursin</c:v>
                </c:pt>
                <c:pt idx="54">
                  <c:v>Casa Azzurr</c:v>
                </c:pt>
                <c:pt idx="55">
                  <c:v>Caprice Des</c:v>
                </c:pt>
                <c:pt idx="56">
                  <c:v>President</c:v>
                </c:pt>
                <c:pt idx="57">
                  <c:v>St Moret</c:v>
                </c:pt>
                <c:pt idx="58">
                  <c:v>Lepetit</c:v>
                </c:pt>
                <c:pt idx="59">
                  <c:v>Boursin</c:v>
                </c:pt>
                <c:pt idx="60">
                  <c:v>Casa Azzurr</c:v>
                </c:pt>
                <c:pt idx="61">
                  <c:v>Apericube</c:v>
                </c:pt>
                <c:pt idx="62">
                  <c:v>Salakis</c:v>
                </c:pt>
                <c:pt idx="63">
                  <c:v>Boursin</c:v>
                </c:pt>
                <c:pt idx="64">
                  <c:v>All Others</c:v>
                </c:pt>
                <c:pt idx="65">
                  <c:v>Casa Azzurr</c:v>
                </c:pt>
                <c:pt idx="66">
                  <c:v>Soignon</c:v>
                </c:pt>
                <c:pt idx="67">
                  <c:v>Galbani</c:v>
                </c:pt>
                <c:pt idx="68">
                  <c:v>Philadelphi</c:v>
                </c:pt>
                <c:pt idx="69">
                  <c:v>Istara</c:v>
                </c:pt>
                <c:pt idx="70">
                  <c:v>Salakis</c:v>
                </c:pt>
                <c:pt idx="71">
                  <c:v>St Moret</c:v>
                </c:pt>
                <c:pt idx="72">
                  <c:v>Aperivrais</c:v>
                </c:pt>
                <c:pt idx="73">
                  <c:v>Tartare</c:v>
                </c:pt>
                <c:pt idx="74">
                  <c:v>La Vache Qu</c:v>
                </c:pt>
                <c:pt idx="75">
                  <c:v>Lou Perac</c:v>
                </c:pt>
                <c:pt idx="76">
                  <c:v>All Others</c:v>
                </c:pt>
                <c:pt idx="77">
                  <c:v>Le Brebiou</c:v>
                </c:pt>
                <c:pt idx="78">
                  <c:v>Etorki</c:v>
                </c:pt>
                <c:pt idx="79">
                  <c:v>Paysan Bret</c:v>
                </c:pt>
                <c:pt idx="80">
                  <c:v>All Others</c:v>
                </c:pt>
                <c:pt idx="81">
                  <c:v>Coeur De Li</c:v>
                </c:pt>
                <c:pt idx="82">
                  <c:v>Soignon</c:v>
                </c:pt>
                <c:pt idx="83">
                  <c:v>President</c:v>
                </c:pt>
                <c:pt idx="84">
                  <c:v>All Others</c:v>
                </c:pt>
                <c:pt idx="85">
                  <c:v>Tartare</c:v>
                </c:pt>
                <c:pt idx="86">
                  <c:v>Casa Azzurr</c:v>
                </c:pt>
                <c:pt idx="87">
                  <c:v>Galbani</c:v>
                </c:pt>
                <c:pt idx="88">
                  <c:v>Aperivrais</c:v>
                </c:pt>
                <c:pt idx="89">
                  <c:v>Paysan Bret</c:v>
                </c:pt>
                <c:pt idx="90">
                  <c:v>St Moret</c:v>
                </c:pt>
                <c:pt idx="91">
                  <c:v>La Vache Qu</c:v>
                </c:pt>
                <c:pt idx="92">
                  <c:v>St Moret</c:v>
                </c:pt>
                <c:pt idx="93">
                  <c:v>President</c:v>
                </c:pt>
                <c:pt idx="94">
                  <c:v>President</c:v>
                </c:pt>
                <c:pt idx="95">
                  <c:v>President</c:v>
                </c:pt>
                <c:pt idx="96">
                  <c:v>Chavroux</c:v>
                </c:pt>
                <c:pt idx="97">
                  <c:v>Boursin</c:v>
                </c:pt>
                <c:pt idx="98">
                  <c:v>Galbani</c:v>
                </c:pt>
                <c:pt idx="99">
                  <c:v>Apericube</c:v>
                </c:pt>
                <c:pt idx="100">
                  <c:v>All Others</c:v>
                </c:pt>
                <c:pt idx="101">
                  <c:v>President</c:v>
                </c:pt>
                <c:pt idx="102">
                  <c:v>Kiri</c:v>
                </c:pt>
                <c:pt idx="103">
                  <c:v>Kiri</c:v>
                </c:pt>
                <c:pt idx="104">
                  <c:v>All Others</c:v>
                </c:pt>
                <c:pt idx="105">
                  <c:v>Le Rustique</c:v>
                </c:pt>
                <c:pt idx="106">
                  <c:v>Casa Azzurr</c:v>
                </c:pt>
                <c:pt idx="107">
                  <c:v>Salakis</c:v>
                </c:pt>
                <c:pt idx="108">
                  <c:v>All Others</c:v>
                </c:pt>
                <c:pt idx="109">
                  <c:v>Apericube</c:v>
                </c:pt>
                <c:pt idx="110">
                  <c:v>Coeur De Li</c:v>
                </c:pt>
                <c:pt idx="111">
                  <c:v>Apericube</c:v>
                </c:pt>
                <c:pt idx="112">
                  <c:v>Soignon</c:v>
                </c:pt>
                <c:pt idx="113">
                  <c:v>Casa Azzurr</c:v>
                </c:pt>
                <c:pt idx="114">
                  <c:v>President</c:v>
                </c:pt>
                <c:pt idx="115">
                  <c:v>All Others</c:v>
                </c:pt>
                <c:pt idx="116">
                  <c:v>All Others</c:v>
                </c:pt>
                <c:pt idx="117">
                  <c:v>Lactalis: A</c:v>
                </c:pt>
                <c:pt idx="118">
                  <c:v>Caprice Des</c:v>
                </c:pt>
                <c:pt idx="119">
                  <c:v>Apericube</c:v>
                </c:pt>
                <c:pt idx="120">
                  <c:v>Salakis</c:v>
                </c:pt>
                <c:pt idx="121">
                  <c:v>La Vache Qu</c:v>
                </c:pt>
                <c:pt idx="122">
                  <c:v>Philadelphi</c:v>
                </c:pt>
                <c:pt idx="123">
                  <c:v>Casa Azzurr</c:v>
                </c:pt>
                <c:pt idx="124">
                  <c:v>Istara</c:v>
                </c:pt>
                <c:pt idx="125">
                  <c:v>President</c:v>
                </c:pt>
                <c:pt idx="126">
                  <c:v>Lactalis: A</c:v>
                </c:pt>
                <c:pt idx="127">
                  <c:v>All Others</c:v>
                </c:pt>
                <c:pt idx="128">
                  <c:v>Le Rustique</c:v>
                </c:pt>
                <c:pt idx="129">
                  <c:v>Soignon</c:v>
                </c:pt>
                <c:pt idx="130">
                  <c:v>All Others</c:v>
                </c:pt>
                <c:pt idx="131">
                  <c:v>Paysan Bret</c:v>
                </c:pt>
                <c:pt idx="132">
                  <c:v>Tartare</c:v>
                </c:pt>
                <c:pt idx="133">
                  <c:v>Paysan Bret</c:v>
                </c:pt>
                <c:pt idx="134">
                  <c:v>Lou Perac</c:v>
                </c:pt>
                <c:pt idx="135">
                  <c:v>All Others</c:v>
                </c:pt>
                <c:pt idx="136">
                  <c:v>Galbani</c:v>
                </c:pt>
                <c:pt idx="137">
                  <c:v>Galbani</c:v>
                </c:pt>
                <c:pt idx="138">
                  <c:v>Rondele</c:v>
                </c:pt>
                <c:pt idx="139">
                  <c:v>All Others</c:v>
                </c:pt>
                <c:pt idx="140">
                  <c:v>Apericube</c:v>
                </c:pt>
                <c:pt idx="141">
                  <c:v>All Others</c:v>
                </c:pt>
                <c:pt idx="142">
                  <c:v>Carre Frais</c:v>
                </c:pt>
                <c:pt idx="143">
                  <c:v>Boursin</c:v>
                </c:pt>
                <c:pt idx="144">
                  <c:v>P'Tit Louis</c:v>
                </c:pt>
                <c:pt idx="145">
                  <c:v>Galbani</c:v>
                </c:pt>
                <c:pt idx="146">
                  <c:v>Chavroux</c:v>
                </c:pt>
                <c:pt idx="147">
                  <c:v>All Others</c:v>
                </c:pt>
                <c:pt idx="148">
                  <c:v>Boursin</c:v>
                </c:pt>
                <c:pt idx="149">
                  <c:v>Le Rustique</c:v>
                </c:pt>
                <c:pt idx="150">
                  <c:v>Lactalis: A</c:v>
                </c:pt>
                <c:pt idx="151">
                  <c:v>Apericube</c:v>
                </c:pt>
                <c:pt idx="152">
                  <c:v>All Others</c:v>
                </c:pt>
                <c:pt idx="153">
                  <c:v>All Others</c:v>
                </c:pt>
                <c:pt idx="154">
                  <c:v>Soignon</c:v>
                </c:pt>
                <c:pt idx="155">
                  <c:v>Apericube</c:v>
                </c:pt>
                <c:pt idx="156">
                  <c:v>Mini Babybe</c:v>
                </c:pt>
                <c:pt idx="157">
                  <c:v>Savencia: A</c:v>
                </c:pt>
                <c:pt idx="158">
                  <c:v>All Others</c:v>
                </c:pt>
                <c:pt idx="159">
                  <c:v>Soignon</c:v>
                </c:pt>
                <c:pt idx="160">
                  <c:v>President</c:v>
                </c:pt>
                <c:pt idx="161">
                  <c:v>All Others</c:v>
                </c:pt>
                <c:pt idx="162">
                  <c:v>All Others</c:v>
                </c:pt>
                <c:pt idx="163">
                  <c:v>Salakis</c:v>
                </c:pt>
                <c:pt idx="164">
                  <c:v>All Others</c:v>
                </c:pt>
                <c:pt idx="165">
                  <c:v>Soignon</c:v>
                </c:pt>
                <c:pt idx="166">
                  <c:v>Casa Azzurr</c:v>
                </c:pt>
                <c:pt idx="167">
                  <c:v>Paysan Bret</c:v>
                </c:pt>
                <c:pt idx="168">
                  <c:v>Aperivrais</c:v>
                </c:pt>
                <c:pt idx="169">
                  <c:v>All Others</c:v>
                </c:pt>
                <c:pt idx="170">
                  <c:v>All Others</c:v>
                </c:pt>
                <c:pt idx="171">
                  <c:v>All Others</c:v>
                </c:pt>
                <c:pt idx="172">
                  <c:v>Apericube</c:v>
                </c:pt>
                <c:pt idx="173">
                  <c:v>Mini Babybe</c:v>
                </c:pt>
                <c:pt idx="174">
                  <c:v>All Others</c:v>
                </c:pt>
                <c:pt idx="175">
                  <c:v>St Moret</c:v>
                </c:pt>
                <c:pt idx="176">
                  <c:v>All Others</c:v>
                </c:pt>
                <c:pt idx="177">
                  <c:v>All Others</c:v>
                </c:pt>
                <c:pt idx="178">
                  <c:v>All Others</c:v>
                </c:pt>
                <c:pt idx="179">
                  <c:v>Lactalis: A</c:v>
                </c:pt>
                <c:pt idx="180">
                  <c:v>All Others</c:v>
                </c:pt>
                <c:pt idx="181">
                  <c:v>Caprice Des</c:v>
                </c:pt>
                <c:pt idx="182">
                  <c:v>President</c:v>
                </c:pt>
                <c:pt idx="183">
                  <c:v>All Others</c:v>
                </c:pt>
                <c:pt idx="184">
                  <c:v>Islos</c:v>
                </c:pt>
                <c:pt idx="185">
                  <c:v>All Others</c:v>
                </c:pt>
                <c:pt idx="186">
                  <c:v>Boursin</c:v>
                </c:pt>
                <c:pt idx="187">
                  <c:v>All Others</c:v>
                </c:pt>
                <c:pt idx="188">
                  <c:v>All Others</c:v>
                </c:pt>
                <c:pt idx="189">
                  <c:v>Chavroux</c:v>
                </c:pt>
                <c:pt idx="190">
                  <c:v>All Others</c:v>
                </c:pt>
                <c:pt idx="191">
                  <c:v>Boursin</c:v>
                </c:pt>
                <c:pt idx="192">
                  <c:v>All Others</c:v>
                </c:pt>
                <c:pt idx="193">
                  <c:v>Casa Azzurr</c:v>
                </c:pt>
                <c:pt idx="194">
                  <c:v>All Others</c:v>
                </c:pt>
                <c:pt idx="195">
                  <c:v>Caprice Des</c:v>
                </c:pt>
                <c:pt idx="196">
                  <c:v>All Others</c:v>
                </c:pt>
                <c:pt idx="197">
                  <c:v>Ficello</c:v>
                </c:pt>
                <c:pt idx="198">
                  <c:v>All Others</c:v>
                </c:pt>
                <c:pt idx="199">
                  <c:v>All Others</c:v>
                </c:pt>
                <c:pt idx="200">
                  <c:v>Casa Azzurr</c:v>
                </c:pt>
                <c:pt idx="201">
                  <c:v>All Others</c:v>
                </c:pt>
                <c:pt idx="202">
                  <c:v>Boursin</c:v>
                </c:pt>
                <c:pt idx="203">
                  <c:v>Paysan Bret</c:v>
                </c:pt>
                <c:pt idx="204">
                  <c:v>Casa Azzurr</c:v>
                </c:pt>
                <c:pt idx="205">
                  <c:v>Boursin</c:v>
                </c:pt>
                <c:pt idx="206">
                  <c:v>Kiri</c:v>
                </c:pt>
                <c:pt idx="207">
                  <c:v>All Others</c:v>
                </c:pt>
                <c:pt idx="208">
                  <c:v>All Others</c:v>
                </c:pt>
                <c:pt idx="209">
                  <c:v>Rondele</c:v>
                </c:pt>
                <c:pt idx="210">
                  <c:v>Galbani</c:v>
                </c:pt>
                <c:pt idx="211">
                  <c:v>Lou Perac</c:v>
                </c:pt>
                <c:pt idx="212">
                  <c:v>Galbani</c:v>
                </c:pt>
                <c:pt idx="213">
                  <c:v>Savencia: A</c:v>
                </c:pt>
                <c:pt idx="214">
                  <c:v>All Others</c:v>
                </c:pt>
                <c:pt idx="215">
                  <c:v>Apericube</c:v>
                </c:pt>
                <c:pt idx="216">
                  <c:v>All Others</c:v>
                </c:pt>
                <c:pt idx="217">
                  <c:v>All Others</c:v>
                </c:pt>
                <c:pt idx="218">
                  <c:v>St Moret</c:v>
                </c:pt>
                <c:pt idx="219">
                  <c:v>Lactalis: A</c:v>
                </c:pt>
                <c:pt idx="220">
                  <c:v>Soignon</c:v>
                </c:pt>
                <c:pt idx="221">
                  <c:v>Laita: All </c:v>
                </c:pt>
                <c:pt idx="222">
                  <c:v>Apericube</c:v>
                </c:pt>
                <c:pt idx="223">
                  <c:v>All Others</c:v>
                </c:pt>
                <c:pt idx="224">
                  <c:v>All Others</c:v>
                </c:pt>
                <c:pt idx="225">
                  <c:v>Soignon</c:v>
                </c:pt>
                <c:pt idx="226">
                  <c:v>Mini Babybe</c:v>
                </c:pt>
                <c:pt idx="227">
                  <c:v>Boursin</c:v>
                </c:pt>
                <c:pt idx="228">
                  <c:v>All Others</c:v>
                </c:pt>
                <c:pt idx="229">
                  <c:v>Kiri</c:v>
                </c:pt>
                <c:pt idx="230">
                  <c:v>All Others</c:v>
                </c:pt>
                <c:pt idx="231">
                  <c:v>Pave D'Affi</c:v>
                </c:pt>
                <c:pt idx="232">
                  <c:v>St Moret</c:v>
                </c:pt>
                <c:pt idx="233">
                  <c:v>Lou Perac</c:v>
                </c:pt>
                <c:pt idx="234">
                  <c:v>Aperivrais</c:v>
                </c:pt>
                <c:pt idx="235">
                  <c:v>All Others</c:v>
                </c:pt>
                <c:pt idx="236">
                  <c:v>Caprice Des</c:v>
                </c:pt>
                <c:pt idx="237">
                  <c:v>Coeur De Li</c:v>
                </c:pt>
                <c:pt idx="238">
                  <c:v>All Others</c:v>
                </c:pt>
                <c:pt idx="239">
                  <c:v>Islos</c:v>
                </c:pt>
                <c:pt idx="240">
                  <c:v>Mini Babybe</c:v>
                </c:pt>
                <c:pt idx="241">
                  <c:v>Paysan Bret</c:v>
                </c:pt>
                <c:pt idx="242">
                  <c:v>All Others</c:v>
                </c:pt>
                <c:pt idx="243">
                  <c:v>All Others</c:v>
                </c:pt>
                <c:pt idx="244">
                  <c:v>All Others</c:v>
                </c:pt>
                <c:pt idx="245">
                  <c:v>Violife</c:v>
                </c:pt>
                <c:pt idx="246">
                  <c:v>Violife</c:v>
                </c:pt>
                <c:pt idx="247">
                  <c:v>All Others</c:v>
                </c:pt>
                <c:pt idx="248">
                  <c:v>Leerdammer</c:v>
                </c:pt>
                <c:pt idx="249">
                  <c:v>All Others</c:v>
                </c:pt>
                <c:pt idx="250">
                  <c:v>Philadelphi</c:v>
                </c:pt>
                <c:pt idx="251">
                  <c:v>All Others</c:v>
                </c:pt>
                <c:pt idx="252">
                  <c:v>All Others</c:v>
                </c:pt>
                <c:pt idx="253">
                  <c:v>All Others</c:v>
                </c:pt>
                <c:pt idx="254">
                  <c:v>La Vache Qu</c:v>
                </c:pt>
                <c:pt idx="255">
                  <c:v>Triballat N</c:v>
                </c:pt>
                <c:pt idx="256">
                  <c:v>All Others</c:v>
                </c:pt>
                <c:pt idx="257">
                  <c:v>All Others</c:v>
                </c:pt>
                <c:pt idx="258">
                  <c:v>All Others</c:v>
                </c:pt>
                <c:pt idx="259">
                  <c:v>Etorki</c:v>
                </c:pt>
                <c:pt idx="260">
                  <c:v>All Others</c:v>
                </c:pt>
                <c:pt idx="261">
                  <c:v>All Others</c:v>
                </c:pt>
                <c:pt idx="262">
                  <c:v>All Others</c:v>
                </c:pt>
                <c:pt idx="263">
                  <c:v>Soignon</c:v>
                </c:pt>
                <c:pt idx="264">
                  <c:v>Boursin</c:v>
                </c:pt>
                <c:pt idx="265">
                  <c:v>All Others</c:v>
                </c:pt>
                <c:pt idx="266">
                  <c:v>Tartare</c:v>
                </c:pt>
                <c:pt idx="267">
                  <c:v>Boursin</c:v>
                </c:pt>
                <c:pt idx="268">
                  <c:v>All Others</c:v>
                </c:pt>
                <c:pt idx="269">
                  <c:v>All Others</c:v>
                </c:pt>
                <c:pt idx="270">
                  <c:v>Paysan Bret</c:v>
                </c:pt>
                <c:pt idx="271">
                  <c:v>P'Tit Louis</c:v>
                </c:pt>
                <c:pt idx="272">
                  <c:v>La Vache Qu</c:v>
                </c:pt>
                <c:pt idx="273">
                  <c:v>Apericube</c:v>
                </c:pt>
                <c:pt idx="274">
                  <c:v>All Others</c:v>
                </c:pt>
                <c:pt idx="275">
                  <c:v>All Others</c:v>
                </c:pt>
                <c:pt idx="276">
                  <c:v>All Others</c:v>
                </c:pt>
                <c:pt idx="277">
                  <c:v>All Others</c:v>
                </c:pt>
                <c:pt idx="278">
                  <c:v>Casa Azzurr</c:v>
                </c:pt>
                <c:pt idx="279">
                  <c:v>All Others</c:v>
                </c:pt>
                <c:pt idx="280">
                  <c:v>All Others</c:v>
                </c:pt>
                <c:pt idx="281">
                  <c:v>Etoile Du Q</c:v>
                </c:pt>
                <c:pt idx="282">
                  <c:v>Lactalis: A</c:v>
                </c:pt>
                <c:pt idx="283">
                  <c:v>All Others</c:v>
                </c:pt>
                <c:pt idx="284">
                  <c:v>Corsica</c:v>
                </c:pt>
                <c:pt idx="285">
                  <c:v>Tartare</c:v>
                </c:pt>
                <c:pt idx="286">
                  <c:v>All Others</c:v>
                </c:pt>
                <c:pt idx="287">
                  <c:v>All Others</c:v>
                </c:pt>
                <c:pt idx="288">
                  <c:v>All Others</c:v>
                </c:pt>
                <c:pt idx="289">
                  <c:v>All Others</c:v>
                </c:pt>
                <c:pt idx="290">
                  <c:v>Salakis</c:v>
                </c:pt>
                <c:pt idx="291">
                  <c:v>Caprice Des</c:v>
                </c:pt>
                <c:pt idx="292">
                  <c:v>P'Tit Louis</c:v>
                </c:pt>
                <c:pt idx="293">
                  <c:v>All Others</c:v>
                </c:pt>
                <c:pt idx="294">
                  <c:v>All Others</c:v>
                </c:pt>
                <c:pt idx="295">
                  <c:v>All Others</c:v>
                </c:pt>
                <c:pt idx="296">
                  <c:v>Chavroux</c:v>
                </c:pt>
                <c:pt idx="297">
                  <c:v>Savencia: A</c:v>
                </c:pt>
                <c:pt idx="298">
                  <c:v>President</c:v>
                </c:pt>
                <c:pt idx="299">
                  <c:v>Aperivrais</c:v>
                </c:pt>
                <c:pt idx="300">
                  <c:v>Kiri</c:v>
                </c:pt>
                <c:pt idx="301">
                  <c:v>All Others</c:v>
                </c:pt>
                <c:pt idx="302">
                  <c:v>Triballat R</c:v>
                </c:pt>
                <c:pt idx="303">
                  <c:v>Savencia: A</c:v>
                </c:pt>
                <c:pt idx="304">
                  <c:v>Lou Perac</c:v>
                </c:pt>
                <c:pt idx="305">
                  <c:v>Galbani</c:v>
                </c:pt>
                <c:pt idx="306">
                  <c:v>Violife</c:v>
                </c:pt>
                <c:pt idx="307">
                  <c:v>All Others</c:v>
                </c:pt>
                <c:pt idx="308">
                  <c:v>Lactalis: A</c:v>
                </c:pt>
                <c:pt idx="309">
                  <c:v>All Others</c:v>
                </c:pt>
                <c:pt idx="310">
                  <c:v>All Others</c:v>
                </c:pt>
                <c:pt idx="311">
                  <c:v>Ficello</c:v>
                </c:pt>
                <c:pt idx="312">
                  <c:v>All Others</c:v>
                </c:pt>
                <c:pt idx="313">
                  <c:v>Saint Agur</c:v>
                </c:pt>
                <c:pt idx="314">
                  <c:v>All Others</c:v>
                </c:pt>
                <c:pt idx="315">
                  <c:v>All Others</c:v>
                </c:pt>
                <c:pt idx="316">
                  <c:v>Eurial Autr</c:v>
                </c:pt>
                <c:pt idx="317">
                  <c:v>Triballat N</c:v>
                </c:pt>
                <c:pt idx="318">
                  <c:v>All Others</c:v>
                </c:pt>
                <c:pt idx="319">
                  <c:v>Corsica</c:v>
                </c:pt>
                <c:pt idx="320">
                  <c:v>All Others</c:v>
                </c:pt>
                <c:pt idx="321">
                  <c:v>Etoile Du V</c:v>
                </c:pt>
                <c:pt idx="322">
                  <c:v>All Others</c:v>
                </c:pt>
                <c:pt idx="323">
                  <c:v>Boursin</c:v>
                </c:pt>
                <c:pt idx="324">
                  <c:v>All Others</c:v>
                </c:pt>
                <c:pt idx="325">
                  <c:v>All Others</c:v>
                </c:pt>
                <c:pt idx="326">
                  <c:v>All Others</c:v>
                </c:pt>
                <c:pt idx="327">
                  <c:v>Violife</c:v>
                </c:pt>
                <c:pt idx="328">
                  <c:v>All Others</c:v>
                </c:pt>
                <c:pt idx="329">
                  <c:v>President</c:v>
                </c:pt>
                <c:pt idx="330">
                  <c:v>Milleret: A</c:v>
                </c:pt>
                <c:pt idx="331">
                  <c:v>Salakis</c:v>
                </c:pt>
                <c:pt idx="332">
                  <c:v>All Others</c:v>
                </c:pt>
                <c:pt idx="333">
                  <c:v>All Others</c:v>
                </c:pt>
                <c:pt idx="334">
                  <c:v>Apericube</c:v>
                </c:pt>
                <c:pt idx="335">
                  <c:v>Boursin</c:v>
                </c:pt>
                <c:pt idx="336">
                  <c:v>Tartare</c:v>
                </c:pt>
                <c:pt idx="337">
                  <c:v>Aperivrais</c:v>
                </c:pt>
                <c:pt idx="338">
                  <c:v>All Others</c:v>
                </c:pt>
                <c:pt idx="339">
                  <c:v>All Others</c:v>
                </c:pt>
                <c:pt idx="340">
                  <c:v>All Others</c:v>
                </c:pt>
                <c:pt idx="341">
                  <c:v>Apericube</c:v>
                </c:pt>
                <c:pt idx="342">
                  <c:v>All Others</c:v>
                </c:pt>
                <c:pt idx="343">
                  <c:v>All Others</c:v>
                </c:pt>
                <c:pt idx="344">
                  <c:v>All Others</c:v>
                </c:pt>
                <c:pt idx="345">
                  <c:v>All Others</c:v>
                </c:pt>
                <c:pt idx="346">
                  <c:v>All Others</c:v>
                </c:pt>
                <c:pt idx="347">
                  <c:v>Etoile Du Q</c:v>
                </c:pt>
                <c:pt idx="348">
                  <c:v>Lactalis: A</c:v>
                </c:pt>
                <c:pt idx="349">
                  <c:v>All Others</c:v>
                </c:pt>
                <c:pt idx="350">
                  <c:v>All Others</c:v>
                </c:pt>
                <c:pt idx="351">
                  <c:v>All Others</c:v>
                </c:pt>
                <c:pt idx="352">
                  <c:v>All Others</c:v>
                </c:pt>
                <c:pt idx="353">
                  <c:v>Lactalis: A</c:v>
                </c:pt>
                <c:pt idx="354">
                  <c:v>All Others</c:v>
                </c:pt>
                <c:pt idx="355">
                  <c:v>All Others</c:v>
                </c:pt>
                <c:pt idx="356">
                  <c:v>Apericube</c:v>
                </c:pt>
                <c:pt idx="357">
                  <c:v>All Others</c:v>
                </c:pt>
                <c:pt idx="358">
                  <c:v>All Others</c:v>
                </c:pt>
                <c:pt idx="359">
                  <c:v>Savencia: A</c:v>
                </c:pt>
                <c:pt idx="360">
                  <c:v>All Others</c:v>
                </c:pt>
                <c:pt idx="361">
                  <c:v>Coeur De Li</c:v>
                </c:pt>
                <c:pt idx="362">
                  <c:v>All Others</c:v>
                </c:pt>
                <c:pt idx="363">
                  <c:v>All Others</c:v>
                </c:pt>
                <c:pt idx="364">
                  <c:v>Boursin</c:v>
                </c:pt>
                <c:pt idx="365">
                  <c:v>All Others</c:v>
                </c:pt>
                <c:pt idx="366">
                  <c:v>Nurishh</c:v>
                </c:pt>
                <c:pt idx="367">
                  <c:v>Aperivrais</c:v>
                </c:pt>
                <c:pt idx="368">
                  <c:v>O'Tapas Ape</c:v>
                </c:pt>
                <c:pt idx="369">
                  <c:v>All Others</c:v>
                </c:pt>
                <c:pt idx="370">
                  <c:v>Entremont</c:v>
                </c:pt>
                <c:pt idx="371">
                  <c:v>Lactalis: A</c:v>
                </c:pt>
                <c:pt idx="372">
                  <c:v>Paysan Bret</c:v>
                </c:pt>
                <c:pt idx="373">
                  <c:v>All Others</c:v>
                </c:pt>
                <c:pt idx="374">
                  <c:v>Violife</c:v>
                </c:pt>
                <c:pt idx="375">
                  <c:v>All Others</c:v>
                </c:pt>
                <c:pt idx="376">
                  <c:v>O'Tapas Ape</c:v>
                </c:pt>
                <c:pt idx="377">
                  <c:v>All Others</c:v>
                </c:pt>
                <c:pt idx="378">
                  <c:v>All Others</c:v>
                </c:pt>
                <c:pt idx="379">
                  <c:v>All Others</c:v>
                </c:pt>
                <c:pt idx="380">
                  <c:v>St Moret</c:v>
                </c:pt>
                <c:pt idx="381">
                  <c:v>All Others</c:v>
                </c:pt>
                <c:pt idx="382">
                  <c:v>All Others</c:v>
                </c:pt>
                <c:pt idx="383">
                  <c:v>All Others</c:v>
                </c:pt>
                <c:pt idx="384">
                  <c:v>Etoile Du Q</c:v>
                </c:pt>
                <c:pt idx="385">
                  <c:v>Richesmonts</c:v>
                </c:pt>
                <c:pt idx="386">
                  <c:v>Nurishh</c:v>
                </c:pt>
                <c:pt idx="387">
                  <c:v>President</c:v>
                </c:pt>
                <c:pt idx="388">
                  <c:v>All Others</c:v>
                </c:pt>
                <c:pt idx="389">
                  <c:v>All Others</c:v>
                </c:pt>
                <c:pt idx="390">
                  <c:v>All Others</c:v>
                </c:pt>
                <c:pt idx="391">
                  <c:v>Istara</c:v>
                </c:pt>
                <c:pt idx="392">
                  <c:v>All Others</c:v>
                </c:pt>
                <c:pt idx="393">
                  <c:v>Boursin</c:v>
                </c:pt>
                <c:pt idx="394">
                  <c:v>All Others</c:v>
                </c:pt>
                <c:pt idx="395">
                  <c:v>All Others</c:v>
                </c:pt>
                <c:pt idx="396">
                  <c:v>All Others</c:v>
                </c:pt>
                <c:pt idx="397">
                  <c:v>All Others</c:v>
                </c:pt>
                <c:pt idx="398">
                  <c:v>All Others</c:v>
                </c:pt>
                <c:pt idx="399">
                  <c:v>Casa Azzurr</c:v>
                </c:pt>
                <c:pt idx="400">
                  <c:v>All Others</c:v>
                </c:pt>
                <c:pt idx="401">
                  <c:v>All Others</c:v>
                </c:pt>
                <c:pt idx="402">
                  <c:v>All Others</c:v>
                </c:pt>
                <c:pt idx="403">
                  <c:v>Violife</c:v>
                </c:pt>
                <c:pt idx="404">
                  <c:v>All Others</c:v>
                </c:pt>
                <c:pt idx="405">
                  <c:v>All Others</c:v>
                </c:pt>
                <c:pt idx="406">
                  <c:v>All Others</c:v>
                </c:pt>
                <c:pt idx="407">
                  <c:v>All Others</c:v>
                </c:pt>
                <c:pt idx="408">
                  <c:v>Philadelphi</c:v>
                </c:pt>
                <c:pt idx="409">
                  <c:v>All Others</c:v>
                </c:pt>
                <c:pt idx="410">
                  <c:v>Salakis</c:v>
                </c:pt>
                <c:pt idx="411">
                  <c:v>Triballat R</c:v>
                </c:pt>
                <c:pt idx="412">
                  <c:v>Paysan Bret</c:v>
                </c:pt>
                <c:pt idx="413">
                  <c:v>Nurishh</c:v>
                </c:pt>
                <c:pt idx="414">
                  <c:v>All Others</c:v>
                </c:pt>
                <c:pt idx="415">
                  <c:v>All Others</c:v>
                </c:pt>
                <c:pt idx="416">
                  <c:v>All Others</c:v>
                </c:pt>
                <c:pt idx="417">
                  <c:v>All Others</c:v>
                </c:pt>
                <c:pt idx="418">
                  <c:v>All Others</c:v>
                </c:pt>
                <c:pt idx="419">
                  <c:v>All Others</c:v>
                </c:pt>
                <c:pt idx="420">
                  <c:v>All Others</c:v>
                </c:pt>
                <c:pt idx="421">
                  <c:v>Boursin</c:v>
                </c:pt>
                <c:pt idx="422">
                  <c:v>All Others</c:v>
                </c:pt>
                <c:pt idx="423">
                  <c:v>Nurishh</c:v>
                </c:pt>
                <c:pt idx="424">
                  <c:v>Apericube</c:v>
                </c:pt>
                <c:pt idx="425">
                  <c:v>All Others</c:v>
                </c:pt>
                <c:pt idx="426">
                  <c:v>Lactalis: A</c:v>
                </c:pt>
                <c:pt idx="427">
                  <c:v>Savencia: A</c:v>
                </c:pt>
                <c:pt idx="428">
                  <c:v>All Others</c:v>
                </c:pt>
                <c:pt idx="429">
                  <c:v>All Others</c:v>
                </c:pt>
                <c:pt idx="430">
                  <c:v>All Others</c:v>
                </c:pt>
                <c:pt idx="431">
                  <c:v>Boursin</c:v>
                </c:pt>
                <c:pt idx="432">
                  <c:v>All Others</c:v>
                </c:pt>
                <c:pt idx="433">
                  <c:v>All Others</c:v>
                </c:pt>
                <c:pt idx="434">
                  <c:v>Triballat R</c:v>
                </c:pt>
                <c:pt idx="435">
                  <c:v>All Others</c:v>
                </c:pt>
                <c:pt idx="436">
                  <c:v>St Moret</c:v>
                </c:pt>
                <c:pt idx="437">
                  <c:v>All Others</c:v>
                </c:pt>
                <c:pt idx="438">
                  <c:v>Triballat R</c:v>
                </c:pt>
                <c:pt idx="439">
                  <c:v>All Others</c:v>
                </c:pt>
                <c:pt idx="440">
                  <c:v>Entremont</c:v>
                </c:pt>
                <c:pt idx="441">
                  <c:v>All Others</c:v>
                </c:pt>
                <c:pt idx="442">
                  <c:v>Lactalis: A</c:v>
                </c:pt>
                <c:pt idx="443">
                  <c:v>All Others</c:v>
                </c:pt>
                <c:pt idx="444">
                  <c:v>All Others</c:v>
                </c:pt>
                <c:pt idx="445">
                  <c:v>All Others</c:v>
                </c:pt>
                <c:pt idx="446">
                  <c:v>All Others</c:v>
                </c:pt>
                <c:pt idx="447">
                  <c:v>Mini Babybe</c:v>
                </c:pt>
                <c:pt idx="448">
                  <c:v>All Others</c:v>
                </c:pt>
                <c:pt idx="449">
                  <c:v>Tartare</c:v>
                </c:pt>
                <c:pt idx="450">
                  <c:v>All Others</c:v>
                </c:pt>
                <c:pt idx="451">
                  <c:v>All Others</c:v>
                </c:pt>
                <c:pt idx="452">
                  <c:v>All Others</c:v>
                </c:pt>
                <c:pt idx="453">
                  <c:v>All Others</c:v>
                </c:pt>
                <c:pt idx="454">
                  <c:v>Milleret: A</c:v>
                </c:pt>
                <c:pt idx="455">
                  <c:v>Apericube</c:v>
                </c:pt>
                <c:pt idx="456">
                  <c:v>O'Tapas Ape</c:v>
                </c:pt>
                <c:pt idx="457">
                  <c:v>All Others</c:v>
                </c:pt>
                <c:pt idx="458">
                  <c:v>Eurial Autr</c:v>
                </c:pt>
                <c:pt idx="459">
                  <c:v>All Others</c:v>
                </c:pt>
                <c:pt idx="460">
                  <c:v>All Others</c:v>
                </c:pt>
                <c:pt idx="461">
                  <c:v>Tartare</c:v>
                </c:pt>
                <c:pt idx="462">
                  <c:v>Saint Agur</c:v>
                </c:pt>
                <c:pt idx="463">
                  <c:v>All Others</c:v>
                </c:pt>
                <c:pt idx="464">
                  <c:v>All Others</c:v>
                </c:pt>
                <c:pt idx="465">
                  <c:v>Violife</c:v>
                </c:pt>
                <c:pt idx="466">
                  <c:v>All Others</c:v>
                </c:pt>
                <c:pt idx="467">
                  <c:v>All Others</c:v>
                </c:pt>
                <c:pt idx="468">
                  <c:v>All Others</c:v>
                </c:pt>
                <c:pt idx="469">
                  <c:v>Triballat N</c:v>
                </c:pt>
                <c:pt idx="470">
                  <c:v>All Others</c:v>
                </c:pt>
                <c:pt idx="471">
                  <c:v>All Others</c:v>
                </c:pt>
                <c:pt idx="472">
                  <c:v>Etoile Du V</c:v>
                </c:pt>
                <c:pt idx="473">
                  <c:v>Apericube</c:v>
                </c:pt>
                <c:pt idx="474">
                  <c:v>All Others</c:v>
                </c:pt>
                <c:pt idx="475">
                  <c:v>All Others</c:v>
                </c:pt>
                <c:pt idx="476">
                  <c:v>All Others</c:v>
                </c:pt>
                <c:pt idx="477">
                  <c:v>All Others</c:v>
                </c:pt>
                <c:pt idx="478">
                  <c:v>Savencia: A</c:v>
                </c:pt>
                <c:pt idx="479">
                  <c:v>All Others</c:v>
                </c:pt>
                <c:pt idx="480">
                  <c:v>Tartare</c:v>
                </c:pt>
                <c:pt idx="481">
                  <c:v>All Others</c:v>
                </c:pt>
                <c:pt idx="482">
                  <c:v>All Others</c:v>
                </c:pt>
                <c:pt idx="483">
                  <c:v>All Others</c:v>
                </c:pt>
                <c:pt idx="484">
                  <c:v>All Others</c:v>
                </c:pt>
                <c:pt idx="485">
                  <c:v>Violife</c:v>
                </c:pt>
                <c:pt idx="486">
                  <c:v>Etoile Du V</c:v>
                </c:pt>
                <c:pt idx="487">
                  <c:v>Aperivrais</c:v>
                </c:pt>
                <c:pt idx="488">
                  <c:v>All Others</c:v>
                </c:pt>
                <c:pt idx="489">
                  <c:v>All Others</c:v>
                </c:pt>
                <c:pt idx="490">
                  <c:v>All Others</c:v>
                </c:pt>
                <c:pt idx="491">
                  <c:v>All Others</c:v>
                </c:pt>
                <c:pt idx="492">
                  <c:v>All Others</c:v>
                </c:pt>
                <c:pt idx="493">
                  <c:v>All Others</c:v>
                </c:pt>
                <c:pt idx="494">
                  <c:v>Lactalis: A</c:v>
                </c:pt>
                <c:pt idx="495">
                  <c:v>Soignon</c:v>
                </c:pt>
                <c:pt idx="496">
                  <c:v>All Others</c:v>
                </c:pt>
                <c:pt idx="497">
                  <c:v>All Others</c:v>
                </c:pt>
                <c:pt idx="498">
                  <c:v>All Others</c:v>
                </c:pt>
                <c:pt idx="499">
                  <c:v>Nurishh</c:v>
                </c:pt>
                <c:pt idx="500">
                  <c:v>All Others</c:v>
                </c:pt>
                <c:pt idx="501">
                  <c:v>Violife</c:v>
                </c:pt>
                <c:pt idx="502">
                  <c:v>All Others</c:v>
                </c:pt>
                <c:pt idx="503">
                  <c:v>Nurishh</c:v>
                </c:pt>
                <c:pt idx="504">
                  <c:v>All Others</c:v>
                </c:pt>
                <c:pt idx="505">
                  <c:v>All Others</c:v>
                </c:pt>
                <c:pt idx="506">
                  <c:v>All Others</c:v>
                </c:pt>
                <c:pt idx="507">
                  <c:v>All Others</c:v>
                </c:pt>
                <c:pt idx="508">
                  <c:v>Violife</c:v>
                </c:pt>
                <c:pt idx="509">
                  <c:v>All Others</c:v>
                </c:pt>
                <c:pt idx="510">
                  <c:v>All Others</c:v>
                </c:pt>
                <c:pt idx="511">
                  <c:v>All Others</c:v>
                </c:pt>
                <c:pt idx="512">
                  <c:v>All Others</c:v>
                </c:pt>
                <c:pt idx="513">
                  <c:v>All Others</c:v>
                </c:pt>
                <c:pt idx="514">
                  <c:v>O'Tapas Ape</c:v>
                </c:pt>
                <c:pt idx="515">
                  <c:v>All Others</c:v>
                </c:pt>
                <c:pt idx="516">
                  <c:v>All Others</c:v>
                </c:pt>
                <c:pt idx="517">
                  <c:v>Boursin</c:v>
                </c:pt>
                <c:pt idx="518">
                  <c:v>All Others</c:v>
                </c:pt>
                <c:pt idx="519">
                  <c:v>All Others</c:v>
                </c:pt>
                <c:pt idx="520">
                  <c:v>All Others</c:v>
                </c:pt>
                <c:pt idx="521">
                  <c:v>Casa Azzurr</c:v>
                </c:pt>
                <c:pt idx="522">
                  <c:v>All Others</c:v>
                </c:pt>
                <c:pt idx="523">
                  <c:v>All Others</c:v>
                </c:pt>
                <c:pt idx="524">
                  <c:v>All Others</c:v>
                </c:pt>
                <c:pt idx="525">
                  <c:v>All Others</c:v>
                </c:pt>
                <c:pt idx="526">
                  <c:v>All Others</c:v>
                </c:pt>
                <c:pt idx="527">
                  <c:v>Istara</c:v>
                </c:pt>
                <c:pt idx="528">
                  <c:v>All Others</c:v>
                </c:pt>
                <c:pt idx="529">
                  <c:v>Eurial Autr</c:v>
                </c:pt>
                <c:pt idx="530">
                  <c:v>All Others</c:v>
                </c:pt>
                <c:pt idx="531">
                  <c:v>All Others</c:v>
                </c:pt>
                <c:pt idx="532">
                  <c:v>All Others</c:v>
                </c:pt>
                <c:pt idx="533">
                  <c:v>All Others</c:v>
                </c:pt>
                <c:pt idx="534">
                  <c:v>Nurishh</c:v>
                </c:pt>
                <c:pt idx="535">
                  <c:v>All Others</c:v>
                </c:pt>
                <c:pt idx="536">
                  <c:v>All Others</c:v>
                </c:pt>
                <c:pt idx="537">
                  <c:v>All Others</c:v>
                </c:pt>
                <c:pt idx="538">
                  <c:v>All Others</c:v>
                </c:pt>
                <c:pt idx="539">
                  <c:v>All Others</c:v>
                </c:pt>
                <c:pt idx="540">
                  <c:v>All Others</c:v>
                </c:pt>
                <c:pt idx="541">
                  <c:v>All Others</c:v>
                </c:pt>
                <c:pt idx="542">
                  <c:v>All Others</c:v>
                </c:pt>
                <c:pt idx="543">
                  <c:v>All Others</c:v>
                </c:pt>
                <c:pt idx="544">
                  <c:v>Boursin</c:v>
                </c:pt>
                <c:pt idx="545">
                  <c:v>Private Lab</c:v>
                </c:pt>
                <c:pt idx="546">
                  <c:v>All Others</c:v>
                </c:pt>
                <c:pt idx="547">
                  <c:v>All Others</c:v>
                </c:pt>
                <c:pt idx="548">
                  <c:v>Mini Babybe</c:v>
                </c:pt>
                <c:pt idx="549">
                  <c:v>All Others</c:v>
                </c:pt>
                <c:pt idx="550">
                  <c:v>All Others</c:v>
                </c:pt>
                <c:pt idx="551">
                  <c:v>All Others</c:v>
                </c:pt>
                <c:pt idx="552">
                  <c:v>Soignon</c:v>
                </c:pt>
                <c:pt idx="553">
                  <c:v>All Others</c:v>
                </c:pt>
                <c:pt idx="554">
                  <c:v>All Others</c:v>
                </c:pt>
                <c:pt idx="555">
                  <c:v>All Others</c:v>
                </c:pt>
                <c:pt idx="556">
                  <c:v>All Others</c:v>
                </c:pt>
                <c:pt idx="557">
                  <c:v>All Others</c:v>
                </c:pt>
                <c:pt idx="558">
                  <c:v>All Others</c:v>
                </c:pt>
                <c:pt idx="559">
                  <c:v>All Others</c:v>
                </c:pt>
                <c:pt idx="560">
                  <c:v>All Others</c:v>
                </c:pt>
                <c:pt idx="561">
                  <c:v>All Others</c:v>
                </c:pt>
                <c:pt idx="562">
                  <c:v>All Others</c:v>
                </c:pt>
                <c:pt idx="563">
                  <c:v>All Others</c:v>
                </c:pt>
                <c:pt idx="564">
                  <c:v>All Others</c:v>
                </c:pt>
                <c:pt idx="565">
                  <c:v>All Others</c:v>
                </c:pt>
                <c:pt idx="566">
                  <c:v>All Others</c:v>
                </c:pt>
                <c:pt idx="567">
                  <c:v>Tartare</c:v>
                </c:pt>
                <c:pt idx="568">
                  <c:v>All Others</c:v>
                </c:pt>
                <c:pt idx="569">
                  <c:v>Etoile Du V</c:v>
                </c:pt>
                <c:pt idx="570">
                  <c:v>All Others</c:v>
                </c:pt>
                <c:pt idx="571">
                  <c:v>Lactalis: A</c:v>
                </c:pt>
                <c:pt idx="572">
                  <c:v>All Others</c:v>
                </c:pt>
                <c:pt idx="573">
                  <c:v>All Others</c:v>
                </c:pt>
                <c:pt idx="574">
                  <c:v>All Others</c:v>
                </c:pt>
                <c:pt idx="575">
                  <c:v>All Others</c:v>
                </c:pt>
                <c:pt idx="576">
                  <c:v>All Others</c:v>
                </c:pt>
                <c:pt idx="577">
                  <c:v>Nurishh</c:v>
                </c:pt>
                <c:pt idx="578">
                  <c:v>All Others</c:v>
                </c:pt>
                <c:pt idx="579">
                  <c:v>St Moret</c:v>
                </c:pt>
                <c:pt idx="580">
                  <c:v>Etoile Du V</c:v>
                </c:pt>
                <c:pt idx="581">
                  <c:v>All Others</c:v>
                </c:pt>
                <c:pt idx="582">
                  <c:v>All Others</c:v>
                </c:pt>
                <c:pt idx="583">
                  <c:v>All Others</c:v>
                </c:pt>
                <c:pt idx="584">
                  <c:v>All Others</c:v>
                </c:pt>
                <c:pt idx="585">
                  <c:v>All Others</c:v>
                </c:pt>
                <c:pt idx="586">
                  <c:v>Boursin</c:v>
                </c:pt>
                <c:pt idx="587">
                  <c:v>Salakis</c:v>
                </c:pt>
                <c:pt idx="588">
                  <c:v>All Others</c:v>
                </c:pt>
                <c:pt idx="589">
                  <c:v>All Others</c:v>
                </c:pt>
                <c:pt idx="590">
                  <c:v>Eurial Autr</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Lactalis: A</c:v>
                </c:pt>
                <c:pt idx="601">
                  <c:v>Etoile Du V</c:v>
                </c:pt>
                <c:pt idx="602">
                  <c:v>All Others</c:v>
                </c:pt>
                <c:pt idx="603">
                  <c:v>All Others</c:v>
                </c:pt>
                <c:pt idx="604">
                  <c:v>Nurishh</c:v>
                </c:pt>
                <c:pt idx="605">
                  <c:v>All Others</c:v>
                </c:pt>
                <c:pt idx="606">
                  <c:v>Etoile Du Q</c:v>
                </c:pt>
                <c:pt idx="607">
                  <c:v>All Others</c:v>
                </c:pt>
                <c:pt idx="608">
                  <c:v>All Others</c:v>
                </c:pt>
                <c:pt idx="609">
                  <c:v>All Others</c:v>
                </c:pt>
                <c:pt idx="610">
                  <c:v>All Others</c:v>
                </c:pt>
                <c:pt idx="611">
                  <c:v>All Others</c:v>
                </c:pt>
                <c:pt idx="612">
                  <c:v>All Others</c:v>
                </c:pt>
                <c:pt idx="613">
                  <c:v>All Others</c:v>
                </c:pt>
                <c:pt idx="614">
                  <c:v>All Others</c:v>
                </c:pt>
                <c:pt idx="615">
                  <c:v>All Others</c:v>
                </c:pt>
                <c:pt idx="616">
                  <c:v>All Others</c:v>
                </c:pt>
                <c:pt idx="617">
                  <c:v>All Others</c:v>
                </c:pt>
                <c:pt idx="618">
                  <c:v>All Others</c:v>
                </c:pt>
                <c:pt idx="619">
                  <c:v>Kiri</c:v>
                </c:pt>
                <c:pt idx="620">
                  <c:v>All Others</c:v>
                </c:pt>
                <c:pt idx="621">
                  <c:v>All Others</c:v>
                </c:pt>
                <c:pt idx="622">
                  <c:v>All Others</c:v>
                </c:pt>
                <c:pt idx="623">
                  <c:v>Salakis</c:v>
                </c:pt>
                <c:pt idx="624">
                  <c:v>All Others</c:v>
                </c:pt>
                <c:pt idx="625">
                  <c:v>All Others</c:v>
                </c:pt>
                <c:pt idx="626">
                  <c:v>All Others</c:v>
                </c:pt>
                <c:pt idx="627">
                  <c:v>All Others</c:v>
                </c:pt>
                <c:pt idx="628">
                  <c:v>All Others</c:v>
                </c:pt>
                <c:pt idx="629">
                  <c:v>Triballat N</c:v>
                </c:pt>
                <c:pt idx="630">
                  <c:v>All Others</c:v>
                </c:pt>
                <c:pt idx="631">
                  <c:v>All Others</c:v>
                </c:pt>
                <c:pt idx="632">
                  <c:v>Apericube</c:v>
                </c:pt>
                <c:pt idx="633">
                  <c:v>All Others</c:v>
                </c:pt>
                <c:pt idx="634">
                  <c:v>Richesmonts</c:v>
                </c:pt>
                <c:pt idx="635">
                  <c:v>All Others</c:v>
                </c:pt>
                <c:pt idx="636">
                  <c:v>All Others</c:v>
                </c:pt>
                <c:pt idx="637">
                  <c:v>All Others</c:v>
                </c:pt>
                <c:pt idx="638">
                  <c:v>All Others</c:v>
                </c:pt>
                <c:pt idx="639">
                  <c:v>All Others</c:v>
                </c:pt>
                <c:pt idx="640">
                  <c:v>Apericube</c:v>
                </c:pt>
                <c:pt idx="641">
                  <c:v>All Others</c:v>
                </c:pt>
                <c:pt idx="642">
                  <c:v>La Vache Qu</c:v>
                </c:pt>
                <c:pt idx="643">
                  <c:v>All Others</c:v>
                </c:pt>
                <c:pt idx="644">
                  <c:v>All Others</c:v>
                </c:pt>
                <c:pt idx="645">
                  <c:v>Islos</c:v>
                </c:pt>
                <c:pt idx="646">
                  <c:v>La Vache Qu</c:v>
                </c:pt>
                <c:pt idx="647">
                  <c:v>Apericube</c:v>
                </c:pt>
                <c:pt idx="648">
                  <c:v>All Others</c:v>
                </c:pt>
                <c:pt idx="649">
                  <c:v>All Others</c:v>
                </c:pt>
                <c:pt idx="650">
                  <c:v>All Others</c:v>
                </c:pt>
                <c:pt idx="651">
                  <c:v>All Others</c:v>
                </c:pt>
                <c:pt idx="652">
                  <c:v>All Others</c:v>
                </c:pt>
                <c:pt idx="653">
                  <c:v>All Others</c:v>
                </c:pt>
                <c:pt idx="654">
                  <c:v>Lactalis: A</c:v>
                </c:pt>
                <c:pt idx="655">
                  <c:v>Tartare</c:v>
                </c:pt>
                <c:pt idx="656">
                  <c:v>All Others</c:v>
                </c:pt>
                <c:pt idx="657">
                  <c:v>All Others</c:v>
                </c:pt>
                <c:pt idx="658">
                  <c:v>All Others</c:v>
                </c:pt>
                <c:pt idx="659">
                  <c:v>Triballat R</c:v>
                </c:pt>
                <c:pt idx="660">
                  <c:v>Apericube</c:v>
                </c:pt>
                <c:pt idx="661">
                  <c:v>All Others</c:v>
                </c:pt>
                <c:pt idx="662">
                  <c:v>Triballat N</c:v>
                </c:pt>
                <c:pt idx="663">
                  <c:v>All Others</c:v>
                </c:pt>
                <c:pt idx="664">
                  <c:v>All Others</c:v>
                </c:pt>
                <c:pt idx="665">
                  <c:v>All Others</c:v>
                </c:pt>
                <c:pt idx="666">
                  <c:v>All Others</c:v>
                </c:pt>
                <c:pt idx="667">
                  <c:v>All Others</c:v>
                </c:pt>
                <c:pt idx="668">
                  <c:v>All Others</c:v>
                </c:pt>
                <c:pt idx="669">
                  <c:v>All Others</c:v>
                </c:pt>
                <c:pt idx="670">
                  <c:v>All Others</c:v>
                </c:pt>
                <c:pt idx="671">
                  <c:v>All Others</c:v>
                </c:pt>
                <c:pt idx="672">
                  <c:v>All Others</c:v>
                </c:pt>
                <c:pt idx="673">
                  <c:v>All Others</c:v>
                </c:pt>
                <c:pt idx="674">
                  <c:v>All Others</c:v>
                </c:pt>
                <c:pt idx="675">
                  <c:v>All Others</c:v>
                </c:pt>
                <c:pt idx="676">
                  <c:v>All Others</c:v>
                </c:pt>
                <c:pt idx="677">
                  <c:v>All Others</c:v>
                </c:pt>
                <c:pt idx="678">
                  <c:v>All Others</c:v>
                </c:pt>
                <c:pt idx="679">
                  <c:v>O'Tapas Ape</c:v>
                </c:pt>
                <c:pt idx="680">
                  <c:v>All Others</c:v>
                </c:pt>
                <c:pt idx="681">
                  <c:v>All Others</c:v>
                </c:pt>
                <c:pt idx="682">
                  <c:v>All Others</c:v>
                </c:pt>
                <c:pt idx="683">
                  <c:v>All Others</c:v>
                </c:pt>
                <c:pt idx="684">
                  <c:v>All Others</c:v>
                </c:pt>
                <c:pt idx="685">
                  <c:v>All Others</c:v>
                </c:pt>
                <c:pt idx="686">
                  <c:v>All Others</c:v>
                </c:pt>
                <c:pt idx="687">
                  <c:v>All Others</c:v>
                </c:pt>
                <c:pt idx="688">
                  <c:v>All Others</c:v>
                </c:pt>
                <c:pt idx="689">
                  <c:v>All Others</c:v>
                </c:pt>
                <c:pt idx="690">
                  <c:v>Casa Azzurr</c:v>
                </c:pt>
                <c:pt idx="691">
                  <c:v>All Others</c:v>
                </c:pt>
                <c:pt idx="692">
                  <c:v>All Others</c:v>
                </c:pt>
                <c:pt idx="693">
                  <c:v>All Others</c:v>
                </c:pt>
                <c:pt idx="694">
                  <c:v>All Others</c:v>
                </c:pt>
                <c:pt idx="695">
                  <c:v>All Others</c:v>
                </c:pt>
                <c:pt idx="696">
                  <c:v>All Others</c:v>
                </c:pt>
                <c:pt idx="697">
                  <c:v>All Others</c:v>
                </c:pt>
                <c:pt idx="698">
                  <c:v>All Others</c:v>
                </c:pt>
                <c:pt idx="699">
                  <c:v>All Others</c:v>
                </c:pt>
                <c:pt idx="700">
                  <c:v>All Others</c:v>
                </c:pt>
                <c:pt idx="701">
                  <c:v>All Others</c:v>
                </c:pt>
                <c:pt idx="702">
                  <c:v>All Others</c:v>
                </c:pt>
                <c:pt idx="703">
                  <c:v>All Others</c:v>
                </c:pt>
                <c:pt idx="704">
                  <c:v>All Others</c:v>
                </c:pt>
                <c:pt idx="705">
                  <c:v>All Others</c:v>
                </c:pt>
                <c:pt idx="706">
                  <c:v>All Others</c:v>
                </c:pt>
                <c:pt idx="707">
                  <c:v>O'Tapas Ape</c:v>
                </c:pt>
                <c:pt idx="708">
                  <c:v>All Others</c:v>
                </c:pt>
                <c:pt idx="709">
                  <c:v>All Others</c:v>
                </c:pt>
                <c:pt idx="710">
                  <c:v>All Others</c:v>
                </c:pt>
                <c:pt idx="711">
                  <c:v>Lactalis: A</c:v>
                </c:pt>
                <c:pt idx="712">
                  <c:v>All Others</c:v>
                </c:pt>
                <c:pt idx="713">
                  <c:v>All Others</c:v>
                </c:pt>
                <c:pt idx="714">
                  <c:v>All Others</c:v>
                </c:pt>
                <c:pt idx="715">
                  <c:v>All Others</c:v>
                </c:pt>
                <c:pt idx="716">
                  <c:v>All Others</c:v>
                </c:pt>
                <c:pt idx="717">
                  <c:v>All Others</c:v>
                </c:pt>
                <c:pt idx="718">
                  <c:v>All Others</c:v>
                </c:pt>
                <c:pt idx="719">
                  <c:v>All Others</c:v>
                </c:pt>
                <c:pt idx="720">
                  <c:v>All Others</c:v>
                </c:pt>
                <c:pt idx="721">
                  <c:v>All Others</c:v>
                </c:pt>
                <c:pt idx="722">
                  <c:v>All Others</c:v>
                </c:pt>
                <c:pt idx="723">
                  <c:v>All Others</c:v>
                </c:pt>
                <c:pt idx="724">
                  <c:v>All Others</c:v>
                </c:pt>
                <c:pt idx="725">
                  <c:v>All Others</c:v>
                </c:pt>
                <c:pt idx="726">
                  <c:v>All Others</c:v>
                </c:pt>
                <c:pt idx="727">
                  <c:v>All Others</c:v>
                </c:pt>
                <c:pt idx="728">
                  <c:v>All Others</c:v>
                </c:pt>
                <c:pt idx="729">
                  <c:v>All Others</c:v>
                </c:pt>
                <c:pt idx="730">
                  <c:v>All Others</c:v>
                </c:pt>
                <c:pt idx="731">
                  <c:v>All Others</c:v>
                </c:pt>
                <c:pt idx="732">
                  <c:v>All Others</c:v>
                </c:pt>
                <c:pt idx="733">
                  <c:v>All Others</c:v>
                </c:pt>
                <c:pt idx="734">
                  <c:v>All Others</c:v>
                </c:pt>
                <c:pt idx="735">
                  <c:v>All Others</c:v>
                </c:pt>
                <c:pt idx="736">
                  <c:v>All Others</c:v>
                </c:pt>
                <c:pt idx="737">
                  <c:v>All Others</c:v>
                </c:pt>
                <c:pt idx="738">
                  <c:v>All Others</c:v>
                </c:pt>
                <c:pt idx="739">
                  <c:v>La Vache Qu</c:v>
                </c:pt>
                <c:pt idx="740">
                  <c:v>All Others</c:v>
                </c:pt>
                <c:pt idx="741">
                  <c:v>All Others</c:v>
                </c:pt>
                <c:pt idx="742">
                  <c:v>All Others</c:v>
                </c:pt>
                <c:pt idx="743">
                  <c:v>All Others</c:v>
                </c:pt>
                <c:pt idx="744">
                  <c:v>All Others</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All Others</c:v>
                </c:pt>
                <c:pt idx="756">
                  <c:v>Soignon</c:v>
                </c:pt>
                <c:pt idx="757">
                  <c:v>All Others</c:v>
                </c:pt>
                <c:pt idx="758">
                  <c:v>All Others</c:v>
                </c:pt>
                <c:pt idx="759">
                  <c:v>All Others</c:v>
                </c:pt>
                <c:pt idx="760">
                  <c:v>All Others</c:v>
                </c:pt>
                <c:pt idx="761">
                  <c:v>All Others</c:v>
                </c:pt>
                <c:pt idx="762">
                  <c:v>All Others</c:v>
                </c:pt>
                <c:pt idx="763">
                  <c:v>All Others</c:v>
                </c:pt>
                <c:pt idx="764">
                  <c:v>All Others</c:v>
                </c:pt>
                <c:pt idx="765">
                  <c:v>All Others</c:v>
                </c:pt>
                <c:pt idx="766">
                  <c:v>All Other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All Others</c:v>
                </c:pt>
                <c:pt idx="777">
                  <c:v>All Others</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Triballat N</c:v>
                </c:pt>
                <c:pt idx="788">
                  <c:v>All Others</c:v>
                </c:pt>
                <c:pt idx="789">
                  <c:v>All Others</c:v>
                </c:pt>
                <c:pt idx="790">
                  <c:v>All Others</c:v>
                </c:pt>
                <c:pt idx="791">
                  <c:v>All Others</c:v>
                </c:pt>
                <c:pt idx="792">
                  <c:v>All Others</c:v>
                </c:pt>
                <c:pt idx="793">
                  <c:v>All Others</c:v>
                </c:pt>
                <c:pt idx="794">
                  <c:v>All Others</c:v>
                </c:pt>
                <c:pt idx="795">
                  <c:v>All Others</c:v>
                </c:pt>
                <c:pt idx="796">
                  <c:v>All Others</c:v>
                </c:pt>
                <c:pt idx="797">
                  <c:v>Triballat R</c:v>
                </c:pt>
                <c:pt idx="798">
                  <c:v>Lactalis: A</c:v>
                </c:pt>
                <c:pt idx="799">
                  <c:v>Tartare</c:v>
                </c:pt>
                <c:pt idx="800">
                  <c:v>All Others</c:v>
                </c:pt>
                <c:pt idx="801">
                  <c:v>All Others</c:v>
                </c:pt>
                <c:pt idx="802">
                  <c:v>All Others</c:v>
                </c:pt>
                <c:pt idx="803">
                  <c:v>All Others</c:v>
                </c:pt>
                <c:pt idx="804">
                  <c:v>Lactalis: A</c:v>
                </c:pt>
                <c:pt idx="805">
                  <c:v>All Others</c:v>
                </c:pt>
                <c:pt idx="806">
                  <c:v>All Others</c:v>
                </c:pt>
                <c:pt idx="807">
                  <c:v>Eurial Autr</c:v>
                </c:pt>
                <c:pt idx="808">
                  <c:v>All Others</c:v>
                </c:pt>
                <c:pt idx="809">
                  <c:v>All Others</c:v>
                </c:pt>
                <c:pt idx="810">
                  <c:v>All Others</c:v>
                </c:pt>
                <c:pt idx="811">
                  <c:v>All Others</c:v>
                </c:pt>
                <c:pt idx="812">
                  <c:v>All Others</c:v>
                </c:pt>
                <c:pt idx="813">
                  <c:v>All Others</c:v>
                </c:pt>
                <c:pt idx="814">
                  <c:v>All Others</c:v>
                </c:pt>
                <c:pt idx="815">
                  <c:v>All Others</c:v>
                </c:pt>
                <c:pt idx="816">
                  <c:v>All Others</c:v>
                </c:pt>
                <c:pt idx="817">
                  <c:v>All Others</c:v>
                </c:pt>
                <c:pt idx="818">
                  <c:v>All Others</c:v>
                </c:pt>
                <c:pt idx="819">
                  <c:v>Eurial Autr</c:v>
                </c:pt>
                <c:pt idx="820">
                  <c:v>Eurial Autr</c:v>
                </c:pt>
                <c:pt idx="821">
                  <c:v>All Others</c:v>
                </c:pt>
                <c:pt idx="822">
                  <c:v>All Others</c:v>
                </c:pt>
                <c:pt idx="823">
                  <c:v>All Others</c:v>
                </c:pt>
                <c:pt idx="824">
                  <c:v>All Others</c:v>
                </c:pt>
                <c:pt idx="825">
                  <c:v>All Others</c:v>
                </c:pt>
                <c:pt idx="826">
                  <c:v>All Others</c:v>
                </c:pt>
                <c:pt idx="827">
                  <c:v>All Others</c:v>
                </c:pt>
                <c:pt idx="828">
                  <c:v>All Others</c:v>
                </c:pt>
                <c:pt idx="829">
                  <c:v>All Others</c:v>
                </c:pt>
                <c:pt idx="830">
                  <c:v>All Others</c:v>
                </c:pt>
                <c:pt idx="831">
                  <c:v>Kiri</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All Others</c:v>
                </c:pt>
                <c:pt idx="842">
                  <c:v>All Others</c:v>
                </c:pt>
                <c:pt idx="843">
                  <c:v>All Others</c:v>
                </c:pt>
                <c:pt idx="844">
                  <c:v>All Others</c:v>
                </c:pt>
                <c:pt idx="845">
                  <c:v>Savencia: A</c:v>
                </c:pt>
                <c:pt idx="846">
                  <c:v>All Others</c:v>
                </c:pt>
                <c:pt idx="847">
                  <c:v>President</c:v>
                </c:pt>
                <c:pt idx="848">
                  <c:v>All Others</c:v>
                </c:pt>
                <c:pt idx="849">
                  <c:v>All Others</c:v>
                </c:pt>
                <c:pt idx="850">
                  <c:v>All Others</c:v>
                </c:pt>
                <c:pt idx="851">
                  <c:v>All Others</c:v>
                </c:pt>
                <c:pt idx="852">
                  <c:v>Lou Perac</c:v>
                </c:pt>
                <c:pt idx="853">
                  <c:v>All Others</c:v>
                </c:pt>
                <c:pt idx="854">
                  <c:v>All Others</c:v>
                </c:pt>
                <c:pt idx="855">
                  <c:v>All Others</c:v>
                </c:pt>
                <c:pt idx="856">
                  <c:v>Violife</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All Others</c:v>
                </c:pt>
                <c:pt idx="868">
                  <c:v>All Others</c:v>
                </c:pt>
                <c:pt idx="869">
                  <c:v>Eurial Autr</c:v>
                </c:pt>
                <c:pt idx="870">
                  <c:v>All Others</c:v>
                </c:pt>
                <c:pt idx="871">
                  <c:v>All Others</c:v>
                </c:pt>
                <c:pt idx="872">
                  <c:v>Eurial Autr</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Petit Billy</c:v>
                </c:pt>
                <c:pt idx="887">
                  <c:v>All Others</c:v>
                </c:pt>
                <c:pt idx="888">
                  <c:v>Milleret: A</c:v>
                </c:pt>
                <c:pt idx="889">
                  <c:v>All Others</c:v>
                </c:pt>
                <c:pt idx="890">
                  <c:v>All Others</c:v>
                </c:pt>
                <c:pt idx="891">
                  <c:v>All Others</c:v>
                </c:pt>
                <c:pt idx="892">
                  <c:v>All Others</c:v>
                </c:pt>
                <c:pt idx="893">
                  <c:v>All Others</c:v>
                </c:pt>
                <c:pt idx="894">
                  <c:v>All Others</c:v>
                </c:pt>
                <c:pt idx="895">
                  <c:v>All Others</c:v>
                </c:pt>
                <c:pt idx="896">
                  <c:v>All Others</c:v>
                </c:pt>
                <c:pt idx="897">
                  <c:v>All Others</c:v>
                </c:pt>
                <c:pt idx="898">
                  <c:v>All Others</c:v>
                </c:pt>
                <c:pt idx="899">
                  <c:v>All Others</c:v>
                </c:pt>
                <c:pt idx="900">
                  <c:v>Triballat R</c:v>
                </c:pt>
                <c:pt idx="901">
                  <c:v>All Others</c:v>
                </c:pt>
                <c:pt idx="902">
                  <c:v>Eurial Autr</c:v>
                </c:pt>
                <c:pt idx="903">
                  <c:v>All Others</c:v>
                </c:pt>
                <c:pt idx="904">
                  <c:v>All Others</c:v>
                </c:pt>
                <c:pt idx="905">
                  <c:v>All Others</c:v>
                </c:pt>
                <c:pt idx="906">
                  <c:v>All Others</c:v>
                </c:pt>
                <c:pt idx="907">
                  <c:v>All Others</c:v>
                </c:pt>
                <c:pt idx="908">
                  <c:v>All Others</c:v>
                </c:pt>
                <c:pt idx="909">
                  <c:v>All Others</c:v>
                </c:pt>
                <c:pt idx="910">
                  <c:v>All Others</c:v>
                </c:pt>
                <c:pt idx="911">
                  <c:v>All Others</c:v>
                </c:pt>
                <c:pt idx="912">
                  <c:v>All Others</c:v>
                </c:pt>
                <c:pt idx="913">
                  <c:v>Etorki</c:v>
                </c:pt>
                <c:pt idx="914">
                  <c:v>All Others</c:v>
                </c:pt>
                <c:pt idx="915">
                  <c:v>Lactalis: A</c:v>
                </c:pt>
                <c:pt idx="916">
                  <c:v>Caprice Des</c:v>
                </c:pt>
                <c:pt idx="917">
                  <c:v>All Others</c:v>
                </c:pt>
                <c:pt idx="918">
                  <c:v>All Others</c:v>
                </c:pt>
                <c:pt idx="919">
                  <c:v>All Others</c:v>
                </c:pt>
                <c:pt idx="920">
                  <c:v>All Others</c:v>
                </c:pt>
                <c:pt idx="921">
                  <c:v>All Others</c:v>
                </c:pt>
                <c:pt idx="922">
                  <c:v>Corsica</c:v>
                </c:pt>
                <c:pt idx="923">
                  <c:v>All Others</c:v>
                </c:pt>
                <c:pt idx="924">
                  <c:v>All Others</c:v>
                </c:pt>
                <c:pt idx="925">
                  <c:v>All Others</c:v>
                </c:pt>
                <c:pt idx="926">
                  <c:v>All Others</c:v>
                </c:pt>
                <c:pt idx="927">
                  <c:v>Mini Babybe</c:v>
                </c:pt>
                <c:pt idx="928">
                  <c:v>All Others</c:v>
                </c:pt>
                <c:pt idx="929">
                  <c:v>All Others</c:v>
                </c:pt>
                <c:pt idx="930">
                  <c:v>All Others</c:v>
                </c:pt>
                <c:pt idx="931">
                  <c:v>All Others</c:v>
                </c:pt>
                <c:pt idx="932">
                  <c:v>Savencia: A</c:v>
                </c:pt>
                <c:pt idx="933">
                  <c:v>All Others</c:v>
                </c:pt>
                <c:pt idx="934">
                  <c:v>All Others</c:v>
                </c:pt>
                <c:pt idx="935">
                  <c:v>All Others</c:v>
                </c:pt>
                <c:pt idx="936">
                  <c:v>All Others</c:v>
                </c:pt>
                <c:pt idx="937">
                  <c:v>All Others</c:v>
                </c:pt>
                <c:pt idx="938">
                  <c:v>All Others</c:v>
                </c:pt>
                <c:pt idx="939">
                  <c:v>All Others</c:v>
                </c:pt>
                <c:pt idx="940">
                  <c:v>All Others</c:v>
                </c:pt>
                <c:pt idx="941">
                  <c:v>All Others</c:v>
                </c:pt>
                <c:pt idx="942">
                  <c:v>Savencia: A</c:v>
                </c:pt>
                <c:pt idx="943">
                  <c:v>All Others</c:v>
                </c:pt>
                <c:pt idx="944">
                  <c:v>All Others</c:v>
                </c:pt>
                <c:pt idx="945">
                  <c:v>All Others</c:v>
                </c:pt>
                <c:pt idx="946">
                  <c:v>Lactalis: A</c:v>
                </c:pt>
                <c:pt idx="947">
                  <c:v>All Others</c:v>
                </c:pt>
                <c:pt idx="948">
                  <c:v>All Others</c:v>
                </c:pt>
                <c:pt idx="949">
                  <c:v>All Others</c:v>
                </c:pt>
                <c:pt idx="950">
                  <c:v>All Others</c:v>
                </c:pt>
                <c:pt idx="951">
                  <c:v>All Others</c:v>
                </c:pt>
                <c:pt idx="952">
                  <c:v>All Others</c:v>
                </c:pt>
                <c:pt idx="953">
                  <c:v>All Others</c:v>
                </c:pt>
                <c:pt idx="954">
                  <c:v>All Others</c:v>
                </c:pt>
                <c:pt idx="955">
                  <c:v>Nurishh</c:v>
                </c:pt>
                <c:pt idx="956">
                  <c:v>All Others</c:v>
                </c:pt>
                <c:pt idx="957">
                  <c:v>All Others</c:v>
                </c:pt>
                <c:pt idx="958">
                  <c:v>Triballat R</c:v>
                </c:pt>
                <c:pt idx="959">
                  <c:v>All Others</c:v>
                </c:pt>
                <c:pt idx="960">
                  <c:v>All Others</c:v>
                </c:pt>
                <c:pt idx="961">
                  <c:v>All Others</c:v>
                </c:pt>
                <c:pt idx="962">
                  <c:v>All Others</c:v>
                </c:pt>
                <c:pt idx="963">
                  <c:v>All Others</c:v>
                </c:pt>
                <c:pt idx="964">
                  <c:v>All Others</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Soignon</c:v>
                </c:pt>
                <c:pt idx="983">
                  <c:v>Soignon</c:v>
                </c:pt>
                <c:pt idx="984">
                  <c:v>All Others</c:v>
                </c:pt>
                <c:pt idx="985">
                  <c:v>All Others</c:v>
                </c:pt>
                <c:pt idx="986">
                  <c:v>Mini Babybe</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Soignon</c:v>
                </c:pt>
                <c:pt idx="998">
                  <c:v>All Others</c:v>
                </c:pt>
                <c:pt idx="999">
                  <c:v>All Others</c:v>
                </c:pt>
                <c:pt idx="1000">
                  <c:v>All Others</c:v>
                </c:pt>
                <c:pt idx="1001">
                  <c:v>All Others</c:v>
                </c:pt>
                <c:pt idx="1002">
                  <c:v>All Others</c:v>
                </c:pt>
                <c:pt idx="1003">
                  <c:v>All Others</c:v>
                </c:pt>
                <c:pt idx="1004">
                  <c:v>Eurial Autr</c:v>
                </c:pt>
                <c:pt idx="1005">
                  <c:v>All Others</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All Others</c:v>
                </c:pt>
                <c:pt idx="1016">
                  <c:v>President</c:v>
                </c:pt>
                <c:pt idx="1017">
                  <c:v>All Others</c:v>
                </c:pt>
                <c:pt idx="1018">
                  <c:v>All Others</c:v>
                </c:pt>
                <c:pt idx="1019">
                  <c:v>All Others</c:v>
                </c:pt>
                <c:pt idx="1020">
                  <c:v>All Others</c:v>
                </c:pt>
                <c:pt idx="1021">
                  <c:v>All Others</c:v>
                </c:pt>
                <c:pt idx="1022">
                  <c:v>All Others</c:v>
                </c:pt>
                <c:pt idx="1023">
                  <c:v>All Others</c:v>
                </c:pt>
                <c:pt idx="1024">
                  <c:v>All Others</c:v>
                </c:pt>
                <c:pt idx="1025">
                  <c:v>All Others</c:v>
                </c:pt>
                <c:pt idx="1026">
                  <c:v>All Others</c:v>
                </c:pt>
                <c:pt idx="1027">
                  <c:v>All Others</c:v>
                </c:pt>
                <c:pt idx="1028">
                  <c:v>Eurial Autr</c:v>
                </c:pt>
                <c:pt idx="1029">
                  <c:v>All Others</c:v>
                </c:pt>
                <c:pt idx="1030">
                  <c:v>All Others</c:v>
                </c:pt>
                <c:pt idx="1031">
                  <c:v>All Others</c:v>
                </c:pt>
                <c:pt idx="1032">
                  <c:v>All Others</c:v>
                </c:pt>
                <c:pt idx="1033">
                  <c:v>All Others</c:v>
                </c:pt>
                <c:pt idx="1034">
                  <c:v>All Others</c:v>
                </c:pt>
                <c:pt idx="1035">
                  <c:v>All Others</c:v>
                </c:pt>
                <c:pt idx="1036">
                  <c:v>All Others</c:v>
                </c:pt>
                <c:pt idx="1037">
                  <c:v>Lactalis: A</c:v>
                </c:pt>
                <c:pt idx="1038">
                  <c:v>All Others</c:v>
                </c:pt>
                <c:pt idx="1039">
                  <c:v>Mini Babybe</c:v>
                </c:pt>
                <c:pt idx="1040">
                  <c:v>All Others</c:v>
                </c:pt>
                <c:pt idx="1041">
                  <c:v>All Others</c:v>
                </c:pt>
                <c:pt idx="1042">
                  <c:v>All Others</c:v>
                </c:pt>
                <c:pt idx="1043">
                  <c:v>All Others</c:v>
                </c:pt>
                <c:pt idx="1044">
                  <c:v>All Others</c:v>
                </c:pt>
                <c:pt idx="1045">
                  <c:v>Lactalis: A</c:v>
                </c:pt>
                <c:pt idx="1046">
                  <c:v>All Others</c:v>
                </c:pt>
                <c:pt idx="1047">
                  <c:v>All Others</c:v>
                </c:pt>
                <c:pt idx="1048">
                  <c:v>Salakis</c:v>
                </c:pt>
                <c:pt idx="1049">
                  <c:v>Societe</c:v>
                </c:pt>
                <c:pt idx="1050">
                  <c:v>All Others</c:v>
                </c:pt>
                <c:pt idx="1051">
                  <c:v>All Others</c:v>
                </c:pt>
                <c:pt idx="1052">
                  <c:v>All Others</c:v>
                </c:pt>
                <c:pt idx="1053">
                  <c:v>All Others</c:v>
                </c:pt>
                <c:pt idx="1054">
                  <c:v>All Others</c:v>
                </c:pt>
                <c:pt idx="1055">
                  <c:v>All Others</c:v>
                </c:pt>
                <c:pt idx="1056">
                  <c:v>All Others</c:v>
                </c:pt>
                <c:pt idx="1057">
                  <c:v>All Others</c:v>
                </c:pt>
                <c:pt idx="1058">
                  <c:v>All Others</c:v>
                </c:pt>
                <c:pt idx="1059">
                  <c:v>All Others</c:v>
                </c:pt>
                <c:pt idx="1060">
                  <c:v>All Others</c:v>
                </c:pt>
                <c:pt idx="1061">
                  <c:v>All Others</c:v>
                </c:pt>
                <c:pt idx="1062">
                  <c:v>Leerdammer</c:v>
                </c:pt>
                <c:pt idx="1063">
                  <c:v>All Others</c:v>
                </c:pt>
                <c:pt idx="1064">
                  <c:v>All Others</c:v>
                </c:pt>
                <c:pt idx="1065">
                  <c:v>All Others</c:v>
                </c:pt>
                <c:pt idx="1066">
                  <c:v>All Others</c:v>
                </c:pt>
                <c:pt idx="1067">
                  <c:v>All Others</c:v>
                </c:pt>
                <c:pt idx="1068">
                  <c:v>All Others</c:v>
                </c:pt>
                <c:pt idx="1069">
                  <c:v>All Others</c:v>
                </c:pt>
                <c:pt idx="1070">
                  <c:v>All Others</c:v>
                </c:pt>
                <c:pt idx="1071">
                  <c:v>All Others</c:v>
                </c:pt>
                <c:pt idx="1072">
                  <c:v>All Others</c:v>
                </c:pt>
                <c:pt idx="1073">
                  <c:v>All Others</c:v>
                </c:pt>
                <c:pt idx="1074">
                  <c:v>Eurial Autr</c:v>
                </c:pt>
                <c:pt idx="1075">
                  <c:v>All Others</c:v>
                </c:pt>
                <c:pt idx="1076">
                  <c:v>All Others</c:v>
                </c:pt>
                <c:pt idx="1077">
                  <c:v>All Others</c:v>
                </c:pt>
                <c:pt idx="1078">
                  <c:v>All Others</c:v>
                </c:pt>
                <c:pt idx="1079">
                  <c:v>All Others</c:v>
                </c:pt>
                <c:pt idx="1080">
                  <c:v>All Others</c:v>
                </c:pt>
                <c:pt idx="1081">
                  <c:v>All Others</c:v>
                </c:pt>
                <c:pt idx="1082">
                  <c:v>All Others</c:v>
                </c:pt>
                <c:pt idx="1083">
                  <c:v>All Others</c:v>
                </c:pt>
                <c:pt idx="1084">
                  <c:v>All Others</c:v>
                </c:pt>
                <c:pt idx="1085">
                  <c:v>All Others</c:v>
                </c:pt>
                <c:pt idx="1086">
                  <c:v>Le Brebiou</c:v>
                </c:pt>
                <c:pt idx="1087">
                  <c:v>All Others</c:v>
                </c:pt>
                <c:pt idx="1088">
                  <c:v>All Others</c:v>
                </c:pt>
                <c:pt idx="1089">
                  <c:v>All Others</c:v>
                </c:pt>
                <c:pt idx="1090">
                  <c:v>All Others</c:v>
                </c:pt>
                <c:pt idx="1091">
                  <c:v>All Others</c:v>
                </c:pt>
                <c:pt idx="1092">
                  <c:v>All Others</c:v>
                </c:pt>
                <c:pt idx="1093">
                  <c:v>All Others</c:v>
                </c:pt>
                <c:pt idx="1094">
                  <c:v>All Others</c:v>
                </c:pt>
                <c:pt idx="1095">
                  <c:v>Petit Billy</c:v>
                </c:pt>
                <c:pt idx="1096">
                  <c:v>All Others</c:v>
                </c:pt>
                <c:pt idx="1097">
                  <c:v>All Others</c:v>
                </c:pt>
                <c:pt idx="1098">
                  <c:v>Lactalis: A</c:v>
                </c:pt>
                <c:pt idx="1099">
                  <c:v>All Others</c:v>
                </c:pt>
                <c:pt idx="1100">
                  <c:v>All Others</c:v>
                </c:pt>
                <c:pt idx="1101">
                  <c:v>All Others</c:v>
                </c:pt>
                <c:pt idx="1102">
                  <c:v>Limiano</c:v>
                </c:pt>
                <c:pt idx="1103">
                  <c:v>All Others</c:v>
                </c:pt>
                <c:pt idx="1104">
                  <c:v>Petit Billy</c:v>
                </c:pt>
                <c:pt idx="1105">
                  <c:v>Mini Babybe</c:v>
                </c:pt>
                <c:pt idx="1106">
                  <c:v>All Others</c:v>
                </c:pt>
                <c:pt idx="1107">
                  <c:v>Boursin</c:v>
                </c:pt>
                <c:pt idx="1108">
                  <c:v>Savencia: A</c:v>
                </c:pt>
                <c:pt idx="1109">
                  <c:v>All Others</c:v>
                </c:pt>
                <c:pt idx="1110">
                  <c:v>All Others</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All Others</c:v>
                </c:pt>
                <c:pt idx="1121">
                  <c:v>All Others</c:v>
                </c:pt>
                <c:pt idx="1122">
                  <c:v>All Others</c:v>
                </c:pt>
                <c:pt idx="1123">
                  <c:v>President</c:v>
                </c:pt>
                <c:pt idx="1124">
                  <c:v>All Others</c:v>
                </c:pt>
                <c:pt idx="1125">
                  <c:v>All Others</c:v>
                </c:pt>
                <c:pt idx="1126">
                  <c:v>All Others</c:v>
                </c:pt>
                <c:pt idx="1127">
                  <c:v>All Others</c:v>
                </c:pt>
                <c:pt idx="1128">
                  <c:v>All Others</c:v>
                </c:pt>
                <c:pt idx="1129">
                  <c:v>All Others</c:v>
                </c:pt>
                <c:pt idx="1130">
                  <c:v>All Others</c:v>
                </c:pt>
                <c:pt idx="1131">
                  <c:v>All Others</c:v>
                </c:pt>
                <c:pt idx="1132">
                  <c:v>All Others</c:v>
                </c:pt>
                <c:pt idx="1133">
                  <c:v>All Others</c:v>
                </c:pt>
                <c:pt idx="1134">
                  <c:v>All Others</c:v>
                </c:pt>
                <c:pt idx="1135">
                  <c:v>All Others</c:v>
                </c:pt>
                <c:pt idx="1136">
                  <c:v>All Others</c:v>
                </c:pt>
                <c:pt idx="1137">
                  <c:v>Boursin</c:v>
                </c:pt>
                <c:pt idx="1138">
                  <c:v>All Others</c:v>
                </c:pt>
                <c:pt idx="1139">
                  <c:v>All Others</c:v>
                </c:pt>
                <c:pt idx="1140">
                  <c:v>All Others</c:v>
                </c:pt>
                <c:pt idx="1141">
                  <c:v>All Others</c:v>
                </c:pt>
                <c:pt idx="1142">
                  <c:v>All Others</c:v>
                </c:pt>
                <c:pt idx="1143">
                  <c:v>Boursin</c:v>
                </c:pt>
              </c:strCache>
            </c:strRef>
          </c:cat>
          <c:val>
            <c:numRef>
              <c:f>Sheet1!$C$2:$C$1145</c:f>
              <c:numCache>
                <c:formatCode>General</c:formatCode>
                <c:ptCount val="1144"/>
                <c:pt idx="0">
                  <c:v>0.14704096899837915</c:v>
                </c:pt>
                <c:pt idx="1">
                  <c:v>0.20389542923203202</c:v>
                </c:pt>
                <c:pt idx="2">
                  <c:v>0.21590987595698857</c:v>
                </c:pt>
                <c:pt idx="3">
                  <c:v>0.22755627101474174</c:v>
                </c:pt>
                <c:pt idx="4">
                  <c:v>0.23863878000072966</c:v>
                </c:pt>
                <c:pt idx="5">
                  <c:v>0.24951742921482314</c:v>
                </c:pt>
                <c:pt idx="6">
                  <c:v>0.26834340539095186</c:v>
                </c:pt>
                <c:pt idx="7">
                  <c:v>0.27712541773838484</c:v>
                </c:pt>
                <c:pt idx="8">
                  <c:v>0.29442725612742365</c:v>
                </c:pt>
                <c:pt idx="9">
                  <c:v>0.3029448431301478</c:v>
                </c:pt>
                <c:pt idx="10">
                  <c:v>0.31132561713637846</c:v>
                </c:pt>
                <c:pt idx="11">
                  <c:v>0.31939588534827251</c:v>
                </c:pt>
                <c:pt idx="12">
                  <c:v>0.32742507019923056</c:v>
                </c:pt>
                <c:pt idx="13">
                  <c:v>0.35761967622073704</c:v>
                </c:pt>
                <c:pt idx="14">
                  <c:v>0.3790959109290773</c:v>
                </c:pt>
                <c:pt idx="15">
                  <c:v>0.39289852616595305</c:v>
                </c:pt>
                <c:pt idx="16">
                  <c:v>0.41277941135633478</c:v>
                </c:pt>
                <c:pt idx="17">
                  <c:v>0.41896548974518899</c:v>
                </c:pt>
                <c:pt idx="18">
                  <c:v>0.42514290365407964</c:v>
                </c:pt>
                <c:pt idx="19">
                  <c:v>0.43128237829303095</c:v>
                </c:pt>
                <c:pt idx="20">
                  <c:v>0.44324900738302048</c:v>
                </c:pt>
                <c:pt idx="21">
                  <c:v>0.45442549595118709</c:v>
                </c:pt>
                <c:pt idx="22">
                  <c:v>0.45974897388751351</c:v>
                </c:pt>
                <c:pt idx="23">
                  <c:v>0.46499728960482956</c:v>
                </c:pt>
                <c:pt idx="24">
                  <c:v>0.47009414420729795</c:v>
                </c:pt>
                <c:pt idx="25">
                  <c:v>0.47517702411881524</c:v>
                </c:pt>
                <c:pt idx="26">
                  <c:v>0.48023539899368323</c:v>
                </c:pt>
                <c:pt idx="27">
                  <c:v>0.48526891710548747</c:v>
                </c:pt>
                <c:pt idx="28">
                  <c:v>0.4902117712999704</c:v>
                </c:pt>
                <c:pt idx="29">
                  <c:v>0.49974309387973476</c:v>
                </c:pt>
                <c:pt idx="30">
                  <c:v>0.50444993965018126</c:v>
                </c:pt>
                <c:pt idx="31">
                  <c:v>0.51361180794643124</c:v>
                </c:pt>
                <c:pt idx="32">
                  <c:v>0.53099470640594082</c:v>
                </c:pt>
                <c:pt idx="33">
                  <c:v>0.53517161199295449</c:v>
                </c:pt>
                <c:pt idx="34">
                  <c:v>0.53934002038451878</c:v>
                </c:pt>
                <c:pt idx="35">
                  <c:v>0.54349867480210434</c:v>
                </c:pt>
                <c:pt idx="36">
                  <c:v>0.54763386220489751</c:v>
                </c:pt>
                <c:pt idx="37">
                  <c:v>0.55171212997941543</c:v>
                </c:pt>
                <c:pt idx="38">
                  <c:v>0.55575766146131866</c:v>
                </c:pt>
                <c:pt idx="39">
                  <c:v>0.56374896709318856</c:v>
                </c:pt>
                <c:pt idx="40">
                  <c:v>0.56773576455324004</c:v>
                </c:pt>
                <c:pt idx="41">
                  <c:v>0.57171982969956037</c:v>
                </c:pt>
                <c:pt idx="42">
                  <c:v>0.57569713912511711</c:v>
                </c:pt>
                <c:pt idx="43">
                  <c:v>0.57959985681475013</c:v>
                </c:pt>
                <c:pt idx="44">
                  <c:v>0.58346385457337779</c:v>
                </c:pt>
                <c:pt idx="45">
                  <c:v>0.58732627385248737</c:v>
                </c:pt>
                <c:pt idx="46">
                  <c:v>0.59114253118438531</c:v>
                </c:pt>
                <c:pt idx="47">
                  <c:v>0.59486272860104406</c:v>
                </c:pt>
                <c:pt idx="48">
                  <c:v>0.59850025315294186</c:v>
                </c:pt>
                <c:pt idx="49">
                  <c:v>0.60573282056883704</c:v>
                </c:pt>
                <c:pt idx="50">
                  <c:v>0.60929157556130398</c:v>
                </c:pt>
                <c:pt idx="51">
                  <c:v>0.61284872633817367</c:v>
                </c:pt>
                <c:pt idx="52">
                  <c:v>0.61968830811556441</c:v>
                </c:pt>
                <c:pt idx="53">
                  <c:v>0.62307464424610359</c:v>
                </c:pt>
                <c:pt idx="54">
                  <c:v>0.62644233029798857</c:v>
                </c:pt>
                <c:pt idx="55">
                  <c:v>0.62970352045455946</c:v>
                </c:pt>
                <c:pt idx="56">
                  <c:v>0.6329242063119741</c:v>
                </c:pt>
                <c:pt idx="57">
                  <c:v>0.63613957337970806</c:v>
                </c:pt>
                <c:pt idx="58">
                  <c:v>0.63931224858156233</c:v>
                </c:pt>
                <c:pt idx="59">
                  <c:v>0.64247234741942993</c:v>
                </c:pt>
                <c:pt idx="60">
                  <c:v>0.64561115823053572</c:v>
                </c:pt>
                <c:pt idx="61">
                  <c:v>0.64872924291927325</c:v>
                </c:pt>
                <c:pt idx="62">
                  <c:v>0.65492161806881377</c:v>
                </c:pt>
                <c:pt idx="63">
                  <c:v>0.65801302302221809</c:v>
                </c:pt>
                <c:pt idx="64">
                  <c:v>0.66101901850778377</c:v>
                </c:pt>
                <c:pt idx="65">
                  <c:v>0.66400609797521126</c:v>
                </c:pt>
                <c:pt idx="66">
                  <c:v>0.6669726657875964</c:v>
                </c:pt>
                <c:pt idx="67">
                  <c:v>0.67286131231029656</c:v>
                </c:pt>
                <c:pt idx="68">
                  <c:v>0.67578288916706908</c:v>
                </c:pt>
                <c:pt idx="69">
                  <c:v>0.67867629359592063</c:v>
                </c:pt>
                <c:pt idx="70">
                  <c:v>0.68143962788100276</c:v>
                </c:pt>
                <c:pt idx="71">
                  <c:v>0.68412730238287855</c:v>
                </c:pt>
                <c:pt idx="72">
                  <c:v>0.68681290513038684</c:v>
                </c:pt>
                <c:pt idx="73">
                  <c:v>0.68948444311066726</c:v>
                </c:pt>
                <c:pt idx="74">
                  <c:v>0.69210900845724432</c:v>
                </c:pt>
                <c:pt idx="75">
                  <c:v>0.69731545586321186</c:v>
                </c:pt>
                <c:pt idx="76">
                  <c:v>0.69989349037877691</c:v>
                </c:pt>
                <c:pt idx="77">
                  <c:v>0.70245536692601385</c:v>
                </c:pt>
                <c:pt idx="78">
                  <c:v>0.70501672446232233</c:v>
                </c:pt>
                <c:pt idx="79">
                  <c:v>0.70755193414226558</c:v>
                </c:pt>
                <c:pt idx="80">
                  <c:v>0.71261068219028045</c:v>
                </c:pt>
                <c:pt idx="81">
                  <c:v>0.71512678712083877</c:v>
                </c:pt>
                <c:pt idx="82">
                  <c:v>0.71759570066102152</c:v>
                </c:pt>
                <c:pt idx="83">
                  <c:v>0.72001137912158675</c:v>
                </c:pt>
                <c:pt idx="84">
                  <c:v>0.72242073079603997</c:v>
                </c:pt>
                <c:pt idx="85">
                  <c:v>0.72481119218843404</c:v>
                </c:pt>
                <c:pt idx="86">
                  <c:v>0.72715567607551668</c:v>
                </c:pt>
                <c:pt idx="87">
                  <c:v>0.72947713475049825</c:v>
                </c:pt>
                <c:pt idx="88">
                  <c:v>0.73179819451625372</c:v>
                </c:pt>
                <c:pt idx="89">
                  <c:v>0.73409223997764772</c:v>
                </c:pt>
                <c:pt idx="90">
                  <c:v>0.73637102394413567</c:v>
                </c:pt>
                <c:pt idx="91">
                  <c:v>0.73864949478832787</c:v>
                </c:pt>
                <c:pt idx="92">
                  <c:v>0.74090609854397849</c:v>
                </c:pt>
                <c:pt idx="93">
                  <c:v>0.74314918656875528</c:v>
                </c:pt>
                <c:pt idx="94">
                  <c:v>0.75194915412070673</c:v>
                </c:pt>
                <c:pt idx="95">
                  <c:v>0.75413087875421703</c:v>
                </c:pt>
                <c:pt idx="96">
                  <c:v>0.75842098877449682</c:v>
                </c:pt>
                <c:pt idx="97">
                  <c:v>0.76051227682605116</c:v>
                </c:pt>
                <c:pt idx="98">
                  <c:v>0.76255895138448626</c:v>
                </c:pt>
                <c:pt idx="99">
                  <c:v>0.76456952251329124</c:v>
                </c:pt>
                <c:pt idx="100">
                  <c:v>0.76656929306756738</c:v>
                </c:pt>
                <c:pt idx="101">
                  <c:v>0.76856891349471546</c:v>
                </c:pt>
                <c:pt idx="102">
                  <c:v>0.77052758353066952</c:v>
                </c:pt>
                <c:pt idx="103">
                  <c:v>0.77246476394057539</c:v>
                </c:pt>
                <c:pt idx="104">
                  <c:v>0.77438596224536049</c:v>
                </c:pt>
                <c:pt idx="105">
                  <c:v>0.77628938120883428</c:v>
                </c:pt>
                <c:pt idx="106">
                  <c:v>0.7800901539998073</c:v>
                </c:pt>
                <c:pt idx="107">
                  <c:v>0.78194671185258724</c:v>
                </c:pt>
                <c:pt idx="108">
                  <c:v>0.78378648549244767</c:v>
                </c:pt>
                <c:pt idx="109">
                  <c:v>0.78562211991291964</c:v>
                </c:pt>
                <c:pt idx="110">
                  <c:v>0.78740555298628456</c:v>
                </c:pt>
                <c:pt idx="111">
                  <c:v>0.79095193321405111</c:v>
                </c:pt>
                <c:pt idx="112">
                  <c:v>0.7927174711337488</c:v>
                </c:pt>
                <c:pt idx="113">
                  <c:v>0.79607755217425991</c:v>
                </c:pt>
                <c:pt idx="114">
                  <c:v>0.79773737057036287</c:v>
                </c:pt>
                <c:pt idx="115">
                  <c:v>0.7993781657146648</c:v>
                </c:pt>
                <c:pt idx="116">
                  <c:v>0.80101700491695516</c:v>
                </c:pt>
                <c:pt idx="117">
                  <c:v>0.80265009639491325</c:v>
                </c:pt>
                <c:pt idx="118">
                  <c:v>0.80743063313851493</c:v>
                </c:pt>
                <c:pt idx="119">
                  <c:v>0.80897732430958913</c:v>
                </c:pt>
                <c:pt idx="120">
                  <c:v>0.81049964341375602</c:v>
                </c:pt>
                <c:pt idx="121">
                  <c:v>0.81201433177046989</c:v>
                </c:pt>
                <c:pt idx="122">
                  <c:v>0.81346912798177251</c:v>
                </c:pt>
                <c:pt idx="123">
                  <c:v>0.81491535407873494</c:v>
                </c:pt>
                <c:pt idx="124">
                  <c:v>0.81635923819249934</c:v>
                </c:pt>
                <c:pt idx="125">
                  <c:v>0.81779276782377264</c:v>
                </c:pt>
                <c:pt idx="126">
                  <c:v>0.81922567978914751</c:v>
                </c:pt>
                <c:pt idx="127">
                  <c:v>0.82060990767155895</c:v>
                </c:pt>
                <c:pt idx="128">
                  <c:v>0.82198795889498655</c:v>
                </c:pt>
                <c:pt idx="129">
                  <c:v>0.82336015516041894</c:v>
                </c:pt>
                <c:pt idx="130">
                  <c:v>0.82472611900536275</c:v>
                </c:pt>
                <c:pt idx="131">
                  <c:v>0.82605080217943083</c:v>
                </c:pt>
                <c:pt idx="132">
                  <c:v>0.82860138916663617</c:v>
                </c:pt>
                <c:pt idx="133">
                  <c:v>0.82987116012659867</c:v>
                </c:pt>
                <c:pt idx="134">
                  <c:v>0.83111015502530461</c:v>
                </c:pt>
                <c:pt idx="135">
                  <c:v>0.83234822771450945</c:v>
                </c:pt>
                <c:pt idx="136">
                  <c:v>0.83354905600791063</c:v>
                </c:pt>
                <c:pt idx="137">
                  <c:v>0.83472452568470568</c:v>
                </c:pt>
                <c:pt idx="138">
                  <c:v>0.83589938198494884</c:v>
                </c:pt>
                <c:pt idx="139">
                  <c:v>0.83706786431626834</c:v>
                </c:pt>
                <c:pt idx="140">
                  <c:v>0.83937429741040226</c:v>
                </c:pt>
                <c:pt idx="141">
                  <c:v>0.8405014647560739</c:v>
                </c:pt>
                <c:pt idx="142">
                  <c:v>0.84161961589536771</c:v>
                </c:pt>
                <c:pt idx="143">
                  <c:v>0.84383955002764788</c:v>
                </c:pt>
                <c:pt idx="144">
                  <c:v>0.84493937278927622</c:v>
                </c:pt>
                <c:pt idx="145">
                  <c:v>0.8460382047118592</c:v>
                </c:pt>
                <c:pt idx="146">
                  <c:v>0.84712733413262165</c:v>
                </c:pt>
                <c:pt idx="147">
                  <c:v>0.84820465069307738</c:v>
                </c:pt>
                <c:pt idx="148">
                  <c:v>0.84926926220915089</c:v>
                </c:pt>
                <c:pt idx="149">
                  <c:v>0.85031716672054225</c:v>
                </c:pt>
                <c:pt idx="150">
                  <c:v>0.85136417046916513</c:v>
                </c:pt>
                <c:pt idx="151">
                  <c:v>0.85240806015221704</c:v>
                </c:pt>
                <c:pt idx="152">
                  <c:v>0.85342739332646134</c:v>
                </c:pt>
                <c:pt idx="153">
                  <c:v>0.85444210687450728</c:v>
                </c:pt>
                <c:pt idx="154">
                  <c:v>0.85544750396191915</c:v>
                </c:pt>
                <c:pt idx="155">
                  <c:v>0.85644585794235084</c:v>
                </c:pt>
                <c:pt idx="156">
                  <c:v>0.85743095355269972</c:v>
                </c:pt>
                <c:pt idx="157">
                  <c:v>0.85840286800120302</c:v>
                </c:pt>
                <c:pt idx="158">
                  <c:v>0.85936761924102367</c:v>
                </c:pt>
                <c:pt idx="159">
                  <c:v>0.86032460247430276</c:v>
                </c:pt>
                <c:pt idx="160">
                  <c:v>0.86128080504651572</c:v>
                </c:pt>
                <c:pt idx="161">
                  <c:v>0.86223203197676945</c:v>
                </c:pt>
                <c:pt idx="162">
                  <c:v>0.86317185353463555</c:v>
                </c:pt>
                <c:pt idx="163">
                  <c:v>0.86410316931835929</c:v>
                </c:pt>
                <c:pt idx="164">
                  <c:v>0.86596336882633185</c:v>
                </c:pt>
                <c:pt idx="165">
                  <c:v>0.86689030947660861</c:v>
                </c:pt>
                <c:pt idx="166">
                  <c:v>0.86781305514599216</c:v>
                </c:pt>
                <c:pt idx="167">
                  <c:v>0.86872843600740668</c:v>
                </c:pt>
                <c:pt idx="168">
                  <c:v>0.86964164645948383</c:v>
                </c:pt>
                <c:pt idx="169">
                  <c:v>0.87055307683275662</c:v>
                </c:pt>
                <c:pt idx="170">
                  <c:v>0.87146099852057879</c:v>
                </c:pt>
                <c:pt idx="171">
                  <c:v>0.87236843122289809</c:v>
                </c:pt>
                <c:pt idx="172">
                  <c:v>0.87326484888336275</c:v>
                </c:pt>
                <c:pt idx="173">
                  <c:v>0.87415996687183284</c:v>
                </c:pt>
                <c:pt idx="174">
                  <c:v>0.87505406399583197</c:v>
                </c:pt>
                <c:pt idx="175">
                  <c:v>0.87594283804080408</c:v>
                </c:pt>
                <c:pt idx="176">
                  <c:v>0.87682526385293158</c:v>
                </c:pt>
                <c:pt idx="177">
                  <c:v>0.87769515619453753</c:v>
                </c:pt>
                <c:pt idx="178">
                  <c:v>0.87856479975404556</c:v>
                </c:pt>
                <c:pt idx="179">
                  <c:v>0.87943425887165338</c:v>
                </c:pt>
                <c:pt idx="180">
                  <c:v>0.88029513071753496</c:v>
                </c:pt>
                <c:pt idx="181">
                  <c:v>0.88114749678927418</c:v>
                </c:pt>
                <c:pt idx="182">
                  <c:v>0.88199381917177144</c:v>
                </c:pt>
                <c:pt idx="183">
                  <c:v>0.88283261375113209</c:v>
                </c:pt>
                <c:pt idx="184">
                  <c:v>0.88366143988918811</c:v>
                </c:pt>
                <c:pt idx="185">
                  <c:v>0.88447949976748752</c:v>
                </c:pt>
                <c:pt idx="186">
                  <c:v>0.88606994656237759</c:v>
                </c:pt>
                <c:pt idx="187">
                  <c:v>0.8868390178141109</c:v>
                </c:pt>
                <c:pt idx="188">
                  <c:v>0.8876078317050532</c:v>
                </c:pt>
                <c:pt idx="189">
                  <c:v>0.88837649975821398</c:v>
                </c:pt>
                <c:pt idx="190">
                  <c:v>0.88914081841400694</c:v>
                </c:pt>
                <c:pt idx="191">
                  <c:v>0.88990029439758267</c:v>
                </c:pt>
                <c:pt idx="192">
                  <c:v>0.89065962454337677</c:v>
                </c:pt>
                <c:pt idx="193">
                  <c:v>0.89141856435863787</c:v>
                </c:pt>
                <c:pt idx="194">
                  <c:v>0.89217584848614362</c:v>
                </c:pt>
                <c:pt idx="195">
                  <c:v>0.8936765235477877</c:v>
                </c:pt>
                <c:pt idx="196">
                  <c:v>0.89441932255210688</c:v>
                </c:pt>
                <c:pt idx="197">
                  <c:v>0.89515837266757048</c:v>
                </c:pt>
                <c:pt idx="198">
                  <c:v>0.89589318490867575</c:v>
                </c:pt>
                <c:pt idx="199">
                  <c:v>0.89662138297745242</c:v>
                </c:pt>
                <c:pt idx="200">
                  <c:v>0.89734324568142398</c:v>
                </c:pt>
                <c:pt idx="201">
                  <c:v>0.89805920195524225</c:v>
                </c:pt>
                <c:pt idx="202">
                  <c:v>0.89877408160308481</c:v>
                </c:pt>
                <c:pt idx="203">
                  <c:v>0.89948567561149573</c:v>
                </c:pt>
                <c:pt idx="204">
                  <c:v>0.90019612007504013</c:v>
                </c:pt>
                <c:pt idx="205">
                  <c:v>0.90090614418262593</c:v>
                </c:pt>
                <c:pt idx="206">
                  <c:v>0.90161365902249957</c:v>
                </c:pt>
                <c:pt idx="207">
                  <c:v>0.90230618688564412</c:v>
                </c:pt>
                <c:pt idx="208">
                  <c:v>0.90299544626674311</c:v>
                </c:pt>
                <c:pt idx="209">
                  <c:v>0.90368437536816026</c:v>
                </c:pt>
                <c:pt idx="210">
                  <c:v>0.90437218066079006</c:v>
                </c:pt>
                <c:pt idx="211">
                  <c:v>0.90505878922574179</c:v>
                </c:pt>
                <c:pt idx="212">
                  <c:v>0.90573871498882064</c:v>
                </c:pt>
                <c:pt idx="213">
                  <c:v>0.90641396965354293</c:v>
                </c:pt>
                <c:pt idx="214">
                  <c:v>0.90707902854159517</c:v>
                </c:pt>
                <c:pt idx="215">
                  <c:v>0.90772990685006361</c:v>
                </c:pt>
                <c:pt idx="216">
                  <c:v>0.90837541060734672</c:v>
                </c:pt>
                <c:pt idx="217">
                  <c:v>0.90901206544276614</c:v>
                </c:pt>
                <c:pt idx="218">
                  <c:v>0.9096403388950921</c:v>
                </c:pt>
                <c:pt idx="219">
                  <c:v>0.91024732861000268</c:v>
                </c:pt>
                <c:pt idx="220">
                  <c:v>0.91085323740959101</c:v>
                </c:pt>
                <c:pt idx="221">
                  <c:v>0.91145703585069326</c:v>
                </c:pt>
                <c:pt idx="222">
                  <c:v>0.91205600877696424</c:v>
                </c:pt>
                <c:pt idx="223">
                  <c:v>0.91265272550696752</c:v>
                </c:pt>
                <c:pt idx="224">
                  <c:v>0.91324793238699697</c:v>
                </c:pt>
                <c:pt idx="225">
                  <c:v>0.91382867130122591</c:v>
                </c:pt>
                <c:pt idx="226">
                  <c:v>0.91440420723813021</c:v>
                </c:pt>
                <c:pt idx="227">
                  <c:v>0.91497946007816444</c:v>
                </c:pt>
                <c:pt idx="228">
                  <c:v>0.91555283847377089</c:v>
                </c:pt>
                <c:pt idx="229">
                  <c:v>0.91612487430391765</c:v>
                </c:pt>
                <c:pt idx="230">
                  <c:v>0.91669316553455549</c:v>
                </c:pt>
                <c:pt idx="231">
                  <c:v>0.91726097635838344</c:v>
                </c:pt>
                <c:pt idx="232">
                  <c:v>0.91782537715173063</c:v>
                </c:pt>
                <c:pt idx="233">
                  <c:v>0.91838955918840548</c:v>
                </c:pt>
                <c:pt idx="234">
                  <c:v>0.91895206837993892</c:v>
                </c:pt>
                <c:pt idx="235">
                  <c:v>0.92006871395860534</c:v>
                </c:pt>
                <c:pt idx="236">
                  <c:v>0.92062105310954789</c:v>
                </c:pt>
                <c:pt idx="237">
                  <c:v>0.9211693173812997</c:v>
                </c:pt>
                <c:pt idx="238">
                  <c:v>0.92171405152086838</c:v>
                </c:pt>
                <c:pt idx="239">
                  <c:v>0.92225832241101324</c:v>
                </c:pt>
                <c:pt idx="240">
                  <c:v>0.92280202710741788</c:v>
                </c:pt>
                <c:pt idx="241">
                  <c:v>0.92334436779163021</c:v>
                </c:pt>
                <c:pt idx="242">
                  <c:v>0.92388455951323778</c:v>
                </c:pt>
                <c:pt idx="243">
                  <c:v>0.92442108384357369</c:v>
                </c:pt>
                <c:pt idx="244">
                  <c:v>0.92495315154287883</c:v>
                </c:pt>
                <c:pt idx="245">
                  <c:v>0.92548472596733455</c:v>
                </c:pt>
                <c:pt idx="246">
                  <c:v>0.92601624034093899</c:v>
                </c:pt>
                <c:pt idx="247">
                  <c:v>0.927068301229105</c:v>
                </c:pt>
                <c:pt idx="248">
                  <c:v>0.92758874051000362</c:v>
                </c:pt>
                <c:pt idx="249">
                  <c:v>0.92810374518886574</c:v>
                </c:pt>
                <c:pt idx="250">
                  <c:v>0.92861874557838131</c:v>
                </c:pt>
                <c:pt idx="251">
                  <c:v>0.92911879330594005</c:v>
                </c:pt>
                <c:pt idx="252">
                  <c:v>0.92961554252602752</c:v>
                </c:pt>
                <c:pt idx="253">
                  <c:v>0.93010937070113708</c:v>
                </c:pt>
                <c:pt idx="254">
                  <c:v>0.9306018606001335</c:v>
                </c:pt>
                <c:pt idx="255">
                  <c:v>0.93108505548522846</c:v>
                </c:pt>
                <c:pt idx="256">
                  <c:v>0.93156610998641165</c:v>
                </c:pt>
                <c:pt idx="257">
                  <c:v>0.93204530291120669</c:v>
                </c:pt>
                <c:pt idx="258">
                  <c:v>0.93252406690135003</c:v>
                </c:pt>
                <c:pt idx="259">
                  <c:v>0.93300034307051372</c:v>
                </c:pt>
                <c:pt idx="260">
                  <c:v>0.93347391695137194</c:v>
                </c:pt>
                <c:pt idx="261">
                  <c:v>0.93394520461053687</c:v>
                </c:pt>
                <c:pt idx="262">
                  <c:v>0.93440528849660043</c:v>
                </c:pt>
                <c:pt idx="263">
                  <c:v>0.93486499063082396</c:v>
                </c:pt>
                <c:pt idx="264">
                  <c:v>0.93531510178623634</c:v>
                </c:pt>
                <c:pt idx="265">
                  <c:v>0.93620500392934225</c:v>
                </c:pt>
                <c:pt idx="266">
                  <c:v>0.93707510644892755</c:v>
                </c:pt>
                <c:pt idx="267">
                  <c:v>0.93793419392665822</c:v>
                </c:pt>
                <c:pt idx="268">
                  <c:v>0.93835894646546447</c:v>
                </c:pt>
                <c:pt idx="269">
                  <c:v>0.93877397505571769</c:v>
                </c:pt>
                <c:pt idx="270">
                  <c:v>0.93918705628265231</c:v>
                </c:pt>
                <c:pt idx="271">
                  <c:v>0.93959203064467056</c:v>
                </c:pt>
                <c:pt idx="272">
                  <c:v>0.94079828496141527</c:v>
                </c:pt>
                <c:pt idx="273">
                  <c:v>0.94118881709371216</c:v>
                </c:pt>
                <c:pt idx="274">
                  <c:v>0.94157852567147782</c:v>
                </c:pt>
                <c:pt idx="275">
                  <c:v>0.94196822138120395</c:v>
                </c:pt>
                <c:pt idx="276">
                  <c:v>0.94235703348554767</c:v>
                </c:pt>
                <c:pt idx="277">
                  <c:v>0.94274579840707973</c:v>
                </c:pt>
                <c:pt idx="278">
                  <c:v>0.94313272319895614</c:v>
                </c:pt>
                <c:pt idx="279">
                  <c:v>0.94351804806458184</c:v>
                </c:pt>
                <c:pt idx="280">
                  <c:v>0.94389611106655491</c:v>
                </c:pt>
                <c:pt idx="281">
                  <c:v>0.94425883107603814</c:v>
                </c:pt>
                <c:pt idx="282">
                  <c:v>0.94461989110841948</c:v>
                </c:pt>
                <c:pt idx="283">
                  <c:v>0.94533450481677805</c:v>
                </c:pt>
                <c:pt idx="284">
                  <c:v>0.94568746227358946</c:v>
                </c:pt>
                <c:pt idx="285">
                  <c:v>0.94603855815401272</c:v>
                </c:pt>
                <c:pt idx="286">
                  <c:v>0.94638844872806482</c:v>
                </c:pt>
                <c:pt idx="287">
                  <c:v>0.94672753872758808</c:v>
                </c:pt>
                <c:pt idx="288">
                  <c:v>0.94706074374369054</c:v>
                </c:pt>
                <c:pt idx="289">
                  <c:v>0.94739343832755751</c:v>
                </c:pt>
                <c:pt idx="290">
                  <c:v>0.94772585839324752</c:v>
                </c:pt>
                <c:pt idx="291">
                  <c:v>0.94805290390775221</c:v>
                </c:pt>
                <c:pt idx="292">
                  <c:v>0.94837798490155223</c:v>
                </c:pt>
                <c:pt idx="293">
                  <c:v>0.9486998617535044</c:v>
                </c:pt>
                <c:pt idx="294">
                  <c:v>0.94901354595360987</c:v>
                </c:pt>
                <c:pt idx="295">
                  <c:v>0.9493265181221936</c:v>
                </c:pt>
                <c:pt idx="296">
                  <c:v>0.94963625612350377</c:v>
                </c:pt>
                <c:pt idx="297">
                  <c:v>0.94994227097203754</c:v>
                </c:pt>
                <c:pt idx="298">
                  <c:v>0.95024557066422632</c:v>
                </c:pt>
                <c:pt idx="299">
                  <c:v>0.9505483256094075</c:v>
                </c:pt>
                <c:pt idx="300">
                  <c:v>0.95084733595507964</c:v>
                </c:pt>
                <c:pt idx="301">
                  <c:v>0.95113991657032348</c:v>
                </c:pt>
                <c:pt idx="302">
                  <c:v>0.95143241139863699</c:v>
                </c:pt>
                <c:pt idx="303">
                  <c:v>0.95172473465308982</c:v>
                </c:pt>
                <c:pt idx="304">
                  <c:v>0.9520164273736047</c:v>
                </c:pt>
                <c:pt idx="305">
                  <c:v>0.95230413958055216</c:v>
                </c:pt>
                <c:pt idx="306">
                  <c:v>0.95258803426909988</c:v>
                </c:pt>
                <c:pt idx="307">
                  <c:v>0.95286658014254133</c:v>
                </c:pt>
                <c:pt idx="308">
                  <c:v>0.95314395502438376</c:v>
                </c:pt>
                <c:pt idx="309">
                  <c:v>0.95341629850276222</c:v>
                </c:pt>
                <c:pt idx="310">
                  <c:v>0.9536873937813044</c:v>
                </c:pt>
                <c:pt idx="311">
                  <c:v>0.95395716365177297</c:v>
                </c:pt>
                <c:pt idx="312">
                  <c:v>0.95422626009483835</c:v>
                </c:pt>
                <c:pt idx="313">
                  <c:v>0.95449441288167014</c:v>
                </c:pt>
                <c:pt idx="314">
                  <c:v>0.95476014647706653</c:v>
                </c:pt>
                <c:pt idx="315">
                  <c:v>0.95502387694763968</c:v>
                </c:pt>
                <c:pt idx="316">
                  <c:v>0.9552868138891073</c:v>
                </c:pt>
                <c:pt idx="317">
                  <c:v>0.95554755897450494</c:v>
                </c:pt>
                <c:pt idx="318">
                  <c:v>0.95580479537445195</c:v>
                </c:pt>
                <c:pt idx="319">
                  <c:v>0.95605771240245674</c:v>
                </c:pt>
                <c:pt idx="320">
                  <c:v>0.95631048359268001</c:v>
                </c:pt>
                <c:pt idx="321">
                  <c:v>0.95680589882600076</c:v>
                </c:pt>
                <c:pt idx="322">
                  <c:v>0.95705052454718897</c:v>
                </c:pt>
                <c:pt idx="323">
                  <c:v>0.95729281257452559</c:v>
                </c:pt>
                <c:pt idx="324">
                  <c:v>0.95753445291053829</c:v>
                </c:pt>
                <c:pt idx="325">
                  <c:v>0.95777280760711925</c:v>
                </c:pt>
                <c:pt idx="326">
                  <c:v>0.95800923209776767</c:v>
                </c:pt>
                <c:pt idx="327">
                  <c:v>0.95824416389582834</c:v>
                </c:pt>
                <c:pt idx="328">
                  <c:v>0.95847739711266844</c:v>
                </c:pt>
                <c:pt idx="329">
                  <c:v>0.95870688144065308</c:v>
                </c:pt>
                <c:pt idx="330">
                  <c:v>0.95893621135216311</c:v>
                </c:pt>
                <c:pt idx="331">
                  <c:v>0.95916551981694054</c:v>
                </c:pt>
                <c:pt idx="332">
                  <c:v>0.95939428353471035</c:v>
                </c:pt>
                <c:pt idx="333">
                  <c:v>0.95961998465906728</c:v>
                </c:pt>
                <c:pt idx="334">
                  <c:v>0.95984498233059556</c:v>
                </c:pt>
                <c:pt idx="335">
                  <c:v>0.96006972264133283</c:v>
                </c:pt>
                <c:pt idx="336">
                  <c:v>0.96029345495563867</c:v>
                </c:pt>
                <c:pt idx="337">
                  <c:v>0.96051543721656574</c:v>
                </c:pt>
                <c:pt idx="338">
                  <c:v>0.96073589675947946</c:v>
                </c:pt>
                <c:pt idx="339">
                  <c:v>0.9609526889111214</c:v>
                </c:pt>
                <c:pt idx="340">
                  <c:v>0.96160096787560079</c:v>
                </c:pt>
                <c:pt idx="341">
                  <c:v>0.9618163617002784</c:v>
                </c:pt>
                <c:pt idx="342">
                  <c:v>0.96202822539277277</c:v>
                </c:pt>
                <c:pt idx="343">
                  <c:v>0.9622388537534704</c:v>
                </c:pt>
                <c:pt idx="344">
                  <c:v>0.96244628226166662</c:v>
                </c:pt>
                <c:pt idx="345">
                  <c:v>0.96265146315228822</c:v>
                </c:pt>
                <c:pt idx="346">
                  <c:v>0.96285570038667612</c:v>
                </c:pt>
                <c:pt idx="347">
                  <c:v>0.96305546812199372</c:v>
                </c:pt>
                <c:pt idx="348">
                  <c:v>0.96325288958476674</c:v>
                </c:pt>
                <c:pt idx="349">
                  <c:v>0.96345017807779776</c:v>
                </c:pt>
                <c:pt idx="350">
                  <c:v>0.96364641568093223</c:v>
                </c:pt>
                <c:pt idx="351">
                  <c:v>0.96383618494951961</c:v>
                </c:pt>
                <c:pt idx="352">
                  <c:v>0.96421006583863911</c:v>
                </c:pt>
                <c:pt idx="353">
                  <c:v>0.9643910591042536</c:v>
                </c:pt>
                <c:pt idx="354">
                  <c:v>0.96457156338436512</c:v>
                </c:pt>
                <c:pt idx="355">
                  <c:v>0.96475064789077969</c:v>
                </c:pt>
                <c:pt idx="356">
                  <c:v>0.96492938496012637</c:v>
                </c:pt>
                <c:pt idx="357">
                  <c:v>0.96510750007422819</c:v>
                </c:pt>
                <c:pt idx="358">
                  <c:v>0.96528458145581952</c:v>
                </c:pt>
                <c:pt idx="359">
                  <c:v>0.96546079210006797</c:v>
                </c:pt>
                <c:pt idx="360">
                  <c:v>0.96563635934233893</c:v>
                </c:pt>
                <c:pt idx="361">
                  <c:v>0.96581056686176414</c:v>
                </c:pt>
                <c:pt idx="362">
                  <c:v>0.96598428968503292</c:v>
                </c:pt>
                <c:pt idx="363">
                  <c:v>0.96615799964026217</c:v>
                </c:pt>
                <c:pt idx="364">
                  <c:v>0.96633119487390939</c:v>
                </c:pt>
                <c:pt idx="365">
                  <c:v>0.96650430860997283</c:v>
                </c:pt>
                <c:pt idx="366">
                  <c:v>0.96667596396822064</c:v>
                </c:pt>
                <c:pt idx="367">
                  <c:v>0.96684531165804255</c:v>
                </c:pt>
                <c:pt idx="368">
                  <c:v>0.96701296076664389</c:v>
                </c:pt>
                <c:pt idx="369">
                  <c:v>0.96718054982439394</c:v>
                </c:pt>
                <c:pt idx="370">
                  <c:v>0.96734804880586711</c:v>
                </c:pt>
                <c:pt idx="371">
                  <c:v>0.96751504593379789</c:v>
                </c:pt>
                <c:pt idx="372">
                  <c:v>0.96768160983773055</c:v>
                </c:pt>
                <c:pt idx="373">
                  <c:v>0.96784701990745015</c:v>
                </c:pt>
                <c:pt idx="374">
                  <c:v>0.96801221550984395</c:v>
                </c:pt>
                <c:pt idx="375">
                  <c:v>0.96817558385062175</c:v>
                </c:pt>
                <c:pt idx="376">
                  <c:v>0.96833853612478737</c:v>
                </c:pt>
                <c:pt idx="377">
                  <c:v>0.96850109377907345</c:v>
                </c:pt>
                <c:pt idx="378">
                  <c:v>0.96866222737031604</c:v>
                </c:pt>
                <c:pt idx="379">
                  <c:v>0.96882282908259054</c:v>
                </c:pt>
                <c:pt idx="380">
                  <c:v>0.96898186518338647</c:v>
                </c:pt>
                <c:pt idx="381">
                  <c:v>0.96913784726946262</c:v>
                </c:pt>
                <c:pt idx="382">
                  <c:v>0.96929249536877216</c:v>
                </c:pt>
                <c:pt idx="383">
                  <c:v>0.9694447757488045</c:v>
                </c:pt>
                <c:pt idx="384">
                  <c:v>0.96959583366507962</c:v>
                </c:pt>
                <c:pt idx="385">
                  <c:v>0.96974581066603249</c:v>
                </c:pt>
                <c:pt idx="386">
                  <c:v>0.96989476251316797</c:v>
                </c:pt>
                <c:pt idx="387">
                  <c:v>0.97004239324157626</c:v>
                </c:pt>
                <c:pt idx="388">
                  <c:v>0.97018893018662289</c:v>
                </c:pt>
                <c:pt idx="389">
                  <c:v>0.97033528697911575</c:v>
                </c:pt>
                <c:pt idx="390">
                  <c:v>0.97048110760329409</c:v>
                </c:pt>
                <c:pt idx="391">
                  <c:v>0.97062636632307875</c:v>
                </c:pt>
                <c:pt idx="392">
                  <c:v>0.97077143202227012</c:v>
                </c:pt>
                <c:pt idx="393">
                  <c:v>0.9709151851814275</c:v>
                </c:pt>
                <c:pt idx="394">
                  <c:v>0.97105867669044732</c:v>
                </c:pt>
                <c:pt idx="395">
                  <c:v>0.97134259282572755</c:v>
                </c:pt>
                <c:pt idx="396">
                  <c:v>0.97148302603068104</c:v>
                </c:pt>
                <c:pt idx="397">
                  <c:v>0.97162334342327861</c:v>
                </c:pt>
                <c:pt idx="398">
                  <c:v>0.97176292304827527</c:v>
                </c:pt>
                <c:pt idx="399">
                  <c:v>0.97190169627612688</c:v>
                </c:pt>
                <c:pt idx="400">
                  <c:v>0.97204015638168273</c:v>
                </c:pt>
                <c:pt idx="401">
                  <c:v>0.97217762564819321</c:v>
                </c:pt>
                <c:pt idx="402">
                  <c:v>0.97231504773189203</c:v>
                </c:pt>
                <c:pt idx="403">
                  <c:v>0.97245235829258148</c:v>
                </c:pt>
                <c:pt idx="404">
                  <c:v>0.97258927852273791</c:v>
                </c:pt>
                <c:pt idx="405">
                  <c:v>0.97272488621286024</c:v>
                </c:pt>
                <c:pt idx="406">
                  <c:v>0.9728601893593799</c:v>
                </c:pt>
                <c:pt idx="407">
                  <c:v>0.97299289745125694</c:v>
                </c:pt>
                <c:pt idx="408">
                  <c:v>0.97312537391842213</c:v>
                </c:pt>
                <c:pt idx="409">
                  <c:v>0.9733877832702682</c:v>
                </c:pt>
                <c:pt idx="410">
                  <c:v>0.97351851397340117</c:v>
                </c:pt>
                <c:pt idx="411">
                  <c:v>0.97364878142711031</c:v>
                </c:pt>
                <c:pt idx="412">
                  <c:v>0.97377877865198892</c:v>
                </c:pt>
                <c:pt idx="413">
                  <c:v>0.97390855283084865</c:v>
                </c:pt>
                <c:pt idx="414">
                  <c:v>0.97403754634864237</c:v>
                </c:pt>
                <c:pt idx="415">
                  <c:v>0.97416615811459606</c:v>
                </c:pt>
                <c:pt idx="416">
                  <c:v>0.97429405784902801</c:v>
                </c:pt>
                <c:pt idx="417">
                  <c:v>0.97441992014386458</c:v>
                </c:pt>
                <c:pt idx="418">
                  <c:v>0.97454519050888189</c:v>
                </c:pt>
                <c:pt idx="419">
                  <c:v>0.97466973597433793</c:v>
                </c:pt>
                <c:pt idx="420">
                  <c:v>0.97479318765643219</c:v>
                </c:pt>
                <c:pt idx="421">
                  <c:v>0.97491510375247348</c:v>
                </c:pt>
                <c:pt idx="422">
                  <c:v>0.97503689116811931</c:v>
                </c:pt>
                <c:pt idx="423">
                  <c:v>0.97515706150012837</c:v>
                </c:pt>
                <c:pt idx="424">
                  <c:v>0.97527652837930867</c:v>
                </c:pt>
                <c:pt idx="425">
                  <c:v>0.97539461408891071</c:v>
                </c:pt>
                <c:pt idx="426">
                  <c:v>0.9755126654837406</c:v>
                </c:pt>
                <c:pt idx="427">
                  <c:v>0.97563064395967969</c:v>
                </c:pt>
                <c:pt idx="428">
                  <c:v>0.97574856238476748</c:v>
                </c:pt>
                <c:pt idx="429">
                  <c:v>0.97586617626625261</c:v>
                </c:pt>
                <c:pt idx="430">
                  <c:v>0.97598357568041194</c:v>
                </c:pt>
                <c:pt idx="431">
                  <c:v>0.9760998083923188</c:v>
                </c:pt>
                <c:pt idx="432">
                  <c:v>0.97621461704118206</c:v>
                </c:pt>
                <c:pt idx="433">
                  <c:v>0.97632903964885887</c:v>
                </c:pt>
                <c:pt idx="434">
                  <c:v>0.97644333786548665</c:v>
                </c:pt>
                <c:pt idx="435">
                  <c:v>0.97655728864504665</c:v>
                </c:pt>
                <c:pt idx="436">
                  <c:v>0.9766708962768853</c:v>
                </c:pt>
                <c:pt idx="437">
                  <c:v>0.97678360314595547</c:v>
                </c:pt>
                <c:pt idx="438">
                  <c:v>0.97678360314595547</c:v>
                </c:pt>
                <c:pt idx="439">
                  <c:v>0.976895250546436</c:v>
                </c:pt>
                <c:pt idx="440">
                  <c:v>0.97700630172775071</c:v>
                </c:pt>
                <c:pt idx="441">
                  <c:v>0.97711683818748352</c:v>
                </c:pt>
                <c:pt idx="442">
                  <c:v>0.97722732746440466</c:v>
                </c:pt>
                <c:pt idx="443">
                  <c:v>0.97733735349190198</c:v>
                </c:pt>
                <c:pt idx="444">
                  <c:v>0.9774462514212654</c:v>
                </c:pt>
                <c:pt idx="445">
                  <c:v>0.97755514077193584</c:v>
                </c:pt>
                <c:pt idx="446">
                  <c:v>0.97766401725456664</c:v>
                </c:pt>
                <c:pt idx="447">
                  <c:v>0.9777720272892011</c:v>
                </c:pt>
                <c:pt idx="448">
                  <c:v>0.97787968559742122</c:v>
                </c:pt>
                <c:pt idx="449">
                  <c:v>0.97798637022398205</c:v>
                </c:pt>
                <c:pt idx="450">
                  <c:v>0.978092175534507</c:v>
                </c:pt>
                <c:pt idx="451">
                  <c:v>0.9781978221392108</c:v>
                </c:pt>
                <c:pt idx="452">
                  <c:v>0.97830294115429317</c:v>
                </c:pt>
                <c:pt idx="453">
                  <c:v>0.97840801727591031</c:v>
                </c:pt>
                <c:pt idx="454">
                  <c:v>0.97851276311784563</c:v>
                </c:pt>
                <c:pt idx="455">
                  <c:v>0.97871713761132206</c:v>
                </c:pt>
                <c:pt idx="456">
                  <c:v>0.97881881657049807</c:v>
                </c:pt>
                <c:pt idx="457">
                  <c:v>0.97902056169455987</c:v>
                </c:pt>
                <c:pt idx="458">
                  <c:v>0.97912045628558497</c:v>
                </c:pt>
                <c:pt idx="459">
                  <c:v>0.97912045628558497</c:v>
                </c:pt>
                <c:pt idx="460">
                  <c:v>0.97922003775431432</c:v>
                </c:pt>
                <c:pt idx="461">
                  <c:v>0.97931957204023201</c:v>
                </c:pt>
                <c:pt idx="462">
                  <c:v>0.97941872028496324</c:v>
                </c:pt>
                <c:pt idx="463">
                  <c:v>0.97951721225967736</c:v>
                </c:pt>
                <c:pt idx="464">
                  <c:v>0.97961565705157982</c:v>
                </c:pt>
                <c:pt idx="465">
                  <c:v>0.97971332118241627</c:v>
                </c:pt>
                <c:pt idx="466">
                  <c:v>0.97981022180957278</c:v>
                </c:pt>
                <c:pt idx="467">
                  <c:v>0.97990648332409835</c:v>
                </c:pt>
                <c:pt idx="468">
                  <c:v>0.98000244887371424</c:v>
                </c:pt>
                <c:pt idx="469">
                  <c:v>0.98009771097050136</c:v>
                </c:pt>
                <c:pt idx="470">
                  <c:v>0.98019281436146743</c:v>
                </c:pt>
                <c:pt idx="471">
                  <c:v>0.98028752742190051</c:v>
                </c:pt>
                <c:pt idx="472">
                  <c:v>0.98038061053065728</c:v>
                </c:pt>
                <c:pt idx="473">
                  <c:v>0.98047334620234616</c:v>
                </c:pt>
                <c:pt idx="474">
                  <c:v>0.98056590172148139</c:v>
                </c:pt>
                <c:pt idx="475">
                  <c:v>0.98065786960014378</c:v>
                </c:pt>
                <c:pt idx="476">
                  <c:v>0.9807497688492619</c:v>
                </c:pt>
                <c:pt idx="477">
                  <c:v>0.98084118769157025</c:v>
                </c:pt>
                <c:pt idx="478">
                  <c:v>0.98093223336073154</c:v>
                </c:pt>
                <c:pt idx="479">
                  <c:v>0.9810229058567459</c:v>
                </c:pt>
                <c:pt idx="480">
                  <c:v>0.98120322998430376</c:v>
                </c:pt>
                <c:pt idx="481">
                  <c:v>0.9812928344330355</c:v>
                </c:pt>
                <c:pt idx="482">
                  <c:v>0.98138180405848285</c:v>
                </c:pt>
                <c:pt idx="483">
                  <c:v>0.9814703833533972</c:v>
                </c:pt>
                <c:pt idx="484">
                  <c:v>0.98155866668340186</c:v>
                </c:pt>
                <c:pt idx="485">
                  <c:v>0.98164490399511806</c:v>
                </c:pt>
                <c:pt idx="486">
                  <c:v>0.98173029630557052</c:v>
                </c:pt>
                <c:pt idx="487">
                  <c:v>0.98181510955424323</c:v>
                </c:pt>
                <c:pt idx="488">
                  <c:v>0.98189906064426613</c:v>
                </c:pt>
                <c:pt idx="489">
                  <c:v>0.98198275866284457</c:v>
                </c:pt>
                <c:pt idx="490">
                  <c:v>0.98206484817647921</c:v>
                </c:pt>
                <c:pt idx="491">
                  <c:v>0.98214594256172205</c:v>
                </c:pt>
                <c:pt idx="492">
                  <c:v>0.98222700263219276</c:v>
                </c:pt>
                <c:pt idx="493">
                  <c:v>0.98230661290354082</c:v>
                </c:pt>
                <c:pt idx="494">
                  <c:v>0.9823861631240377</c:v>
                </c:pt>
                <c:pt idx="495">
                  <c:v>0.98246474395222183</c:v>
                </c:pt>
                <c:pt idx="496">
                  <c:v>0.98254312318111969</c:v>
                </c:pt>
                <c:pt idx="497">
                  <c:v>0.98262087616542615</c:v>
                </c:pt>
                <c:pt idx="498">
                  <c:v>0.98269844041848586</c:v>
                </c:pt>
                <c:pt idx="499">
                  <c:v>0.98277599180350594</c:v>
                </c:pt>
                <c:pt idx="500">
                  <c:v>0.98285317430472563</c:v>
                </c:pt>
                <c:pt idx="501">
                  <c:v>0.98293030104444057</c:v>
                </c:pt>
                <c:pt idx="502">
                  <c:v>0.98300732912918565</c:v>
                </c:pt>
                <c:pt idx="503">
                  <c:v>0.9830836065782903</c:v>
                </c:pt>
                <c:pt idx="504">
                  <c:v>0.98315985829131591</c:v>
                </c:pt>
                <c:pt idx="505">
                  <c:v>0.98323591698374824</c:v>
                </c:pt>
                <c:pt idx="506">
                  <c:v>0.9833103285671182</c:v>
                </c:pt>
                <c:pt idx="507">
                  <c:v>0.98338305443730711</c:v>
                </c:pt>
                <c:pt idx="508">
                  <c:v>0.9834553771089235</c:v>
                </c:pt>
                <c:pt idx="509">
                  <c:v>0.98352757538949087</c:v>
                </c:pt>
                <c:pt idx="510">
                  <c:v>0.98359964498966279</c:v>
                </c:pt>
                <c:pt idx="511">
                  <c:v>0.9836704320752262</c:v>
                </c:pt>
                <c:pt idx="512">
                  <c:v>0.98374100469346382</c:v>
                </c:pt>
                <c:pt idx="513">
                  <c:v>0.98381150439281062</c:v>
                </c:pt>
                <c:pt idx="514">
                  <c:v>0.98388173815267344</c:v>
                </c:pt>
                <c:pt idx="515">
                  <c:v>0.98395165879024049</c:v>
                </c:pt>
                <c:pt idx="516">
                  <c:v>0.98402088455367187</c:v>
                </c:pt>
                <c:pt idx="517">
                  <c:v>0.98408996876866828</c:v>
                </c:pt>
                <c:pt idx="518">
                  <c:v>0.98415839671364758</c:v>
                </c:pt>
                <c:pt idx="519">
                  <c:v>0.98422667024215227</c:v>
                </c:pt>
                <c:pt idx="520">
                  <c:v>0.98429477219679629</c:v>
                </c:pt>
                <c:pt idx="521">
                  <c:v>0.98436255245045157</c:v>
                </c:pt>
                <c:pt idx="522">
                  <c:v>0.98443006247527631</c:v>
                </c:pt>
                <c:pt idx="523">
                  <c:v>0.98456278772453942</c:v>
                </c:pt>
                <c:pt idx="524">
                  <c:v>0.98462875358461821</c:v>
                </c:pt>
                <c:pt idx="525">
                  <c:v>0.98469365568676093</c:v>
                </c:pt>
                <c:pt idx="526">
                  <c:v>0.98475809882882637</c:v>
                </c:pt>
                <c:pt idx="527">
                  <c:v>0.98482234466095198</c:v>
                </c:pt>
                <c:pt idx="528">
                  <c:v>0.98488639747248441</c:v>
                </c:pt>
                <c:pt idx="529">
                  <c:v>0.98495035591839342</c:v>
                </c:pt>
                <c:pt idx="530">
                  <c:v>0.9850142500241047</c:v>
                </c:pt>
                <c:pt idx="531">
                  <c:v>0.98507786103294592</c:v>
                </c:pt>
                <c:pt idx="532">
                  <c:v>0.98514098305628417</c:v>
                </c:pt>
                <c:pt idx="533">
                  <c:v>0.98520396782053388</c:v>
                </c:pt>
                <c:pt idx="534">
                  <c:v>0.98526684964046718</c:v>
                </c:pt>
                <c:pt idx="535">
                  <c:v>0.98532961564804455</c:v>
                </c:pt>
                <c:pt idx="536">
                  <c:v>0.98539218005633566</c:v>
                </c:pt>
                <c:pt idx="537">
                  <c:v>0.98545467583508251</c:v>
                </c:pt>
                <c:pt idx="538">
                  <c:v>0.98551702577604783</c:v>
                </c:pt>
                <c:pt idx="539">
                  <c:v>0.98557911835622214</c:v>
                </c:pt>
                <c:pt idx="540">
                  <c:v>0.98564095786495198</c:v>
                </c:pt>
                <c:pt idx="541">
                  <c:v>0.98570264724655376</c:v>
                </c:pt>
                <c:pt idx="542">
                  <c:v>0.9858241987481412</c:v>
                </c:pt>
                <c:pt idx="543">
                  <c:v>0.98588464421925315</c:v>
                </c:pt>
                <c:pt idx="544">
                  <c:v>0.98594487093369276</c:v>
                </c:pt>
                <c:pt idx="545">
                  <c:v>0.98600489175949957</c:v>
                </c:pt>
                <c:pt idx="546">
                  <c:v>0.98606464235647584</c:v>
                </c:pt>
                <c:pt idx="547">
                  <c:v>0.98612435434933343</c:v>
                </c:pt>
                <c:pt idx="548">
                  <c:v>0.98618389905767689</c:v>
                </c:pt>
                <c:pt idx="549">
                  <c:v>0.98624312635437805</c:v>
                </c:pt>
                <c:pt idx="550">
                  <c:v>0.9863608346014866</c:v>
                </c:pt>
                <c:pt idx="551">
                  <c:v>0.98647629952036697</c:v>
                </c:pt>
                <c:pt idx="552">
                  <c:v>0.98653245993430883</c:v>
                </c:pt>
                <c:pt idx="553">
                  <c:v>0.98664281624148786</c:v>
                </c:pt>
                <c:pt idx="554">
                  <c:v>0.98669716655119966</c:v>
                </c:pt>
                <c:pt idx="555">
                  <c:v>0.98675143107398111</c:v>
                </c:pt>
                <c:pt idx="556">
                  <c:v>0.98680538247446692</c:v>
                </c:pt>
                <c:pt idx="557">
                  <c:v>0.98685853605650065</c:v>
                </c:pt>
                <c:pt idx="558">
                  <c:v>0.98691124354649662</c:v>
                </c:pt>
                <c:pt idx="559">
                  <c:v>0.98696387382825534</c:v>
                </c:pt>
                <c:pt idx="560">
                  <c:v>0.98701563337267118</c:v>
                </c:pt>
                <c:pt idx="561">
                  <c:v>0.98706656936255577</c:v>
                </c:pt>
                <c:pt idx="562">
                  <c:v>0.98711614134024817</c:v>
                </c:pt>
                <c:pt idx="563">
                  <c:v>0.98716526722590281</c:v>
                </c:pt>
                <c:pt idx="564">
                  <c:v>0.98721391699409411</c:v>
                </c:pt>
                <c:pt idx="565">
                  <c:v>0.98726161881670527</c:v>
                </c:pt>
                <c:pt idx="566">
                  <c:v>0.98730874586688311</c:v>
                </c:pt>
                <c:pt idx="567">
                  <c:v>0.9873555083226071</c:v>
                </c:pt>
                <c:pt idx="568">
                  <c:v>0.98740206917904483</c:v>
                </c:pt>
                <c:pt idx="569">
                  <c:v>0.98744862574613601</c:v>
                </c:pt>
                <c:pt idx="570">
                  <c:v>0.98749512655172245</c:v>
                </c:pt>
                <c:pt idx="571">
                  <c:v>0.98754151154495295</c:v>
                </c:pt>
                <c:pt idx="572">
                  <c:v>0.98758787509145085</c:v>
                </c:pt>
                <c:pt idx="573">
                  <c:v>0.98763420861252316</c:v>
                </c:pt>
                <c:pt idx="574">
                  <c:v>0.98768047350405119</c:v>
                </c:pt>
                <c:pt idx="575">
                  <c:v>0.98772661829387676</c:v>
                </c:pt>
                <c:pt idx="576">
                  <c:v>0.98777266013938592</c:v>
                </c:pt>
                <c:pt idx="577">
                  <c:v>0.98781869769554853</c:v>
                </c:pt>
                <c:pt idx="578">
                  <c:v>0.98786453365242488</c:v>
                </c:pt>
                <c:pt idx="579">
                  <c:v>0.98791036103060825</c:v>
                </c:pt>
                <c:pt idx="580">
                  <c:v>0.9879561455153264</c:v>
                </c:pt>
                <c:pt idx="581">
                  <c:v>0.98800159114166974</c:v>
                </c:pt>
                <c:pt idx="582">
                  <c:v>0.98804695527042929</c:v>
                </c:pt>
                <c:pt idx="583">
                  <c:v>0.98809218214010031</c:v>
                </c:pt>
                <c:pt idx="584">
                  <c:v>0.98813740472042477</c:v>
                </c:pt>
                <c:pt idx="585">
                  <c:v>0.98818216405132553</c:v>
                </c:pt>
                <c:pt idx="586">
                  <c:v>0.98822617703593241</c:v>
                </c:pt>
                <c:pt idx="587">
                  <c:v>0.98827006134014372</c:v>
                </c:pt>
                <c:pt idx="588">
                  <c:v>0.98831389417219684</c:v>
                </c:pt>
                <c:pt idx="589">
                  <c:v>0.98835756400908237</c:v>
                </c:pt>
                <c:pt idx="590">
                  <c:v>0.98840120810988874</c:v>
                </c:pt>
                <c:pt idx="591">
                  <c:v>0.98848768991435643</c:v>
                </c:pt>
                <c:pt idx="592">
                  <c:v>0.98853074637469007</c:v>
                </c:pt>
                <c:pt idx="593">
                  <c:v>0.98857363555050959</c:v>
                </c:pt>
                <c:pt idx="594">
                  <c:v>0.98861640891397318</c:v>
                </c:pt>
                <c:pt idx="595">
                  <c:v>0.98870133797500193</c:v>
                </c:pt>
                <c:pt idx="596">
                  <c:v>0.98874344648975543</c:v>
                </c:pt>
                <c:pt idx="597">
                  <c:v>0.98878541345607385</c:v>
                </c:pt>
                <c:pt idx="598">
                  <c:v>0.98882708874682912</c:v>
                </c:pt>
                <c:pt idx="599">
                  <c:v>0.98891009618061831</c:v>
                </c:pt>
                <c:pt idx="600">
                  <c:v>0.98903309319198174</c:v>
                </c:pt>
                <c:pt idx="601">
                  <c:v>0.98907379051173128</c:v>
                </c:pt>
                <c:pt idx="602">
                  <c:v>0.98911421760265028</c:v>
                </c:pt>
                <c:pt idx="603">
                  <c:v>0.98915425007368973</c:v>
                </c:pt>
                <c:pt idx="604">
                  <c:v>0.98919416673237326</c:v>
                </c:pt>
                <c:pt idx="605">
                  <c:v>0.98923376597941448</c:v>
                </c:pt>
                <c:pt idx="606">
                  <c:v>0.98927336093710916</c:v>
                </c:pt>
                <c:pt idx="607">
                  <c:v>0.98931229533544029</c:v>
                </c:pt>
                <c:pt idx="608">
                  <c:v>0.98935107960664337</c:v>
                </c:pt>
                <c:pt idx="609">
                  <c:v>0.98938948641535296</c:v>
                </c:pt>
                <c:pt idx="610">
                  <c:v>0.98942761870588558</c:v>
                </c:pt>
                <c:pt idx="611">
                  <c:v>0.9894655965799436</c:v>
                </c:pt>
                <c:pt idx="612">
                  <c:v>0.98950357016465507</c:v>
                </c:pt>
                <c:pt idx="613">
                  <c:v>0.98954138933289193</c:v>
                </c:pt>
                <c:pt idx="614">
                  <c:v>0.98957894685099124</c:v>
                </c:pt>
                <c:pt idx="615">
                  <c:v>0.98961633708457641</c:v>
                </c:pt>
                <c:pt idx="616">
                  <c:v>0.98965371016077552</c:v>
                </c:pt>
                <c:pt idx="617">
                  <c:v>0.98969086019095576</c:v>
                </c:pt>
                <c:pt idx="618">
                  <c:v>0.98972771425622641</c:v>
                </c:pt>
                <c:pt idx="619">
                  <c:v>0.989764418194369</c:v>
                </c:pt>
                <c:pt idx="620">
                  <c:v>0.98980107066035339</c:v>
                </c:pt>
                <c:pt idx="621">
                  <c:v>0.98987302444816938</c:v>
                </c:pt>
                <c:pt idx="622">
                  <c:v>0.98990821853633804</c:v>
                </c:pt>
                <c:pt idx="623">
                  <c:v>0.98994331825888338</c:v>
                </c:pt>
                <c:pt idx="624">
                  <c:v>0.98997838795600313</c:v>
                </c:pt>
                <c:pt idx="625">
                  <c:v>0.99001334184076695</c:v>
                </c:pt>
                <c:pt idx="626">
                  <c:v>0.99004811557297701</c:v>
                </c:pt>
                <c:pt idx="627">
                  <c:v>0.99008288072649409</c:v>
                </c:pt>
                <c:pt idx="628">
                  <c:v>0.99018587222570409</c:v>
                </c:pt>
                <c:pt idx="629">
                  <c:v>0.99021990390096681</c:v>
                </c:pt>
                <c:pt idx="630">
                  <c:v>0.99025357098177558</c:v>
                </c:pt>
                <c:pt idx="631">
                  <c:v>0.99028719516911923</c:v>
                </c:pt>
                <c:pt idx="632">
                  <c:v>0.99035407037065959</c:v>
                </c:pt>
                <c:pt idx="633">
                  <c:v>0.99038736856766796</c:v>
                </c:pt>
                <c:pt idx="634">
                  <c:v>0.99042048661212267</c:v>
                </c:pt>
                <c:pt idx="635">
                  <c:v>0.99045309851368835</c:v>
                </c:pt>
                <c:pt idx="636">
                  <c:v>0.99048571041525402</c:v>
                </c:pt>
                <c:pt idx="637">
                  <c:v>0.99051830944878017</c:v>
                </c:pt>
                <c:pt idx="638">
                  <c:v>0.99055089561426679</c:v>
                </c:pt>
                <c:pt idx="639">
                  <c:v>0.99067849938378916</c:v>
                </c:pt>
                <c:pt idx="640">
                  <c:v>0.99071024483735848</c:v>
                </c:pt>
                <c:pt idx="641">
                  <c:v>0.99074198171223482</c:v>
                </c:pt>
                <c:pt idx="642">
                  <c:v>0.99077349983043883</c:v>
                </c:pt>
                <c:pt idx="643">
                  <c:v>0.99080440457209096</c:v>
                </c:pt>
                <c:pt idx="644">
                  <c:v>0.99083526213093143</c:v>
                </c:pt>
                <c:pt idx="645">
                  <c:v>0.99086609395369274</c:v>
                </c:pt>
                <c:pt idx="646">
                  <c:v>0.99089674991324683</c:v>
                </c:pt>
                <c:pt idx="647">
                  <c:v>0.99092735440064272</c:v>
                </c:pt>
                <c:pt idx="648">
                  <c:v>0.99095783020764316</c:v>
                </c:pt>
                <c:pt idx="649">
                  <c:v>0.9910184172271902</c:v>
                </c:pt>
                <c:pt idx="650">
                  <c:v>0.99107842089561093</c:v>
                </c:pt>
                <c:pt idx="651">
                  <c:v>0.99110829619409901</c:v>
                </c:pt>
                <c:pt idx="652">
                  <c:v>0.99113775971532159</c:v>
                </c:pt>
                <c:pt idx="653">
                  <c:v>0.99116721465785107</c:v>
                </c:pt>
                <c:pt idx="654">
                  <c:v>0.99119655378802463</c:v>
                </c:pt>
                <c:pt idx="655">
                  <c:v>0.99122588862885164</c:v>
                </c:pt>
                <c:pt idx="656">
                  <c:v>0.99125497039823418</c:v>
                </c:pt>
                <c:pt idx="657">
                  <c:v>0.9912837519133606</c:v>
                </c:pt>
                <c:pt idx="658">
                  <c:v>0.99134106187216897</c:v>
                </c:pt>
                <c:pt idx="659">
                  <c:v>0.99136970612820685</c:v>
                </c:pt>
                <c:pt idx="660">
                  <c:v>0.9913982560186213</c:v>
                </c:pt>
                <c:pt idx="661">
                  <c:v>0.99145490970741257</c:v>
                </c:pt>
                <c:pt idx="662">
                  <c:v>0.99148311216075924</c:v>
                </c:pt>
                <c:pt idx="663">
                  <c:v>0.99151118164436391</c:v>
                </c:pt>
                <c:pt idx="664">
                  <c:v>0.99153908384345435</c:v>
                </c:pt>
                <c:pt idx="665">
                  <c:v>0.99162199691162023</c:v>
                </c:pt>
                <c:pt idx="666">
                  <c:v>0.99164940154651482</c:v>
                </c:pt>
                <c:pt idx="667">
                  <c:v>0.99170376901361279</c:v>
                </c:pt>
                <c:pt idx="668">
                  <c:v>0.99173085623686508</c:v>
                </c:pt>
                <c:pt idx="669">
                  <c:v>0.99175784051580096</c:v>
                </c:pt>
                <c:pt idx="670">
                  <c:v>0.99183842446880832</c:v>
                </c:pt>
                <c:pt idx="671">
                  <c:v>0.99186487257942968</c:v>
                </c:pt>
                <c:pt idx="672">
                  <c:v>0.99189130782201151</c:v>
                </c:pt>
                <c:pt idx="673">
                  <c:v>0.99194402389070058</c:v>
                </c:pt>
                <c:pt idx="674">
                  <c:v>0.99199571480557214</c:v>
                </c:pt>
                <c:pt idx="675">
                  <c:v>0.99202145088467175</c:v>
                </c:pt>
                <c:pt idx="676">
                  <c:v>0.99204707973010842</c:v>
                </c:pt>
                <c:pt idx="677">
                  <c:v>0.99207265281404033</c:v>
                </c:pt>
                <c:pt idx="678">
                  <c:v>0.992098148689735</c:v>
                </c:pt>
                <c:pt idx="679">
                  <c:v>0.99212361882935063</c:v>
                </c:pt>
                <c:pt idx="680">
                  <c:v>0.99214907181158019</c:v>
                </c:pt>
                <c:pt idx="681">
                  <c:v>0.99217437895602811</c:v>
                </c:pt>
                <c:pt idx="682">
                  <c:v>0.992224851696489</c:v>
                </c:pt>
                <c:pt idx="683">
                  <c:v>0.99224981998256212</c:v>
                </c:pt>
                <c:pt idx="684">
                  <c:v>0.99227478826863524</c:v>
                </c:pt>
                <c:pt idx="685">
                  <c:v>0.99229966647843149</c:v>
                </c:pt>
                <c:pt idx="686">
                  <c:v>0.9923987418042719</c:v>
                </c:pt>
                <c:pt idx="687">
                  <c:v>0.99242328973438643</c:v>
                </c:pt>
                <c:pt idx="688">
                  <c:v>0.9924474430446214</c:v>
                </c:pt>
                <c:pt idx="689">
                  <c:v>0.99251964990388186</c:v>
                </c:pt>
                <c:pt idx="690">
                  <c:v>0.99254363592960271</c:v>
                </c:pt>
                <c:pt idx="691">
                  <c:v>0.99256758335120487</c:v>
                </c:pt>
                <c:pt idx="692">
                  <c:v>0.99259135919894637</c:v>
                </c:pt>
                <c:pt idx="693">
                  <c:v>0.99263871787383617</c:v>
                </c:pt>
                <c:pt idx="694">
                  <c:v>0.99268566048211382</c:v>
                </c:pt>
                <c:pt idx="695">
                  <c:v>0.99270885726807556</c:v>
                </c:pt>
                <c:pt idx="696">
                  <c:v>0.99273201116057219</c:v>
                </c:pt>
                <c:pt idx="697">
                  <c:v>0.9927551007128711</c:v>
                </c:pt>
                <c:pt idx="698">
                  <c:v>0.9927781387930118</c:v>
                </c:pt>
                <c:pt idx="699">
                  <c:v>0.99280115542641989</c:v>
                </c:pt>
                <c:pt idx="700">
                  <c:v>0.99282416777048144</c:v>
                </c:pt>
                <c:pt idx="701">
                  <c:v>0.99284715437846394</c:v>
                </c:pt>
                <c:pt idx="702">
                  <c:v>0.9928700551995161</c:v>
                </c:pt>
                <c:pt idx="703">
                  <c:v>0.99289284020821222</c:v>
                </c:pt>
                <c:pt idx="704">
                  <c:v>0.99293826438782307</c:v>
                </c:pt>
                <c:pt idx="705">
                  <c:v>0.99296071911683748</c:v>
                </c:pt>
                <c:pt idx="706">
                  <c:v>0.99298308805892155</c:v>
                </c:pt>
                <c:pt idx="707">
                  <c:v>0.99300537979276837</c:v>
                </c:pt>
                <c:pt idx="708">
                  <c:v>0.99304947427495904</c:v>
                </c:pt>
                <c:pt idx="709">
                  <c:v>0.99307139283565882</c:v>
                </c:pt>
                <c:pt idx="710">
                  <c:v>0.99311458226573446</c:v>
                </c:pt>
                <c:pt idx="711">
                  <c:v>0.99313609333851516</c:v>
                </c:pt>
                <c:pt idx="712">
                  <c:v>0.99315753149240515</c:v>
                </c:pt>
                <c:pt idx="713">
                  <c:v>0.99320036919606647</c:v>
                </c:pt>
                <c:pt idx="714">
                  <c:v>0.99322175587779826</c:v>
                </c:pt>
                <c:pt idx="715">
                  <c:v>0.99324312111279744</c:v>
                </c:pt>
                <c:pt idx="716">
                  <c:v>0.99326443058629188</c:v>
                </c:pt>
                <c:pt idx="717">
                  <c:v>0.99328564140481646</c:v>
                </c:pt>
                <c:pt idx="718">
                  <c:v>0.9933280115697074</c:v>
                </c:pt>
                <c:pt idx="719">
                  <c:v>0.99334909799718296</c:v>
                </c:pt>
                <c:pt idx="720">
                  <c:v>0.99336999998275832</c:v>
                </c:pt>
                <c:pt idx="721">
                  <c:v>0.99339087194290809</c:v>
                </c:pt>
                <c:pt idx="722">
                  <c:v>0.99341166240547407</c:v>
                </c:pt>
                <c:pt idx="723">
                  <c:v>0.99343244857869351</c:v>
                </c:pt>
                <c:pt idx="724">
                  <c:v>0.99345314038628962</c:v>
                </c:pt>
                <c:pt idx="725">
                  <c:v>0.99349424948330478</c:v>
                </c:pt>
                <c:pt idx="726">
                  <c:v>0.99351473969161452</c:v>
                </c:pt>
                <c:pt idx="727">
                  <c:v>0.99357608592549496</c:v>
                </c:pt>
                <c:pt idx="728">
                  <c:v>0.99359640884929057</c:v>
                </c:pt>
                <c:pt idx="729">
                  <c:v>0.99363692601648645</c:v>
                </c:pt>
                <c:pt idx="730">
                  <c:v>0.99367722871635644</c:v>
                </c:pt>
                <c:pt idx="731">
                  <c:v>0.99369735004086579</c:v>
                </c:pt>
                <c:pt idx="732">
                  <c:v>0.9937371423085003</c:v>
                </c:pt>
                <c:pt idx="733">
                  <c:v>0.99375687759182318</c:v>
                </c:pt>
                <c:pt idx="734">
                  <c:v>0.99379608221898497</c:v>
                </c:pt>
                <c:pt idx="735">
                  <c:v>0.99381564592844718</c:v>
                </c:pt>
                <c:pt idx="736">
                  <c:v>0.99383520534856284</c:v>
                </c:pt>
                <c:pt idx="737">
                  <c:v>0.99385466611370865</c:v>
                </c:pt>
                <c:pt idx="738">
                  <c:v>0.99387375799505406</c:v>
                </c:pt>
                <c:pt idx="739">
                  <c:v>0.99391119541145101</c:v>
                </c:pt>
                <c:pt idx="740">
                  <c:v>0.99394825965470091</c:v>
                </c:pt>
                <c:pt idx="741">
                  <c:v>0.99396661805779196</c:v>
                </c:pt>
                <c:pt idx="742">
                  <c:v>0.99403937395340658</c:v>
                </c:pt>
                <c:pt idx="743">
                  <c:v>0.99405733344727154</c:v>
                </c:pt>
                <c:pt idx="744">
                  <c:v>0.99407506989511774</c:v>
                </c:pt>
                <c:pt idx="745">
                  <c:v>0.99409276773884525</c:v>
                </c:pt>
                <c:pt idx="746">
                  <c:v>0.99412812911152815</c:v>
                </c:pt>
                <c:pt idx="747">
                  <c:v>0.99414575403636485</c:v>
                </c:pt>
                <c:pt idx="748">
                  <c:v>0.99416334893577596</c:v>
                </c:pt>
                <c:pt idx="749">
                  <c:v>0.99418086233760328</c:v>
                </c:pt>
                <c:pt idx="750">
                  <c:v>0.99419820845491635</c:v>
                </c:pt>
                <c:pt idx="751">
                  <c:v>0.99421554599353645</c:v>
                </c:pt>
                <c:pt idx="752">
                  <c:v>0.99423259185659341</c:v>
                </c:pt>
                <c:pt idx="753">
                  <c:v>0.99424961198357131</c:v>
                </c:pt>
                <c:pt idx="754">
                  <c:v>0.99426643908995593</c:v>
                </c:pt>
                <c:pt idx="755">
                  <c:v>0.99431671452047699</c:v>
                </c:pt>
                <c:pt idx="756">
                  <c:v>0.99436673259020703</c:v>
                </c:pt>
                <c:pt idx="757">
                  <c:v>0.99438332378253325</c:v>
                </c:pt>
                <c:pt idx="758">
                  <c:v>0.99443281426264174</c:v>
                </c:pt>
                <c:pt idx="759">
                  <c:v>0.99444906230724661</c:v>
                </c:pt>
                <c:pt idx="760">
                  <c:v>0.99446529748381196</c:v>
                </c:pt>
                <c:pt idx="761">
                  <c:v>0.9944815112136447</c:v>
                </c:pt>
                <c:pt idx="762">
                  <c:v>0.99449770778609137</c:v>
                </c:pt>
                <c:pt idx="763">
                  <c:v>0.99453006661621268</c:v>
                </c:pt>
                <c:pt idx="764">
                  <c:v>0.99454609590414522</c:v>
                </c:pt>
                <c:pt idx="765">
                  <c:v>0.9945781030078521</c:v>
                </c:pt>
                <c:pt idx="766">
                  <c:v>0.99464161965107001</c:v>
                </c:pt>
                <c:pt idx="767">
                  <c:v>0.99465734439539988</c:v>
                </c:pt>
                <c:pt idx="768">
                  <c:v>0.99468851078718945</c:v>
                </c:pt>
                <c:pt idx="769">
                  <c:v>0.99473478425741058</c:v>
                </c:pt>
                <c:pt idx="770">
                  <c:v>0.99476536300872742</c:v>
                </c:pt>
                <c:pt idx="771">
                  <c:v>0.9947805558740892</c:v>
                </c:pt>
                <c:pt idx="772">
                  <c:v>0.99479562863774851</c:v>
                </c:pt>
                <c:pt idx="773">
                  <c:v>0.99482574413964153</c:v>
                </c:pt>
                <c:pt idx="774">
                  <c:v>0.9948554435749225</c:v>
                </c:pt>
                <c:pt idx="775">
                  <c:v>0.99487016890151403</c:v>
                </c:pt>
                <c:pt idx="776">
                  <c:v>0.99488488993875901</c:v>
                </c:pt>
                <c:pt idx="777">
                  <c:v>0.99495794179928332</c:v>
                </c:pt>
                <c:pt idx="778">
                  <c:v>0.99497243121181644</c:v>
                </c:pt>
                <c:pt idx="779">
                  <c:v>0.99498690775630994</c:v>
                </c:pt>
                <c:pt idx="780">
                  <c:v>0.99500133282864522</c:v>
                </c:pt>
                <c:pt idx="781">
                  <c:v>0.99504429921270199</c:v>
                </c:pt>
                <c:pt idx="782">
                  <c:v>0.99505845405620674</c:v>
                </c:pt>
                <c:pt idx="783">
                  <c:v>0.99508655785458344</c:v>
                </c:pt>
                <c:pt idx="784">
                  <c:v>0.99510051967749502</c:v>
                </c:pt>
                <c:pt idx="785">
                  <c:v>0.99511447721106006</c:v>
                </c:pt>
                <c:pt idx="786">
                  <c:v>0.99512841329789248</c:v>
                </c:pt>
                <c:pt idx="787">
                  <c:v>0.99514222070432945</c:v>
                </c:pt>
                <c:pt idx="788">
                  <c:v>0.99515596805991513</c:v>
                </c:pt>
                <c:pt idx="789">
                  <c:v>0.99516971541550081</c:v>
                </c:pt>
                <c:pt idx="790">
                  <c:v>0.99522406143586617</c:v>
                </c:pt>
                <c:pt idx="791">
                  <c:v>0.99523754285196786</c:v>
                </c:pt>
                <c:pt idx="792">
                  <c:v>0.99525101140003003</c:v>
                </c:pt>
                <c:pt idx="793">
                  <c:v>0.99527787557726344</c:v>
                </c:pt>
                <c:pt idx="794">
                  <c:v>0.99530429366245909</c:v>
                </c:pt>
                <c:pt idx="795">
                  <c:v>0.99533063025007107</c:v>
                </c:pt>
                <c:pt idx="796">
                  <c:v>0.99534376422910487</c:v>
                </c:pt>
                <c:pt idx="797">
                  <c:v>0.99535680384251535</c:v>
                </c:pt>
                <c:pt idx="798">
                  <c:v>0.99538285733325726</c:v>
                </c:pt>
                <c:pt idx="799">
                  <c:v>0.99539582402777693</c:v>
                </c:pt>
                <c:pt idx="800">
                  <c:v>0.99543437667426804</c:v>
                </c:pt>
                <c:pt idx="801">
                  <c:v>0.99544716321623405</c:v>
                </c:pt>
                <c:pt idx="802">
                  <c:v>0.99545990686473484</c:v>
                </c:pt>
                <c:pt idx="803">
                  <c:v>0.9955104182093143</c:v>
                </c:pt>
                <c:pt idx="804">
                  <c:v>0.99552291736506371</c:v>
                </c:pt>
                <c:pt idx="805">
                  <c:v>0.99553541223146658</c:v>
                </c:pt>
                <c:pt idx="806">
                  <c:v>0.9955848126352983</c:v>
                </c:pt>
                <c:pt idx="807">
                  <c:v>0.99562130639546154</c:v>
                </c:pt>
                <c:pt idx="808">
                  <c:v>0.99565716104299384</c:v>
                </c:pt>
                <c:pt idx="809">
                  <c:v>0.99566908971565649</c:v>
                </c:pt>
                <c:pt idx="810">
                  <c:v>0.99569289987817011</c:v>
                </c:pt>
                <c:pt idx="811">
                  <c:v>0.99570478565736764</c:v>
                </c:pt>
                <c:pt idx="812">
                  <c:v>0.99572836848451596</c:v>
                </c:pt>
                <c:pt idx="813">
                  <c:v>0.99576365264896161</c:v>
                </c:pt>
                <c:pt idx="814">
                  <c:v>0.99579878668627908</c:v>
                </c:pt>
                <c:pt idx="815">
                  <c:v>0.99581044084076464</c:v>
                </c:pt>
                <c:pt idx="816">
                  <c:v>0.99583347034221226</c:v>
                </c:pt>
                <c:pt idx="817">
                  <c:v>0.9958449786589163</c:v>
                </c:pt>
                <c:pt idx="818">
                  <c:v>0.99586796955624524</c:v>
                </c:pt>
                <c:pt idx="819">
                  <c:v>0.99587944355817715</c:v>
                </c:pt>
                <c:pt idx="820">
                  <c:v>0.99589091756010906</c:v>
                </c:pt>
                <c:pt idx="821">
                  <c:v>0.99590238298334788</c:v>
                </c:pt>
                <c:pt idx="822">
                  <c:v>0.99594804307701712</c:v>
                </c:pt>
                <c:pt idx="823">
                  <c:v>0.99595941413463263</c:v>
                </c:pt>
                <c:pt idx="824">
                  <c:v>0.99597078090290159</c:v>
                </c:pt>
                <c:pt idx="825">
                  <c:v>0.99598211764574496</c:v>
                </c:pt>
                <c:pt idx="826">
                  <c:v>0.99599344580989535</c:v>
                </c:pt>
                <c:pt idx="827">
                  <c:v>0.996004718212541</c:v>
                </c:pt>
                <c:pt idx="828">
                  <c:v>0.99604970916815361</c:v>
                </c:pt>
                <c:pt idx="829">
                  <c:v>0.99606092151994796</c:v>
                </c:pt>
                <c:pt idx="830">
                  <c:v>0.99607212100370279</c:v>
                </c:pt>
                <c:pt idx="831">
                  <c:v>0.99608329475137858</c:v>
                </c:pt>
                <c:pt idx="832">
                  <c:v>0.99614990401343484</c:v>
                </c:pt>
                <c:pt idx="833">
                  <c:v>0.99618284190533579</c:v>
                </c:pt>
                <c:pt idx="834">
                  <c:v>0.99620474759799604</c:v>
                </c:pt>
                <c:pt idx="835">
                  <c:v>0.99622651603156775</c:v>
                </c:pt>
                <c:pt idx="836">
                  <c:v>0.99625902498881713</c:v>
                </c:pt>
                <c:pt idx="837">
                  <c:v>0.99626981698465289</c:v>
                </c:pt>
                <c:pt idx="838">
                  <c:v>0.9962913495041662</c:v>
                </c:pt>
                <c:pt idx="839">
                  <c:v>0.99630203855568555</c:v>
                </c:pt>
                <c:pt idx="840">
                  <c:v>0.99633392555768996</c:v>
                </c:pt>
                <c:pt idx="841">
                  <c:v>0.99634451166489291</c:v>
                </c:pt>
                <c:pt idx="842">
                  <c:v>0.99636562382844762</c:v>
                </c:pt>
                <c:pt idx="843">
                  <c:v>0.99641771794189171</c:v>
                </c:pt>
                <c:pt idx="844">
                  <c:v>0.99642804668830365</c:v>
                </c:pt>
                <c:pt idx="845">
                  <c:v>0.99643837543471558</c:v>
                </c:pt>
                <c:pt idx="846">
                  <c:v>0.996448691313088</c:v>
                </c:pt>
                <c:pt idx="847">
                  <c:v>0.99650021494344543</c:v>
                </c:pt>
                <c:pt idx="848">
                  <c:v>0.99652068370502267</c:v>
                </c:pt>
                <c:pt idx="849">
                  <c:v>0.99655103083162766</c:v>
                </c:pt>
                <c:pt idx="850">
                  <c:v>0.99656108934920906</c:v>
                </c:pt>
                <c:pt idx="851">
                  <c:v>0.99657108781593928</c:v>
                </c:pt>
                <c:pt idx="852">
                  <c:v>0.99660072720036907</c:v>
                </c:pt>
                <c:pt idx="853">
                  <c:v>0.99662979181236555</c:v>
                </c:pt>
                <c:pt idx="854">
                  <c:v>0.99663937421248361</c:v>
                </c:pt>
                <c:pt idx="855">
                  <c:v>0.99671480666032453</c:v>
                </c:pt>
                <c:pt idx="856">
                  <c:v>0.99673337953074137</c:v>
                </c:pt>
                <c:pt idx="857">
                  <c:v>0.99678819737922342</c:v>
                </c:pt>
                <c:pt idx="858">
                  <c:v>0.99683321836026162</c:v>
                </c:pt>
                <c:pt idx="859">
                  <c:v>0.99685096338680079</c:v>
                </c:pt>
                <c:pt idx="860">
                  <c:v>0.99686859260098404</c:v>
                </c:pt>
                <c:pt idx="861">
                  <c:v>0.9968861317388904</c:v>
                </c:pt>
                <c:pt idx="862">
                  <c:v>0.99689488629513079</c:v>
                </c:pt>
                <c:pt idx="863">
                  <c:v>0.99690362369398511</c:v>
                </c:pt>
                <c:pt idx="864">
                  <c:v>0.99692099554737734</c:v>
                </c:pt>
                <c:pt idx="865">
                  <c:v>0.99694689891099109</c:v>
                </c:pt>
                <c:pt idx="866">
                  <c:v>0.99695549905075687</c:v>
                </c:pt>
                <c:pt idx="867">
                  <c:v>0.99696408632248312</c:v>
                </c:pt>
                <c:pt idx="868">
                  <c:v>0.99697264785813022</c:v>
                </c:pt>
                <c:pt idx="869">
                  <c:v>0.99698120510443089</c:v>
                </c:pt>
                <c:pt idx="870">
                  <c:v>0.99698975806138501</c:v>
                </c:pt>
                <c:pt idx="871">
                  <c:v>0.99700680392444196</c:v>
                </c:pt>
                <c:pt idx="872">
                  <c:v>0.99701529254119836</c:v>
                </c:pt>
                <c:pt idx="873">
                  <c:v>0.9970237554218756</c:v>
                </c:pt>
                <c:pt idx="874">
                  <c:v>0.9970322140132063</c:v>
                </c:pt>
                <c:pt idx="875">
                  <c:v>0.99704066402584401</c:v>
                </c:pt>
                <c:pt idx="876">
                  <c:v>0.99704907114501651</c:v>
                </c:pt>
                <c:pt idx="877">
                  <c:v>0.99705744823876341</c:v>
                </c:pt>
                <c:pt idx="878">
                  <c:v>0.9970658038857777</c:v>
                </c:pt>
                <c:pt idx="879">
                  <c:v>0.99709075930381119</c:v>
                </c:pt>
                <c:pt idx="880">
                  <c:v>0.99713997955508904</c:v>
                </c:pt>
                <c:pt idx="881">
                  <c:v>0.99716399560623559</c:v>
                </c:pt>
                <c:pt idx="882">
                  <c:v>0.9971876599309677</c:v>
                </c:pt>
                <c:pt idx="883">
                  <c:v>0.99720335464987186</c:v>
                </c:pt>
                <c:pt idx="884">
                  <c:v>0.99721890782034106</c:v>
                </c:pt>
                <c:pt idx="885">
                  <c:v>0.99723434946780087</c:v>
                </c:pt>
                <c:pt idx="886">
                  <c:v>0.99724204026610519</c:v>
                </c:pt>
                <c:pt idx="887">
                  <c:v>0.99725737467990205</c:v>
                </c:pt>
                <c:pt idx="888">
                  <c:v>0.99726491964042474</c:v>
                </c:pt>
                <c:pt idx="889">
                  <c:v>0.99727237452467055</c:v>
                </c:pt>
                <c:pt idx="890">
                  <c:v>0.99727982511956992</c:v>
                </c:pt>
                <c:pt idx="891">
                  <c:v>0.99728723711035061</c:v>
                </c:pt>
                <c:pt idx="892">
                  <c:v>0.99732412977973983</c:v>
                </c:pt>
                <c:pt idx="893">
                  <c:v>0.99734602260436056</c:v>
                </c:pt>
                <c:pt idx="894">
                  <c:v>0.99736054633166582</c:v>
                </c:pt>
                <c:pt idx="895">
                  <c:v>0.99736779103793238</c:v>
                </c:pt>
                <c:pt idx="896">
                  <c:v>0.99737502287615942</c:v>
                </c:pt>
                <c:pt idx="897">
                  <c:v>0.99738225042503992</c:v>
                </c:pt>
                <c:pt idx="898">
                  <c:v>0.99738946510588089</c:v>
                </c:pt>
                <c:pt idx="899">
                  <c:v>0.99740387302083011</c:v>
                </c:pt>
                <c:pt idx="900">
                  <c:v>0.99741105767624538</c:v>
                </c:pt>
                <c:pt idx="901">
                  <c:v>0.99741823375296768</c:v>
                </c:pt>
                <c:pt idx="902">
                  <c:v>0.9974253926723039</c:v>
                </c:pt>
                <c:pt idx="903">
                  <c:v>0.99743959898796697</c:v>
                </c:pt>
                <c:pt idx="904">
                  <c:v>0.99745373238473922</c:v>
                </c:pt>
                <c:pt idx="905">
                  <c:v>0.99747472444659147</c:v>
                </c:pt>
                <c:pt idx="906">
                  <c:v>0.99748169463468095</c:v>
                </c:pt>
                <c:pt idx="907">
                  <c:v>0.99748865195473091</c:v>
                </c:pt>
                <c:pt idx="908">
                  <c:v>0.9974955921173948</c:v>
                </c:pt>
                <c:pt idx="909">
                  <c:v>0.9975163654225746</c:v>
                </c:pt>
                <c:pt idx="910">
                  <c:v>0.99754380866158776</c:v>
                </c:pt>
                <c:pt idx="911">
                  <c:v>0.99756429458055096</c:v>
                </c:pt>
                <c:pt idx="912">
                  <c:v>0.99758456174284194</c:v>
                </c:pt>
                <c:pt idx="913">
                  <c:v>0.99759796166135983</c:v>
                </c:pt>
                <c:pt idx="914">
                  <c:v>0.99761800577763193</c:v>
                </c:pt>
                <c:pt idx="915">
                  <c:v>0.99763131990921949</c:v>
                </c:pt>
                <c:pt idx="916">
                  <c:v>0.99764449249237197</c:v>
                </c:pt>
                <c:pt idx="917">
                  <c:v>0.9976772545210657</c:v>
                </c:pt>
                <c:pt idx="918">
                  <c:v>0.99768377432777089</c:v>
                </c:pt>
                <c:pt idx="919">
                  <c:v>0.99770975918896843</c:v>
                </c:pt>
                <c:pt idx="920">
                  <c:v>0.99771621465547589</c:v>
                </c:pt>
                <c:pt idx="921">
                  <c:v>0.99772910843110485</c:v>
                </c:pt>
                <c:pt idx="922">
                  <c:v>0.99774198933869418</c:v>
                </c:pt>
                <c:pt idx="923">
                  <c:v>0.99775484451020446</c:v>
                </c:pt>
                <c:pt idx="924">
                  <c:v>0.99776763534151691</c:v>
                </c:pt>
                <c:pt idx="925">
                  <c:v>0.99778674009090185</c:v>
                </c:pt>
                <c:pt idx="926">
                  <c:v>0.99779941510985837</c:v>
                </c:pt>
                <c:pt idx="927">
                  <c:v>0.99781200005253812</c:v>
                </c:pt>
                <c:pt idx="928">
                  <c:v>0.99783071447139005</c:v>
                </c:pt>
                <c:pt idx="929">
                  <c:v>0.99783693831318565</c:v>
                </c:pt>
                <c:pt idx="930">
                  <c:v>0.99784316215498126</c:v>
                </c:pt>
                <c:pt idx="931">
                  <c:v>0.99784934310331164</c:v>
                </c:pt>
                <c:pt idx="932">
                  <c:v>0.9978616621065074</c:v>
                </c:pt>
                <c:pt idx="933">
                  <c:v>0.99787397682035661</c:v>
                </c:pt>
                <c:pt idx="934">
                  <c:v>0.99789227088324994</c:v>
                </c:pt>
                <c:pt idx="935">
                  <c:v>0.99790421671329865</c:v>
                </c:pt>
                <c:pt idx="936">
                  <c:v>0.99793965529421869</c:v>
                </c:pt>
                <c:pt idx="937">
                  <c:v>0.9979455102522139</c:v>
                </c:pt>
                <c:pt idx="938">
                  <c:v>0.99795135663151602</c:v>
                </c:pt>
                <c:pt idx="939">
                  <c:v>0.99795719443212516</c:v>
                </c:pt>
                <c:pt idx="940">
                  <c:v>0.99799759578696512</c:v>
                </c:pt>
                <c:pt idx="941">
                  <c:v>0.99800328774979263</c:v>
                </c:pt>
                <c:pt idx="942">
                  <c:v>0.99803152880725798</c:v>
                </c:pt>
                <c:pt idx="943">
                  <c:v>0.99803713069380862</c:v>
                </c:pt>
                <c:pt idx="944">
                  <c:v>0.99804272829101282</c:v>
                </c:pt>
                <c:pt idx="945">
                  <c:v>0.99804832588821701</c:v>
                </c:pt>
                <c:pt idx="946">
                  <c:v>0.99805949105719971</c:v>
                </c:pt>
                <c:pt idx="947">
                  <c:v>0.99808720881439006</c:v>
                </c:pt>
                <c:pt idx="948">
                  <c:v>0.99809270775662429</c:v>
                </c:pt>
                <c:pt idx="949">
                  <c:v>0.99811457913451251</c:v>
                </c:pt>
                <c:pt idx="950">
                  <c:v>0.99813093012343379</c:v>
                </c:pt>
                <c:pt idx="951">
                  <c:v>0.99816327179616904</c:v>
                </c:pt>
                <c:pt idx="952">
                  <c:v>0.99817921529717124</c:v>
                </c:pt>
                <c:pt idx="953">
                  <c:v>0.99818449977207968</c:v>
                </c:pt>
                <c:pt idx="954">
                  <c:v>0.99820551757001108</c:v>
                </c:pt>
                <c:pt idx="955">
                  <c:v>0.99822641097689346</c:v>
                </c:pt>
                <c:pt idx="956">
                  <c:v>0.99823160966487157</c:v>
                </c:pt>
                <c:pt idx="957">
                  <c:v>0.99823680406350312</c:v>
                </c:pt>
                <c:pt idx="958">
                  <c:v>0.9982471671246872</c:v>
                </c:pt>
                <c:pt idx="959">
                  <c:v>0.99826266453365164</c:v>
                </c:pt>
                <c:pt idx="960">
                  <c:v>0.99826780317077857</c:v>
                </c:pt>
                <c:pt idx="961">
                  <c:v>0.99828829337908831</c:v>
                </c:pt>
                <c:pt idx="962">
                  <c:v>0.99830356345268734</c:v>
                </c:pt>
                <c:pt idx="963">
                  <c:v>0.99831368631046646</c:v>
                </c:pt>
                <c:pt idx="964">
                  <c:v>0.99833386768582699</c:v>
                </c:pt>
                <c:pt idx="965">
                  <c:v>0.99833888622125144</c:v>
                </c:pt>
                <c:pt idx="966">
                  <c:v>0.99836879583451177</c:v>
                </c:pt>
                <c:pt idx="967">
                  <c:v>0.99840313634272371</c:v>
                </c:pt>
                <c:pt idx="968">
                  <c:v>0.99840796614690142</c:v>
                </c:pt>
                <c:pt idx="969">
                  <c:v>0.99841760859787076</c:v>
                </c:pt>
                <c:pt idx="970">
                  <c:v>0.99842234832577159</c:v>
                </c:pt>
                <c:pt idx="971">
                  <c:v>0.9984459311529198</c:v>
                </c:pt>
                <c:pt idx="972">
                  <c:v>0.99845061082996944</c:v>
                </c:pt>
                <c:pt idx="973">
                  <c:v>0.99847844868886215</c:v>
                </c:pt>
                <c:pt idx="974">
                  <c:v>0.99849214028294309</c:v>
                </c:pt>
                <c:pt idx="975">
                  <c:v>0.99849667841155765</c:v>
                </c:pt>
                <c:pt idx="976">
                  <c:v>0.99851914171926504</c:v>
                </c:pt>
                <c:pt idx="977">
                  <c:v>0.99854136911291413</c:v>
                </c:pt>
                <c:pt idx="978">
                  <c:v>0.99854578713982622</c:v>
                </c:pt>
                <c:pt idx="979">
                  <c:v>0.99855458458953172</c:v>
                </c:pt>
                <c:pt idx="980">
                  <c:v>0.99855895543363216</c:v>
                </c:pt>
                <c:pt idx="981">
                  <c:v>0.99856769283248648</c:v>
                </c:pt>
                <c:pt idx="982">
                  <c:v>0.99857640878460818</c:v>
                </c:pt>
                <c:pt idx="983">
                  <c:v>0.998580758181976</c:v>
                </c:pt>
                <c:pt idx="984">
                  <c:v>0.99858510328999728</c:v>
                </c:pt>
                <c:pt idx="985">
                  <c:v>0.99860236790972656</c:v>
                </c:pt>
                <c:pt idx="986">
                  <c:v>0.99861948669167433</c:v>
                </c:pt>
                <c:pt idx="987">
                  <c:v>0.99862799675516323</c:v>
                </c:pt>
                <c:pt idx="988">
                  <c:v>0.99864063317000118</c:v>
                </c:pt>
                <c:pt idx="989">
                  <c:v>0.99864478525742928</c:v>
                </c:pt>
                <c:pt idx="990">
                  <c:v>0.9986696205737603</c:v>
                </c:pt>
                <c:pt idx="991">
                  <c:v>0.99867786040841866</c:v>
                </c:pt>
                <c:pt idx="992">
                  <c:v>0.99869836777411458</c:v>
                </c:pt>
                <c:pt idx="993">
                  <c:v>0.99870244265330532</c:v>
                </c:pt>
                <c:pt idx="994">
                  <c:v>0.99870651324314963</c:v>
                </c:pt>
                <c:pt idx="995">
                  <c:v>0.99871869069791031</c:v>
                </c:pt>
                <c:pt idx="996">
                  <c:v>0.99872674180132193</c:v>
                </c:pt>
                <c:pt idx="997">
                  <c:v>0.99874272390644281</c:v>
                </c:pt>
                <c:pt idx="998">
                  <c:v>0.99874669155197071</c:v>
                </c:pt>
                <c:pt idx="999">
                  <c:v>0.9987585730418217</c:v>
                </c:pt>
                <c:pt idx="1000">
                  <c:v>0.99876643970333312</c:v>
                </c:pt>
                <c:pt idx="1001">
                  <c:v>0.99877817535540259</c:v>
                </c:pt>
                <c:pt idx="1002">
                  <c:v>0.99878206150334659</c:v>
                </c:pt>
                <c:pt idx="1003">
                  <c:v>0.99881671513385428</c:v>
                </c:pt>
                <c:pt idx="1004">
                  <c:v>0.99882051549486794</c:v>
                </c:pt>
                <c:pt idx="1005">
                  <c:v>0.99882810334885586</c:v>
                </c:pt>
                <c:pt idx="1006">
                  <c:v>0.99885828319094661</c:v>
                </c:pt>
                <c:pt idx="1007">
                  <c:v>0.99886200205437647</c:v>
                </c:pt>
                <c:pt idx="1008">
                  <c:v>0.99888775100151539</c:v>
                </c:pt>
                <c:pt idx="1009">
                  <c:v>0.99889140981409408</c:v>
                </c:pt>
                <c:pt idx="1010">
                  <c:v>0.99890600646029004</c:v>
                </c:pt>
                <c:pt idx="1011">
                  <c:v>0.9989204787154371</c:v>
                </c:pt>
                <c:pt idx="1012">
                  <c:v>0.99893480942214907</c:v>
                </c:pt>
                <c:pt idx="1013">
                  <c:v>0.99895261021019288</c:v>
                </c:pt>
                <c:pt idx="1014">
                  <c:v>0.99895968334259877</c:v>
                </c:pt>
                <c:pt idx="1015">
                  <c:v>0.99896318773870285</c:v>
                </c:pt>
                <c:pt idx="1016">
                  <c:v>0.99896668784546039</c:v>
                </c:pt>
                <c:pt idx="1017">
                  <c:v>0.99897018795221793</c:v>
                </c:pt>
                <c:pt idx="1018">
                  <c:v>0.99897368805897546</c:v>
                </c:pt>
                <c:pt idx="1019">
                  <c:v>0.99898414977512939</c:v>
                </c:pt>
                <c:pt idx="1020">
                  <c:v>0.99900823445582021</c:v>
                </c:pt>
                <c:pt idx="1021">
                  <c:v>0.99901849028334144</c:v>
                </c:pt>
                <c:pt idx="1022">
                  <c:v>0.99902532321234239</c:v>
                </c:pt>
                <c:pt idx="1023">
                  <c:v>0.99904206024245013</c:v>
                </c:pt>
                <c:pt idx="1024">
                  <c:v>0.9990551298812862</c:v>
                </c:pt>
                <c:pt idx="1025">
                  <c:v>0.99906156819040759</c:v>
                </c:pt>
                <c:pt idx="1026">
                  <c:v>0.99907753742748884</c:v>
                </c:pt>
                <c:pt idx="1027">
                  <c:v>0.99908388994967989</c:v>
                </c:pt>
                <c:pt idx="1028">
                  <c:v>0.99909336082678857</c:v>
                </c:pt>
                <c:pt idx="1029">
                  <c:v>0.99909649204974571</c:v>
                </c:pt>
                <c:pt idx="1030">
                  <c:v>0.99910273733827382</c:v>
                </c:pt>
                <c:pt idx="1031">
                  <c:v>0.99911206666694752</c:v>
                </c:pt>
                <c:pt idx="1032">
                  <c:v>0.99911516786447907</c:v>
                </c:pt>
                <c:pt idx="1033">
                  <c:v>0.99915433817686861</c:v>
                </c:pt>
                <c:pt idx="1034">
                  <c:v>0.99916312275853458</c:v>
                </c:pt>
                <c:pt idx="1035">
                  <c:v>0.99917466110066422</c:v>
                </c:pt>
                <c:pt idx="1036">
                  <c:v>0.99917753925217689</c:v>
                </c:pt>
                <c:pt idx="1037">
                  <c:v>0.99918327410846963</c:v>
                </c:pt>
                <c:pt idx="1038">
                  <c:v>0.99919470521693643</c:v>
                </c:pt>
                <c:pt idx="1039">
                  <c:v>0.99922293340636203</c:v>
                </c:pt>
                <c:pt idx="1040">
                  <c:v>0.99923396989494917</c:v>
                </c:pt>
                <c:pt idx="1041">
                  <c:v>0.99925821328146125</c:v>
                </c:pt>
                <c:pt idx="1042">
                  <c:v>0.99926352349244885</c:v>
                </c:pt>
                <c:pt idx="1043">
                  <c:v>0.9992870891622111</c:v>
                </c:pt>
                <c:pt idx="1044">
                  <c:v>0.9993101057956193</c:v>
                </c:pt>
                <c:pt idx="1045">
                  <c:v>0.99932275507849677</c:v>
                </c:pt>
                <c:pt idx="1046">
                  <c:v>0.99935215425952151</c:v>
                </c:pt>
                <c:pt idx="1047">
                  <c:v>0.9993592488386599</c:v>
                </c:pt>
                <c:pt idx="1048">
                  <c:v>0.9993685695886404</c:v>
                </c:pt>
                <c:pt idx="1049">
                  <c:v>0.99937089012510583</c:v>
                </c:pt>
                <c:pt idx="1050">
                  <c:v>0.99937321066157125</c:v>
                </c:pt>
                <c:pt idx="1051">
                  <c:v>0.99938243275658178</c:v>
                </c:pt>
                <c:pt idx="1052">
                  <c:v>0.99939391104786013</c:v>
                </c:pt>
                <c:pt idx="1053">
                  <c:v>0.99939620155889997</c:v>
                </c:pt>
                <c:pt idx="1054">
                  <c:v>0.99942075377836093</c:v>
                </c:pt>
                <c:pt idx="1055">
                  <c:v>0.99942720924486839</c:v>
                </c:pt>
                <c:pt idx="1056">
                  <c:v>0.99943567641489217</c:v>
                </c:pt>
                <c:pt idx="1057">
                  <c:v>0.99943778248403181</c:v>
                </c:pt>
                <c:pt idx="1058">
                  <c:v>0.9994542964681209</c:v>
                </c:pt>
                <c:pt idx="1059">
                  <c:v>0.99945833274319296</c:v>
                </c:pt>
                <c:pt idx="1060">
                  <c:v>0.99946636668921862</c:v>
                </c:pt>
                <c:pt idx="1061">
                  <c:v>0.99946836981404186</c:v>
                </c:pt>
                <c:pt idx="1062">
                  <c:v>0.99949605325646007</c:v>
                </c:pt>
                <c:pt idx="1063">
                  <c:v>0.99950382555234807</c:v>
                </c:pt>
                <c:pt idx="1064">
                  <c:v>0.999507694542906</c:v>
                </c:pt>
                <c:pt idx="1065">
                  <c:v>0.99950961617014544</c:v>
                </c:pt>
                <c:pt idx="1066">
                  <c:v>0.99951153779738489</c:v>
                </c:pt>
                <c:pt idx="1067">
                  <c:v>0.99951726407498453</c:v>
                </c:pt>
                <c:pt idx="1068">
                  <c:v>0.99953421557241806</c:v>
                </c:pt>
                <c:pt idx="1069">
                  <c:v>0.99953970164661265</c:v>
                </c:pt>
                <c:pt idx="1070">
                  <c:v>0.99954333901245873</c:v>
                </c:pt>
                <c:pt idx="1071">
                  <c:v>0.99955742093707289</c:v>
                </c:pt>
                <c:pt idx="1072">
                  <c:v>0.99956256386354636</c:v>
                </c:pt>
                <c:pt idx="1073">
                  <c:v>0.99956426673411347</c:v>
                </c:pt>
                <c:pt idx="1074">
                  <c:v>0.99956765531786151</c:v>
                </c:pt>
                <c:pt idx="1075">
                  <c:v>0.9995693453203891</c:v>
                </c:pt>
                <c:pt idx="1076">
                  <c:v>0.9995743895918926</c:v>
                </c:pt>
                <c:pt idx="1077">
                  <c:v>0.99959581058839664</c:v>
                </c:pt>
                <c:pt idx="1078">
                  <c:v>0.99959743625072639</c:v>
                </c:pt>
                <c:pt idx="1079">
                  <c:v>0.99959905333436316</c:v>
                </c:pt>
                <c:pt idx="1080">
                  <c:v>0.99960873010010454</c:v>
                </c:pt>
                <c:pt idx="1081">
                  <c:v>0.99962308654289589</c:v>
                </c:pt>
                <c:pt idx="1082">
                  <c:v>0.99963560714537791</c:v>
                </c:pt>
                <c:pt idx="1083">
                  <c:v>0.99963714702077733</c:v>
                </c:pt>
                <c:pt idx="1084">
                  <c:v>0.99964782320425716</c:v>
                </c:pt>
                <c:pt idx="1085">
                  <c:v>0.99965983766385003</c:v>
                </c:pt>
                <c:pt idx="1086">
                  <c:v>0.99966428142684116</c:v>
                </c:pt>
                <c:pt idx="1087">
                  <c:v>0.99967579403289164</c:v>
                </c:pt>
                <c:pt idx="1088">
                  <c:v>0.99968557374294942</c:v>
                </c:pt>
                <c:pt idx="1089">
                  <c:v>0.99970563501660759</c:v>
                </c:pt>
                <c:pt idx="1090">
                  <c:v>0.99972345296203768</c:v>
                </c:pt>
                <c:pt idx="1091">
                  <c:v>0.99972841144661095</c:v>
                </c:pt>
                <c:pt idx="1092">
                  <c:v>0.99972964248906127</c:v>
                </c:pt>
                <c:pt idx="1093">
                  <c:v>0.99973575051850083</c:v>
                </c:pt>
                <c:pt idx="1094">
                  <c:v>0.99973818257797575</c:v>
                </c:pt>
                <c:pt idx="1095">
                  <c:v>0.99974535007600507</c:v>
                </c:pt>
                <c:pt idx="1096">
                  <c:v>0.99974889736557426</c:v>
                </c:pt>
                <c:pt idx="1097">
                  <c:v>0.99975708572807453</c:v>
                </c:pt>
                <c:pt idx="1098">
                  <c:v>0.99975940197519353</c:v>
                </c:pt>
                <c:pt idx="1099">
                  <c:v>0.99977179389727988</c:v>
                </c:pt>
                <c:pt idx="1100">
                  <c:v>0.99977939032996077</c:v>
                </c:pt>
                <c:pt idx="1101">
                  <c:v>0.9997857900349636</c:v>
                </c:pt>
                <c:pt idx="1102">
                  <c:v>0.99978891267922765</c:v>
                </c:pt>
                <c:pt idx="1103">
                  <c:v>0.99979607588791042</c:v>
                </c:pt>
                <c:pt idx="1104">
                  <c:v>0.99980405407243123</c:v>
                </c:pt>
                <c:pt idx="1105">
                  <c:v>0.9998050363327835</c:v>
                </c:pt>
                <c:pt idx="1106">
                  <c:v>0.99982767979304454</c:v>
                </c:pt>
                <c:pt idx="1107">
                  <c:v>0.99983033489853834</c:v>
                </c:pt>
                <c:pt idx="1108">
                  <c:v>0.99984289839448581</c:v>
                </c:pt>
                <c:pt idx="1109">
                  <c:v>0.99985074789861117</c:v>
                </c:pt>
                <c:pt idx="1110">
                  <c:v>0.99985149853425159</c:v>
                </c:pt>
                <c:pt idx="1111">
                  <c:v>0.99985521739768157</c:v>
                </c:pt>
                <c:pt idx="1112">
                  <c:v>0.99986999419643119</c:v>
                </c:pt>
                <c:pt idx="1113">
                  <c:v>0.99987195442778931</c:v>
                </c:pt>
                <c:pt idx="1114">
                  <c:v>0.99987390179110791</c:v>
                </c:pt>
                <c:pt idx="1115">
                  <c:v>0.999884608000013</c:v>
                </c:pt>
                <c:pt idx="1116">
                  <c:v>0.99988705721687399</c:v>
                </c:pt>
                <c:pt idx="1117">
                  <c:v>0.99989242747871265</c:v>
                </c:pt>
                <c:pt idx="1118">
                  <c:v>0.99990867552331741</c:v>
                </c:pt>
                <c:pt idx="1119">
                  <c:v>0.99991182390366051</c:v>
                </c:pt>
                <c:pt idx="1120">
                  <c:v>0.99991433746071912</c:v>
                </c:pt>
                <c:pt idx="1121">
                  <c:v>0.99991680383496617</c:v>
                </c:pt>
                <c:pt idx="1122">
                  <c:v>0.99992386409933254</c:v>
                </c:pt>
                <c:pt idx="1123">
                  <c:v>0.99992707681987347</c:v>
                </c:pt>
                <c:pt idx="1124">
                  <c:v>0.9999275314906042</c:v>
                </c:pt>
                <c:pt idx="1125">
                  <c:v>0.99993946016326707</c:v>
                </c:pt>
                <c:pt idx="1126">
                  <c:v>0.99994065689094536</c:v>
                </c:pt>
                <c:pt idx="1127">
                  <c:v>0.99994261283295693</c:v>
                </c:pt>
                <c:pt idx="1128">
                  <c:v>0.99994680352450382</c:v>
                </c:pt>
                <c:pt idx="1129">
                  <c:v>0.99995253409145002</c:v>
                </c:pt>
                <c:pt idx="1130">
                  <c:v>0.99995287723917137</c:v>
                </c:pt>
                <c:pt idx="1131">
                  <c:v>0.99995559668486289</c:v>
                </c:pt>
                <c:pt idx="1132">
                  <c:v>0.99996584822303758</c:v>
                </c:pt>
                <c:pt idx="1133">
                  <c:v>0.99997751953490932</c:v>
                </c:pt>
                <c:pt idx="1134">
                  <c:v>0.99997793989086803</c:v>
                </c:pt>
                <c:pt idx="1135">
                  <c:v>0.99997977573117713</c:v>
                </c:pt>
                <c:pt idx="1136">
                  <c:v>0.99998612396402176</c:v>
                </c:pt>
                <c:pt idx="1137">
                  <c:v>0.99999016881778635</c:v>
                </c:pt>
                <c:pt idx="1138">
                  <c:v>0.99999129691592037</c:v>
                </c:pt>
                <c:pt idx="1139">
                  <c:v>0.99999143417500891</c:v>
                </c:pt>
                <c:pt idx="1140">
                  <c:v>0.99999170869318599</c:v>
                </c:pt>
                <c:pt idx="1141">
                  <c:v>0.99999769662092253</c:v>
                </c:pt>
                <c:pt idx="1142">
                  <c:v>0.9999980226112577</c:v>
                </c:pt>
                <c:pt idx="1143">
                  <c:v>0.9999996525629336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13</c:f>
              <c:strCache>
                <c:ptCount val="1312"/>
                <c:pt idx="0">
                  <c:v>Private Lab</c:v>
                </c:pt>
                <c:pt idx="1">
                  <c:v>Private Lab</c:v>
                </c:pt>
                <c:pt idx="2">
                  <c:v>Private Lab</c:v>
                </c:pt>
                <c:pt idx="3">
                  <c:v>Private Lab</c:v>
                </c:pt>
                <c:pt idx="4">
                  <c:v>Private Lab</c:v>
                </c:pt>
                <c:pt idx="5">
                  <c:v>Private Lab</c:v>
                </c:pt>
                <c:pt idx="6">
                  <c:v>Caprice Des</c:v>
                </c:pt>
                <c:pt idx="7">
                  <c:v>Private Lab</c:v>
                </c:pt>
                <c:pt idx="8">
                  <c:v>Private Lab</c:v>
                </c:pt>
                <c:pt idx="9">
                  <c:v>Private Lab</c:v>
                </c:pt>
                <c:pt idx="10">
                  <c:v>Private Lab</c:v>
                </c:pt>
                <c:pt idx="11">
                  <c:v>Private Lab</c:v>
                </c:pt>
                <c:pt idx="12">
                  <c:v>Private Lab</c:v>
                </c:pt>
                <c:pt idx="13">
                  <c:v>Mini Babybe</c:v>
                </c:pt>
                <c:pt idx="14">
                  <c:v>Coeur De Li</c:v>
                </c:pt>
                <c:pt idx="15">
                  <c:v>Private Lab</c:v>
                </c:pt>
                <c:pt idx="16">
                  <c:v>President</c:v>
                </c:pt>
                <c:pt idx="17">
                  <c:v>Private Lab</c:v>
                </c:pt>
                <c:pt idx="18">
                  <c:v>Entremont</c:v>
                </c:pt>
                <c:pt idx="19">
                  <c:v>Chaussee Au</c:v>
                </c:pt>
                <c:pt idx="20">
                  <c:v>Private Lab</c:v>
                </c:pt>
                <c:pt idx="21">
                  <c:v>Soignon</c:v>
                </c:pt>
                <c:pt idx="22">
                  <c:v>Private Lab</c:v>
                </c:pt>
                <c:pt idx="23">
                  <c:v>Private Lab</c:v>
                </c:pt>
                <c:pt idx="24">
                  <c:v>Galbani</c:v>
                </c:pt>
                <c:pt idx="25">
                  <c:v>Entremont</c:v>
                </c:pt>
                <c:pt idx="26">
                  <c:v>Private Lab</c:v>
                </c:pt>
                <c:pt idx="27">
                  <c:v>Soignon</c:v>
                </c:pt>
                <c:pt idx="28">
                  <c:v>Salakis</c:v>
                </c:pt>
                <c:pt idx="29">
                  <c:v>Galbani</c:v>
                </c:pt>
                <c:pt idx="30">
                  <c:v>Galbani</c:v>
                </c:pt>
                <c:pt idx="31">
                  <c:v>Private Lab</c:v>
                </c:pt>
                <c:pt idx="32">
                  <c:v>St Moret</c:v>
                </c:pt>
                <c:pt idx="33">
                  <c:v>President</c:v>
                </c:pt>
                <c:pt idx="34">
                  <c:v>Private Lab</c:v>
                </c:pt>
                <c:pt idx="35">
                  <c:v>Caprice Des</c:v>
                </c:pt>
                <c:pt idx="36">
                  <c:v>Private Lab</c:v>
                </c:pt>
                <c:pt idx="37">
                  <c:v>St Moret</c:v>
                </c:pt>
                <c:pt idx="38">
                  <c:v>Private Lab</c:v>
                </c:pt>
                <c:pt idx="39">
                  <c:v>President</c:v>
                </c:pt>
                <c:pt idx="40">
                  <c:v>Private Lab</c:v>
                </c:pt>
                <c:pt idx="41">
                  <c:v>Private Lab</c:v>
                </c:pt>
                <c:pt idx="42">
                  <c:v>President</c:v>
                </c:pt>
                <c:pt idx="43">
                  <c:v>Private Lab</c:v>
                </c:pt>
                <c:pt idx="44">
                  <c:v>Private Lab</c:v>
                </c:pt>
                <c:pt idx="45">
                  <c:v>President</c:v>
                </c:pt>
                <c:pt idx="46">
                  <c:v>Private Lab</c:v>
                </c:pt>
                <c:pt idx="47">
                  <c:v>La Vache Qu</c:v>
                </c:pt>
                <c:pt idx="48">
                  <c:v>Private Lab</c:v>
                </c:pt>
                <c:pt idx="49">
                  <c:v>Private Lab</c:v>
                </c:pt>
                <c:pt idx="50">
                  <c:v>Leerdammer</c:v>
                </c:pt>
                <c:pt idx="51">
                  <c:v>Private Lab</c:v>
                </c:pt>
                <c:pt idx="52">
                  <c:v>St Moret</c:v>
                </c:pt>
                <c:pt idx="53">
                  <c:v>President</c:v>
                </c:pt>
                <c:pt idx="54">
                  <c:v>Coeur De Li</c:v>
                </c:pt>
                <c:pt idx="55">
                  <c:v>Private Lab</c:v>
                </c:pt>
                <c:pt idx="56">
                  <c:v>La Vache Qu</c:v>
                </c:pt>
                <c:pt idx="57">
                  <c:v>Le Rustique</c:v>
                </c:pt>
                <c:pt idx="58">
                  <c:v>La Vache Qu</c:v>
                </c:pt>
                <c:pt idx="59">
                  <c:v>Leerdammer</c:v>
                </c:pt>
                <c:pt idx="60">
                  <c:v>Private Lab</c:v>
                </c:pt>
                <c:pt idx="61">
                  <c:v>Leerdammer</c:v>
                </c:pt>
                <c:pt idx="62">
                  <c:v>Mini Babybe</c:v>
                </c:pt>
                <c:pt idx="63">
                  <c:v>Entremont</c:v>
                </c:pt>
                <c:pt idx="64">
                  <c:v>Tartare</c:v>
                </c:pt>
                <c:pt idx="65">
                  <c:v>Societe</c:v>
                </c:pt>
                <c:pt idx="66">
                  <c:v>Private Lab</c:v>
                </c:pt>
                <c:pt idx="67">
                  <c:v>Private Lab</c:v>
                </c:pt>
                <c:pt idx="68">
                  <c:v>Private Lab</c:v>
                </c:pt>
                <c:pt idx="69">
                  <c:v>Private Lab</c:v>
                </c:pt>
                <c:pt idx="70">
                  <c:v>Private Lab</c:v>
                </c:pt>
                <c:pt idx="71">
                  <c:v>Private Lab</c:v>
                </c:pt>
                <c:pt idx="72">
                  <c:v>Entremont</c:v>
                </c:pt>
                <c:pt idx="73">
                  <c:v>President</c:v>
                </c:pt>
                <c:pt idx="74">
                  <c:v>Chaussee Au</c:v>
                </c:pt>
                <c:pt idx="75">
                  <c:v>Private Lab</c:v>
                </c:pt>
                <c:pt idx="76">
                  <c:v>Salakis</c:v>
                </c:pt>
                <c:pt idx="77">
                  <c:v>Galbani</c:v>
                </c:pt>
                <c:pt idx="78">
                  <c:v>Galbani</c:v>
                </c:pt>
                <c:pt idx="79">
                  <c:v>St Moret</c:v>
                </c:pt>
                <c:pt idx="80">
                  <c:v>Private Lab</c:v>
                </c:pt>
                <c:pt idx="81">
                  <c:v>Islos</c:v>
                </c:pt>
                <c:pt idx="82">
                  <c:v>President</c:v>
                </c:pt>
                <c:pt idx="83">
                  <c:v>Private Lab</c:v>
                </c:pt>
                <c:pt idx="84">
                  <c:v>Private Lab</c:v>
                </c:pt>
                <c:pt idx="85">
                  <c:v>Juraflore</c:v>
                </c:pt>
                <c:pt idx="86">
                  <c:v>Soignon</c:v>
                </c:pt>
                <c:pt idx="87">
                  <c:v>President</c:v>
                </c:pt>
                <c:pt idx="88">
                  <c:v>Private Lab</c:v>
                </c:pt>
                <c:pt idx="89">
                  <c:v>Private Lab</c:v>
                </c:pt>
                <c:pt idx="90">
                  <c:v>Kiri</c:v>
                </c:pt>
                <c:pt idx="91">
                  <c:v>All Others</c:v>
                </c:pt>
                <c:pt idx="92">
                  <c:v>Private Lab</c:v>
                </c:pt>
                <c:pt idx="93">
                  <c:v>President</c:v>
                </c:pt>
                <c:pt idx="94">
                  <c:v>Private Lab</c:v>
                </c:pt>
                <c:pt idx="95">
                  <c:v>Private Lab</c:v>
                </c:pt>
                <c:pt idx="96">
                  <c:v>Private Lab</c:v>
                </c:pt>
                <c:pt idx="97">
                  <c:v>Entremont</c:v>
                </c:pt>
                <c:pt idx="98">
                  <c:v>Saint Agur</c:v>
                </c:pt>
                <c:pt idx="99">
                  <c:v>Private Lab</c:v>
                </c:pt>
                <c:pt idx="100">
                  <c:v>All Others</c:v>
                </c:pt>
                <c:pt idx="101">
                  <c:v>Entremont</c:v>
                </c:pt>
                <c:pt idx="102">
                  <c:v>Private Lab</c:v>
                </c:pt>
                <c:pt idx="103">
                  <c:v>Private Lab</c:v>
                </c:pt>
                <c:pt idx="104">
                  <c:v>Private Lab</c:v>
                </c:pt>
                <c:pt idx="105">
                  <c:v>Paysan Bret</c:v>
                </c:pt>
                <c:pt idx="106">
                  <c:v>Private Lab</c:v>
                </c:pt>
                <c:pt idx="107">
                  <c:v>Paysan Bret</c:v>
                </c:pt>
                <c:pt idx="108">
                  <c:v>Galbani</c:v>
                </c:pt>
                <c:pt idx="109">
                  <c:v>Apericube</c:v>
                </c:pt>
                <c:pt idx="110">
                  <c:v>President</c:v>
                </c:pt>
                <c:pt idx="111">
                  <c:v>Private Lab</c:v>
                </c:pt>
                <c:pt idx="112">
                  <c:v>Kiri</c:v>
                </c:pt>
                <c:pt idx="113">
                  <c:v>Saint Albra</c:v>
                </c:pt>
                <c:pt idx="114">
                  <c:v>Private Lab</c:v>
                </c:pt>
                <c:pt idx="115">
                  <c:v>President</c:v>
                </c:pt>
                <c:pt idx="116">
                  <c:v>Leerdammer</c:v>
                </c:pt>
                <c:pt idx="117">
                  <c:v>Private Lab</c:v>
                </c:pt>
                <c:pt idx="118">
                  <c:v>Private Lab</c:v>
                </c:pt>
                <c:pt idx="119">
                  <c:v>L'Ortolan</c:v>
                </c:pt>
                <c:pt idx="120">
                  <c:v>Apericube</c:v>
                </c:pt>
                <c:pt idx="121">
                  <c:v>Entremont</c:v>
                </c:pt>
                <c:pt idx="122">
                  <c:v>Private Lab</c:v>
                </c:pt>
                <c:pt idx="123">
                  <c:v>Private Lab</c:v>
                </c:pt>
                <c:pt idx="124">
                  <c:v>Ficello</c:v>
                </c:pt>
                <c:pt idx="125">
                  <c:v>Parmareggio</c:v>
                </c:pt>
                <c:pt idx="126">
                  <c:v>Istara</c:v>
                </c:pt>
                <c:pt idx="127">
                  <c:v>Private Lab</c:v>
                </c:pt>
                <c:pt idx="128">
                  <c:v>Bresse Bleu</c:v>
                </c:pt>
                <c:pt idx="129">
                  <c:v>Private Lab</c:v>
                </c:pt>
                <c:pt idx="130">
                  <c:v>Casa Azzurr</c:v>
                </c:pt>
                <c:pt idx="131">
                  <c:v>Saint Agur</c:v>
                </c:pt>
                <c:pt idx="132">
                  <c:v>Kiri</c:v>
                </c:pt>
                <c:pt idx="133">
                  <c:v>Leerdammer</c:v>
                </c:pt>
                <c:pt idx="134">
                  <c:v>Carre Frais</c:v>
                </c:pt>
                <c:pt idx="135">
                  <c:v>Casa Azzurr</c:v>
                </c:pt>
                <c:pt idx="136">
                  <c:v>Private Lab</c:v>
                </c:pt>
                <c:pt idx="137">
                  <c:v>Leerdammer</c:v>
                </c:pt>
                <c:pt idx="138">
                  <c:v>Les Mousque</c:v>
                </c:pt>
                <c:pt idx="139">
                  <c:v>President</c:v>
                </c:pt>
                <c:pt idx="140">
                  <c:v>Entremont</c:v>
                </c:pt>
                <c:pt idx="141">
                  <c:v>St Moret</c:v>
                </c:pt>
                <c:pt idx="142">
                  <c:v>Private Lab</c:v>
                </c:pt>
                <c:pt idx="143">
                  <c:v>Saint Albra</c:v>
                </c:pt>
                <c:pt idx="144">
                  <c:v>Private Lab</c:v>
                </c:pt>
                <c:pt idx="145">
                  <c:v>Carre Frais</c:v>
                </c:pt>
                <c:pt idx="146">
                  <c:v>Boursin</c:v>
                </c:pt>
                <c:pt idx="147">
                  <c:v>L'Ortolan</c:v>
                </c:pt>
                <c:pt idx="148">
                  <c:v>President</c:v>
                </c:pt>
                <c:pt idx="149">
                  <c:v>Boursin</c:v>
                </c:pt>
                <c:pt idx="150">
                  <c:v>President</c:v>
                </c:pt>
                <c:pt idx="151">
                  <c:v>Coeur De Li</c:v>
                </c:pt>
                <c:pt idx="152">
                  <c:v>Private Lab</c:v>
                </c:pt>
                <c:pt idx="153">
                  <c:v>Apericube</c:v>
                </c:pt>
                <c:pt idx="154">
                  <c:v>Kiri</c:v>
                </c:pt>
                <c:pt idx="155">
                  <c:v>Tartare</c:v>
                </c:pt>
                <c:pt idx="156">
                  <c:v>Private Lab</c:v>
                </c:pt>
                <c:pt idx="157">
                  <c:v>All Others</c:v>
                </c:pt>
                <c:pt idx="158">
                  <c:v>Kiri</c:v>
                </c:pt>
                <c:pt idx="159">
                  <c:v>Private Lab</c:v>
                </c:pt>
                <c:pt idx="160">
                  <c:v>Lou Perac</c:v>
                </c:pt>
                <c:pt idx="161">
                  <c:v>Private Lab</c:v>
                </c:pt>
                <c:pt idx="162">
                  <c:v>Lepetit</c:v>
                </c:pt>
                <c:pt idx="163">
                  <c:v>Salakis</c:v>
                </c:pt>
                <c:pt idx="164">
                  <c:v>Private Lab</c:v>
                </c:pt>
                <c:pt idx="165">
                  <c:v>Coeur De Li</c:v>
                </c:pt>
                <c:pt idx="166">
                  <c:v>Entremont</c:v>
                </c:pt>
                <c:pt idx="167">
                  <c:v>Entremont</c:v>
                </c:pt>
                <c:pt idx="168">
                  <c:v>Apericube</c:v>
                </c:pt>
                <c:pt idx="169">
                  <c:v>Entremont</c:v>
                </c:pt>
                <c:pt idx="170">
                  <c:v>Port Salut</c:v>
                </c:pt>
                <c:pt idx="171">
                  <c:v>Boursin</c:v>
                </c:pt>
                <c:pt idx="172">
                  <c:v>Salakis</c:v>
                </c:pt>
                <c:pt idx="173">
                  <c:v>Private Lab</c:v>
                </c:pt>
                <c:pt idx="174">
                  <c:v>Boursin</c:v>
                </c:pt>
                <c:pt idx="175">
                  <c:v>Casa Azzurr</c:v>
                </c:pt>
                <c:pt idx="176">
                  <c:v>Private Lab</c:v>
                </c:pt>
                <c:pt idx="177">
                  <c:v>Galbani</c:v>
                </c:pt>
                <c:pt idx="178">
                  <c:v>Entremont</c:v>
                </c:pt>
                <c:pt idx="179">
                  <c:v>Private Lab</c:v>
                </c:pt>
                <c:pt idx="180">
                  <c:v>Private Lab</c:v>
                </c:pt>
                <c:pt idx="181">
                  <c:v>Coeur De Li</c:v>
                </c:pt>
                <c:pt idx="182">
                  <c:v>Private Lab</c:v>
                </c:pt>
                <c:pt idx="183">
                  <c:v>Private Lab</c:v>
                </c:pt>
                <c:pt idx="184">
                  <c:v>Private Lab</c:v>
                </c:pt>
                <c:pt idx="185">
                  <c:v>Private Lab</c:v>
                </c:pt>
                <c:pt idx="186">
                  <c:v>Private Lab</c:v>
                </c:pt>
                <c:pt idx="187">
                  <c:v>President</c:v>
                </c:pt>
                <c:pt idx="188">
                  <c:v>Private Lab</c:v>
                </c:pt>
                <c:pt idx="189">
                  <c:v>Private Lab</c:v>
                </c:pt>
                <c:pt idx="190">
                  <c:v>St Moret</c:v>
                </c:pt>
                <c:pt idx="191">
                  <c:v>Soignon</c:v>
                </c:pt>
                <c:pt idx="192">
                  <c:v>Casa Azzurr</c:v>
                </c:pt>
                <c:pt idx="193">
                  <c:v>Petit Billy</c:v>
                </c:pt>
                <c:pt idx="194">
                  <c:v>Philadelphi</c:v>
                </c:pt>
                <c:pt idx="195">
                  <c:v>Private Lab</c:v>
                </c:pt>
                <c:pt idx="196">
                  <c:v>Pave D'Affi</c:v>
                </c:pt>
                <c:pt idx="197">
                  <c:v>Caprice Des</c:v>
                </c:pt>
                <c:pt idx="198">
                  <c:v>Private Lab</c:v>
                </c:pt>
                <c:pt idx="199">
                  <c:v>Private Lab</c:v>
                </c:pt>
                <c:pt idx="200">
                  <c:v>Private Lab</c:v>
                </c:pt>
                <c:pt idx="201">
                  <c:v>Private Lab</c:v>
                </c:pt>
                <c:pt idx="202">
                  <c:v>President</c:v>
                </c:pt>
                <c:pt idx="203">
                  <c:v>President</c:v>
                </c:pt>
                <c:pt idx="204">
                  <c:v>Ficello</c:v>
                </c:pt>
                <c:pt idx="205">
                  <c:v>All Others</c:v>
                </c:pt>
                <c:pt idx="206">
                  <c:v>Galbani</c:v>
                </c:pt>
                <c:pt idx="207">
                  <c:v>Soignon</c:v>
                </c:pt>
                <c:pt idx="208">
                  <c:v>Private Lab</c:v>
                </c:pt>
                <c:pt idx="209">
                  <c:v>Private Lab</c:v>
                </c:pt>
                <c:pt idx="210">
                  <c:v>Private Lab</c:v>
                </c:pt>
                <c:pt idx="211">
                  <c:v>St Moret</c:v>
                </c:pt>
                <c:pt idx="212">
                  <c:v>Aperivrais</c:v>
                </c:pt>
                <c:pt idx="213">
                  <c:v>Casa Azzurr</c:v>
                </c:pt>
                <c:pt idx="214">
                  <c:v>President</c:v>
                </c:pt>
                <c:pt idx="215">
                  <c:v>Galbani</c:v>
                </c:pt>
                <c:pt idx="216">
                  <c:v>Private Lab</c:v>
                </c:pt>
                <c:pt idx="217">
                  <c:v>Le Rustique</c:v>
                </c:pt>
                <c:pt idx="218">
                  <c:v>Istara</c:v>
                </c:pt>
                <c:pt idx="219">
                  <c:v>President</c:v>
                </c:pt>
                <c:pt idx="220">
                  <c:v>Private Lab</c:v>
                </c:pt>
                <c:pt idx="221">
                  <c:v>Private Lab</c:v>
                </c:pt>
                <c:pt idx="222">
                  <c:v>Babybel</c:v>
                </c:pt>
                <c:pt idx="223">
                  <c:v>Private Lab</c:v>
                </c:pt>
                <c:pt idx="224">
                  <c:v>Private Lab</c:v>
                </c:pt>
                <c:pt idx="225">
                  <c:v>Apericube</c:v>
                </c:pt>
                <c:pt idx="226">
                  <c:v>Private Lab</c:v>
                </c:pt>
                <c:pt idx="227">
                  <c:v>Private Lab</c:v>
                </c:pt>
                <c:pt idx="228">
                  <c:v>All Others</c:v>
                </c:pt>
                <c:pt idx="229">
                  <c:v>Private Lab</c:v>
                </c:pt>
                <c:pt idx="230">
                  <c:v>Casa Azzurr</c:v>
                </c:pt>
                <c:pt idx="231">
                  <c:v>Boursin</c:v>
                </c:pt>
                <c:pt idx="232">
                  <c:v>President</c:v>
                </c:pt>
                <c:pt idx="233">
                  <c:v>Apericube</c:v>
                </c:pt>
                <c:pt idx="234">
                  <c:v>Leerdammer</c:v>
                </c:pt>
                <c:pt idx="235">
                  <c:v>President</c:v>
                </c:pt>
                <c:pt idx="236">
                  <c:v>Private Lab</c:v>
                </c:pt>
                <c:pt idx="237">
                  <c:v>Private Lab</c:v>
                </c:pt>
                <c:pt idx="238">
                  <c:v>Societe</c:v>
                </c:pt>
                <c:pt idx="239">
                  <c:v>Private Lab</c:v>
                </c:pt>
                <c:pt idx="240">
                  <c:v>Apericube</c:v>
                </c:pt>
                <c:pt idx="241">
                  <c:v>Richesmonts</c:v>
                </c:pt>
                <c:pt idx="242">
                  <c:v>Saint Agur</c:v>
                </c:pt>
                <c:pt idx="243">
                  <c:v>Private Lab</c:v>
                </c:pt>
                <c:pt idx="244">
                  <c:v>Private Lab</c:v>
                </c:pt>
                <c:pt idx="245">
                  <c:v>Private Lab</c:v>
                </c:pt>
                <c:pt idx="246">
                  <c:v>Saint Agur</c:v>
                </c:pt>
                <c:pt idx="247">
                  <c:v>Galbani</c:v>
                </c:pt>
                <c:pt idx="248">
                  <c:v>Les Mousque</c:v>
                </c:pt>
                <c:pt idx="249">
                  <c:v>All Others</c:v>
                </c:pt>
                <c:pt idx="250">
                  <c:v>Private Lab</c:v>
                </c:pt>
                <c:pt idx="251">
                  <c:v>Coeur De Li</c:v>
                </c:pt>
                <c:pt idx="252">
                  <c:v>Chavroux</c:v>
                </c:pt>
                <c:pt idx="253">
                  <c:v>Philadelphi</c:v>
                </c:pt>
                <c:pt idx="254">
                  <c:v>Private Lab</c:v>
                </c:pt>
                <c:pt idx="255">
                  <c:v>Entremont</c:v>
                </c:pt>
                <c:pt idx="256">
                  <c:v>Soignon</c:v>
                </c:pt>
                <c:pt idx="257">
                  <c:v>Private Lab</c:v>
                </c:pt>
                <c:pt idx="258">
                  <c:v>Etorki</c:v>
                </c:pt>
                <c:pt idx="259">
                  <c:v>Apericube</c:v>
                </c:pt>
                <c:pt idx="260">
                  <c:v>Leerdammer</c:v>
                </c:pt>
                <c:pt idx="261">
                  <c:v>Entremont</c:v>
                </c:pt>
                <c:pt idx="262">
                  <c:v>Caprice Des</c:v>
                </c:pt>
                <c:pt idx="263">
                  <c:v>Private Lab</c:v>
                </c:pt>
                <c:pt idx="264">
                  <c:v>Vieux Pane</c:v>
                </c:pt>
                <c:pt idx="265">
                  <c:v>Private Lab</c:v>
                </c:pt>
                <c:pt idx="266">
                  <c:v>President</c:v>
                </c:pt>
                <c:pt idx="267">
                  <c:v>Fol Epi</c:v>
                </c:pt>
                <c:pt idx="268">
                  <c:v>Soignon</c:v>
                </c:pt>
                <c:pt idx="269">
                  <c:v>Savencia: A</c:v>
                </c:pt>
                <c:pt idx="270">
                  <c:v>Salakis</c:v>
                </c:pt>
                <c:pt idx="271">
                  <c:v>Leerdammer</c:v>
                </c:pt>
                <c:pt idx="272">
                  <c:v>La Vache Qu</c:v>
                </c:pt>
                <c:pt idx="273">
                  <c:v>P'Tit Louis</c:v>
                </c:pt>
                <c:pt idx="274">
                  <c:v>Private Lab</c:v>
                </c:pt>
                <c:pt idx="275">
                  <c:v>Boursin</c:v>
                </c:pt>
                <c:pt idx="276">
                  <c:v>Private Lab</c:v>
                </c:pt>
                <c:pt idx="277">
                  <c:v>Parmareggio</c:v>
                </c:pt>
                <c:pt idx="278">
                  <c:v>Lactalis: A</c:v>
                </c:pt>
                <c:pt idx="279">
                  <c:v>Private Lab</c:v>
                </c:pt>
                <c:pt idx="280">
                  <c:v>Casa Azzurr</c:v>
                </c:pt>
                <c:pt idx="281">
                  <c:v>Galbani</c:v>
                </c:pt>
                <c:pt idx="282">
                  <c:v>Private Lab</c:v>
                </c:pt>
                <c:pt idx="283">
                  <c:v>Private Lab</c:v>
                </c:pt>
                <c:pt idx="284">
                  <c:v>Soignon</c:v>
                </c:pt>
                <c:pt idx="285">
                  <c:v>Saint Agur</c:v>
                </c:pt>
                <c:pt idx="286">
                  <c:v>Casa Azzurr</c:v>
                </c:pt>
                <c:pt idx="287">
                  <c:v>Apericube</c:v>
                </c:pt>
                <c:pt idx="288">
                  <c:v>Private Lab</c:v>
                </c:pt>
                <c:pt idx="289">
                  <c:v>Ficello</c:v>
                </c:pt>
                <c:pt idx="290">
                  <c:v>Pave D'Affi</c:v>
                </c:pt>
                <c:pt idx="291">
                  <c:v>Le Rustique</c:v>
                </c:pt>
                <c:pt idx="292">
                  <c:v>Private Lab</c:v>
                </c:pt>
                <c:pt idx="293">
                  <c:v>Private Lab</c:v>
                </c:pt>
                <c:pt idx="294">
                  <c:v>La Vache Qu</c:v>
                </c:pt>
                <c:pt idx="295">
                  <c:v>Apericube</c:v>
                </c:pt>
                <c:pt idx="296">
                  <c:v>Pochat</c:v>
                </c:pt>
                <c:pt idx="297">
                  <c:v>Paysan Bret</c:v>
                </c:pt>
                <c:pt idx="298">
                  <c:v>Private Lab</c:v>
                </c:pt>
                <c:pt idx="299">
                  <c:v>Soignon</c:v>
                </c:pt>
                <c:pt idx="300">
                  <c:v>Le Brebiou</c:v>
                </c:pt>
                <c:pt idx="301">
                  <c:v>Societe</c:v>
                </c:pt>
                <c:pt idx="302">
                  <c:v>Private Lab</c:v>
                </c:pt>
                <c:pt idx="303">
                  <c:v>Casa Azzurr</c:v>
                </c:pt>
                <c:pt idx="304">
                  <c:v>Boursin</c:v>
                </c:pt>
                <c:pt idx="305">
                  <c:v>Tartare</c:v>
                </c:pt>
                <c:pt idx="306">
                  <c:v>Private Lab</c:v>
                </c:pt>
                <c:pt idx="307">
                  <c:v>Private Lab</c:v>
                </c:pt>
                <c:pt idx="308">
                  <c:v>Private Lab</c:v>
                </c:pt>
                <c:pt idx="309">
                  <c:v>Aperivrais</c:v>
                </c:pt>
                <c:pt idx="310">
                  <c:v>Salakis</c:v>
                </c:pt>
                <c:pt idx="311">
                  <c:v>Private Lab</c:v>
                </c:pt>
                <c:pt idx="312">
                  <c:v>All Others</c:v>
                </c:pt>
                <c:pt idx="313">
                  <c:v>Lactalis: A</c:v>
                </c:pt>
                <c:pt idx="314">
                  <c:v>Bresse Bleu</c:v>
                </c:pt>
                <c:pt idx="315">
                  <c:v>Societe</c:v>
                </c:pt>
                <c:pt idx="316">
                  <c:v>Private Lab</c:v>
                </c:pt>
                <c:pt idx="317">
                  <c:v>St Moret</c:v>
                </c:pt>
                <c:pt idx="318">
                  <c:v>Private Lab</c:v>
                </c:pt>
                <c:pt idx="319">
                  <c:v>Carre Frais</c:v>
                </c:pt>
                <c:pt idx="320">
                  <c:v>President</c:v>
                </c:pt>
                <c:pt idx="321">
                  <c:v>Private Lab</c:v>
                </c:pt>
                <c:pt idx="322">
                  <c:v>Pochat</c:v>
                </c:pt>
                <c:pt idx="323">
                  <c:v>Private Lab</c:v>
                </c:pt>
                <c:pt idx="324">
                  <c:v>Private Lab</c:v>
                </c:pt>
                <c:pt idx="325">
                  <c:v>Private Lab</c:v>
                </c:pt>
                <c:pt idx="326">
                  <c:v>All Others</c:v>
                </c:pt>
                <c:pt idx="327">
                  <c:v>Pave D'Affi</c:v>
                </c:pt>
                <c:pt idx="328">
                  <c:v>Paysan Bret</c:v>
                </c:pt>
                <c:pt idx="329">
                  <c:v>Paysan Bret</c:v>
                </c:pt>
                <c:pt idx="330">
                  <c:v>Private Lab</c:v>
                </c:pt>
                <c:pt idx="331">
                  <c:v>President</c:v>
                </c:pt>
                <c:pt idx="332">
                  <c:v>Galbani</c:v>
                </c:pt>
                <c:pt idx="333">
                  <c:v>Aperivrais</c:v>
                </c:pt>
                <c:pt idx="334">
                  <c:v>All Others</c:v>
                </c:pt>
                <c:pt idx="335">
                  <c:v>All Others</c:v>
                </c:pt>
                <c:pt idx="336">
                  <c:v>Private Lab</c:v>
                </c:pt>
                <c:pt idx="337">
                  <c:v>Savencia: A</c:v>
                </c:pt>
                <c:pt idx="338">
                  <c:v>Private Lab</c:v>
                </c:pt>
                <c:pt idx="339">
                  <c:v>Soignon</c:v>
                </c:pt>
                <c:pt idx="340">
                  <c:v>Private Lab</c:v>
                </c:pt>
                <c:pt idx="341">
                  <c:v>President</c:v>
                </c:pt>
                <c:pt idx="342">
                  <c:v>Paysan Bret</c:v>
                </c:pt>
                <c:pt idx="343">
                  <c:v>Galbani</c:v>
                </c:pt>
                <c:pt idx="344">
                  <c:v>Private Lab</c:v>
                </c:pt>
                <c:pt idx="345">
                  <c:v>Private Lab</c:v>
                </c:pt>
                <c:pt idx="346">
                  <c:v>Private Lab</c:v>
                </c:pt>
                <c:pt idx="347">
                  <c:v>Galbani</c:v>
                </c:pt>
                <c:pt idx="348">
                  <c:v>Galbani</c:v>
                </c:pt>
                <c:pt idx="349">
                  <c:v>Le Rustique</c:v>
                </c:pt>
                <c:pt idx="350">
                  <c:v>Soignon</c:v>
                </c:pt>
                <c:pt idx="351">
                  <c:v>Caprice Des</c:v>
                </c:pt>
                <c:pt idx="352">
                  <c:v>President</c:v>
                </c:pt>
                <c:pt idx="353">
                  <c:v>St Moret</c:v>
                </c:pt>
                <c:pt idx="354">
                  <c:v>Les Mousque</c:v>
                </c:pt>
                <c:pt idx="355">
                  <c:v>Kiri</c:v>
                </c:pt>
                <c:pt idx="356">
                  <c:v>Boursin</c:v>
                </c:pt>
                <c:pt idx="357">
                  <c:v>Boursin</c:v>
                </c:pt>
                <c:pt idx="358">
                  <c:v>President</c:v>
                </c:pt>
                <c:pt idx="359">
                  <c:v>Casa Azzurr</c:v>
                </c:pt>
                <c:pt idx="360">
                  <c:v>Private Lab</c:v>
                </c:pt>
                <c:pt idx="361">
                  <c:v>Savencia: A</c:v>
                </c:pt>
                <c:pt idx="362">
                  <c:v>Private Lab</c:v>
                </c:pt>
                <c:pt idx="363">
                  <c:v>Chavroux</c:v>
                </c:pt>
                <c:pt idx="364">
                  <c:v>All Others</c:v>
                </c:pt>
                <c:pt idx="365">
                  <c:v>Les Mousque</c:v>
                </c:pt>
                <c:pt idx="366">
                  <c:v>All Others</c:v>
                </c:pt>
                <c:pt idx="367">
                  <c:v>Mini Babybe</c:v>
                </c:pt>
                <c:pt idx="368">
                  <c:v>Galbani</c:v>
                </c:pt>
                <c:pt idx="369">
                  <c:v>President</c:v>
                </c:pt>
                <c:pt idx="370">
                  <c:v>Fauquet</c:v>
                </c:pt>
                <c:pt idx="371">
                  <c:v>Private Lab</c:v>
                </c:pt>
                <c:pt idx="372">
                  <c:v>Private Lab</c:v>
                </c:pt>
                <c:pt idx="373">
                  <c:v>L'Ortolan</c:v>
                </c:pt>
                <c:pt idx="374">
                  <c:v>La Vache Qu</c:v>
                </c:pt>
                <c:pt idx="375">
                  <c:v>Lou Perac</c:v>
                </c:pt>
                <c:pt idx="376">
                  <c:v>Milleret: A</c:v>
                </c:pt>
                <c:pt idx="377">
                  <c:v>Private Lab</c:v>
                </c:pt>
                <c:pt idx="378">
                  <c:v>Lactalis: A</c:v>
                </c:pt>
                <c:pt idx="379">
                  <c:v>All Others</c:v>
                </c:pt>
                <c:pt idx="380">
                  <c:v>Entremont</c:v>
                </c:pt>
                <c:pt idx="381">
                  <c:v>Private Lab</c:v>
                </c:pt>
                <c:pt idx="382">
                  <c:v>Private Lab</c:v>
                </c:pt>
                <c:pt idx="383">
                  <c:v>Paysan Bret</c:v>
                </c:pt>
                <c:pt idx="384">
                  <c:v>Boursin</c:v>
                </c:pt>
                <c:pt idx="385">
                  <c:v>St Moret</c:v>
                </c:pt>
                <c:pt idx="386">
                  <c:v>Galbani</c:v>
                </c:pt>
                <c:pt idx="387">
                  <c:v>All Others</c:v>
                </c:pt>
                <c:pt idx="388">
                  <c:v>Tartare</c:v>
                </c:pt>
                <c:pt idx="389">
                  <c:v>Private Lab</c:v>
                </c:pt>
                <c:pt idx="390">
                  <c:v>Societe</c:v>
                </c:pt>
                <c:pt idx="391">
                  <c:v>Soignon</c:v>
                </c:pt>
                <c:pt idx="392">
                  <c:v>St Moret</c:v>
                </c:pt>
                <c:pt idx="393">
                  <c:v>Private Lab</c:v>
                </c:pt>
                <c:pt idx="394">
                  <c:v>Private Lab</c:v>
                </c:pt>
                <c:pt idx="395">
                  <c:v>Pave D'Affi</c:v>
                </c:pt>
                <c:pt idx="396">
                  <c:v>Le Rustique</c:v>
                </c:pt>
                <c:pt idx="397">
                  <c:v>Casa Azzurr</c:v>
                </c:pt>
                <c:pt idx="398">
                  <c:v>All Others</c:v>
                </c:pt>
                <c:pt idx="399">
                  <c:v>Private Lab</c:v>
                </c:pt>
                <c:pt idx="400">
                  <c:v>Galbani</c:v>
                </c:pt>
                <c:pt idx="401">
                  <c:v>Eurial Autr</c:v>
                </c:pt>
                <c:pt idx="402">
                  <c:v>Casa Azzurr</c:v>
                </c:pt>
                <c:pt idx="403">
                  <c:v>All Others</c:v>
                </c:pt>
                <c:pt idx="404">
                  <c:v>All Others</c:v>
                </c:pt>
                <c:pt idx="405">
                  <c:v>Leerdammer</c:v>
                </c:pt>
                <c:pt idx="406">
                  <c:v>Private Lab</c:v>
                </c:pt>
                <c:pt idx="407">
                  <c:v>All Others</c:v>
                </c:pt>
                <c:pt idx="408">
                  <c:v>Private Lab</c:v>
                </c:pt>
                <c:pt idx="409">
                  <c:v>Galbani</c:v>
                </c:pt>
                <c:pt idx="410">
                  <c:v>Boursin</c:v>
                </c:pt>
                <c:pt idx="411">
                  <c:v>Kiri</c:v>
                </c:pt>
                <c:pt idx="412">
                  <c:v>Private Lab</c:v>
                </c:pt>
                <c:pt idx="413">
                  <c:v>Private Lab</c:v>
                </c:pt>
                <c:pt idx="414">
                  <c:v>Societe</c:v>
                </c:pt>
                <c:pt idx="415">
                  <c:v>Aperivrais</c:v>
                </c:pt>
                <c:pt idx="416">
                  <c:v>Tartare</c:v>
                </c:pt>
                <c:pt idx="417">
                  <c:v>Salakis</c:v>
                </c:pt>
                <c:pt idx="418">
                  <c:v>Boursin</c:v>
                </c:pt>
                <c:pt idx="419">
                  <c:v>All Others</c:v>
                </c:pt>
                <c:pt idx="420">
                  <c:v>Etorki</c:v>
                </c:pt>
                <c:pt idx="421">
                  <c:v>Boursin</c:v>
                </c:pt>
                <c:pt idx="422">
                  <c:v>Boursin</c:v>
                </c:pt>
                <c:pt idx="423">
                  <c:v>Mini Babybe</c:v>
                </c:pt>
                <c:pt idx="424">
                  <c:v>Casa Azzurr</c:v>
                </c:pt>
                <c:pt idx="425">
                  <c:v>Private Lab</c:v>
                </c:pt>
                <c:pt idx="426">
                  <c:v>Soignon</c:v>
                </c:pt>
                <c:pt idx="427">
                  <c:v>Private Lab</c:v>
                </c:pt>
                <c:pt idx="428">
                  <c:v>Private Lab</c:v>
                </c:pt>
                <c:pt idx="429">
                  <c:v>Islos</c:v>
                </c:pt>
                <c:pt idx="430">
                  <c:v>Eurial Autr</c:v>
                </c:pt>
                <c:pt idx="431">
                  <c:v>All Others</c:v>
                </c:pt>
                <c:pt idx="432">
                  <c:v>St Moret</c:v>
                </c:pt>
                <c:pt idx="433">
                  <c:v>Boursin</c:v>
                </c:pt>
                <c:pt idx="434">
                  <c:v>Fol Epi</c:v>
                </c:pt>
                <c:pt idx="435">
                  <c:v>Aperivrais</c:v>
                </c:pt>
                <c:pt idx="436">
                  <c:v>Private Lab</c:v>
                </c:pt>
                <c:pt idx="437">
                  <c:v>Savencia: A</c:v>
                </c:pt>
                <c:pt idx="438">
                  <c:v>Private Lab</c:v>
                </c:pt>
                <c:pt idx="439">
                  <c:v>Vieux Pane</c:v>
                </c:pt>
                <c:pt idx="440">
                  <c:v>All Others</c:v>
                </c:pt>
                <c:pt idx="441">
                  <c:v>Galbani</c:v>
                </c:pt>
                <c:pt idx="442">
                  <c:v>Savencia: A</c:v>
                </c:pt>
                <c:pt idx="443">
                  <c:v>Societe</c:v>
                </c:pt>
                <c:pt idx="444">
                  <c:v>Private Lab</c:v>
                </c:pt>
                <c:pt idx="445">
                  <c:v>All Others</c:v>
                </c:pt>
                <c:pt idx="446">
                  <c:v>Vieux Pane</c:v>
                </c:pt>
                <c:pt idx="447">
                  <c:v>La Belle Et</c:v>
                </c:pt>
                <c:pt idx="448">
                  <c:v>Casa Azzurr</c:v>
                </c:pt>
                <c:pt idx="449">
                  <c:v>Caprice Des</c:v>
                </c:pt>
                <c:pt idx="450">
                  <c:v>Apericube</c:v>
                </c:pt>
                <c:pt idx="451">
                  <c:v>Juraflore</c:v>
                </c:pt>
                <c:pt idx="452">
                  <c:v>Private Lab</c:v>
                </c:pt>
                <c:pt idx="453">
                  <c:v>Leerdammer</c:v>
                </c:pt>
                <c:pt idx="454">
                  <c:v>Lou Perac</c:v>
                </c:pt>
                <c:pt idx="455">
                  <c:v>Pave D'Affi</c:v>
                </c:pt>
                <c:pt idx="456">
                  <c:v>Caprice Des</c:v>
                </c:pt>
                <c:pt idx="457">
                  <c:v>Private Lab</c:v>
                </c:pt>
                <c:pt idx="458">
                  <c:v>Lactalis: A</c:v>
                </c:pt>
                <c:pt idx="459">
                  <c:v>Boursin</c:v>
                </c:pt>
                <c:pt idx="460">
                  <c:v>Islos</c:v>
                </c:pt>
                <c:pt idx="461">
                  <c:v>Private Lab</c:v>
                </c:pt>
                <c:pt idx="462">
                  <c:v>Saint Agur</c:v>
                </c:pt>
                <c:pt idx="463">
                  <c:v>Lou Perac</c:v>
                </c:pt>
                <c:pt idx="464">
                  <c:v>Lactalis: A</c:v>
                </c:pt>
                <c:pt idx="465">
                  <c:v>Les Mousque</c:v>
                </c:pt>
                <c:pt idx="466">
                  <c:v>Private Lab</c:v>
                </c:pt>
                <c:pt idx="467">
                  <c:v>Private Lab</c:v>
                </c:pt>
                <c:pt idx="468">
                  <c:v>Coeur De Li</c:v>
                </c:pt>
                <c:pt idx="469">
                  <c:v>Kiri</c:v>
                </c:pt>
                <c:pt idx="470">
                  <c:v>President</c:v>
                </c:pt>
                <c:pt idx="471">
                  <c:v>President</c:v>
                </c:pt>
                <c:pt idx="472">
                  <c:v>All Others</c:v>
                </c:pt>
                <c:pt idx="473">
                  <c:v>Paysan Bret</c:v>
                </c:pt>
                <c:pt idx="474">
                  <c:v>Private Lab</c:v>
                </c:pt>
                <c:pt idx="475">
                  <c:v>La Vache Qu</c:v>
                </c:pt>
                <c:pt idx="476">
                  <c:v>Tartare</c:v>
                </c:pt>
                <c:pt idx="477">
                  <c:v>Paysan Bret</c:v>
                </c:pt>
                <c:pt idx="478">
                  <c:v>Private Lab</c:v>
                </c:pt>
                <c:pt idx="479">
                  <c:v>Private Lab</c:v>
                </c:pt>
                <c:pt idx="480">
                  <c:v>Etoile Du V</c:v>
                </c:pt>
                <c:pt idx="481">
                  <c:v>Salakis</c:v>
                </c:pt>
                <c:pt idx="482">
                  <c:v>Bresse Bleu</c:v>
                </c:pt>
                <c:pt idx="483">
                  <c:v>L'Ortolan</c:v>
                </c:pt>
                <c:pt idx="484">
                  <c:v>All Others</c:v>
                </c:pt>
                <c:pt idx="485">
                  <c:v>Private Lab</c:v>
                </c:pt>
                <c:pt idx="486">
                  <c:v>Le Coq Crem</c:v>
                </c:pt>
                <c:pt idx="487">
                  <c:v>Pochat</c:v>
                </c:pt>
                <c:pt idx="488">
                  <c:v>La Belle Et</c:v>
                </c:pt>
                <c:pt idx="489">
                  <c:v>All Others</c:v>
                </c:pt>
                <c:pt idx="490">
                  <c:v>Tartare</c:v>
                </c:pt>
                <c:pt idx="491">
                  <c:v>All Others</c:v>
                </c:pt>
                <c:pt idx="492">
                  <c:v>All Others</c:v>
                </c:pt>
                <c:pt idx="493">
                  <c:v>Casa Azzurr</c:v>
                </c:pt>
                <c:pt idx="494">
                  <c:v>Tartare</c:v>
                </c:pt>
                <c:pt idx="495">
                  <c:v>Entremont</c:v>
                </c:pt>
                <c:pt idx="496">
                  <c:v>Istara</c:v>
                </c:pt>
                <c:pt idx="497">
                  <c:v>Juraflore</c:v>
                </c:pt>
                <c:pt idx="498">
                  <c:v>Private Lab</c:v>
                </c:pt>
                <c:pt idx="499">
                  <c:v>President</c:v>
                </c:pt>
                <c:pt idx="500">
                  <c:v>Private Lab</c:v>
                </c:pt>
                <c:pt idx="501">
                  <c:v>L'Ortolan</c:v>
                </c:pt>
                <c:pt idx="502">
                  <c:v>Fol Epi</c:v>
                </c:pt>
                <c:pt idx="503">
                  <c:v>Private Lab</c:v>
                </c:pt>
                <c:pt idx="504">
                  <c:v>Entremont</c:v>
                </c:pt>
                <c:pt idx="505">
                  <c:v>Private Lab</c:v>
                </c:pt>
                <c:pt idx="506">
                  <c:v>Paysan Bret</c:v>
                </c:pt>
                <c:pt idx="507">
                  <c:v>All Others</c:v>
                </c:pt>
                <c:pt idx="508">
                  <c:v>St Moret</c:v>
                </c:pt>
                <c:pt idx="509">
                  <c:v>All Others</c:v>
                </c:pt>
                <c:pt idx="510">
                  <c:v>All Others</c:v>
                </c:pt>
                <c:pt idx="511">
                  <c:v>All Others</c:v>
                </c:pt>
                <c:pt idx="512">
                  <c:v>Soignon</c:v>
                </c:pt>
                <c:pt idx="513">
                  <c:v>Le Saint Am</c:v>
                </c:pt>
                <c:pt idx="514">
                  <c:v>All Others</c:v>
                </c:pt>
                <c:pt idx="515">
                  <c:v>Savencia: A</c:v>
                </c:pt>
                <c:pt idx="516">
                  <c:v>Galbani</c:v>
                </c:pt>
                <c:pt idx="517">
                  <c:v>Corsica</c:v>
                </c:pt>
                <c:pt idx="518">
                  <c:v>Savencia: A</c:v>
                </c:pt>
                <c:pt idx="519">
                  <c:v>Mini Babybe</c:v>
                </c:pt>
                <c:pt idx="520">
                  <c:v>Private Lab</c:v>
                </c:pt>
                <c:pt idx="521">
                  <c:v>Private Lab</c:v>
                </c:pt>
                <c:pt idx="522">
                  <c:v>All Others</c:v>
                </c:pt>
                <c:pt idx="523">
                  <c:v>Paysan Bret</c:v>
                </c:pt>
                <c:pt idx="524">
                  <c:v>President</c:v>
                </c:pt>
                <c:pt idx="525">
                  <c:v>All Others</c:v>
                </c:pt>
                <c:pt idx="526">
                  <c:v>Galbani</c:v>
                </c:pt>
                <c:pt idx="527">
                  <c:v>Les Mousque</c:v>
                </c:pt>
                <c:pt idx="528">
                  <c:v>Paysan Bret</c:v>
                </c:pt>
                <c:pt idx="529">
                  <c:v>Boursin</c:v>
                </c:pt>
                <c:pt idx="530">
                  <c:v>Apericube</c:v>
                </c:pt>
                <c:pt idx="531">
                  <c:v>Savencia: A</c:v>
                </c:pt>
                <c:pt idx="532">
                  <c:v>P'Tit Louis</c:v>
                </c:pt>
                <c:pt idx="533">
                  <c:v>Bresse Bleu</c:v>
                </c:pt>
                <c:pt idx="534">
                  <c:v>President</c:v>
                </c:pt>
                <c:pt idx="535">
                  <c:v>Triballat N</c:v>
                </c:pt>
                <c:pt idx="536">
                  <c:v>All Others</c:v>
                </c:pt>
                <c:pt idx="537">
                  <c:v>All Others</c:v>
                </c:pt>
                <c:pt idx="538">
                  <c:v>Richesmonts</c:v>
                </c:pt>
                <c:pt idx="539">
                  <c:v>Soignon</c:v>
                </c:pt>
                <c:pt idx="540">
                  <c:v>All Others</c:v>
                </c:pt>
                <c:pt idx="541">
                  <c:v>Cousteron</c:v>
                </c:pt>
                <c:pt idx="542">
                  <c:v>All Others</c:v>
                </c:pt>
                <c:pt idx="543">
                  <c:v>All Others</c:v>
                </c:pt>
                <c:pt idx="544">
                  <c:v>Private Lab</c:v>
                </c:pt>
                <c:pt idx="545">
                  <c:v>All Others</c:v>
                </c:pt>
                <c:pt idx="546">
                  <c:v>Milleret: A</c:v>
                </c:pt>
                <c:pt idx="547">
                  <c:v>Pochat</c:v>
                </c:pt>
                <c:pt idx="548">
                  <c:v>Lactalis: A</c:v>
                </c:pt>
                <c:pt idx="549">
                  <c:v>All Others</c:v>
                </c:pt>
                <c:pt idx="550">
                  <c:v>All Others</c:v>
                </c:pt>
                <c:pt idx="551">
                  <c:v>Eurial Autr</c:v>
                </c:pt>
                <c:pt idx="552">
                  <c:v>Raguin</c:v>
                </c:pt>
                <c:pt idx="553">
                  <c:v>Caprice Des</c:v>
                </c:pt>
                <c:pt idx="554">
                  <c:v>Etoile Du Q</c:v>
                </c:pt>
                <c:pt idx="555">
                  <c:v>President</c:v>
                </c:pt>
                <c:pt idx="556">
                  <c:v>Savencia: A</c:v>
                </c:pt>
                <c:pt idx="557">
                  <c:v>Soignon</c:v>
                </c:pt>
                <c:pt idx="558">
                  <c:v>Kiri</c:v>
                </c:pt>
                <c:pt idx="559">
                  <c:v>All Others</c:v>
                </c:pt>
                <c:pt idx="560">
                  <c:v>All Others</c:v>
                </c:pt>
                <c:pt idx="561">
                  <c:v>Entremont</c:v>
                </c:pt>
                <c:pt idx="562">
                  <c:v>All Others</c:v>
                </c:pt>
                <c:pt idx="563">
                  <c:v>Apericube</c:v>
                </c:pt>
                <c:pt idx="564">
                  <c:v>Savencia: A</c:v>
                </c:pt>
                <c:pt idx="565">
                  <c:v>All Others</c:v>
                </c:pt>
                <c:pt idx="566">
                  <c:v>All Others</c:v>
                </c:pt>
                <c:pt idx="567">
                  <c:v>All Others</c:v>
                </c:pt>
                <c:pt idx="568">
                  <c:v>Lactalis: A</c:v>
                </c:pt>
                <c:pt idx="569">
                  <c:v>Raguin</c:v>
                </c:pt>
                <c:pt idx="570">
                  <c:v>All Others</c:v>
                </c:pt>
                <c:pt idx="571">
                  <c:v>Boursin</c:v>
                </c:pt>
                <c:pt idx="572">
                  <c:v>Richesmonts</c:v>
                </c:pt>
                <c:pt idx="573">
                  <c:v>Entremont</c:v>
                </c:pt>
                <c:pt idx="574">
                  <c:v>All Others</c:v>
                </c:pt>
                <c:pt idx="575">
                  <c:v>Triballat N</c:v>
                </c:pt>
                <c:pt idx="576">
                  <c:v>Violife</c:v>
                </c:pt>
                <c:pt idx="577">
                  <c:v>Private Lab</c:v>
                </c:pt>
                <c:pt idx="578">
                  <c:v>All Others</c:v>
                </c:pt>
                <c:pt idx="579">
                  <c:v>Lactalis: A</c:v>
                </c:pt>
                <c:pt idx="580">
                  <c:v>All Others</c:v>
                </c:pt>
                <c:pt idx="581">
                  <c:v>Saint Albra</c:v>
                </c:pt>
                <c:pt idx="582">
                  <c:v>Chaussee Au</c:v>
                </c:pt>
                <c:pt idx="583">
                  <c:v>All Others</c:v>
                </c:pt>
                <c:pt idx="584">
                  <c:v>Etoile Du V</c:v>
                </c:pt>
                <c:pt idx="585">
                  <c:v>All Others</c:v>
                </c:pt>
                <c:pt idx="586">
                  <c:v>Private Lab</c:v>
                </c:pt>
                <c:pt idx="587">
                  <c:v>Entremont</c:v>
                </c:pt>
                <c:pt idx="588">
                  <c:v>Private Lab</c:v>
                </c:pt>
                <c:pt idx="589">
                  <c:v>All Others</c:v>
                </c:pt>
                <c:pt idx="590">
                  <c:v>L'Ortolan</c:v>
                </c:pt>
                <c:pt idx="591">
                  <c:v>All Others</c:v>
                </c:pt>
                <c:pt idx="592">
                  <c:v>Soignon</c:v>
                </c:pt>
                <c:pt idx="593">
                  <c:v>Triballat N</c:v>
                </c:pt>
                <c:pt idx="594">
                  <c:v>Lactalis: A</c:v>
                </c:pt>
                <c:pt idx="595">
                  <c:v>Lactalis: A</c:v>
                </c:pt>
                <c:pt idx="596">
                  <c:v>Boursin</c:v>
                </c:pt>
                <c:pt idx="597">
                  <c:v>Carre Frais</c:v>
                </c:pt>
                <c:pt idx="598">
                  <c:v>Private Lab</c:v>
                </c:pt>
                <c:pt idx="599">
                  <c:v>La Belle Et</c:v>
                </c:pt>
                <c:pt idx="600">
                  <c:v>All Others</c:v>
                </c:pt>
                <c:pt idx="601">
                  <c:v>Chavroux</c:v>
                </c:pt>
                <c:pt idx="602">
                  <c:v>Lactalis: A</c:v>
                </c:pt>
                <c:pt idx="603">
                  <c:v>Paysan Bret</c:v>
                </c:pt>
                <c:pt idx="604">
                  <c:v>Raguin</c:v>
                </c:pt>
                <c:pt idx="605">
                  <c:v>Raguin</c:v>
                </c:pt>
                <c:pt idx="606">
                  <c:v>Chavroux</c:v>
                </c:pt>
                <c:pt idx="607">
                  <c:v>Boursin</c:v>
                </c:pt>
                <c:pt idx="608">
                  <c:v>All Others</c:v>
                </c:pt>
                <c:pt idx="609">
                  <c:v>All Others</c:v>
                </c:pt>
                <c:pt idx="610">
                  <c:v>All Others</c:v>
                </c:pt>
                <c:pt idx="611">
                  <c:v>Societe</c:v>
                </c:pt>
                <c:pt idx="612">
                  <c:v>All Others</c:v>
                </c:pt>
                <c:pt idx="613">
                  <c:v>Etorki</c:v>
                </c:pt>
                <c:pt idx="614">
                  <c:v>Etoile Du V</c:v>
                </c:pt>
                <c:pt idx="615">
                  <c:v>Entremont</c:v>
                </c:pt>
                <c:pt idx="616">
                  <c:v>Salakis</c:v>
                </c:pt>
                <c:pt idx="617">
                  <c:v>All Others</c:v>
                </c:pt>
                <c:pt idx="618">
                  <c:v>Milleret: A</c:v>
                </c:pt>
                <c:pt idx="619">
                  <c:v>All Others</c:v>
                </c:pt>
                <c:pt idx="620">
                  <c:v>All Others</c:v>
                </c:pt>
                <c:pt idx="621">
                  <c:v>Le Brebiou</c:v>
                </c:pt>
                <c:pt idx="622">
                  <c:v>Paysan Bret</c:v>
                </c:pt>
                <c:pt idx="623">
                  <c:v>Societe</c:v>
                </c:pt>
                <c:pt idx="624">
                  <c:v>All Others</c:v>
                </c:pt>
                <c:pt idx="625">
                  <c:v>All Others</c:v>
                </c:pt>
                <c:pt idx="626">
                  <c:v>All Others</c:v>
                </c:pt>
                <c:pt idx="627">
                  <c:v>Richesmonts</c:v>
                </c:pt>
                <c:pt idx="628">
                  <c:v>All Others</c:v>
                </c:pt>
                <c:pt idx="629">
                  <c:v>Paysan Bret</c:v>
                </c:pt>
                <c:pt idx="630">
                  <c:v>Savencia: A</c:v>
                </c:pt>
                <c:pt idx="631">
                  <c:v>All Others</c:v>
                </c:pt>
                <c:pt idx="632">
                  <c:v>Entremont</c:v>
                </c:pt>
                <c:pt idx="633">
                  <c:v>Fauquet</c:v>
                </c:pt>
                <c:pt idx="634">
                  <c:v>All Others</c:v>
                </c:pt>
                <c:pt idx="635">
                  <c:v>All Others</c:v>
                </c:pt>
                <c:pt idx="636">
                  <c:v>All Others</c:v>
                </c:pt>
                <c:pt idx="637">
                  <c:v>All Others</c:v>
                </c:pt>
                <c:pt idx="638">
                  <c:v>Milleret: A</c:v>
                </c:pt>
                <c:pt idx="639">
                  <c:v>All Others</c:v>
                </c:pt>
                <c:pt idx="640">
                  <c:v>All Others</c:v>
                </c:pt>
                <c:pt idx="641">
                  <c:v>Casa Azzurr</c:v>
                </c:pt>
                <c:pt idx="642">
                  <c:v>All Others</c:v>
                </c:pt>
                <c:pt idx="643">
                  <c:v>All Others</c:v>
                </c:pt>
                <c:pt idx="644">
                  <c:v>All Others</c:v>
                </c:pt>
                <c:pt idx="645">
                  <c:v>Salakis</c:v>
                </c:pt>
                <c:pt idx="646">
                  <c:v>All Others</c:v>
                </c:pt>
                <c:pt idx="647">
                  <c:v>Milleret: A</c:v>
                </c:pt>
                <c:pt idx="648">
                  <c:v>Savencia: A</c:v>
                </c:pt>
                <c:pt idx="649">
                  <c:v>All Others</c:v>
                </c:pt>
                <c:pt idx="650">
                  <c:v>All Others</c:v>
                </c:pt>
                <c:pt idx="651">
                  <c:v>President</c:v>
                </c:pt>
                <c:pt idx="652">
                  <c:v>Les Mousque</c:v>
                </c:pt>
                <c:pt idx="653">
                  <c:v>All Others</c:v>
                </c:pt>
                <c:pt idx="654">
                  <c:v>All Others</c:v>
                </c:pt>
                <c:pt idx="655">
                  <c:v>All Others</c:v>
                </c:pt>
                <c:pt idx="656">
                  <c:v>Nurishh</c:v>
                </c:pt>
                <c:pt idx="657">
                  <c:v>Lactalis: A</c:v>
                </c:pt>
                <c:pt idx="658">
                  <c:v>All Others</c:v>
                </c:pt>
                <c:pt idx="659">
                  <c:v>Milleret: A</c:v>
                </c:pt>
                <c:pt idx="660">
                  <c:v>Saint Agur</c:v>
                </c:pt>
                <c:pt idx="661">
                  <c:v>All Others</c:v>
                </c:pt>
                <c:pt idx="662">
                  <c:v>Istara</c:v>
                </c:pt>
                <c:pt idx="663">
                  <c:v>All Others</c:v>
                </c:pt>
                <c:pt idx="664">
                  <c:v>Aperivrais</c:v>
                </c:pt>
                <c:pt idx="665">
                  <c:v>All Others</c:v>
                </c:pt>
                <c:pt idx="666">
                  <c:v>All Others</c:v>
                </c:pt>
                <c:pt idx="667">
                  <c:v>Violife</c:v>
                </c:pt>
                <c:pt idx="668">
                  <c:v>Violife</c:v>
                </c:pt>
                <c:pt idx="669">
                  <c:v>All Others</c:v>
                </c:pt>
                <c:pt idx="670">
                  <c:v>All Others</c:v>
                </c:pt>
                <c:pt idx="671">
                  <c:v>All Others</c:v>
                </c:pt>
                <c:pt idx="672">
                  <c:v>All Others</c:v>
                </c:pt>
                <c:pt idx="673">
                  <c:v>Lactalis: A</c:v>
                </c:pt>
                <c:pt idx="674">
                  <c:v>All Others</c:v>
                </c:pt>
                <c:pt idx="675">
                  <c:v>Etoile Du V</c:v>
                </c:pt>
                <c:pt idx="676">
                  <c:v>Private Lab</c:v>
                </c:pt>
                <c:pt idx="677">
                  <c:v>All Others</c:v>
                </c:pt>
                <c:pt idx="678">
                  <c:v>All Others</c:v>
                </c:pt>
                <c:pt idx="679">
                  <c:v>Tartare</c:v>
                </c:pt>
                <c:pt idx="680">
                  <c:v>All Others</c:v>
                </c:pt>
                <c:pt idx="681">
                  <c:v>All Others</c:v>
                </c:pt>
                <c:pt idx="682">
                  <c:v>Etoile Du V</c:v>
                </c:pt>
                <c:pt idx="683">
                  <c:v>All Others</c:v>
                </c:pt>
                <c:pt idx="684">
                  <c:v>All Others</c:v>
                </c:pt>
                <c:pt idx="685">
                  <c:v>Nurishh</c:v>
                </c:pt>
                <c:pt idx="686">
                  <c:v>La Belle Et</c:v>
                </c:pt>
                <c:pt idx="687">
                  <c:v>All Others</c:v>
                </c:pt>
                <c:pt idx="688">
                  <c:v>All Others</c:v>
                </c:pt>
                <c:pt idx="689">
                  <c:v>All Others</c:v>
                </c:pt>
                <c:pt idx="690">
                  <c:v>Paysan Bret</c:v>
                </c:pt>
                <c:pt idx="691">
                  <c:v>All Others</c:v>
                </c:pt>
                <c:pt idx="692">
                  <c:v>All Others</c:v>
                </c:pt>
                <c:pt idx="693">
                  <c:v>All Others</c:v>
                </c:pt>
                <c:pt idx="694">
                  <c:v>All Others</c:v>
                </c:pt>
                <c:pt idx="695">
                  <c:v>All Others</c:v>
                </c:pt>
                <c:pt idx="696">
                  <c:v>All Others</c:v>
                </c:pt>
                <c:pt idx="697">
                  <c:v>All Others</c:v>
                </c:pt>
                <c:pt idx="698">
                  <c:v>Savencia: A</c:v>
                </c:pt>
                <c:pt idx="699">
                  <c:v>Etoile Du V</c:v>
                </c:pt>
                <c:pt idx="700">
                  <c:v>All Others</c:v>
                </c:pt>
                <c:pt idx="701">
                  <c:v>Savencia: A</c:v>
                </c:pt>
                <c:pt idx="702">
                  <c:v>All Others</c:v>
                </c:pt>
                <c:pt idx="703">
                  <c:v>All Others</c:v>
                </c:pt>
                <c:pt idx="704">
                  <c:v>All Others</c:v>
                </c:pt>
                <c:pt idx="705">
                  <c:v>All Others</c:v>
                </c:pt>
                <c:pt idx="706">
                  <c:v>Milleret: A</c:v>
                </c:pt>
                <c:pt idx="707">
                  <c:v>Lactalis: A</c:v>
                </c:pt>
                <c:pt idx="708">
                  <c:v>Triballat N</c:v>
                </c:pt>
                <c:pt idx="709">
                  <c:v>All Others</c:v>
                </c:pt>
                <c:pt idx="710">
                  <c:v>All Others</c:v>
                </c:pt>
                <c:pt idx="711">
                  <c:v>All Others</c:v>
                </c:pt>
                <c:pt idx="712">
                  <c:v>All Others</c:v>
                </c:pt>
                <c:pt idx="713">
                  <c:v>All Others</c:v>
                </c:pt>
                <c:pt idx="714">
                  <c:v>Casa Azzurr</c:v>
                </c:pt>
                <c:pt idx="715">
                  <c:v>All Others</c:v>
                </c:pt>
                <c:pt idx="716">
                  <c:v>All Others</c:v>
                </c:pt>
                <c:pt idx="717">
                  <c:v>All Others</c:v>
                </c:pt>
                <c:pt idx="718">
                  <c:v>All Others</c:v>
                </c:pt>
                <c:pt idx="719">
                  <c:v>L'Ortolan</c:v>
                </c:pt>
                <c:pt idx="720">
                  <c:v>La Belle Et</c:v>
                </c:pt>
                <c:pt idx="721">
                  <c:v>All Others</c:v>
                </c:pt>
                <c:pt idx="722">
                  <c:v>All Others</c:v>
                </c:pt>
                <c:pt idx="723">
                  <c:v>All Others</c:v>
                </c:pt>
                <c:pt idx="724">
                  <c:v>Rians</c:v>
                </c:pt>
                <c:pt idx="725">
                  <c:v>All Others</c:v>
                </c:pt>
                <c:pt idx="726">
                  <c:v>Private Lab</c:v>
                </c:pt>
                <c:pt idx="727">
                  <c:v>All Others</c:v>
                </c:pt>
                <c:pt idx="728">
                  <c:v>Entremont</c:v>
                </c:pt>
                <c:pt idx="729">
                  <c:v>All Others</c:v>
                </c:pt>
                <c:pt idx="730">
                  <c:v>All Others</c:v>
                </c:pt>
                <c:pt idx="731">
                  <c:v>All Others</c:v>
                </c:pt>
                <c:pt idx="732">
                  <c:v>All Others</c:v>
                </c:pt>
                <c:pt idx="733">
                  <c:v>All Others</c:v>
                </c:pt>
                <c:pt idx="734">
                  <c:v>All Others</c:v>
                </c:pt>
                <c:pt idx="735">
                  <c:v>All Others</c:v>
                </c:pt>
                <c:pt idx="736">
                  <c:v>Entremont</c:v>
                </c:pt>
                <c:pt idx="737">
                  <c:v>All Others</c:v>
                </c:pt>
                <c:pt idx="738">
                  <c:v>Fol Epi</c:v>
                </c:pt>
                <c:pt idx="739">
                  <c:v>All Others</c:v>
                </c:pt>
                <c:pt idx="740">
                  <c:v>All Others</c:v>
                </c:pt>
                <c:pt idx="741">
                  <c:v>All Others</c:v>
                </c:pt>
                <c:pt idx="742">
                  <c:v>All Others</c:v>
                </c:pt>
                <c:pt idx="743">
                  <c:v>La Table M</c:v>
                </c:pt>
                <c:pt idx="744">
                  <c:v>Nurishh</c:v>
                </c:pt>
                <c:pt idx="745">
                  <c:v>All Others</c:v>
                </c:pt>
                <c:pt idx="746">
                  <c:v>All Others</c:v>
                </c:pt>
                <c:pt idx="747">
                  <c:v>All Others</c:v>
                </c:pt>
                <c:pt idx="748">
                  <c:v>All Others</c:v>
                </c:pt>
                <c:pt idx="749">
                  <c:v>Etoile Du V</c:v>
                </c:pt>
                <c:pt idx="750">
                  <c:v>All Others</c:v>
                </c:pt>
                <c:pt idx="751">
                  <c:v>All Others</c:v>
                </c:pt>
                <c:pt idx="752">
                  <c:v>All Others</c:v>
                </c:pt>
                <c:pt idx="753">
                  <c:v>All Others</c:v>
                </c:pt>
                <c:pt idx="754">
                  <c:v>All Others</c:v>
                </c:pt>
                <c:pt idx="755">
                  <c:v>Lactalis: A</c:v>
                </c:pt>
                <c:pt idx="756">
                  <c:v>All Others</c:v>
                </c:pt>
                <c:pt idx="757">
                  <c:v>All Others</c:v>
                </c:pt>
                <c:pt idx="758">
                  <c:v>All Others</c:v>
                </c:pt>
                <c:pt idx="759">
                  <c:v>All Others</c:v>
                </c:pt>
                <c:pt idx="760">
                  <c:v>All Others</c:v>
                </c:pt>
                <c:pt idx="761">
                  <c:v>All Others</c:v>
                </c:pt>
                <c:pt idx="762">
                  <c:v>All Others</c:v>
                </c:pt>
                <c:pt idx="763">
                  <c:v>All Others</c:v>
                </c:pt>
                <c:pt idx="764">
                  <c:v>All Others</c:v>
                </c:pt>
                <c:pt idx="765">
                  <c:v>All Others</c:v>
                </c:pt>
                <c:pt idx="766">
                  <c:v>Etoile Du V</c:v>
                </c:pt>
                <c:pt idx="767">
                  <c:v>Entremont</c:v>
                </c:pt>
                <c:pt idx="768">
                  <c:v>All Others</c:v>
                </c:pt>
                <c:pt idx="769">
                  <c:v>Nurishh</c:v>
                </c:pt>
                <c:pt idx="770">
                  <c:v>All Others</c:v>
                </c:pt>
                <c:pt idx="771">
                  <c:v>Paysan Bret</c:v>
                </c:pt>
                <c:pt idx="772">
                  <c:v>All Others</c:v>
                </c:pt>
                <c:pt idx="773">
                  <c:v>Soignon</c:v>
                </c:pt>
                <c:pt idx="774">
                  <c:v>All Others</c:v>
                </c:pt>
                <c:pt idx="775">
                  <c:v>Nurishh</c:v>
                </c:pt>
                <c:pt idx="776">
                  <c:v>All Others</c:v>
                </c:pt>
                <c:pt idx="777">
                  <c:v>All Others</c:v>
                </c:pt>
                <c:pt idx="778">
                  <c:v>La Belle Et</c:v>
                </c:pt>
                <c:pt idx="779">
                  <c:v>Savencia: A</c:v>
                </c:pt>
                <c:pt idx="780">
                  <c:v>La Belle Et</c:v>
                </c:pt>
                <c:pt idx="781">
                  <c:v>Milleret: A</c:v>
                </c:pt>
                <c:pt idx="782">
                  <c:v>Nurishh</c:v>
                </c:pt>
                <c:pt idx="783">
                  <c:v>All Others</c:v>
                </c:pt>
                <c:pt idx="784">
                  <c:v>All Others</c:v>
                </c:pt>
                <c:pt idx="785">
                  <c:v>All Others</c:v>
                </c:pt>
                <c:pt idx="786">
                  <c:v>All Others</c:v>
                </c:pt>
                <c:pt idx="787">
                  <c:v>All Others</c:v>
                </c:pt>
                <c:pt idx="788">
                  <c:v>All Others</c:v>
                </c:pt>
                <c:pt idx="789">
                  <c:v>La Belle Et</c:v>
                </c:pt>
                <c:pt idx="790">
                  <c:v>All Others</c:v>
                </c:pt>
                <c:pt idx="791">
                  <c:v>All Others</c:v>
                </c:pt>
                <c:pt idx="792">
                  <c:v>All Others</c:v>
                </c:pt>
                <c:pt idx="793">
                  <c:v>All Others</c:v>
                </c:pt>
                <c:pt idx="794">
                  <c:v>All Others</c:v>
                </c:pt>
                <c:pt idx="795">
                  <c:v>Violife</c:v>
                </c:pt>
                <c:pt idx="796">
                  <c:v>Lactalis: A</c:v>
                </c:pt>
                <c:pt idx="797">
                  <c:v>All Others</c:v>
                </c:pt>
                <c:pt idx="798">
                  <c:v>All Others</c:v>
                </c:pt>
                <c:pt idx="799">
                  <c:v>All Others</c:v>
                </c:pt>
                <c:pt idx="800">
                  <c:v>All Others</c:v>
                </c:pt>
                <c:pt idx="801">
                  <c:v>La Belle Et</c:v>
                </c:pt>
                <c:pt idx="802">
                  <c:v>All Others</c:v>
                </c:pt>
                <c:pt idx="803">
                  <c:v>Private Lab</c:v>
                </c:pt>
                <c:pt idx="804">
                  <c:v>All Others</c:v>
                </c:pt>
                <c:pt idx="805">
                  <c:v>All Others</c:v>
                </c:pt>
                <c:pt idx="806">
                  <c:v>Tartare</c:v>
                </c:pt>
                <c:pt idx="807">
                  <c:v>All Others</c:v>
                </c:pt>
                <c:pt idx="808">
                  <c:v>All Others</c:v>
                </c:pt>
                <c:pt idx="809">
                  <c:v>All Others</c:v>
                </c:pt>
                <c:pt idx="810">
                  <c:v>Aperivrais</c:v>
                </c:pt>
                <c:pt idx="811">
                  <c:v>All Others</c:v>
                </c:pt>
                <c:pt idx="812">
                  <c:v>All Others</c:v>
                </c:pt>
                <c:pt idx="813">
                  <c:v>All Others</c:v>
                </c:pt>
                <c:pt idx="814">
                  <c:v>All Others</c:v>
                </c:pt>
                <c:pt idx="815">
                  <c:v>Milleret: A</c:v>
                </c:pt>
                <c:pt idx="816">
                  <c:v>All Others</c:v>
                </c:pt>
                <c:pt idx="817">
                  <c:v>Milleret</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Lindahls Pr</c:v>
                </c:pt>
                <c:pt idx="828">
                  <c:v>All Others</c:v>
                </c:pt>
                <c:pt idx="829">
                  <c:v>All Others</c:v>
                </c:pt>
                <c:pt idx="830">
                  <c:v>All Others</c:v>
                </c:pt>
                <c:pt idx="831">
                  <c:v>All Others</c:v>
                </c:pt>
                <c:pt idx="832">
                  <c:v>All Others</c:v>
                </c:pt>
                <c:pt idx="833">
                  <c:v>All Others</c:v>
                </c:pt>
                <c:pt idx="834">
                  <c:v>All Others</c:v>
                </c:pt>
                <c:pt idx="835">
                  <c:v>All Others</c:v>
                </c:pt>
                <c:pt idx="836">
                  <c:v>All Others</c:v>
                </c:pt>
                <c:pt idx="837">
                  <c:v>Petit Billy</c:v>
                </c:pt>
                <c:pt idx="838">
                  <c:v>Paysan Bret</c:v>
                </c:pt>
                <c:pt idx="839">
                  <c:v>Other Suppl</c:v>
                </c:pt>
                <c:pt idx="840">
                  <c:v>All Others</c:v>
                </c:pt>
                <c:pt idx="841">
                  <c:v>All Others</c:v>
                </c:pt>
                <c:pt idx="842">
                  <c:v>All Others</c:v>
                </c:pt>
                <c:pt idx="843">
                  <c:v>All Others</c:v>
                </c:pt>
                <c:pt idx="844">
                  <c:v>All Others</c:v>
                </c:pt>
                <c:pt idx="845">
                  <c:v>All Others</c:v>
                </c:pt>
                <c:pt idx="846">
                  <c:v>All Others</c:v>
                </c:pt>
                <c:pt idx="847">
                  <c:v>Savencia: A</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Eurial Autr</c:v>
                </c:pt>
                <c:pt idx="858">
                  <c:v>All Others</c:v>
                </c:pt>
                <c:pt idx="859">
                  <c:v>All Others</c:v>
                </c:pt>
                <c:pt idx="860">
                  <c:v>All Others</c:v>
                </c:pt>
                <c:pt idx="861">
                  <c:v>All Others</c:v>
                </c:pt>
                <c:pt idx="862">
                  <c:v>All Others</c:v>
                </c:pt>
                <c:pt idx="863">
                  <c:v>Corsica</c:v>
                </c:pt>
                <c:pt idx="864">
                  <c:v>All Others</c:v>
                </c:pt>
                <c:pt idx="865">
                  <c:v>All Others</c:v>
                </c:pt>
                <c:pt idx="866">
                  <c:v>Entremont</c:v>
                </c:pt>
                <c:pt idx="867">
                  <c:v>All Others</c:v>
                </c:pt>
                <c:pt idx="868">
                  <c:v>All Others</c:v>
                </c:pt>
                <c:pt idx="869">
                  <c:v>Mini Babybe</c:v>
                </c:pt>
                <c:pt idx="870">
                  <c:v>Lactalis: A</c:v>
                </c:pt>
                <c:pt idx="871">
                  <c:v>All Others</c:v>
                </c:pt>
                <c:pt idx="872">
                  <c:v>Apericube</c:v>
                </c:pt>
                <c:pt idx="873">
                  <c:v>All Others</c:v>
                </c:pt>
                <c:pt idx="874">
                  <c:v>All Others</c:v>
                </c:pt>
                <c:pt idx="875">
                  <c:v>All Others</c:v>
                </c:pt>
                <c:pt idx="876">
                  <c:v>Lactalis: A</c:v>
                </c:pt>
                <c:pt idx="877">
                  <c:v>Richesmonts</c:v>
                </c:pt>
                <c:pt idx="878">
                  <c:v>All Others</c:v>
                </c:pt>
                <c:pt idx="879">
                  <c:v>All Others</c:v>
                </c:pt>
                <c:pt idx="880">
                  <c:v>All Others</c:v>
                </c:pt>
                <c:pt idx="881">
                  <c:v>All Others</c:v>
                </c:pt>
                <c:pt idx="882">
                  <c:v>L'Ortolan</c:v>
                </c:pt>
                <c:pt idx="883">
                  <c:v>All Others</c:v>
                </c:pt>
                <c:pt idx="884">
                  <c:v>All Others</c:v>
                </c:pt>
                <c:pt idx="885">
                  <c:v>All Others</c:v>
                </c:pt>
                <c:pt idx="886">
                  <c:v>All Others</c:v>
                </c:pt>
                <c:pt idx="887">
                  <c:v>All Others</c:v>
                </c:pt>
                <c:pt idx="888">
                  <c:v>All Others</c:v>
                </c:pt>
                <c:pt idx="889">
                  <c:v>All Others</c:v>
                </c:pt>
                <c:pt idx="890">
                  <c:v>All Others</c:v>
                </c:pt>
                <c:pt idx="891">
                  <c:v>La Belle Et</c:v>
                </c:pt>
                <c:pt idx="892">
                  <c:v>All Others</c:v>
                </c:pt>
                <c:pt idx="893">
                  <c:v>Lactalis: A</c:v>
                </c:pt>
                <c:pt idx="894">
                  <c:v>All Others</c:v>
                </c:pt>
                <c:pt idx="895">
                  <c:v>All Others</c:v>
                </c:pt>
                <c:pt idx="896">
                  <c:v>All Others</c:v>
                </c:pt>
                <c:pt idx="897">
                  <c:v>All Others</c:v>
                </c:pt>
                <c:pt idx="898">
                  <c:v>All Others</c:v>
                </c:pt>
                <c:pt idx="899">
                  <c:v>All Others</c:v>
                </c:pt>
                <c:pt idx="900">
                  <c:v>All Others</c:v>
                </c:pt>
                <c:pt idx="901">
                  <c:v>All Others</c:v>
                </c:pt>
                <c:pt idx="902">
                  <c:v>All Others</c:v>
                </c:pt>
                <c:pt idx="903">
                  <c:v>La Belle Et</c:v>
                </c:pt>
                <c:pt idx="904">
                  <c:v>All Others</c:v>
                </c:pt>
                <c:pt idx="905">
                  <c:v>La Belle Et</c:v>
                </c:pt>
                <c:pt idx="906">
                  <c:v>All Others</c:v>
                </c:pt>
                <c:pt idx="907">
                  <c:v>All Others</c:v>
                </c:pt>
                <c:pt idx="908">
                  <c:v>All Others</c:v>
                </c:pt>
                <c:pt idx="909">
                  <c:v>All Others</c:v>
                </c:pt>
                <c:pt idx="910">
                  <c:v>All Others</c:v>
                </c:pt>
                <c:pt idx="911">
                  <c:v>La Belle Et</c:v>
                </c:pt>
                <c:pt idx="912">
                  <c:v>All Others</c:v>
                </c:pt>
                <c:pt idx="913">
                  <c:v>All Others</c:v>
                </c:pt>
                <c:pt idx="914">
                  <c:v>All Others</c:v>
                </c:pt>
                <c:pt idx="915">
                  <c:v>All Others</c:v>
                </c:pt>
                <c:pt idx="916">
                  <c:v>All Others</c:v>
                </c:pt>
                <c:pt idx="917">
                  <c:v>Baillon</c:v>
                </c:pt>
                <c:pt idx="918">
                  <c:v>All Others</c:v>
                </c:pt>
                <c:pt idx="919">
                  <c:v>All Others</c:v>
                </c:pt>
                <c:pt idx="920">
                  <c:v>All Others</c:v>
                </c:pt>
                <c:pt idx="921">
                  <c:v>All Others</c:v>
                </c:pt>
                <c:pt idx="922">
                  <c:v>All Others</c:v>
                </c:pt>
                <c:pt idx="923">
                  <c:v>Private Lab</c:v>
                </c:pt>
                <c:pt idx="924">
                  <c:v>All Others</c:v>
                </c:pt>
                <c:pt idx="925">
                  <c:v>All Others</c:v>
                </c:pt>
                <c:pt idx="926">
                  <c:v>All Others</c:v>
                </c:pt>
                <c:pt idx="927">
                  <c:v>All Others</c:v>
                </c:pt>
                <c:pt idx="928">
                  <c:v>All Others</c:v>
                </c:pt>
                <c:pt idx="929">
                  <c:v>All Others</c:v>
                </c:pt>
                <c:pt idx="930">
                  <c:v>All Others</c:v>
                </c:pt>
                <c:pt idx="931">
                  <c:v>All Others</c:v>
                </c:pt>
                <c:pt idx="932">
                  <c:v>All Others</c:v>
                </c:pt>
                <c:pt idx="933">
                  <c:v>Paysan Bret</c:v>
                </c:pt>
                <c:pt idx="934">
                  <c:v>All Others</c:v>
                </c:pt>
                <c:pt idx="935">
                  <c:v>Other Suppl</c:v>
                </c:pt>
                <c:pt idx="936">
                  <c:v>All Others</c:v>
                </c:pt>
                <c:pt idx="937">
                  <c:v>All Others</c:v>
                </c:pt>
                <c:pt idx="938">
                  <c:v>La Belle Et</c:v>
                </c:pt>
                <c:pt idx="939">
                  <c:v>All Others</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Entremont</c:v>
                </c:pt>
                <c:pt idx="950">
                  <c:v>All Others</c:v>
                </c:pt>
                <c:pt idx="951">
                  <c:v>All Others</c:v>
                </c:pt>
                <c:pt idx="952">
                  <c:v>All Others</c:v>
                </c:pt>
                <c:pt idx="953">
                  <c:v>Raguin</c:v>
                </c:pt>
                <c:pt idx="954">
                  <c:v>Casa Azzurr</c:v>
                </c:pt>
                <c:pt idx="955">
                  <c:v>Etoile Du V</c:v>
                </c:pt>
                <c:pt idx="956">
                  <c:v>All Others</c:v>
                </c:pt>
                <c:pt idx="957">
                  <c:v>All Others</c:v>
                </c:pt>
                <c:pt idx="958">
                  <c:v>All Others</c:v>
                </c:pt>
                <c:pt idx="959">
                  <c:v>All Others</c:v>
                </c:pt>
                <c:pt idx="960">
                  <c:v>All Others</c:v>
                </c:pt>
                <c:pt idx="961">
                  <c:v>All Others</c:v>
                </c:pt>
                <c:pt idx="962">
                  <c:v>All Others</c:v>
                </c:pt>
                <c:pt idx="963">
                  <c:v>All Others</c:v>
                </c:pt>
                <c:pt idx="964">
                  <c:v>All Others</c:v>
                </c:pt>
                <c:pt idx="965">
                  <c:v>Raguin</c:v>
                </c:pt>
                <c:pt idx="966">
                  <c:v>La Belle Et</c:v>
                </c:pt>
                <c:pt idx="967">
                  <c:v>All Others</c:v>
                </c:pt>
                <c:pt idx="968">
                  <c:v>Dodin</c:v>
                </c:pt>
                <c:pt idx="969">
                  <c:v>Raguin</c:v>
                </c:pt>
                <c:pt idx="970">
                  <c:v>All Others</c:v>
                </c:pt>
                <c:pt idx="971">
                  <c:v>All Others</c:v>
                </c:pt>
                <c:pt idx="972">
                  <c:v>All Others</c:v>
                </c:pt>
                <c:pt idx="973">
                  <c:v>All Others</c:v>
                </c:pt>
                <c:pt idx="974">
                  <c:v>Paysan Bret</c:v>
                </c:pt>
                <c:pt idx="975">
                  <c:v>All Others</c:v>
                </c:pt>
                <c:pt idx="976">
                  <c:v>All Others</c:v>
                </c:pt>
                <c:pt idx="977">
                  <c:v>All Others</c:v>
                </c:pt>
                <c:pt idx="978">
                  <c:v>All Others</c:v>
                </c:pt>
                <c:pt idx="979">
                  <c:v>All Others</c:v>
                </c:pt>
                <c:pt idx="980">
                  <c:v>All Others</c:v>
                </c:pt>
                <c:pt idx="981">
                  <c:v>All Others</c:v>
                </c:pt>
                <c:pt idx="982">
                  <c:v>Other Suppl</c:v>
                </c:pt>
                <c:pt idx="983">
                  <c:v>All Others</c:v>
                </c:pt>
                <c:pt idx="984">
                  <c:v>Raguin</c:v>
                </c:pt>
                <c:pt idx="985">
                  <c:v>Boursin</c:v>
                </c:pt>
                <c:pt idx="986">
                  <c:v>Raguin</c:v>
                </c:pt>
                <c:pt idx="987">
                  <c:v>All Others</c:v>
                </c:pt>
                <c:pt idx="988">
                  <c:v>All Others</c:v>
                </c:pt>
                <c:pt idx="989">
                  <c:v>All Others</c:v>
                </c:pt>
                <c:pt idx="990">
                  <c:v>All Others</c:v>
                </c:pt>
                <c:pt idx="991">
                  <c:v>All Others</c:v>
                </c:pt>
                <c:pt idx="992">
                  <c:v>All Others</c:v>
                </c:pt>
                <c:pt idx="993">
                  <c:v>All Others</c:v>
                </c:pt>
                <c:pt idx="994">
                  <c:v>All Others</c:v>
                </c:pt>
                <c:pt idx="995">
                  <c:v>Raguin</c:v>
                </c:pt>
                <c:pt idx="996">
                  <c:v>All Others</c:v>
                </c:pt>
                <c:pt idx="997">
                  <c:v>All Others</c:v>
                </c:pt>
                <c:pt idx="998">
                  <c:v>All Others</c:v>
                </c:pt>
                <c:pt idx="999">
                  <c:v>All Others</c:v>
                </c:pt>
                <c:pt idx="1000">
                  <c:v>All Others</c:v>
                </c:pt>
                <c:pt idx="1001">
                  <c:v>Lactalis: A</c:v>
                </c:pt>
                <c:pt idx="1002">
                  <c:v>All Others</c:v>
                </c:pt>
                <c:pt idx="1003">
                  <c:v>All Others</c:v>
                </c:pt>
                <c:pt idx="1004">
                  <c:v>All Others</c:v>
                </c:pt>
                <c:pt idx="1005">
                  <c:v>All Others</c:v>
                </c:pt>
                <c:pt idx="1006">
                  <c:v>All Others</c:v>
                </c:pt>
                <c:pt idx="1007">
                  <c:v>All Others</c:v>
                </c:pt>
                <c:pt idx="1008">
                  <c:v>All Others</c:v>
                </c:pt>
                <c:pt idx="1009">
                  <c:v>All Others</c:v>
                </c:pt>
                <c:pt idx="1010">
                  <c:v>All Others</c:v>
                </c:pt>
                <c:pt idx="1011">
                  <c:v>Raguin</c:v>
                </c:pt>
                <c:pt idx="1012">
                  <c:v>All Others</c:v>
                </c:pt>
                <c:pt idx="1013">
                  <c:v>All Others</c:v>
                </c:pt>
                <c:pt idx="1014">
                  <c:v>All Others</c:v>
                </c:pt>
                <c:pt idx="1015">
                  <c:v>All Others</c:v>
                </c:pt>
                <c:pt idx="1016">
                  <c:v>All Others</c:v>
                </c:pt>
                <c:pt idx="1017">
                  <c:v>La Belle Et</c:v>
                </c:pt>
                <c:pt idx="1018">
                  <c:v>All Others</c:v>
                </c:pt>
                <c:pt idx="1019">
                  <c:v>La Belle Et</c:v>
                </c:pt>
                <c:pt idx="1020">
                  <c:v>All Others</c:v>
                </c:pt>
                <c:pt idx="1021">
                  <c:v>All Others</c:v>
                </c:pt>
                <c:pt idx="1022">
                  <c:v>Raguin</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Raguin</c:v>
                </c:pt>
                <c:pt idx="1035">
                  <c:v>All Others</c:v>
                </c:pt>
                <c:pt idx="1036">
                  <c:v>All Others</c:v>
                </c:pt>
                <c:pt idx="1037">
                  <c:v>All Others</c:v>
                </c:pt>
                <c:pt idx="1038">
                  <c:v>All Others</c:v>
                </c:pt>
                <c:pt idx="1039">
                  <c:v>All Others</c:v>
                </c:pt>
                <c:pt idx="1040">
                  <c:v>All Others</c:v>
                </c:pt>
                <c:pt idx="1041">
                  <c:v>All Others</c:v>
                </c:pt>
                <c:pt idx="1042">
                  <c:v>Limiano</c:v>
                </c:pt>
                <c:pt idx="1043">
                  <c:v>Lactalis: A</c:v>
                </c:pt>
                <c:pt idx="1044">
                  <c:v>All Others</c:v>
                </c:pt>
                <c:pt idx="1045">
                  <c:v>All Others</c:v>
                </c:pt>
                <c:pt idx="1046">
                  <c:v>All Others</c:v>
                </c:pt>
                <c:pt idx="1047">
                  <c:v>All Others</c:v>
                </c:pt>
                <c:pt idx="1048">
                  <c:v>All Others</c:v>
                </c:pt>
                <c:pt idx="1049">
                  <c:v>All Others</c:v>
                </c:pt>
                <c:pt idx="1050">
                  <c:v>All Others</c:v>
                </c:pt>
                <c:pt idx="1051">
                  <c:v>All Others</c:v>
                </c:pt>
                <c:pt idx="1052">
                  <c:v>All Others</c:v>
                </c:pt>
                <c:pt idx="1053">
                  <c:v>All Others</c:v>
                </c:pt>
                <c:pt idx="1054">
                  <c:v>All Others</c:v>
                </c:pt>
                <c:pt idx="1055">
                  <c:v>All Others</c:v>
                </c:pt>
                <c:pt idx="1056">
                  <c:v>All Others</c:v>
                </c:pt>
                <c:pt idx="1057">
                  <c:v>All Others</c:v>
                </c:pt>
                <c:pt idx="1058">
                  <c:v>Raguin</c:v>
                </c:pt>
                <c:pt idx="1059">
                  <c:v>All Others</c:v>
                </c:pt>
                <c:pt idx="1060">
                  <c:v>All Others</c:v>
                </c:pt>
                <c:pt idx="1061">
                  <c:v>All Others</c:v>
                </c:pt>
                <c:pt idx="1062">
                  <c:v>Etoile Du V</c:v>
                </c:pt>
                <c:pt idx="1063">
                  <c:v>All Others</c:v>
                </c:pt>
                <c:pt idx="1064">
                  <c:v>All Others</c:v>
                </c:pt>
                <c:pt idx="1065">
                  <c:v>All Others</c:v>
                </c:pt>
                <c:pt idx="1066">
                  <c:v>All Others</c:v>
                </c:pt>
                <c:pt idx="1067">
                  <c:v>Etoile Du V</c:v>
                </c:pt>
                <c:pt idx="1068">
                  <c:v>All Others</c:v>
                </c:pt>
                <c:pt idx="1069">
                  <c:v>All Others</c:v>
                </c:pt>
                <c:pt idx="1070">
                  <c:v>All Others</c:v>
                </c:pt>
                <c:pt idx="1071">
                  <c:v>Other Suppl</c:v>
                </c:pt>
                <c:pt idx="1072">
                  <c:v>Private Lab</c:v>
                </c:pt>
                <c:pt idx="1073">
                  <c:v>All Others</c:v>
                </c:pt>
                <c:pt idx="1074">
                  <c:v>All Others</c:v>
                </c:pt>
                <c:pt idx="1075">
                  <c:v>All Others</c:v>
                </c:pt>
                <c:pt idx="1076">
                  <c:v>Raguin</c:v>
                </c:pt>
                <c:pt idx="1077">
                  <c:v>All Others</c:v>
                </c:pt>
                <c:pt idx="1078">
                  <c:v>All Others</c:v>
                </c:pt>
                <c:pt idx="1079">
                  <c:v>All Others</c:v>
                </c:pt>
                <c:pt idx="1080">
                  <c:v>All Others</c:v>
                </c:pt>
                <c:pt idx="1081">
                  <c:v>All Others</c:v>
                </c:pt>
                <c:pt idx="1082">
                  <c:v>President</c:v>
                </c:pt>
                <c:pt idx="1083">
                  <c:v>All Others</c:v>
                </c:pt>
                <c:pt idx="1084">
                  <c:v>All Others</c:v>
                </c:pt>
                <c:pt idx="1085">
                  <c:v>All Others</c:v>
                </c:pt>
                <c:pt idx="1086">
                  <c:v>All Others</c:v>
                </c:pt>
                <c:pt idx="1087">
                  <c:v>All Others</c:v>
                </c:pt>
                <c:pt idx="1088">
                  <c:v>Other Suppl</c:v>
                </c:pt>
                <c:pt idx="1089">
                  <c:v>All Others</c:v>
                </c:pt>
                <c:pt idx="1090">
                  <c:v>All Others</c:v>
                </c:pt>
                <c:pt idx="1091">
                  <c:v>All Others</c:v>
                </c:pt>
                <c:pt idx="1092">
                  <c:v>All Others</c:v>
                </c:pt>
                <c:pt idx="1093">
                  <c:v>All Others</c:v>
                </c:pt>
                <c:pt idx="1094">
                  <c:v>All Others</c:v>
                </c:pt>
                <c:pt idx="1095">
                  <c:v>Private Lab</c:v>
                </c:pt>
                <c:pt idx="1096">
                  <c:v>All Others</c:v>
                </c:pt>
                <c:pt idx="1097">
                  <c:v>All Others</c:v>
                </c:pt>
                <c:pt idx="1098">
                  <c:v>Private Lab</c:v>
                </c:pt>
                <c:pt idx="1099">
                  <c:v>All Others</c:v>
                </c:pt>
                <c:pt idx="1100">
                  <c:v>Limiano</c:v>
                </c:pt>
                <c:pt idx="1101">
                  <c:v>All Others</c:v>
                </c:pt>
                <c:pt idx="1102">
                  <c:v>Raguin</c:v>
                </c:pt>
                <c:pt idx="1103">
                  <c:v>All Others</c:v>
                </c:pt>
                <c:pt idx="1104">
                  <c:v>All Others</c:v>
                </c:pt>
                <c:pt idx="1105">
                  <c:v>All Others</c:v>
                </c:pt>
                <c:pt idx="1106">
                  <c:v>All Others</c:v>
                </c:pt>
                <c:pt idx="1107">
                  <c:v>All Others</c:v>
                </c:pt>
                <c:pt idx="1108">
                  <c:v>All Others</c:v>
                </c:pt>
                <c:pt idx="1109">
                  <c:v>Raguin</c:v>
                </c:pt>
                <c:pt idx="1110">
                  <c:v>Private Lab</c:v>
                </c:pt>
                <c:pt idx="1111">
                  <c:v>All Others</c:v>
                </c:pt>
                <c:pt idx="1112">
                  <c:v>All Others</c:v>
                </c:pt>
                <c:pt idx="1113">
                  <c:v>All Others</c:v>
                </c:pt>
                <c:pt idx="1114">
                  <c:v>All Others</c:v>
                </c:pt>
                <c:pt idx="1115">
                  <c:v>Lincet</c:v>
                </c:pt>
                <c:pt idx="1116">
                  <c:v>All Others</c:v>
                </c:pt>
                <c:pt idx="1117">
                  <c:v>All Others</c:v>
                </c:pt>
                <c:pt idx="1118">
                  <c:v>All Others</c:v>
                </c:pt>
                <c:pt idx="1119">
                  <c:v>All Others</c:v>
                </c:pt>
                <c:pt idx="1120">
                  <c:v>All Others</c:v>
                </c:pt>
                <c:pt idx="1121">
                  <c:v>All Others</c:v>
                </c:pt>
                <c:pt idx="1122">
                  <c:v>All Others</c:v>
                </c:pt>
                <c:pt idx="1123">
                  <c:v>All Others</c:v>
                </c:pt>
                <c:pt idx="1124">
                  <c:v>Juraflore</c:v>
                </c:pt>
                <c:pt idx="1125">
                  <c:v>All Others</c:v>
                </c:pt>
                <c:pt idx="1126">
                  <c:v>Lactalis: A</c:v>
                </c:pt>
                <c:pt idx="1127">
                  <c:v>Private Lab</c:v>
                </c:pt>
                <c:pt idx="1128">
                  <c:v>Private Lab</c:v>
                </c:pt>
                <c:pt idx="1129">
                  <c:v>All Others</c:v>
                </c:pt>
                <c:pt idx="1130">
                  <c:v>Raguin</c:v>
                </c:pt>
                <c:pt idx="1131">
                  <c:v>All Others</c:v>
                </c:pt>
                <c:pt idx="1132">
                  <c:v>All Others</c:v>
                </c:pt>
                <c:pt idx="1133">
                  <c:v>All Others</c:v>
                </c:pt>
                <c:pt idx="1134">
                  <c:v>All Others</c:v>
                </c:pt>
                <c:pt idx="1135">
                  <c:v>All Others</c:v>
                </c:pt>
                <c:pt idx="1136">
                  <c:v>Raguin</c:v>
                </c:pt>
                <c:pt idx="1137">
                  <c:v>All Others</c:v>
                </c:pt>
                <c:pt idx="1138">
                  <c:v>All Others</c:v>
                </c:pt>
                <c:pt idx="1139">
                  <c:v>All Others</c:v>
                </c:pt>
                <c:pt idx="1140">
                  <c:v>All Others</c:v>
                </c:pt>
                <c:pt idx="1141">
                  <c:v>Private Lab</c:v>
                </c:pt>
                <c:pt idx="1142">
                  <c:v>All Others</c:v>
                </c:pt>
                <c:pt idx="1143">
                  <c:v>All Others</c:v>
                </c:pt>
                <c:pt idx="1144">
                  <c:v>All Others</c:v>
                </c:pt>
                <c:pt idx="1145">
                  <c:v>Entremont</c:v>
                </c:pt>
                <c:pt idx="1146">
                  <c:v>All Others</c:v>
                </c:pt>
                <c:pt idx="1147">
                  <c:v>Raguin</c:v>
                </c:pt>
                <c:pt idx="1148">
                  <c:v>Private Lab</c:v>
                </c:pt>
                <c:pt idx="1149">
                  <c:v>All Others</c:v>
                </c:pt>
                <c:pt idx="1150">
                  <c:v>All Others</c:v>
                </c:pt>
                <c:pt idx="1151">
                  <c:v>Private Lab</c:v>
                </c:pt>
                <c:pt idx="1152">
                  <c:v>All Others</c:v>
                </c:pt>
                <c:pt idx="1153">
                  <c:v>All Others</c:v>
                </c:pt>
                <c:pt idx="1154">
                  <c:v>All Others</c:v>
                </c:pt>
                <c:pt idx="1155">
                  <c:v>All Others</c:v>
                </c:pt>
                <c:pt idx="1156">
                  <c:v>All Others</c:v>
                </c:pt>
                <c:pt idx="1157">
                  <c:v>All Others</c:v>
                </c:pt>
                <c:pt idx="1158">
                  <c:v>Mini Babybe</c:v>
                </c:pt>
                <c:pt idx="1159">
                  <c:v>All Others</c:v>
                </c:pt>
                <c:pt idx="1160">
                  <c:v>All Others</c:v>
                </c:pt>
                <c:pt idx="1161">
                  <c:v>All Others</c:v>
                </c:pt>
                <c:pt idx="1162">
                  <c:v>Pochat</c:v>
                </c:pt>
                <c:pt idx="1163">
                  <c:v>Private Lab</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La Vache Qu</c:v>
                </c:pt>
                <c:pt idx="1174">
                  <c:v>All Others</c:v>
                </c:pt>
                <c:pt idx="1175">
                  <c:v>All Others</c:v>
                </c:pt>
                <c:pt idx="1176">
                  <c:v>All Others</c:v>
                </c:pt>
                <c:pt idx="1177">
                  <c:v>All Others</c:v>
                </c:pt>
                <c:pt idx="1178">
                  <c:v>All Others</c:v>
                </c:pt>
                <c:pt idx="1179">
                  <c:v>All Others</c:v>
                </c:pt>
                <c:pt idx="1180">
                  <c:v>All Others</c:v>
                </c:pt>
                <c:pt idx="1181">
                  <c:v>All Others</c:v>
                </c:pt>
                <c:pt idx="1182">
                  <c:v>All Others</c:v>
                </c:pt>
                <c:pt idx="1183">
                  <c:v>Private Lab</c:v>
                </c:pt>
                <c:pt idx="1184">
                  <c:v>Lactalis: A</c:v>
                </c:pt>
                <c:pt idx="1185">
                  <c:v>All Others</c:v>
                </c:pt>
                <c:pt idx="1186">
                  <c:v>All Others</c:v>
                </c:pt>
                <c:pt idx="1187">
                  <c:v>All Others</c:v>
                </c:pt>
                <c:pt idx="1188">
                  <c:v>All Others</c:v>
                </c:pt>
                <c:pt idx="1189">
                  <c:v>All Others</c:v>
                </c:pt>
                <c:pt idx="1190">
                  <c:v>All Others</c:v>
                </c:pt>
                <c:pt idx="1191">
                  <c:v>All Others</c:v>
                </c:pt>
                <c:pt idx="1192">
                  <c:v>Private Lab</c:v>
                </c:pt>
                <c:pt idx="1193">
                  <c:v>Kiri</c:v>
                </c:pt>
                <c:pt idx="1194">
                  <c:v>Milleret: A</c:v>
                </c:pt>
                <c:pt idx="1195">
                  <c:v>All Others</c:v>
                </c:pt>
                <c:pt idx="1196">
                  <c:v>All Others</c:v>
                </c:pt>
                <c:pt idx="1197">
                  <c:v>All Others</c:v>
                </c:pt>
                <c:pt idx="1198">
                  <c:v>All Others</c:v>
                </c:pt>
                <c:pt idx="1199">
                  <c:v>All Others</c:v>
                </c:pt>
                <c:pt idx="1200">
                  <c:v>All Others</c:v>
                </c:pt>
                <c:pt idx="1201">
                  <c:v>All Others</c:v>
                </c:pt>
                <c:pt idx="1202">
                  <c:v>Entremont</c:v>
                </c:pt>
                <c:pt idx="1203">
                  <c:v>Richesmonts</c:v>
                </c:pt>
                <c:pt idx="1204">
                  <c:v>Private Lab</c:v>
                </c:pt>
                <c:pt idx="1205">
                  <c:v>Other Suppl</c:v>
                </c:pt>
                <c:pt idx="1206">
                  <c:v>All Others</c:v>
                </c:pt>
                <c:pt idx="1207">
                  <c:v>All Others</c:v>
                </c:pt>
                <c:pt idx="1208">
                  <c:v>Etoile Du V</c:v>
                </c:pt>
                <c:pt idx="1209">
                  <c:v>All Others</c:v>
                </c:pt>
                <c:pt idx="1210">
                  <c:v>Pochat</c:v>
                </c:pt>
                <c:pt idx="1211">
                  <c:v>All Others</c:v>
                </c:pt>
                <c:pt idx="1212">
                  <c:v>All Others</c:v>
                </c:pt>
                <c:pt idx="1213">
                  <c:v>All Others</c:v>
                </c:pt>
                <c:pt idx="1214">
                  <c:v>All Others</c:v>
                </c:pt>
                <c:pt idx="1215">
                  <c:v>All Others</c:v>
                </c:pt>
                <c:pt idx="1216">
                  <c:v>Apericube</c:v>
                </c:pt>
                <c:pt idx="1217">
                  <c:v>All Others</c:v>
                </c:pt>
                <c:pt idx="1218">
                  <c:v>All Others</c:v>
                </c:pt>
                <c:pt idx="1219">
                  <c:v>All Others</c:v>
                </c:pt>
                <c:pt idx="1220">
                  <c:v>Entremont</c:v>
                </c:pt>
                <c:pt idx="1221">
                  <c:v>All Others</c:v>
                </c:pt>
                <c:pt idx="1222">
                  <c:v>All Others</c:v>
                </c:pt>
                <c:pt idx="1223">
                  <c:v>All Others</c:v>
                </c:pt>
                <c:pt idx="1224">
                  <c:v>All Others</c:v>
                </c:pt>
                <c:pt idx="1225">
                  <c:v>All Others</c:v>
                </c:pt>
                <c:pt idx="1226">
                  <c:v>All Others</c:v>
                </c:pt>
                <c:pt idx="1227">
                  <c:v>Raguin</c:v>
                </c:pt>
                <c:pt idx="1228">
                  <c:v>All Others</c:v>
                </c:pt>
                <c:pt idx="1229">
                  <c:v>All Others</c:v>
                </c:pt>
                <c:pt idx="1230">
                  <c:v>Caprice Des</c:v>
                </c:pt>
                <c:pt idx="1231">
                  <c:v>All Others</c:v>
                </c:pt>
                <c:pt idx="1232">
                  <c:v>All Others</c:v>
                </c:pt>
                <c:pt idx="1233">
                  <c:v>All Others</c:v>
                </c:pt>
                <c:pt idx="1234">
                  <c:v>All Others</c:v>
                </c:pt>
                <c:pt idx="1235">
                  <c:v>All Others</c:v>
                </c:pt>
                <c:pt idx="1236">
                  <c:v>Raguin</c:v>
                </c:pt>
                <c:pt idx="1237">
                  <c:v>Boursin</c:v>
                </c:pt>
                <c:pt idx="1238">
                  <c:v>All Others</c:v>
                </c:pt>
                <c:pt idx="1239">
                  <c:v>All Others</c:v>
                </c:pt>
                <c:pt idx="1240">
                  <c:v>All Others</c:v>
                </c:pt>
                <c:pt idx="1241">
                  <c:v>Netto</c:v>
                </c:pt>
                <c:pt idx="1242">
                  <c:v>All Others</c:v>
                </c:pt>
                <c:pt idx="1243">
                  <c:v>Mini Babybe</c:v>
                </c:pt>
                <c:pt idx="1244">
                  <c:v>All Others</c:v>
                </c:pt>
                <c:pt idx="1245">
                  <c:v>All Others</c:v>
                </c:pt>
                <c:pt idx="1246">
                  <c:v>All Others</c:v>
                </c:pt>
                <c:pt idx="1247">
                  <c:v>Entremont</c:v>
                </c:pt>
                <c:pt idx="1248">
                  <c:v>Private Lab</c:v>
                </c:pt>
                <c:pt idx="1249">
                  <c:v>All Others</c:v>
                </c:pt>
                <c:pt idx="1250">
                  <c:v>All Others</c:v>
                </c:pt>
                <c:pt idx="1251">
                  <c:v>All Others</c:v>
                </c:pt>
                <c:pt idx="1252">
                  <c:v>Entremont</c:v>
                </c:pt>
                <c:pt idx="1253">
                  <c:v>All Others</c:v>
                </c:pt>
                <c:pt idx="1254">
                  <c:v>All Others</c:v>
                </c:pt>
                <c:pt idx="1255">
                  <c:v>All Others</c:v>
                </c:pt>
                <c:pt idx="1256">
                  <c:v>Private Lab</c:v>
                </c:pt>
                <c:pt idx="1257">
                  <c:v>Private Lab</c:v>
                </c:pt>
                <c:pt idx="1258">
                  <c:v>Entremont</c:v>
                </c:pt>
                <c:pt idx="1259">
                  <c:v>All Others</c:v>
                </c:pt>
                <c:pt idx="1260">
                  <c:v>All Others</c:v>
                </c:pt>
                <c:pt idx="1261">
                  <c:v>Private Lab</c:v>
                </c:pt>
                <c:pt idx="1262">
                  <c:v>All Others</c:v>
                </c:pt>
                <c:pt idx="1263">
                  <c:v>All Others</c:v>
                </c:pt>
                <c:pt idx="1264">
                  <c:v>All Others</c:v>
                </c:pt>
                <c:pt idx="1265">
                  <c:v>All Others</c:v>
                </c:pt>
                <c:pt idx="1266">
                  <c:v>All Others</c:v>
                </c:pt>
                <c:pt idx="1267">
                  <c:v>Richesmonts</c:v>
                </c:pt>
                <c:pt idx="1268">
                  <c:v>Gillot</c:v>
                </c:pt>
                <c:pt idx="1269">
                  <c:v>Private Lab</c:v>
                </c:pt>
                <c:pt idx="1270">
                  <c:v>All Others</c:v>
                </c:pt>
                <c:pt idx="1271">
                  <c:v>Entremont</c:v>
                </c:pt>
                <c:pt idx="1272">
                  <c:v>Private Lab</c:v>
                </c:pt>
                <c:pt idx="1273">
                  <c:v>O'Tapas Ape</c:v>
                </c:pt>
                <c:pt idx="1274">
                  <c:v>Pochat</c:v>
                </c:pt>
                <c:pt idx="1275">
                  <c:v>All Others</c:v>
                </c:pt>
                <c:pt idx="1276">
                  <c:v>Mini Babybe</c:v>
                </c:pt>
                <c:pt idx="1277">
                  <c:v>All Others</c:v>
                </c:pt>
                <c:pt idx="1278">
                  <c:v>Lactalis: A</c:v>
                </c:pt>
                <c:pt idx="1279">
                  <c:v>All Others</c:v>
                </c:pt>
                <c:pt idx="1280">
                  <c:v>Richesmonts</c:v>
                </c:pt>
                <c:pt idx="1281">
                  <c:v>All Others</c:v>
                </c:pt>
                <c:pt idx="1282">
                  <c:v>All Others</c:v>
                </c:pt>
                <c:pt idx="1283">
                  <c:v>Richesmonts</c:v>
                </c:pt>
                <c:pt idx="1284">
                  <c:v>Other Suppl</c:v>
                </c:pt>
                <c:pt idx="1285">
                  <c:v>Entremont</c:v>
                </c:pt>
                <c:pt idx="1286">
                  <c:v>President</c:v>
                </c:pt>
                <c:pt idx="1287">
                  <c:v>O'Tapas Ape</c:v>
                </c:pt>
                <c:pt idx="1288">
                  <c:v>All Others</c:v>
                </c:pt>
                <c:pt idx="1289">
                  <c:v>All Others</c:v>
                </c:pt>
                <c:pt idx="1290">
                  <c:v>Private Lab</c:v>
                </c:pt>
                <c:pt idx="1291">
                  <c:v>All Others</c:v>
                </c:pt>
                <c:pt idx="1292">
                  <c:v>All Others</c:v>
                </c:pt>
                <c:pt idx="1293">
                  <c:v>All Others</c:v>
                </c:pt>
                <c:pt idx="1294">
                  <c:v>Lactalis: A</c:v>
                </c:pt>
                <c:pt idx="1295">
                  <c:v>Private Lab</c:v>
                </c:pt>
                <c:pt idx="1296">
                  <c:v>Les Mousque</c:v>
                </c:pt>
                <c:pt idx="1297">
                  <c:v>All Others</c:v>
                </c:pt>
                <c:pt idx="1298">
                  <c:v>Private Lab</c:v>
                </c:pt>
                <c:pt idx="1299">
                  <c:v>All Others</c:v>
                </c:pt>
                <c:pt idx="1300">
                  <c:v>All Others</c:v>
                </c:pt>
                <c:pt idx="1301">
                  <c:v>Netto</c:v>
                </c:pt>
                <c:pt idx="1302">
                  <c:v>All Others</c:v>
                </c:pt>
                <c:pt idx="1303">
                  <c:v>Private Lab</c:v>
                </c:pt>
                <c:pt idx="1304">
                  <c:v>Lactalis: A</c:v>
                </c:pt>
                <c:pt idx="1305">
                  <c:v>All Others</c:v>
                </c:pt>
                <c:pt idx="1306">
                  <c:v>All Others</c:v>
                </c:pt>
                <c:pt idx="1307">
                  <c:v>Saint Agur</c:v>
                </c:pt>
                <c:pt idx="1308">
                  <c:v>All Others</c:v>
                </c:pt>
                <c:pt idx="1309">
                  <c:v>Private Lab</c:v>
                </c:pt>
                <c:pt idx="1310">
                  <c:v>All Others</c:v>
                </c:pt>
                <c:pt idx="1311">
                  <c:v>Les Mousque</c:v>
                </c:pt>
              </c:strCache>
            </c:strRef>
          </c:cat>
          <c:val>
            <c:numRef>
              <c:f>Sheet1!$B$2:$B$1313</c:f>
              <c:numCache>
                <c:formatCode>General</c:formatCode>
                <c:ptCount val="1312"/>
                <c:pt idx="0">
                  <c:v>0.998</c:v>
                </c:pt>
                <c:pt idx="1">
                  <c:v>0.996</c:v>
                </c:pt>
                <c:pt idx="2">
                  <c:v>0.998</c:v>
                </c:pt>
                <c:pt idx="3">
                  <c:v>0.99</c:v>
                </c:pt>
                <c:pt idx="4">
                  <c:v>0.998</c:v>
                </c:pt>
                <c:pt idx="5">
                  <c:v>0.98899999999999999</c:v>
                </c:pt>
                <c:pt idx="6">
                  <c:v>0.98</c:v>
                </c:pt>
                <c:pt idx="7">
                  <c:v>0.97499999999999998</c:v>
                </c:pt>
                <c:pt idx="8">
                  <c:v>0.999</c:v>
                </c:pt>
                <c:pt idx="9">
                  <c:v>0.999</c:v>
                </c:pt>
                <c:pt idx="10">
                  <c:v>0.96499999999999997</c:v>
                </c:pt>
                <c:pt idx="11">
                  <c:v>0.99399999999999999</c:v>
                </c:pt>
                <c:pt idx="12">
                  <c:v>0.999</c:v>
                </c:pt>
                <c:pt idx="13">
                  <c:v>0.97699999999999998</c:v>
                </c:pt>
                <c:pt idx="14">
                  <c:v>0.995</c:v>
                </c:pt>
                <c:pt idx="15">
                  <c:v>0.996</c:v>
                </c:pt>
                <c:pt idx="16">
                  <c:v>0.996</c:v>
                </c:pt>
                <c:pt idx="17">
                  <c:v>0.99</c:v>
                </c:pt>
                <c:pt idx="18">
                  <c:v>0.93799999999999994</c:v>
                </c:pt>
                <c:pt idx="19">
                  <c:v>0.998</c:v>
                </c:pt>
                <c:pt idx="20">
                  <c:v>0.80200000000000005</c:v>
                </c:pt>
                <c:pt idx="21">
                  <c:v>0.998</c:v>
                </c:pt>
                <c:pt idx="22">
                  <c:v>0.96799999999999997</c:v>
                </c:pt>
                <c:pt idx="23">
                  <c:v>0.999</c:v>
                </c:pt>
                <c:pt idx="24">
                  <c:v>0.98499999999999999</c:v>
                </c:pt>
                <c:pt idx="25">
                  <c:v>0.97699999999999998</c:v>
                </c:pt>
                <c:pt idx="26">
                  <c:v>0.998</c:v>
                </c:pt>
                <c:pt idx="27">
                  <c:v>0.98499999999999999</c:v>
                </c:pt>
                <c:pt idx="28">
                  <c:v>0.97499999999999998</c:v>
                </c:pt>
                <c:pt idx="29">
                  <c:v>0.93100000000000005</c:v>
                </c:pt>
                <c:pt idx="30">
                  <c:v>0.94399999999999995</c:v>
                </c:pt>
                <c:pt idx="31">
                  <c:v>0.98499999999999999</c:v>
                </c:pt>
                <c:pt idx="32">
                  <c:v>0.95399999999999996</c:v>
                </c:pt>
                <c:pt idx="33">
                  <c:v>0.98799999999999999</c:v>
                </c:pt>
                <c:pt idx="34">
                  <c:v>0.98799999999999999</c:v>
                </c:pt>
                <c:pt idx="35">
                  <c:v>0.98</c:v>
                </c:pt>
                <c:pt idx="36">
                  <c:v>0.98</c:v>
                </c:pt>
                <c:pt idx="37">
                  <c:v>0.97699999999999998</c:v>
                </c:pt>
                <c:pt idx="38">
                  <c:v>0.998</c:v>
                </c:pt>
                <c:pt idx="39">
                  <c:v>0.96299999999999997</c:v>
                </c:pt>
                <c:pt idx="40">
                  <c:v>0.998</c:v>
                </c:pt>
                <c:pt idx="41">
                  <c:v>0.98799999999999999</c:v>
                </c:pt>
                <c:pt idx="42">
                  <c:v>0.996</c:v>
                </c:pt>
                <c:pt idx="43">
                  <c:v>0.99099999999999999</c:v>
                </c:pt>
                <c:pt idx="44">
                  <c:v>0.98799999999999999</c:v>
                </c:pt>
                <c:pt idx="45">
                  <c:v>0.98899999999999999</c:v>
                </c:pt>
                <c:pt idx="46">
                  <c:v>0.98799999999999999</c:v>
                </c:pt>
                <c:pt idx="47">
                  <c:v>0.94199999999999995</c:v>
                </c:pt>
                <c:pt idx="48">
                  <c:v>0.98799999999999999</c:v>
                </c:pt>
                <c:pt idx="49">
                  <c:v>0.96599999999999997</c:v>
                </c:pt>
                <c:pt idx="50">
                  <c:v>0.98799999999999999</c:v>
                </c:pt>
                <c:pt idx="51">
                  <c:v>0.996</c:v>
                </c:pt>
                <c:pt idx="52">
                  <c:v>0.998</c:v>
                </c:pt>
                <c:pt idx="53">
                  <c:v>0.99199999999999999</c:v>
                </c:pt>
                <c:pt idx="54">
                  <c:v>0.97799999999999998</c:v>
                </c:pt>
                <c:pt idx="55">
                  <c:v>0.98299999999999998</c:v>
                </c:pt>
                <c:pt idx="56">
                  <c:v>0.996</c:v>
                </c:pt>
                <c:pt idx="57">
                  <c:v>0.98799999999999999</c:v>
                </c:pt>
                <c:pt idx="58">
                  <c:v>0.93799999999999994</c:v>
                </c:pt>
                <c:pt idx="59">
                  <c:v>0.94299999999999995</c:v>
                </c:pt>
                <c:pt idx="60">
                  <c:v>0.90200000000000002</c:v>
                </c:pt>
                <c:pt idx="61">
                  <c:v>0.95699999999999996</c:v>
                </c:pt>
                <c:pt idx="62">
                  <c:v>0.98899999999999999</c:v>
                </c:pt>
                <c:pt idx="63">
                  <c:v>0.96499999999999997</c:v>
                </c:pt>
                <c:pt idx="64">
                  <c:v>0.98299999999999998</c:v>
                </c:pt>
                <c:pt idx="65">
                  <c:v>0.98799999999999999</c:v>
                </c:pt>
                <c:pt idx="66">
                  <c:v>0.92900000000000005</c:v>
                </c:pt>
                <c:pt idx="67">
                  <c:v>0.91800000000000004</c:v>
                </c:pt>
                <c:pt idx="68">
                  <c:v>0.98599999999999999</c:v>
                </c:pt>
                <c:pt idx="69">
                  <c:v>0.995</c:v>
                </c:pt>
                <c:pt idx="70">
                  <c:v>0.92600000000000005</c:v>
                </c:pt>
                <c:pt idx="71">
                  <c:v>0.998</c:v>
                </c:pt>
                <c:pt idx="72">
                  <c:v>0.92800000000000005</c:v>
                </c:pt>
                <c:pt idx="73">
                  <c:v>0.95699999999999996</c:v>
                </c:pt>
                <c:pt idx="74">
                  <c:v>0.94</c:v>
                </c:pt>
                <c:pt idx="75">
                  <c:v>0.93400000000000005</c:v>
                </c:pt>
                <c:pt idx="76">
                  <c:v>0.99399999999999999</c:v>
                </c:pt>
                <c:pt idx="77">
                  <c:v>0.96599999999999997</c:v>
                </c:pt>
                <c:pt idx="78">
                  <c:v>0.90900000000000003</c:v>
                </c:pt>
                <c:pt idx="79">
                  <c:v>0.995</c:v>
                </c:pt>
                <c:pt idx="80">
                  <c:v>0.98799999999999999</c:v>
                </c:pt>
                <c:pt idx="81">
                  <c:v>0.871</c:v>
                </c:pt>
                <c:pt idx="82">
                  <c:v>0.98</c:v>
                </c:pt>
                <c:pt idx="83">
                  <c:v>0.96699999999999997</c:v>
                </c:pt>
                <c:pt idx="84">
                  <c:v>0.998</c:v>
                </c:pt>
                <c:pt idx="85">
                  <c:v>0.92100000000000004</c:v>
                </c:pt>
                <c:pt idx="86">
                  <c:v>0.90400000000000003</c:v>
                </c:pt>
                <c:pt idx="87">
                  <c:v>0.98399999999999999</c:v>
                </c:pt>
                <c:pt idx="88">
                  <c:v>0.97299999999999998</c:v>
                </c:pt>
                <c:pt idx="89">
                  <c:v>0.95699999999999996</c:v>
                </c:pt>
                <c:pt idx="90">
                  <c:v>0.97299999999999998</c:v>
                </c:pt>
                <c:pt idx="91">
                  <c:v>0.434</c:v>
                </c:pt>
                <c:pt idx="92">
                  <c:v>0.98899999999999999</c:v>
                </c:pt>
                <c:pt idx="93">
                  <c:v>0.96699999999999997</c:v>
                </c:pt>
                <c:pt idx="94">
                  <c:v>0.998</c:v>
                </c:pt>
                <c:pt idx="95">
                  <c:v>0.99099999999999999</c:v>
                </c:pt>
                <c:pt idx="96">
                  <c:v>0.98499999999999999</c:v>
                </c:pt>
                <c:pt idx="97">
                  <c:v>0.96199999999999997</c:v>
                </c:pt>
                <c:pt idx="98">
                  <c:v>0.98599999999999999</c:v>
                </c:pt>
                <c:pt idx="99">
                  <c:v>0.97699999999999998</c:v>
                </c:pt>
                <c:pt idx="100">
                  <c:v>0.92200000000000004</c:v>
                </c:pt>
                <c:pt idx="101">
                  <c:v>0.89500000000000002</c:v>
                </c:pt>
                <c:pt idx="102">
                  <c:v>0.98799999999999999</c:v>
                </c:pt>
                <c:pt idx="103">
                  <c:v>0.97399999999999998</c:v>
                </c:pt>
                <c:pt idx="104">
                  <c:v>0.996</c:v>
                </c:pt>
                <c:pt idx="105">
                  <c:v>0.98299999999999998</c:v>
                </c:pt>
                <c:pt idx="106">
                  <c:v>0.98499999999999999</c:v>
                </c:pt>
                <c:pt idx="107">
                  <c:v>0.84599999999999997</c:v>
                </c:pt>
                <c:pt idx="108">
                  <c:v>0.92600000000000005</c:v>
                </c:pt>
                <c:pt idx="109">
                  <c:v>0.94599999999999995</c:v>
                </c:pt>
                <c:pt idx="110">
                  <c:v>0.77600000000000002</c:v>
                </c:pt>
                <c:pt idx="111">
                  <c:v>0.995</c:v>
                </c:pt>
                <c:pt idx="112">
                  <c:v>0.85299999999999998</c:v>
                </c:pt>
                <c:pt idx="113">
                  <c:v>0.98399999999999999</c:v>
                </c:pt>
                <c:pt idx="114">
                  <c:v>0.90500000000000003</c:v>
                </c:pt>
                <c:pt idx="115">
                  <c:v>0.93600000000000005</c:v>
                </c:pt>
                <c:pt idx="116">
                  <c:v>0.91</c:v>
                </c:pt>
                <c:pt idx="117">
                  <c:v>0.98899999999999999</c:v>
                </c:pt>
                <c:pt idx="118">
                  <c:v>0.72299999999999998</c:v>
                </c:pt>
                <c:pt idx="119">
                  <c:v>0.91</c:v>
                </c:pt>
                <c:pt idx="120">
                  <c:v>0.93100000000000005</c:v>
                </c:pt>
                <c:pt idx="121">
                  <c:v>0.93899999999999995</c:v>
                </c:pt>
                <c:pt idx="122">
                  <c:v>0.96299999999999997</c:v>
                </c:pt>
                <c:pt idx="123">
                  <c:v>0.98399999999999999</c:v>
                </c:pt>
                <c:pt idx="124">
                  <c:v>0.70599999999999996</c:v>
                </c:pt>
                <c:pt idx="125">
                  <c:v>0.96699999999999997</c:v>
                </c:pt>
                <c:pt idx="126">
                  <c:v>0.96</c:v>
                </c:pt>
                <c:pt idx="127">
                  <c:v>0.98599999999999999</c:v>
                </c:pt>
                <c:pt idx="128">
                  <c:v>0.89500000000000002</c:v>
                </c:pt>
                <c:pt idx="129">
                  <c:v>0.98499999999999999</c:v>
                </c:pt>
                <c:pt idx="130">
                  <c:v>0.90600000000000003</c:v>
                </c:pt>
                <c:pt idx="131">
                  <c:v>0.98399999999999999</c:v>
                </c:pt>
                <c:pt idx="132">
                  <c:v>0.92900000000000005</c:v>
                </c:pt>
                <c:pt idx="133">
                  <c:v>0.96799999999999997</c:v>
                </c:pt>
                <c:pt idx="134">
                  <c:v>0.98</c:v>
                </c:pt>
                <c:pt idx="135">
                  <c:v>0.90700000000000003</c:v>
                </c:pt>
                <c:pt idx="136">
                  <c:v>0.84699999999999998</c:v>
                </c:pt>
                <c:pt idx="137">
                  <c:v>0.89300000000000002</c:v>
                </c:pt>
                <c:pt idx="138">
                  <c:v>0.91200000000000003</c:v>
                </c:pt>
                <c:pt idx="139">
                  <c:v>0.95499999999999996</c:v>
                </c:pt>
                <c:pt idx="140">
                  <c:v>0.92200000000000004</c:v>
                </c:pt>
                <c:pt idx="141">
                  <c:v>0.85199999999999998</c:v>
                </c:pt>
                <c:pt idx="142">
                  <c:v>0.95099999999999996</c:v>
                </c:pt>
                <c:pt idx="143">
                  <c:v>0.92100000000000004</c:v>
                </c:pt>
                <c:pt idx="144">
                  <c:v>0.98199999999999998</c:v>
                </c:pt>
                <c:pt idx="145">
                  <c:v>0.94499999999999995</c:v>
                </c:pt>
                <c:pt idx="146">
                  <c:v>0.96099999999999997</c:v>
                </c:pt>
                <c:pt idx="147">
                  <c:v>0.8</c:v>
                </c:pt>
                <c:pt idx="148">
                  <c:v>0.97299999999999998</c:v>
                </c:pt>
                <c:pt idx="149">
                  <c:v>0.97899999999999998</c:v>
                </c:pt>
                <c:pt idx="150">
                  <c:v>0.88300000000000001</c:v>
                </c:pt>
                <c:pt idx="151">
                  <c:v>0.88600000000000001</c:v>
                </c:pt>
                <c:pt idx="152">
                  <c:v>0.85499999999999998</c:v>
                </c:pt>
                <c:pt idx="153">
                  <c:v>0.89800000000000002</c:v>
                </c:pt>
                <c:pt idx="154">
                  <c:v>0.98199999999999998</c:v>
                </c:pt>
                <c:pt idx="155">
                  <c:v>0.94899999999999995</c:v>
                </c:pt>
                <c:pt idx="156">
                  <c:v>0.98799999999999999</c:v>
                </c:pt>
                <c:pt idx="157">
                  <c:v>0.66900000000000004</c:v>
                </c:pt>
                <c:pt idx="158">
                  <c:v>0.97799999999999998</c:v>
                </c:pt>
                <c:pt idx="159">
                  <c:v>0.95199999999999996</c:v>
                </c:pt>
                <c:pt idx="160">
                  <c:v>0.94799999999999995</c:v>
                </c:pt>
                <c:pt idx="161">
                  <c:v>0.72299999999999998</c:v>
                </c:pt>
                <c:pt idx="162">
                  <c:v>0.94</c:v>
                </c:pt>
                <c:pt idx="163">
                  <c:v>0.85</c:v>
                </c:pt>
                <c:pt idx="164">
                  <c:v>0.98899999999999999</c:v>
                </c:pt>
                <c:pt idx="165">
                  <c:v>0.95099999999999996</c:v>
                </c:pt>
                <c:pt idx="166">
                  <c:v>0.85399999999999998</c:v>
                </c:pt>
                <c:pt idx="167">
                  <c:v>0.85499999999999998</c:v>
                </c:pt>
                <c:pt idx="168">
                  <c:v>0.89800000000000002</c:v>
                </c:pt>
                <c:pt idx="169">
                  <c:v>0.873</c:v>
                </c:pt>
                <c:pt idx="170">
                  <c:v>0.96499999999999997</c:v>
                </c:pt>
                <c:pt idx="171">
                  <c:v>0.94799999999999995</c:v>
                </c:pt>
                <c:pt idx="172">
                  <c:v>0.94599999999999995</c:v>
                </c:pt>
                <c:pt idx="173">
                  <c:v>0.94399999999999995</c:v>
                </c:pt>
                <c:pt idx="174">
                  <c:v>0.99399999999999999</c:v>
                </c:pt>
                <c:pt idx="175">
                  <c:v>0.65700000000000003</c:v>
                </c:pt>
                <c:pt idx="176">
                  <c:v>0.88100000000000001</c:v>
                </c:pt>
                <c:pt idx="177">
                  <c:v>0.86699999999999999</c:v>
                </c:pt>
                <c:pt idx="178">
                  <c:v>0.91700000000000004</c:v>
                </c:pt>
                <c:pt idx="179">
                  <c:v>0.86699999999999999</c:v>
                </c:pt>
                <c:pt idx="180">
                  <c:v>0.95699999999999996</c:v>
                </c:pt>
                <c:pt idx="181">
                  <c:v>0.95299999999999996</c:v>
                </c:pt>
                <c:pt idx="182">
                  <c:v>0.83099999999999996</c:v>
                </c:pt>
                <c:pt idx="183">
                  <c:v>0.94599999999999995</c:v>
                </c:pt>
                <c:pt idx="184">
                  <c:v>0.95399999999999996</c:v>
                </c:pt>
                <c:pt idx="185">
                  <c:v>0.98499999999999999</c:v>
                </c:pt>
                <c:pt idx="186">
                  <c:v>0.872</c:v>
                </c:pt>
                <c:pt idx="187">
                  <c:v>0.85</c:v>
                </c:pt>
                <c:pt idx="188">
                  <c:v>0.63700000000000001</c:v>
                </c:pt>
                <c:pt idx="189">
                  <c:v>0.93500000000000005</c:v>
                </c:pt>
                <c:pt idx="190">
                  <c:v>0.94599999999999995</c:v>
                </c:pt>
                <c:pt idx="191">
                  <c:v>0.95799999999999996</c:v>
                </c:pt>
                <c:pt idx="192">
                  <c:v>0.48599999999999999</c:v>
                </c:pt>
                <c:pt idx="193">
                  <c:v>0.93</c:v>
                </c:pt>
                <c:pt idx="194">
                  <c:v>0.69299999999999995</c:v>
                </c:pt>
                <c:pt idx="195">
                  <c:v>0.79200000000000004</c:v>
                </c:pt>
                <c:pt idx="196">
                  <c:v>0.96899999999999997</c:v>
                </c:pt>
                <c:pt idx="197">
                  <c:v>0.81699999999999995</c:v>
                </c:pt>
                <c:pt idx="198">
                  <c:v>0.92800000000000005</c:v>
                </c:pt>
                <c:pt idx="199">
                  <c:v>0.92300000000000004</c:v>
                </c:pt>
                <c:pt idx="200">
                  <c:v>0.94</c:v>
                </c:pt>
                <c:pt idx="201">
                  <c:v>0.56999999999999995</c:v>
                </c:pt>
                <c:pt idx="202">
                  <c:v>0.95799999999999996</c:v>
                </c:pt>
                <c:pt idx="203">
                  <c:v>0.77500000000000002</c:v>
                </c:pt>
                <c:pt idx="204">
                  <c:v>0.84499999999999997</c:v>
                </c:pt>
                <c:pt idx="205">
                  <c:v>0.84499999999999997</c:v>
                </c:pt>
                <c:pt idx="206">
                  <c:v>0.85899999999999999</c:v>
                </c:pt>
                <c:pt idx="207">
                  <c:v>0.90800000000000003</c:v>
                </c:pt>
                <c:pt idx="208">
                  <c:v>0.93799999999999994</c:v>
                </c:pt>
                <c:pt idx="209">
                  <c:v>0.98799999999999999</c:v>
                </c:pt>
                <c:pt idx="210">
                  <c:v>0.83499999999999996</c:v>
                </c:pt>
                <c:pt idx="211">
                  <c:v>0.876</c:v>
                </c:pt>
                <c:pt idx="212">
                  <c:v>0.97899999999999998</c:v>
                </c:pt>
                <c:pt idx="213">
                  <c:v>0.58299999999999996</c:v>
                </c:pt>
                <c:pt idx="214">
                  <c:v>0.92100000000000004</c:v>
                </c:pt>
                <c:pt idx="215">
                  <c:v>0.90400000000000003</c:v>
                </c:pt>
                <c:pt idx="216">
                  <c:v>0.90500000000000003</c:v>
                </c:pt>
                <c:pt idx="217">
                  <c:v>0.91300000000000003</c:v>
                </c:pt>
                <c:pt idx="218">
                  <c:v>0.76900000000000002</c:v>
                </c:pt>
                <c:pt idx="219">
                  <c:v>0.93300000000000005</c:v>
                </c:pt>
                <c:pt idx="220">
                  <c:v>0.82599999999999996</c:v>
                </c:pt>
                <c:pt idx="221">
                  <c:v>0.96199999999999997</c:v>
                </c:pt>
                <c:pt idx="222">
                  <c:v>0.98299999999999998</c:v>
                </c:pt>
                <c:pt idx="223">
                  <c:v>0.93</c:v>
                </c:pt>
                <c:pt idx="224">
                  <c:v>0.95799999999999996</c:v>
                </c:pt>
                <c:pt idx="225">
                  <c:v>0.86099999999999999</c:v>
                </c:pt>
                <c:pt idx="226">
                  <c:v>0.98899999999999999</c:v>
                </c:pt>
                <c:pt idx="227">
                  <c:v>0.93500000000000005</c:v>
                </c:pt>
                <c:pt idx="228">
                  <c:v>0.85799999999999998</c:v>
                </c:pt>
                <c:pt idx="229">
                  <c:v>0.54400000000000004</c:v>
                </c:pt>
                <c:pt idx="230">
                  <c:v>0.64200000000000002</c:v>
                </c:pt>
                <c:pt idx="231">
                  <c:v>0.96499999999999997</c:v>
                </c:pt>
                <c:pt idx="232">
                  <c:v>0.97599999999999998</c:v>
                </c:pt>
                <c:pt idx="233">
                  <c:v>0.82899999999999996</c:v>
                </c:pt>
                <c:pt idx="234">
                  <c:v>0.85399999999999998</c:v>
                </c:pt>
                <c:pt idx="235">
                  <c:v>0.96699999999999997</c:v>
                </c:pt>
                <c:pt idx="236">
                  <c:v>0.88</c:v>
                </c:pt>
                <c:pt idx="237">
                  <c:v>0.96299999999999997</c:v>
                </c:pt>
                <c:pt idx="238">
                  <c:v>0.95499999999999996</c:v>
                </c:pt>
                <c:pt idx="239">
                  <c:v>0.98299999999999998</c:v>
                </c:pt>
                <c:pt idx="240">
                  <c:v>0.90900000000000003</c:v>
                </c:pt>
                <c:pt idx="241">
                  <c:v>0.59499999999999997</c:v>
                </c:pt>
                <c:pt idx="242">
                  <c:v>0.75600000000000001</c:v>
                </c:pt>
                <c:pt idx="243">
                  <c:v>0.76600000000000001</c:v>
                </c:pt>
                <c:pt idx="244">
                  <c:v>0.83799999999999997</c:v>
                </c:pt>
                <c:pt idx="245">
                  <c:v>0.94799999999999995</c:v>
                </c:pt>
                <c:pt idx="246">
                  <c:v>0.72799999999999998</c:v>
                </c:pt>
                <c:pt idx="247">
                  <c:v>0.83699999999999997</c:v>
                </c:pt>
                <c:pt idx="248">
                  <c:v>0.60499999999999998</c:v>
                </c:pt>
                <c:pt idx="249">
                  <c:v>0.68700000000000006</c:v>
                </c:pt>
                <c:pt idx="250">
                  <c:v>0.90400000000000003</c:v>
                </c:pt>
                <c:pt idx="251">
                  <c:v>0.88200000000000001</c:v>
                </c:pt>
                <c:pt idx="252">
                  <c:v>0.98199999999999998</c:v>
                </c:pt>
                <c:pt idx="253">
                  <c:v>0.752</c:v>
                </c:pt>
                <c:pt idx="254">
                  <c:v>0.83699999999999997</c:v>
                </c:pt>
                <c:pt idx="255">
                  <c:v>0.39900000000000002</c:v>
                </c:pt>
                <c:pt idx="256">
                  <c:v>0.871</c:v>
                </c:pt>
                <c:pt idx="257">
                  <c:v>0.89600000000000002</c:v>
                </c:pt>
                <c:pt idx="258">
                  <c:v>0.88200000000000001</c:v>
                </c:pt>
                <c:pt idx="259">
                  <c:v>0.89300000000000002</c:v>
                </c:pt>
                <c:pt idx="260">
                  <c:v>0.85</c:v>
                </c:pt>
                <c:pt idx="261">
                  <c:v>0.91700000000000004</c:v>
                </c:pt>
                <c:pt idx="262">
                  <c:v>0.753</c:v>
                </c:pt>
                <c:pt idx="263">
                  <c:v>0.97</c:v>
                </c:pt>
                <c:pt idx="264">
                  <c:v>0.93799999999999994</c:v>
                </c:pt>
                <c:pt idx="265">
                  <c:v>0.95699999999999996</c:v>
                </c:pt>
                <c:pt idx="266">
                  <c:v>0.93500000000000005</c:v>
                </c:pt>
                <c:pt idx="267">
                  <c:v>0.90300000000000002</c:v>
                </c:pt>
                <c:pt idx="268">
                  <c:v>0.92800000000000005</c:v>
                </c:pt>
                <c:pt idx="269">
                  <c:v>0.71099999999999997</c:v>
                </c:pt>
                <c:pt idx="270">
                  <c:v>0.92300000000000004</c:v>
                </c:pt>
                <c:pt idx="271">
                  <c:v>0.88100000000000001</c:v>
                </c:pt>
                <c:pt idx="272">
                  <c:v>0.93400000000000005</c:v>
                </c:pt>
                <c:pt idx="273">
                  <c:v>0.89600000000000002</c:v>
                </c:pt>
                <c:pt idx="274">
                  <c:v>0.747</c:v>
                </c:pt>
                <c:pt idx="275">
                  <c:v>0.88700000000000001</c:v>
                </c:pt>
                <c:pt idx="276">
                  <c:v>0.91900000000000004</c:v>
                </c:pt>
                <c:pt idx="277">
                  <c:v>0.60399999999999998</c:v>
                </c:pt>
                <c:pt idx="278">
                  <c:v>0.81799999999999995</c:v>
                </c:pt>
                <c:pt idx="279">
                  <c:v>0.83499999999999996</c:v>
                </c:pt>
                <c:pt idx="280">
                  <c:v>0.81799999999999995</c:v>
                </c:pt>
                <c:pt idx="281">
                  <c:v>0.44800000000000001</c:v>
                </c:pt>
                <c:pt idx="282">
                  <c:v>0.90200000000000002</c:v>
                </c:pt>
                <c:pt idx="283">
                  <c:v>0.88900000000000001</c:v>
                </c:pt>
                <c:pt idx="284">
                  <c:v>0.91400000000000003</c:v>
                </c:pt>
                <c:pt idx="285">
                  <c:v>0.67600000000000005</c:v>
                </c:pt>
                <c:pt idx="286">
                  <c:v>0.41599999999999998</c:v>
                </c:pt>
                <c:pt idx="287">
                  <c:v>0.84599999999999997</c:v>
                </c:pt>
                <c:pt idx="288">
                  <c:v>0.79300000000000004</c:v>
                </c:pt>
                <c:pt idx="289">
                  <c:v>0.88800000000000001</c:v>
                </c:pt>
                <c:pt idx="290">
                  <c:v>0.89900000000000002</c:v>
                </c:pt>
                <c:pt idx="291">
                  <c:v>0.84199999999999997</c:v>
                </c:pt>
                <c:pt idx="292">
                  <c:v>0.75600000000000001</c:v>
                </c:pt>
                <c:pt idx="293">
                  <c:v>0.95099999999999996</c:v>
                </c:pt>
                <c:pt idx="294">
                  <c:v>0.81100000000000005</c:v>
                </c:pt>
                <c:pt idx="295">
                  <c:v>0.76500000000000001</c:v>
                </c:pt>
                <c:pt idx="296">
                  <c:v>0.59399999999999997</c:v>
                </c:pt>
                <c:pt idx="297">
                  <c:v>0.69199999999999995</c:v>
                </c:pt>
                <c:pt idx="298">
                  <c:v>0.84099999999999997</c:v>
                </c:pt>
                <c:pt idx="299">
                  <c:v>0.85199999999999998</c:v>
                </c:pt>
                <c:pt idx="300">
                  <c:v>0.85299999999999998</c:v>
                </c:pt>
                <c:pt idx="301">
                  <c:v>0.876</c:v>
                </c:pt>
                <c:pt idx="302">
                  <c:v>0.86299999999999999</c:v>
                </c:pt>
                <c:pt idx="303">
                  <c:v>0.33</c:v>
                </c:pt>
                <c:pt idx="304">
                  <c:v>0.95399999999999996</c:v>
                </c:pt>
                <c:pt idx="305">
                  <c:v>0.80300000000000005</c:v>
                </c:pt>
                <c:pt idx="306">
                  <c:v>0.91200000000000003</c:v>
                </c:pt>
                <c:pt idx="307">
                  <c:v>0.90100000000000002</c:v>
                </c:pt>
                <c:pt idx="308">
                  <c:v>0.86</c:v>
                </c:pt>
                <c:pt idx="309">
                  <c:v>0.95599999999999996</c:v>
                </c:pt>
                <c:pt idx="310">
                  <c:v>0.51200000000000001</c:v>
                </c:pt>
                <c:pt idx="311">
                  <c:v>0.90900000000000003</c:v>
                </c:pt>
                <c:pt idx="312">
                  <c:v>0.85299999999999998</c:v>
                </c:pt>
                <c:pt idx="313">
                  <c:v>0.61799999999999999</c:v>
                </c:pt>
                <c:pt idx="314">
                  <c:v>0.752</c:v>
                </c:pt>
                <c:pt idx="315">
                  <c:v>0.85599999999999998</c:v>
                </c:pt>
                <c:pt idx="316">
                  <c:v>0.86899999999999999</c:v>
                </c:pt>
                <c:pt idx="317">
                  <c:v>0.92300000000000004</c:v>
                </c:pt>
                <c:pt idx="318">
                  <c:v>0.45</c:v>
                </c:pt>
                <c:pt idx="319">
                  <c:v>0.752</c:v>
                </c:pt>
                <c:pt idx="320">
                  <c:v>0.93700000000000006</c:v>
                </c:pt>
                <c:pt idx="321">
                  <c:v>0.67400000000000004</c:v>
                </c:pt>
                <c:pt idx="322">
                  <c:v>0.753</c:v>
                </c:pt>
                <c:pt idx="323">
                  <c:v>0.71599999999999997</c:v>
                </c:pt>
                <c:pt idx="324">
                  <c:v>0.76500000000000001</c:v>
                </c:pt>
                <c:pt idx="325">
                  <c:v>0.94099999999999995</c:v>
                </c:pt>
                <c:pt idx="326">
                  <c:v>0.67300000000000004</c:v>
                </c:pt>
                <c:pt idx="327">
                  <c:v>0.82199999999999995</c:v>
                </c:pt>
                <c:pt idx="328">
                  <c:v>0.65</c:v>
                </c:pt>
                <c:pt idx="329">
                  <c:v>0.42</c:v>
                </c:pt>
                <c:pt idx="330">
                  <c:v>0.83699999999999997</c:v>
                </c:pt>
                <c:pt idx="331">
                  <c:v>0.88300000000000001</c:v>
                </c:pt>
                <c:pt idx="332">
                  <c:v>0.90500000000000003</c:v>
                </c:pt>
                <c:pt idx="333">
                  <c:v>0.94399999999999995</c:v>
                </c:pt>
                <c:pt idx="334">
                  <c:v>0.84099999999999997</c:v>
                </c:pt>
                <c:pt idx="335">
                  <c:v>0.44</c:v>
                </c:pt>
                <c:pt idx="336">
                  <c:v>0.78200000000000003</c:v>
                </c:pt>
                <c:pt idx="337">
                  <c:v>0.74199999999999999</c:v>
                </c:pt>
                <c:pt idx="338">
                  <c:v>0.57099999999999995</c:v>
                </c:pt>
                <c:pt idx="339">
                  <c:v>0.83099999999999996</c:v>
                </c:pt>
                <c:pt idx="340">
                  <c:v>0.73</c:v>
                </c:pt>
                <c:pt idx="341">
                  <c:v>0.82199999999999995</c:v>
                </c:pt>
                <c:pt idx="342">
                  <c:v>0.51300000000000001</c:v>
                </c:pt>
                <c:pt idx="343">
                  <c:v>0.35599999999999998</c:v>
                </c:pt>
                <c:pt idx="344">
                  <c:v>0.79800000000000004</c:v>
                </c:pt>
                <c:pt idx="345">
                  <c:v>0.88700000000000001</c:v>
                </c:pt>
                <c:pt idx="346">
                  <c:v>0.754</c:v>
                </c:pt>
                <c:pt idx="347">
                  <c:v>0.83099999999999996</c:v>
                </c:pt>
                <c:pt idx="348">
                  <c:v>0.58799999999999997</c:v>
                </c:pt>
                <c:pt idx="349">
                  <c:v>0.68700000000000006</c:v>
                </c:pt>
                <c:pt idx="350">
                  <c:v>0.82199999999999995</c:v>
                </c:pt>
                <c:pt idx="351">
                  <c:v>0.82899999999999996</c:v>
                </c:pt>
                <c:pt idx="352">
                  <c:v>0.83199999999999996</c:v>
                </c:pt>
                <c:pt idx="353">
                  <c:v>0.25600000000000001</c:v>
                </c:pt>
                <c:pt idx="354">
                  <c:v>0.874</c:v>
                </c:pt>
                <c:pt idx="355">
                  <c:v>0.81599999999999995</c:v>
                </c:pt>
                <c:pt idx="356">
                  <c:v>0.88200000000000001</c:v>
                </c:pt>
                <c:pt idx="357">
                  <c:v>0.93899999999999995</c:v>
                </c:pt>
                <c:pt idx="358">
                  <c:v>0.92</c:v>
                </c:pt>
                <c:pt idx="359">
                  <c:v>0.246</c:v>
                </c:pt>
                <c:pt idx="360">
                  <c:v>0.77200000000000002</c:v>
                </c:pt>
                <c:pt idx="361">
                  <c:v>0.77</c:v>
                </c:pt>
                <c:pt idx="362">
                  <c:v>0.78300000000000003</c:v>
                </c:pt>
                <c:pt idx="363">
                  <c:v>0.82399999999999995</c:v>
                </c:pt>
                <c:pt idx="364">
                  <c:v>0.71399999999999997</c:v>
                </c:pt>
                <c:pt idx="365">
                  <c:v>0.64100000000000001</c:v>
                </c:pt>
                <c:pt idx="366">
                  <c:v>0.24399999999999999</c:v>
                </c:pt>
                <c:pt idx="367">
                  <c:v>0.70799999999999996</c:v>
                </c:pt>
                <c:pt idx="368">
                  <c:v>0.56499999999999995</c:v>
                </c:pt>
                <c:pt idx="369">
                  <c:v>0.70299999999999996</c:v>
                </c:pt>
                <c:pt idx="370">
                  <c:v>0.55800000000000005</c:v>
                </c:pt>
                <c:pt idx="371">
                  <c:v>0.72799999999999998</c:v>
                </c:pt>
                <c:pt idx="372">
                  <c:v>0.69099999999999995</c:v>
                </c:pt>
                <c:pt idx="373">
                  <c:v>0.66300000000000003</c:v>
                </c:pt>
                <c:pt idx="374">
                  <c:v>0.80600000000000005</c:v>
                </c:pt>
                <c:pt idx="375">
                  <c:v>0.73099999999999998</c:v>
                </c:pt>
                <c:pt idx="376">
                  <c:v>0.753</c:v>
                </c:pt>
                <c:pt idx="377">
                  <c:v>0.91200000000000003</c:v>
                </c:pt>
                <c:pt idx="378">
                  <c:v>0.55800000000000005</c:v>
                </c:pt>
                <c:pt idx="379">
                  <c:v>0.74399999999999999</c:v>
                </c:pt>
                <c:pt idx="380">
                  <c:v>0.40799999999999997</c:v>
                </c:pt>
                <c:pt idx="381">
                  <c:v>0.65</c:v>
                </c:pt>
                <c:pt idx="382">
                  <c:v>0.73199999999999998</c:v>
                </c:pt>
                <c:pt idx="383">
                  <c:v>0.55100000000000005</c:v>
                </c:pt>
                <c:pt idx="384">
                  <c:v>0.94499999999999995</c:v>
                </c:pt>
                <c:pt idx="385">
                  <c:v>0.84299999999999997</c:v>
                </c:pt>
                <c:pt idx="386">
                  <c:v>0.52</c:v>
                </c:pt>
                <c:pt idx="387">
                  <c:v>0.57799999999999996</c:v>
                </c:pt>
                <c:pt idx="388">
                  <c:v>0.77</c:v>
                </c:pt>
                <c:pt idx="389">
                  <c:v>0.748</c:v>
                </c:pt>
                <c:pt idx="390">
                  <c:v>0.77800000000000002</c:v>
                </c:pt>
                <c:pt idx="391">
                  <c:v>0.76900000000000002</c:v>
                </c:pt>
                <c:pt idx="392">
                  <c:v>0.86399999999999999</c:v>
                </c:pt>
                <c:pt idx="393">
                  <c:v>0.80500000000000005</c:v>
                </c:pt>
                <c:pt idx="394">
                  <c:v>0.89300000000000002</c:v>
                </c:pt>
                <c:pt idx="395">
                  <c:v>0.753</c:v>
                </c:pt>
                <c:pt idx="396">
                  <c:v>0.59599999999999997</c:v>
                </c:pt>
                <c:pt idx="397">
                  <c:v>0.33800000000000002</c:v>
                </c:pt>
                <c:pt idx="398">
                  <c:v>0.13600000000000001</c:v>
                </c:pt>
                <c:pt idx="399">
                  <c:v>0.63500000000000001</c:v>
                </c:pt>
                <c:pt idx="400">
                  <c:v>0.3</c:v>
                </c:pt>
                <c:pt idx="401">
                  <c:v>0.4</c:v>
                </c:pt>
                <c:pt idx="402">
                  <c:v>0.63200000000000001</c:v>
                </c:pt>
                <c:pt idx="403">
                  <c:v>0.41599999999999998</c:v>
                </c:pt>
                <c:pt idx="404">
                  <c:v>0.22800000000000001</c:v>
                </c:pt>
                <c:pt idx="405">
                  <c:v>0.879</c:v>
                </c:pt>
                <c:pt idx="406">
                  <c:v>0.81899999999999995</c:v>
                </c:pt>
                <c:pt idx="407">
                  <c:v>0.497</c:v>
                </c:pt>
                <c:pt idx="408">
                  <c:v>0.72899999999999998</c:v>
                </c:pt>
                <c:pt idx="409">
                  <c:v>0.60299999999999998</c:v>
                </c:pt>
                <c:pt idx="410">
                  <c:v>0.84299999999999997</c:v>
                </c:pt>
                <c:pt idx="411">
                  <c:v>0.83499999999999996</c:v>
                </c:pt>
                <c:pt idx="412">
                  <c:v>0.72199999999999998</c:v>
                </c:pt>
                <c:pt idx="413">
                  <c:v>0.61299999999999999</c:v>
                </c:pt>
                <c:pt idx="414">
                  <c:v>0.65</c:v>
                </c:pt>
                <c:pt idx="415">
                  <c:v>0.85299999999999998</c:v>
                </c:pt>
                <c:pt idx="416">
                  <c:v>0.75800000000000001</c:v>
                </c:pt>
                <c:pt idx="417">
                  <c:v>0.435</c:v>
                </c:pt>
                <c:pt idx="418">
                  <c:v>0.8</c:v>
                </c:pt>
                <c:pt idx="419">
                  <c:v>0.14099999999999999</c:v>
                </c:pt>
                <c:pt idx="420">
                  <c:v>0.46600000000000003</c:v>
                </c:pt>
                <c:pt idx="421">
                  <c:v>0.84199999999999997</c:v>
                </c:pt>
                <c:pt idx="422">
                  <c:v>0.79500000000000004</c:v>
                </c:pt>
                <c:pt idx="423">
                  <c:v>0.73399999999999999</c:v>
                </c:pt>
                <c:pt idx="424">
                  <c:v>0.35699999999999998</c:v>
                </c:pt>
                <c:pt idx="425">
                  <c:v>0.84</c:v>
                </c:pt>
                <c:pt idx="426">
                  <c:v>0.75800000000000001</c:v>
                </c:pt>
                <c:pt idx="427">
                  <c:v>0.74299999999999999</c:v>
                </c:pt>
                <c:pt idx="428">
                  <c:v>0.64600000000000002</c:v>
                </c:pt>
                <c:pt idx="429">
                  <c:v>0.47599999999999998</c:v>
                </c:pt>
                <c:pt idx="430">
                  <c:v>0.72899999999999998</c:v>
                </c:pt>
                <c:pt idx="431">
                  <c:v>0.44900000000000001</c:v>
                </c:pt>
                <c:pt idx="432">
                  <c:v>0.65700000000000003</c:v>
                </c:pt>
                <c:pt idx="433">
                  <c:v>0.82099999999999995</c:v>
                </c:pt>
                <c:pt idx="434">
                  <c:v>0.84199999999999997</c:v>
                </c:pt>
                <c:pt idx="435">
                  <c:v>0.85199999999999998</c:v>
                </c:pt>
                <c:pt idx="436">
                  <c:v>0.61399999999999999</c:v>
                </c:pt>
                <c:pt idx="437">
                  <c:v>0.63400000000000001</c:v>
                </c:pt>
                <c:pt idx="438">
                  <c:v>0.73699999999999999</c:v>
                </c:pt>
                <c:pt idx="439">
                  <c:v>0.81899999999999995</c:v>
                </c:pt>
                <c:pt idx="440">
                  <c:v>0.35899999999999999</c:v>
                </c:pt>
                <c:pt idx="441">
                  <c:v>0.39600000000000002</c:v>
                </c:pt>
                <c:pt idx="442">
                  <c:v>0.47599999999999998</c:v>
                </c:pt>
                <c:pt idx="443">
                  <c:v>0.64800000000000002</c:v>
                </c:pt>
                <c:pt idx="444">
                  <c:v>0.63900000000000001</c:v>
                </c:pt>
                <c:pt idx="445">
                  <c:v>0.20699999999999999</c:v>
                </c:pt>
                <c:pt idx="446">
                  <c:v>0.59599999999999997</c:v>
                </c:pt>
                <c:pt idx="447">
                  <c:v>5.3999999999999999E-2</c:v>
                </c:pt>
                <c:pt idx="448">
                  <c:v>0.49299999999999999</c:v>
                </c:pt>
                <c:pt idx="449">
                  <c:v>0.61199999999999999</c:v>
                </c:pt>
                <c:pt idx="450">
                  <c:v>0.499</c:v>
                </c:pt>
                <c:pt idx="451">
                  <c:v>0.48799999999999999</c:v>
                </c:pt>
                <c:pt idx="452">
                  <c:v>0.80800000000000005</c:v>
                </c:pt>
                <c:pt idx="453">
                  <c:v>0.83499999999999996</c:v>
                </c:pt>
                <c:pt idx="454">
                  <c:v>0.52400000000000002</c:v>
                </c:pt>
                <c:pt idx="455">
                  <c:v>0.496</c:v>
                </c:pt>
                <c:pt idx="456">
                  <c:v>0.60499999999999998</c:v>
                </c:pt>
                <c:pt idx="457">
                  <c:v>0.65200000000000002</c:v>
                </c:pt>
                <c:pt idx="458">
                  <c:v>0.56000000000000005</c:v>
                </c:pt>
                <c:pt idx="459">
                  <c:v>0.80200000000000005</c:v>
                </c:pt>
                <c:pt idx="460">
                  <c:v>0.54200000000000004</c:v>
                </c:pt>
                <c:pt idx="461">
                  <c:v>0.55200000000000005</c:v>
                </c:pt>
                <c:pt idx="462">
                  <c:v>0.67100000000000004</c:v>
                </c:pt>
                <c:pt idx="463">
                  <c:v>0.70499999999999996</c:v>
                </c:pt>
                <c:pt idx="464">
                  <c:v>0.27700000000000002</c:v>
                </c:pt>
                <c:pt idx="465">
                  <c:v>0.55000000000000004</c:v>
                </c:pt>
                <c:pt idx="466">
                  <c:v>0.71299999999999997</c:v>
                </c:pt>
                <c:pt idx="467">
                  <c:v>0.26600000000000001</c:v>
                </c:pt>
                <c:pt idx="468">
                  <c:v>0.76100000000000001</c:v>
                </c:pt>
                <c:pt idx="469">
                  <c:v>0.6</c:v>
                </c:pt>
                <c:pt idx="470">
                  <c:v>0.56399999999999995</c:v>
                </c:pt>
                <c:pt idx="471">
                  <c:v>0.90300000000000002</c:v>
                </c:pt>
                <c:pt idx="472">
                  <c:v>6.0999999999999999E-2</c:v>
                </c:pt>
                <c:pt idx="473">
                  <c:v>0.50700000000000001</c:v>
                </c:pt>
                <c:pt idx="474">
                  <c:v>0.69799999999999995</c:v>
                </c:pt>
                <c:pt idx="475">
                  <c:v>0.625</c:v>
                </c:pt>
                <c:pt idx="476">
                  <c:v>0.53300000000000003</c:v>
                </c:pt>
                <c:pt idx="477">
                  <c:v>0.24299999999999999</c:v>
                </c:pt>
                <c:pt idx="478">
                  <c:v>0.42</c:v>
                </c:pt>
                <c:pt idx="479">
                  <c:v>0.41599999999999998</c:v>
                </c:pt>
                <c:pt idx="480">
                  <c:v>0.439</c:v>
                </c:pt>
                <c:pt idx="481">
                  <c:v>0.32200000000000001</c:v>
                </c:pt>
                <c:pt idx="482">
                  <c:v>0.55200000000000005</c:v>
                </c:pt>
                <c:pt idx="483">
                  <c:v>0.25600000000000001</c:v>
                </c:pt>
                <c:pt idx="484">
                  <c:v>0.43</c:v>
                </c:pt>
                <c:pt idx="485">
                  <c:v>0.55600000000000005</c:v>
                </c:pt>
                <c:pt idx="486">
                  <c:v>0.57499999999999996</c:v>
                </c:pt>
                <c:pt idx="487">
                  <c:v>0.44700000000000001</c:v>
                </c:pt>
                <c:pt idx="488">
                  <c:v>4.9000000000000002E-2</c:v>
                </c:pt>
                <c:pt idx="489">
                  <c:v>0.253</c:v>
                </c:pt>
                <c:pt idx="490">
                  <c:v>0.66900000000000004</c:v>
                </c:pt>
                <c:pt idx="491">
                  <c:v>0.24099999999999999</c:v>
                </c:pt>
                <c:pt idx="492">
                  <c:v>0.45800000000000002</c:v>
                </c:pt>
                <c:pt idx="493">
                  <c:v>0.64</c:v>
                </c:pt>
                <c:pt idx="494">
                  <c:v>0.56200000000000006</c:v>
                </c:pt>
                <c:pt idx="495">
                  <c:v>0.41299999999999998</c:v>
                </c:pt>
                <c:pt idx="496">
                  <c:v>0.36199999999999999</c:v>
                </c:pt>
                <c:pt idx="497">
                  <c:v>0.39600000000000002</c:v>
                </c:pt>
                <c:pt idx="498">
                  <c:v>0.72499999999999998</c:v>
                </c:pt>
                <c:pt idx="499">
                  <c:v>0.19400000000000001</c:v>
                </c:pt>
                <c:pt idx="500">
                  <c:v>0.46</c:v>
                </c:pt>
                <c:pt idx="501">
                  <c:v>0.45</c:v>
                </c:pt>
                <c:pt idx="502">
                  <c:v>0.77100000000000002</c:v>
                </c:pt>
                <c:pt idx="503">
                  <c:v>0.34399999999999997</c:v>
                </c:pt>
                <c:pt idx="504">
                  <c:v>0.33100000000000002</c:v>
                </c:pt>
                <c:pt idx="505">
                  <c:v>0.32200000000000001</c:v>
                </c:pt>
                <c:pt idx="506">
                  <c:v>0.47299999999999998</c:v>
                </c:pt>
                <c:pt idx="507">
                  <c:v>0.30599999999999999</c:v>
                </c:pt>
                <c:pt idx="508">
                  <c:v>0.79300000000000004</c:v>
                </c:pt>
                <c:pt idx="509">
                  <c:v>0.06</c:v>
                </c:pt>
                <c:pt idx="510">
                  <c:v>0.314</c:v>
                </c:pt>
                <c:pt idx="511">
                  <c:v>0.14599999999999999</c:v>
                </c:pt>
                <c:pt idx="512">
                  <c:v>0.68899999999999995</c:v>
                </c:pt>
                <c:pt idx="513">
                  <c:v>0.38300000000000001</c:v>
                </c:pt>
                <c:pt idx="514">
                  <c:v>0.38100000000000001</c:v>
                </c:pt>
                <c:pt idx="515">
                  <c:v>0.20300000000000001</c:v>
                </c:pt>
                <c:pt idx="516">
                  <c:v>0.45800000000000002</c:v>
                </c:pt>
                <c:pt idx="517">
                  <c:v>0.246</c:v>
                </c:pt>
                <c:pt idx="518">
                  <c:v>0.38600000000000001</c:v>
                </c:pt>
                <c:pt idx="519">
                  <c:v>0.58299999999999996</c:v>
                </c:pt>
                <c:pt idx="520">
                  <c:v>0.53400000000000003</c:v>
                </c:pt>
                <c:pt idx="521">
                  <c:v>0.495</c:v>
                </c:pt>
                <c:pt idx="522">
                  <c:v>0.14599999999999999</c:v>
                </c:pt>
                <c:pt idx="523">
                  <c:v>0.185</c:v>
                </c:pt>
                <c:pt idx="524">
                  <c:v>0.438</c:v>
                </c:pt>
                <c:pt idx="525">
                  <c:v>9.0999999999999998E-2</c:v>
                </c:pt>
                <c:pt idx="526">
                  <c:v>0.56499999999999995</c:v>
                </c:pt>
                <c:pt idx="527">
                  <c:v>0.56399999999999995</c:v>
                </c:pt>
                <c:pt idx="528">
                  <c:v>0.222</c:v>
                </c:pt>
                <c:pt idx="529">
                  <c:v>0.51300000000000001</c:v>
                </c:pt>
                <c:pt idx="530">
                  <c:v>0.28199999999999997</c:v>
                </c:pt>
                <c:pt idx="531">
                  <c:v>0.42299999999999999</c:v>
                </c:pt>
                <c:pt idx="532">
                  <c:v>0.373</c:v>
                </c:pt>
                <c:pt idx="533">
                  <c:v>0.14000000000000001</c:v>
                </c:pt>
                <c:pt idx="534">
                  <c:v>0.39700000000000002</c:v>
                </c:pt>
                <c:pt idx="535">
                  <c:v>0.60599999999999998</c:v>
                </c:pt>
                <c:pt idx="536">
                  <c:v>0.17199999999999999</c:v>
                </c:pt>
                <c:pt idx="537">
                  <c:v>0.105</c:v>
                </c:pt>
                <c:pt idx="538">
                  <c:v>0.15</c:v>
                </c:pt>
                <c:pt idx="539">
                  <c:v>0.57699999999999996</c:v>
                </c:pt>
                <c:pt idx="540">
                  <c:v>0.14699999999999999</c:v>
                </c:pt>
                <c:pt idx="541">
                  <c:v>0.93799999999999994</c:v>
                </c:pt>
                <c:pt idx="542">
                  <c:v>0.155</c:v>
                </c:pt>
                <c:pt idx="543">
                  <c:v>0.52400000000000002</c:v>
                </c:pt>
                <c:pt idx="544">
                  <c:v>0.49299999999999999</c:v>
                </c:pt>
                <c:pt idx="545">
                  <c:v>8.2000000000000003E-2</c:v>
                </c:pt>
                <c:pt idx="546">
                  <c:v>0.13700000000000001</c:v>
                </c:pt>
                <c:pt idx="547">
                  <c:v>0.34499999999999997</c:v>
                </c:pt>
                <c:pt idx="548">
                  <c:v>0.107</c:v>
                </c:pt>
                <c:pt idx="549">
                  <c:v>0.17100000000000001</c:v>
                </c:pt>
                <c:pt idx="550">
                  <c:v>0.22900000000000001</c:v>
                </c:pt>
                <c:pt idx="551">
                  <c:v>0.46</c:v>
                </c:pt>
                <c:pt idx="552">
                  <c:v>0.04</c:v>
                </c:pt>
                <c:pt idx="553">
                  <c:v>0.14499999999999999</c:v>
                </c:pt>
                <c:pt idx="554">
                  <c:v>0.20200000000000001</c:v>
                </c:pt>
                <c:pt idx="555">
                  <c:v>0.375</c:v>
                </c:pt>
                <c:pt idx="556">
                  <c:v>0.114</c:v>
                </c:pt>
                <c:pt idx="557">
                  <c:v>0.45900000000000002</c:v>
                </c:pt>
                <c:pt idx="558">
                  <c:v>0.54300000000000004</c:v>
                </c:pt>
                <c:pt idx="559">
                  <c:v>0.39400000000000002</c:v>
                </c:pt>
                <c:pt idx="560">
                  <c:v>0.21199999999999999</c:v>
                </c:pt>
                <c:pt idx="561">
                  <c:v>0.65</c:v>
                </c:pt>
                <c:pt idx="562">
                  <c:v>0.12</c:v>
                </c:pt>
                <c:pt idx="563">
                  <c:v>0.27</c:v>
                </c:pt>
                <c:pt idx="564">
                  <c:v>0.32900000000000001</c:v>
                </c:pt>
                <c:pt idx="565">
                  <c:v>8.0000000000000002E-3</c:v>
                </c:pt>
                <c:pt idx="566">
                  <c:v>7.8E-2</c:v>
                </c:pt>
                <c:pt idx="567">
                  <c:v>3.7999999999999999E-2</c:v>
                </c:pt>
                <c:pt idx="568">
                  <c:v>0.39</c:v>
                </c:pt>
                <c:pt idx="569">
                  <c:v>0.06</c:v>
                </c:pt>
                <c:pt idx="570">
                  <c:v>0.10100000000000001</c:v>
                </c:pt>
                <c:pt idx="571">
                  <c:v>0.65</c:v>
                </c:pt>
                <c:pt idx="572">
                  <c:v>0.38400000000000001</c:v>
                </c:pt>
                <c:pt idx="573">
                  <c:v>0.307</c:v>
                </c:pt>
                <c:pt idx="574">
                  <c:v>7.1999999999999995E-2</c:v>
                </c:pt>
                <c:pt idx="575">
                  <c:v>0.218</c:v>
                </c:pt>
                <c:pt idx="576">
                  <c:v>0.27800000000000002</c:v>
                </c:pt>
                <c:pt idx="577">
                  <c:v>0.67200000000000004</c:v>
                </c:pt>
                <c:pt idx="578">
                  <c:v>0.17299999999999999</c:v>
                </c:pt>
                <c:pt idx="579">
                  <c:v>8.5000000000000006E-2</c:v>
                </c:pt>
                <c:pt idx="580">
                  <c:v>0.25700000000000001</c:v>
                </c:pt>
                <c:pt idx="581">
                  <c:v>0.38300000000000001</c:v>
                </c:pt>
                <c:pt idx="582">
                  <c:v>0.3</c:v>
                </c:pt>
                <c:pt idx="583">
                  <c:v>0.21099999999999999</c:v>
                </c:pt>
                <c:pt idx="584">
                  <c:v>0.24099999999999999</c:v>
                </c:pt>
                <c:pt idx="585">
                  <c:v>0.17199999999999999</c:v>
                </c:pt>
                <c:pt idx="586">
                  <c:v>0.34300000000000003</c:v>
                </c:pt>
                <c:pt idx="587">
                  <c:v>0.28599999999999998</c:v>
                </c:pt>
                <c:pt idx="588">
                  <c:v>0.192</c:v>
                </c:pt>
                <c:pt idx="589">
                  <c:v>0.14099999999999999</c:v>
                </c:pt>
                <c:pt idx="590">
                  <c:v>0.251</c:v>
                </c:pt>
                <c:pt idx="591">
                  <c:v>0.157</c:v>
                </c:pt>
                <c:pt idx="592">
                  <c:v>0.6</c:v>
                </c:pt>
                <c:pt idx="593">
                  <c:v>0.53200000000000003</c:v>
                </c:pt>
                <c:pt idx="594">
                  <c:v>0.19700000000000001</c:v>
                </c:pt>
                <c:pt idx="595">
                  <c:v>0.129</c:v>
                </c:pt>
                <c:pt idx="596">
                  <c:v>0.65800000000000003</c:v>
                </c:pt>
                <c:pt idx="597">
                  <c:v>0.28399999999999997</c:v>
                </c:pt>
                <c:pt idx="598">
                  <c:v>0.45700000000000002</c:v>
                </c:pt>
                <c:pt idx="599">
                  <c:v>3.3000000000000002E-2</c:v>
                </c:pt>
                <c:pt idx="600">
                  <c:v>0.122</c:v>
                </c:pt>
                <c:pt idx="601">
                  <c:v>0.69199999999999995</c:v>
                </c:pt>
                <c:pt idx="602">
                  <c:v>6.7000000000000004E-2</c:v>
                </c:pt>
                <c:pt idx="603">
                  <c:v>5.6000000000000001E-2</c:v>
                </c:pt>
                <c:pt idx="604">
                  <c:v>0.04</c:v>
                </c:pt>
                <c:pt idx="605">
                  <c:v>5.1999999999999998E-2</c:v>
                </c:pt>
                <c:pt idx="606">
                  <c:v>0.308</c:v>
                </c:pt>
                <c:pt idx="607">
                  <c:v>0.41199999999999998</c:v>
                </c:pt>
                <c:pt idx="608">
                  <c:v>2.1000000000000001E-2</c:v>
                </c:pt>
                <c:pt idx="609">
                  <c:v>3.1E-2</c:v>
                </c:pt>
                <c:pt idx="610">
                  <c:v>0.21199999999999999</c:v>
                </c:pt>
                <c:pt idx="611">
                  <c:v>0.371</c:v>
                </c:pt>
                <c:pt idx="612">
                  <c:v>0.154</c:v>
                </c:pt>
                <c:pt idx="613">
                  <c:v>0.40300000000000002</c:v>
                </c:pt>
                <c:pt idx="614">
                  <c:v>9.5000000000000001E-2</c:v>
                </c:pt>
                <c:pt idx="615">
                  <c:v>0.159</c:v>
                </c:pt>
                <c:pt idx="616">
                  <c:v>0.248</c:v>
                </c:pt>
                <c:pt idx="617">
                  <c:v>7.0999999999999994E-2</c:v>
                </c:pt>
                <c:pt idx="618">
                  <c:v>0.28000000000000003</c:v>
                </c:pt>
                <c:pt idx="619">
                  <c:v>8.7999999999999995E-2</c:v>
                </c:pt>
                <c:pt idx="620">
                  <c:v>0.11700000000000001</c:v>
                </c:pt>
                <c:pt idx="621">
                  <c:v>0.435</c:v>
                </c:pt>
                <c:pt idx="622">
                  <c:v>0.151</c:v>
                </c:pt>
                <c:pt idx="623">
                  <c:v>0.316</c:v>
                </c:pt>
                <c:pt idx="624">
                  <c:v>9.5000000000000001E-2</c:v>
                </c:pt>
                <c:pt idx="625">
                  <c:v>0.12</c:v>
                </c:pt>
                <c:pt idx="626">
                  <c:v>0.42599999999999999</c:v>
                </c:pt>
                <c:pt idx="627">
                  <c:v>0.33500000000000002</c:v>
                </c:pt>
                <c:pt idx="628">
                  <c:v>0.157</c:v>
                </c:pt>
                <c:pt idx="629">
                  <c:v>9.2999999999999999E-2</c:v>
                </c:pt>
                <c:pt idx="630">
                  <c:v>0.20799999999999999</c:v>
                </c:pt>
                <c:pt idx="631">
                  <c:v>0.16200000000000001</c:v>
                </c:pt>
                <c:pt idx="632">
                  <c:v>0.312</c:v>
                </c:pt>
                <c:pt idx="633">
                  <c:v>8.5000000000000006E-2</c:v>
                </c:pt>
                <c:pt idx="634">
                  <c:v>0.09</c:v>
                </c:pt>
                <c:pt idx="635">
                  <c:v>6.4000000000000001E-2</c:v>
                </c:pt>
                <c:pt idx="636">
                  <c:v>5.8000000000000003E-2</c:v>
                </c:pt>
                <c:pt idx="637">
                  <c:v>0.155</c:v>
                </c:pt>
                <c:pt idx="638">
                  <c:v>0.10199999999999999</c:v>
                </c:pt>
                <c:pt idx="639">
                  <c:v>0.13300000000000001</c:v>
                </c:pt>
                <c:pt idx="640">
                  <c:v>6.0999999999999999E-2</c:v>
                </c:pt>
                <c:pt idx="641">
                  <c:v>0.159</c:v>
                </c:pt>
                <c:pt idx="642">
                  <c:v>1.9E-2</c:v>
                </c:pt>
                <c:pt idx="643">
                  <c:v>3.1E-2</c:v>
                </c:pt>
                <c:pt idx="644">
                  <c:v>8.9999999999999993E-3</c:v>
                </c:pt>
                <c:pt idx="645">
                  <c:v>0.23400000000000001</c:v>
                </c:pt>
                <c:pt idx="646">
                  <c:v>0.06</c:v>
                </c:pt>
                <c:pt idx="647">
                  <c:v>0.126</c:v>
                </c:pt>
                <c:pt idx="648">
                  <c:v>0.29499999999999998</c:v>
                </c:pt>
                <c:pt idx="649">
                  <c:v>0.17100000000000001</c:v>
                </c:pt>
                <c:pt idx="650">
                  <c:v>6.0999999999999999E-2</c:v>
                </c:pt>
                <c:pt idx="651">
                  <c:v>0.34399999999999997</c:v>
                </c:pt>
                <c:pt idx="652">
                  <c:v>0.33700000000000002</c:v>
                </c:pt>
                <c:pt idx="653">
                  <c:v>7.2999999999999995E-2</c:v>
                </c:pt>
                <c:pt idx="654">
                  <c:v>0.16500000000000001</c:v>
                </c:pt>
                <c:pt idx="655">
                  <c:v>0.115</c:v>
                </c:pt>
                <c:pt idx="656">
                  <c:v>0.27100000000000002</c:v>
                </c:pt>
                <c:pt idx="657">
                  <c:v>8.3000000000000004E-2</c:v>
                </c:pt>
                <c:pt idx="658">
                  <c:v>8.1000000000000003E-2</c:v>
                </c:pt>
                <c:pt idx="659">
                  <c:v>0.13</c:v>
                </c:pt>
                <c:pt idx="660">
                  <c:v>0.42199999999999999</c:v>
                </c:pt>
                <c:pt idx="661">
                  <c:v>9.7000000000000003E-2</c:v>
                </c:pt>
                <c:pt idx="662">
                  <c:v>0.13200000000000001</c:v>
                </c:pt>
                <c:pt idx="663">
                  <c:v>0.20599999999999999</c:v>
                </c:pt>
                <c:pt idx="664">
                  <c:v>0.311</c:v>
                </c:pt>
                <c:pt idx="665">
                  <c:v>8.6999999999999994E-2</c:v>
                </c:pt>
                <c:pt idx="666">
                  <c:v>9.2999999999999999E-2</c:v>
                </c:pt>
                <c:pt idx="667">
                  <c:v>0.19</c:v>
                </c:pt>
                <c:pt idx="668">
                  <c:v>0.26</c:v>
                </c:pt>
                <c:pt idx="669">
                  <c:v>0.11700000000000001</c:v>
                </c:pt>
                <c:pt idx="670">
                  <c:v>7.1999999999999995E-2</c:v>
                </c:pt>
                <c:pt idx="671">
                  <c:v>4.5999999999999999E-2</c:v>
                </c:pt>
                <c:pt idx="672">
                  <c:v>3.6999999999999998E-2</c:v>
                </c:pt>
                <c:pt idx="673">
                  <c:v>0.32</c:v>
                </c:pt>
                <c:pt idx="674">
                  <c:v>6.9000000000000006E-2</c:v>
                </c:pt>
                <c:pt idx="675">
                  <c:v>5.8999999999999997E-2</c:v>
                </c:pt>
                <c:pt idx="676">
                  <c:v>0.218</c:v>
                </c:pt>
                <c:pt idx="677">
                  <c:v>0.49</c:v>
                </c:pt>
                <c:pt idx="678">
                  <c:v>4.5999999999999999E-2</c:v>
                </c:pt>
                <c:pt idx="679">
                  <c:v>0.28299999999999997</c:v>
                </c:pt>
                <c:pt idx="680">
                  <c:v>0.17199999999999999</c:v>
                </c:pt>
                <c:pt idx="681">
                  <c:v>0.13400000000000001</c:v>
                </c:pt>
                <c:pt idx="682">
                  <c:v>4.3999999999999997E-2</c:v>
                </c:pt>
                <c:pt idx="683">
                  <c:v>2.8000000000000001E-2</c:v>
                </c:pt>
                <c:pt idx="684">
                  <c:v>0.11799999999999999</c:v>
                </c:pt>
                <c:pt idx="685">
                  <c:v>0.28399999999999997</c:v>
                </c:pt>
                <c:pt idx="686">
                  <c:v>1.4E-2</c:v>
                </c:pt>
                <c:pt idx="687">
                  <c:v>0.22600000000000001</c:v>
                </c:pt>
                <c:pt idx="688">
                  <c:v>4.2999999999999997E-2</c:v>
                </c:pt>
                <c:pt idx="689">
                  <c:v>6.7000000000000004E-2</c:v>
                </c:pt>
                <c:pt idx="690">
                  <c:v>8.6999999999999994E-2</c:v>
                </c:pt>
                <c:pt idx="691">
                  <c:v>4.2999999999999997E-2</c:v>
                </c:pt>
                <c:pt idx="692">
                  <c:v>0.17799999999999999</c:v>
                </c:pt>
                <c:pt idx="693">
                  <c:v>6.9000000000000006E-2</c:v>
                </c:pt>
                <c:pt idx="694">
                  <c:v>7.5999999999999998E-2</c:v>
                </c:pt>
                <c:pt idx="695">
                  <c:v>4.9000000000000002E-2</c:v>
                </c:pt>
                <c:pt idx="696">
                  <c:v>4.2999999999999997E-2</c:v>
                </c:pt>
                <c:pt idx="697">
                  <c:v>7.4999999999999997E-2</c:v>
                </c:pt>
                <c:pt idx="698">
                  <c:v>0.123</c:v>
                </c:pt>
                <c:pt idx="699">
                  <c:v>0.06</c:v>
                </c:pt>
                <c:pt idx="700">
                  <c:v>6.7000000000000004E-2</c:v>
                </c:pt>
                <c:pt idx="701">
                  <c:v>0.29299999999999998</c:v>
                </c:pt>
                <c:pt idx="702">
                  <c:v>6.6000000000000003E-2</c:v>
                </c:pt>
                <c:pt idx="703">
                  <c:v>0.35599999999999998</c:v>
                </c:pt>
                <c:pt idx="704">
                  <c:v>5.1999999999999998E-2</c:v>
                </c:pt>
                <c:pt idx="705">
                  <c:v>4.9000000000000002E-2</c:v>
                </c:pt>
                <c:pt idx="706">
                  <c:v>0.112</c:v>
                </c:pt>
                <c:pt idx="707">
                  <c:v>4.8000000000000001E-2</c:v>
                </c:pt>
                <c:pt idx="708">
                  <c:v>0.19</c:v>
                </c:pt>
                <c:pt idx="709">
                  <c:v>0.151</c:v>
                </c:pt>
                <c:pt idx="710">
                  <c:v>0.13900000000000001</c:v>
                </c:pt>
                <c:pt idx="711">
                  <c:v>8.7999999999999995E-2</c:v>
                </c:pt>
                <c:pt idx="712">
                  <c:v>4.5999999999999999E-2</c:v>
                </c:pt>
                <c:pt idx="713">
                  <c:v>4.8000000000000001E-2</c:v>
                </c:pt>
                <c:pt idx="714">
                  <c:v>8.2000000000000003E-2</c:v>
                </c:pt>
                <c:pt idx="715">
                  <c:v>3.5000000000000003E-2</c:v>
                </c:pt>
                <c:pt idx="716">
                  <c:v>2.9000000000000001E-2</c:v>
                </c:pt>
                <c:pt idx="717">
                  <c:v>3.6999999999999998E-2</c:v>
                </c:pt>
                <c:pt idx="718">
                  <c:v>2.9000000000000001E-2</c:v>
                </c:pt>
                <c:pt idx="719">
                  <c:v>0.108</c:v>
                </c:pt>
                <c:pt idx="720">
                  <c:v>5.1999999999999998E-2</c:v>
                </c:pt>
                <c:pt idx="721">
                  <c:v>4.4999999999999998E-2</c:v>
                </c:pt>
                <c:pt idx="722">
                  <c:v>1.4E-2</c:v>
                </c:pt>
                <c:pt idx="723">
                  <c:v>9.0999999999999998E-2</c:v>
                </c:pt>
                <c:pt idx="724">
                  <c:v>0.26200000000000001</c:v>
                </c:pt>
                <c:pt idx="725">
                  <c:v>7.6999999999999999E-2</c:v>
                </c:pt>
                <c:pt idx="726">
                  <c:v>0.19800000000000001</c:v>
                </c:pt>
                <c:pt idx="727">
                  <c:v>2.1000000000000001E-2</c:v>
                </c:pt>
                <c:pt idx="728">
                  <c:v>0.442</c:v>
                </c:pt>
                <c:pt idx="729">
                  <c:v>6.4000000000000001E-2</c:v>
                </c:pt>
                <c:pt idx="730">
                  <c:v>0.05</c:v>
                </c:pt>
                <c:pt idx="731">
                  <c:v>0.13600000000000001</c:v>
                </c:pt>
                <c:pt idx="732">
                  <c:v>0.10299999999999999</c:v>
                </c:pt>
                <c:pt idx="733">
                  <c:v>0.155</c:v>
                </c:pt>
                <c:pt idx="734">
                  <c:v>4.9000000000000002E-2</c:v>
                </c:pt>
                <c:pt idx="735">
                  <c:v>8.5000000000000006E-2</c:v>
                </c:pt>
                <c:pt idx="736">
                  <c:v>0.40400000000000003</c:v>
                </c:pt>
                <c:pt idx="737">
                  <c:v>9.4E-2</c:v>
                </c:pt>
                <c:pt idx="738">
                  <c:v>0.19600000000000001</c:v>
                </c:pt>
                <c:pt idx="739">
                  <c:v>0.11899999999999999</c:v>
                </c:pt>
                <c:pt idx="740">
                  <c:v>5.2999999999999999E-2</c:v>
                </c:pt>
                <c:pt idx="741">
                  <c:v>8.6999999999999994E-2</c:v>
                </c:pt>
                <c:pt idx="742">
                  <c:v>0.157</c:v>
                </c:pt>
                <c:pt idx="743">
                  <c:v>3.3000000000000002E-2</c:v>
                </c:pt>
                <c:pt idx="744">
                  <c:v>0.21</c:v>
                </c:pt>
                <c:pt idx="745">
                  <c:v>5.6000000000000001E-2</c:v>
                </c:pt>
                <c:pt idx="746">
                  <c:v>0.11</c:v>
                </c:pt>
                <c:pt idx="747">
                  <c:v>5.8000000000000003E-2</c:v>
                </c:pt>
                <c:pt idx="748">
                  <c:v>9.8000000000000004E-2</c:v>
                </c:pt>
                <c:pt idx="749">
                  <c:v>5.8000000000000003E-2</c:v>
                </c:pt>
                <c:pt idx="750">
                  <c:v>6.9000000000000006E-2</c:v>
                </c:pt>
                <c:pt idx="751">
                  <c:v>0.13500000000000001</c:v>
                </c:pt>
                <c:pt idx="752">
                  <c:v>0.04</c:v>
                </c:pt>
                <c:pt idx="753">
                  <c:v>2.8000000000000001E-2</c:v>
                </c:pt>
                <c:pt idx="754">
                  <c:v>6.2E-2</c:v>
                </c:pt>
                <c:pt idx="755">
                  <c:v>0.16800000000000001</c:v>
                </c:pt>
                <c:pt idx="756">
                  <c:v>0.128</c:v>
                </c:pt>
                <c:pt idx="757">
                  <c:v>2.8000000000000001E-2</c:v>
                </c:pt>
                <c:pt idx="758">
                  <c:v>5.6000000000000001E-2</c:v>
                </c:pt>
                <c:pt idx="759">
                  <c:v>0.109</c:v>
                </c:pt>
                <c:pt idx="760">
                  <c:v>4.9000000000000002E-2</c:v>
                </c:pt>
                <c:pt idx="761">
                  <c:v>8.7999999999999995E-2</c:v>
                </c:pt>
                <c:pt idx="762">
                  <c:v>0.13800000000000001</c:v>
                </c:pt>
                <c:pt idx="763">
                  <c:v>9.2999999999999999E-2</c:v>
                </c:pt>
                <c:pt idx="764">
                  <c:v>7.0999999999999994E-2</c:v>
                </c:pt>
                <c:pt idx="765">
                  <c:v>0.10199999999999999</c:v>
                </c:pt>
                <c:pt idx="766">
                  <c:v>8.1000000000000003E-2</c:v>
                </c:pt>
                <c:pt idx="767">
                  <c:v>0.217</c:v>
                </c:pt>
                <c:pt idx="768">
                  <c:v>4.4999999999999998E-2</c:v>
                </c:pt>
                <c:pt idx="769">
                  <c:v>0.14399999999999999</c:v>
                </c:pt>
                <c:pt idx="770">
                  <c:v>8.2000000000000003E-2</c:v>
                </c:pt>
                <c:pt idx="771">
                  <c:v>6.7000000000000004E-2</c:v>
                </c:pt>
                <c:pt idx="772">
                  <c:v>9.6000000000000002E-2</c:v>
                </c:pt>
                <c:pt idx="773">
                  <c:v>0.51500000000000001</c:v>
                </c:pt>
                <c:pt idx="774">
                  <c:v>3.1E-2</c:v>
                </c:pt>
                <c:pt idx="775">
                  <c:v>0.17299999999999999</c:v>
                </c:pt>
                <c:pt idx="776">
                  <c:v>0.04</c:v>
                </c:pt>
                <c:pt idx="777">
                  <c:v>0.104</c:v>
                </c:pt>
                <c:pt idx="778">
                  <c:v>3.4000000000000002E-2</c:v>
                </c:pt>
                <c:pt idx="779">
                  <c:v>4.2999999999999997E-2</c:v>
                </c:pt>
                <c:pt idx="780">
                  <c:v>3.3000000000000002E-2</c:v>
                </c:pt>
                <c:pt idx="781">
                  <c:v>6.4000000000000001E-2</c:v>
                </c:pt>
                <c:pt idx="782">
                  <c:v>0.14199999999999999</c:v>
                </c:pt>
                <c:pt idx="783">
                  <c:v>7.4999999999999997E-2</c:v>
                </c:pt>
                <c:pt idx="784">
                  <c:v>4.8000000000000001E-2</c:v>
                </c:pt>
                <c:pt idx="785">
                  <c:v>2.1000000000000001E-2</c:v>
                </c:pt>
                <c:pt idx="786">
                  <c:v>7.0999999999999994E-2</c:v>
                </c:pt>
                <c:pt idx="787">
                  <c:v>4.7E-2</c:v>
                </c:pt>
                <c:pt idx="788">
                  <c:v>0.123</c:v>
                </c:pt>
                <c:pt idx="789">
                  <c:v>4.2999999999999997E-2</c:v>
                </c:pt>
                <c:pt idx="790">
                  <c:v>0.111</c:v>
                </c:pt>
                <c:pt idx="791">
                  <c:v>1.4999999999999999E-2</c:v>
                </c:pt>
                <c:pt idx="792">
                  <c:v>6.0999999999999999E-2</c:v>
                </c:pt>
                <c:pt idx="793">
                  <c:v>9.6000000000000002E-2</c:v>
                </c:pt>
                <c:pt idx="794">
                  <c:v>7.2999999999999995E-2</c:v>
                </c:pt>
                <c:pt idx="795">
                  <c:v>0.14199999999999999</c:v>
                </c:pt>
                <c:pt idx="796">
                  <c:v>0.126</c:v>
                </c:pt>
                <c:pt idx="797">
                  <c:v>5.0999999999999997E-2</c:v>
                </c:pt>
                <c:pt idx="798">
                  <c:v>3.9E-2</c:v>
                </c:pt>
                <c:pt idx="799">
                  <c:v>3.7999999999999999E-2</c:v>
                </c:pt>
                <c:pt idx="800">
                  <c:v>4.8000000000000001E-2</c:v>
                </c:pt>
                <c:pt idx="801">
                  <c:v>4.4999999999999998E-2</c:v>
                </c:pt>
                <c:pt idx="802">
                  <c:v>3.9E-2</c:v>
                </c:pt>
                <c:pt idx="803">
                  <c:v>0.28000000000000003</c:v>
                </c:pt>
                <c:pt idx="804">
                  <c:v>3.4000000000000002E-2</c:v>
                </c:pt>
                <c:pt idx="805">
                  <c:v>0.06</c:v>
                </c:pt>
                <c:pt idx="806">
                  <c:v>0.157</c:v>
                </c:pt>
                <c:pt idx="807">
                  <c:v>1E-3</c:v>
                </c:pt>
                <c:pt idx="808">
                  <c:v>3.2000000000000001E-2</c:v>
                </c:pt>
                <c:pt idx="809">
                  <c:v>2.3E-2</c:v>
                </c:pt>
                <c:pt idx="810">
                  <c:v>0.105</c:v>
                </c:pt>
                <c:pt idx="811">
                  <c:v>4.4999999999999998E-2</c:v>
                </c:pt>
                <c:pt idx="812">
                  <c:v>6.8000000000000005E-2</c:v>
                </c:pt>
                <c:pt idx="813">
                  <c:v>7.0000000000000007E-2</c:v>
                </c:pt>
                <c:pt idx="814">
                  <c:v>4.8000000000000001E-2</c:v>
                </c:pt>
                <c:pt idx="815">
                  <c:v>4.3999999999999997E-2</c:v>
                </c:pt>
                <c:pt idx="816">
                  <c:v>0.10299999999999999</c:v>
                </c:pt>
                <c:pt idx="817">
                  <c:v>0.11</c:v>
                </c:pt>
                <c:pt idx="818">
                  <c:v>9.4E-2</c:v>
                </c:pt>
                <c:pt idx="819">
                  <c:v>0.04</c:v>
                </c:pt>
                <c:pt idx="820">
                  <c:v>0.188</c:v>
                </c:pt>
                <c:pt idx="821">
                  <c:v>4.4999999999999998E-2</c:v>
                </c:pt>
                <c:pt idx="822">
                  <c:v>4.7E-2</c:v>
                </c:pt>
                <c:pt idx="823">
                  <c:v>1.7999999999999999E-2</c:v>
                </c:pt>
                <c:pt idx="824">
                  <c:v>3.5999999999999997E-2</c:v>
                </c:pt>
                <c:pt idx="825">
                  <c:v>9.5000000000000001E-2</c:v>
                </c:pt>
                <c:pt idx="826">
                  <c:v>4.1000000000000002E-2</c:v>
                </c:pt>
                <c:pt idx="827">
                  <c:v>0.14499999999999999</c:v>
                </c:pt>
                <c:pt idx="828">
                  <c:v>1.2E-2</c:v>
                </c:pt>
                <c:pt idx="829">
                  <c:v>1.9E-2</c:v>
                </c:pt>
                <c:pt idx="830">
                  <c:v>1.0999999999999999E-2</c:v>
                </c:pt>
                <c:pt idx="831">
                  <c:v>8.0000000000000002E-3</c:v>
                </c:pt>
                <c:pt idx="832">
                  <c:v>0.122</c:v>
                </c:pt>
                <c:pt idx="833">
                  <c:v>2.3E-2</c:v>
                </c:pt>
                <c:pt idx="834">
                  <c:v>2.1000000000000001E-2</c:v>
                </c:pt>
                <c:pt idx="835">
                  <c:v>8.0000000000000002E-3</c:v>
                </c:pt>
                <c:pt idx="836">
                  <c:v>4.4999999999999998E-2</c:v>
                </c:pt>
                <c:pt idx="837">
                  <c:v>0.14299999999999999</c:v>
                </c:pt>
                <c:pt idx="838">
                  <c:v>0.13200000000000001</c:v>
                </c:pt>
                <c:pt idx="839">
                  <c:v>3.5000000000000003E-2</c:v>
                </c:pt>
                <c:pt idx="840">
                  <c:v>0.12</c:v>
                </c:pt>
                <c:pt idx="841">
                  <c:v>4.2999999999999997E-2</c:v>
                </c:pt>
                <c:pt idx="842">
                  <c:v>3.5999999999999997E-2</c:v>
                </c:pt>
                <c:pt idx="843">
                  <c:v>3.4000000000000002E-2</c:v>
                </c:pt>
                <c:pt idx="844">
                  <c:v>6.7000000000000004E-2</c:v>
                </c:pt>
                <c:pt idx="845">
                  <c:v>1E-3</c:v>
                </c:pt>
                <c:pt idx="846">
                  <c:v>1.4999999999999999E-2</c:v>
                </c:pt>
                <c:pt idx="847">
                  <c:v>3.3000000000000002E-2</c:v>
                </c:pt>
                <c:pt idx="848">
                  <c:v>7.1999999999999995E-2</c:v>
                </c:pt>
                <c:pt idx="849">
                  <c:v>3.5000000000000003E-2</c:v>
                </c:pt>
                <c:pt idx="850">
                  <c:v>7.9000000000000001E-2</c:v>
                </c:pt>
                <c:pt idx="851">
                  <c:v>0.10199999999999999</c:v>
                </c:pt>
                <c:pt idx="852">
                  <c:v>4.3999999999999997E-2</c:v>
                </c:pt>
                <c:pt idx="853">
                  <c:v>4.8000000000000001E-2</c:v>
                </c:pt>
                <c:pt idx="854">
                  <c:v>8.9999999999999993E-3</c:v>
                </c:pt>
                <c:pt idx="855">
                  <c:v>6.6000000000000003E-2</c:v>
                </c:pt>
                <c:pt idx="856">
                  <c:v>3.7999999999999999E-2</c:v>
                </c:pt>
                <c:pt idx="857">
                  <c:v>0.374</c:v>
                </c:pt>
                <c:pt idx="858">
                  <c:v>6.5000000000000002E-2</c:v>
                </c:pt>
                <c:pt idx="859">
                  <c:v>0.249</c:v>
                </c:pt>
                <c:pt idx="860">
                  <c:v>0.12</c:v>
                </c:pt>
                <c:pt idx="861">
                  <c:v>4.2000000000000003E-2</c:v>
                </c:pt>
                <c:pt idx="862">
                  <c:v>3.3000000000000002E-2</c:v>
                </c:pt>
                <c:pt idx="863">
                  <c:v>7.0000000000000007E-2</c:v>
                </c:pt>
                <c:pt idx="864">
                  <c:v>2.3E-2</c:v>
                </c:pt>
                <c:pt idx="865">
                  <c:v>0.02</c:v>
                </c:pt>
                <c:pt idx="866">
                  <c:v>0.30099999999999999</c:v>
                </c:pt>
                <c:pt idx="867">
                  <c:v>3.5000000000000003E-2</c:v>
                </c:pt>
                <c:pt idx="868">
                  <c:v>3.5000000000000003E-2</c:v>
                </c:pt>
                <c:pt idx="869">
                  <c:v>0.11</c:v>
                </c:pt>
                <c:pt idx="870">
                  <c:v>3.5999999999999997E-2</c:v>
                </c:pt>
                <c:pt idx="871">
                  <c:v>1.9E-2</c:v>
                </c:pt>
                <c:pt idx="872">
                  <c:v>0.25800000000000001</c:v>
                </c:pt>
                <c:pt idx="873">
                  <c:v>4.2000000000000003E-2</c:v>
                </c:pt>
                <c:pt idx="874">
                  <c:v>2.5999999999999999E-2</c:v>
                </c:pt>
                <c:pt idx="875">
                  <c:v>0.05</c:v>
                </c:pt>
                <c:pt idx="876">
                  <c:v>2.7E-2</c:v>
                </c:pt>
                <c:pt idx="877">
                  <c:v>0.14099999999999999</c:v>
                </c:pt>
                <c:pt idx="878">
                  <c:v>1.0999999999999999E-2</c:v>
                </c:pt>
                <c:pt idx="879">
                  <c:v>0.03</c:v>
                </c:pt>
                <c:pt idx="880">
                  <c:v>4.4999999999999998E-2</c:v>
                </c:pt>
                <c:pt idx="881">
                  <c:v>3.5999999999999997E-2</c:v>
                </c:pt>
                <c:pt idx="882">
                  <c:v>0.03</c:v>
                </c:pt>
                <c:pt idx="883">
                  <c:v>1.6E-2</c:v>
                </c:pt>
                <c:pt idx="884">
                  <c:v>0.03</c:v>
                </c:pt>
                <c:pt idx="885">
                  <c:v>2.4E-2</c:v>
                </c:pt>
                <c:pt idx="886">
                  <c:v>4.2999999999999997E-2</c:v>
                </c:pt>
                <c:pt idx="887">
                  <c:v>2.5000000000000001E-2</c:v>
                </c:pt>
                <c:pt idx="888">
                  <c:v>3.0000000000000001E-3</c:v>
                </c:pt>
                <c:pt idx="889">
                  <c:v>6.7000000000000004E-2</c:v>
                </c:pt>
                <c:pt idx="890">
                  <c:v>4.3999999999999997E-2</c:v>
                </c:pt>
                <c:pt idx="891">
                  <c:v>2.7E-2</c:v>
                </c:pt>
                <c:pt idx="892">
                  <c:v>3.7999999999999999E-2</c:v>
                </c:pt>
                <c:pt idx="893">
                  <c:v>0.20300000000000001</c:v>
                </c:pt>
                <c:pt idx="894">
                  <c:v>3.7999999999999999E-2</c:v>
                </c:pt>
                <c:pt idx="895">
                  <c:v>1.2999999999999999E-2</c:v>
                </c:pt>
                <c:pt idx="896">
                  <c:v>4.7E-2</c:v>
                </c:pt>
                <c:pt idx="897">
                  <c:v>8.9999999999999993E-3</c:v>
                </c:pt>
                <c:pt idx="898">
                  <c:v>0.02</c:v>
                </c:pt>
                <c:pt idx="899">
                  <c:v>2.7E-2</c:v>
                </c:pt>
                <c:pt idx="900">
                  <c:v>1.9E-2</c:v>
                </c:pt>
                <c:pt idx="901">
                  <c:v>8.9999999999999993E-3</c:v>
                </c:pt>
                <c:pt idx="902">
                  <c:v>3.9E-2</c:v>
                </c:pt>
                <c:pt idx="903">
                  <c:v>3.3000000000000002E-2</c:v>
                </c:pt>
                <c:pt idx="904">
                  <c:v>0.01</c:v>
                </c:pt>
                <c:pt idx="905">
                  <c:v>2.5000000000000001E-2</c:v>
                </c:pt>
                <c:pt idx="906">
                  <c:v>0.03</c:v>
                </c:pt>
                <c:pt idx="907">
                  <c:v>0.01</c:v>
                </c:pt>
                <c:pt idx="908">
                  <c:v>0.09</c:v>
                </c:pt>
                <c:pt idx="909">
                  <c:v>1.2999999999999999E-2</c:v>
                </c:pt>
                <c:pt idx="910">
                  <c:v>0.04</c:v>
                </c:pt>
                <c:pt idx="911">
                  <c:v>2.3E-2</c:v>
                </c:pt>
                <c:pt idx="912">
                  <c:v>1.2E-2</c:v>
                </c:pt>
                <c:pt idx="913">
                  <c:v>9.7000000000000003E-2</c:v>
                </c:pt>
                <c:pt idx="914">
                  <c:v>3.2000000000000001E-2</c:v>
                </c:pt>
                <c:pt idx="915">
                  <c:v>2.4E-2</c:v>
                </c:pt>
                <c:pt idx="916">
                  <c:v>1.4E-2</c:v>
                </c:pt>
                <c:pt idx="917">
                  <c:v>0.02</c:v>
                </c:pt>
                <c:pt idx="918">
                  <c:v>1.7000000000000001E-2</c:v>
                </c:pt>
                <c:pt idx="919">
                  <c:v>2.5999999999999999E-2</c:v>
                </c:pt>
                <c:pt idx="920">
                  <c:v>2.8000000000000001E-2</c:v>
                </c:pt>
                <c:pt idx="921">
                  <c:v>3.6999999999999998E-2</c:v>
                </c:pt>
                <c:pt idx="922">
                  <c:v>0.02</c:v>
                </c:pt>
                <c:pt idx="923">
                  <c:v>0.35899999999999999</c:v>
                </c:pt>
                <c:pt idx="924">
                  <c:v>3.5000000000000003E-2</c:v>
                </c:pt>
                <c:pt idx="925">
                  <c:v>3.0000000000000001E-3</c:v>
                </c:pt>
                <c:pt idx="926">
                  <c:v>5.8000000000000003E-2</c:v>
                </c:pt>
                <c:pt idx="927">
                  <c:v>6.3E-2</c:v>
                </c:pt>
                <c:pt idx="928">
                  <c:v>0.03</c:v>
                </c:pt>
                <c:pt idx="929">
                  <c:v>0.01</c:v>
                </c:pt>
                <c:pt idx="930">
                  <c:v>2.4E-2</c:v>
                </c:pt>
                <c:pt idx="931">
                  <c:v>1.0999999999999999E-2</c:v>
                </c:pt>
                <c:pt idx="932">
                  <c:v>0.01</c:v>
                </c:pt>
                <c:pt idx="933">
                  <c:v>3.7999999999999999E-2</c:v>
                </c:pt>
                <c:pt idx="934">
                  <c:v>5.0000000000000001E-3</c:v>
                </c:pt>
                <c:pt idx="935">
                  <c:v>4.8000000000000001E-2</c:v>
                </c:pt>
                <c:pt idx="936">
                  <c:v>8.0000000000000002E-3</c:v>
                </c:pt>
                <c:pt idx="937">
                  <c:v>1.0999999999999999E-2</c:v>
                </c:pt>
                <c:pt idx="938">
                  <c:v>0.03</c:v>
                </c:pt>
                <c:pt idx="939">
                  <c:v>1.7999999999999999E-2</c:v>
                </c:pt>
                <c:pt idx="940">
                  <c:v>8.9999999999999993E-3</c:v>
                </c:pt>
                <c:pt idx="941">
                  <c:v>3.3000000000000002E-2</c:v>
                </c:pt>
                <c:pt idx="942">
                  <c:v>0.01</c:v>
                </c:pt>
                <c:pt idx="943">
                  <c:v>8.9999999999999993E-3</c:v>
                </c:pt>
                <c:pt idx="944">
                  <c:v>1.6E-2</c:v>
                </c:pt>
                <c:pt idx="945">
                  <c:v>0.02</c:v>
                </c:pt>
                <c:pt idx="946">
                  <c:v>2.1000000000000001E-2</c:v>
                </c:pt>
                <c:pt idx="947">
                  <c:v>2.9000000000000001E-2</c:v>
                </c:pt>
                <c:pt idx="948">
                  <c:v>1.9E-2</c:v>
                </c:pt>
                <c:pt idx="949">
                  <c:v>0.10199999999999999</c:v>
                </c:pt>
                <c:pt idx="950">
                  <c:v>7.0000000000000007E-2</c:v>
                </c:pt>
                <c:pt idx="951">
                  <c:v>3.2000000000000001E-2</c:v>
                </c:pt>
                <c:pt idx="952">
                  <c:v>2.7E-2</c:v>
                </c:pt>
                <c:pt idx="953">
                  <c:v>2.1999999999999999E-2</c:v>
                </c:pt>
                <c:pt idx="954">
                  <c:v>0.154</c:v>
                </c:pt>
                <c:pt idx="955">
                  <c:v>0.01</c:v>
                </c:pt>
                <c:pt idx="956">
                  <c:v>6.0999999999999999E-2</c:v>
                </c:pt>
                <c:pt idx="957">
                  <c:v>1.0999999999999999E-2</c:v>
                </c:pt>
                <c:pt idx="958">
                  <c:v>8.9999999999999993E-3</c:v>
                </c:pt>
                <c:pt idx="959">
                  <c:v>1.4999999999999999E-2</c:v>
                </c:pt>
                <c:pt idx="960">
                  <c:v>3.9E-2</c:v>
                </c:pt>
                <c:pt idx="961">
                  <c:v>0.01</c:v>
                </c:pt>
                <c:pt idx="962">
                  <c:v>8.0000000000000002E-3</c:v>
                </c:pt>
                <c:pt idx="963">
                  <c:v>0.03</c:v>
                </c:pt>
                <c:pt idx="964">
                  <c:v>0.02</c:v>
                </c:pt>
                <c:pt idx="965">
                  <c:v>4.0000000000000001E-3</c:v>
                </c:pt>
                <c:pt idx="966">
                  <c:v>2.4E-2</c:v>
                </c:pt>
                <c:pt idx="967">
                  <c:v>2.1000000000000001E-2</c:v>
                </c:pt>
                <c:pt idx="968">
                  <c:v>0.08</c:v>
                </c:pt>
                <c:pt idx="969">
                  <c:v>1.2999999999999999E-2</c:v>
                </c:pt>
                <c:pt idx="970">
                  <c:v>1.0999999999999999E-2</c:v>
                </c:pt>
                <c:pt idx="971">
                  <c:v>1.4E-2</c:v>
                </c:pt>
                <c:pt idx="972">
                  <c:v>8.5000000000000006E-2</c:v>
                </c:pt>
                <c:pt idx="973">
                  <c:v>2.4E-2</c:v>
                </c:pt>
                <c:pt idx="974">
                  <c:v>3.2000000000000001E-2</c:v>
                </c:pt>
                <c:pt idx="975">
                  <c:v>2.1000000000000001E-2</c:v>
                </c:pt>
                <c:pt idx="976">
                  <c:v>8.9999999999999993E-3</c:v>
                </c:pt>
                <c:pt idx="977">
                  <c:v>0.01</c:v>
                </c:pt>
                <c:pt idx="978">
                  <c:v>2.3E-2</c:v>
                </c:pt>
                <c:pt idx="979">
                  <c:v>3.0000000000000001E-3</c:v>
                </c:pt>
                <c:pt idx="980">
                  <c:v>0.01</c:v>
                </c:pt>
                <c:pt idx="981">
                  <c:v>1.2999999999999999E-2</c:v>
                </c:pt>
                <c:pt idx="982">
                  <c:v>2.9000000000000001E-2</c:v>
                </c:pt>
                <c:pt idx="983">
                  <c:v>8.9999999999999993E-3</c:v>
                </c:pt>
                <c:pt idx="984">
                  <c:v>0.01</c:v>
                </c:pt>
                <c:pt idx="985">
                  <c:v>0.29199999999999998</c:v>
                </c:pt>
                <c:pt idx="986">
                  <c:v>1.2999999999999999E-2</c:v>
                </c:pt>
                <c:pt idx="987">
                  <c:v>8.9999999999999993E-3</c:v>
                </c:pt>
                <c:pt idx="988">
                  <c:v>4.2999999999999997E-2</c:v>
                </c:pt>
                <c:pt idx="989">
                  <c:v>2.5000000000000001E-2</c:v>
                </c:pt>
                <c:pt idx="990">
                  <c:v>0.01</c:v>
                </c:pt>
                <c:pt idx="991">
                  <c:v>0.01</c:v>
                </c:pt>
                <c:pt idx="992">
                  <c:v>8.0000000000000002E-3</c:v>
                </c:pt>
                <c:pt idx="993">
                  <c:v>0.03</c:v>
                </c:pt>
                <c:pt idx="994">
                  <c:v>2.5000000000000001E-2</c:v>
                </c:pt>
                <c:pt idx="995">
                  <c:v>4.0000000000000001E-3</c:v>
                </c:pt>
                <c:pt idx="996">
                  <c:v>4.4999999999999998E-2</c:v>
                </c:pt>
                <c:pt idx="997">
                  <c:v>2.9000000000000001E-2</c:v>
                </c:pt>
                <c:pt idx="998">
                  <c:v>5.5E-2</c:v>
                </c:pt>
                <c:pt idx="999">
                  <c:v>8.0000000000000002E-3</c:v>
                </c:pt>
                <c:pt idx="1000">
                  <c:v>1E-3</c:v>
                </c:pt>
                <c:pt idx="1001">
                  <c:v>8.0000000000000002E-3</c:v>
                </c:pt>
                <c:pt idx="1002">
                  <c:v>1.4E-2</c:v>
                </c:pt>
                <c:pt idx="1003">
                  <c:v>0.03</c:v>
                </c:pt>
                <c:pt idx="1004">
                  <c:v>1.9E-2</c:v>
                </c:pt>
                <c:pt idx="1005">
                  <c:v>0.02</c:v>
                </c:pt>
                <c:pt idx="1006">
                  <c:v>0.01</c:v>
                </c:pt>
                <c:pt idx="1007">
                  <c:v>8.0000000000000002E-3</c:v>
                </c:pt>
                <c:pt idx="1008">
                  <c:v>1.0999999999999999E-2</c:v>
                </c:pt>
                <c:pt idx="1009">
                  <c:v>0.01</c:v>
                </c:pt>
                <c:pt idx="1010">
                  <c:v>8.0000000000000002E-3</c:v>
                </c:pt>
                <c:pt idx="1011">
                  <c:v>2.3E-2</c:v>
                </c:pt>
                <c:pt idx="1012">
                  <c:v>8.0000000000000002E-3</c:v>
                </c:pt>
                <c:pt idx="1013">
                  <c:v>8.9999999999999993E-3</c:v>
                </c:pt>
                <c:pt idx="1014">
                  <c:v>8.9999999999999993E-3</c:v>
                </c:pt>
                <c:pt idx="1015">
                  <c:v>8.9999999999999993E-3</c:v>
                </c:pt>
                <c:pt idx="1016">
                  <c:v>2.4E-2</c:v>
                </c:pt>
                <c:pt idx="1017">
                  <c:v>2.1000000000000001E-2</c:v>
                </c:pt>
                <c:pt idx="1018">
                  <c:v>0.05</c:v>
                </c:pt>
                <c:pt idx="1019">
                  <c:v>1.2999999999999999E-2</c:v>
                </c:pt>
                <c:pt idx="1020">
                  <c:v>8.9999999999999993E-3</c:v>
                </c:pt>
                <c:pt idx="1021">
                  <c:v>2.4E-2</c:v>
                </c:pt>
                <c:pt idx="1022">
                  <c:v>1.4E-2</c:v>
                </c:pt>
                <c:pt idx="1023">
                  <c:v>2.4E-2</c:v>
                </c:pt>
                <c:pt idx="1024">
                  <c:v>0.01</c:v>
                </c:pt>
                <c:pt idx="1025">
                  <c:v>8.0000000000000002E-3</c:v>
                </c:pt>
                <c:pt idx="1026">
                  <c:v>1.4E-2</c:v>
                </c:pt>
                <c:pt idx="1027">
                  <c:v>1.4999999999999999E-2</c:v>
                </c:pt>
                <c:pt idx="1028">
                  <c:v>0.01</c:v>
                </c:pt>
                <c:pt idx="1029">
                  <c:v>2.5000000000000001E-2</c:v>
                </c:pt>
                <c:pt idx="1030">
                  <c:v>3.1E-2</c:v>
                </c:pt>
                <c:pt idx="1031">
                  <c:v>2.1000000000000001E-2</c:v>
                </c:pt>
                <c:pt idx="1032">
                  <c:v>3.0000000000000001E-3</c:v>
                </c:pt>
                <c:pt idx="1033">
                  <c:v>3.3000000000000002E-2</c:v>
                </c:pt>
                <c:pt idx="1034">
                  <c:v>1.4E-2</c:v>
                </c:pt>
                <c:pt idx="1035">
                  <c:v>3.3000000000000002E-2</c:v>
                </c:pt>
                <c:pt idx="1036">
                  <c:v>0.01</c:v>
                </c:pt>
                <c:pt idx="1037">
                  <c:v>1.7000000000000001E-2</c:v>
                </c:pt>
                <c:pt idx="1038">
                  <c:v>0.02</c:v>
                </c:pt>
                <c:pt idx="1039">
                  <c:v>2.5000000000000001E-2</c:v>
                </c:pt>
                <c:pt idx="1040">
                  <c:v>1.4E-2</c:v>
                </c:pt>
                <c:pt idx="1041">
                  <c:v>8.9999999999999993E-3</c:v>
                </c:pt>
                <c:pt idx="1042">
                  <c:v>0.01</c:v>
                </c:pt>
                <c:pt idx="1043">
                  <c:v>2.9000000000000001E-2</c:v>
                </c:pt>
                <c:pt idx="1044">
                  <c:v>8.0000000000000002E-3</c:v>
                </c:pt>
                <c:pt idx="1045">
                  <c:v>0.01</c:v>
                </c:pt>
                <c:pt idx="1046">
                  <c:v>8.9999999999999993E-3</c:v>
                </c:pt>
                <c:pt idx="1047">
                  <c:v>8.9999999999999993E-3</c:v>
                </c:pt>
                <c:pt idx="1048">
                  <c:v>1.9E-2</c:v>
                </c:pt>
                <c:pt idx="1049">
                  <c:v>2.3E-2</c:v>
                </c:pt>
                <c:pt idx="1050">
                  <c:v>0.01</c:v>
                </c:pt>
                <c:pt idx="1051">
                  <c:v>8.9999999999999993E-3</c:v>
                </c:pt>
                <c:pt idx="1052">
                  <c:v>1.4999999999999999E-2</c:v>
                </c:pt>
                <c:pt idx="1053">
                  <c:v>2.1000000000000001E-2</c:v>
                </c:pt>
                <c:pt idx="1054">
                  <c:v>0.01</c:v>
                </c:pt>
                <c:pt idx="1055">
                  <c:v>1.4E-2</c:v>
                </c:pt>
                <c:pt idx="1056">
                  <c:v>3.2000000000000001E-2</c:v>
                </c:pt>
                <c:pt idx="1057">
                  <c:v>1.6E-2</c:v>
                </c:pt>
                <c:pt idx="1058">
                  <c:v>1.4E-2</c:v>
                </c:pt>
                <c:pt idx="1059">
                  <c:v>1E-3</c:v>
                </c:pt>
                <c:pt idx="1060">
                  <c:v>2.1999999999999999E-2</c:v>
                </c:pt>
                <c:pt idx="1061">
                  <c:v>1.4999999999999999E-2</c:v>
                </c:pt>
                <c:pt idx="1062">
                  <c:v>2.9000000000000001E-2</c:v>
                </c:pt>
                <c:pt idx="1063">
                  <c:v>2.3E-2</c:v>
                </c:pt>
                <c:pt idx="1064">
                  <c:v>1.2999999999999999E-2</c:v>
                </c:pt>
                <c:pt idx="1065">
                  <c:v>8.9999999999999993E-3</c:v>
                </c:pt>
                <c:pt idx="1066">
                  <c:v>8.9999999999999993E-3</c:v>
                </c:pt>
                <c:pt idx="1067">
                  <c:v>1E-3</c:v>
                </c:pt>
                <c:pt idx="1068">
                  <c:v>1.4999999999999999E-2</c:v>
                </c:pt>
                <c:pt idx="1069">
                  <c:v>0.02</c:v>
                </c:pt>
                <c:pt idx="1070">
                  <c:v>1.0999999999999999E-2</c:v>
                </c:pt>
                <c:pt idx="1071">
                  <c:v>4.5999999999999999E-2</c:v>
                </c:pt>
                <c:pt idx="1072">
                  <c:v>5.5E-2</c:v>
                </c:pt>
                <c:pt idx="1073">
                  <c:v>1.9E-2</c:v>
                </c:pt>
                <c:pt idx="1074">
                  <c:v>1E-3</c:v>
                </c:pt>
                <c:pt idx="1075">
                  <c:v>2.9000000000000001E-2</c:v>
                </c:pt>
                <c:pt idx="1076">
                  <c:v>3.0000000000000001E-3</c:v>
                </c:pt>
                <c:pt idx="1077">
                  <c:v>4.0000000000000001E-3</c:v>
                </c:pt>
                <c:pt idx="1078">
                  <c:v>1.9E-2</c:v>
                </c:pt>
                <c:pt idx="1079">
                  <c:v>1.4E-2</c:v>
                </c:pt>
                <c:pt idx="1080">
                  <c:v>3.2000000000000001E-2</c:v>
                </c:pt>
                <c:pt idx="1081">
                  <c:v>8.9999999999999993E-3</c:v>
                </c:pt>
                <c:pt idx="1082">
                  <c:v>0.111</c:v>
                </c:pt>
                <c:pt idx="1083">
                  <c:v>0.01</c:v>
                </c:pt>
                <c:pt idx="1084">
                  <c:v>0.01</c:v>
                </c:pt>
                <c:pt idx="1085">
                  <c:v>4.0000000000000001E-3</c:v>
                </c:pt>
                <c:pt idx="1086">
                  <c:v>0.01</c:v>
                </c:pt>
                <c:pt idx="1087">
                  <c:v>8.9999999999999993E-3</c:v>
                </c:pt>
                <c:pt idx="1088">
                  <c:v>2.8000000000000001E-2</c:v>
                </c:pt>
                <c:pt idx="1089">
                  <c:v>2.5000000000000001E-2</c:v>
                </c:pt>
                <c:pt idx="1090">
                  <c:v>2.1000000000000001E-2</c:v>
                </c:pt>
                <c:pt idx="1091">
                  <c:v>1E-3</c:v>
                </c:pt>
                <c:pt idx="1092">
                  <c:v>1E-3</c:v>
                </c:pt>
                <c:pt idx="1093">
                  <c:v>1.7999999999999999E-2</c:v>
                </c:pt>
                <c:pt idx="1094">
                  <c:v>0.01</c:v>
                </c:pt>
                <c:pt idx="1095">
                  <c:v>2.5999999999999999E-2</c:v>
                </c:pt>
                <c:pt idx="1096">
                  <c:v>8.0000000000000002E-3</c:v>
                </c:pt>
                <c:pt idx="1097">
                  <c:v>1.4999999999999999E-2</c:v>
                </c:pt>
                <c:pt idx="1098">
                  <c:v>2.1000000000000001E-2</c:v>
                </c:pt>
                <c:pt idx="1099">
                  <c:v>4.0000000000000001E-3</c:v>
                </c:pt>
                <c:pt idx="1100">
                  <c:v>0.01</c:v>
                </c:pt>
                <c:pt idx="1101">
                  <c:v>0.01</c:v>
                </c:pt>
                <c:pt idx="1102">
                  <c:v>4.0000000000000001E-3</c:v>
                </c:pt>
                <c:pt idx="1103">
                  <c:v>1E-3</c:v>
                </c:pt>
                <c:pt idx="1104">
                  <c:v>2E-3</c:v>
                </c:pt>
                <c:pt idx="1105">
                  <c:v>0.01</c:v>
                </c:pt>
                <c:pt idx="1106">
                  <c:v>2.1999999999999999E-2</c:v>
                </c:pt>
                <c:pt idx="1107">
                  <c:v>8.9999999999999993E-3</c:v>
                </c:pt>
                <c:pt idx="1108">
                  <c:v>1.6E-2</c:v>
                </c:pt>
                <c:pt idx="1109">
                  <c:v>1.2999999999999999E-2</c:v>
                </c:pt>
                <c:pt idx="1110">
                  <c:v>5.0999999999999997E-2</c:v>
                </c:pt>
                <c:pt idx="1111">
                  <c:v>2.1000000000000001E-2</c:v>
                </c:pt>
                <c:pt idx="1112">
                  <c:v>0.03</c:v>
                </c:pt>
                <c:pt idx="1113">
                  <c:v>8.9999999999999993E-3</c:v>
                </c:pt>
                <c:pt idx="1114">
                  <c:v>1.2999999999999999E-2</c:v>
                </c:pt>
                <c:pt idx="1115">
                  <c:v>1.0999999999999999E-2</c:v>
                </c:pt>
                <c:pt idx="1116">
                  <c:v>7.0000000000000001E-3</c:v>
                </c:pt>
                <c:pt idx="1117">
                  <c:v>2.5000000000000001E-2</c:v>
                </c:pt>
                <c:pt idx="1118">
                  <c:v>8.0000000000000002E-3</c:v>
                </c:pt>
                <c:pt idx="1119">
                  <c:v>1.0999999999999999E-2</c:v>
                </c:pt>
                <c:pt idx="1120">
                  <c:v>1.4E-2</c:v>
                </c:pt>
                <c:pt idx="1121">
                  <c:v>8.9999999999999993E-3</c:v>
                </c:pt>
                <c:pt idx="1122">
                  <c:v>8.0000000000000002E-3</c:v>
                </c:pt>
                <c:pt idx="1123">
                  <c:v>8.0000000000000002E-3</c:v>
                </c:pt>
                <c:pt idx="1124">
                  <c:v>3.0000000000000001E-3</c:v>
                </c:pt>
                <c:pt idx="1125">
                  <c:v>0.04</c:v>
                </c:pt>
                <c:pt idx="1126">
                  <c:v>0.01</c:v>
                </c:pt>
                <c:pt idx="1127">
                  <c:v>0.05</c:v>
                </c:pt>
                <c:pt idx="1128">
                  <c:v>6.8000000000000005E-2</c:v>
                </c:pt>
                <c:pt idx="1129">
                  <c:v>0.01</c:v>
                </c:pt>
                <c:pt idx="1130">
                  <c:v>4.0000000000000001E-3</c:v>
                </c:pt>
                <c:pt idx="1131">
                  <c:v>3.0000000000000001E-3</c:v>
                </c:pt>
                <c:pt idx="1132">
                  <c:v>1.4E-2</c:v>
                </c:pt>
                <c:pt idx="1133">
                  <c:v>1E-3</c:v>
                </c:pt>
                <c:pt idx="1134">
                  <c:v>1.0999999999999999E-2</c:v>
                </c:pt>
                <c:pt idx="1135">
                  <c:v>8.0000000000000002E-3</c:v>
                </c:pt>
                <c:pt idx="1136">
                  <c:v>1.4E-2</c:v>
                </c:pt>
                <c:pt idx="1137">
                  <c:v>8.0000000000000002E-3</c:v>
                </c:pt>
                <c:pt idx="1138">
                  <c:v>8.9999999999999993E-3</c:v>
                </c:pt>
                <c:pt idx="1139">
                  <c:v>4.2000000000000003E-2</c:v>
                </c:pt>
                <c:pt idx="1140">
                  <c:v>3.5000000000000003E-2</c:v>
                </c:pt>
                <c:pt idx="1141">
                  <c:v>4.9000000000000002E-2</c:v>
                </c:pt>
                <c:pt idx="1142">
                  <c:v>1.2999999999999999E-2</c:v>
                </c:pt>
                <c:pt idx="1143">
                  <c:v>0.01</c:v>
                </c:pt>
                <c:pt idx="1144">
                  <c:v>1E-3</c:v>
                </c:pt>
                <c:pt idx="1145">
                  <c:v>0.03</c:v>
                </c:pt>
                <c:pt idx="1146">
                  <c:v>1.4E-2</c:v>
                </c:pt>
                <c:pt idx="1147">
                  <c:v>4.0000000000000001E-3</c:v>
                </c:pt>
                <c:pt idx="1148">
                  <c:v>4.1000000000000002E-2</c:v>
                </c:pt>
                <c:pt idx="1149">
                  <c:v>0.01</c:v>
                </c:pt>
                <c:pt idx="1150">
                  <c:v>3.0000000000000001E-3</c:v>
                </c:pt>
                <c:pt idx="1151">
                  <c:v>5.8000000000000003E-2</c:v>
                </c:pt>
                <c:pt idx="1152">
                  <c:v>8.0000000000000002E-3</c:v>
                </c:pt>
                <c:pt idx="1153">
                  <c:v>3.3000000000000002E-2</c:v>
                </c:pt>
                <c:pt idx="1154">
                  <c:v>0.01</c:v>
                </c:pt>
                <c:pt idx="1155">
                  <c:v>1E-3</c:v>
                </c:pt>
                <c:pt idx="1156">
                  <c:v>3.3000000000000002E-2</c:v>
                </c:pt>
                <c:pt idx="1157">
                  <c:v>8.0000000000000002E-3</c:v>
                </c:pt>
                <c:pt idx="1158">
                  <c:v>0.113</c:v>
                </c:pt>
                <c:pt idx="1159">
                  <c:v>0.01</c:v>
                </c:pt>
                <c:pt idx="1160">
                  <c:v>2.7E-2</c:v>
                </c:pt>
                <c:pt idx="1161">
                  <c:v>1.7999999999999999E-2</c:v>
                </c:pt>
                <c:pt idx="1162">
                  <c:v>1.0999999999999999E-2</c:v>
                </c:pt>
                <c:pt idx="1163">
                  <c:v>3.5000000000000003E-2</c:v>
                </c:pt>
                <c:pt idx="1164">
                  <c:v>1.2999999999999999E-2</c:v>
                </c:pt>
                <c:pt idx="1165">
                  <c:v>8.0000000000000002E-3</c:v>
                </c:pt>
                <c:pt idx="1166">
                  <c:v>8.0000000000000002E-3</c:v>
                </c:pt>
                <c:pt idx="1167">
                  <c:v>3.4000000000000002E-2</c:v>
                </c:pt>
                <c:pt idx="1168">
                  <c:v>1E-3</c:v>
                </c:pt>
                <c:pt idx="1169">
                  <c:v>1E-3</c:v>
                </c:pt>
                <c:pt idx="1170">
                  <c:v>1E-3</c:v>
                </c:pt>
                <c:pt idx="1171">
                  <c:v>1.4999999999999999E-2</c:v>
                </c:pt>
                <c:pt idx="1172">
                  <c:v>8.0000000000000002E-3</c:v>
                </c:pt>
                <c:pt idx="1173">
                  <c:v>1E-3</c:v>
                </c:pt>
                <c:pt idx="1174">
                  <c:v>8.0000000000000002E-3</c:v>
                </c:pt>
                <c:pt idx="1175">
                  <c:v>8.0000000000000002E-3</c:v>
                </c:pt>
                <c:pt idx="1176">
                  <c:v>8.9999999999999993E-3</c:v>
                </c:pt>
                <c:pt idx="1177">
                  <c:v>3.0000000000000001E-3</c:v>
                </c:pt>
                <c:pt idx="1178">
                  <c:v>2.8000000000000001E-2</c:v>
                </c:pt>
                <c:pt idx="1179">
                  <c:v>8.0000000000000002E-3</c:v>
                </c:pt>
                <c:pt idx="1180">
                  <c:v>4.0000000000000001E-3</c:v>
                </c:pt>
                <c:pt idx="1181">
                  <c:v>1E-3</c:v>
                </c:pt>
                <c:pt idx="1182">
                  <c:v>5.0000000000000001E-3</c:v>
                </c:pt>
                <c:pt idx="1183">
                  <c:v>3.5999999999999997E-2</c:v>
                </c:pt>
                <c:pt idx="1184">
                  <c:v>8.9999999999999993E-3</c:v>
                </c:pt>
                <c:pt idx="1185">
                  <c:v>1E-3</c:v>
                </c:pt>
                <c:pt idx="1186">
                  <c:v>1.0999999999999999E-2</c:v>
                </c:pt>
                <c:pt idx="1187">
                  <c:v>1.4E-2</c:v>
                </c:pt>
                <c:pt idx="1188">
                  <c:v>0.02</c:v>
                </c:pt>
                <c:pt idx="1189">
                  <c:v>8.9999999999999993E-3</c:v>
                </c:pt>
                <c:pt idx="1190">
                  <c:v>1E-3</c:v>
                </c:pt>
                <c:pt idx="1191">
                  <c:v>1.9E-2</c:v>
                </c:pt>
                <c:pt idx="1192">
                  <c:v>3.9E-2</c:v>
                </c:pt>
                <c:pt idx="1193">
                  <c:v>9.4E-2</c:v>
                </c:pt>
                <c:pt idx="1194">
                  <c:v>1.4999999999999999E-2</c:v>
                </c:pt>
                <c:pt idx="1195">
                  <c:v>3.0000000000000001E-3</c:v>
                </c:pt>
                <c:pt idx="1196">
                  <c:v>1E-3</c:v>
                </c:pt>
                <c:pt idx="1197">
                  <c:v>1E-3</c:v>
                </c:pt>
                <c:pt idx="1198">
                  <c:v>8.0000000000000002E-3</c:v>
                </c:pt>
                <c:pt idx="1199">
                  <c:v>8.9999999999999993E-3</c:v>
                </c:pt>
                <c:pt idx="1200">
                  <c:v>4.0000000000000001E-3</c:v>
                </c:pt>
                <c:pt idx="1201">
                  <c:v>3.0000000000000001E-3</c:v>
                </c:pt>
                <c:pt idx="1202">
                  <c:v>2.4E-2</c:v>
                </c:pt>
                <c:pt idx="1203">
                  <c:v>2.4E-2</c:v>
                </c:pt>
                <c:pt idx="1204">
                  <c:v>5.0999999999999997E-2</c:v>
                </c:pt>
                <c:pt idx="1205">
                  <c:v>1.2999999999999999E-2</c:v>
                </c:pt>
                <c:pt idx="1206">
                  <c:v>8.0000000000000002E-3</c:v>
                </c:pt>
                <c:pt idx="1207">
                  <c:v>8.0000000000000002E-3</c:v>
                </c:pt>
                <c:pt idx="1208">
                  <c:v>8.0000000000000002E-3</c:v>
                </c:pt>
                <c:pt idx="1209">
                  <c:v>1.0999999999999999E-2</c:v>
                </c:pt>
                <c:pt idx="1210">
                  <c:v>2.4E-2</c:v>
                </c:pt>
                <c:pt idx="1211">
                  <c:v>8.0000000000000002E-3</c:v>
                </c:pt>
                <c:pt idx="1212">
                  <c:v>1.0999999999999999E-2</c:v>
                </c:pt>
                <c:pt idx="1213">
                  <c:v>1.2999999999999999E-2</c:v>
                </c:pt>
                <c:pt idx="1214">
                  <c:v>2.8000000000000001E-2</c:v>
                </c:pt>
                <c:pt idx="1215">
                  <c:v>1E-3</c:v>
                </c:pt>
                <c:pt idx="1216">
                  <c:v>0.04</c:v>
                </c:pt>
                <c:pt idx="1217">
                  <c:v>8.9999999999999993E-3</c:v>
                </c:pt>
                <c:pt idx="1218">
                  <c:v>8.9999999999999993E-3</c:v>
                </c:pt>
                <c:pt idx="1219">
                  <c:v>8.0000000000000002E-3</c:v>
                </c:pt>
                <c:pt idx="1220">
                  <c:v>2.9000000000000001E-2</c:v>
                </c:pt>
                <c:pt idx="1221">
                  <c:v>8.0000000000000002E-3</c:v>
                </c:pt>
                <c:pt idx="1222">
                  <c:v>5.0000000000000001E-3</c:v>
                </c:pt>
                <c:pt idx="1223">
                  <c:v>4.0000000000000001E-3</c:v>
                </c:pt>
                <c:pt idx="1224">
                  <c:v>4.0000000000000001E-3</c:v>
                </c:pt>
                <c:pt idx="1225">
                  <c:v>1E-3</c:v>
                </c:pt>
                <c:pt idx="1226">
                  <c:v>1.7999999999999999E-2</c:v>
                </c:pt>
                <c:pt idx="1227">
                  <c:v>1E-3</c:v>
                </c:pt>
                <c:pt idx="1228">
                  <c:v>8.0000000000000002E-3</c:v>
                </c:pt>
                <c:pt idx="1229">
                  <c:v>1E-3</c:v>
                </c:pt>
                <c:pt idx="1230">
                  <c:v>0.03</c:v>
                </c:pt>
                <c:pt idx="1231">
                  <c:v>8.0000000000000002E-3</c:v>
                </c:pt>
                <c:pt idx="1232">
                  <c:v>8.0000000000000002E-3</c:v>
                </c:pt>
                <c:pt idx="1233">
                  <c:v>1E-3</c:v>
                </c:pt>
                <c:pt idx="1234">
                  <c:v>8.9999999999999993E-3</c:v>
                </c:pt>
                <c:pt idx="1235">
                  <c:v>4.0000000000000001E-3</c:v>
                </c:pt>
                <c:pt idx="1236">
                  <c:v>4.0000000000000001E-3</c:v>
                </c:pt>
                <c:pt idx="1237">
                  <c:v>6.5000000000000002E-2</c:v>
                </c:pt>
                <c:pt idx="1238">
                  <c:v>1E-3</c:v>
                </c:pt>
                <c:pt idx="1239">
                  <c:v>3.0000000000000001E-3</c:v>
                </c:pt>
                <c:pt idx="1240">
                  <c:v>8.0000000000000002E-3</c:v>
                </c:pt>
                <c:pt idx="1241">
                  <c:v>1E-3</c:v>
                </c:pt>
                <c:pt idx="1242">
                  <c:v>8.0000000000000002E-3</c:v>
                </c:pt>
                <c:pt idx="1243">
                  <c:v>1.9E-2</c:v>
                </c:pt>
                <c:pt idx="1244">
                  <c:v>4.0000000000000001E-3</c:v>
                </c:pt>
                <c:pt idx="1245">
                  <c:v>3.0000000000000001E-3</c:v>
                </c:pt>
                <c:pt idx="1246">
                  <c:v>8.0000000000000002E-3</c:v>
                </c:pt>
                <c:pt idx="1247">
                  <c:v>2.5000000000000001E-2</c:v>
                </c:pt>
                <c:pt idx="1248">
                  <c:v>8.0000000000000002E-3</c:v>
                </c:pt>
                <c:pt idx="1249">
                  <c:v>0.01</c:v>
                </c:pt>
                <c:pt idx="1250">
                  <c:v>1.4999999999999999E-2</c:v>
                </c:pt>
                <c:pt idx="1251">
                  <c:v>8.9999999999999993E-3</c:v>
                </c:pt>
                <c:pt idx="1252">
                  <c:v>2.4E-2</c:v>
                </c:pt>
                <c:pt idx="1253">
                  <c:v>4.0000000000000001E-3</c:v>
                </c:pt>
                <c:pt idx="1254">
                  <c:v>0.01</c:v>
                </c:pt>
                <c:pt idx="1255">
                  <c:v>1E-3</c:v>
                </c:pt>
                <c:pt idx="1256">
                  <c:v>1E-3</c:v>
                </c:pt>
                <c:pt idx="1257">
                  <c:v>2.1000000000000001E-2</c:v>
                </c:pt>
                <c:pt idx="1258">
                  <c:v>1.7999999999999999E-2</c:v>
                </c:pt>
                <c:pt idx="1259">
                  <c:v>1.2999999999999999E-2</c:v>
                </c:pt>
                <c:pt idx="1260">
                  <c:v>1E-3</c:v>
                </c:pt>
                <c:pt idx="1261">
                  <c:v>1E-3</c:v>
                </c:pt>
                <c:pt idx="1262">
                  <c:v>1E-3</c:v>
                </c:pt>
                <c:pt idx="1263">
                  <c:v>3.0000000000000001E-3</c:v>
                </c:pt>
                <c:pt idx="1264">
                  <c:v>8.0000000000000002E-3</c:v>
                </c:pt>
                <c:pt idx="1265">
                  <c:v>1E-3</c:v>
                </c:pt>
                <c:pt idx="1266">
                  <c:v>1E-3</c:v>
                </c:pt>
                <c:pt idx="1267">
                  <c:v>0.02</c:v>
                </c:pt>
                <c:pt idx="1268">
                  <c:v>1E-3</c:v>
                </c:pt>
                <c:pt idx="1269">
                  <c:v>8.9999999999999993E-3</c:v>
                </c:pt>
                <c:pt idx="1270">
                  <c:v>3.0000000000000001E-3</c:v>
                </c:pt>
                <c:pt idx="1271">
                  <c:v>2.5000000000000001E-2</c:v>
                </c:pt>
                <c:pt idx="1272">
                  <c:v>1E-3</c:v>
                </c:pt>
                <c:pt idx="1273">
                  <c:v>1.9E-2</c:v>
                </c:pt>
                <c:pt idx="1274">
                  <c:v>8.0000000000000002E-3</c:v>
                </c:pt>
                <c:pt idx="1275">
                  <c:v>7.0000000000000001E-3</c:v>
                </c:pt>
                <c:pt idx="1276">
                  <c:v>1E-3</c:v>
                </c:pt>
                <c:pt idx="1277">
                  <c:v>1E-3</c:v>
                </c:pt>
                <c:pt idx="1278">
                  <c:v>1E-3</c:v>
                </c:pt>
                <c:pt idx="1279">
                  <c:v>0.01</c:v>
                </c:pt>
                <c:pt idx="1280">
                  <c:v>8.0000000000000002E-3</c:v>
                </c:pt>
                <c:pt idx="1281">
                  <c:v>1.9E-2</c:v>
                </c:pt>
                <c:pt idx="1282">
                  <c:v>4.0000000000000001E-3</c:v>
                </c:pt>
                <c:pt idx="1283">
                  <c:v>1.0999999999999999E-2</c:v>
                </c:pt>
                <c:pt idx="1284">
                  <c:v>1E-3</c:v>
                </c:pt>
                <c:pt idx="1285">
                  <c:v>3.1E-2</c:v>
                </c:pt>
                <c:pt idx="1286">
                  <c:v>1.6E-2</c:v>
                </c:pt>
                <c:pt idx="1287">
                  <c:v>1.4999999999999999E-2</c:v>
                </c:pt>
                <c:pt idx="1288">
                  <c:v>1E-3</c:v>
                </c:pt>
                <c:pt idx="1289">
                  <c:v>1.0999999999999999E-2</c:v>
                </c:pt>
                <c:pt idx="1290">
                  <c:v>1E-3</c:v>
                </c:pt>
                <c:pt idx="1291">
                  <c:v>8.0000000000000002E-3</c:v>
                </c:pt>
                <c:pt idx="1292">
                  <c:v>8.0000000000000002E-3</c:v>
                </c:pt>
                <c:pt idx="1293">
                  <c:v>1E-3</c:v>
                </c:pt>
                <c:pt idx="1294">
                  <c:v>3.0000000000000001E-3</c:v>
                </c:pt>
                <c:pt idx="1295">
                  <c:v>1E-3</c:v>
                </c:pt>
                <c:pt idx="1296">
                  <c:v>1E-3</c:v>
                </c:pt>
                <c:pt idx="1297">
                  <c:v>8.0000000000000002E-3</c:v>
                </c:pt>
                <c:pt idx="1298">
                  <c:v>1E-3</c:v>
                </c:pt>
                <c:pt idx="1299">
                  <c:v>8.0000000000000002E-3</c:v>
                </c:pt>
                <c:pt idx="1300">
                  <c:v>4.0000000000000001E-3</c:v>
                </c:pt>
                <c:pt idx="1301">
                  <c:v>1E-3</c:v>
                </c:pt>
                <c:pt idx="1302">
                  <c:v>3.0000000000000001E-3</c:v>
                </c:pt>
                <c:pt idx="1303">
                  <c:v>3.0000000000000001E-3</c:v>
                </c:pt>
                <c:pt idx="1304">
                  <c:v>1E-3</c:v>
                </c:pt>
                <c:pt idx="1305">
                  <c:v>1E-3</c:v>
                </c:pt>
                <c:pt idx="1306">
                  <c:v>1E-3</c:v>
                </c:pt>
                <c:pt idx="1307">
                  <c:v>8.0000000000000002E-3</c:v>
                </c:pt>
                <c:pt idx="1308">
                  <c:v>1E-3</c:v>
                </c:pt>
                <c:pt idx="1309">
                  <c:v>8.0000000000000002E-3</c:v>
                </c:pt>
                <c:pt idx="1310">
                  <c:v>1E-3</c:v>
                </c:pt>
                <c:pt idx="1311">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invertIfNegative val="1"/>
            <c:bubble3D val="0"/>
            <c:spPr>
              <a:solidFill>
                <a:srgbClr val="00A097"/>
              </a:solidFill>
            </c:spPr>
            <c:extLst>
              <c:ext xmlns:c16="http://schemas.microsoft.com/office/drawing/2014/chart" uri="{C3380CC4-5D6E-409C-BE32-E72D297353CC}">
                <c16:uniqueId val="{000001A7-4B1F-42FD-9B84-37A75D366F36}"/>
              </c:ext>
            </c:extLst>
          </c:dPt>
          <c:dPt>
            <c:idx val="211"/>
            <c:invertIfNegative val="1"/>
            <c:bubble3D val="0"/>
            <c:spPr>
              <a:solidFill>
                <a:srgbClr val="00A097"/>
              </a:solidFill>
            </c:spPr>
            <c:extLst>
              <c:ext xmlns:c16="http://schemas.microsoft.com/office/drawing/2014/chart" uri="{C3380CC4-5D6E-409C-BE32-E72D297353CC}">
                <c16:uniqueId val="{000001A9-4B1F-42FD-9B84-37A75D366F36}"/>
              </c:ext>
            </c:extLst>
          </c:dPt>
          <c:dPt>
            <c:idx val="212"/>
            <c:invertIfNegative val="1"/>
            <c:bubble3D val="0"/>
            <c:spPr>
              <a:solidFill>
                <a:srgbClr val="00A097"/>
              </a:solidFill>
            </c:spPr>
            <c:extLst>
              <c:ext xmlns:c16="http://schemas.microsoft.com/office/drawing/2014/chart" uri="{C3380CC4-5D6E-409C-BE32-E72D297353CC}">
                <c16:uniqueId val="{000001AB-4B1F-42FD-9B84-37A75D366F36}"/>
              </c:ext>
            </c:extLst>
          </c:dPt>
          <c:dPt>
            <c:idx val="213"/>
            <c:invertIfNegative val="1"/>
            <c:bubble3D val="0"/>
            <c:spPr>
              <a:solidFill>
                <a:srgbClr val="00A097"/>
              </a:solidFill>
            </c:spPr>
            <c:extLst>
              <c:ext xmlns:c16="http://schemas.microsoft.com/office/drawing/2014/chart" uri="{C3380CC4-5D6E-409C-BE32-E72D297353CC}">
                <c16:uniqueId val="{000001AD-4B1F-42FD-9B84-37A75D366F36}"/>
              </c:ext>
            </c:extLst>
          </c:dPt>
          <c:dPt>
            <c:idx val="214"/>
            <c:invertIfNegative val="1"/>
            <c:bubble3D val="0"/>
            <c:spPr>
              <a:solidFill>
                <a:srgbClr val="00A097"/>
              </a:solidFill>
            </c:spPr>
            <c:extLst>
              <c:ext xmlns:c16="http://schemas.microsoft.com/office/drawing/2014/chart" uri="{C3380CC4-5D6E-409C-BE32-E72D297353CC}">
                <c16:uniqueId val="{000001AF-4B1F-42FD-9B84-37A75D366F36}"/>
              </c:ext>
            </c:extLst>
          </c:dPt>
          <c:dPt>
            <c:idx val="215"/>
            <c:invertIfNegative val="1"/>
            <c:bubble3D val="0"/>
            <c:spPr>
              <a:solidFill>
                <a:srgbClr val="00A097"/>
              </a:solidFill>
            </c:spPr>
            <c:extLst>
              <c:ext xmlns:c16="http://schemas.microsoft.com/office/drawing/2014/chart" uri="{C3380CC4-5D6E-409C-BE32-E72D297353CC}">
                <c16:uniqueId val="{000001B1-4B1F-42FD-9B84-37A75D366F36}"/>
              </c:ext>
            </c:extLst>
          </c:dPt>
          <c:dPt>
            <c:idx val="216"/>
            <c:invertIfNegative val="1"/>
            <c:bubble3D val="0"/>
            <c:spPr>
              <a:solidFill>
                <a:srgbClr val="00A097"/>
              </a:solidFill>
            </c:spPr>
            <c:extLst>
              <c:ext xmlns:c16="http://schemas.microsoft.com/office/drawing/2014/chart" uri="{C3380CC4-5D6E-409C-BE32-E72D297353CC}">
                <c16:uniqueId val="{000001B3-4B1F-42FD-9B84-37A75D366F36}"/>
              </c:ext>
            </c:extLst>
          </c:dPt>
          <c:dPt>
            <c:idx val="217"/>
            <c:invertIfNegative val="1"/>
            <c:bubble3D val="0"/>
            <c:spPr>
              <a:solidFill>
                <a:srgbClr val="00A097"/>
              </a:solidFill>
            </c:spPr>
            <c:extLst>
              <c:ext xmlns:c16="http://schemas.microsoft.com/office/drawing/2014/chart" uri="{C3380CC4-5D6E-409C-BE32-E72D297353CC}">
                <c16:uniqueId val="{000001B5-4B1F-42FD-9B84-37A75D366F36}"/>
              </c:ext>
            </c:extLst>
          </c:dPt>
          <c:dPt>
            <c:idx val="218"/>
            <c:invertIfNegative val="1"/>
            <c:bubble3D val="0"/>
            <c:spPr>
              <a:solidFill>
                <a:srgbClr val="00A097"/>
              </a:solidFill>
            </c:spPr>
            <c:extLst>
              <c:ext xmlns:c16="http://schemas.microsoft.com/office/drawing/2014/chart" uri="{C3380CC4-5D6E-409C-BE32-E72D297353CC}">
                <c16:uniqueId val="{000001B7-4B1F-42FD-9B84-37A75D366F36}"/>
              </c:ext>
            </c:extLst>
          </c:dPt>
          <c:dPt>
            <c:idx val="219"/>
            <c:invertIfNegative val="1"/>
            <c:bubble3D val="0"/>
            <c:spPr>
              <a:solidFill>
                <a:srgbClr val="00A097"/>
              </a:solidFill>
            </c:spPr>
            <c:extLst>
              <c:ext xmlns:c16="http://schemas.microsoft.com/office/drawing/2014/chart" uri="{C3380CC4-5D6E-409C-BE32-E72D297353CC}">
                <c16:uniqueId val="{000001B9-4B1F-42FD-9B84-37A75D366F36}"/>
              </c:ext>
            </c:extLst>
          </c:dPt>
          <c:dPt>
            <c:idx val="220"/>
            <c:invertIfNegative val="1"/>
            <c:bubble3D val="0"/>
            <c:spPr>
              <a:solidFill>
                <a:srgbClr val="00A097"/>
              </a:solidFill>
            </c:spPr>
            <c:extLst>
              <c:ext xmlns:c16="http://schemas.microsoft.com/office/drawing/2014/chart" uri="{C3380CC4-5D6E-409C-BE32-E72D297353CC}">
                <c16:uniqueId val="{000001BB-4B1F-42FD-9B84-37A75D366F36}"/>
              </c:ext>
            </c:extLst>
          </c:dPt>
          <c:dPt>
            <c:idx val="221"/>
            <c:invertIfNegative val="1"/>
            <c:bubble3D val="0"/>
            <c:spPr>
              <a:solidFill>
                <a:srgbClr val="00A097"/>
              </a:solidFill>
            </c:spPr>
            <c:extLst>
              <c:ext xmlns:c16="http://schemas.microsoft.com/office/drawing/2014/chart" uri="{C3380CC4-5D6E-409C-BE32-E72D297353CC}">
                <c16:uniqueId val="{000001BD-4B1F-42FD-9B84-37A75D366F36}"/>
              </c:ext>
            </c:extLst>
          </c:dPt>
          <c:dPt>
            <c:idx val="222"/>
            <c:invertIfNegative val="1"/>
            <c:bubble3D val="0"/>
            <c:spPr>
              <a:solidFill>
                <a:srgbClr val="00A097"/>
              </a:solidFill>
            </c:spPr>
            <c:extLst>
              <c:ext xmlns:c16="http://schemas.microsoft.com/office/drawing/2014/chart" uri="{C3380CC4-5D6E-409C-BE32-E72D297353CC}">
                <c16:uniqueId val="{000001BF-4B1F-42FD-9B84-37A75D366F36}"/>
              </c:ext>
            </c:extLst>
          </c:dPt>
          <c:dPt>
            <c:idx val="223"/>
            <c:invertIfNegative val="1"/>
            <c:bubble3D val="0"/>
            <c:spPr>
              <a:solidFill>
                <a:srgbClr val="00A097"/>
              </a:solidFill>
            </c:spPr>
            <c:extLst>
              <c:ext xmlns:c16="http://schemas.microsoft.com/office/drawing/2014/chart" uri="{C3380CC4-5D6E-409C-BE32-E72D297353CC}">
                <c16:uniqueId val="{000001C1-4B1F-42FD-9B84-37A75D366F36}"/>
              </c:ext>
            </c:extLst>
          </c:dPt>
          <c:dPt>
            <c:idx val="224"/>
            <c:invertIfNegative val="1"/>
            <c:bubble3D val="0"/>
            <c:spPr>
              <a:solidFill>
                <a:srgbClr val="00A097"/>
              </a:solidFill>
            </c:spPr>
            <c:extLst>
              <c:ext xmlns:c16="http://schemas.microsoft.com/office/drawing/2014/chart" uri="{C3380CC4-5D6E-409C-BE32-E72D297353CC}">
                <c16:uniqueId val="{000001C3-4B1F-42FD-9B84-37A75D366F36}"/>
              </c:ext>
            </c:extLst>
          </c:dPt>
          <c:dPt>
            <c:idx val="225"/>
            <c:invertIfNegative val="1"/>
            <c:bubble3D val="0"/>
            <c:spPr>
              <a:solidFill>
                <a:srgbClr val="00A097"/>
              </a:solidFill>
            </c:spPr>
            <c:extLst>
              <c:ext xmlns:c16="http://schemas.microsoft.com/office/drawing/2014/chart" uri="{C3380CC4-5D6E-409C-BE32-E72D297353CC}">
                <c16:uniqueId val="{000001C5-4B1F-42FD-9B84-37A75D366F36}"/>
              </c:ext>
            </c:extLst>
          </c:dPt>
          <c:dPt>
            <c:idx val="226"/>
            <c:invertIfNegative val="1"/>
            <c:bubble3D val="0"/>
            <c:spPr>
              <a:solidFill>
                <a:srgbClr val="00A097"/>
              </a:solidFill>
            </c:spPr>
            <c:extLst>
              <c:ext xmlns:c16="http://schemas.microsoft.com/office/drawing/2014/chart" uri="{C3380CC4-5D6E-409C-BE32-E72D297353CC}">
                <c16:uniqueId val="{000001C7-4B1F-42FD-9B84-37A75D366F36}"/>
              </c:ext>
            </c:extLst>
          </c:dPt>
          <c:dPt>
            <c:idx val="227"/>
            <c:invertIfNegative val="1"/>
            <c:bubble3D val="0"/>
            <c:spPr>
              <a:solidFill>
                <a:srgbClr val="00A097"/>
              </a:solidFill>
            </c:spPr>
            <c:extLst>
              <c:ext xmlns:c16="http://schemas.microsoft.com/office/drawing/2014/chart" uri="{C3380CC4-5D6E-409C-BE32-E72D297353CC}">
                <c16:uniqueId val="{000001C9-4B1F-42FD-9B84-37A75D366F36}"/>
              </c:ext>
            </c:extLst>
          </c:dPt>
          <c:dPt>
            <c:idx val="228"/>
            <c:invertIfNegative val="1"/>
            <c:bubble3D val="0"/>
            <c:spPr>
              <a:solidFill>
                <a:srgbClr val="00A097"/>
              </a:solidFill>
            </c:spPr>
            <c:extLst>
              <c:ext xmlns:c16="http://schemas.microsoft.com/office/drawing/2014/chart" uri="{C3380CC4-5D6E-409C-BE32-E72D297353CC}">
                <c16:uniqueId val="{000001CB-4B1F-42FD-9B84-37A75D366F36}"/>
              </c:ext>
            </c:extLst>
          </c:dPt>
          <c:dPt>
            <c:idx val="229"/>
            <c:invertIfNegative val="1"/>
            <c:bubble3D val="0"/>
            <c:spPr>
              <a:solidFill>
                <a:srgbClr val="00A097"/>
              </a:solidFill>
            </c:spPr>
            <c:extLst>
              <c:ext xmlns:c16="http://schemas.microsoft.com/office/drawing/2014/chart" uri="{C3380CC4-5D6E-409C-BE32-E72D297353CC}">
                <c16:uniqueId val="{000001CD-4B1F-42FD-9B84-37A75D366F36}"/>
              </c:ext>
            </c:extLst>
          </c:dPt>
          <c:dPt>
            <c:idx val="230"/>
            <c:invertIfNegative val="1"/>
            <c:bubble3D val="0"/>
            <c:spPr>
              <a:solidFill>
                <a:srgbClr val="00A097"/>
              </a:solidFill>
            </c:spPr>
            <c:extLst>
              <c:ext xmlns:c16="http://schemas.microsoft.com/office/drawing/2014/chart" uri="{C3380CC4-5D6E-409C-BE32-E72D297353CC}">
                <c16:uniqueId val="{000001CF-4B1F-42FD-9B84-37A75D366F36}"/>
              </c:ext>
            </c:extLst>
          </c:dPt>
          <c:dPt>
            <c:idx val="231"/>
            <c:invertIfNegative val="1"/>
            <c:bubble3D val="0"/>
            <c:spPr>
              <a:solidFill>
                <a:srgbClr val="00A097"/>
              </a:solidFill>
            </c:spPr>
            <c:extLst>
              <c:ext xmlns:c16="http://schemas.microsoft.com/office/drawing/2014/chart" uri="{C3380CC4-5D6E-409C-BE32-E72D297353CC}">
                <c16:uniqueId val="{000001D1-4B1F-42FD-9B84-37A75D366F36}"/>
              </c:ext>
            </c:extLst>
          </c:dPt>
          <c:dPt>
            <c:idx val="232"/>
            <c:invertIfNegative val="1"/>
            <c:bubble3D val="0"/>
            <c:spPr>
              <a:solidFill>
                <a:srgbClr val="00A097"/>
              </a:solidFill>
            </c:spPr>
            <c:extLst>
              <c:ext xmlns:c16="http://schemas.microsoft.com/office/drawing/2014/chart" uri="{C3380CC4-5D6E-409C-BE32-E72D297353CC}">
                <c16:uniqueId val="{000001D3-4B1F-42FD-9B84-37A75D366F36}"/>
              </c:ext>
            </c:extLst>
          </c:dPt>
          <c:dPt>
            <c:idx val="233"/>
            <c:invertIfNegative val="1"/>
            <c:bubble3D val="0"/>
            <c:spPr>
              <a:solidFill>
                <a:srgbClr val="00A097"/>
              </a:solidFill>
            </c:spPr>
            <c:extLst>
              <c:ext xmlns:c16="http://schemas.microsoft.com/office/drawing/2014/chart" uri="{C3380CC4-5D6E-409C-BE32-E72D297353CC}">
                <c16:uniqueId val="{000001D5-4B1F-42FD-9B84-37A75D366F36}"/>
              </c:ext>
            </c:extLst>
          </c:dPt>
          <c:dPt>
            <c:idx val="234"/>
            <c:invertIfNegative val="1"/>
            <c:bubble3D val="0"/>
            <c:spPr>
              <a:solidFill>
                <a:srgbClr val="00A097"/>
              </a:solidFill>
            </c:spPr>
            <c:extLst>
              <c:ext xmlns:c16="http://schemas.microsoft.com/office/drawing/2014/chart" uri="{C3380CC4-5D6E-409C-BE32-E72D297353CC}">
                <c16:uniqueId val="{000001D7-4B1F-42FD-9B84-37A75D366F36}"/>
              </c:ext>
            </c:extLst>
          </c:dPt>
          <c:dPt>
            <c:idx val="235"/>
            <c:invertIfNegative val="1"/>
            <c:bubble3D val="0"/>
            <c:spPr>
              <a:solidFill>
                <a:srgbClr val="00A097"/>
              </a:solidFill>
            </c:spPr>
            <c:extLst>
              <c:ext xmlns:c16="http://schemas.microsoft.com/office/drawing/2014/chart" uri="{C3380CC4-5D6E-409C-BE32-E72D297353CC}">
                <c16:uniqueId val="{000001D9-4B1F-42FD-9B84-37A75D366F36}"/>
              </c:ext>
            </c:extLst>
          </c:dPt>
          <c:dPt>
            <c:idx val="236"/>
            <c:invertIfNegative val="1"/>
            <c:bubble3D val="0"/>
            <c:spPr>
              <a:solidFill>
                <a:srgbClr val="00A097"/>
              </a:solidFill>
            </c:spPr>
            <c:extLst>
              <c:ext xmlns:c16="http://schemas.microsoft.com/office/drawing/2014/chart" uri="{C3380CC4-5D6E-409C-BE32-E72D297353CC}">
                <c16:uniqueId val="{000001DB-4B1F-42FD-9B84-37A75D366F36}"/>
              </c:ext>
            </c:extLst>
          </c:dPt>
          <c:dPt>
            <c:idx val="237"/>
            <c:invertIfNegative val="1"/>
            <c:bubble3D val="0"/>
            <c:spPr>
              <a:solidFill>
                <a:srgbClr val="00A097"/>
              </a:solidFill>
            </c:spPr>
            <c:extLst>
              <c:ext xmlns:c16="http://schemas.microsoft.com/office/drawing/2014/chart" uri="{C3380CC4-5D6E-409C-BE32-E72D297353CC}">
                <c16:uniqueId val="{000001DD-4B1F-42FD-9B84-37A75D366F36}"/>
              </c:ext>
            </c:extLst>
          </c:dPt>
          <c:dPt>
            <c:idx val="238"/>
            <c:invertIfNegative val="1"/>
            <c:bubble3D val="0"/>
            <c:spPr>
              <a:solidFill>
                <a:srgbClr val="00A097"/>
              </a:solidFill>
            </c:spPr>
            <c:extLst>
              <c:ext xmlns:c16="http://schemas.microsoft.com/office/drawing/2014/chart" uri="{C3380CC4-5D6E-409C-BE32-E72D297353CC}">
                <c16:uniqueId val="{000001DF-4B1F-42FD-9B84-37A75D366F36}"/>
              </c:ext>
            </c:extLst>
          </c:dPt>
          <c:dPt>
            <c:idx val="239"/>
            <c:invertIfNegative val="1"/>
            <c:bubble3D val="0"/>
            <c:spPr>
              <a:solidFill>
                <a:srgbClr val="00A097"/>
              </a:solidFill>
            </c:spPr>
            <c:extLst>
              <c:ext xmlns:c16="http://schemas.microsoft.com/office/drawing/2014/chart" uri="{C3380CC4-5D6E-409C-BE32-E72D297353CC}">
                <c16:uniqueId val="{000001E1-4B1F-42FD-9B84-37A75D366F36}"/>
              </c:ext>
            </c:extLst>
          </c:dPt>
          <c:dPt>
            <c:idx val="240"/>
            <c:invertIfNegative val="1"/>
            <c:bubble3D val="0"/>
            <c:spPr>
              <a:solidFill>
                <a:srgbClr val="00A097"/>
              </a:solidFill>
            </c:spPr>
            <c:extLst>
              <c:ext xmlns:c16="http://schemas.microsoft.com/office/drawing/2014/chart" uri="{C3380CC4-5D6E-409C-BE32-E72D297353CC}">
                <c16:uniqueId val="{000001E3-4B1F-42FD-9B84-37A75D366F36}"/>
              </c:ext>
            </c:extLst>
          </c:dPt>
          <c:dPt>
            <c:idx val="241"/>
            <c:invertIfNegative val="1"/>
            <c:bubble3D val="0"/>
            <c:spPr>
              <a:solidFill>
                <a:srgbClr val="00A097"/>
              </a:solidFill>
            </c:spPr>
            <c:extLst>
              <c:ext xmlns:c16="http://schemas.microsoft.com/office/drawing/2014/chart" uri="{C3380CC4-5D6E-409C-BE32-E72D297353CC}">
                <c16:uniqueId val="{000001E5-4B1F-42FD-9B84-37A75D366F36}"/>
              </c:ext>
            </c:extLst>
          </c:dPt>
          <c:dPt>
            <c:idx val="242"/>
            <c:invertIfNegative val="1"/>
            <c:bubble3D val="0"/>
            <c:spPr>
              <a:solidFill>
                <a:srgbClr val="00A097"/>
              </a:solidFill>
            </c:spPr>
            <c:extLst>
              <c:ext xmlns:c16="http://schemas.microsoft.com/office/drawing/2014/chart" uri="{C3380CC4-5D6E-409C-BE32-E72D297353CC}">
                <c16:uniqueId val="{000001E7-4B1F-42FD-9B84-37A75D366F36}"/>
              </c:ext>
            </c:extLst>
          </c:dPt>
          <c:dPt>
            <c:idx val="243"/>
            <c:invertIfNegative val="1"/>
            <c:bubble3D val="0"/>
            <c:spPr>
              <a:solidFill>
                <a:srgbClr val="00A097"/>
              </a:solidFill>
            </c:spPr>
            <c:extLst>
              <c:ext xmlns:c16="http://schemas.microsoft.com/office/drawing/2014/chart" uri="{C3380CC4-5D6E-409C-BE32-E72D297353CC}">
                <c16:uniqueId val="{000001E9-4B1F-42FD-9B84-37A75D366F36}"/>
              </c:ext>
            </c:extLst>
          </c:dPt>
          <c:dPt>
            <c:idx val="244"/>
            <c:invertIfNegative val="1"/>
            <c:bubble3D val="0"/>
            <c:spPr>
              <a:solidFill>
                <a:srgbClr val="00A097"/>
              </a:solidFill>
            </c:spPr>
            <c:extLst>
              <c:ext xmlns:c16="http://schemas.microsoft.com/office/drawing/2014/chart" uri="{C3380CC4-5D6E-409C-BE32-E72D297353CC}">
                <c16:uniqueId val="{000001EB-4B1F-42FD-9B84-37A75D366F36}"/>
              </c:ext>
            </c:extLst>
          </c:dPt>
          <c:dPt>
            <c:idx val="245"/>
            <c:invertIfNegative val="1"/>
            <c:bubble3D val="0"/>
            <c:spPr>
              <a:solidFill>
                <a:srgbClr val="00A097"/>
              </a:solidFill>
            </c:spPr>
            <c:extLst>
              <c:ext xmlns:c16="http://schemas.microsoft.com/office/drawing/2014/chart" uri="{C3380CC4-5D6E-409C-BE32-E72D297353CC}">
                <c16:uniqueId val="{000001ED-4B1F-42FD-9B84-37A75D366F36}"/>
              </c:ext>
            </c:extLst>
          </c:dPt>
          <c:dPt>
            <c:idx val="246"/>
            <c:invertIfNegative val="1"/>
            <c:bubble3D val="0"/>
            <c:spPr>
              <a:solidFill>
                <a:srgbClr val="00A097"/>
              </a:solidFill>
            </c:spPr>
            <c:extLst>
              <c:ext xmlns:c16="http://schemas.microsoft.com/office/drawing/2014/chart" uri="{C3380CC4-5D6E-409C-BE32-E72D297353CC}">
                <c16:uniqueId val="{000001EF-4B1F-42FD-9B84-37A75D366F36}"/>
              </c:ext>
            </c:extLst>
          </c:dPt>
          <c:dPt>
            <c:idx val="247"/>
            <c:invertIfNegative val="1"/>
            <c:bubble3D val="0"/>
            <c:spPr>
              <a:solidFill>
                <a:srgbClr val="00A097"/>
              </a:solidFill>
            </c:spPr>
            <c:extLst>
              <c:ext xmlns:c16="http://schemas.microsoft.com/office/drawing/2014/chart" uri="{C3380CC4-5D6E-409C-BE32-E72D297353CC}">
                <c16:uniqueId val="{000001F1-4B1F-42FD-9B84-37A75D366F36}"/>
              </c:ext>
            </c:extLst>
          </c:dPt>
          <c:dPt>
            <c:idx val="248"/>
            <c:invertIfNegative val="1"/>
            <c:bubble3D val="0"/>
            <c:spPr>
              <a:solidFill>
                <a:srgbClr val="00A097"/>
              </a:solidFill>
            </c:spPr>
            <c:extLst>
              <c:ext xmlns:c16="http://schemas.microsoft.com/office/drawing/2014/chart" uri="{C3380CC4-5D6E-409C-BE32-E72D297353CC}">
                <c16:uniqueId val="{000001F3-4B1F-42FD-9B84-37A75D366F36}"/>
              </c:ext>
            </c:extLst>
          </c:dPt>
          <c:dPt>
            <c:idx val="249"/>
            <c:invertIfNegative val="1"/>
            <c:bubble3D val="0"/>
            <c:spPr>
              <a:solidFill>
                <a:srgbClr val="7ECAC4"/>
              </a:solidFill>
            </c:spPr>
            <c:extLst>
              <c:ext xmlns:c16="http://schemas.microsoft.com/office/drawing/2014/chart" uri="{C3380CC4-5D6E-409C-BE32-E72D297353CC}">
                <c16:uniqueId val="{000001F5-4B1F-42FD-9B84-37A75D366F36}"/>
              </c:ext>
            </c:extLst>
          </c:dPt>
          <c:dPt>
            <c:idx val="250"/>
            <c:invertIfNegative val="1"/>
            <c:bubble3D val="0"/>
            <c:spPr>
              <a:solidFill>
                <a:srgbClr val="7ECAC4"/>
              </a:solidFill>
            </c:spPr>
            <c:extLst>
              <c:ext xmlns:c16="http://schemas.microsoft.com/office/drawing/2014/chart" uri="{C3380CC4-5D6E-409C-BE32-E72D297353CC}">
                <c16:uniqueId val="{000001F7-4B1F-42FD-9B84-37A75D366F36}"/>
              </c:ext>
            </c:extLst>
          </c:dPt>
          <c:dPt>
            <c:idx val="251"/>
            <c:invertIfNegative val="1"/>
            <c:bubble3D val="0"/>
            <c:spPr>
              <a:solidFill>
                <a:srgbClr val="7ECAC4"/>
              </a:solidFill>
            </c:spPr>
            <c:extLst>
              <c:ext xmlns:c16="http://schemas.microsoft.com/office/drawing/2014/chart" uri="{C3380CC4-5D6E-409C-BE32-E72D297353CC}">
                <c16:uniqueId val="{000001F9-4B1F-42FD-9B84-37A75D366F36}"/>
              </c:ext>
            </c:extLst>
          </c:dPt>
          <c:dPt>
            <c:idx val="252"/>
            <c:invertIfNegative val="1"/>
            <c:bubble3D val="0"/>
            <c:spPr>
              <a:solidFill>
                <a:srgbClr val="7ECAC4"/>
              </a:solidFill>
            </c:spPr>
            <c:extLst>
              <c:ext xmlns:c16="http://schemas.microsoft.com/office/drawing/2014/chart" uri="{C3380CC4-5D6E-409C-BE32-E72D297353CC}">
                <c16:uniqueId val="{000001FB-4B1F-42FD-9B84-37A75D366F36}"/>
              </c:ext>
            </c:extLst>
          </c:dPt>
          <c:dPt>
            <c:idx val="253"/>
            <c:invertIfNegative val="1"/>
            <c:bubble3D val="0"/>
            <c:spPr>
              <a:solidFill>
                <a:srgbClr val="7ECAC4"/>
              </a:solidFill>
            </c:spPr>
            <c:extLst>
              <c:ext xmlns:c16="http://schemas.microsoft.com/office/drawing/2014/chart" uri="{C3380CC4-5D6E-409C-BE32-E72D297353CC}">
                <c16:uniqueId val="{000001FD-4B1F-42FD-9B84-37A75D366F36}"/>
              </c:ext>
            </c:extLst>
          </c:dPt>
          <c:dPt>
            <c:idx val="254"/>
            <c:invertIfNegative val="1"/>
            <c:bubble3D val="0"/>
            <c:spPr>
              <a:solidFill>
                <a:srgbClr val="7ECAC4"/>
              </a:solidFill>
            </c:spPr>
            <c:extLst>
              <c:ext xmlns:c16="http://schemas.microsoft.com/office/drawing/2014/chart" uri="{C3380CC4-5D6E-409C-BE32-E72D297353CC}">
                <c16:uniqueId val="{000001FF-4B1F-42FD-9B84-37A75D366F36}"/>
              </c:ext>
            </c:extLst>
          </c:dPt>
          <c:dPt>
            <c:idx val="255"/>
            <c:invertIfNegative val="1"/>
            <c:bubble3D val="0"/>
            <c:spPr>
              <a:solidFill>
                <a:srgbClr val="7ECAC4"/>
              </a:solidFill>
            </c:spPr>
            <c:extLst>
              <c:ext xmlns:c16="http://schemas.microsoft.com/office/drawing/2014/chart" uri="{C3380CC4-5D6E-409C-BE32-E72D297353CC}">
                <c16:uniqueId val="{00000201-4B1F-42FD-9B84-37A75D366F36}"/>
              </c:ext>
            </c:extLst>
          </c:dPt>
          <c:dPt>
            <c:idx val="256"/>
            <c:invertIfNegative val="1"/>
            <c:bubble3D val="0"/>
            <c:spPr>
              <a:solidFill>
                <a:srgbClr val="7ECAC4"/>
              </a:solidFill>
            </c:spPr>
            <c:extLst>
              <c:ext xmlns:c16="http://schemas.microsoft.com/office/drawing/2014/chart" uri="{C3380CC4-5D6E-409C-BE32-E72D297353CC}">
                <c16:uniqueId val="{00000203-4B1F-42FD-9B84-37A75D366F36}"/>
              </c:ext>
            </c:extLst>
          </c:dPt>
          <c:dPt>
            <c:idx val="257"/>
            <c:invertIfNegative val="1"/>
            <c:bubble3D val="0"/>
            <c:spPr>
              <a:solidFill>
                <a:srgbClr val="7ECAC4"/>
              </a:solidFill>
            </c:spPr>
            <c:extLst>
              <c:ext xmlns:c16="http://schemas.microsoft.com/office/drawing/2014/chart" uri="{C3380CC4-5D6E-409C-BE32-E72D297353CC}">
                <c16:uniqueId val="{00000205-4B1F-42FD-9B84-37A75D366F36}"/>
              </c:ext>
            </c:extLst>
          </c:dPt>
          <c:dPt>
            <c:idx val="258"/>
            <c:invertIfNegative val="1"/>
            <c:bubble3D val="0"/>
            <c:spPr>
              <a:solidFill>
                <a:srgbClr val="7ECAC4"/>
              </a:solidFill>
            </c:spPr>
            <c:extLst>
              <c:ext xmlns:c16="http://schemas.microsoft.com/office/drawing/2014/chart" uri="{C3380CC4-5D6E-409C-BE32-E72D297353CC}">
                <c16:uniqueId val="{00000207-4B1F-42FD-9B84-37A75D366F36}"/>
              </c:ext>
            </c:extLst>
          </c:dPt>
          <c:dPt>
            <c:idx val="259"/>
            <c:invertIfNegative val="1"/>
            <c:bubble3D val="0"/>
            <c:spPr>
              <a:solidFill>
                <a:srgbClr val="7ECAC4"/>
              </a:solidFill>
            </c:spPr>
            <c:extLst>
              <c:ext xmlns:c16="http://schemas.microsoft.com/office/drawing/2014/chart" uri="{C3380CC4-5D6E-409C-BE32-E72D297353CC}">
                <c16:uniqueId val="{00000209-4B1F-42FD-9B84-37A75D366F36}"/>
              </c:ext>
            </c:extLst>
          </c:dPt>
          <c:dPt>
            <c:idx val="260"/>
            <c:invertIfNegative val="1"/>
            <c:bubble3D val="0"/>
            <c:spPr>
              <a:solidFill>
                <a:srgbClr val="7ECAC4"/>
              </a:solidFill>
            </c:spPr>
            <c:extLst>
              <c:ext xmlns:c16="http://schemas.microsoft.com/office/drawing/2014/chart" uri="{C3380CC4-5D6E-409C-BE32-E72D297353CC}">
                <c16:uniqueId val="{0000020B-4B1F-42FD-9B84-37A75D366F36}"/>
              </c:ext>
            </c:extLst>
          </c:dPt>
          <c:dPt>
            <c:idx val="261"/>
            <c:invertIfNegative val="1"/>
            <c:bubble3D val="0"/>
            <c:spPr>
              <a:solidFill>
                <a:srgbClr val="7ECAC4"/>
              </a:solidFill>
            </c:spPr>
            <c:extLst>
              <c:ext xmlns:c16="http://schemas.microsoft.com/office/drawing/2014/chart" uri="{C3380CC4-5D6E-409C-BE32-E72D297353CC}">
                <c16:uniqueId val="{0000020D-4B1F-42FD-9B84-37A75D366F36}"/>
              </c:ext>
            </c:extLst>
          </c:dPt>
          <c:dPt>
            <c:idx val="262"/>
            <c:invertIfNegative val="1"/>
            <c:bubble3D val="0"/>
            <c:spPr>
              <a:solidFill>
                <a:srgbClr val="7ECAC4"/>
              </a:solidFill>
            </c:spPr>
            <c:extLst>
              <c:ext xmlns:c16="http://schemas.microsoft.com/office/drawing/2014/chart" uri="{C3380CC4-5D6E-409C-BE32-E72D297353CC}">
                <c16:uniqueId val="{0000020F-4B1F-42FD-9B84-37A75D366F36}"/>
              </c:ext>
            </c:extLst>
          </c:dPt>
          <c:dPt>
            <c:idx val="263"/>
            <c:invertIfNegative val="1"/>
            <c:bubble3D val="0"/>
            <c:spPr>
              <a:solidFill>
                <a:srgbClr val="7ECAC4"/>
              </a:solidFill>
            </c:spPr>
            <c:extLst>
              <c:ext xmlns:c16="http://schemas.microsoft.com/office/drawing/2014/chart" uri="{C3380CC4-5D6E-409C-BE32-E72D297353CC}">
                <c16:uniqueId val="{00000211-4B1F-42FD-9B84-37A75D366F36}"/>
              </c:ext>
            </c:extLst>
          </c:dPt>
          <c:dPt>
            <c:idx val="264"/>
            <c:invertIfNegative val="1"/>
            <c:bubble3D val="0"/>
            <c:spPr>
              <a:solidFill>
                <a:srgbClr val="7ECAC4"/>
              </a:solidFill>
            </c:spPr>
            <c:extLst>
              <c:ext xmlns:c16="http://schemas.microsoft.com/office/drawing/2014/chart" uri="{C3380CC4-5D6E-409C-BE32-E72D297353CC}">
                <c16:uniqueId val="{00000213-4B1F-42FD-9B84-37A75D366F36}"/>
              </c:ext>
            </c:extLst>
          </c:dPt>
          <c:dPt>
            <c:idx val="265"/>
            <c:invertIfNegative val="1"/>
            <c:bubble3D val="0"/>
            <c:spPr>
              <a:solidFill>
                <a:srgbClr val="7ECAC4"/>
              </a:solidFill>
            </c:spPr>
            <c:extLst>
              <c:ext xmlns:c16="http://schemas.microsoft.com/office/drawing/2014/chart" uri="{C3380CC4-5D6E-409C-BE32-E72D297353CC}">
                <c16:uniqueId val="{00000215-4B1F-42FD-9B84-37A75D366F36}"/>
              </c:ext>
            </c:extLst>
          </c:dPt>
          <c:dPt>
            <c:idx val="266"/>
            <c:invertIfNegative val="1"/>
            <c:bubble3D val="0"/>
            <c:spPr>
              <a:solidFill>
                <a:srgbClr val="7ECAC4"/>
              </a:solidFill>
            </c:spPr>
            <c:extLst>
              <c:ext xmlns:c16="http://schemas.microsoft.com/office/drawing/2014/chart" uri="{C3380CC4-5D6E-409C-BE32-E72D297353CC}">
                <c16:uniqueId val="{00000217-4B1F-42FD-9B84-37A75D366F36}"/>
              </c:ext>
            </c:extLst>
          </c:dPt>
          <c:dPt>
            <c:idx val="267"/>
            <c:invertIfNegative val="1"/>
            <c:bubble3D val="0"/>
            <c:spPr>
              <a:solidFill>
                <a:srgbClr val="7ECAC4"/>
              </a:solidFill>
            </c:spPr>
            <c:extLst>
              <c:ext xmlns:c16="http://schemas.microsoft.com/office/drawing/2014/chart" uri="{C3380CC4-5D6E-409C-BE32-E72D297353CC}">
                <c16:uniqueId val="{00000219-4B1F-42FD-9B84-37A75D366F36}"/>
              </c:ext>
            </c:extLst>
          </c:dPt>
          <c:dPt>
            <c:idx val="268"/>
            <c:invertIfNegative val="1"/>
            <c:bubble3D val="0"/>
            <c:spPr>
              <a:solidFill>
                <a:srgbClr val="7ECAC4"/>
              </a:solidFill>
            </c:spPr>
            <c:extLst>
              <c:ext xmlns:c16="http://schemas.microsoft.com/office/drawing/2014/chart" uri="{C3380CC4-5D6E-409C-BE32-E72D297353CC}">
                <c16:uniqueId val="{0000021B-4B1F-42FD-9B84-37A75D366F36}"/>
              </c:ext>
            </c:extLst>
          </c:dPt>
          <c:dPt>
            <c:idx val="269"/>
            <c:invertIfNegative val="1"/>
            <c:bubble3D val="0"/>
            <c:spPr>
              <a:solidFill>
                <a:srgbClr val="7ECAC4"/>
              </a:solidFill>
            </c:spPr>
            <c:extLst>
              <c:ext xmlns:c16="http://schemas.microsoft.com/office/drawing/2014/chart" uri="{C3380CC4-5D6E-409C-BE32-E72D297353CC}">
                <c16:uniqueId val="{0000021D-4B1F-42FD-9B84-37A75D366F36}"/>
              </c:ext>
            </c:extLst>
          </c:dPt>
          <c:dPt>
            <c:idx val="270"/>
            <c:invertIfNegative val="1"/>
            <c:bubble3D val="0"/>
            <c:spPr>
              <a:solidFill>
                <a:srgbClr val="7ECAC4"/>
              </a:solidFill>
            </c:spPr>
            <c:extLst>
              <c:ext xmlns:c16="http://schemas.microsoft.com/office/drawing/2014/chart" uri="{C3380CC4-5D6E-409C-BE32-E72D297353CC}">
                <c16:uniqueId val="{0000021F-4B1F-42FD-9B84-37A75D366F36}"/>
              </c:ext>
            </c:extLst>
          </c:dPt>
          <c:dPt>
            <c:idx val="271"/>
            <c:invertIfNegative val="1"/>
            <c:bubble3D val="0"/>
            <c:spPr>
              <a:solidFill>
                <a:srgbClr val="7ECAC4"/>
              </a:solidFill>
            </c:spPr>
            <c:extLst>
              <c:ext xmlns:c16="http://schemas.microsoft.com/office/drawing/2014/chart" uri="{C3380CC4-5D6E-409C-BE32-E72D297353CC}">
                <c16:uniqueId val="{00000221-4B1F-42FD-9B84-37A75D366F36}"/>
              </c:ext>
            </c:extLst>
          </c:dPt>
          <c:dPt>
            <c:idx val="272"/>
            <c:invertIfNegative val="1"/>
            <c:bubble3D val="0"/>
            <c:spPr>
              <a:solidFill>
                <a:srgbClr val="7ECAC4"/>
              </a:solidFill>
            </c:spPr>
            <c:extLst>
              <c:ext xmlns:c16="http://schemas.microsoft.com/office/drawing/2014/chart" uri="{C3380CC4-5D6E-409C-BE32-E72D297353CC}">
                <c16:uniqueId val="{00000223-4B1F-42FD-9B84-37A75D366F36}"/>
              </c:ext>
            </c:extLst>
          </c:dPt>
          <c:dPt>
            <c:idx val="273"/>
            <c:invertIfNegative val="1"/>
            <c:bubble3D val="0"/>
            <c:spPr>
              <a:solidFill>
                <a:srgbClr val="7ECAC4"/>
              </a:solidFill>
            </c:spPr>
            <c:extLst>
              <c:ext xmlns:c16="http://schemas.microsoft.com/office/drawing/2014/chart" uri="{C3380CC4-5D6E-409C-BE32-E72D297353CC}">
                <c16:uniqueId val="{00000225-4B1F-42FD-9B84-37A75D366F36}"/>
              </c:ext>
            </c:extLst>
          </c:dPt>
          <c:dPt>
            <c:idx val="274"/>
            <c:invertIfNegative val="1"/>
            <c:bubble3D val="0"/>
            <c:spPr>
              <a:solidFill>
                <a:srgbClr val="7ECAC4"/>
              </a:solidFill>
            </c:spPr>
            <c:extLst>
              <c:ext xmlns:c16="http://schemas.microsoft.com/office/drawing/2014/chart" uri="{C3380CC4-5D6E-409C-BE32-E72D297353CC}">
                <c16:uniqueId val="{00000227-4B1F-42FD-9B84-37A75D366F36}"/>
              </c:ext>
            </c:extLst>
          </c:dPt>
          <c:dPt>
            <c:idx val="275"/>
            <c:invertIfNegative val="1"/>
            <c:bubble3D val="0"/>
            <c:spPr>
              <a:solidFill>
                <a:srgbClr val="7ECAC4"/>
              </a:solidFill>
            </c:spPr>
            <c:extLst>
              <c:ext xmlns:c16="http://schemas.microsoft.com/office/drawing/2014/chart" uri="{C3380CC4-5D6E-409C-BE32-E72D297353CC}">
                <c16:uniqueId val="{00000229-4B1F-42FD-9B84-37A75D366F36}"/>
              </c:ext>
            </c:extLst>
          </c:dPt>
          <c:dPt>
            <c:idx val="276"/>
            <c:invertIfNegative val="1"/>
            <c:bubble3D val="0"/>
            <c:spPr>
              <a:solidFill>
                <a:srgbClr val="7ECAC4"/>
              </a:solidFill>
            </c:spPr>
            <c:extLst>
              <c:ext xmlns:c16="http://schemas.microsoft.com/office/drawing/2014/chart" uri="{C3380CC4-5D6E-409C-BE32-E72D297353CC}">
                <c16:uniqueId val="{0000022B-4B1F-42FD-9B84-37A75D366F36}"/>
              </c:ext>
            </c:extLst>
          </c:dPt>
          <c:dPt>
            <c:idx val="277"/>
            <c:invertIfNegative val="1"/>
            <c:bubble3D val="0"/>
            <c:spPr>
              <a:solidFill>
                <a:srgbClr val="7ECAC4"/>
              </a:solidFill>
            </c:spPr>
            <c:extLst>
              <c:ext xmlns:c16="http://schemas.microsoft.com/office/drawing/2014/chart" uri="{C3380CC4-5D6E-409C-BE32-E72D297353CC}">
                <c16:uniqueId val="{0000022D-4B1F-42FD-9B84-37A75D366F36}"/>
              </c:ext>
            </c:extLst>
          </c:dPt>
          <c:dPt>
            <c:idx val="278"/>
            <c:invertIfNegative val="1"/>
            <c:bubble3D val="0"/>
            <c:spPr>
              <a:solidFill>
                <a:srgbClr val="7ECAC4"/>
              </a:solidFill>
            </c:spPr>
            <c:extLst>
              <c:ext xmlns:c16="http://schemas.microsoft.com/office/drawing/2014/chart" uri="{C3380CC4-5D6E-409C-BE32-E72D297353CC}">
                <c16:uniqueId val="{0000022F-4B1F-42FD-9B84-37A75D366F36}"/>
              </c:ext>
            </c:extLst>
          </c:dPt>
          <c:dPt>
            <c:idx val="279"/>
            <c:invertIfNegative val="1"/>
            <c:bubble3D val="0"/>
            <c:spPr>
              <a:solidFill>
                <a:srgbClr val="7ECAC4"/>
              </a:solidFill>
            </c:spPr>
            <c:extLst>
              <c:ext xmlns:c16="http://schemas.microsoft.com/office/drawing/2014/chart" uri="{C3380CC4-5D6E-409C-BE32-E72D297353CC}">
                <c16:uniqueId val="{00000231-4B1F-42FD-9B84-37A75D366F36}"/>
              </c:ext>
            </c:extLst>
          </c:dPt>
          <c:dPt>
            <c:idx val="280"/>
            <c:invertIfNegative val="1"/>
            <c:bubble3D val="0"/>
            <c:spPr>
              <a:solidFill>
                <a:srgbClr val="7ECAC4"/>
              </a:solidFill>
            </c:spPr>
            <c:extLst>
              <c:ext xmlns:c16="http://schemas.microsoft.com/office/drawing/2014/chart" uri="{C3380CC4-5D6E-409C-BE32-E72D297353CC}">
                <c16:uniqueId val="{00000233-4B1F-42FD-9B84-37A75D366F36}"/>
              </c:ext>
            </c:extLst>
          </c:dPt>
          <c:dPt>
            <c:idx val="281"/>
            <c:invertIfNegative val="1"/>
            <c:bubble3D val="0"/>
            <c:spPr>
              <a:solidFill>
                <a:srgbClr val="7ECAC4"/>
              </a:solidFill>
            </c:spPr>
            <c:extLst>
              <c:ext xmlns:c16="http://schemas.microsoft.com/office/drawing/2014/chart" uri="{C3380CC4-5D6E-409C-BE32-E72D297353CC}">
                <c16:uniqueId val="{00000235-4B1F-42FD-9B84-37A75D366F36}"/>
              </c:ext>
            </c:extLst>
          </c:dPt>
          <c:dPt>
            <c:idx val="282"/>
            <c:invertIfNegative val="1"/>
            <c:bubble3D val="0"/>
            <c:spPr>
              <a:solidFill>
                <a:srgbClr val="7ECAC4"/>
              </a:solidFill>
            </c:spPr>
            <c:extLst>
              <c:ext xmlns:c16="http://schemas.microsoft.com/office/drawing/2014/chart" uri="{C3380CC4-5D6E-409C-BE32-E72D297353CC}">
                <c16:uniqueId val="{00000237-4B1F-42FD-9B84-37A75D366F36}"/>
              </c:ext>
            </c:extLst>
          </c:dPt>
          <c:dPt>
            <c:idx val="283"/>
            <c:invertIfNegative val="1"/>
            <c:bubble3D val="0"/>
            <c:spPr>
              <a:solidFill>
                <a:srgbClr val="7ECAC4"/>
              </a:solidFill>
            </c:spPr>
            <c:extLst>
              <c:ext xmlns:c16="http://schemas.microsoft.com/office/drawing/2014/chart" uri="{C3380CC4-5D6E-409C-BE32-E72D297353CC}">
                <c16:uniqueId val="{00000239-4B1F-42FD-9B84-37A75D366F36}"/>
              </c:ext>
            </c:extLst>
          </c:dPt>
          <c:dPt>
            <c:idx val="284"/>
            <c:invertIfNegative val="1"/>
            <c:bubble3D val="0"/>
            <c:spPr>
              <a:solidFill>
                <a:srgbClr val="7ECAC4"/>
              </a:solidFill>
            </c:spPr>
            <c:extLst>
              <c:ext xmlns:c16="http://schemas.microsoft.com/office/drawing/2014/chart" uri="{C3380CC4-5D6E-409C-BE32-E72D297353CC}">
                <c16:uniqueId val="{0000023B-4B1F-42FD-9B84-37A75D366F36}"/>
              </c:ext>
            </c:extLst>
          </c:dPt>
          <c:dPt>
            <c:idx val="285"/>
            <c:invertIfNegative val="1"/>
            <c:bubble3D val="0"/>
            <c:spPr>
              <a:solidFill>
                <a:srgbClr val="7ECAC4"/>
              </a:solidFill>
            </c:spPr>
            <c:extLst>
              <c:ext xmlns:c16="http://schemas.microsoft.com/office/drawing/2014/chart" uri="{C3380CC4-5D6E-409C-BE32-E72D297353CC}">
                <c16:uniqueId val="{0000023D-4B1F-42FD-9B84-37A75D366F36}"/>
              </c:ext>
            </c:extLst>
          </c:dPt>
          <c:dPt>
            <c:idx val="286"/>
            <c:invertIfNegative val="1"/>
            <c:bubble3D val="0"/>
            <c:spPr>
              <a:solidFill>
                <a:srgbClr val="7ECAC4"/>
              </a:solidFill>
            </c:spPr>
            <c:extLst>
              <c:ext xmlns:c16="http://schemas.microsoft.com/office/drawing/2014/chart" uri="{C3380CC4-5D6E-409C-BE32-E72D297353CC}">
                <c16:uniqueId val="{0000023F-4B1F-42FD-9B84-37A75D366F36}"/>
              </c:ext>
            </c:extLst>
          </c:dPt>
          <c:dPt>
            <c:idx val="287"/>
            <c:invertIfNegative val="1"/>
            <c:bubble3D val="0"/>
            <c:spPr>
              <a:solidFill>
                <a:srgbClr val="7ECAC4"/>
              </a:solidFill>
            </c:spPr>
            <c:extLst>
              <c:ext xmlns:c16="http://schemas.microsoft.com/office/drawing/2014/chart" uri="{C3380CC4-5D6E-409C-BE32-E72D297353CC}">
                <c16:uniqueId val="{00000241-4B1F-42FD-9B84-37A75D366F36}"/>
              </c:ext>
            </c:extLst>
          </c:dPt>
          <c:dPt>
            <c:idx val="288"/>
            <c:invertIfNegative val="1"/>
            <c:bubble3D val="0"/>
            <c:spPr>
              <a:solidFill>
                <a:srgbClr val="7ECAC4"/>
              </a:solidFill>
            </c:spPr>
            <c:extLst>
              <c:ext xmlns:c16="http://schemas.microsoft.com/office/drawing/2014/chart" uri="{C3380CC4-5D6E-409C-BE32-E72D297353CC}">
                <c16:uniqueId val="{00000243-4B1F-42FD-9B84-37A75D366F36}"/>
              </c:ext>
            </c:extLst>
          </c:dPt>
          <c:dPt>
            <c:idx val="289"/>
            <c:invertIfNegative val="1"/>
            <c:bubble3D val="0"/>
            <c:spPr>
              <a:solidFill>
                <a:srgbClr val="7ECAC4"/>
              </a:solidFill>
            </c:spPr>
            <c:extLst>
              <c:ext xmlns:c16="http://schemas.microsoft.com/office/drawing/2014/chart" uri="{C3380CC4-5D6E-409C-BE32-E72D297353CC}">
                <c16:uniqueId val="{00000245-4B1F-42FD-9B84-37A75D366F36}"/>
              </c:ext>
            </c:extLst>
          </c:dPt>
          <c:dPt>
            <c:idx val="290"/>
            <c:invertIfNegative val="1"/>
            <c:bubble3D val="0"/>
            <c:spPr>
              <a:solidFill>
                <a:srgbClr val="7ECAC4"/>
              </a:solidFill>
            </c:spPr>
            <c:extLst>
              <c:ext xmlns:c16="http://schemas.microsoft.com/office/drawing/2014/chart" uri="{C3380CC4-5D6E-409C-BE32-E72D297353CC}">
                <c16:uniqueId val="{00000247-4B1F-42FD-9B84-37A75D366F36}"/>
              </c:ext>
            </c:extLst>
          </c:dPt>
          <c:dPt>
            <c:idx val="291"/>
            <c:invertIfNegative val="1"/>
            <c:bubble3D val="0"/>
            <c:spPr>
              <a:solidFill>
                <a:srgbClr val="7ECAC4"/>
              </a:solidFill>
            </c:spPr>
            <c:extLst>
              <c:ext xmlns:c16="http://schemas.microsoft.com/office/drawing/2014/chart" uri="{C3380CC4-5D6E-409C-BE32-E72D297353CC}">
                <c16:uniqueId val="{00000249-4B1F-42FD-9B84-37A75D366F36}"/>
              </c:ext>
            </c:extLst>
          </c:dPt>
          <c:dPt>
            <c:idx val="292"/>
            <c:invertIfNegative val="1"/>
            <c:bubble3D val="0"/>
            <c:spPr>
              <a:solidFill>
                <a:srgbClr val="7ECAC4"/>
              </a:solidFill>
            </c:spPr>
            <c:extLst>
              <c:ext xmlns:c16="http://schemas.microsoft.com/office/drawing/2014/chart" uri="{C3380CC4-5D6E-409C-BE32-E72D297353CC}">
                <c16:uniqueId val="{0000024B-4B1F-42FD-9B84-37A75D366F36}"/>
              </c:ext>
            </c:extLst>
          </c:dPt>
          <c:dPt>
            <c:idx val="293"/>
            <c:invertIfNegative val="1"/>
            <c:bubble3D val="0"/>
            <c:spPr>
              <a:solidFill>
                <a:srgbClr val="7ECAC4"/>
              </a:solidFill>
            </c:spPr>
            <c:extLst>
              <c:ext xmlns:c16="http://schemas.microsoft.com/office/drawing/2014/chart" uri="{C3380CC4-5D6E-409C-BE32-E72D297353CC}">
                <c16:uniqueId val="{0000024D-4B1F-42FD-9B84-37A75D366F36}"/>
              </c:ext>
            </c:extLst>
          </c:dPt>
          <c:dPt>
            <c:idx val="294"/>
            <c:invertIfNegative val="1"/>
            <c:bubble3D val="0"/>
            <c:spPr>
              <a:solidFill>
                <a:srgbClr val="7ECAC4"/>
              </a:solidFill>
            </c:spPr>
            <c:extLst>
              <c:ext xmlns:c16="http://schemas.microsoft.com/office/drawing/2014/chart" uri="{C3380CC4-5D6E-409C-BE32-E72D297353CC}">
                <c16:uniqueId val="{0000024F-4B1F-42FD-9B84-37A75D366F36}"/>
              </c:ext>
            </c:extLst>
          </c:dPt>
          <c:dPt>
            <c:idx val="295"/>
            <c:invertIfNegative val="1"/>
            <c:bubble3D val="0"/>
            <c:spPr>
              <a:solidFill>
                <a:srgbClr val="7ECAC4"/>
              </a:solidFill>
            </c:spPr>
            <c:extLst>
              <c:ext xmlns:c16="http://schemas.microsoft.com/office/drawing/2014/chart" uri="{C3380CC4-5D6E-409C-BE32-E72D297353CC}">
                <c16:uniqueId val="{00000251-4B1F-42FD-9B84-37A75D366F36}"/>
              </c:ext>
            </c:extLst>
          </c:dPt>
          <c:dPt>
            <c:idx val="296"/>
            <c:invertIfNegative val="1"/>
            <c:bubble3D val="0"/>
            <c:spPr>
              <a:solidFill>
                <a:srgbClr val="7ECAC4"/>
              </a:solidFill>
            </c:spPr>
            <c:extLst>
              <c:ext xmlns:c16="http://schemas.microsoft.com/office/drawing/2014/chart" uri="{C3380CC4-5D6E-409C-BE32-E72D297353CC}">
                <c16:uniqueId val="{00000253-4B1F-42FD-9B84-37A75D366F36}"/>
              </c:ext>
            </c:extLst>
          </c:dPt>
          <c:dPt>
            <c:idx val="297"/>
            <c:invertIfNegative val="1"/>
            <c:bubble3D val="0"/>
            <c:spPr>
              <a:solidFill>
                <a:srgbClr val="7ECAC4"/>
              </a:solidFill>
            </c:spPr>
            <c:extLst>
              <c:ext xmlns:c16="http://schemas.microsoft.com/office/drawing/2014/chart" uri="{C3380CC4-5D6E-409C-BE32-E72D297353CC}">
                <c16:uniqueId val="{00000255-4B1F-42FD-9B84-37A75D366F36}"/>
              </c:ext>
            </c:extLst>
          </c:dPt>
          <c:dPt>
            <c:idx val="298"/>
            <c:invertIfNegative val="1"/>
            <c:bubble3D val="0"/>
            <c:spPr>
              <a:solidFill>
                <a:srgbClr val="7ECAC4"/>
              </a:solidFill>
            </c:spPr>
            <c:extLst>
              <c:ext xmlns:c16="http://schemas.microsoft.com/office/drawing/2014/chart" uri="{C3380CC4-5D6E-409C-BE32-E72D297353CC}">
                <c16:uniqueId val="{00000257-4B1F-42FD-9B84-37A75D366F36}"/>
              </c:ext>
            </c:extLst>
          </c:dPt>
          <c:dPt>
            <c:idx val="299"/>
            <c:invertIfNegative val="1"/>
            <c:bubble3D val="0"/>
            <c:spPr>
              <a:solidFill>
                <a:srgbClr val="7ECAC4"/>
              </a:solidFill>
            </c:spPr>
            <c:extLst>
              <c:ext xmlns:c16="http://schemas.microsoft.com/office/drawing/2014/chart" uri="{C3380CC4-5D6E-409C-BE32-E72D297353CC}">
                <c16:uniqueId val="{00000259-4B1F-42FD-9B84-37A75D366F36}"/>
              </c:ext>
            </c:extLst>
          </c:dPt>
          <c:dPt>
            <c:idx val="300"/>
            <c:invertIfNegative val="1"/>
            <c:bubble3D val="0"/>
            <c:spPr>
              <a:solidFill>
                <a:srgbClr val="7ECAC4"/>
              </a:solidFill>
            </c:spPr>
            <c:extLst>
              <c:ext xmlns:c16="http://schemas.microsoft.com/office/drawing/2014/chart" uri="{C3380CC4-5D6E-409C-BE32-E72D297353CC}">
                <c16:uniqueId val="{0000025B-4B1F-42FD-9B84-37A75D366F36}"/>
              </c:ext>
            </c:extLst>
          </c:dPt>
          <c:dPt>
            <c:idx val="301"/>
            <c:invertIfNegative val="1"/>
            <c:bubble3D val="0"/>
            <c:spPr>
              <a:solidFill>
                <a:srgbClr val="7ECAC4"/>
              </a:solidFill>
            </c:spPr>
            <c:extLst>
              <c:ext xmlns:c16="http://schemas.microsoft.com/office/drawing/2014/chart" uri="{C3380CC4-5D6E-409C-BE32-E72D297353CC}">
                <c16:uniqueId val="{0000025D-4B1F-42FD-9B84-37A75D366F36}"/>
              </c:ext>
            </c:extLst>
          </c:dPt>
          <c:dPt>
            <c:idx val="302"/>
            <c:invertIfNegative val="1"/>
            <c:bubble3D val="0"/>
            <c:spPr>
              <a:solidFill>
                <a:srgbClr val="7ECAC4"/>
              </a:solidFill>
            </c:spPr>
            <c:extLst>
              <c:ext xmlns:c16="http://schemas.microsoft.com/office/drawing/2014/chart" uri="{C3380CC4-5D6E-409C-BE32-E72D297353CC}">
                <c16:uniqueId val="{0000025F-4B1F-42FD-9B84-37A75D366F36}"/>
              </c:ext>
            </c:extLst>
          </c:dPt>
          <c:dPt>
            <c:idx val="303"/>
            <c:invertIfNegative val="1"/>
            <c:bubble3D val="0"/>
            <c:spPr>
              <a:solidFill>
                <a:srgbClr val="7ECAC4"/>
              </a:solidFill>
            </c:spPr>
            <c:extLst>
              <c:ext xmlns:c16="http://schemas.microsoft.com/office/drawing/2014/chart" uri="{C3380CC4-5D6E-409C-BE32-E72D297353CC}">
                <c16:uniqueId val="{00000261-4B1F-42FD-9B84-37A75D366F36}"/>
              </c:ext>
            </c:extLst>
          </c:dPt>
          <c:dPt>
            <c:idx val="304"/>
            <c:invertIfNegative val="1"/>
            <c:bubble3D val="0"/>
            <c:spPr>
              <a:solidFill>
                <a:srgbClr val="7ECAC4"/>
              </a:solidFill>
            </c:spPr>
            <c:extLst>
              <c:ext xmlns:c16="http://schemas.microsoft.com/office/drawing/2014/chart" uri="{C3380CC4-5D6E-409C-BE32-E72D297353CC}">
                <c16:uniqueId val="{00000263-4B1F-42FD-9B84-37A75D366F36}"/>
              </c:ext>
            </c:extLst>
          </c:dPt>
          <c:dPt>
            <c:idx val="305"/>
            <c:invertIfNegative val="1"/>
            <c:bubble3D val="0"/>
            <c:spPr>
              <a:solidFill>
                <a:srgbClr val="7ECAC4"/>
              </a:solidFill>
            </c:spPr>
            <c:extLst>
              <c:ext xmlns:c16="http://schemas.microsoft.com/office/drawing/2014/chart" uri="{C3380CC4-5D6E-409C-BE32-E72D297353CC}">
                <c16:uniqueId val="{00000265-4B1F-42FD-9B84-37A75D366F36}"/>
              </c:ext>
            </c:extLst>
          </c:dPt>
          <c:dPt>
            <c:idx val="306"/>
            <c:invertIfNegative val="1"/>
            <c:bubble3D val="0"/>
            <c:spPr>
              <a:solidFill>
                <a:srgbClr val="7ECAC4"/>
              </a:solidFill>
            </c:spPr>
            <c:extLst>
              <c:ext xmlns:c16="http://schemas.microsoft.com/office/drawing/2014/chart" uri="{C3380CC4-5D6E-409C-BE32-E72D297353CC}">
                <c16:uniqueId val="{00000267-4B1F-42FD-9B84-37A75D366F36}"/>
              </c:ext>
            </c:extLst>
          </c:dPt>
          <c:dPt>
            <c:idx val="307"/>
            <c:invertIfNegative val="1"/>
            <c:bubble3D val="0"/>
            <c:spPr>
              <a:solidFill>
                <a:srgbClr val="7ECAC4"/>
              </a:solidFill>
            </c:spPr>
            <c:extLst>
              <c:ext xmlns:c16="http://schemas.microsoft.com/office/drawing/2014/chart" uri="{C3380CC4-5D6E-409C-BE32-E72D297353CC}">
                <c16:uniqueId val="{00000269-4B1F-42FD-9B84-37A75D366F36}"/>
              </c:ext>
            </c:extLst>
          </c:dPt>
          <c:dPt>
            <c:idx val="308"/>
            <c:invertIfNegative val="1"/>
            <c:bubble3D val="0"/>
            <c:spPr>
              <a:solidFill>
                <a:srgbClr val="7ECAC4"/>
              </a:solidFill>
            </c:spPr>
            <c:extLst>
              <c:ext xmlns:c16="http://schemas.microsoft.com/office/drawing/2014/chart" uri="{C3380CC4-5D6E-409C-BE32-E72D297353CC}">
                <c16:uniqueId val="{0000026B-4B1F-42FD-9B84-37A75D366F36}"/>
              </c:ext>
            </c:extLst>
          </c:dPt>
          <c:dPt>
            <c:idx val="309"/>
            <c:invertIfNegative val="1"/>
            <c:bubble3D val="0"/>
            <c:spPr>
              <a:solidFill>
                <a:srgbClr val="7ECAC4"/>
              </a:solidFill>
            </c:spPr>
            <c:extLst>
              <c:ext xmlns:c16="http://schemas.microsoft.com/office/drawing/2014/chart" uri="{C3380CC4-5D6E-409C-BE32-E72D297353CC}">
                <c16:uniqueId val="{0000026D-4B1F-42FD-9B84-37A75D366F36}"/>
              </c:ext>
            </c:extLst>
          </c:dPt>
          <c:dPt>
            <c:idx val="310"/>
            <c:invertIfNegative val="1"/>
            <c:bubble3D val="0"/>
            <c:spPr>
              <a:solidFill>
                <a:srgbClr val="7ECAC4"/>
              </a:solidFill>
            </c:spPr>
            <c:extLst>
              <c:ext xmlns:c16="http://schemas.microsoft.com/office/drawing/2014/chart" uri="{C3380CC4-5D6E-409C-BE32-E72D297353CC}">
                <c16:uniqueId val="{0000026F-4B1F-42FD-9B84-37A75D366F36}"/>
              </c:ext>
            </c:extLst>
          </c:dPt>
          <c:dPt>
            <c:idx val="311"/>
            <c:invertIfNegative val="1"/>
            <c:bubble3D val="0"/>
            <c:spPr>
              <a:solidFill>
                <a:srgbClr val="7ECAC4"/>
              </a:solidFill>
            </c:spPr>
            <c:extLst>
              <c:ext xmlns:c16="http://schemas.microsoft.com/office/drawing/2014/chart" uri="{C3380CC4-5D6E-409C-BE32-E72D297353CC}">
                <c16:uniqueId val="{00000271-4B1F-42FD-9B84-37A75D366F36}"/>
              </c:ext>
            </c:extLst>
          </c:dPt>
          <c:dPt>
            <c:idx val="312"/>
            <c:invertIfNegative val="1"/>
            <c:bubble3D val="0"/>
            <c:spPr>
              <a:solidFill>
                <a:srgbClr val="7ECAC4"/>
              </a:solidFill>
            </c:spPr>
            <c:extLst>
              <c:ext xmlns:c16="http://schemas.microsoft.com/office/drawing/2014/chart" uri="{C3380CC4-5D6E-409C-BE32-E72D297353CC}">
                <c16:uniqueId val="{00000273-4B1F-42FD-9B84-37A75D366F36}"/>
              </c:ext>
            </c:extLst>
          </c:dPt>
          <c:dPt>
            <c:idx val="313"/>
            <c:invertIfNegative val="1"/>
            <c:bubble3D val="0"/>
            <c:spPr>
              <a:solidFill>
                <a:srgbClr val="7ECAC4"/>
              </a:solidFill>
            </c:spPr>
            <c:extLst>
              <c:ext xmlns:c16="http://schemas.microsoft.com/office/drawing/2014/chart" uri="{C3380CC4-5D6E-409C-BE32-E72D297353CC}">
                <c16:uniqueId val="{00000275-4B1F-42FD-9B84-37A75D366F36}"/>
              </c:ext>
            </c:extLst>
          </c:dPt>
          <c:dPt>
            <c:idx val="314"/>
            <c:invertIfNegative val="1"/>
            <c:bubble3D val="0"/>
            <c:spPr>
              <a:solidFill>
                <a:srgbClr val="7ECAC4"/>
              </a:solidFill>
            </c:spPr>
            <c:extLst>
              <c:ext xmlns:c16="http://schemas.microsoft.com/office/drawing/2014/chart" uri="{C3380CC4-5D6E-409C-BE32-E72D297353CC}">
                <c16:uniqueId val="{00000277-4B1F-42FD-9B84-37A75D366F36}"/>
              </c:ext>
            </c:extLst>
          </c:dPt>
          <c:dPt>
            <c:idx val="315"/>
            <c:invertIfNegative val="1"/>
            <c:bubble3D val="0"/>
            <c:spPr>
              <a:solidFill>
                <a:srgbClr val="7ECAC4"/>
              </a:solidFill>
            </c:spPr>
            <c:extLst>
              <c:ext xmlns:c16="http://schemas.microsoft.com/office/drawing/2014/chart" uri="{C3380CC4-5D6E-409C-BE32-E72D297353CC}">
                <c16:uniqueId val="{00000279-4B1F-42FD-9B84-37A75D366F36}"/>
              </c:ext>
            </c:extLst>
          </c:dPt>
          <c:dPt>
            <c:idx val="316"/>
            <c:invertIfNegative val="1"/>
            <c:bubble3D val="0"/>
            <c:spPr>
              <a:solidFill>
                <a:srgbClr val="7ECAC4"/>
              </a:solidFill>
            </c:spPr>
            <c:extLst>
              <c:ext xmlns:c16="http://schemas.microsoft.com/office/drawing/2014/chart" uri="{C3380CC4-5D6E-409C-BE32-E72D297353CC}">
                <c16:uniqueId val="{0000027B-4B1F-42FD-9B84-37A75D366F36}"/>
              </c:ext>
            </c:extLst>
          </c:dPt>
          <c:dPt>
            <c:idx val="317"/>
            <c:invertIfNegative val="1"/>
            <c:bubble3D val="0"/>
            <c:spPr>
              <a:solidFill>
                <a:srgbClr val="7ECAC4"/>
              </a:solidFill>
            </c:spPr>
            <c:extLst>
              <c:ext xmlns:c16="http://schemas.microsoft.com/office/drawing/2014/chart" uri="{C3380CC4-5D6E-409C-BE32-E72D297353CC}">
                <c16:uniqueId val="{0000027D-4B1F-42FD-9B84-37A75D366F36}"/>
              </c:ext>
            </c:extLst>
          </c:dPt>
          <c:dPt>
            <c:idx val="318"/>
            <c:invertIfNegative val="1"/>
            <c:bubble3D val="0"/>
            <c:spPr>
              <a:solidFill>
                <a:srgbClr val="7ECAC4"/>
              </a:solidFill>
            </c:spPr>
            <c:extLst>
              <c:ext xmlns:c16="http://schemas.microsoft.com/office/drawing/2014/chart" uri="{C3380CC4-5D6E-409C-BE32-E72D297353CC}">
                <c16:uniqueId val="{0000027F-4B1F-42FD-9B84-37A75D366F36}"/>
              </c:ext>
            </c:extLst>
          </c:dPt>
          <c:dPt>
            <c:idx val="319"/>
            <c:invertIfNegative val="1"/>
            <c:bubble3D val="0"/>
            <c:spPr>
              <a:solidFill>
                <a:srgbClr val="7ECAC4"/>
              </a:solidFill>
            </c:spPr>
            <c:extLst>
              <c:ext xmlns:c16="http://schemas.microsoft.com/office/drawing/2014/chart" uri="{C3380CC4-5D6E-409C-BE32-E72D297353CC}">
                <c16:uniqueId val="{00000281-4B1F-42FD-9B84-37A75D366F36}"/>
              </c:ext>
            </c:extLst>
          </c:dPt>
          <c:dPt>
            <c:idx val="320"/>
            <c:invertIfNegative val="1"/>
            <c:bubble3D val="0"/>
            <c:spPr>
              <a:solidFill>
                <a:srgbClr val="7ECAC4"/>
              </a:solidFill>
            </c:spPr>
            <c:extLst>
              <c:ext xmlns:c16="http://schemas.microsoft.com/office/drawing/2014/chart" uri="{C3380CC4-5D6E-409C-BE32-E72D297353CC}">
                <c16:uniqueId val="{00000283-4B1F-42FD-9B84-37A75D366F36}"/>
              </c:ext>
            </c:extLst>
          </c:dPt>
          <c:dPt>
            <c:idx val="321"/>
            <c:invertIfNegative val="1"/>
            <c:bubble3D val="0"/>
            <c:spPr>
              <a:solidFill>
                <a:srgbClr val="7ECAC4"/>
              </a:solidFill>
            </c:spPr>
            <c:extLst>
              <c:ext xmlns:c16="http://schemas.microsoft.com/office/drawing/2014/chart" uri="{C3380CC4-5D6E-409C-BE32-E72D297353CC}">
                <c16:uniqueId val="{00000285-4B1F-42FD-9B84-37A75D366F36}"/>
              </c:ext>
            </c:extLst>
          </c:dPt>
          <c:dPt>
            <c:idx val="322"/>
            <c:invertIfNegative val="1"/>
            <c:bubble3D val="0"/>
            <c:spPr>
              <a:solidFill>
                <a:srgbClr val="7ECAC4"/>
              </a:solidFill>
            </c:spPr>
            <c:extLst>
              <c:ext xmlns:c16="http://schemas.microsoft.com/office/drawing/2014/chart" uri="{C3380CC4-5D6E-409C-BE32-E72D297353CC}">
                <c16:uniqueId val="{00000287-4B1F-42FD-9B84-37A75D366F36}"/>
              </c:ext>
            </c:extLst>
          </c:dPt>
          <c:dPt>
            <c:idx val="323"/>
            <c:invertIfNegative val="1"/>
            <c:bubble3D val="0"/>
            <c:spPr>
              <a:solidFill>
                <a:srgbClr val="7ECAC4"/>
              </a:solidFill>
            </c:spPr>
            <c:extLst>
              <c:ext xmlns:c16="http://schemas.microsoft.com/office/drawing/2014/chart" uri="{C3380CC4-5D6E-409C-BE32-E72D297353CC}">
                <c16:uniqueId val="{00000289-4B1F-42FD-9B84-37A75D366F36}"/>
              </c:ext>
            </c:extLst>
          </c:dPt>
          <c:dPt>
            <c:idx val="324"/>
            <c:invertIfNegative val="1"/>
            <c:bubble3D val="0"/>
            <c:spPr>
              <a:solidFill>
                <a:srgbClr val="7ECAC4"/>
              </a:solidFill>
            </c:spPr>
            <c:extLst>
              <c:ext xmlns:c16="http://schemas.microsoft.com/office/drawing/2014/chart" uri="{C3380CC4-5D6E-409C-BE32-E72D297353CC}">
                <c16:uniqueId val="{0000028B-4B1F-42FD-9B84-37A75D366F36}"/>
              </c:ext>
            </c:extLst>
          </c:dPt>
          <c:dPt>
            <c:idx val="325"/>
            <c:invertIfNegative val="1"/>
            <c:bubble3D val="0"/>
            <c:spPr>
              <a:solidFill>
                <a:srgbClr val="7ECAC4"/>
              </a:solidFill>
            </c:spPr>
            <c:extLst>
              <c:ext xmlns:c16="http://schemas.microsoft.com/office/drawing/2014/chart" uri="{C3380CC4-5D6E-409C-BE32-E72D297353CC}">
                <c16:uniqueId val="{0000028D-4B1F-42FD-9B84-37A75D366F36}"/>
              </c:ext>
            </c:extLst>
          </c:dPt>
          <c:dPt>
            <c:idx val="326"/>
            <c:invertIfNegative val="1"/>
            <c:bubble3D val="0"/>
            <c:spPr>
              <a:solidFill>
                <a:srgbClr val="7ECAC4"/>
              </a:solidFill>
            </c:spPr>
            <c:extLst>
              <c:ext xmlns:c16="http://schemas.microsoft.com/office/drawing/2014/chart" uri="{C3380CC4-5D6E-409C-BE32-E72D297353CC}">
                <c16:uniqueId val="{0000028F-4B1F-42FD-9B84-37A75D366F36}"/>
              </c:ext>
            </c:extLst>
          </c:dPt>
          <c:dPt>
            <c:idx val="327"/>
            <c:invertIfNegative val="1"/>
            <c:bubble3D val="0"/>
            <c:spPr>
              <a:solidFill>
                <a:srgbClr val="7ECAC4"/>
              </a:solidFill>
            </c:spPr>
            <c:extLst>
              <c:ext xmlns:c16="http://schemas.microsoft.com/office/drawing/2014/chart" uri="{C3380CC4-5D6E-409C-BE32-E72D297353CC}">
                <c16:uniqueId val="{00000291-4B1F-42FD-9B84-37A75D366F36}"/>
              </c:ext>
            </c:extLst>
          </c:dPt>
          <c:dPt>
            <c:idx val="328"/>
            <c:invertIfNegative val="1"/>
            <c:bubble3D val="0"/>
            <c:spPr>
              <a:solidFill>
                <a:srgbClr val="7ECAC4"/>
              </a:solidFill>
            </c:spPr>
            <c:extLst>
              <c:ext xmlns:c16="http://schemas.microsoft.com/office/drawing/2014/chart" uri="{C3380CC4-5D6E-409C-BE32-E72D297353CC}">
                <c16:uniqueId val="{00000293-4B1F-42FD-9B84-37A75D366F36}"/>
              </c:ext>
            </c:extLst>
          </c:dPt>
          <c:dPt>
            <c:idx val="329"/>
            <c:invertIfNegative val="1"/>
            <c:bubble3D val="0"/>
            <c:spPr>
              <a:solidFill>
                <a:srgbClr val="7ECAC4"/>
              </a:solidFill>
            </c:spPr>
            <c:extLst>
              <c:ext xmlns:c16="http://schemas.microsoft.com/office/drawing/2014/chart" uri="{C3380CC4-5D6E-409C-BE32-E72D297353CC}">
                <c16:uniqueId val="{00000295-4B1F-42FD-9B84-37A75D366F36}"/>
              </c:ext>
            </c:extLst>
          </c:dPt>
          <c:dPt>
            <c:idx val="330"/>
            <c:invertIfNegative val="1"/>
            <c:bubble3D val="0"/>
            <c:spPr>
              <a:solidFill>
                <a:srgbClr val="7ECAC4"/>
              </a:solidFill>
            </c:spPr>
            <c:extLst>
              <c:ext xmlns:c16="http://schemas.microsoft.com/office/drawing/2014/chart" uri="{C3380CC4-5D6E-409C-BE32-E72D297353CC}">
                <c16:uniqueId val="{00000297-4B1F-42FD-9B84-37A75D366F36}"/>
              </c:ext>
            </c:extLst>
          </c:dPt>
          <c:dPt>
            <c:idx val="331"/>
            <c:invertIfNegative val="1"/>
            <c:bubble3D val="0"/>
            <c:spPr>
              <a:solidFill>
                <a:srgbClr val="7ECAC4"/>
              </a:solidFill>
            </c:spPr>
            <c:extLst>
              <c:ext xmlns:c16="http://schemas.microsoft.com/office/drawing/2014/chart" uri="{C3380CC4-5D6E-409C-BE32-E72D297353CC}">
                <c16:uniqueId val="{00000299-4B1F-42FD-9B84-37A75D366F36}"/>
              </c:ext>
            </c:extLst>
          </c:dPt>
          <c:dPt>
            <c:idx val="332"/>
            <c:invertIfNegative val="1"/>
            <c:bubble3D val="0"/>
            <c:spPr>
              <a:solidFill>
                <a:srgbClr val="7ECAC4"/>
              </a:solidFill>
            </c:spPr>
            <c:extLst>
              <c:ext xmlns:c16="http://schemas.microsoft.com/office/drawing/2014/chart" uri="{C3380CC4-5D6E-409C-BE32-E72D297353CC}">
                <c16:uniqueId val="{0000029B-4B1F-42FD-9B84-37A75D366F36}"/>
              </c:ext>
            </c:extLst>
          </c:dPt>
          <c:dPt>
            <c:idx val="333"/>
            <c:invertIfNegative val="1"/>
            <c:bubble3D val="0"/>
            <c:spPr>
              <a:solidFill>
                <a:srgbClr val="7ECAC4"/>
              </a:solidFill>
            </c:spPr>
            <c:extLst>
              <c:ext xmlns:c16="http://schemas.microsoft.com/office/drawing/2014/chart" uri="{C3380CC4-5D6E-409C-BE32-E72D297353CC}">
                <c16:uniqueId val="{0000029D-4B1F-42FD-9B84-37A75D366F36}"/>
              </c:ext>
            </c:extLst>
          </c:dPt>
          <c:dPt>
            <c:idx val="334"/>
            <c:invertIfNegative val="1"/>
            <c:bubble3D val="0"/>
            <c:spPr>
              <a:solidFill>
                <a:srgbClr val="7ECAC4"/>
              </a:solidFill>
            </c:spPr>
            <c:extLst>
              <c:ext xmlns:c16="http://schemas.microsoft.com/office/drawing/2014/chart" uri="{C3380CC4-5D6E-409C-BE32-E72D297353CC}">
                <c16:uniqueId val="{0000029F-4B1F-42FD-9B84-37A75D366F36}"/>
              </c:ext>
            </c:extLst>
          </c:dPt>
          <c:dPt>
            <c:idx val="335"/>
            <c:invertIfNegative val="1"/>
            <c:bubble3D val="0"/>
            <c:spPr>
              <a:solidFill>
                <a:srgbClr val="7ECAC4"/>
              </a:solidFill>
            </c:spPr>
            <c:extLst>
              <c:ext xmlns:c16="http://schemas.microsoft.com/office/drawing/2014/chart" uri="{C3380CC4-5D6E-409C-BE32-E72D297353CC}">
                <c16:uniqueId val="{000002A1-4B1F-42FD-9B84-37A75D366F36}"/>
              </c:ext>
            </c:extLst>
          </c:dPt>
          <c:dPt>
            <c:idx val="336"/>
            <c:invertIfNegative val="1"/>
            <c:bubble3D val="0"/>
            <c:spPr>
              <a:solidFill>
                <a:srgbClr val="7ECAC4"/>
              </a:solidFill>
            </c:spPr>
            <c:extLst>
              <c:ext xmlns:c16="http://schemas.microsoft.com/office/drawing/2014/chart" uri="{C3380CC4-5D6E-409C-BE32-E72D297353CC}">
                <c16:uniqueId val="{000002A3-4B1F-42FD-9B84-37A75D366F36}"/>
              </c:ext>
            </c:extLst>
          </c:dPt>
          <c:dPt>
            <c:idx val="337"/>
            <c:invertIfNegative val="1"/>
            <c:bubble3D val="0"/>
            <c:spPr>
              <a:solidFill>
                <a:srgbClr val="7ECAC4"/>
              </a:solidFill>
            </c:spPr>
            <c:extLst>
              <c:ext xmlns:c16="http://schemas.microsoft.com/office/drawing/2014/chart" uri="{C3380CC4-5D6E-409C-BE32-E72D297353CC}">
                <c16:uniqueId val="{000002A5-4B1F-42FD-9B84-37A75D366F36}"/>
              </c:ext>
            </c:extLst>
          </c:dPt>
          <c:dPt>
            <c:idx val="338"/>
            <c:invertIfNegative val="1"/>
            <c:bubble3D val="0"/>
            <c:spPr>
              <a:solidFill>
                <a:srgbClr val="7ECAC4"/>
              </a:solidFill>
            </c:spPr>
            <c:extLst>
              <c:ext xmlns:c16="http://schemas.microsoft.com/office/drawing/2014/chart" uri="{C3380CC4-5D6E-409C-BE32-E72D297353CC}">
                <c16:uniqueId val="{000002A7-4B1F-42FD-9B84-37A75D366F36}"/>
              </c:ext>
            </c:extLst>
          </c:dPt>
          <c:dPt>
            <c:idx val="339"/>
            <c:invertIfNegative val="1"/>
            <c:bubble3D val="0"/>
            <c:spPr>
              <a:solidFill>
                <a:srgbClr val="7ECAC4"/>
              </a:solidFill>
            </c:spPr>
            <c:extLst>
              <c:ext xmlns:c16="http://schemas.microsoft.com/office/drawing/2014/chart" uri="{C3380CC4-5D6E-409C-BE32-E72D297353CC}">
                <c16:uniqueId val="{000002A9-4B1F-42FD-9B84-37A75D366F36}"/>
              </c:ext>
            </c:extLst>
          </c:dPt>
          <c:dPt>
            <c:idx val="340"/>
            <c:invertIfNegative val="1"/>
            <c:bubble3D val="0"/>
            <c:spPr>
              <a:solidFill>
                <a:srgbClr val="7ECAC4"/>
              </a:solidFill>
            </c:spPr>
            <c:extLst>
              <c:ext xmlns:c16="http://schemas.microsoft.com/office/drawing/2014/chart" uri="{C3380CC4-5D6E-409C-BE32-E72D297353CC}">
                <c16:uniqueId val="{000002AB-4B1F-42FD-9B84-37A75D366F36}"/>
              </c:ext>
            </c:extLst>
          </c:dPt>
          <c:dPt>
            <c:idx val="341"/>
            <c:invertIfNegative val="1"/>
            <c:bubble3D val="0"/>
            <c:spPr>
              <a:solidFill>
                <a:srgbClr val="7ECAC4"/>
              </a:solidFill>
            </c:spPr>
            <c:extLst>
              <c:ext xmlns:c16="http://schemas.microsoft.com/office/drawing/2014/chart" uri="{C3380CC4-5D6E-409C-BE32-E72D297353CC}">
                <c16:uniqueId val="{000002AD-4B1F-42FD-9B84-37A75D366F36}"/>
              </c:ext>
            </c:extLst>
          </c:dPt>
          <c:dPt>
            <c:idx val="342"/>
            <c:invertIfNegative val="1"/>
            <c:bubble3D val="0"/>
            <c:spPr>
              <a:solidFill>
                <a:srgbClr val="7ECAC4"/>
              </a:solidFill>
            </c:spPr>
            <c:extLst>
              <c:ext xmlns:c16="http://schemas.microsoft.com/office/drawing/2014/chart" uri="{C3380CC4-5D6E-409C-BE32-E72D297353CC}">
                <c16:uniqueId val="{000002AF-4B1F-42FD-9B84-37A75D366F36}"/>
              </c:ext>
            </c:extLst>
          </c:dPt>
          <c:dPt>
            <c:idx val="343"/>
            <c:invertIfNegative val="1"/>
            <c:bubble3D val="0"/>
            <c:spPr>
              <a:solidFill>
                <a:srgbClr val="7ECAC4"/>
              </a:solidFill>
            </c:spPr>
            <c:extLst>
              <c:ext xmlns:c16="http://schemas.microsoft.com/office/drawing/2014/chart" uri="{C3380CC4-5D6E-409C-BE32-E72D297353CC}">
                <c16:uniqueId val="{000002B1-4B1F-42FD-9B84-37A75D366F36}"/>
              </c:ext>
            </c:extLst>
          </c:dPt>
          <c:dPt>
            <c:idx val="344"/>
            <c:invertIfNegative val="1"/>
            <c:bubble3D val="0"/>
            <c:spPr>
              <a:solidFill>
                <a:srgbClr val="7ECAC4"/>
              </a:solidFill>
            </c:spPr>
            <c:extLst>
              <c:ext xmlns:c16="http://schemas.microsoft.com/office/drawing/2014/chart" uri="{C3380CC4-5D6E-409C-BE32-E72D297353CC}">
                <c16:uniqueId val="{000002B3-4B1F-42FD-9B84-37A75D366F36}"/>
              </c:ext>
            </c:extLst>
          </c:dPt>
          <c:dPt>
            <c:idx val="345"/>
            <c:invertIfNegative val="1"/>
            <c:bubble3D val="0"/>
            <c:spPr>
              <a:solidFill>
                <a:srgbClr val="7ECAC4"/>
              </a:solidFill>
            </c:spPr>
            <c:extLst>
              <c:ext xmlns:c16="http://schemas.microsoft.com/office/drawing/2014/chart" uri="{C3380CC4-5D6E-409C-BE32-E72D297353CC}">
                <c16:uniqueId val="{000002B5-4B1F-42FD-9B84-37A75D366F36}"/>
              </c:ext>
            </c:extLst>
          </c:dPt>
          <c:dPt>
            <c:idx val="346"/>
            <c:invertIfNegative val="1"/>
            <c:bubble3D val="0"/>
            <c:spPr>
              <a:solidFill>
                <a:srgbClr val="7ECAC4"/>
              </a:solidFill>
            </c:spPr>
            <c:extLst>
              <c:ext xmlns:c16="http://schemas.microsoft.com/office/drawing/2014/chart" uri="{C3380CC4-5D6E-409C-BE32-E72D297353CC}">
                <c16:uniqueId val="{000002B7-4B1F-42FD-9B84-37A75D366F36}"/>
              </c:ext>
            </c:extLst>
          </c:dPt>
          <c:dPt>
            <c:idx val="347"/>
            <c:invertIfNegative val="1"/>
            <c:bubble3D val="0"/>
            <c:spPr>
              <a:solidFill>
                <a:srgbClr val="7ECAC4"/>
              </a:solidFill>
            </c:spPr>
            <c:extLst>
              <c:ext xmlns:c16="http://schemas.microsoft.com/office/drawing/2014/chart" uri="{C3380CC4-5D6E-409C-BE32-E72D297353CC}">
                <c16:uniqueId val="{000002B9-4B1F-42FD-9B84-37A75D366F36}"/>
              </c:ext>
            </c:extLst>
          </c:dPt>
          <c:dPt>
            <c:idx val="348"/>
            <c:invertIfNegative val="1"/>
            <c:bubble3D val="0"/>
            <c:spPr>
              <a:solidFill>
                <a:srgbClr val="7ECAC4"/>
              </a:solidFill>
            </c:spPr>
            <c:extLst>
              <c:ext xmlns:c16="http://schemas.microsoft.com/office/drawing/2014/chart" uri="{C3380CC4-5D6E-409C-BE32-E72D297353CC}">
                <c16:uniqueId val="{000002BB-4B1F-42FD-9B84-37A75D366F36}"/>
              </c:ext>
            </c:extLst>
          </c:dPt>
          <c:dPt>
            <c:idx val="349"/>
            <c:invertIfNegative val="1"/>
            <c:bubble3D val="0"/>
            <c:spPr>
              <a:solidFill>
                <a:srgbClr val="7ECAC4"/>
              </a:solidFill>
            </c:spPr>
            <c:extLst>
              <c:ext xmlns:c16="http://schemas.microsoft.com/office/drawing/2014/chart" uri="{C3380CC4-5D6E-409C-BE32-E72D297353CC}">
                <c16:uniqueId val="{000002BD-4B1F-42FD-9B84-37A75D366F36}"/>
              </c:ext>
            </c:extLst>
          </c:dPt>
          <c:dPt>
            <c:idx val="350"/>
            <c:invertIfNegative val="1"/>
            <c:bubble3D val="0"/>
            <c:spPr>
              <a:solidFill>
                <a:srgbClr val="7ECAC4"/>
              </a:solidFill>
            </c:spPr>
            <c:extLst>
              <c:ext xmlns:c16="http://schemas.microsoft.com/office/drawing/2014/chart" uri="{C3380CC4-5D6E-409C-BE32-E72D297353CC}">
                <c16:uniqueId val="{000002BF-4B1F-42FD-9B84-37A75D366F36}"/>
              </c:ext>
            </c:extLst>
          </c:dPt>
          <c:dPt>
            <c:idx val="351"/>
            <c:invertIfNegative val="1"/>
            <c:bubble3D val="0"/>
            <c:spPr>
              <a:solidFill>
                <a:srgbClr val="7ECAC4"/>
              </a:solidFill>
            </c:spPr>
            <c:extLst>
              <c:ext xmlns:c16="http://schemas.microsoft.com/office/drawing/2014/chart" uri="{C3380CC4-5D6E-409C-BE32-E72D297353CC}">
                <c16:uniqueId val="{000002C1-4B1F-42FD-9B84-37A75D366F36}"/>
              </c:ext>
            </c:extLst>
          </c:dPt>
          <c:dPt>
            <c:idx val="352"/>
            <c:invertIfNegative val="1"/>
            <c:bubble3D val="0"/>
            <c:spPr>
              <a:solidFill>
                <a:srgbClr val="7ECAC4"/>
              </a:solidFill>
            </c:spPr>
            <c:extLst>
              <c:ext xmlns:c16="http://schemas.microsoft.com/office/drawing/2014/chart" uri="{C3380CC4-5D6E-409C-BE32-E72D297353CC}">
                <c16:uniqueId val="{000002C3-4B1F-42FD-9B84-37A75D366F36}"/>
              </c:ext>
            </c:extLst>
          </c:dPt>
          <c:dPt>
            <c:idx val="353"/>
            <c:invertIfNegative val="1"/>
            <c:bubble3D val="0"/>
            <c:spPr>
              <a:solidFill>
                <a:srgbClr val="7ECAC4"/>
              </a:solidFill>
            </c:spPr>
            <c:extLst>
              <c:ext xmlns:c16="http://schemas.microsoft.com/office/drawing/2014/chart" uri="{C3380CC4-5D6E-409C-BE32-E72D297353CC}">
                <c16:uniqueId val="{000002C5-4B1F-42FD-9B84-37A75D366F36}"/>
              </c:ext>
            </c:extLst>
          </c:dPt>
          <c:dPt>
            <c:idx val="354"/>
            <c:invertIfNegative val="1"/>
            <c:bubble3D val="0"/>
            <c:spPr>
              <a:solidFill>
                <a:srgbClr val="7ECAC4"/>
              </a:solidFill>
            </c:spPr>
            <c:extLst>
              <c:ext xmlns:c16="http://schemas.microsoft.com/office/drawing/2014/chart" uri="{C3380CC4-5D6E-409C-BE32-E72D297353CC}">
                <c16:uniqueId val="{000002C7-4B1F-42FD-9B84-37A75D366F36}"/>
              </c:ext>
            </c:extLst>
          </c:dPt>
          <c:dPt>
            <c:idx val="355"/>
            <c:invertIfNegative val="1"/>
            <c:bubble3D val="0"/>
            <c:spPr>
              <a:solidFill>
                <a:srgbClr val="7ECAC4"/>
              </a:solidFill>
            </c:spPr>
            <c:extLst>
              <c:ext xmlns:c16="http://schemas.microsoft.com/office/drawing/2014/chart" uri="{C3380CC4-5D6E-409C-BE32-E72D297353CC}">
                <c16:uniqueId val="{000002C9-4B1F-42FD-9B84-37A75D366F36}"/>
              </c:ext>
            </c:extLst>
          </c:dPt>
          <c:dPt>
            <c:idx val="356"/>
            <c:invertIfNegative val="1"/>
            <c:bubble3D val="0"/>
            <c:spPr>
              <a:solidFill>
                <a:srgbClr val="7ECAC4"/>
              </a:solidFill>
            </c:spPr>
            <c:extLst>
              <c:ext xmlns:c16="http://schemas.microsoft.com/office/drawing/2014/chart" uri="{C3380CC4-5D6E-409C-BE32-E72D297353CC}">
                <c16:uniqueId val="{000002CB-4B1F-42FD-9B84-37A75D366F36}"/>
              </c:ext>
            </c:extLst>
          </c:dPt>
          <c:dPt>
            <c:idx val="357"/>
            <c:invertIfNegative val="1"/>
            <c:bubble3D val="0"/>
            <c:spPr>
              <a:solidFill>
                <a:srgbClr val="7ECAC4"/>
              </a:solidFill>
            </c:spPr>
            <c:extLst>
              <c:ext xmlns:c16="http://schemas.microsoft.com/office/drawing/2014/chart" uri="{C3380CC4-5D6E-409C-BE32-E72D297353CC}">
                <c16:uniqueId val="{000002CD-4B1F-42FD-9B84-37A75D366F36}"/>
              </c:ext>
            </c:extLst>
          </c:dPt>
          <c:dPt>
            <c:idx val="358"/>
            <c:invertIfNegative val="1"/>
            <c:bubble3D val="0"/>
            <c:spPr>
              <a:solidFill>
                <a:srgbClr val="7ECAC4"/>
              </a:solidFill>
            </c:spPr>
            <c:extLst>
              <c:ext xmlns:c16="http://schemas.microsoft.com/office/drawing/2014/chart" uri="{C3380CC4-5D6E-409C-BE32-E72D297353CC}">
                <c16:uniqueId val="{000002CF-4B1F-42FD-9B84-37A75D366F36}"/>
              </c:ext>
            </c:extLst>
          </c:dPt>
          <c:dPt>
            <c:idx val="359"/>
            <c:invertIfNegative val="1"/>
            <c:bubble3D val="0"/>
            <c:spPr>
              <a:solidFill>
                <a:srgbClr val="7ECAC4"/>
              </a:solidFill>
            </c:spPr>
            <c:extLst>
              <c:ext xmlns:c16="http://schemas.microsoft.com/office/drawing/2014/chart" uri="{C3380CC4-5D6E-409C-BE32-E72D297353CC}">
                <c16:uniqueId val="{000002D1-4B1F-42FD-9B84-37A75D366F36}"/>
              </c:ext>
            </c:extLst>
          </c:dPt>
          <c:dPt>
            <c:idx val="360"/>
            <c:invertIfNegative val="1"/>
            <c:bubble3D val="0"/>
            <c:spPr>
              <a:solidFill>
                <a:srgbClr val="7ECAC4"/>
              </a:solidFill>
            </c:spPr>
            <c:extLst>
              <c:ext xmlns:c16="http://schemas.microsoft.com/office/drawing/2014/chart" uri="{C3380CC4-5D6E-409C-BE32-E72D297353CC}">
                <c16:uniqueId val="{000002D3-4B1F-42FD-9B84-37A75D366F36}"/>
              </c:ext>
            </c:extLst>
          </c:dPt>
          <c:dPt>
            <c:idx val="361"/>
            <c:invertIfNegative val="1"/>
            <c:bubble3D val="0"/>
            <c:spPr>
              <a:solidFill>
                <a:srgbClr val="7ECAC4"/>
              </a:solidFill>
            </c:spPr>
            <c:extLst>
              <c:ext xmlns:c16="http://schemas.microsoft.com/office/drawing/2014/chart" uri="{C3380CC4-5D6E-409C-BE32-E72D297353CC}">
                <c16:uniqueId val="{000002D5-4B1F-42FD-9B84-37A75D366F36}"/>
              </c:ext>
            </c:extLst>
          </c:dPt>
          <c:dPt>
            <c:idx val="362"/>
            <c:invertIfNegative val="1"/>
            <c:bubble3D val="0"/>
            <c:spPr>
              <a:solidFill>
                <a:srgbClr val="7ECAC4"/>
              </a:solidFill>
            </c:spPr>
            <c:extLst>
              <c:ext xmlns:c16="http://schemas.microsoft.com/office/drawing/2014/chart" uri="{C3380CC4-5D6E-409C-BE32-E72D297353CC}">
                <c16:uniqueId val="{000002D7-4B1F-42FD-9B84-37A75D366F36}"/>
              </c:ext>
            </c:extLst>
          </c:dPt>
          <c:dPt>
            <c:idx val="363"/>
            <c:invertIfNegative val="1"/>
            <c:bubble3D val="0"/>
            <c:spPr>
              <a:solidFill>
                <a:srgbClr val="7ECAC4"/>
              </a:solidFill>
            </c:spPr>
            <c:extLst>
              <c:ext xmlns:c16="http://schemas.microsoft.com/office/drawing/2014/chart" uri="{C3380CC4-5D6E-409C-BE32-E72D297353CC}">
                <c16:uniqueId val="{000002D9-4B1F-42FD-9B84-37A75D366F36}"/>
              </c:ext>
            </c:extLst>
          </c:dPt>
          <c:dPt>
            <c:idx val="364"/>
            <c:invertIfNegative val="1"/>
            <c:bubble3D val="0"/>
            <c:spPr>
              <a:solidFill>
                <a:srgbClr val="7ECAC4"/>
              </a:solidFill>
            </c:spPr>
            <c:extLst>
              <c:ext xmlns:c16="http://schemas.microsoft.com/office/drawing/2014/chart" uri="{C3380CC4-5D6E-409C-BE32-E72D297353CC}">
                <c16:uniqueId val="{000002DB-4B1F-42FD-9B84-37A75D366F36}"/>
              </c:ext>
            </c:extLst>
          </c:dPt>
          <c:dPt>
            <c:idx val="365"/>
            <c:invertIfNegative val="1"/>
            <c:bubble3D val="0"/>
            <c:spPr>
              <a:solidFill>
                <a:srgbClr val="7ECAC4"/>
              </a:solidFill>
            </c:spPr>
            <c:extLst>
              <c:ext xmlns:c16="http://schemas.microsoft.com/office/drawing/2014/chart" uri="{C3380CC4-5D6E-409C-BE32-E72D297353CC}">
                <c16:uniqueId val="{000002DD-4B1F-42FD-9B84-37A75D366F36}"/>
              </c:ext>
            </c:extLst>
          </c:dPt>
          <c:dPt>
            <c:idx val="366"/>
            <c:invertIfNegative val="1"/>
            <c:bubble3D val="0"/>
            <c:spPr>
              <a:solidFill>
                <a:srgbClr val="7ECAC4"/>
              </a:solidFill>
            </c:spPr>
            <c:extLst>
              <c:ext xmlns:c16="http://schemas.microsoft.com/office/drawing/2014/chart" uri="{C3380CC4-5D6E-409C-BE32-E72D297353CC}">
                <c16:uniqueId val="{000002DF-4B1F-42FD-9B84-37A75D366F36}"/>
              </c:ext>
            </c:extLst>
          </c:dPt>
          <c:dPt>
            <c:idx val="367"/>
            <c:invertIfNegative val="1"/>
            <c:bubble3D val="0"/>
            <c:spPr>
              <a:solidFill>
                <a:srgbClr val="7ECAC4"/>
              </a:solidFill>
            </c:spPr>
            <c:extLst>
              <c:ext xmlns:c16="http://schemas.microsoft.com/office/drawing/2014/chart" uri="{C3380CC4-5D6E-409C-BE32-E72D297353CC}">
                <c16:uniqueId val="{000002E1-4B1F-42FD-9B84-37A75D366F36}"/>
              </c:ext>
            </c:extLst>
          </c:dPt>
          <c:dPt>
            <c:idx val="368"/>
            <c:invertIfNegative val="1"/>
            <c:bubble3D val="0"/>
            <c:spPr>
              <a:solidFill>
                <a:srgbClr val="7ECAC4"/>
              </a:solidFill>
            </c:spPr>
            <c:extLst>
              <c:ext xmlns:c16="http://schemas.microsoft.com/office/drawing/2014/chart" uri="{C3380CC4-5D6E-409C-BE32-E72D297353CC}">
                <c16:uniqueId val="{000002E3-4B1F-42FD-9B84-37A75D366F36}"/>
              </c:ext>
            </c:extLst>
          </c:dPt>
          <c:dPt>
            <c:idx val="369"/>
            <c:invertIfNegative val="1"/>
            <c:bubble3D val="0"/>
            <c:spPr>
              <a:solidFill>
                <a:srgbClr val="7ECAC4"/>
              </a:solidFill>
            </c:spPr>
            <c:extLst>
              <c:ext xmlns:c16="http://schemas.microsoft.com/office/drawing/2014/chart" uri="{C3380CC4-5D6E-409C-BE32-E72D297353CC}">
                <c16:uniqueId val="{000002E5-4B1F-42FD-9B84-37A75D366F36}"/>
              </c:ext>
            </c:extLst>
          </c:dPt>
          <c:dPt>
            <c:idx val="370"/>
            <c:invertIfNegative val="1"/>
            <c:bubble3D val="0"/>
            <c:spPr>
              <a:solidFill>
                <a:srgbClr val="7ECAC4"/>
              </a:solidFill>
            </c:spPr>
            <c:extLst>
              <c:ext xmlns:c16="http://schemas.microsoft.com/office/drawing/2014/chart" uri="{C3380CC4-5D6E-409C-BE32-E72D297353CC}">
                <c16:uniqueId val="{000002E7-4B1F-42FD-9B84-37A75D366F36}"/>
              </c:ext>
            </c:extLst>
          </c:dPt>
          <c:dPt>
            <c:idx val="371"/>
            <c:invertIfNegative val="1"/>
            <c:bubble3D val="0"/>
            <c:spPr>
              <a:solidFill>
                <a:srgbClr val="7ECAC4"/>
              </a:solidFill>
            </c:spPr>
            <c:extLst>
              <c:ext xmlns:c16="http://schemas.microsoft.com/office/drawing/2014/chart" uri="{C3380CC4-5D6E-409C-BE32-E72D297353CC}">
                <c16:uniqueId val="{000002E9-4B1F-42FD-9B84-37A75D366F36}"/>
              </c:ext>
            </c:extLst>
          </c:dPt>
          <c:dPt>
            <c:idx val="372"/>
            <c:invertIfNegative val="1"/>
            <c:bubble3D val="0"/>
            <c:spPr>
              <a:solidFill>
                <a:srgbClr val="7ECAC4"/>
              </a:solidFill>
            </c:spPr>
            <c:extLst>
              <c:ext xmlns:c16="http://schemas.microsoft.com/office/drawing/2014/chart" uri="{C3380CC4-5D6E-409C-BE32-E72D297353CC}">
                <c16:uniqueId val="{000002EB-4B1F-42FD-9B84-37A75D366F36}"/>
              </c:ext>
            </c:extLst>
          </c:dPt>
          <c:dPt>
            <c:idx val="373"/>
            <c:invertIfNegative val="1"/>
            <c:bubble3D val="0"/>
            <c:spPr>
              <a:solidFill>
                <a:srgbClr val="7ECAC4"/>
              </a:solidFill>
            </c:spPr>
            <c:extLst>
              <c:ext xmlns:c16="http://schemas.microsoft.com/office/drawing/2014/chart" uri="{C3380CC4-5D6E-409C-BE32-E72D297353CC}">
                <c16:uniqueId val="{000002ED-4B1F-42FD-9B84-37A75D366F36}"/>
              </c:ext>
            </c:extLst>
          </c:dPt>
          <c:dPt>
            <c:idx val="374"/>
            <c:invertIfNegative val="1"/>
            <c:bubble3D val="0"/>
            <c:spPr>
              <a:solidFill>
                <a:srgbClr val="7ECAC4"/>
              </a:solidFill>
            </c:spPr>
            <c:extLst>
              <c:ext xmlns:c16="http://schemas.microsoft.com/office/drawing/2014/chart" uri="{C3380CC4-5D6E-409C-BE32-E72D297353CC}">
                <c16:uniqueId val="{000002EF-4B1F-42FD-9B84-37A75D366F36}"/>
              </c:ext>
            </c:extLst>
          </c:dPt>
          <c:dPt>
            <c:idx val="375"/>
            <c:invertIfNegative val="1"/>
            <c:bubble3D val="0"/>
            <c:spPr>
              <a:solidFill>
                <a:srgbClr val="7ECAC4"/>
              </a:solidFill>
            </c:spPr>
            <c:extLst>
              <c:ext xmlns:c16="http://schemas.microsoft.com/office/drawing/2014/chart" uri="{C3380CC4-5D6E-409C-BE32-E72D297353CC}">
                <c16:uniqueId val="{000002F1-4B1F-42FD-9B84-37A75D366F36}"/>
              </c:ext>
            </c:extLst>
          </c:dPt>
          <c:dPt>
            <c:idx val="376"/>
            <c:invertIfNegative val="1"/>
            <c:bubble3D val="0"/>
            <c:spPr>
              <a:solidFill>
                <a:srgbClr val="7ECAC4"/>
              </a:solidFill>
            </c:spPr>
            <c:extLst>
              <c:ext xmlns:c16="http://schemas.microsoft.com/office/drawing/2014/chart" uri="{C3380CC4-5D6E-409C-BE32-E72D297353CC}">
                <c16:uniqueId val="{000002F3-4B1F-42FD-9B84-37A75D366F36}"/>
              </c:ext>
            </c:extLst>
          </c:dPt>
          <c:dPt>
            <c:idx val="377"/>
            <c:invertIfNegative val="1"/>
            <c:bubble3D val="0"/>
            <c:spPr>
              <a:solidFill>
                <a:srgbClr val="7ECAC4"/>
              </a:solidFill>
            </c:spPr>
            <c:extLst>
              <c:ext xmlns:c16="http://schemas.microsoft.com/office/drawing/2014/chart" uri="{C3380CC4-5D6E-409C-BE32-E72D297353CC}">
                <c16:uniqueId val="{000002F5-4B1F-42FD-9B84-37A75D366F36}"/>
              </c:ext>
            </c:extLst>
          </c:dPt>
          <c:dPt>
            <c:idx val="378"/>
            <c:invertIfNegative val="1"/>
            <c:bubble3D val="0"/>
            <c:spPr>
              <a:solidFill>
                <a:srgbClr val="7ECAC4"/>
              </a:solidFill>
            </c:spPr>
            <c:extLst>
              <c:ext xmlns:c16="http://schemas.microsoft.com/office/drawing/2014/chart" uri="{C3380CC4-5D6E-409C-BE32-E72D297353CC}">
                <c16:uniqueId val="{000002F7-4B1F-42FD-9B84-37A75D366F36}"/>
              </c:ext>
            </c:extLst>
          </c:dPt>
          <c:dPt>
            <c:idx val="379"/>
            <c:invertIfNegative val="1"/>
            <c:bubble3D val="0"/>
            <c:spPr>
              <a:solidFill>
                <a:srgbClr val="7ECAC4"/>
              </a:solidFill>
            </c:spPr>
            <c:extLst>
              <c:ext xmlns:c16="http://schemas.microsoft.com/office/drawing/2014/chart" uri="{C3380CC4-5D6E-409C-BE32-E72D297353CC}">
                <c16:uniqueId val="{000002F9-4B1F-42FD-9B84-37A75D366F36}"/>
              </c:ext>
            </c:extLst>
          </c:dPt>
          <c:dPt>
            <c:idx val="380"/>
            <c:invertIfNegative val="1"/>
            <c:bubble3D val="0"/>
            <c:spPr>
              <a:solidFill>
                <a:srgbClr val="7ECAC4"/>
              </a:solidFill>
            </c:spPr>
            <c:extLst>
              <c:ext xmlns:c16="http://schemas.microsoft.com/office/drawing/2014/chart" uri="{C3380CC4-5D6E-409C-BE32-E72D297353CC}">
                <c16:uniqueId val="{000002FB-4B1F-42FD-9B84-37A75D366F36}"/>
              </c:ext>
            </c:extLst>
          </c:dPt>
          <c:dPt>
            <c:idx val="381"/>
            <c:invertIfNegative val="1"/>
            <c:bubble3D val="0"/>
            <c:spPr>
              <a:solidFill>
                <a:srgbClr val="7ECAC4"/>
              </a:solidFill>
            </c:spPr>
            <c:extLst>
              <c:ext xmlns:c16="http://schemas.microsoft.com/office/drawing/2014/chart" uri="{C3380CC4-5D6E-409C-BE32-E72D297353CC}">
                <c16:uniqueId val="{000002FD-4B1F-42FD-9B84-37A75D366F36}"/>
              </c:ext>
            </c:extLst>
          </c:dPt>
          <c:dPt>
            <c:idx val="382"/>
            <c:invertIfNegative val="1"/>
            <c:bubble3D val="0"/>
            <c:spPr>
              <a:solidFill>
                <a:srgbClr val="7ECAC4"/>
              </a:solidFill>
            </c:spPr>
            <c:extLst>
              <c:ext xmlns:c16="http://schemas.microsoft.com/office/drawing/2014/chart" uri="{C3380CC4-5D6E-409C-BE32-E72D297353CC}">
                <c16:uniqueId val="{000002FF-4B1F-42FD-9B84-37A75D366F36}"/>
              </c:ext>
            </c:extLst>
          </c:dPt>
          <c:dPt>
            <c:idx val="383"/>
            <c:invertIfNegative val="1"/>
            <c:bubble3D val="0"/>
            <c:spPr>
              <a:solidFill>
                <a:srgbClr val="7ECAC4"/>
              </a:solidFill>
            </c:spPr>
            <c:extLst>
              <c:ext xmlns:c16="http://schemas.microsoft.com/office/drawing/2014/chart" uri="{C3380CC4-5D6E-409C-BE32-E72D297353CC}">
                <c16:uniqueId val="{00000301-4B1F-42FD-9B84-37A75D366F36}"/>
              </c:ext>
            </c:extLst>
          </c:dPt>
          <c:dPt>
            <c:idx val="384"/>
            <c:invertIfNegative val="1"/>
            <c:bubble3D val="0"/>
            <c:spPr>
              <a:solidFill>
                <a:srgbClr val="7ECAC4"/>
              </a:solidFill>
            </c:spPr>
            <c:extLst>
              <c:ext xmlns:c16="http://schemas.microsoft.com/office/drawing/2014/chart" uri="{C3380CC4-5D6E-409C-BE32-E72D297353CC}">
                <c16:uniqueId val="{00000303-4B1F-42FD-9B84-37A75D366F36}"/>
              </c:ext>
            </c:extLst>
          </c:dPt>
          <c:dPt>
            <c:idx val="385"/>
            <c:invertIfNegative val="1"/>
            <c:bubble3D val="0"/>
            <c:spPr>
              <a:solidFill>
                <a:srgbClr val="7ECAC4"/>
              </a:solidFill>
            </c:spPr>
            <c:extLst>
              <c:ext xmlns:c16="http://schemas.microsoft.com/office/drawing/2014/chart" uri="{C3380CC4-5D6E-409C-BE32-E72D297353CC}">
                <c16:uniqueId val="{00000305-4B1F-42FD-9B84-37A75D366F36}"/>
              </c:ext>
            </c:extLst>
          </c:dPt>
          <c:dPt>
            <c:idx val="386"/>
            <c:invertIfNegative val="1"/>
            <c:bubble3D val="0"/>
            <c:spPr>
              <a:solidFill>
                <a:srgbClr val="7ECAC4"/>
              </a:solidFill>
            </c:spPr>
            <c:extLst>
              <c:ext xmlns:c16="http://schemas.microsoft.com/office/drawing/2014/chart" uri="{C3380CC4-5D6E-409C-BE32-E72D297353CC}">
                <c16:uniqueId val="{00000307-4B1F-42FD-9B84-37A75D366F36}"/>
              </c:ext>
            </c:extLst>
          </c:dPt>
          <c:dPt>
            <c:idx val="387"/>
            <c:invertIfNegative val="1"/>
            <c:bubble3D val="0"/>
            <c:spPr>
              <a:solidFill>
                <a:srgbClr val="7ECAC4"/>
              </a:solidFill>
            </c:spPr>
            <c:extLst>
              <c:ext xmlns:c16="http://schemas.microsoft.com/office/drawing/2014/chart" uri="{C3380CC4-5D6E-409C-BE32-E72D297353CC}">
                <c16:uniqueId val="{00000309-4B1F-42FD-9B84-37A75D366F36}"/>
              </c:ext>
            </c:extLst>
          </c:dPt>
          <c:dPt>
            <c:idx val="388"/>
            <c:invertIfNegative val="1"/>
            <c:bubble3D val="0"/>
            <c:spPr>
              <a:solidFill>
                <a:srgbClr val="7ECAC4"/>
              </a:solidFill>
            </c:spPr>
            <c:extLst>
              <c:ext xmlns:c16="http://schemas.microsoft.com/office/drawing/2014/chart" uri="{C3380CC4-5D6E-409C-BE32-E72D297353CC}">
                <c16:uniqueId val="{0000030B-4B1F-42FD-9B84-37A75D366F36}"/>
              </c:ext>
            </c:extLst>
          </c:dPt>
          <c:dPt>
            <c:idx val="389"/>
            <c:invertIfNegative val="1"/>
            <c:bubble3D val="0"/>
            <c:spPr>
              <a:solidFill>
                <a:srgbClr val="7ECAC4"/>
              </a:solidFill>
            </c:spPr>
            <c:extLst>
              <c:ext xmlns:c16="http://schemas.microsoft.com/office/drawing/2014/chart" uri="{C3380CC4-5D6E-409C-BE32-E72D297353CC}">
                <c16:uniqueId val="{0000030D-4B1F-42FD-9B84-37A75D366F36}"/>
              </c:ext>
            </c:extLst>
          </c:dPt>
          <c:dPt>
            <c:idx val="390"/>
            <c:invertIfNegative val="1"/>
            <c:bubble3D val="0"/>
            <c:spPr>
              <a:solidFill>
                <a:srgbClr val="7ECAC4"/>
              </a:solidFill>
            </c:spPr>
            <c:extLst>
              <c:ext xmlns:c16="http://schemas.microsoft.com/office/drawing/2014/chart" uri="{C3380CC4-5D6E-409C-BE32-E72D297353CC}">
                <c16:uniqueId val="{0000030F-4B1F-42FD-9B84-37A75D366F36}"/>
              </c:ext>
            </c:extLst>
          </c:dPt>
          <c:dPt>
            <c:idx val="391"/>
            <c:invertIfNegative val="1"/>
            <c:bubble3D val="0"/>
            <c:spPr>
              <a:solidFill>
                <a:srgbClr val="7ECAC4"/>
              </a:solidFill>
            </c:spPr>
            <c:extLst>
              <c:ext xmlns:c16="http://schemas.microsoft.com/office/drawing/2014/chart" uri="{C3380CC4-5D6E-409C-BE32-E72D297353CC}">
                <c16:uniqueId val="{00000311-4B1F-42FD-9B84-37A75D366F36}"/>
              </c:ext>
            </c:extLst>
          </c:dPt>
          <c:dPt>
            <c:idx val="392"/>
            <c:invertIfNegative val="1"/>
            <c:bubble3D val="0"/>
            <c:spPr>
              <a:solidFill>
                <a:srgbClr val="7ECAC4"/>
              </a:solidFill>
            </c:spPr>
            <c:extLst>
              <c:ext xmlns:c16="http://schemas.microsoft.com/office/drawing/2014/chart" uri="{C3380CC4-5D6E-409C-BE32-E72D297353CC}">
                <c16:uniqueId val="{00000313-4B1F-42FD-9B84-37A75D366F36}"/>
              </c:ext>
            </c:extLst>
          </c:dPt>
          <c:dPt>
            <c:idx val="393"/>
            <c:invertIfNegative val="1"/>
            <c:bubble3D val="0"/>
            <c:spPr>
              <a:solidFill>
                <a:srgbClr val="7ECAC4"/>
              </a:solidFill>
            </c:spPr>
            <c:extLst>
              <c:ext xmlns:c16="http://schemas.microsoft.com/office/drawing/2014/chart" uri="{C3380CC4-5D6E-409C-BE32-E72D297353CC}">
                <c16:uniqueId val="{00000315-4B1F-42FD-9B84-37A75D366F36}"/>
              </c:ext>
            </c:extLst>
          </c:dPt>
          <c:dPt>
            <c:idx val="394"/>
            <c:invertIfNegative val="1"/>
            <c:bubble3D val="0"/>
            <c:spPr>
              <a:solidFill>
                <a:srgbClr val="7ECAC4"/>
              </a:solidFill>
            </c:spPr>
            <c:extLst>
              <c:ext xmlns:c16="http://schemas.microsoft.com/office/drawing/2014/chart" uri="{C3380CC4-5D6E-409C-BE32-E72D297353CC}">
                <c16:uniqueId val="{00000317-4B1F-42FD-9B84-37A75D366F36}"/>
              </c:ext>
            </c:extLst>
          </c:dPt>
          <c:dPt>
            <c:idx val="395"/>
            <c:invertIfNegative val="1"/>
            <c:bubble3D val="0"/>
            <c:spPr>
              <a:solidFill>
                <a:srgbClr val="7ECAC4"/>
              </a:solidFill>
            </c:spPr>
            <c:extLst>
              <c:ext xmlns:c16="http://schemas.microsoft.com/office/drawing/2014/chart" uri="{C3380CC4-5D6E-409C-BE32-E72D297353CC}">
                <c16:uniqueId val="{00000319-4B1F-42FD-9B84-37A75D366F36}"/>
              </c:ext>
            </c:extLst>
          </c:dPt>
          <c:dPt>
            <c:idx val="396"/>
            <c:invertIfNegative val="1"/>
            <c:bubble3D val="0"/>
            <c:spPr>
              <a:solidFill>
                <a:srgbClr val="7ECAC4"/>
              </a:solidFill>
            </c:spPr>
            <c:extLst>
              <c:ext xmlns:c16="http://schemas.microsoft.com/office/drawing/2014/chart" uri="{C3380CC4-5D6E-409C-BE32-E72D297353CC}">
                <c16:uniqueId val="{0000031B-4B1F-42FD-9B84-37A75D366F36}"/>
              </c:ext>
            </c:extLst>
          </c:dPt>
          <c:dPt>
            <c:idx val="397"/>
            <c:invertIfNegative val="1"/>
            <c:bubble3D val="0"/>
            <c:spPr>
              <a:solidFill>
                <a:srgbClr val="7ECAC4"/>
              </a:solidFill>
            </c:spPr>
            <c:extLst>
              <c:ext xmlns:c16="http://schemas.microsoft.com/office/drawing/2014/chart" uri="{C3380CC4-5D6E-409C-BE32-E72D297353CC}">
                <c16:uniqueId val="{0000031D-4B1F-42FD-9B84-37A75D366F36}"/>
              </c:ext>
            </c:extLst>
          </c:dPt>
          <c:dPt>
            <c:idx val="398"/>
            <c:invertIfNegative val="1"/>
            <c:bubble3D val="0"/>
            <c:spPr>
              <a:solidFill>
                <a:srgbClr val="7ECAC4"/>
              </a:solidFill>
            </c:spPr>
            <c:extLst>
              <c:ext xmlns:c16="http://schemas.microsoft.com/office/drawing/2014/chart" uri="{C3380CC4-5D6E-409C-BE32-E72D297353CC}">
                <c16:uniqueId val="{0000031F-4B1F-42FD-9B84-37A75D366F36}"/>
              </c:ext>
            </c:extLst>
          </c:dPt>
          <c:dPt>
            <c:idx val="399"/>
            <c:invertIfNegative val="1"/>
            <c:bubble3D val="0"/>
            <c:spPr>
              <a:solidFill>
                <a:srgbClr val="7ECAC4"/>
              </a:solidFill>
            </c:spPr>
            <c:extLst>
              <c:ext xmlns:c16="http://schemas.microsoft.com/office/drawing/2014/chart" uri="{C3380CC4-5D6E-409C-BE32-E72D297353CC}">
                <c16:uniqueId val="{00000321-4B1F-42FD-9B84-37A75D366F36}"/>
              </c:ext>
            </c:extLst>
          </c:dPt>
          <c:dPt>
            <c:idx val="400"/>
            <c:invertIfNegative val="1"/>
            <c:bubble3D val="0"/>
            <c:spPr>
              <a:solidFill>
                <a:srgbClr val="7ECAC4"/>
              </a:solidFill>
            </c:spPr>
            <c:extLst>
              <c:ext xmlns:c16="http://schemas.microsoft.com/office/drawing/2014/chart" uri="{C3380CC4-5D6E-409C-BE32-E72D297353CC}">
                <c16:uniqueId val="{00000323-4B1F-42FD-9B84-37A75D366F36}"/>
              </c:ext>
            </c:extLst>
          </c:dPt>
          <c:dPt>
            <c:idx val="401"/>
            <c:invertIfNegative val="1"/>
            <c:bubble3D val="0"/>
            <c:spPr>
              <a:solidFill>
                <a:srgbClr val="7ECAC4"/>
              </a:solidFill>
            </c:spPr>
            <c:extLst>
              <c:ext xmlns:c16="http://schemas.microsoft.com/office/drawing/2014/chart" uri="{C3380CC4-5D6E-409C-BE32-E72D297353CC}">
                <c16:uniqueId val="{00000325-4B1F-42FD-9B84-37A75D366F36}"/>
              </c:ext>
            </c:extLst>
          </c:dPt>
          <c:dPt>
            <c:idx val="402"/>
            <c:invertIfNegative val="1"/>
            <c:bubble3D val="0"/>
            <c:spPr>
              <a:solidFill>
                <a:srgbClr val="7ECAC4"/>
              </a:solidFill>
            </c:spPr>
            <c:extLst>
              <c:ext xmlns:c16="http://schemas.microsoft.com/office/drawing/2014/chart" uri="{C3380CC4-5D6E-409C-BE32-E72D297353CC}">
                <c16:uniqueId val="{00000327-4B1F-42FD-9B84-37A75D366F36}"/>
              </c:ext>
            </c:extLst>
          </c:dPt>
          <c:dPt>
            <c:idx val="403"/>
            <c:invertIfNegative val="1"/>
            <c:bubble3D val="0"/>
            <c:spPr>
              <a:solidFill>
                <a:srgbClr val="7ECAC4"/>
              </a:solidFill>
            </c:spPr>
            <c:extLst>
              <c:ext xmlns:c16="http://schemas.microsoft.com/office/drawing/2014/chart" uri="{C3380CC4-5D6E-409C-BE32-E72D297353CC}">
                <c16:uniqueId val="{00000329-4B1F-42FD-9B84-37A75D366F36}"/>
              </c:ext>
            </c:extLst>
          </c:dPt>
          <c:dPt>
            <c:idx val="404"/>
            <c:invertIfNegative val="1"/>
            <c:bubble3D val="0"/>
            <c:spPr>
              <a:solidFill>
                <a:srgbClr val="7ECAC4"/>
              </a:solidFill>
            </c:spPr>
            <c:extLst>
              <c:ext xmlns:c16="http://schemas.microsoft.com/office/drawing/2014/chart" uri="{C3380CC4-5D6E-409C-BE32-E72D297353CC}">
                <c16:uniqueId val="{0000032B-4B1F-42FD-9B84-37A75D366F36}"/>
              </c:ext>
            </c:extLst>
          </c:dPt>
          <c:dPt>
            <c:idx val="405"/>
            <c:invertIfNegative val="1"/>
            <c:bubble3D val="0"/>
            <c:spPr>
              <a:solidFill>
                <a:srgbClr val="7ECAC4"/>
              </a:solidFill>
            </c:spPr>
            <c:extLst>
              <c:ext xmlns:c16="http://schemas.microsoft.com/office/drawing/2014/chart" uri="{C3380CC4-5D6E-409C-BE32-E72D297353CC}">
                <c16:uniqueId val="{0000032D-4B1F-42FD-9B84-37A75D366F36}"/>
              </c:ext>
            </c:extLst>
          </c:dPt>
          <c:dPt>
            <c:idx val="406"/>
            <c:invertIfNegative val="1"/>
            <c:bubble3D val="0"/>
            <c:spPr>
              <a:solidFill>
                <a:srgbClr val="7ECAC4"/>
              </a:solidFill>
            </c:spPr>
            <c:extLst>
              <c:ext xmlns:c16="http://schemas.microsoft.com/office/drawing/2014/chart" uri="{C3380CC4-5D6E-409C-BE32-E72D297353CC}">
                <c16:uniqueId val="{0000032F-4B1F-42FD-9B84-37A75D366F36}"/>
              </c:ext>
            </c:extLst>
          </c:dPt>
          <c:dPt>
            <c:idx val="407"/>
            <c:invertIfNegative val="1"/>
            <c:bubble3D val="0"/>
            <c:spPr>
              <a:solidFill>
                <a:srgbClr val="7ECAC4"/>
              </a:solidFill>
            </c:spPr>
            <c:extLst>
              <c:ext xmlns:c16="http://schemas.microsoft.com/office/drawing/2014/chart" uri="{C3380CC4-5D6E-409C-BE32-E72D297353CC}">
                <c16:uniqueId val="{00000331-4B1F-42FD-9B84-37A75D366F36}"/>
              </c:ext>
            </c:extLst>
          </c:dPt>
          <c:dPt>
            <c:idx val="408"/>
            <c:invertIfNegative val="1"/>
            <c:bubble3D val="0"/>
            <c:spPr>
              <a:solidFill>
                <a:srgbClr val="7ECAC4"/>
              </a:solidFill>
            </c:spPr>
            <c:extLst>
              <c:ext xmlns:c16="http://schemas.microsoft.com/office/drawing/2014/chart" uri="{C3380CC4-5D6E-409C-BE32-E72D297353CC}">
                <c16:uniqueId val="{00000333-4B1F-42FD-9B84-37A75D366F36}"/>
              </c:ext>
            </c:extLst>
          </c:dPt>
          <c:dPt>
            <c:idx val="409"/>
            <c:invertIfNegative val="1"/>
            <c:bubble3D val="0"/>
            <c:spPr>
              <a:solidFill>
                <a:srgbClr val="7ECAC4"/>
              </a:solidFill>
            </c:spPr>
            <c:extLst>
              <c:ext xmlns:c16="http://schemas.microsoft.com/office/drawing/2014/chart" uri="{C3380CC4-5D6E-409C-BE32-E72D297353CC}">
                <c16:uniqueId val="{00000335-4B1F-42FD-9B84-37A75D366F36}"/>
              </c:ext>
            </c:extLst>
          </c:dPt>
          <c:dPt>
            <c:idx val="410"/>
            <c:invertIfNegative val="1"/>
            <c:bubble3D val="0"/>
            <c:spPr>
              <a:solidFill>
                <a:srgbClr val="7ECAC4"/>
              </a:solidFill>
            </c:spPr>
            <c:extLst>
              <c:ext xmlns:c16="http://schemas.microsoft.com/office/drawing/2014/chart" uri="{C3380CC4-5D6E-409C-BE32-E72D297353CC}">
                <c16:uniqueId val="{00000337-4B1F-42FD-9B84-37A75D366F36}"/>
              </c:ext>
            </c:extLst>
          </c:dPt>
          <c:dPt>
            <c:idx val="411"/>
            <c:invertIfNegative val="1"/>
            <c:bubble3D val="0"/>
            <c:spPr>
              <a:solidFill>
                <a:srgbClr val="7ECAC4"/>
              </a:solidFill>
            </c:spPr>
            <c:extLst>
              <c:ext xmlns:c16="http://schemas.microsoft.com/office/drawing/2014/chart" uri="{C3380CC4-5D6E-409C-BE32-E72D297353CC}">
                <c16:uniqueId val="{00000339-4B1F-42FD-9B84-37A75D366F36}"/>
              </c:ext>
            </c:extLst>
          </c:dPt>
          <c:dPt>
            <c:idx val="412"/>
            <c:invertIfNegative val="1"/>
            <c:bubble3D val="0"/>
            <c:spPr>
              <a:solidFill>
                <a:srgbClr val="7ECAC4"/>
              </a:solidFill>
            </c:spPr>
            <c:extLst>
              <c:ext xmlns:c16="http://schemas.microsoft.com/office/drawing/2014/chart" uri="{C3380CC4-5D6E-409C-BE32-E72D297353CC}">
                <c16:uniqueId val="{0000033B-4B1F-42FD-9B84-37A75D366F36}"/>
              </c:ext>
            </c:extLst>
          </c:dPt>
          <c:dPt>
            <c:idx val="413"/>
            <c:invertIfNegative val="1"/>
            <c:bubble3D val="0"/>
            <c:spPr>
              <a:solidFill>
                <a:srgbClr val="7ECAC4"/>
              </a:solidFill>
            </c:spPr>
            <c:extLst>
              <c:ext xmlns:c16="http://schemas.microsoft.com/office/drawing/2014/chart" uri="{C3380CC4-5D6E-409C-BE32-E72D297353CC}">
                <c16:uniqueId val="{0000033D-4B1F-42FD-9B84-37A75D366F36}"/>
              </c:ext>
            </c:extLst>
          </c:dPt>
          <c:dPt>
            <c:idx val="414"/>
            <c:invertIfNegative val="1"/>
            <c:bubble3D val="0"/>
            <c:spPr>
              <a:solidFill>
                <a:srgbClr val="7ECAC4"/>
              </a:solidFill>
            </c:spPr>
            <c:extLst>
              <c:ext xmlns:c16="http://schemas.microsoft.com/office/drawing/2014/chart" uri="{C3380CC4-5D6E-409C-BE32-E72D297353CC}">
                <c16:uniqueId val="{0000033F-4B1F-42FD-9B84-37A75D366F36}"/>
              </c:ext>
            </c:extLst>
          </c:dPt>
          <c:dPt>
            <c:idx val="415"/>
            <c:invertIfNegative val="1"/>
            <c:bubble3D val="0"/>
            <c:spPr>
              <a:solidFill>
                <a:srgbClr val="7ECAC4"/>
              </a:solidFill>
            </c:spPr>
            <c:extLst>
              <c:ext xmlns:c16="http://schemas.microsoft.com/office/drawing/2014/chart" uri="{C3380CC4-5D6E-409C-BE32-E72D297353CC}">
                <c16:uniqueId val="{00000341-4B1F-42FD-9B84-37A75D366F36}"/>
              </c:ext>
            </c:extLst>
          </c:dPt>
          <c:dPt>
            <c:idx val="416"/>
            <c:invertIfNegative val="1"/>
            <c:bubble3D val="0"/>
            <c:spPr>
              <a:solidFill>
                <a:srgbClr val="7ECAC4"/>
              </a:solidFill>
            </c:spPr>
            <c:extLst>
              <c:ext xmlns:c16="http://schemas.microsoft.com/office/drawing/2014/chart" uri="{C3380CC4-5D6E-409C-BE32-E72D297353CC}">
                <c16:uniqueId val="{00000343-4B1F-42FD-9B84-37A75D366F36}"/>
              </c:ext>
            </c:extLst>
          </c:dPt>
          <c:dPt>
            <c:idx val="417"/>
            <c:invertIfNegative val="1"/>
            <c:bubble3D val="0"/>
            <c:spPr>
              <a:solidFill>
                <a:srgbClr val="7ECAC4"/>
              </a:solidFill>
            </c:spPr>
            <c:extLst>
              <c:ext xmlns:c16="http://schemas.microsoft.com/office/drawing/2014/chart" uri="{C3380CC4-5D6E-409C-BE32-E72D297353CC}">
                <c16:uniqueId val="{00000345-4B1F-42FD-9B84-37A75D366F36}"/>
              </c:ext>
            </c:extLst>
          </c:dPt>
          <c:dPt>
            <c:idx val="418"/>
            <c:invertIfNegative val="1"/>
            <c:bubble3D val="0"/>
            <c:spPr>
              <a:solidFill>
                <a:srgbClr val="7ECAC4"/>
              </a:solidFill>
            </c:spPr>
            <c:extLst>
              <c:ext xmlns:c16="http://schemas.microsoft.com/office/drawing/2014/chart" uri="{C3380CC4-5D6E-409C-BE32-E72D297353CC}">
                <c16:uniqueId val="{00000347-4B1F-42FD-9B84-37A75D366F36}"/>
              </c:ext>
            </c:extLst>
          </c:dPt>
          <c:dPt>
            <c:idx val="419"/>
            <c:invertIfNegative val="1"/>
            <c:bubble3D val="0"/>
            <c:spPr>
              <a:solidFill>
                <a:srgbClr val="7ECAC4"/>
              </a:solidFill>
            </c:spPr>
            <c:extLst>
              <c:ext xmlns:c16="http://schemas.microsoft.com/office/drawing/2014/chart" uri="{C3380CC4-5D6E-409C-BE32-E72D297353CC}">
                <c16:uniqueId val="{00000349-4B1F-42FD-9B84-37A75D366F36}"/>
              </c:ext>
            </c:extLst>
          </c:dPt>
          <c:dPt>
            <c:idx val="420"/>
            <c:invertIfNegative val="1"/>
            <c:bubble3D val="0"/>
            <c:spPr>
              <a:solidFill>
                <a:srgbClr val="7ECAC4"/>
              </a:solidFill>
            </c:spPr>
            <c:extLst>
              <c:ext xmlns:c16="http://schemas.microsoft.com/office/drawing/2014/chart" uri="{C3380CC4-5D6E-409C-BE32-E72D297353CC}">
                <c16:uniqueId val="{0000034B-4B1F-42FD-9B84-37A75D366F36}"/>
              </c:ext>
            </c:extLst>
          </c:dPt>
          <c:dPt>
            <c:idx val="421"/>
            <c:invertIfNegative val="1"/>
            <c:bubble3D val="0"/>
            <c:spPr>
              <a:solidFill>
                <a:srgbClr val="7ECAC4"/>
              </a:solidFill>
            </c:spPr>
            <c:extLst>
              <c:ext xmlns:c16="http://schemas.microsoft.com/office/drawing/2014/chart" uri="{C3380CC4-5D6E-409C-BE32-E72D297353CC}">
                <c16:uniqueId val="{0000034D-4B1F-42FD-9B84-37A75D366F36}"/>
              </c:ext>
            </c:extLst>
          </c:dPt>
          <c:dPt>
            <c:idx val="422"/>
            <c:invertIfNegative val="1"/>
            <c:bubble3D val="0"/>
            <c:spPr>
              <a:solidFill>
                <a:srgbClr val="7ECAC4"/>
              </a:solidFill>
            </c:spPr>
            <c:extLst>
              <c:ext xmlns:c16="http://schemas.microsoft.com/office/drawing/2014/chart" uri="{C3380CC4-5D6E-409C-BE32-E72D297353CC}">
                <c16:uniqueId val="{0000034F-4B1F-42FD-9B84-37A75D366F36}"/>
              </c:ext>
            </c:extLst>
          </c:dPt>
          <c:dPt>
            <c:idx val="423"/>
            <c:invertIfNegative val="1"/>
            <c:bubble3D val="0"/>
            <c:spPr>
              <a:solidFill>
                <a:srgbClr val="7ECAC4"/>
              </a:solidFill>
            </c:spPr>
            <c:extLst>
              <c:ext xmlns:c16="http://schemas.microsoft.com/office/drawing/2014/chart" uri="{C3380CC4-5D6E-409C-BE32-E72D297353CC}">
                <c16:uniqueId val="{00000351-4B1F-42FD-9B84-37A75D366F36}"/>
              </c:ext>
            </c:extLst>
          </c:dPt>
          <c:dPt>
            <c:idx val="424"/>
            <c:invertIfNegative val="1"/>
            <c:bubble3D val="0"/>
            <c:spPr>
              <a:solidFill>
                <a:srgbClr val="7ECAC4"/>
              </a:solidFill>
            </c:spPr>
            <c:extLst>
              <c:ext xmlns:c16="http://schemas.microsoft.com/office/drawing/2014/chart" uri="{C3380CC4-5D6E-409C-BE32-E72D297353CC}">
                <c16:uniqueId val="{00000353-4B1F-42FD-9B84-37A75D366F36}"/>
              </c:ext>
            </c:extLst>
          </c:dPt>
          <c:dPt>
            <c:idx val="425"/>
            <c:invertIfNegative val="1"/>
            <c:bubble3D val="0"/>
            <c:spPr>
              <a:solidFill>
                <a:srgbClr val="7ECAC4"/>
              </a:solidFill>
            </c:spPr>
            <c:extLst>
              <c:ext xmlns:c16="http://schemas.microsoft.com/office/drawing/2014/chart" uri="{C3380CC4-5D6E-409C-BE32-E72D297353CC}">
                <c16:uniqueId val="{00000355-4B1F-42FD-9B84-37A75D366F36}"/>
              </c:ext>
            </c:extLst>
          </c:dPt>
          <c:dPt>
            <c:idx val="426"/>
            <c:invertIfNegative val="1"/>
            <c:bubble3D val="0"/>
            <c:spPr>
              <a:solidFill>
                <a:srgbClr val="7ECAC4"/>
              </a:solidFill>
            </c:spPr>
            <c:extLst>
              <c:ext xmlns:c16="http://schemas.microsoft.com/office/drawing/2014/chart" uri="{C3380CC4-5D6E-409C-BE32-E72D297353CC}">
                <c16:uniqueId val="{00000357-4B1F-42FD-9B84-37A75D366F36}"/>
              </c:ext>
            </c:extLst>
          </c:dPt>
          <c:dPt>
            <c:idx val="427"/>
            <c:invertIfNegative val="1"/>
            <c:bubble3D val="0"/>
            <c:spPr>
              <a:solidFill>
                <a:srgbClr val="7ECAC4"/>
              </a:solidFill>
            </c:spPr>
            <c:extLst>
              <c:ext xmlns:c16="http://schemas.microsoft.com/office/drawing/2014/chart" uri="{C3380CC4-5D6E-409C-BE32-E72D297353CC}">
                <c16:uniqueId val="{00000359-4B1F-42FD-9B84-37A75D366F36}"/>
              </c:ext>
            </c:extLst>
          </c:dPt>
          <c:dPt>
            <c:idx val="428"/>
            <c:invertIfNegative val="1"/>
            <c:bubble3D val="0"/>
            <c:spPr>
              <a:solidFill>
                <a:srgbClr val="7ECAC4"/>
              </a:solidFill>
            </c:spPr>
            <c:extLst>
              <c:ext xmlns:c16="http://schemas.microsoft.com/office/drawing/2014/chart" uri="{C3380CC4-5D6E-409C-BE32-E72D297353CC}">
                <c16:uniqueId val="{0000035B-4B1F-42FD-9B84-37A75D366F36}"/>
              </c:ext>
            </c:extLst>
          </c:dPt>
          <c:dPt>
            <c:idx val="429"/>
            <c:invertIfNegative val="1"/>
            <c:bubble3D val="0"/>
            <c:spPr>
              <a:solidFill>
                <a:srgbClr val="7ECAC4"/>
              </a:solidFill>
            </c:spPr>
            <c:extLst>
              <c:ext xmlns:c16="http://schemas.microsoft.com/office/drawing/2014/chart" uri="{C3380CC4-5D6E-409C-BE32-E72D297353CC}">
                <c16:uniqueId val="{0000035D-4B1F-42FD-9B84-37A75D366F36}"/>
              </c:ext>
            </c:extLst>
          </c:dPt>
          <c:dPt>
            <c:idx val="430"/>
            <c:invertIfNegative val="1"/>
            <c:bubble3D val="0"/>
            <c:spPr>
              <a:solidFill>
                <a:srgbClr val="7ECAC4"/>
              </a:solidFill>
            </c:spPr>
            <c:extLst>
              <c:ext xmlns:c16="http://schemas.microsoft.com/office/drawing/2014/chart" uri="{C3380CC4-5D6E-409C-BE32-E72D297353CC}">
                <c16:uniqueId val="{0000035F-4B1F-42FD-9B84-37A75D366F36}"/>
              </c:ext>
            </c:extLst>
          </c:dPt>
          <c:dPt>
            <c:idx val="431"/>
            <c:invertIfNegative val="1"/>
            <c:bubble3D val="0"/>
            <c:spPr>
              <a:solidFill>
                <a:srgbClr val="7ECAC4"/>
              </a:solidFill>
            </c:spPr>
            <c:extLst>
              <c:ext xmlns:c16="http://schemas.microsoft.com/office/drawing/2014/chart" uri="{C3380CC4-5D6E-409C-BE32-E72D297353CC}">
                <c16:uniqueId val="{00000361-4B1F-42FD-9B84-37A75D366F36}"/>
              </c:ext>
            </c:extLst>
          </c:dPt>
          <c:dPt>
            <c:idx val="432"/>
            <c:invertIfNegative val="1"/>
            <c:bubble3D val="0"/>
            <c:spPr>
              <a:solidFill>
                <a:srgbClr val="7ECAC4"/>
              </a:solidFill>
            </c:spPr>
            <c:extLst>
              <c:ext xmlns:c16="http://schemas.microsoft.com/office/drawing/2014/chart" uri="{C3380CC4-5D6E-409C-BE32-E72D297353CC}">
                <c16:uniqueId val="{00000363-4B1F-42FD-9B84-37A75D366F36}"/>
              </c:ext>
            </c:extLst>
          </c:dPt>
          <c:dPt>
            <c:idx val="433"/>
            <c:invertIfNegative val="1"/>
            <c:bubble3D val="0"/>
            <c:spPr>
              <a:solidFill>
                <a:srgbClr val="7ECAC4"/>
              </a:solidFill>
            </c:spPr>
            <c:extLst>
              <c:ext xmlns:c16="http://schemas.microsoft.com/office/drawing/2014/chart" uri="{C3380CC4-5D6E-409C-BE32-E72D297353CC}">
                <c16:uniqueId val="{00000365-4B1F-42FD-9B84-37A75D366F36}"/>
              </c:ext>
            </c:extLst>
          </c:dPt>
          <c:dPt>
            <c:idx val="434"/>
            <c:invertIfNegative val="1"/>
            <c:bubble3D val="0"/>
            <c:spPr>
              <a:solidFill>
                <a:srgbClr val="7ECAC4"/>
              </a:solidFill>
            </c:spPr>
            <c:extLst>
              <c:ext xmlns:c16="http://schemas.microsoft.com/office/drawing/2014/chart" uri="{C3380CC4-5D6E-409C-BE32-E72D297353CC}">
                <c16:uniqueId val="{00000367-4B1F-42FD-9B84-37A75D366F36}"/>
              </c:ext>
            </c:extLst>
          </c:dPt>
          <c:dPt>
            <c:idx val="435"/>
            <c:invertIfNegative val="1"/>
            <c:bubble3D val="0"/>
            <c:spPr>
              <a:solidFill>
                <a:srgbClr val="7ECAC4"/>
              </a:solidFill>
            </c:spPr>
            <c:extLst>
              <c:ext xmlns:c16="http://schemas.microsoft.com/office/drawing/2014/chart" uri="{C3380CC4-5D6E-409C-BE32-E72D297353CC}">
                <c16:uniqueId val="{00000369-4B1F-42FD-9B84-37A75D366F36}"/>
              </c:ext>
            </c:extLst>
          </c:dPt>
          <c:dPt>
            <c:idx val="436"/>
            <c:invertIfNegative val="1"/>
            <c:bubble3D val="0"/>
            <c:spPr>
              <a:solidFill>
                <a:srgbClr val="7ECAC4"/>
              </a:solidFill>
            </c:spPr>
            <c:extLst>
              <c:ext xmlns:c16="http://schemas.microsoft.com/office/drawing/2014/chart" uri="{C3380CC4-5D6E-409C-BE32-E72D297353CC}">
                <c16:uniqueId val="{0000036B-4B1F-42FD-9B84-37A75D366F36}"/>
              </c:ext>
            </c:extLst>
          </c:dPt>
          <c:dPt>
            <c:idx val="437"/>
            <c:invertIfNegative val="1"/>
            <c:bubble3D val="0"/>
            <c:spPr>
              <a:solidFill>
                <a:srgbClr val="7ECAC4"/>
              </a:solidFill>
            </c:spPr>
            <c:extLst>
              <c:ext xmlns:c16="http://schemas.microsoft.com/office/drawing/2014/chart" uri="{C3380CC4-5D6E-409C-BE32-E72D297353CC}">
                <c16:uniqueId val="{0000036D-4B1F-42FD-9B84-37A75D366F36}"/>
              </c:ext>
            </c:extLst>
          </c:dPt>
          <c:dPt>
            <c:idx val="438"/>
            <c:invertIfNegative val="1"/>
            <c:bubble3D val="0"/>
            <c:spPr>
              <a:solidFill>
                <a:srgbClr val="7ECAC4"/>
              </a:solidFill>
            </c:spPr>
            <c:extLst>
              <c:ext xmlns:c16="http://schemas.microsoft.com/office/drawing/2014/chart" uri="{C3380CC4-5D6E-409C-BE32-E72D297353CC}">
                <c16:uniqueId val="{0000036F-4B1F-42FD-9B84-37A75D366F36}"/>
              </c:ext>
            </c:extLst>
          </c:dPt>
          <c:dPt>
            <c:idx val="439"/>
            <c:invertIfNegative val="1"/>
            <c:bubble3D val="0"/>
            <c:spPr>
              <a:solidFill>
                <a:srgbClr val="7ECAC4"/>
              </a:solidFill>
            </c:spPr>
            <c:extLst>
              <c:ext xmlns:c16="http://schemas.microsoft.com/office/drawing/2014/chart" uri="{C3380CC4-5D6E-409C-BE32-E72D297353CC}">
                <c16:uniqueId val="{00000371-4B1F-42FD-9B84-37A75D366F36}"/>
              </c:ext>
            </c:extLst>
          </c:dPt>
          <c:dPt>
            <c:idx val="440"/>
            <c:invertIfNegative val="1"/>
            <c:bubble3D val="0"/>
            <c:spPr>
              <a:solidFill>
                <a:srgbClr val="7ECAC4"/>
              </a:solidFill>
            </c:spPr>
            <c:extLst>
              <c:ext xmlns:c16="http://schemas.microsoft.com/office/drawing/2014/chart" uri="{C3380CC4-5D6E-409C-BE32-E72D297353CC}">
                <c16:uniqueId val="{00000373-4B1F-42FD-9B84-37A75D366F36}"/>
              </c:ext>
            </c:extLst>
          </c:dPt>
          <c:dPt>
            <c:idx val="441"/>
            <c:invertIfNegative val="1"/>
            <c:bubble3D val="0"/>
            <c:spPr>
              <a:solidFill>
                <a:srgbClr val="7ECAC4"/>
              </a:solidFill>
            </c:spPr>
            <c:extLst>
              <c:ext xmlns:c16="http://schemas.microsoft.com/office/drawing/2014/chart" uri="{C3380CC4-5D6E-409C-BE32-E72D297353CC}">
                <c16:uniqueId val="{00000375-4B1F-42FD-9B84-37A75D366F36}"/>
              </c:ext>
            </c:extLst>
          </c:dPt>
          <c:dPt>
            <c:idx val="442"/>
            <c:invertIfNegative val="1"/>
            <c:bubble3D val="0"/>
            <c:spPr>
              <a:solidFill>
                <a:srgbClr val="7ECAC4"/>
              </a:solidFill>
            </c:spPr>
            <c:extLst>
              <c:ext xmlns:c16="http://schemas.microsoft.com/office/drawing/2014/chart" uri="{C3380CC4-5D6E-409C-BE32-E72D297353CC}">
                <c16:uniqueId val="{00000377-4B1F-42FD-9B84-37A75D366F36}"/>
              </c:ext>
            </c:extLst>
          </c:dPt>
          <c:dPt>
            <c:idx val="443"/>
            <c:invertIfNegative val="1"/>
            <c:bubble3D val="0"/>
            <c:spPr>
              <a:solidFill>
                <a:srgbClr val="7ECAC4"/>
              </a:solidFill>
            </c:spPr>
            <c:extLst>
              <c:ext xmlns:c16="http://schemas.microsoft.com/office/drawing/2014/chart" uri="{C3380CC4-5D6E-409C-BE32-E72D297353CC}">
                <c16:uniqueId val="{00000379-4B1F-42FD-9B84-37A75D366F36}"/>
              </c:ext>
            </c:extLst>
          </c:dPt>
          <c:dPt>
            <c:idx val="444"/>
            <c:invertIfNegative val="1"/>
            <c:bubble3D val="0"/>
            <c:spPr>
              <a:solidFill>
                <a:srgbClr val="7ECAC4"/>
              </a:solidFill>
            </c:spPr>
            <c:extLst>
              <c:ext xmlns:c16="http://schemas.microsoft.com/office/drawing/2014/chart" uri="{C3380CC4-5D6E-409C-BE32-E72D297353CC}">
                <c16:uniqueId val="{0000037B-4B1F-42FD-9B84-37A75D366F36}"/>
              </c:ext>
            </c:extLst>
          </c:dPt>
          <c:dPt>
            <c:idx val="445"/>
            <c:invertIfNegative val="1"/>
            <c:bubble3D val="0"/>
            <c:spPr>
              <a:solidFill>
                <a:srgbClr val="7ECAC4"/>
              </a:solidFill>
            </c:spPr>
            <c:extLst>
              <c:ext xmlns:c16="http://schemas.microsoft.com/office/drawing/2014/chart" uri="{C3380CC4-5D6E-409C-BE32-E72D297353CC}">
                <c16:uniqueId val="{0000037D-4B1F-42FD-9B84-37A75D366F36}"/>
              </c:ext>
            </c:extLst>
          </c:dPt>
          <c:dPt>
            <c:idx val="446"/>
            <c:invertIfNegative val="1"/>
            <c:bubble3D val="0"/>
            <c:spPr>
              <a:solidFill>
                <a:srgbClr val="7ECAC4"/>
              </a:solidFill>
            </c:spPr>
            <c:extLst>
              <c:ext xmlns:c16="http://schemas.microsoft.com/office/drawing/2014/chart" uri="{C3380CC4-5D6E-409C-BE32-E72D297353CC}">
                <c16:uniqueId val="{0000037F-4B1F-42FD-9B84-37A75D366F36}"/>
              </c:ext>
            </c:extLst>
          </c:dPt>
          <c:dPt>
            <c:idx val="447"/>
            <c:invertIfNegative val="1"/>
            <c:bubble3D val="0"/>
            <c:spPr>
              <a:solidFill>
                <a:srgbClr val="7ECAC4"/>
              </a:solidFill>
            </c:spPr>
            <c:extLst>
              <c:ext xmlns:c16="http://schemas.microsoft.com/office/drawing/2014/chart" uri="{C3380CC4-5D6E-409C-BE32-E72D297353CC}">
                <c16:uniqueId val="{00000381-4B1F-42FD-9B84-37A75D366F36}"/>
              </c:ext>
            </c:extLst>
          </c:dPt>
          <c:dPt>
            <c:idx val="448"/>
            <c:invertIfNegative val="1"/>
            <c:bubble3D val="0"/>
            <c:spPr>
              <a:solidFill>
                <a:srgbClr val="7ECAC4"/>
              </a:solidFill>
            </c:spPr>
            <c:extLst>
              <c:ext xmlns:c16="http://schemas.microsoft.com/office/drawing/2014/chart" uri="{C3380CC4-5D6E-409C-BE32-E72D297353CC}">
                <c16:uniqueId val="{00000383-4B1F-42FD-9B84-37A75D366F36}"/>
              </c:ext>
            </c:extLst>
          </c:dPt>
          <c:dPt>
            <c:idx val="449"/>
            <c:invertIfNegative val="1"/>
            <c:bubble3D val="0"/>
            <c:spPr>
              <a:solidFill>
                <a:srgbClr val="7ECAC4"/>
              </a:solidFill>
            </c:spPr>
            <c:extLst>
              <c:ext xmlns:c16="http://schemas.microsoft.com/office/drawing/2014/chart" uri="{C3380CC4-5D6E-409C-BE32-E72D297353CC}">
                <c16:uniqueId val="{00000385-4B1F-42FD-9B84-37A75D366F36}"/>
              </c:ext>
            </c:extLst>
          </c:dPt>
          <c:dPt>
            <c:idx val="450"/>
            <c:invertIfNegative val="1"/>
            <c:bubble3D val="0"/>
            <c:spPr>
              <a:solidFill>
                <a:srgbClr val="7ECAC4"/>
              </a:solidFill>
            </c:spPr>
            <c:extLst>
              <c:ext xmlns:c16="http://schemas.microsoft.com/office/drawing/2014/chart" uri="{C3380CC4-5D6E-409C-BE32-E72D297353CC}">
                <c16:uniqueId val="{00000387-4B1F-42FD-9B84-37A75D366F36}"/>
              </c:ext>
            </c:extLst>
          </c:dPt>
          <c:dPt>
            <c:idx val="451"/>
            <c:invertIfNegative val="1"/>
            <c:bubble3D val="0"/>
            <c:spPr>
              <a:solidFill>
                <a:srgbClr val="7ECAC4"/>
              </a:solidFill>
            </c:spPr>
            <c:extLst>
              <c:ext xmlns:c16="http://schemas.microsoft.com/office/drawing/2014/chart" uri="{C3380CC4-5D6E-409C-BE32-E72D297353CC}">
                <c16:uniqueId val="{00000389-4B1F-42FD-9B84-37A75D366F36}"/>
              </c:ext>
            </c:extLst>
          </c:dPt>
          <c:dPt>
            <c:idx val="452"/>
            <c:invertIfNegative val="1"/>
            <c:bubble3D val="0"/>
            <c:spPr>
              <a:solidFill>
                <a:srgbClr val="7ECAC4"/>
              </a:solidFill>
            </c:spPr>
            <c:extLst>
              <c:ext xmlns:c16="http://schemas.microsoft.com/office/drawing/2014/chart" uri="{C3380CC4-5D6E-409C-BE32-E72D297353CC}">
                <c16:uniqueId val="{0000038B-4B1F-42FD-9B84-37A75D366F36}"/>
              </c:ext>
            </c:extLst>
          </c:dPt>
          <c:dPt>
            <c:idx val="453"/>
            <c:invertIfNegative val="1"/>
            <c:bubble3D val="0"/>
            <c:spPr>
              <a:solidFill>
                <a:srgbClr val="7ECAC4"/>
              </a:solidFill>
            </c:spPr>
            <c:extLst>
              <c:ext xmlns:c16="http://schemas.microsoft.com/office/drawing/2014/chart" uri="{C3380CC4-5D6E-409C-BE32-E72D297353CC}">
                <c16:uniqueId val="{0000038D-4B1F-42FD-9B84-37A75D366F36}"/>
              </c:ext>
            </c:extLst>
          </c:dPt>
          <c:dPt>
            <c:idx val="454"/>
            <c:invertIfNegative val="1"/>
            <c:bubble3D val="0"/>
            <c:spPr>
              <a:solidFill>
                <a:srgbClr val="7ECAC4"/>
              </a:solidFill>
            </c:spPr>
            <c:extLst>
              <c:ext xmlns:c16="http://schemas.microsoft.com/office/drawing/2014/chart" uri="{C3380CC4-5D6E-409C-BE32-E72D297353CC}">
                <c16:uniqueId val="{0000038F-4B1F-42FD-9B84-37A75D366F36}"/>
              </c:ext>
            </c:extLst>
          </c:dPt>
          <c:dPt>
            <c:idx val="455"/>
            <c:invertIfNegative val="1"/>
            <c:bubble3D val="0"/>
            <c:spPr>
              <a:solidFill>
                <a:srgbClr val="7ECAC4"/>
              </a:solidFill>
            </c:spPr>
            <c:extLst>
              <c:ext xmlns:c16="http://schemas.microsoft.com/office/drawing/2014/chart" uri="{C3380CC4-5D6E-409C-BE32-E72D297353CC}">
                <c16:uniqueId val="{00000391-4B1F-42FD-9B84-37A75D366F36}"/>
              </c:ext>
            </c:extLst>
          </c:dPt>
          <c:dPt>
            <c:idx val="456"/>
            <c:invertIfNegative val="1"/>
            <c:bubble3D val="0"/>
            <c:spPr>
              <a:solidFill>
                <a:srgbClr val="7ECAC4"/>
              </a:solidFill>
            </c:spPr>
            <c:extLst>
              <c:ext xmlns:c16="http://schemas.microsoft.com/office/drawing/2014/chart" uri="{C3380CC4-5D6E-409C-BE32-E72D297353CC}">
                <c16:uniqueId val="{00000393-4B1F-42FD-9B84-37A75D366F36}"/>
              </c:ext>
            </c:extLst>
          </c:dPt>
          <c:dPt>
            <c:idx val="457"/>
            <c:invertIfNegative val="1"/>
            <c:bubble3D val="0"/>
            <c:spPr>
              <a:solidFill>
                <a:srgbClr val="7ECAC4"/>
              </a:solidFill>
            </c:spPr>
            <c:extLst>
              <c:ext xmlns:c16="http://schemas.microsoft.com/office/drawing/2014/chart" uri="{C3380CC4-5D6E-409C-BE32-E72D297353CC}">
                <c16:uniqueId val="{00000395-4B1F-42FD-9B84-37A75D366F36}"/>
              </c:ext>
            </c:extLst>
          </c:dPt>
          <c:dPt>
            <c:idx val="458"/>
            <c:invertIfNegative val="1"/>
            <c:bubble3D val="0"/>
            <c:spPr>
              <a:solidFill>
                <a:srgbClr val="7ECAC4"/>
              </a:solidFill>
            </c:spPr>
            <c:extLst>
              <c:ext xmlns:c16="http://schemas.microsoft.com/office/drawing/2014/chart" uri="{C3380CC4-5D6E-409C-BE32-E72D297353CC}">
                <c16:uniqueId val="{00000397-4B1F-42FD-9B84-37A75D366F36}"/>
              </c:ext>
            </c:extLst>
          </c:dPt>
          <c:dPt>
            <c:idx val="459"/>
            <c:invertIfNegative val="1"/>
            <c:bubble3D val="0"/>
            <c:spPr>
              <a:solidFill>
                <a:srgbClr val="7ECAC4"/>
              </a:solidFill>
            </c:spPr>
            <c:extLst>
              <c:ext xmlns:c16="http://schemas.microsoft.com/office/drawing/2014/chart" uri="{C3380CC4-5D6E-409C-BE32-E72D297353CC}">
                <c16:uniqueId val="{00000399-4B1F-42FD-9B84-37A75D366F36}"/>
              </c:ext>
            </c:extLst>
          </c:dPt>
          <c:dPt>
            <c:idx val="460"/>
            <c:invertIfNegative val="1"/>
            <c:bubble3D val="0"/>
            <c:spPr>
              <a:solidFill>
                <a:srgbClr val="7ECAC4"/>
              </a:solidFill>
            </c:spPr>
            <c:extLst>
              <c:ext xmlns:c16="http://schemas.microsoft.com/office/drawing/2014/chart" uri="{C3380CC4-5D6E-409C-BE32-E72D297353CC}">
                <c16:uniqueId val="{0000039B-4B1F-42FD-9B84-37A75D366F36}"/>
              </c:ext>
            </c:extLst>
          </c:dPt>
          <c:dPt>
            <c:idx val="461"/>
            <c:invertIfNegative val="1"/>
            <c:bubble3D val="0"/>
            <c:spPr>
              <a:solidFill>
                <a:srgbClr val="7ECAC4"/>
              </a:solidFill>
            </c:spPr>
            <c:extLst>
              <c:ext xmlns:c16="http://schemas.microsoft.com/office/drawing/2014/chart" uri="{C3380CC4-5D6E-409C-BE32-E72D297353CC}">
                <c16:uniqueId val="{0000039D-4B1F-42FD-9B84-37A75D366F36}"/>
              </c:ext>
            </c:extLst>
          </c:dPt>
          <c:dPt>
            <c:idx val="462"/>
            <c:invertIfNegative val="1"/>
            <c:bubble3D val="0"/>
            <c:spPr>
              <a:solidFill>
                <a:srgbClr val="7ECAC4"/>
              </a:solidFill>
            </c:spPr>
            <c:extLst>
              <c:ext xmlns:c16="http://schemas.microsoft.com/office/drawing/2014/chart" uri="{C3380CC4-5D6E-409C-BE32-E72D297353CC}">
                <c16:uniqueId val="{0000039F-4B1F-42FD-9B84-37A75D366F36}"/>
              </c:ext>
            </c:extLst>
          </c:dPt>
          <c:dPt>
            <c:idx val="463"/>
            <c:invertIfNegative val="1"/>
            <c:bubble3D val="0"/>
            <c:spPr>
              <a:solidFill>
                <a:srgbClr val="AEABAB"/>
              </a:solidFill>
            </c:spPr>
            <c:extLst>
              <c:ext xmlns:c16="http://schemas.microsoft.com/office/drawing/2014/chart" uri="{C3380CC4-5D6E-409C-BE32-E72D297353CC}">
                <c16:uniqueId val="{000003A1-4B1F-42FD-9B84-37A75D366F36}"/>
              </c:ext>
            </c:extLst>
          </c:dPt>
          <c:dPt>
            <c:idx val="464"/>
            <c:invertIfNegative val="1"/>
            <c:bubble3D val="0"/>
            <c:spPr>
              <a:solidFill>
                <a:srgbClr val="AEABAB"/>
              </a:solidFill>
            </c:spPr>
            <c:extLst>
              <c:ext xmlns:c16="http://schemas.microsoft.com/office/drawing/2014/chart" uri="{C3380CC4-5D6E-409C-BE32-E72D297353CC}">
                <c16:uniqueId val="{000003A3-4B1F-42FD-9B84-37A75D366F36}"/>
              </c:ext>
            </c:extLst>
          </c:dPt>
          <c:dPt>
            <c:idx val="465"/>
            <c:invertIfNegative val="1"/>
            <c:bubble3D val="0"/>
            <c:spPr>
              <a:solidFill>
                <a:srgbClr val="AEABAB"/>
              </a:solidFill>
            </c:spPr>
            <c:extLst>
              <c:ext xmlns:c16="http://schemas.microsoft.com/office/drawing/2014/chart" uri="{C3380CC4-5D6E-409C-BE32-E72D297353CC}">
                <c16:uniqueId val="{000003A5-4B1F-42FD-9B84-37A75D366F36}"/>
              </c:ext>
            </c:extLst>
          </c:dPt>
          <c:dPt>
            <c:idx val="466"/>
            <c:invertIfNegative val="1"/>
            <c:bubble3D val="0"/>
            <c:spPr>
              <a:solidFill>
                <a:srgbClr val="AEABAB"/>
              </a:solidFill>
            </c:spPr>
            <c:extLst>
              <c:ext xmlns:c16="http://schemas.microsoft.com/office/drawing/2014/chart" uri="{C3380CC4-5D6E-409C-BE32-E72D297353CC}">
                <c16:uniqueId val="{000003A7-4B1F-42FD-9B84-37A75D366F36}"/>
              </c:ext>
            </c:extLst>
          </c:dPt>
          <c:dPt>
            <c:idx val="467"/>
            <c:invertIfNegative val="1"/>
            <c:bubble3D val="0"/>
            <c:spPr>
              <a:solidFill>
                <a:srgbClr val="AEABAB"/>
              </a:solidFill>
            </c:spPr>
            <c:extLst>
              <c:ext xmlns:c16="http://schemas.microsoft.com/office/drawing/2014/chart" uri="{C3380CC4-5D6E-409C-BE32-E72D297353CC}">
                <c16:uniqueId val="{000003A9-4B1F-42FD-9B84-37A75D366F36}"/>
              </c:ext>
            </c:extLst>
          </c:dPt>
          <c:dPt>
            <c:idx val="468"/>
            <c:invertIfNegative val="1"/>
            <c:bubble3D val="0"/>
            <c:spPr>
              <a:solidFill>
                <a:srgbClr val="AEABAB"/>
              </a:solidFill>
            </c:spPr>
            <c:extLst>
              <c:ext xmlns:c16="http://schemas.microsoft.com/office/drawing/2014/chart" uri="{C3380CC4-5D6E-409C-BE32-E72D297353CC}">
                <c16:uniqueId val="{000003AB-4B1F-42FD-9B84-37A75D366F36}"/>
              </c:ext>
            </c:extLst>
          </c:dPt>
          <c:dPt>
            <c:idx val="469"/>
            <c:invertIfNegative val="1"/>
            <c:bubble3D val="0"/>
            <c:spPr>
              <a:solidFill>
                <a:srgbClr val="AEABAB"/>
              </a:solidFill>
            </c:spPr>
            <c:extLst>
              <c:ext xmlns:c16="http://schemas.microsoft.com/office/drawing/2014/chart" uri="{C3380CC4-5D6E-409C-BE32-E72D297353CC}">
                <c16:uniqueId val="{000003AD-4B1F-42FD-9B84-37A75D366F36}"/>
              </c:ext>
            </c:extLst>
          </c:dPt>
          <c:dPt>
            <c:idx val="470"/>
            <c:invertIfNegative val="1"/>
            <c:bubble3D val="0"/>
            <c:spPr>
              <a:solidFill>
                <a:srgbClr val="AEABAB"/>
              </a:solidFill>
            </c:spPr>
            <c:extLst>
              <c:ext xmlns:c16="http://schemas.microsoft.com/office/drawing/2014/chart" uri="{C3380CC4-5D6E-409C-BE32-E72D297353CC}">
                <c16:uniqueId val="{000003AF-4B1F-42FD-9B84-37A75D366F36}"/>
              </c:ext>
            </c:extLst>
          </c:dPt>
          <c:dPt>
            <c:idx val="471"/>
            <c:invertIfNegative val="1"/>
            <c:bubble3D val="0"/>
            <c:spPr>
              <a:solidFill>
                <a:srgbClr val="AEABAB"/>
              </a:solidFill>
            </c:spPr>
            <c:extLst>
              <c:ext xmlns:c16="http://schemas.microsoft.com/office/drawing/2014/chart" uri="{C3380CC4-5D6E-409C-BE32-E72D297353CC}">
                <c16:uniqueId val="{000003B1-4B1F-42FD-9B84-37A75D366F36}"/>
              </c:ext>
            </c:extLst>
          </c:dPt>
          <c:dPt>
            <c:idx val="472"/>
            <c:invertIfNegative val="1"/>
            <c:bubble3D val="0"/>
            <c:spPr>
              <a:solidFill>
                <a:srgbClr val="AEABAB"/>
              </a:solidFill>
            </c:spPr>
            <c:extLst>
              <c:ext xmlns:c16="http://schemas.microsoft.com/office/drawing/2014/chart" uri="{C3380CC4-5D6E-409C-BE32-E72D297353CC}">
                <c16:uniqueId val="{000003B3-4B1F-42FD-9B84-37A75D366F36}"/>
              </c:ext>
            </c:extLst>
          </c:dPt>
          <c:dPt>
            <c:idx val="473"/>
            <c:invertIfNegative val="1"/>
            <c:bubble3D val="0"/>
            <c:spPr>
              <a:solidFill>
                <a:srgbClr val="AEABAB"/>
              </a:solidFill>
            </c:spPr>
            <c:extLst>
              <c:ext xmlns:c16="http://schemas.microsoft.com/office/drawing/2014/chart" uri="{C3380CC4-5D6E-409C-BE32-E72D297353CC}">
                <c16:uniqueId val="{000003B5-4B1F-42FD-9B84-37A75D366F36}"/>
              </c:ext>
            </c:extLst>
          </c:dPt>
          <c:dPt>
            <c:idx val="474"/>
            <c:invertIfNegative val="1"/>
            <c:bubble3D val="0"/>
            <c:spPr>
              <a:solidFill>
                <a:srgbClr val="AEABAB"/>
              </a:solidFill>
            </c:spPr>
            <c:extLst>
              <c:ext xmlns:c16="http://schemas.microsoft.com/office/drawing/2014/chart" uri="{C3380CC4-5D6E-409C-BE32-E72D297353CC}">
                <c16:uniqueId val="{000003B7-4B1F-42FD-9B84-37A75D366F36}"/>
              </c:ext>
            </c:extLst>
          </c:dPt>
          <c:dPt>
            <c:idx val="475"/>
            <c:invertIfNegative val="1"/>
            <c:bubble3D val="0"/>
            <c:spPr>
              <a:solidFill>
                <a:srgbClr val="AEABAB"/>
              </a:solidFill>
            </c:spPr>
            <c:extLst>
              <c:ext xmlns:c16="http://schemas.microsoft.com/office/drawing/2014/chart" uri="{C3380CC4-5D6E-409C-BE32-E72D297353CC}">
                <c16:uniqueId val="{000003B9-4B1F-42FD-9B84-37A75D366F36}"/>
              </c:ext>
            </c:extLst>
          </c:dPt>
          <c:dPt>
            <c:idx val="476"/>
            <c:invertIfNegative val="1"/>
            <c:bubble3D val="0"/>
            <c:spPr>
              <a:solidFill>
                <a:srgbClr val="AEABAB"/>
              </a:solidFill>
            </c:spPr>
            <c:extLst>
              <c:ext xmlns:c16="http://schemas.microsoft.com/office/drawing/2014/chart" uri="{C3380CC4-5D6E-409C-BE32-E72D297353CC}">
                <c16:uniqueId val="{000003BB-4B1F-42FD-9B84-37A75D366F36}"/>
              </c:ext>
            </c:extLst>
          </c:dPt>
          <c:dPt>
            <c:idx val="477"/>
            <c:invertIfNegative val="1"/>
            <c:bubble3D val="0"/>
            <c:spPr>
              <a:solidFill>
                <a:srgbClr val="AEABAB"/>
              </a:solidFill>
            </c:spPr>
            <c:extLst>
              <c:ext xmlns:c16="http://schemas.microsoft.com/office/drawing/2014/chart" uri="{C3380CC4-5D6E-409C-BE32-E72D297353CC}">
                <c16:uniqueId val="{000003BD-4B1F-42FD-9B84-37A75D366F36}"/>
              </c:ext>
            </c:extLst>
          </c:dPt>
          <c:dPt>
            <c:idx val="478"/>
            <c:invertIfNegative val="1"/>
            <c:bubble3D val="0"/>
            <c:spPr>
              <a:solidFill>
                <a:srgbClr val="AEABAB"/>
              </a:solidFill>
            </c:spPr>
            <c:extLst>
              <c:ext xmlns:c16="http://schemas.microsoft.com/office/drawing/2014/chart" uri="{C3380CC4-5D6E-409C-BE32-E72D297353CC}">
                <c16:uniqueId val="{000003BF-4B1F-42FD-9B84-37A75D366F36}"/>
              </c:ext>
            </c:extLst>
          </c:dPt>
          <c:dPt>
            <c:idx val="479"/>
            <c:invertIfNegative val="1"/>
            <c:bubble3D val="0"/>
            <c:spPr>
              <a:solidFill>
                <a:srgbClr val="AEABAB"/>
              </a:solidFill>
            </c:spPr>
            <c:extLst>
              <c:ext xmlns:c16="http://schemas.microsoft.com/office/drawing/2014/chart" uri="{C3380CC4-5D6E-409C-BE32-E72D297353CC}">
                <c16:uniqueId val="{000003C1-4B1F-42FD-9B84-37A75D366F36}"/>
              </c:ext>
            </c:extLst>
          </c:dPt>
          <c:dPt>
            <c:idx val="480"/>
            <c:invertIfNegative val="1"/>
            <c:bubble3D val="0"/>
            <c:spPr>
              <a:solidFill>
                <a:srgbClr val="AEABAB"/>
              </a:solidFill>
            </c:spPr>
            <c:extLst>
              <c:ext xmlns:c16="http://schemas.microsoft.com/office/drawing/2014/chart" uri="{C3380CC4-5D6E-409C-BE32-E72D297353CC}">
                <c16:uniqueId val="{000003C3-4B1F-42FD-9B84-37A75D366F36}"/>
              </c:ext>
            </c:extLst>
          </c:dPt>
          <c:dPt>
            <c:idx val="481"/>
            <c:invertIfNegative val="1"/>
            <c:bubble3D val="0"/>
            <c:spPr>
              <a:solidFill>
                <a:srgbClr val="AEABAB"/>
              </a:solidFill>
            </c:spPr>
            <c:extLst>
              <c:ext xmlns:c16="http://schemas.microsoft.com/office/drawing/2014/chart" uri="{C3380CC4-5D6E-409C-BE32-E72D297353CC}">
                <c16:uniqueId val="{000003C5-4B1F-42FD-9B84-37A75D366F36}"/>
              </c:ext>
            </c:extLst>
          </c:dPt>
          <c:dPt>
            <c:idx val="482"/>
            <c:invertIfNegative val="1"/>
            <c:bubble3D val="0"/>
            <c:spPr>
              <a:solidFill>
                <a:srgbClr val="AEABAB"/>
              </a:solidFill>
            </c:spPr>
            <c:extLst>
              <c:ext xmlns:c16="http://schemas.microsoft.com/office/drawing/2014/chart" uri="{C3380CC4-5D6E-409C-BE32-E72D297353CC}">
                <c16:uniqueId val="{000003C7-4B1F-42FD-9B84-37A75D366F36}"/>
              </c:ext>
            </c:extLst>
          </c:dPt>
          <c:dPt>
            <c:idx val="483"/>
            <c:invertIfNegative val="1"/>
            <c:bubble3D val="0"/>
            <c:spPr>
              <a:solidFill>
                <a:srgbClr val="AEABAB"/>
              </a:solidFill>
            </c:spPr>
            <c:extLst>
              <c:ext xmlns:c16="http://schemas.microsoft.com/office/drawing/2014/chart" uri="{C3380CC4-5D6E-409C-BE32-E72D297353CC}">
                <c16:uniqueId val="{000003C9-4B1F-42FD-9B84-37A75D366F36}"/>
              </c:ext>
            </c:extLst>
          </c:dPt>
          <c:dPt>
            <c:idx val="484"/>
            <c:invertIfNegative val="1"/>
            <c:bubble3D val="0"/>
            <c:spPr>
              <a:solidFill>
                <a:srgbClr val="AEABAB"/>
              </a:solidFill>
            </c:spPr>
            <c:extLst>
              <c:ext xmlns:c16="http://schemas.microsoft.com/office/drawing/2014/chart" uri="{C3380CC4-5D6E-409C-BE32-E72D297353CC}">
                <c16:uniqueId val="{000003CB-4B1F-42FD-9B84-37A75D366F36}"/>
              </c:ext>
            </c:extLst>
          </c:dPt>
          <c:dPt>
            <c:idx val="485"/>
            <c:invertIfNegative val="1"/>
            <c:bubble3D val="0"/>
            <c:spPr>
              <a:solidFill>
                <a:srgbClr val="AEABAB"/>
              </a:solidFill>
            </c:spPr>
            <c:extLst>
              <c:ext xmlns:c16="http://schemas.microsoft.com/office/drawing/2014/chart" uri="{C3380CC4-5D6E-409C-BE32-E72D297353CC}">
                <c16:uniqueId val="{000003CD-4B1F-42FD-9B84-37A75D366F36}"/>
              </c:ext>
            </c:extLst>
          </c:dPt>
          <c:dPt>
            <c:idx val="486"/>
            <c:invertIfNegative val="1"/>
            <c:bubble3D val="0"/>
            <c:spPr>
              <a:solidFill>
                <a:srgbClr val="AEABAB"/>
              </a:solidFill>
            </c:spPr>
            <c:extLst>
              <c:ext xmlns:c16="http://schemas.microsoft.com/office/drawing/2014/chart" uri="{C3380CC4-5D6E-409C-BE32-E72D297353CC}">
                <c16:uniqueId val="{000003CF-4B1F-42FD-9B84-37A75D366F36}"/>
              </c:ext>
            </c:extLst>
          </c:dPt>
          <c:dPt>
            <c:idx val="487"/>
            <c:invertIfNegative val="1"/>
            <c:bubble3D val="0"/>
            <c:spPr>
              <a:solidFill>
                <a:srgbClr val="AEABAB"/>
              </a:solidFill>
            </c:spPr>
            <c:extLst>
              <c:ext xmlns:c16="http://schemas.microsoft.com/office/drawing/2014/chart" uri="{C3380CC4-5D6E-409C-BE32-E72D297353CC}">
                <c16:uniqueId val="{000003D1-4B1F-42FD-9B84-37A75D366F36}"/>
              </c:ext>
            </c:extLst>
          </c:dPt>
          <c:dPt>
            <c:idx val="488"/>
            <c:invertIfNegative val="1"/>
            <c:bubble3D val="0"/>
            <c:spPr>
              <a:solidFill>
                <a:srgbClr val="AEABAB"/>
              </a:solidFill>
            </c:spPr>
            <c:extLst>
              <c:ext xmlns:c16="http://schemas.microsoft.com/office/drawing/2014/chart" uri="{C3380CC4-5D6E-409C-BE32-E72D297353CC}">
                <c16:uniqueId val="{000003D3-4B1F-42FD-9B84-37A75D366F36}"/>
              </c:ext>
            </c:extLst>
          </c:dPt>
          <c:dPt>
            <c:idx val="489"/>
            <c:invertIfNegative val="1"/>
            <c:bubble3D val="0"/>
            <c:spPr>
              <a:solidFill>
                <a:srgbClr val="AEABAB"/>
              </a:solidFill>
            </c:spPr>
            <c:extLst>
              <c:ext xmlns:c16="http://schemas.microsoft.com/office/drawing/2014/chart" uri="{C3380CC4-5D6E-409C-BE32-E72D297353CC}">
                <c16:uniqueId val="{000003D5-4B1F-42FD-9B84-37A75D366F36}"/>
              </c:ext>
            </c:extLst>
          </c:dPt>
          <c:dPt>
            <c:idx val="490"/>
            <c:invertIfNegative val="1"/>
            <c:bubble3D val="0"/>
            <c:spPr>
              <a:solidFill>
                <a:srgbClr val="AEABAB"/>
              </a:solidFill>
            </c:spPr>
            <c:extLst>
              <c:ext xmlns:c16="http://schemas.microsoft.com/office/drawing/2014/chart" uri="{C3380CC4-5D6E-409C-BE32-E72D297353CC}">
                <c16:uniqueId val="{000003D7-4B1F-42FD-9B84-37A75D366F36}"/>
              </c:ext>
            </c:extLst>
          </c:dPt>
          <c:dPt>
            <c:idx val="491"/>
            <c:invertIfNegative val="1"/>
            <c:bubble3D val="0"/>
            <c:spPr>
              <a:solidFill>
                <a:srgbClr val="AEABAB"/>
              </a:solidFill>
            </c:spPr>
            <c:extLst>
              <c:ext xmlns:c16="http://schemas.microsoft.com/office/drawing/2014/chart" uri="{C3380CC4-5D6E-409C-BE32-E72D297353CC}">
                <c16:uniqueId val="{000003D9-4B1F-42FD-9B84-37A75D366F36}"/>
              </c:ext>
            </c:extLst>
          </c:dPt>
          <c:dPt>
            <c:idx val="492"/>
            <c:invertIfNegative val="1"/>
            <c:bubble3D val="0"/>
            <c:spPr>
              <a:solidFill>
                <a:srgbClr val="AEABAB"/>
              </a:solidFill>
            </c:spPr>
            <c:extLst>
              <c:ext xmlns:c16="http://schemas.microsoft.com/office/drawing/2014/chart" uri="{C3380CC4-5D6E-409C-BE32-E72D297353CC}">
                <c16:uniqueId val="{000003DB-4B1F-42FD-9B84-37A75D366F36}"/>
              </c:ext>
            </c:extLst>
          </c:dPt>
          <c:dPt>
            <c:idx val="493"/>
            <c:invertIfNegative val="1"/>
            <c:bubble3D val="0"/>
            <c:spPr>
              <a:solidFill>
                <a:srgbClr val="AEABAB"/>
              </a:solidFill>
            </c:spPr>
            <c:extLst>
              <c:ext xmlns:c16="http://schemas.microsoft.com/office/drawing/2014/chart" uri="{C3380CC4-5D6E-409C-BE32-E72D297353CC}">
                <c16:uniqueId val="{000003DD-4B1F-42FD-9B84-37A75D366F36}"/>
              </c:ext>
            </c:extLst>
          </c:dPt>
          <c:dPt>
            <c:idx val="494"/>
            <c:invertIfNegative val="1"/>
            <c:bubble3D val="0"/>
            <c:spPr>
              <a:solidFill>
                <a:srgbClr val="AEABAB"/>
              </a:solidFill>
            </c:spPr>
            <c:extLst>
              <c:ext xmlns:c16="http://schemas.microsoft.com/office/drawing/2014/chart" uri="{C3380CC4-5D6E-409C-BE32-E72D297353CC}">
                <c16:uniqueId val="{000003DF-4B1F-42FD-9B84-37A75D366F36}"/>
              </c:ext>
            </c:extLst>
          </c:dPt>
          <c:dPt>
            <c:idx val="495"/>
            <c:invertIfNegative val="1"/>
            <c:bubble3D val="0"/>
            <c:spPr>
              <a:solidFill>
                <a:srgbClr val="AEABAB"/>
              </a:solidFill>
            </c:spPr>
            <c:extLst>
              <c:ext xmlns:c16="http://schemas.microsoft.com/office/drawing/2014/chart" uri="{C3380CC4-5D6E-409C-BE32-E72D297353CC}">
                <c16:uniqueId val="{000003E1-4B1F-42FD-9B84-37A75D366F36}"/>
              </c:ext>
            </c:extLst>
          </c:dPt>
          <c:dPt>
            <c:idx val="496"/>
            <c:invertIfNegative val="1"/>
            <c:bubble3D val="0"/>
            <c:spPr>
              <a:solidFill>
                <a:srgbClr val="AEABAB"/>
              </a:solidFill>
            </c:spPr>
            <c:extLst>
              <c:ext xmlns:c16="http://schemas.microsoft.com/office/drawing/2014/chart" uri="{C3380CC4-5D6E-409C-BE32-E72D297353CC}">
                <c16:uniqueId val="{000003E3-4B1F-42FD-9B84-37A75D366F36}"/>
              </c:ext>
            </c:extLst>
          </c:dPt>
          <c:dPt>
            <c:idx val="497"/>
            <c:invertIfNegative val="1"/>
            <c:bubble3D val="0"/>
            <c:spPr>
              <a:solidFill>
                <a:srgbClr val="AEABAB"/>
              </a:solidFill>
            </c:spPr>
            <c:extLst>
              <c:ext xmlns:c16="http://schemas.microsoft.com/office/drawing/2014/chart" uri="{C3380CC4-5D6E-409C-BE32-E72D297353CC}">
                <c16:uniqueId val="{000003E5-4B1F-42FD-9B84-37A75D366F36}"/>
              </c:ext>
            </c:extLst>
          </c:dPt>
          <c:dPt>
            <c:idx val="498"/>
            <c:invertIfNegative val="1"/>
            <c:bubble3D val="0"/>
            <c:spPr>
              <a:solidFill>
                <a:srgbClr val="AEABAB"/>
              </a:solidFill>
            </c:spPr>
            <c:extLst>
              <c:ext xmlns:c16="http://schemas.microsoft.com/office/drawing/2014/chart" uri="{C3380CC4-5D6E-409C-BE32-E72D297353CC}">
                <c16:uniqueId val="{000003E7-4B1F-42FD-9B84-37A75D366F36}"/>
              </c:ext>
            </c:extLst>
          </c:dPt>
          <c:dPt>
            <c:idx val="499"/>
            <c:invertIfNegative val="1"/>
            <c:bubble3D val="0"/>
            <c:spPr>
              <a:solidFill>
                <a:srgbClr val="AEABAB"/>
              </a:solidFill>
            </c:spPr>
            <c:extLst>
              <c:ext xmlns:c16="http://schemas.microsoft.com/office/drawing/2014/chart" uri="{C3380CC4-5D6E-409C-BE32-E72D297353CC}">
                <c16:uniqueId val="{000003E9-4B1F-42FD-9B84-37A75D366F36}"/>
              </c:ext>
            </c:extLst>
          </c:dPt>
          <c:dPt>
            <c:idx val="500"/>
            <c:invertIfNegative val="1"/>
            <c:bubble3D val="0"/>
            <c:spPr>
              <a:solidFill>
                <a:srgbClr val="AEABAB"/>
              </a:solidFill>
            </c:spPr>
            <c:extLst>
              <c:ext xmlns:c16="http://schemas.microsoft.com/office/drawing/2014/chart" uri="{C3380CC4-5D6E-409C-BE32-E72D297353CC}">
                <c16:uniqueId val="{000003EB-4B1F-42FD-9B84-37A75D366F36}"/>
              </c:ext>
            </c:extLst>
          </c:dPt>
          <c:dPt>
            <c:idx val="501"/>
            <c:invertIfNegative val="1"/>
            <c:bubble3D val="0"/>
            <c:spPr>
              <a:solidFill>
                <a:srgbClr val="AEABAB"/>
              </a:solidFill>
            </c:spPr>
            <c:extLst>
              <c:ext xmlns:c16="http://schemas.microsoft.com/office/drawing/2014/chart" uri="{C3380CC4-5D6E-409C-BE32-E72D297353CC}">
                <c16:uniqueId val="{000003ED-4B1F-42FD-9B84-37A75D366F36}"/>
              </c:ext>
            </c:extLst>
          </c:dPt>
          <c:dPt>
            <c:idx val="502"/>
            <c:invertIfNegative val="1"/>
            <c:bubble3D val="0"/>
            <c:spPr>
              <a:solidFill>
                <a:srgbClr val="AEABAB"/>
              </a:solidFill>
            </c:spPr>
            <c:extLst>
              <c:ext xmlns:c16="http://schemas.microsoft.com/office/drawing/2014/chart" uri="{C3380CC4-5D6E-409C-BE32-E72D297353CC}">
                <c16:uniqueId val="{000003EF-4B1F-42FD-9B84-37A75D366F36}"/>
              </c:ext>
            </c:extLst>
          </c:dPt>
          <c:dPt>
            <c:idx val="503"/>
            <c:invertIfNegative val="1"/>
            <c:bubble3D val="0"/>
            <c:spPr>
              <a:solidFill>
                <a:srgbClr val="AEABAB"/>
              </a:solidFill>
            </c:spPr>
            <c:extLst>
              <c:ext xmlns:c16="http://schemas.microsoft.com/office/drawing/2014/chart" uri="{C3380CC4-5D6E-409C-BE32-E72D297353CC}">
                <c16:uniqueId val="{000003F1-4B1F-42FD-9B84-37A75D366F36}"/>
              </c:ext>
            </c:extLst>
          </c:dPt>
          <c:dPt>
            <c:idx val="504"/>
            <c:invertIfNegative val="1"/>
            <c:bubble3D val="0"/>
            <c:spPr>
              <a:solidFill>
                <a:srgbClr val="AEABAB"/>
              </a:solidFill>
            </c:spPr>
            <c:extLst>
              <c:ext xmlns:c16="http://schemas.microsoft.com/office/drawing/2014/chart" uri="{C3380CC4-5D6E-409C-BE32-E72D297353CC}">
                <c16:uniqueId val="{000003F3-4B1F-42FD-9B84-37A75D366F36}"/>
              </c:ext>
            </c:extLst>
          </c:dPt>
          <c:dPt>
            <c:idx val="505"/>
            <c:invertIfNegative val="1"/>
            <c:bubble3D val="0"/>
            <c:spPr>
              <a:solidFill>
                <a:srgbClr val="AEABAB"/>
              </a:solidFill>
            </c:spPr>
            <c:extLst>
              <c:ext xmlns:c16="http://schemas.microsoft.com/office/drawing/2014/chart" uri="{C3380CC4-5D6E-409C-BE32-E72D297353CC}">
                <c16:uniqueId val="{000003F5-4B1F-42FD-9B84-37A75D366F36}"/>
              </c:ext>
            </c:extLst>
          </c:dPt>
          <c:dPt>
            <c:idx val="506"/>
            <c:invertIfNegative val="1"/>
            <c:bubble3D val="0"/>
            <c:spPr>
              <a:solidFill>
                <a:srgbClr val="AEABAB"/>
              </a:solidFill>
            </c:spPr>
            <c:extLst>
              <c:ext xmlns:c16="http://schemas.microsoft.com/office/drawing/2014/chart" uri="{C3380CC4-5D6E-409C-BE32-E72D297353CC}">
                <c16:uniqueId val="{000003F7-4B1F-42FD-9B84-37A75D366F36}"/>
              </c:ext>
            </c:extLst>
          </c:dPt>
          <c:dPt>
            <c:idx val="507"/>
            <c:invertIfNegative val="1"/>
            <c:bubble3D val="0"/>
            <c:spPr>
              <a:solidFill>
                <a:srgbClr val="AEABAB"/>
              </a:solidFill>
            </c:spPr>
            <c:extLst>
              <c:ext xmlns:c16="http://schemas.microsoft.com/office/drawing/2014/chart" uri="{C3380CC4-5D6E-409C-BE32-E72D297353CC}">
                <c16:uniqueId val="{000003F9-4B1F-42FD-9B84-37A75D366F36}"/>
              </c:ext>
            </c:extLst>
          </c:dPt>
          <c:dPt>
            <c:idx val="508"/>
            <c:invertIfNegative val="1"/>
            <c:bubble3D val="0"/>
            <c:spPr>
              <a:solidFill>
                <a:srgbClr val="AEABAB"/>
              </a:solidFill>
            </c:spPr>
            <c:extLst>
              <c:ext xmlns:c16="http://schemas.microsoft.com/office/drawing/2014/chart" uri="{C3380CC4-5D6E-409C-BE32-E72D297353CC}">
                <c16:uniqueId val="{000003FB-4B1F-42FD-9B84-37A75D366F36}"/>
              </c:ext>
            </c:extLst>
          </c:dPt>
          <c:dPt>
            <c:idx val="509"/>
            <c:invertIfNegative val="1"/>
            <c:bubble3D val="0"/>
            <c:spPr>
              <a:solidFill>
                <a:srgbClr val="AEABAB"/>
              </a:solidFill>
            </c:spPr>
            <c:extLst>
              <c:ext xmlns:c16="http://schemas.microsoft.com/office/drawing/2014/chart" uri="{C3380CC4-5D6E-409C-BE32-E72D297353CC}">
                <c16:uniqueId val="{000003FD-4B1F-42FD-9B84-37A75D366F36}"/>
              </c:ext>
            </c:extLst>
          </c:dPt>
          <c:dPt>
            <c:idx val="510"/>
            <c:invertIfNegative val="1"/>
            <c:bubble3D val="0"/>
            <c:spPr>
              <a:solidFill>
                <a:srgbClr val="AEABAB"/>
              </a:solidFill>
            </c:spPr>
            <c:extLst>
              <c:ext xmlns:c16="http://schemas.microsoft.com/office/drawing/2014/chart" uri="{C3380CC4-5D6E-409C-BE32-E72D297353CC}">
                <c16:uniqueId val="{000003FF-4B1F-42FD-9B84-37A75D366F36}"/>
              </c:ext>
            </c:extLst>
          </c:dPt>
          <c:dPt>
            <c:idx val="511"/>
            <c:invertIfNegative val="1"/>
            <c:bubble3D val="0"/>
            <c:spPr>
              <a:solidFill>
                <a:srgbClr val="AEABAB"/>
              </a:solidFill>
            </c:spPr>
            <c:extLst>
              <c:ext xmlns:c16="http://schemas.microsoft.com/office/drawing/2014/chart" uri="{C3380CC4-5D6E-409C-BE32-E72D297353CC}">
                <c16:uniqueId val="{00000401-4B1F-42FD-9B84-37A75D366F36}"/>
              </c:ext>
            </c:extLst>
          </c:dPt>
          <c:dPt>
            <c:idx val="512"/>
            <c:invertIfNegative val="1"/>
            <c:bubble3D val="0"/>
            <c:spPr>
              <a:solidFill>
                <a:srgbClr val="AEABAB"/>
              </a:solidFill>
            </c:spPr>
            <c:extLst>
              <c:ext xmlns:c16="http://schemas.microsoft.com/office/drawing/2014/chart" uri="{C3380CC4-5D6E-409C-BE32-E72D297353CC}">
                <c16:uniqueId val="{00000403-4B1F-42FD-9B84-37A75D366F36}"/>
              </c:ext>
            </c:extLst>
          </c:dPt>
          <c:dPt>
            <c:idx val="513"/>
            <c:invertIfNegative val="1"/>
            <c:bubble3D val="0"/>
            <c:spPr>
              <a:solidFill>
                <a:srgbClr val="AEABAB"/>
              </a:solidFill>
            </c:spPr>
            <c:extLst>
              <c:ext xmlns:c16="http://schemas.microsoft.com/office/drawing/2014/chart" uri="{C3380CC4-5D6E-409C-BE32-E72D297353CC}">
                <c16:uniqueId val="{00000405-4B1F-42FD-9B84-37A75D366F36}"/>
              </c:ext>
            </c:extLst>
          </c:dPt>
          <c:dPt>
            <c:idx val="514"/>
            <c:invertIfNegative val="1"/>
            <c:bubble3D val="0"/>
            <c:spPr>
              <a:solidFill>
                <a:srgbClr val="AEABAB"/>
              </a:solidFill>
            </c:spPr>
            <c:extLst>
              <c:ext xmlns:c16="http://schemas.microsoft.com/office/drawing/2014/chart" uri="{C3380CC4-5D6E-409C-BE32-E72D297353CC}">
                <c16:uniqueId val="{00000407-4B1F-42FD-9B84-37A75D366F36}"/>
              </c:ext>
            </c:extLst>
          </c:dPt>
          <c:dPt>
            <c:idx val="515"/>
            <c:invertIfNegative val="1"/>
            <c:bubble3D val="0"/>
            <c:spPr>
              <a:solidFill>
                <a:srgbClr val="AEABAB"/>
              </a:solidFill>
            </c:spPr>
            <c:extLst>
              <c:ext xmlns:c16="http://schemas.microsoft.com/office/drawing/2014/chart" uri="{C3380CC4-5D6E-409C-BE32-E72D297353CC}">
                <c16:uniqueId val="{00000409-4B1F-42FD-9B84-37A75D366F36}"/>
              </c:ext>
            </c:extLst>
          </c:dPt>
          <c:dPt>
            <c:idx val="516"/>
            <c:invertIfNegative val="1"/>
            <c:bubble3D val="0"/>
            <c:spPr>
              <a:solidFill>
                <a:srgbClr val="AEABAB"/>
              </a:solidFill>
            </c:spPr>
            <c:extLst>
              <c:ext xmlns:c16="http://schemas.microsoft.com/office/drawing/2014/chart" uri="{C3380CC4-5D6E-409C-BE32-E72D297353CC}">
                <c16:uniqueId val="{0000040B-4B1F-42FD-9B84-37A75D366F36}"/>
              </c:ext>
            </c:extLst>
          </c:dPt>
          <c:dPt>
            <c:idx val="517"/>
            <c:invertIfNegative val="1"/>
            <c:bubble3D val="0"/>
            <c:spPr>
              <a:solidFill>
                <a:srgbClr val="AEABAB"/>
              </a:solidFill>
            </c:spPr>
            <c:extLst>
              <c:ext xmlns:c16="http://schemas.microsoft.com/office/drawing/2014/chart" uri="{C3380CC4-5D6E-409C-BE32-E72D297353CC}">
                <c16:uniqueId val="{0000040D-4B1F-42FD-9B84-37A75D366F36}"/>
              </c:ext>
            </c:extLst>
          </c:dPt>
          <c:dPt>
            <c:idx val="518"/>
            <c:invertIfNegative val="1"/>
            <c:bubble3D val="0"/>
            <c:spPr>
              <a:solidFill>
                <a:srgbClr val="AEABAB"/>
              </a:solidFill>
            </c:spPr>
            <c:extLst>
              <c:ext xmlns:c16="http://schemas.microsoft.com/office/drawing/2014/chart" uri="{C3380CC4-5D6E-409C-BE32-E72D297353CC}">
                <c16:uniqueId val="{0000040F-4B1F-42FD-9B84-37A75D366F36}"/>
              </c:ext>
            </c:extLst>
          </c:dPt>
          <c:dPt>
            <c:idx val="519"/>
            <c:invertIfNegative val="1"/>
            <c:bubble3D val="0"/>
            <c:spPr>
              <a:solidFill>
                <a:srgbClr val="AEABAB"/>
              </a:solidFill>
            </c:spPr>
            <c:extLst>
              <c:ext xmlns:c16="http://schemas.microsoft.com/office/drawing/2014/chart" uri="{C3380CC4-5D6E-409C-BE32-E72D297353CC}">
                <c16:uniqueId val="{00000411-4B1F-42FD-9B84-37A75D366F36}"/>
              </c:ext>
            </c:extLst>
          </c:dPt>
          <c:dPt>
            <c:idx val="520"/>
            <c:invertIfNegative val="1"/>
            <c:bubble3D val="0"/>
            <c:spPr>
              <a:solidFill>
                <a:srgbClr val="AEABAB"/>
              </a:solidFill>
            </c:spPr>
            <c:extLst>
              <c:ext xmlns:c16="http://schemas.microsoft.com/office/drawing/2014/chart" uri="{C3380CC4-5D6E-409C-BE32-E72D297353CC}">
                <c16:uniqueId val="{00000413-4B1F-42FD-9B84-37A75D366F36}"/>
              </c:ext>
            </c:extLst>
          </c:dPt>
          <c:dPt>
            <c:idx val="521"/>
            <c:invertIfNegative val="1"/>
            <c:bubble3D val="0"/>
            <c:spPr>
              <a:solidFill>
                <a:srgbClr val="AEABAB"/>
              </a:solidFill>
            </c:spPr>
            <c:extLst>
              <c:ext xmlns:c16="http://schemas.microsoft.com/office/drawing/2014/chart" uri="{C3380CC4-5D6E-409C-BE32-E72D297353CC}">
                <c16:uniqueId val="{00000415-4B1F-42FD-9B84-37A75D366F36}"/>
              </c:ext>
            </c:extLst>
          </c:dPt>
          <c:dPt>
            <c:idx val="522"/>
            <c:invertIfNegative val="1"/>
            <c:bubble3D val="0"/>
            <c:spPr>
              <a:solidFill>
                <a:srgbClr val="AEABAB"/>
              </a:solidFill>
            </c:spPr>
            <c:extLst>
              <c:ext xmlns:c16="http://schemas.microsoft.com/office/drawing/2014/chart" uri="{C3380CC4-5D6E-409C-BE32-E72D297353CC}">
                <c16:uniqueId val="{00000417-4B1F-42FD-9B84-37A75D366F36}"/>
              </c:ext>
            </c:extLst>
          </c:dPt>
          <c:dPt>
            <c:idx val="523"/>
            <c:invertIfNegative val="1"/>
            <c:bubble3D val="0"/>
            <c:spPr>
              <a:solidFill>
                <a:srgbClr val="AEABAB"/>
              </a:solidFill>
            </c:spPr>
            <c:extLst>
              <c:ext xmlns:c16="http://schemas.microsoft.com/office/drawing/2014/chart" uri="{C3380CC4-5D6E-409C-BE32-E72D297353CC}">
                <c16:uniqueId val="{00000419-4B1F-42FD-9B84-37A75D366F36}"/>
              </c:ext>
            </c:extLst>
          </c:dPt>
          <c:dPt>
            <c:idx val="524"/>
            <c:invertIfNegative val="1"/>
            <c:bubble3D val="0"/>
            <c:spPr>
              <a:solidFill>
                <a:srgbClr val="AEABAB"/>
              </a:solidFill>
            </c:spPr>
            <c:extLst>
              <c:ext xmlns:c16="http://schemas.microsoft.com/office/drawing/2014/chart" uri="{C3380CC4-5D6E-409C-BE32-E72D297353CC}">
                <c16:uniqueId val="{0000041B-4B1F-42FD-9B84-37A75D366F36}"/>
              </c:ext>
            </c:extLst>
          </c:dPt>
          <c:dPt>
            <c:idx val="525"/>
            <c:invertIfNegative val="1"/>
            <c:bubble3D val="0"/>
            <c:spPr>
              <a:solidFill>
                <a:srgbClr val="AEABAB"/>
              </a:solidFill>
            </c:spPr>
            <c:extLst>
              <c:ext xmlns:c16="http://schemas.microsoft.com/office/drawing/2014/chart" uri="{C3380CC4-5D6E-409C-BE32-E72D297353CC}">
                <c16:uniqueId val="{0000041D-4B1F-42FD-9B84-37A75D366F36}"/>
              </c:ext>
            </c:extLst>
          </c:dPt>
          <c:dPt>
            <c:idx val="526"/>
            <c:invertIfNegative val="1"/>
            <c:bubble3D val="0"/>
            <c:spPr>
              <a:solidFill>
                <a:srgbClr val="AEABAB"/>
              </a:solidFill>
            </c:spPr>
            <c:extLst>
              <c:ext xmlns:c16="http://schemas.microsoft.com/office/drawing/2014/chart" uri="{C3380CC4-5D6E-409C-BE32-E72D297353CC}">
                <c16:uniqueId val="{0000041F-4B1F-42FD-9B84-37A75D366F36}"/>
              </c:ext>
            </c:extLst>
          </c:dPt>
          <c:dPt>
            <c:idx val="527"/>
            <c:invertIfNegative val="1"/>
            <c:bubble3D val="0"/>
            <c:spPr>
              <a:solidFill>
                <a:srgbClr val="AEABAB"/>
              </a:solidFill>
            </c:spPr>
            <c:extLst>
              <c:ext xmlns:c16="http://schemas.microsoft.com/office/drawing/2014/chart" uri="{C3380CC4-5D6E-409C-BE32-E72D297353CC}">
                <c16:uniqueId val="{00000421-4B1F-42FD-9B84-37A75D366F36}"/>
              </c:ext>
            </c:extLst>
          </c:dPt>
          <c:dPt>
            <c:idx val="528"/>
            <c:invertIfNegative val="1"/>
            <c:bubble3D val="0"/>
            <c:spPr>
              <a:solidFill>
                <a:srgbClr val="AEABAB"/>
              </a:solidFill>
            </c:spPr>
            <c:extLst>
              <c:ext xmlns:c16="http://schemas.microsoft.com/office/drawing/2014/chart" uri="{C3380CC4-5D6E-409C-BE32-E72D297353CC}">
                <c16:uniqueId val="{00000423-4B1F-42FD-9B84-37A75D366F36}"/>
              </c:ext>
            </c:extLst>
          </c:dPt>
          <c:dPt>
            <c:idx val="529"/>
            <c:invertIfNegative val="1"/>
            <c:bubble3D val="0"/>
            <c:spPr>
              <a:solidFill>
                <a:srgbClr val="AEABAB"/>
              </a:solidFill>
            </c:spPr>
            <c:extLst>
              <c:ext xmlns:c16="http://schemas.microsoft.com/office/drawing/2014/chart" uri="{C3380CC4-5D6E-409C-BE32-E72D297353CC}">
                <c16:uniqueId val="{00000425-4B1F-42FD-9B84-37A75D366F36}"/>
              </c:ext>
            </c:extLst>
          </c:dPt>
          <c:dPt>
            <c:idx val="530"/>
            <c:invertIfNegative val="1"/>
            <c:bubble3D val="0"/>
            <c:spPr>
              <a:solidFill>
                <a:srgbClr val="AEABAB"/>
              </a:solidFill>
            </c:spPr>
            <c:extLst>
              <c:ext xmlns:c16="http://schemas.microsoft.com/office/drawing/2014/chart" uri="{C3380CC4-5D6E-409C-BE32-E72D297353CC}">
                <c16:uniqueId val="{00000427-4B1F-42FD-9B84-37A75D366F36}"/>
              </c:ext>
            </c:extLst>
          </c:dPt>
          <c:dPt>
            <c:idx val="531"/>
            <c:invertIfNegative val="1"/>
            <c:bubble3D val="0"/>
            <c:spPr>
              <a:solidFill>
                <a:srgbClr val="AEABAB"/>
              </a:solidFill>
            </c:spPr>
            <c:extLst>
              <c:ext xmlns:c16="http://schemas.microsoft.com/office/drawing/2014/chart" uri="{C3380CC4-5D6E-409C-BE32-E72D297353CC}">
                <c16:uniqueId val="{00000429-4B1F-42FD-9B84-37A75D366F36}"/>
              </c:ext>
            </c:extLst>
          </c:dPt>
          <c:dPt>
            <c:idx val="532"/>
            <c:invertIfNegative val="1"/>
            <c:bubble3D val="0"/>
            <c:spPr>
              <a:solidFill>
                <a:srgbClr val="AEABAB"/>
              </a:solidFill>
            </c:spPr>
            <c:extLst>
              <c:ext xmlns:c16="http://schemas.microsoft.com/office/drawing/2014/chart" uri="{C3380CC4-5D6E-409C-BE32-E72D297353CC}">
                <c16:uniqueId val="{0000042B-4B1F-42FD-9B84-37A75D366F36}"/>
              </c:ext>
            </c:extLst>
          </c:dPt>
          <c:dPt>
            <c:idx val="533"/>
            <c:invertIfNegative val="1"/>
            <c:bubble3D val="0"/>
            <c:spPr>
              <a:solidFill>
                <a:srgbClr val="AEABAB"/>
              </a:solidFill>
            </c:spPr>
            <c:extLst>
              <c:ext xmlns:c16="http://schemas.microsoft.com/office/drawing/2014/chart" uri="{C3380CC4-5D6E-409C-BE32-E72D297353CC}">
                <c16:uniqueId val="{0000042D-4B1F-42FD-9B84-37A75D366F36}"/>
              </c:ext>
            </c:extLst>
          </c:dPt>
          <c:dPt>
            <c:idx val="534"/>
            <c:invertIfNegative val="1"/>
            <c:bubble3D val="0"/>
            <c:spPr>
              <a:solidFill>
                <a:srgbClr val="AEABAB"/>
              </a:solidFill>
            </c:spPr>
            <c:extLst>
              <c:ext xmlns:c16="http://schemas.microsoft.com/office/drawing/2014/chart" uri="{C3380CC4-5D6E-409C-BE32-E72D297353CC}">
                <c16:uniqueId val="{0000042F-4B1F-42FD-9B84-37A75D366F36}"/>
              </c:ext>
            </c:extLst>
          </c:dPt>
          <c:dPt>
            <c:idx val="535"/>
            <c:invertIfNegative val="1"/>
            <c:bubble3D val="0"/>
            <c:spPr>
              <a:solidFill>
                <a:srgbClr val="AEABAB"/>
              </a:solidFill>
            </c:spPr>
            <c:extLst>
              <c:ext xmlns:c16="http://schemas.microsoft.com/office/drawing/2014/chart" uri="{C3380CC4-5D6E-409C-BE32-E72D297353CC}">
                <c16:uniqueId val="{00000431-4B1F-42FD-9B84-37A75D366F36}"/>
              </c:ext>
            </c:extLst>
          </c:dPt>
          <c:dPt>
            <c:idx val="536"/>
            <c:invertIfNegative val="1"/>
            <c:bubble3D val="0"/>
            <c:spPr>
              <a:solidFill>
                <a:srgbClr val="AEABAB"/>
              </a:solidFill>
            </c:spPr>
            <c:extLst>
              <c:ext xmlns:c16="http://schemas.microsoft.com/office/drawing/2014/chart" uri="{C3380CC4-5D6E-409C-BE32-E72D297353CC}">
                <c16:uniqueId val="{00000433-4B1F-42FD-9B84-37A75D366F36}"/>
              </c:ext>
            </c:extLst>
          </c:dPt>
          <c:dPt>
            <c:idx val="537"/>
            <c:invertIfNegative val="1"/>
            <c:bubble3D val="0"/>
            <c:spPr>
              <a:solidFill>
                <a:srgbClr val="AEABAB"/>
              </a:solidFill>
            </c:spPr>
            <c:extLst>
              <c:ext xmlns:c16="http://schemas.microsoft.com/office/drawing/2014/chart" uri="{C3380CC4-5D6E-409C-BE32-E72D297353CC}">
                <c16:uniqueId val="{00000435-4B1F-42FD-9B84-37A75D366F36}"/>
              </c:ext>
            </c:extLst>
          </c:dPt>
          <c:dPt>
            <c:idx val="538"/>
            <c:invertIfNegative val="1"/>
            <c:bubble3D val="0"/>
            <c:spPr>
              <a:solidFill>
                <a:srgbClr val="AEABAB"/>
              </a:solidFill>
            </c:spPr>
            <c:extLst>
              <c:ext xmlns:c16="http://schemas.microsoft.com/office/drawing/2014/chart" uri="{C3380CC4-5D6E-409C-BE32-E72D297353CC}">
                <c16:uniqueId val="{00000437-4B1F-42FD-9B84-37A75D366F36}"/>
              </c:ext>
            </c:extLst>
          </c:dPt>
          <c:dPt>
            <c:idx val="539"/>
            <c:invertIfNegative val="1"/>
            <c:bubble3D val="0"/>
            <c:spPr>
              <a:solidFill>
                <a:srgbClr val="AEABAB"/>
              </a:solidFill>
            </c:spPr>
            <c:extLst>
              <c:ext xmlns:c16="http://schemas.microsoft.com/office/drawing/2014/chart" uri="{C3380CC4-5D6E-409C-BE32-E72D297353CC}">
                <c16:uniqueId val="{00000439-4B1F-42FD-9B84-37A75D366F36}"/>
              </c:ext>
            </c:extLst>
          </c:dPt>
          <c:dPt>
            <c:idx val="540"/>
            <c:invertIfNegative val="1"/>
            <c:bubble3D val="0"/>
            <c:spPr>
              <a:solidFill>
                <a:srgbClr val="AEABAB"/>
              </a:solidFill>
            </c:spPr>
            <c:extLst>
              <c:ext xmlns:c16="http://schemas.microsoft.com/office/drawing/2014/chart" uri="{C3380CC4-5D6E-409C-BE32-E72D297353CC}">
                <c16:uniqueId val="{0000043B-4B1F-42FD-9B84-37A75D366F36}"/>
              </c:ext>
            </c:extLst>
          </c:dPt>
          <c:dPt>
            <c:idx val="541"/>
            <c:invertIfNegative val="1"/>
            <c:bubble3D val="0"/>
            <c:spPr>
              <a:solidFill>
                <a:srgbClr val="AEABAB"/>
              </a:solidFill>
            </c:spPr>
            <c:extLst>
              <c:ext xmlns:c16="http://schemas.microsoft.com/office/drawing/2014/chart" uri="{C3380CC4-5D6E-409C-BE32-E72D297353CC}">
                <c16:uniqueId val="{0000043D-4B1F-42FD-9B84-37A75D366F36}"/>
              </c:ext>
            </c:extLst>
          </c:dPt>
          <c:dPt>
            <c:idx val="542"/>
            <c:invertIfNegative val="1"/>
            <c:bubble3D val="0"/>
            <c:spPr>
              <a:solidFill>
                <a:srgbClr val="AEABAB"/>
              </a:solidFill>
            </c:spPr>
            <c:extLst>
              <c:ext xmlns:c16="http://schemas.microsoft.com/office/drawing/2014/chart" uri="{C3380CC4-5D6E-409C-BE32-E72D297353CC}">
                <c16:uniqueId val="{0000043F-4B1F-42FD-9B84-37A75D366F36}"/>
              </c:ext>
            </c:extLst>
          </c:dPt>
          <c:dPt>
            <c:idx val="543"/>
            <c:invertIfNegative val="1"/>
            <c:bubble3D val="0"/>
            <c:spPr>
              <a:solidFill>
                <a:srgbClr val="AEABAB"/>
              </a:solidFill>
            </c:spPr>
            <c:extLst>
              <c:ext xmlns:c16="http://schemas.microsoft.com/office/drawing/2014/chart" uri="{C3380CC4-5D6E-409C-BE32-E72D297353CC}">
                <c16:uniqueId val="{00000441-4B1F-42FD-9B84-37A75D366F36}"/>
              </c:ext>
            </c:extLst>
          </c:dPt>
          <c:dPt>
            <c:idx val="544"/>
            <c:invertIfNegative val="1"/>
            <c:bubble3D val="0"/>
            <c:spPr>
              <a:solidFill>
                <a:srgbClr val="AEABAB"/>
              </a:solidFill>
            </c:spPr>
            <c:extLst>
              <c:ext xmlns:c16="http://schemas.microsoft.com/office/drawing/2014/chart" uri="{C3380CC4-5D6E-409C-BE32-E72D297353CC}">
                <c16:uniqueId val="{00000443-4B1F-42FD-9B84-37A75D366F36}"/>
              </c:ext>
            </c:extLst>
          </c:dPt>
          <c:dPt>
            <c:idx val="545"/>
            <c:invertIfNegative val="1"/>
            <c:bubble3D val="0"/>
            <c:spPr>
              <a:solidFill>
                <a:srgbClr val="AEABAB"/>
              </a:solidFill>
            </c:spPr>
            <c:extLst>
              <c:ext xmlns:c16="http://schemas.microsoft.com/office/drawing/2014/chart" uri="{C3380CC4-5D6E-409C-BE32-E72D297353CC}">
                <c16:uniqueId val="{00000445-4B1F-42FD-9B84-37A75D366F36}"/>
              </c:ext>
            </c:extLst>
          </c:dPt>
          <c:dPt>
            <c:idx val="546"/>
            <c:invertIfNegative val="1"/>
            <c:bubble3D val="0"/>
            <c:spPr>
              <a:solidFill>
                <a:srgbClr val="AEABAB"/>
              </a:solidFill>
            </c:spPr>
            <c:extLst>
              <c:ext xmlns:c16="http://schemas.microsoft.com/office/drawing/2014/chart" uri="{C3380CC4-5D6E-409C-BE32-E72D297353CC}">
                <c16:uniqueId val="{00000447-4B1F-42FD-9B84-37A75D366F36}"/>
              </c:ext>
            </c:extLst>
          </c:dPt>
          <c:dPt>
            <c:idx val="547"/>
            <c:invertIfNegative val="1"/>
            <c:bubble3D val="0"/>
            <c:spPr>
              <a:solidFill>
                <a:srgbClr val="AEABAB"/>
              </a:solidFill>
            </c:spPr>
            <c:extLst>
              <c:ext xmlns:c16="http://schemas.microsoft.com/office/drawing/2014/chart" uri="{C3380CC4-5D6E-409C-BE32-E72D297353CC}">
                <c16:uniqueId val="{00000449-4B1F-42FD-9B84-37A75D366F36}"/>
              </c:ext>
            </c:extLst>
          </c:dPt>
          <c:dPt>
            <c:idx val="548"/>
            <c:invertIfNegative val="1"/>
            <c:bubble3D val="0"/>
            <c:spPr>
              <a:solidFill>
                <a:srgbClr val="AEABAB"/>
              </a:solidFill>
            </c:spPr>
            <c:extLst>
              <c:ext xmlns:c16="http://schemas.microsoft.com/office/drawing/2014/chart" uri="{C3380CC4-5D6E-409C-BE32-E72D297353CC}">
                <c16:uniqueId val="{0000044B-4B1F-42FD-9B84-37A75D366F36}"/>
              </c:ext>
            </c:extLst>
          </c:dPt>
          <c:dPt>
            <c:idx val="549"/>
            <c:invertIfNegative val="1"/>
            <c:bubble3D val="0"/>
            <c:spPr>
              <a:solidFill>
                <a:srgbClr val="AEABAB"/>
              </a:solidFill>
            </c:spPr>
            <c:extLst>
              <c:ext xmlns:c16="http://schemas.microsoft.com/office/drawing/2014/chart" uri="{C3380CC4-5D6E-409C-BE32-E72D297353CC}">
                <c16:uniqueId val="{0000044D-4B1F-42FD-9B84-37A75D366F36}"/>
              </c:ext>
            </c:extLst>
          </c:dPt>
          <c:dPt>
            <c:idx val="550"/>
            <c:invertIfNegative val="1"/>
            <c:bubble3D val="0"/>
            <c:spPr>
              <a:solidFill>
                <a:srgbClr val="AEABAB"/>
              </a:solidFill>
            </c:spPr>
            <c:extLst>
              <c:ext xmlns:c16="http://schemas.microsoft.com/office/drawing/2014/chart" uri="{C3380CC4-5D6E-409C-BE32-E72D297353CC}">
                <c16:uniqueId val="{0000044F-4B1F-42FD-9B84-37A75D366F36}"/>
              </c:ext>
            </c:extLst>
          </c:dPt>
          <c:dPt>
            <c:idx val="551"/>
            <c:invertIfNegative val="1"/>
            <c:bubble3D val="0"/>
            <c:spPr>
              <a:solidFill>
                <a:srgbClr val="AEABAB"/>
              </a:solidFill>
            </c:spPr>
            <c:extLst>
              <c:ext xmlns:c16="http://schemas.microsoft.com/office/drawing/2014/chart" uri="{C3380CC4-5D6E-409C-BE32-E72D297353CC}">
                <c16:uniqueId val="{00000451-4B1F-42FD-9B84-37A75D366F36}"/>
              </c:ext>
            </c:extLst>
          </c:dPt>
          <c:dPt>
            <c:idx val="552"/>
            <c:invertIfNegative val="1"/>
            <c:bubble3D val="0"/>
            <c:spPr>
              <a:solidFill>
                <a:srgbClr val="AEABAB"/>
              </a:solidFill>
            </c:spPr>
            <c:extLst>
              <c:ext xmlns:c16="http://schemas.microsoft.com/office/drawing/2014/chart" uri="{C3380CC4-5D6E-409C-BE32-E72D297353CC}">
                <c16:uniqueId val="{00000453-4B1F-42FD-9B84-37A75D366F36}"/>
              </c:ext>
            </c:extLst>
          </c:dPt>
          <c:dPt>
            <c:idx val="553"/>
            <c:invertIfNegative val="1"/>
            <c:bubble3D val="0"/>
            <c:spPr>
              <a:solidFill>
                <a:srgbClr val="AEABAB"/>
              </a:solidFill>
            </c:spPr>
            <c:extLst>
              <c:ext xmlns:c16="http://schemas.microsoft.com/office/drawing/2014/chart" uri="{C3380CC4-5D6E-409C-BE32-E72D297353CC}">
                <c16:uniqueId val="{00000455-4B1F-42FD-9B84-37A75D366F36}"/>
              </c:ext>
            </c:extLst>
          </c:dPt>
          <c:dPt>
            <c:idx val="554"/>
            <c:invertIfNegative val="1"/>
            <c:bubble3D val="0"/>
            <c:spPr>
              <a:solidFill>
                <a:srgbClr val="AEABAB"/>
              </a:solidFill>
            </c:spPr>
            <c:extLst>
              <c:ext xmlns:c16="http://schemas.microsoft.com/office/drawing/2014/chart" uri="{C3380CC4-5D6E-409C-BE32-E72D297353CC}">
                <c16:uniqueId val="{00000457-4B1F-42FD-9B84-37A75D366F36}"/>
              </c:ext>
            </c:extLst>
          </c:dPt>
          <c:dPt>
            <c:idx val="555"/>
            <c:invertIfNegative val="1"/>
            <c:bubble3D val="0"/>
            <c:spPr>
              <a:solidFill>
                <a:srgbClr val="AEABAB"/>
              </a:solidFill>
            </c:spPr>
            <c:extLst>
              <c:ext xmlns:c16="http://schemas.microsoft.com/office/drawing/2014/chart" uri="{C3380CC4-5D6E-409C-BE32-E72D297353CC}">
                <c16:uniqueId val="{00000459-4B1F-42FD-9B84-37A75D366F36}"/>
              </c:ext>
            </c:extLst>
          </c:dPt>
          <c:dPt>
            <c:idx val="556"/>
            <c:invertIfNegative val="1"/>
            <c:bubble3D val="0"/>
            <c:spPr>
              <a:solidFill>
                <a:srgbClr val="AEABAB"/>
              </a:solidFill>
            </c:spPr>
            <c:extLst>
              <c:ext xmlns:c16="http://schemas.microsoft.com/office/drawing/2014/chart" uri="{C3380CC4-5D6E-409C-BE32-E72D297353CC}">
                <c16:uniqueId val="{0000045B-4B1F-42FD-9B84-37A75D366F36}"/>
              </c:ext>
            </c:extLst>
          </c:dPt>
          <c:dPt>
            <c:idx val="557"/>
            <c:invertIfNegative val="1"/>
            <c:bubble3D val="0"/>
            <c:spPr>
              <a:solidFill>
                <a:srgbClr val="AEABAB"/>
              </a:solidFill>
            </c:spPr>
            <c:extLst>
              <c:ext xmlns:c16="http://schemas.microsoft.com/office/drawing/2014/chart" uri="{C3380CC4-5D6E-409C-BE32-E72D297353CC}">
                <c16:uniqueId val="{0000045D-4B1F-42FD-9B84-37A75D366F36}"/>
              </c:ext>
            </c:extLst>
          </c:dPt>
          <c:dPt>
            <c:idx val="558"/>
            <c:invertIfNegative val="1"/>
            <c:bubble3D val="0"/>
            <c:spPr>
              <a:solidFill>
                <a:srgbClr val="AEABAB"/>
              </a:solidFill>
            </c:spPr>
            <c:extLst>
              <c:ext xmlns:c16="http://schemas.microsoft.com/office/drawing/2014/chart" uri="{C3380CC4-5D6E-409C-BE32-E72D297353CC}">
                <c16:uniqueId val="{0000045F-4B1F-42FD-9B84-37A75D366F36}"/>
              </c:ext>
            </c:extLst>
          </c:dPt>
          <c:dPt>
            <c:idx val="559"/>
            <c:invertIfNegative val="1"/>
            <c:bubble3D val="0"/>
            <c:spPr>
              <a:solidFill>
                <a:srgbClr val="AEABAB"/>
              </a:solidFill>
            </c:spPr>
            <c:extLst>
              <c:ext xmlns:c16="http://schemas.microsoft.com/office/drawing/2014/chart" uri="{C3380CC4-5D6E-409C-BE32-E72D297353CC}">
                <c16:uniqueId val="{00000461-4B1F-42FD-9B84-37A75D366F36}"/>
              </c:ext>
            </c:extLst>
          </c:dPt>
          <c:dPt>
            <c:idx val="560"/>
            <c:invertIfNegative val="1"/>
            <c:bubble3D val="0"/>
            <c:spPr>
              <a:solidFill>
                <a:srgbClr val="AEABAB"/>
              </a:solidFill>
            </c:spPr>
            <c:extLst>
              <c:ext xmlns:c16="http://schemas.microsoft.com/office/drawing/2014/chart" uri="{C3380CC4-5D6E-409C-BE32-E72D297353CC}">
                <c16:uniqueId val="{00000463-4B1F-42FD-9B84-37A75D366F36}"/>
              </c:ext>
            </c:extLst>
          </c:dPt>
          <c:dPt>
            <c:idx val="561"/>
            <c:invertIfNegative val="1"/>
            <c:bubble3D val="0"/>
            <c:spPr>
              <a:solidFill>
                <a:srgbClr val="AEABAB"/>
              </a:solidFill>
            </c:spPr>
            <c:extLst>
              <c:ext xmlns:c16="http://schemas.microsoft.com/office/drawing/2014/chart" uri="{C3380CC4-5D6E-409C-BE32-E72D297353CC}">
                <c16:uniqueId val="{00000465-4B1F-42FD-9B84-37A75D366F36}"/>
              </c:ext>
            </c:extLst>
          </c:dPt>
          <c:dPt>
            <c:idx val="562"/>
            <c:invertIfNegative val="1"/>
            <c:bubble3D val="0"/>
            <c:spPr>
              <a:solidFill>
                <a:srgbClr val="AEABAB"/>
              </a:solidFill>
            </c:spPr>
            <c:extLst>
              <c:ext xmlns:c16="http://schemas.microsoft.com/office/drawing/2014/chart" uri="{C3380CC4-5D6E-409C-BE32-E72D297353CC}">
                <c16:uniqueId val="{00000467-4B1F-42FD-9B84-37A75D366F36}"/>
              </c:ext>
            </c:extLst>
          </c:dPt>
          <c:dPt>
            <c:idx val="563"/>
            <c:invertIfNegative val="1"/>
            <c:bubble3D val="0"/>
            <c:spPr>
              <a:solidFill>
                <a:srgbClr val="AEABAB"/>
              </a:solidFill>
            </c:spPr>
            <c:extLst>
              <c:ext xmlns:c16="http://schemas.microsoft.com/office/drawing/2014/chart" uri="{C3380CC4-5D6E-409C-BE32-E72D297353CC}">
                <c16:uniqueId val="{00000469-4B1F-42FD-9B84-37A75D366F36}"/>
              </c:ext>
            </c:extLst>
          </c:dPt>
          <c:dPt>
            <c:idx val="564"/>
            <c:invertIfNegative val="1"/>
            <c:bubble3D val="0"/>
            <c:spPr>
              <a:solidFill>
                <a:srgbClr val="AEABAB"/>
              </a:solidFill>
            </c:spPr>
            <c:extLst>
              <c:ext xmlns:c16="http://schemas.microsoft.com/office/drawing/2014/chart" uri="{C3380CC4-5D6E-409C-BE32-E72D297353CC}">
                <c16:uniqueId val="{0000046B-4B1F-42FD-9B84-37A75D366F36}"/>
              </c:ext>
            </c:extLst>
          </c:dPt>
          <c:dPt>
            <c:idx val="565"/>
            <c:invertIfNegative val="1"/>
            <c:bubble3D val="0"/>
            <c:spPr>
              <a:solidFill>
                <a:srgbClr val="AEABAB"/>
              </a:solidFill>
            </c:spPr>
            <c:extLst>
              <c:ext xmlns:c16="http://schemas.microsoft.com/office/drawing/2014/chart" uri="{C3380CC4-5D6E-409C-BE32-E72D297353CC}">
                <c16:uniqueId val="{0000046D-4B1F-42FD-9B84-37A75D366F36}"/>
              </c:ext>
            </c:extLst>
          </c:dPt>
          <c:dPt>
            <c:idx val="566"/>
            <c:invertIfNegative val="1"/>
            <c:bubble3D val="0"/>
            <c:spPr>
              <a:solidFill>
                <a:srgbClr val="AEABAB"/>
              </a:solidFill>
            </c:spPr>
            <c:extLst>
              <c:ext xmlns:c16="http://schemas.microsoft.com/office/drawing/2014/chart" uri="{C3380CC4-5D6E-409C-BE32-E72D297353CC}">
                <c16:uniqueId val="{0000046F-4B1F-42FD-9B84-37A75D366F36}"/>
              </c:ext>
            </c:extLst>
          </c:dPt>
          <c:dPt>
            <c:idx val="567"/>
            <c:invertIfNegative val="1"/>
            <c:bubble3D val="0"/>
            <c:spPr>
              <a:solidFill>
                <a:srgbClr val="AEABAB"/>
              </a:solidFill>
            </c:spPr>
            <c:extLst>
              <c:ext xmlns:c16="http://schemas.microsoft.com/office/drawing/2014/chart" uri="{C3380CC4-5D6E-409C-BE32-E72D297353CC}">
                <c16:uniqueId val="{00000471-4B1F-42FD-9B84-37A75D366F36}"/>
              </c:ext>
            </c:extLst>
          </c:dPt>
          <c:dPt>
            <c:idx val="568"/>
            <c:invertIfNegative val="1"/>
            <c:bubble3D val="0"/>
            <c:spPr>
              <a:solidFill>
                <a:srgbClr val="AEABAB"/>
              </a:solidFill>
            </c:spPr>
            <c:extLst>
              <c:ext xmlns:c16="http://schemas.microsoft.com/office/drawing/2014/chart" uri="{C3380CC4-5D6E-409C-BE32-E72D297353CC}">
                <c16:uniqueId val="{00000473-4B1F-42FD-9B84-37A75D366F36}"/>
              </c:ext>
            </c:extLst>
          </c:dPt>
          <c:dPt>
            <c:idx val="569"/>
            <c:invertIfNegative val="1"/>
            <c:bubble3D val="0"/>
            <c:spPr>
              <a:solidFill>
                <a:srgbClr val="AEABAB"/>
              </a:solidFill>
            </c:spPr>
            <c:extLst>
              <c:ext xmlns:c16="http://schemas.microsoft.com/office/drawing/2014/chart" uri="{C3380CC4-5D6E-409C-BE32-E72D297353CC}">
                <c16:uniqueId val="{00000475-4B1F-42FD-9B84-37A75D366F36}"/>
              </c:ext>
            </c:extLst>
          </c:dPt>
          <c:dPt>
            <c:idx val="570"/>
            <c:invertIfNegative val="1"/>
            <c:bubble3D val="0"/>
            <c:spPr>
              <a:solidFill>
                <a:srgbClr val="AEABAB"/>
              </a:solidFill>
            </c:spPr>
            <c:extLst>
              <c:ext xmlns:c16="http://schemas.microsoft.com/office/drawing/2014/chart" uri="{C3380CC4-5D6E-409C-BE32-E72D297353CC}">
                <c16:uniqueId val="{00000477-4B1F-42FD-9B84-37A75D366F36}"/>
              </c:ext>
            </c:extLst>
          </c:dPt>
          <c:dPt>
            <c:idx val="571"/>
            <c:invertIfNegative val="1"/>
            <c:bubble3D val="0"/>
            <c:spPr>
              <a:solidFill>
                <a:srgbClr val="AEABAB"/>
              </a:solidFill>
            </c:spPr>
            <c:extLst>
              <c:ext xmlns:c16="http://schemas.microsoft.com/office/drawing/2014/chart" uri="{C3380CC4-5D6E-409C-BE32-E72D297353CC}">
                <c16:uniqueId val="{00000479-4B1F-42FD-9B84-37A75D366F36}"/>
              </c:ext>
            </c:extLst>
          </c:dPt>
          <c:dPt>
            <c:idx val="572"/>
            <c:invertIfNegative val="1"/>
            <c:bubble3D val="0"/>
            <c:spPr>
              <a:solidFill>
                <a:srgbClr val="AEABAB"/>
              </a:solidFill>
            </c:spPr>
            <c:extLst>
              <c:ext xmlns:c16="http://schemas.microsoft.com/office/drawing/2014/chart" uri="{C3380CC4-5D6E-409C-BE32-E72D297353CC}">
                <c16:uniqueId val="{0000047B-4B1F-42FD-9B84-37A75D366F36}"/>
              </c:ext>
            </c:extLst>
          </c:dPt>
          <c:dPt>
            <c:idx val="573"/>
            <c:invertIfNegative val="1"/>
            <c:bubble3D val="0"/>
            <c:spPr>
              <a:solidFill>
                <a:srgbClr val="AEABAB"/>
              </a:solidFill>
            </c:spPr>
            <c:extLst>
              <c:ext xmlns:c16="http://schemas.microsoft.com/office/drawing/2014/chart" uri="{C3380CC4-5D6E-409C-BE32-E72D297353CC}">
                <c16:uniqueId val="{0000047D-4B1F-42FD-9B84-37A75D366F36}"/>
              </c:ext>
            </c:extLst>
          </c:dPt>
          <c:dPt>
            <c:idx val="574"/>
            <c:invertIfNegative val="1"/>
            <c:bubble3D val="0"/>
            <c:spPr>
              <a:solidFill>
                <a:srgbClr val="AEABAB"/>
              </a:solidFill>
            </c:spPr>
            <c:extLst>
              <c:ext xmlns:c16="http://schemas.microsoft.com/office/drawing/2014/chart" uri="{C3380CC4-5D6E-409C-BE32-E72D297353CC}">
                <c16:uniqueId val="{0000047F-4B1F-42FD-9B84-37A75D366F36}"/>
              </c:ext>
            </c:extLst>
          </c:dPt>
          <c:dPt>
            <c:idx val="575"/>
            <c:invertIfNegative val="1"/>
            <c:bubble3D val="0"/>
            <c:spPr>
              <a:solidFill>
                <a:srgbClr val="AEABAB"/>
              </a:solidFill>
            </c:spPr>
            <c:extLst>
              <c:ext xmlns:c16="http://schemas.microsoft.com/office/drawing/2014/chart" uri="{C3380CC4-5D6E-409C-BE32-E72D297353CC}">
                <c16:uniqueId val="{00000481-4B1F-42FD-9B84-37A75D366F36}"/>
              </c:ext>
            </c:extLst>
          </c:dPt>
          <c:dPt>
            <c:idx val="576"/>
            <c:invertIfNegative val="1"/>
            <c:bubble3D val="0"/>
            <c:spPr>
              <a:solidFill>
                <a:srgbClr val="AEABAB"/>
              </a:solidFill>
            </c:spPr>
            <c:extLst>
              <c:ext xmlns:c16="http://schemas.microsoft.com/office/drawing/2014/chart" uri="{C3380CC4-5D6E-409C-BE32-E72D297353CC}">
                <c16:uniqueId val="{00000483-4B1F-42FD-9B84-37A75D366F36}"/>
              </c:ext>
            </c:extLst>
          </c:dPt>
          <c:dPt>
            <c:idx val="577"/>
            <c:invertIfNegative val="1"/>
            <c:bubble3D val="0"/>
            <c:spPr>
              <a:solidFill>
                <a:srgbClr val="AEABAB"/>
              </a:solidFill>
            </c:spPr>
            <c:extLst>
              <c:ext xmlns:c16="http://schemas.microsoft.com/office/drawing/2014/chart" uri="{C3380CC4-5D6E-409C-BE32-E72D297353CC}">
                <c16:uniqueId val="{00000485-4B1F-42FD-9B84-37A75D366F36}"/>
              </c:ext>
            </c:extLst>
          </c:dPt>
          <c:dPt>
            <c:idx val="578"/>
            <c:invertIfNegative val="1"/>
            <c:bubble3D val="0"/>
            <c:spPr>
              <a:solidFill>
                <a:srgbClr val="AEABAB"/>
              </a:solidFill>
            </c:spPr>
            <c:extLst>
              <c:ext xmlns:c16="http://schemas.microsoft.com/office/drawing/2014/chart" uri="{C3380CC4-5D6E-409C-BE32-E72D297353CC}">
                <c16:uniqueId val="{00000487-4B1F-42FD-9B84-37A75D366F36}"/>
              </c:ext>
            </c:extLst>
          </c:dPt>
          <c:dPt>
            <c:idx val="579"/>
            <c:invertIfNegative val="1"/>
            <c:bubble3D val="0"/>
            <c:spPr>
              <a:solidFill>
                <a:srgbClr val="AEABAB"/>
              </a:solidFill>
            </c:spPr>
            <c:extLst>
              <c:ext xmlns:c16="http://schemas.microsoft.com/office/drawing/2014/chart" uri="{C3380CC4-5D6E-409C-BE32-E72D297353CC}">
                <c16:uniqueId val="{00000489-4B1F-42FD-9B84-37A75D366F36}"/>
              </c:ext>
            </c:extLst>
          </c:dPt>
          <c:dPt>
            <c:idx val="580"/>
            <c:invertIfNegative val="1"/>
            <c:bubble3D val="0"/>
            <c:spPr>
              <a:solidFill>
                <a:srgbClr val="AEABAB"/>
              </a:solidFill>
            </c:spPr>
            <c:extLst>
              <c:ext xmlns:c16="http://schemas.microsoft.com/office/drawing/2014/chart" uri="{C3380CC4-5D6E-409C-BE32-E72D297353CC}">
                <c16:uniqueId val="{0000048B-4B1F-42FD-9B84-37A75D366F36}"/>
              </c:ext>
            </c:extLst>
          </c:dPt>
          <c:dPt>
            <c:idx val="581"/>
            <c:invertIfNegative val="1"/>
            <c:bubble3D val="0"/>
            <c:spPr>
              <a:solidFill>
                <a:srgbClr val="AEABAB"/>
              </a:solidFill>
            </c:spPr>
            <c:extLst>
              <c:ext xmlns:c16="http://schemas.microsoft.com/office/drawing/2014/chart" uri="{C3380CC4-5D6E-409C-BE32-E72D297353CC}">
                <c16:uniqueId val="{0000048D-4B1F-42FD-9B84-37A75D366F36}"/>
              </c:ext>
            </c:extLst>
          </c:dPt>
          <c:dPt>
            <c:idx val="582"/>
            <c:invertIfNegative val="1"/>
            <c:bubble3D val="0"/>
            <c:spPr>
              <a:solidFill>
                <a:srgbClr val="AEABAB"/>
              </a:solidFill>
            </c:spPr>
            <c:extLst>
              <c:ext xmlns:c16="http://schemas.microsoft.com/office/drawing/2014/chart" uri="{C3380CC4-5D6E-409C-BE32-E72D297353CC}">
                <c16:uniqueId val="{0000048F-4B1F-42FD-9B84-37A75D366F36}"/>
              </c:ext>
            </c:extLst>
          </c:dPt>
          <c:dPt>
            <c:idx val="583"/>
            <c:invertIfNegative val="1"/>
            <c:bubble3D val="0"/>
            <c:spPr>
              <a:solidFill>
                <a:srgbClr val="AEABAB"/>
              </a:solidFill>
            </c:spPr>
            <c:extLst>
              <c:ext xmlns:c16="http://schemas.microsoft.com/office/drawing/2014/chart" uri="{C3380CC4-5D6E-409C-BE32-E72D297353CC}">
                <c16:uniqueId val="{00000491-4B1F-42FD-9B84-37A75D366F36}"/>
              </c:ext>
            </c:extLst>
          </c:dPt>
          <c:dPt>
            <c:idx val="584"/>
            <c:invertIfNegative val="1"/>
            <c:bubble3D val="0"/>
            <c:spPr>
              <a:solidFill>
                <a:srgbClr val="AEABAB"/>
              </a:solidFill>
            </c:spPr>
            <c:extLst>
              <c:ext xmlns:c16="http://schemas.microsoft.com/office/drawing/2014/chart" uri="{C3380CC4-5D6E-409C-BE32-E72D297353CC}">
                <c16:uniqueId val="{00000493-4B1F-42FD-9B84-37A75D366F36}"/>
              </c:ext>
            </c:extLst>
          </c:dPt>
          <c:dPt>
            <c:idx val="585"/>
            <c:invertIfNegative val="1"/>
            <c:bubble3D val="0"/>
            <c:spPr>
              <a:solidFill>
                <a:srgbClr val="AEABAB"/>
              </a:solidFill>
            </c:spPr>
            <c:extLst>
              <c:ext xmlns:c16="http://schemas.microsoft.com/office/drawing/2014/chart" uri="{C3380CC4-5D6E-409C-BE32-E72D297353CC}">
                <c16:uniqueId val="{00000495-4B1F-42FD-9B84-37A75D366F36}"/>
              </c:ext>
            </c:extLst>
          </c:dPt>
          <c:dPt>
            <c:idx val="586"/>
            <c:invertIfNegative val="1"/>
            <c:bubble3D val="0"/>
            <c:spPr>
              <a:solidFill>
                <a:srgbClr val="AEABAB"/>
              </a:solidFill>
            </c:spPr>
            <c:extLst>
              <c:ext xmlns:c16="http://schemas.microsoft.com/office/drawing/2014/chart" uri="{C3380CC4-5D6E-409C-BE32-E72D297353CC}">
                <c16:uniqueId val="{00000497-4B1F-42FD-9B84-37A75D366F36}"/>
              </c:ext>
            </c:extLst>
          </c:dPt>
          <c:dPt>
            <c:idx val="587"/>
            <c:invertIfNegative val="1"/>
            <c:bubble3D val="0"/>
            <c:spPr>
              <a:solidFill>
                <a:srgbClr val="AEABAB"/>
              </a:solidFill>
            </c:spPr>
            <c:extLst>
              <c:ext xmlns:c16="http://schemas.microsoft.com/office/drawing/2014/chart" uri="{C3380CC4-5D6E-409C-BE32-E72D297353CC}">
                <c16:uniqueId val="{00000499-4B1F-42FD-9B84-37A75D366F36}"/>
              </c:ext>
            </c:extLst>
          </c:dPt>
          <c:dPt>
            <c:idx val="588"/>
            <c:invertIfNegative val="1"/>
            <c:bubble3D val="0"/>
            <c:spPr>
              <a:solidFill>
                <a:srgbClr val="AEABAB"/>
              </a:solidFill>
            </c:spPr>
            <c:extLst>
              <c:ext xmlns:c16="http://schemas.microsoft.com/office/drawing/2014/chart" uri="{C3380CC4-5D6E-409C-BE32-E72D297353CC}">
                <c16:uniqueId val="{0000049B-4B1F-42FD-9B84-37A75D366F36}"/>
              </c:ext>
            </c:extLst>
          </c:dPt>
          <c:dPt>
            <c:idx val="589"/>
            <c:invertIfNegative val="1"/>
            <c:bubble3D val="0"/>
            <c:spPr>
              <a:solidFill>
                <a:srgbClr val="AEABAB"/>
              </a:solidFill>
            </c:spPr>
            <c:extLst>
              <c:ext xmlns:c16="http://schemas.microsoft.com/office/drawing/2014/chart" uri="{C3380CC4-5D6E-409C-BE32-E72D297353CC}">
                <c16:uniqueId val="{0000049D-4B1F-42FD-9B84-37A75D366F36}"/>
              </c:ext>
            </c:extLst>
          </c:dPt>
          <c:dPt>
            <c:idx val="590"/>
            <c:invertIfNegative val="1"/>
            <c:bubble3D val="0"/>
            <c:spPr>
              <a:solidFill>
                <a:srgbClr val="AEABAB"/>
              </a:solidFill>
            </c:spPr>
            <c:extLst>
              <c:ext xmlns:c16="http://schemas.microsoft.com/office/drawing/2014/chart" uri="{C3380CC4-5D6E-409C-BE32-E72D297353CC}">
                <c16:uniqueId val="{0000049F-4B1F-42FD-9B84-37A75D366F36}"/>
              </c:ext>
            </c:extLst>
          </c:dPt>
          <c:dPt>
            <c:idx val="591"/>
            <c:invertIfNegative val="1"/>
            <c:bubble3D val="0"/>
            <c:spPr>
              <a:solidFill>
                <a:srgbClr val="AEABAB"/>
              </a:solidFill>
            </c:spPr>
            <c:extLst>
              <c:ext xmlns:c16="http://schemas.microsoft.com/office/drawing/2014/chart" uri="{C3380CC4-5D6E-409C-BE32-E72D297353CC}">
                <c16:uniqueId val="{000004A1-4B1F-42FD-9B84-37A75D366F36}"/>
              </c:ext>
            </c:extLst>
          </c:dPt>
          <c:dPt>
            <c:idx val="592"/>
            <c:invertIfNegative val="1"/>
            <c:bubble3D val="0"/>
            <c:spPr>
              <a:solidFill>
                <a:srgbClr val="AEABAB"/>
              </a:solidFill>
            </c:spPr>
            <c:extLst>
              <c:ext xmlns:c16="http://schemas.microsoft.com/office/drawing/2014/chart" uri="{C3380CC4-5D6E-409C-BE32-E72D297353CC}">
                <c16:uniqueId val="{000004A3-4B1F-42FD-9B84-37A75D366F36}"/>
              </c:ext>
            </c:extLst>
          </c:dPt>
          <c:dPt>
            <c:idx val="593"/>
            <c:invertIfNegative val="1"/>
            <c:bubble3D val="0"/>
            <c:spPr>
              <a:solidFill>
                <a:srgbClr val="AEABAB"/>
              </a:solidFill>
            </c:spPr>
            <c:extLst>
              <c:ext xmlns:c16="http://schemas.microsoft.com/office/drawing/2014/chart" uri="{C3380CC4-5D6E-409C-BE32-E72D297353CC}">
                <c16:uniqueId val="{000004A5-4B1F-42FD-9B84-37A75D366F36}"/>
              </c:ext>
            </c:extLst>
          </c:dPt>
          <c:dPt>
            <c:idx val="594"/>
            <c:invertIfNegative val="1"/>
            <c:bubble3D val="0"/>
            <c:spPr>
              <a:solidFill>
                <a:srgbClr val="AEABAB"/>
              </a:solidFill>
            </c:spPr>
            <c:extLst>
              <c:ext xmlns:c16="http://schemas.microsoft.com/office/drawing/2014/chart" uri="{C3380CC4-5D6E-409C-BE32-E72D297353CC}">
                <c16:uniqueId val="{000004A7-4B1F-42FD-9B84-37A75D366F36}"/>
              </c:ext>
            </c:extLst>
          </c:dPt>
          <c:dPt>
            <c:idx val="595"/>
            <c:invertIfNegative val="1"/>
            <c:bubble3D val="0"/>
            <c:spPr>
              <a:solidFill>
                <a:srgbClr val="AEABAB"/>
              </a:solidFill>
            </c:spPr>
            <c:extLst>
              <c:ext xmlns:c16="http://schemas.microsoft.com/office/drawing/2014/chart" uri="{C3380CC4-5D6E-409C-BE32-E72D297353CC}">
                <c16:uniqueId val="{000004A9-4B1F-42FD-9B84-37A75D366F36}"/>
              </c:ext>
            </c:extLst>
          </c:dPt>
          <c:dPt>
            <c:idx val="596"/>
            <c:invertIfNegative val="1"/>
            <c:bubble3D val="0"/>
            <c:spPr>
              <a:solidFill>
                <a:srgbClr val="AEABAB"/>
              </a:solidFill>
            </c:spPr>
            <c:extLst>
              <c:ext xmlns:c16="http://schemas.microsoft.com/office/drawing/2014/chart" uri="{C3380CC4-5D6E-409C-BE32-E72D297353CC}">
                <c16:uniqueId val="{000004AB-4B1F-42FD-9B84-37A75D366F36}"/>
              </c:ext>
            </c:extLst>
          </c:dPt>
          <c:dPt>
            <c:idx val="597"/>
            <c:invertIfNegative val="1"/>
            <c:bubble3D val="0"/>
            <c:spPr>
              <a:solidFill>
                <a:srgbClr val="AEABAB"/>
              </a:solidFill>
            </c:spPr>
            <c:extLst>
              <c:ext xmlns:c16="http://schemas.microsoft.com/office/drawing/2014/chart" uri="{C3380CC4-5D6E-409C-BE32-E72D297353CC}">
                <c16:uniqueId val="{000004AD-4B1F-42FD-9B84-37A75D366F36}"/>
              </c:ext>
            </c:extLst>
          </c:dPt>
          <c:dPt>
            <c:idx val="598"/>
            <c:invertIfNegative val="1"/>
            <c:bubble3D val="0"/>
            <c:spPr>
              <a:solidFill>
                <a:srgbClr val="AEABAB"/>
              </a:solidFill>
            </c:spPr>
            <c:extLst>
              <c:ext xmlns:c16="http://schemas.microsoft.com/office/drawing/2014/chart" uri="{C3380CC4-5D6E-409C-BE32-E72D297353CC}">
                <c16:uniqueId val="{000004AF-4B1F-42FD-9B84-37A75D366F36}"/>
              </c:ext>
            </c:extLst>
          </c:dPt>
          <c:dPt>
            <c:idx val="599"/>
            <c:invertIfNegative val="1"/>
            <c:bubble3D val="0"/>
            <c:spPr>
              <a:solidFill>
                <a:srgbClr val="AEABAB"/>
              </a:solidFill>
            </c:spPr>
            <c:extLst>
              <c:ext xmlns:c16="http://schemas.microsoft.com/office/drawing/2014/chart" uri="{C3380CC4-5D6E-409C-BE32-E72D297353CC}">
                <c16:uniqueId val="{000004B1-4B1F-42FD-9B84-37A75D366F36}"/>
              </c:ext>
            </c:extLst>
          </c:dPt>
          <c:dPt>
            <c:idx val="600"/>
            <c:invertIfNegative val="1"/>
            <c:bubble3D val="0"/>
            <c:spPr>
              <a:solidFill>
                <a:srgbClr val="AEABAB"/>
              </a:solidFill>
            </c:spPr>
            <c:extLst>
              <c:ext xmlns:c16="http://schemas.microsoft.com/office/drawing/2014/chart" uri="{C3380CC4-5D6E-409C-BE32-E72D297353CC}">
                <c16:uniqueId val="{000004B3-4B1F-42FD-9B84-37A75D366F36}"/>
              </c:ext>
            </c:extLst>
          </c:dPt>
          <c:dPt>
            <c:idx val="601"/>
            <c:invertIfNegative val="1"/>
            <c:bubble3D val="0"/>
            <c:spPr>
              <a:solidFill>
                <a:srgbClr val="AEABAB"/>
              </a:solidFill>
            </c:spPr>
            <c:extLst>
              <c:ext xmlns:c16="http://schemas.microsoft.com/office/drawing/2014/chart" uri="{C3380CC4-5D6E-409C-BE32-E72D297353CC}">
                <c16:uniqueId val="{000004B5-4B1F-42FD-9B84-37A75D366F36}"/>
              </c:ext>
            </c:extLst>
          </c:dPt>
          <c:dPt>
            <c:idx val="602"/>
            <c:invertIfNegative val="1"/>
            <c:bubble3D val="0"/>
            <c:spPr>
              <a:solidFill>
                <a:srgbClr val="AEABAB"/>
              </a:solidFill>
            </c:spPr>
            <c:extLst>
              <c:ext xmlns:c16="http://schemas.microsoft.com/office/drawing/2014/chart" uri="{C3380CC4-5D6E-409C-BE32-E72D297353CC}">
                <c16:uniqueId val="{000004B7-4B1F-42FD-9B84-37A75D366F36}"/>
              </c:ext>
            </c:extLst>
          </c:dPt>
          <c:dPt>
            <c:idx val="603"/>
            <c:invertIfNegative val="1"/>
            <c:bubble3D val="0"/>
            <c:spPr>
              <a:solidFill>
                <a:srgbClr val="AEABAB"/>
              </a:solidFill>
            </c:spPr>
            <c:extLst>
              <c:ext xmlns:c16="http://schemas.microsoft.com/office/drawing/2014/chart" uri="{C3380CC4-5D6E-409C-BE32-E72D297353CC}">
                <c16:uniqueId val="{000004B9-4B1F-42FD-9B84-37A75D366F36}"/>
              </c:ext>
            </c:extLst>
          </c:dPt>
          <c:dPt>
            <c:idx val="604"/>
            <c:invertIfNegative val="1"/>
            <c:bubble3D val="0"/>
            <c:spPr>
              <a:solidFill>
                <a:srgbClr val="AEABAB"/>
              </a:solidFill>
            </c:spPr>
            <c:extLst>
              <c:ext xmlns:c16="http://schemas.microsoft.com/office/drawing/2014/chart" uri="{C3380CC4-5D6E-409C-BE32-E72D297353CC}">
                <c16:uniqueId val="{000004BB-4B1F-42FD-9B84-37A75D366F36}"/>
              </c:ext>
            </c:extLst>
          </c:dPt>
          <c:dPt>
            <c:idx val="605"/>
            <c:invertIfNegative val="1"/>
            <c:bubble3D val="0"/>
            <c:spPr>
              <a:solidFill>
                <a:srgbClr val="AEABAB"/>
              </a:solidFill>
            </c:spPr>
            <c:extLst>
              <c:ext xmlns:c16="http://schemas.microsoft.com/office/drawing/2014/chart" uri="{C3380CC4-5D6E-409C-BE32-E72D297353CC}">
                <c16:uniqueId val="{000004BD-4B1F-42FD-9B84-37A75D366F36}"/>
              </c:ext>
            </c:extLst>
          </c:dPt>
          <c:dPt>
            <c:idx val="606"/>
            <c:invertIfNegative val="1"/>
            <c:bubble3D val="0"/>
            <c:spPr>
              <a:solidFill>
                <a:srgbClr val="AEABAB"/>
              </a:solidFill>
            </c:spPr>
            <c:extLst>
              <c:ext xmlns:c16="http://schemas.microsoft.com/office/drawing/2014/chart" uri="{C3380CC4-5D6E-409C-BE32-E72D297353CC}">
                <c16:uniqueId val="{000004BF-4B1F-42FD-9B84-37A75D366F36}"/>
              </c:ext>
            </c:extLst>
          </c:dPt>
          <c:dPt>
            <c:idx val="607"/>
            <c:invertIfNegative val="1"/>
            <c:bubble3D val="0"/>
            <c:spPr>
              <a:solidFill>
                <a:srgbClr val="AEABAB"/>
              </a:solidFill>
            </c:spPr>
            <c:extLst>
              <c:ext xmlns:c16="http://schemas.microsoft.com/office/drawing/2014/chart" uri="{C3380CC4-5D6E-409C-BE32-E72D297353CC}">
                <c16:uniqueId val="{000004C1-4B1F-42FD-9B84-37A75D366F36}"/>
              </c:ext>
            </c:extLst>
          </c:dPt>
          <c:dPt>
            <c:idx val="608"/>
            <c:invertIfNegative val="1"/>
            <c:bubble3D val="0"/>
            <c:spPr>
              <a:solidFill>
                <a:srgbClr val="AEABAB"/>
              </a:solidFill>
            </c:spPr>
            <c:extLst>
              <c:ext xmlns:c16="http://schemas.microsoft.com/office/drawing/2014/chart" uri="{C3380CC4-5D6E-409C-BE32-E72D297353CC}">
                <c16:uniqueId val="{000004C3-4B1F-42FD-9B84-37A75D366F36}"/>
              </c:ext>
            </c:extLst>
          </c:dPt>
          <c:dPt>
            <c:idx val="609"/>
            <c:invertIfNegative val="1"/>
            <c:bubble3D val="0"/>
            <c:spPr>
              <a:solidFill>
                <a:srgbClr val="AEABAB"/>
              </a:solidFill>
            </c:spPr>
            <c:extLst>
              <c:ext xmlns:c16="http://schemas.microsoft.com/office/drawing/2014/chart" uri="{C3380CC4-5D6E-409C-BE32-E72D297353CC}">
                <c16:uniqueId val="{000004C5-4B1F-42FD-9B84-37A75D366F36}"/>
              </c:ext>
            </c:extLst>
          </c:dPt>
          <c:dPt>
            <c:idx val="610"/>
            <c:invertIfNegative val="1"/>
            <c:bubble3D val="0"/>
            <c:spPr>
              <a:solidFill>
                <a:srgbClr val="AEABAB"/>
              </a:solidFill>
            </c:spPr>
            <c:extLst>
              <c:ext xmlns:c16="http://schemas.microsoft.com/office/drawing/2014/chart" uri="{C3380CC4-5D6E-409C-BE32-E72D297353CC}">
                <c16:uniqueId val="{000004C7-4B1F-42FD-9B84-37A75D366F36}"/>
              </c:ext>
            </c:extLst>
          </c:dPt>
          <c:dPt>
            <c:idx val="611"/>
            <c:invertIfNegative val="1"/>
            <c:bubble3D val="0"/>
            <c:spPr>
              <a:solidFill>
                <a:srgbClr val="AEABAB"/>
              </a:solidFill>
            </c:spPr>
            <c:extLst>
              <c:ext xmlns:c16="http://schemas.microsoft.com/office/drawing/2014/chart" uri="{C3380CC4-5D6E-409C-BE32-E72D297353CC}">
                <c16:uniqueId val="{000004C9-4B1F-42FD-9B84-37A75D366F36}"/>
              </c:ext>
            </c:extLst>
          </c:dPt>
          <c:dPt>
            <c:idx val="612"/>
            <c:invertIfNegative val="1"/>
            <c:bubble3D val="0"/>
            <c:spPr>
              <a:solidFill>
                <a:srgbClr val="AEABAB"/>
              </a:solidFill>
            </c:spPr>
            <c:extLst>
              <c:ext xmlns:c16="http://schemas.microsoft.com/office/drawing/2014/chart" uri="{C3380CC4-5D6E-409C-BE32-E72D297353CC}">
                <c16:uniqueId val="{000004CB-4B1F-42FD-9B84-37A75D366F36}"/>
              </c:ext>
            </c:extLst>
          </c:dPt>
          <c:dPt>
            <c:idx val="613"/>
            <c:invertIfNegative val="1"/>
            <c:bubble3D val="0"/>
            <c:spPr>
              <a:solidFill>
                <a:srgbClr val="AEABAB"/>
              </a:solidFill>
            </c:spPr>
            <c:extLst>
              <c:ext xmlns:c16="http://schemas.microsoft.com/office/drawing/2014/chart" uri="{C3380CC4-5D6E-409C-BE32-E72D297353CC}">
                <c16:uniqueId val="{000004CD-4B1F-42FD-9B84-37A75D366F36}"/>
              </c:ext>
            </c:extLst>
          </c:dPt>
          <c:dPt>
            <c:idx val="614"/>
            <c:invertIfNegative val="1"/>
            <c:bubble3D val="0"/>
            <c:spPr>
              <a:solidFill>
                <a:srgbClr val="AEABAB"/>
              </a:solidFill>
            </c:spPr>
            <c:extLst>
              <c:ext xmlns:c16="http://schemas.microsoft.com/office/drawing/2014/chart" uri="{C3380CC4-5D6E-409C-BE32-E72D297353CC}">
                <c16:uniqueId val="{000004CF-4B1F-42FD-9B84-37A75D366F36}"/>
              </c:ext>
            </c:extLst>
          </c:dPt>
          <c:dPt>
            <c:idx val="615"/>
            <c:invertIfNegative val="1"/>
            <c:bubble3D val="0"/>
            <c:spPr>
              <a:solidFill>
                <a:srgbClr val="AEABAB"/>
              </a:solidFill>
            </c:spPr>
            <c:extLst>
              <c:ext xmlns:c16="http://schemas.microsoft.com/office/drawing/2014/chart" uri="{C3380CC4-5D6E-409C-BE32-E72D297353CC}">
                <c16:uniqueId val="{000004D1-4B1F-42FD-9B84-37A75D366F36}"/>
              </c:ext>
            </c:extLst>
          </c:dPt>
          <c:dPt>
            <c:idx val="616"/>
            <c:invertIfNegative val="1"/>
            <c:bubble3D val="0"/>
            <c:spPr>
              <a:solidFill>
                <a:srgbClr val="AEABAB"/>
              </a:solidFill>
            </c:spPr>
            <c:extLst>
              <c:ext xmlns:c16="http://schemas.microsoft.com/office/drawing/2014/chart" uri="{C3380CC4-5D6E-409C-BE32-E72D297353CC}">
                <c16:uniqueId val="{000004D3-4B1F-42FD-9B84-37A75D366F36}"/>
              </c:ext>
            </c:extLst>
          </c:dPt>
          <c:dPt>
            <c:idx val="617"/>
            <c:invertIfNegative val="1"/>
            <c:bubble3D val="0"/>
            <c:spPr>
              <a:solidFill>
                <a:srgbClr val="AEABAB"/>
              </a:solidFill>
            </c:spPr>
            <c:extLst>
              <c:ext xmlns:c16="http://schemas.microsoft.com/office/drawing/2014/chart" uri="{C3380CC4-5D6E-409C-BE32-E72D297353CC}">
                <c16:uniqueId val="{000004D5-4B1F-42FD-9B84-37A75D366F36}"/>
              </c:ext>
            </c:extLst>
          </c:dPt>
          <c:dPt>
            <c:idx val="618"/>
            <c:invertIfNegative val="1"/>
            <c:bubble3D val="0"/>
            <c:spPr>
              <a:solidFill>
                <a:srgbClr val="AEABAB"/>
              </a:solidFill>
            </c:spPr>
            <c:extLst>
              <c:ext xmlns:c16="http://schemas.microsoft.com/office/drawing/2014/chart" uri="{C3380CC4-5D6E-409C-BE32-E72D297353CC}">
                <c16:uniqueId val="{000004D7-4B1F-42FD-9B84-37A75D366F36}"/>
              </c:ext>
            </c:extLst>
          </c:dPt>
          <c:dPt>
            <c:idx val="619"/>
            <c:invertIfNegative val="1"/>
            <c:bubble3D val="0"/>
            <c:spPr>
              <a:solidFill>
                <a:srgbClr val="AEABAB"/>
              </a:solidFill>
            </c:spPr>
            <c:extLst>
              <c:ext xmlns:c16="http://schemas.microsoft.com/office/drawing/2014/chart" uri="{C3380CC4-5D6E-409C-BE32-E72D297353CC}">
                <c16:uniqueId val="{000004D9-4B1F-42FD-9B84-37A75D366F36}"/>
              </c:ext>
            </c:extLst>
          </c:dPt>
          <c:dPt>
            <c:idx val="620"/>
            <c:invertIfNegative val="1"/>
            <c:bubble3D val="0"/>
            <c:spPr>
              <a:solidFill>
                <a:srgbClr val="AEABAB"/>
              </a:solidFill>
            </c:spPr>
            <c:extLst>
              <c:ext xmlns:c16="http://schemas.microsoft.com/office/drawing/2014/chart" uri="{C3380CC4-5D6E-409C-BE32-E72D297353CC}">
                <c16:uniqueId val="{000004DB-4B1F-42FD-9B84-37A75D366F36}"/>
              </c:ext>
            </c:extLst>
          </c:dPt>
          <c:dPt>
            <c:idx val="621"/>
            <c:invertIfNegative val="1"/>
            <c:bubble3D val="0"/>
            <c:spPr>
              <a:solidFill>
                <a:srgbClr val="AEABAB"/>
              </a:solidFill>
            </c:spPr>
            <c:extLst>
              <c:ext xmlns:c16="http://schemas.microsoft.com/office/drawing/2014/chart" uri="{C3380CC4-5D6E-409C-BE32-E72D297353CC}">
                <c16:uniqueId val="{000004DD-4B1F-42FD-9B84-37A75D366F36}"/>
              </c:ext>
            </c:extLst>
          </c:dPt>
          <c:dPt>
            <c:idx val="622"/>
            <c:invertIfNegative val="1"/>
            <c:bubble3D val="0"/>
            <c:spPr>
              <a:solidFill>
                <a:srgbClr val="AEABAB"/>
              </a:solidFill>
            </c:spPr>
            <c:extLst>
              <c:ext xmlns:c16="http://schemas.microsoft.com/office/drawing/2014/chart" uri="{C3380CC4-5D6E-409C-BE32-E72D297353CC}">
                <c16:uniqueId val="{000004DF-4B1F-42FD-9B84-37A75D366F36}"/>
              </c:ext>
            </c:extLst>
          </c:dPt>
          <c:dPt>
            <c:idx val="623"/>
            <c:invertIfNegative val="1"/>
            <c:bubble3D val="0"/>
            <c:spPr>
              <a:solidFill>
                <a:srgbClr val="AEABAB"/>
              </a:solidFill>
            </c:spPr>
            <c:extLst>
              <c:ext xmlns:c16="http://schemas.microsoft.com/office/drawing/2014/chart" uri="{C3380CC4-5D6E-409C-BE32-E72D297353CC}">
                <c16:uniqueId val="{000004E1-4B1F-42FD-9B84-37A75D366F36}"/>
              </c:ext>
            </c:extLst>
          </c:dPt>
          <c:dPt>
            <c:idx val="624"/>
            <c:invertIfNegative val="1"/>
            <c:bubble3D val="0"/>
            <c:spPr>
              <a:solidFill>
                <a:srgbClr val="AEABAB"/>
              </a:solidFill>
            </c:spPr>
            <c:extLst>
              <c:ext xmlns:c16="http://schemas.microsoft.com/office/drawing/2014/chart" uri="{C3380CC4-5D6E-409C-BE32-E72D297353CC}">
                <c16:uniqueId val="{000004E3-4B1F-42FD-9B84-37A75D366F36}"/>
              </c:ext>
            </c:extLst>
          </c:dPt>
          <c:dPt>
            <c:idx val="625"/>
            <c:invertIfNegative val="1"/>
            <c:bubble3D val="0"/>
            <c:spPr>
              <a:solidFill>
                <a:srgbClr val="AEABAB"/>
              </a:solidFill>
            </c:spPr>
            <c:extLst>
              <c:ext xmlns:c16="http://schemas.microsoft.com/office/drawing/2014/chart" uri="{C3380CC4-5D6E-409C-BE32-E72D297353CC}">
                <c16:uniqueId val="{000004E5-4B1F-42FD-9B84-37A75D366F36}"/>
              </c:ext>
            </c:extLst>
          </c:dPt>
          <c:dPt>
            <c:idx val="626"/>
            <c:invertIfNegative val="1"/>
            <c:bubble3D val="0"/>
            <c:spPr>
              <a:solidFill>
                <a:srgbClr val="AEABAB"/>
              </a:solidFill>
            </c:spPr>
            <c:extLst>
              <c:ext xmlns:c16="http://schemas.microsoft.com/office/drawing/2014/chart" uri="{C3380CC4-5D6E-409C-BE32-E72D297353CC}">
                <c16:uniqueId val="{000004E7-4B1F-42FD-9B84-37A75D366F36}"/>
              </c:ext>
            </c:extLst>
          </c:dPt>
          <c:dPt>
            <c:idx val="627"/>
            <c:invertIfNegative val="1"/>
            <c:bubble3D val="0"/>
            <c:spPr>
              <a:solidFill>
                <a:srgbClr val="AEABAB"/>
              </a:solidFill>
            </c:spPr>
            <c:extLst>
              <c:ext xmlns:c16="http://schemas.microsoft.com/office/drawing/2014/chart" uri="{C3380CC4-5D6E-409C-BE32-E72D297353CC}">
                <c16:uniqueId val="{000004E9-4B1F-42FD-9B84-37A75D366F36}"/>
              </c:ext>
            </c:extLst>
          </c:dPt>
          <c:dPt>
            <c:idx val="628"/>
            <c:invertIfNegative val="1"/>
            <c:bubble3D val="0"/>
            <c:spPr>
              <a:solidFill>
                <a:srgbClr val="AEABAB"/>
              </a:solidFill>
            </c:spPr>
            <c:extLst>
              <c:ext xmlns:c16="http://schemas.microsoft.com/office/drawing/2014/chart" uri="{C3380CC4-5D6E-409C-BE32-E72D297353CC}">
                <c16:uniqueId val="{000004EB-4B1F-42FD-9B84-37A75D366F36}"/>
              </c:ext>
            </c:extLst>
          </c:dPt>
          <c:dPt>
            <c:idx val="629"/>
            <c:invertIfNegative val="1"/>
            <c:bubble3D val="0"/>
            <c:spPr>
              <a:solidFill>
                <a:srgbClr val="AEABAB"/>
              </a:solidFill>
            </c:spPr>
            <c:extLst>
              <c:ext xmlns:c16="http://schemas.microsoft.com/office/drawing/2014/chart" uri="{C3380CC4-5D6E-409C-BE32-E72D297353CC}">
                <c16:uniqueId val="{000004ED-4B1F-42FD-9B84-37A75D366F36}"/>
              </c:ext>
            </c:extLst>
          </c:dPt>
          <c:dPt>
            <c:idx val="630"/>
            <c:invertIfNegative val="1"/>
            <c:bubble3D val="0"/>
            <c:spPr>
              <a:solidFill>
                <a:srgbClr val="AEABAB"/>
              </a:solidFill>
            </c:spPr>
            <c:extLst>
              <c:ext xmlns:c16="http://schemas.microsoft.com/office/drawing/2014/chart" uri="{C3380CC4-5D6E-409C-BE32-E72D297353CC}">
                <c16:uniqueId val="{000004EF-4B1F-42FD-9B84-37A75D366F36}"/>
              </c:ext>
            </c:extLst>
          </c:dPt>
          <c:dPt>
            <c:idx val="631"/>
            <c:invertIfNegative val="1"/>
            <c:bubble3D val="0"/>
            <c:spPr>
              <a:solidFill>
                <a:srgbClr val="AEABAB"/>
              </a:solidFill>
            </c:spPr>
            <c:extLst>
              <c:ext xmlns:c16="http://schemas.microsoft.com/office/drawing/2014/chart" uri="{C3380CC4-5D6E-409C-BE32-E72D297353CC}">
                <c16:uniqueId val="{000004F1-4B1F-42FD-9B84-37A75D366F36}"/>
              </c:ext>
            </c:extLst>
          </c:dPt>
          <c:dPt>
            <c:idx val="632"/>
            <c:invertIfNegative val="1"/>
            <c:bubble3D val="0"/>
            <c:spPr>
              <a:solidFill>
                <a:srgbClr val="AEABAB"/>
              </a:solidFill>
            </c:spPr>
            <c:extLst>
              <c:ext xmlns:c16="http://schemas.microsoft.com/office/drawing/2014/chart" uri="{C3380CC4-5D6E-409C-BE32-E72D297353CC}">
                <c16:uniqueId val="{000004F3-4B1F-42FD-9B84-37A75D366F36}"/>
              </c:ext>
            </c:extLst>
          </c:dPt>
          <c:dPt>
            <c:idx val="633"/>
            <c:invertIfNegative val="1"/>
            <c:bubble3D val="0"/>
            <c:spPr>
              <a:solidFill>
                <a:srgbClr val="AEABAB"/>
              </a:solidFill>
            </c:spPr>
            <c:extLst>
              <c:ext xmlns:c16="http://schemas.microsoft.com/office/drawing/2014/chart" uri="{C3380CC4-5D6E-409C-BE32-E72D297353CC}">
                <c16:uniqueId val="{000004F5-4B1F-42FD-9B84-37A75D366F36}"/>
              </c:ext>
            </c:extLst>
          </c:dPt>
          <c:dPt>
            <c:idx val="634"/>
            <c:invertIfNegative val="1"/>
            <c:bubble3D val="0"/>
            <c:spPr>
              <a:solidFill>
                <a:srgbClr val="AEABAB"/>
              </a:solidFill>
            </c:spPr>
            <c:extLst>
              <c:ext xmlns:c16="http://schemas.microsoft.com/office/drawing/2014/chart" uri="{C3380CC4-5D6E-409C-BE32-E72D297353CC}">
                <c16:uniqueId val="{000004F7-4B1F-42FD-9B84-37A75D366F36}"/>
              </c:ext>
            </c:extLst>
          </c:dPt>
          <c:dPt>
            <c:idx val="635"/>
            <c:invertIfNegative val="1"/>
            <c:bubble3D val="0"/>
            <c:spPr>
              <a:solidFill>
                <a:srgbClr val="AEABAB"/>
              </a:solidFill>
            </c:spPr>
            <c:extLst>
              <c:ext xmlns:c16="http://schemas.microsoft.com/office/drawing/2014/chart" uri="{C3380CC4-5D6E-409C-BE32-E72D297353CC}">
                <c16:uniqueId val="{000004F9-4B1F-42FD-9B84-37A75D366F36}"/>
              </c:ext>
            </c:extLst>
          </c:dPt>
          <c:dPt>
            <c:idx val="636"/>
            <c:invertIfNegative val="1"/>
            <c:bubble3D val="0"/>
            <c:spPr>
              <a:solidFill>
                <a:srgbClr val="AEABAB"/>
              </a:solidFill>
            </c:spPr>
            <c:extLst>
              <c:ext xmlns:c16="http://schemas.microsoft.com/office/drawing/2014/chart" uri="{C3380CC4-5D6E-409C-BE32-E72D297353CC}">
                <c16:uniqueId val="{000004FB-4B1F-42FD-9B84-37A75D366F36}"/>
              </c:ext>
            </c:extLst>
          </c:dPt>
          <c:dPt>
            <c:idx val="637"/>
            <c:invertIfNegative val="1"/>
            <c:bubble3D val="0"/>
            <c:spPr>
              <a:solidFill>
                <a:srgbClr val="AEABAB"/>
              </a:solidFill>
            </c:spPr>
            <c:extLst>
              <c:ext xmlns:c16="http://schemas.microsoft.com/office/drawing/2014/chart" uri="{C3380CC4-5D6E-409C-BE32-E72D297353CC}">
                <c16:uniqueId val="{000004FD-4B1F-42FD-9B84-37A75D366F36}"/>
              </c:ext>
            </c:extLst>
          </c:dPt>
          <c:dPt>
            <c:idx val="638"/>
            <c:invertIfNegative val="1"/>
            <c:bubble3D val="0"/>
            <c:spPr>
              <a:solidFill>
                <a:srgbClr val="AEABAB"/>
              </a:solidFill>
            </c:spPr>
            <c:extLst>
              <c:ext xmlns:c16="http://schemas.microsoft.com/office/drawing/2014/chart" uri="{C3380CC4-5D6E-409C-BE32-E72D297353CC}">
                <c16:uniqueId val="{000004FF-4B1F-42FD-9B84-37A75D366F36}"/>
              </c:ext>
            </c:extLst>
          </c:dPt>
          <c:dPt>
            <c:idx val="639"/>
            <c:invertIfNegative val="1"/>
            <c:bubble3D val="0"/>
            <c:spPr>
              <a:solidFill>
                <a:srgbClr val="AEABAB"/>
              </a:solidFill>
            </c:spPr>
            <c:extLst>
              <c:ext xmlns:c16="http://schemas.microsoft.com/office/drawing/2014/chart" uri="{C3380CC4-5D6E-409C-BE32-E72D297353CC}">
                <c16:uniqueId val="{00000501-4B1F-42FD-9B84-37A75D366F36}"/>
              </c:ext>
            </c:extLst>
          </c:dPt>
          <c:dPt>
            <c:idx val="640"/>
            <c:invertIfNegative val="1"/>
            <c:bubble3D val="0"/>
            <c:spPr>
              <a:solidFill>
                <a:srgbClr val="AEABAB"/>
              </a:solidFill>
            </c:spPr>
            <c:extLst>
              <c:ext xmlns:c16="http://schemas.microsoft.com/office/drawing/2014/chart" uri="{C3380CC4-5D6E-409C-BE32-E72D297353CC}">
                <c16:uniqueId val="{00000503-4B1F-42FD-9B84-37A75D366F36}"/>
              </c:ext>
            </c:extLst>
          </c:dPt>
          <c:dPt>
            <c:idx val="641"/>
            <c:invertIfNegative val="1"/>
            <c:bubble3D val="0"/>
            <c:spPr>
              <a:solidFill>
                <a:srgbClr val="AEABAB"/>
              </a:solidFill>
            </c:spPr>
            <c:extLst>
              <c:ext xmlns:c16="http://schemas.microsoft.com/office/drawing/2014/chart" uri="{C3380CC4-5D6E-409C-BE32-E72D297353CC}">
                <c16:uniqueId val="{00000505-4B1F-42FD-9B84-37A75D366F36}"/>
              </c:ext>
            </c:extLst>
          </c:dPt>
          <c:dPt>
            <c:idx val="642"/>
            <c:invertIfNegative val="1"/>
            <c:bubble3D val="0"/>
            <c:spPr>
              <a:solidFill>
                <a:srgbClr val="AEABAB"/>
              </a:solidFill>
            </c:spPr>
            <c:extLst>
              <c:ext xmlns:c16="http://schemas.microsoft.com/office/drawing/2014/chart" uri="{C3380CC4-5D6E-409C-BE32-E72D297353CC}">
                <c16:uniqueId val="{00000507-4B1F-42FD-9B84-37A75D366F36}"/>
              </c:ext>
            </c:extLst>
          </c:dPt>
          <c:dPt>
            <c:idx val="643"/>
            <c:invertIfNegative val="1"/>
            <c:bubble3D val="0"/>
            <c:spPr>
              <a:solidFill>
                <a:srgbClr val="AEABAB"/>
              </a:solidFill>
            </c:spPr>
            <c:extLst>
              <c:ext xmlns:c16="http://schemas.microsoft.com/office/drawing/2014/chart" uri="{C3380CC4-5D6E-409C-BE32-E72D297353CC}">
                <c16:uniqueId val="{00000509-4B1F-42FD-9B84-37A75D366F36}"/>
              </c:ext>
            </c:extLst>
          </c:dPt>
          <c:dPt>
            <c:idx val="644"/>
            <c:invertIfNegative val="1"/>
            <c:bubble3D val="0"/>
            <c:spPr>
              <a:solidFill>
                <a:srgbClr val="AEABAB"/>
              </a:solidFill>
            </c:spPr>
            <c:extLst>
              <c:ext xmlns:c16="http://schemas.microsoft.com/office/drawing/2014/chart" uri="{C3380CC4-5D6E-409C-BE32-E72D297353CC}">
                <c16:uniqueId val="{0000050B-4B1F-42FD-9B84-37A75D366F36}"/>
              </c:ext>
            </c:extLst>
          </c:dPt>
          <c:dPt>
            <c:idx val="645"/>
            <c:invertIfNegative val="1"/>
            <c:bubble3D val="0"/>
            <c:spPr>
              <a:solidFill>
                <a:srgbClr val="AEABAB"/>
              </a:solidFill>
            </c:spPr>
            <c:extLst>
              <c:ext xmlns:c16="http://schemas.microsoft.com/office/drawing/2014/chart" uri="{C3380CC4-5D6E-409C-BE32-E72D297353CC}">
                <c16:uniqueId val="{0000050D-4B1F-42FD-9B84-37A75D366F36}"/>
              </c:ext>
            </c:extLst>
          </c:dPt>
          <c:dPt>
            <c:idx val="646"/>
            <c:invertIfNegative val="1"/>
            <c:bubble3D val="0"/>
            <c:spPr>
              <a:solidFill>
                <a:srgbClr val="AEABAB"/>
              </a:solidFill>
            </c:spPr>
            <c:extLst>
              <c:ext xmlns:c16="http://schemas.microsoft.com/office/drawing/2014/chart" uri="{C3380CC4-5D6E-409C-BE32-E72D297353CC}">
                <c16:uniqueId val="{0000050F-4B1F-42FD-9B84-37A75D366F36}"/>
              </c:ext>
            </c:extLst>
          </c:dPt>
          <c:dPt>
            <c:idx val="647"/>
            <c:invertIfNegative val="1"/>
            <c:bubble3D val="0"/>
            <c:spPr>
              <a:solidFill>
                <a:srgbClr val="AEABAB"/>
              </a:solidFill>
            </c:spPr>
            <c:extLst>
              <c:ext xmlns:c16="http://schemas.microsoft.com/office/drawing/2014/chart" uri="{C3380CC4-5D6E-409C-BE32-E72D297353CC}">
                <c16:uniqueId val="{00000511-4B1F-42FD-9B84-37A75D366F36}"/>
              </c:ext>
            </c:extLst>
          </c:dPt>
          <c:dPt>
            <c:idx val="648"/>
            <c:invertIfNegative val="1"/>
            <c:bubble3D val="0"/>
            <c:spPr>
              <a:solidFill>
                <a:srgbClr val="AEABAB"/>
              </a:solidFill>
            </c:spPr>
            <c:extLst>
              <c:ext xmlns:c16="http://schemas.microsoft.com/office/drawing/2014/chart" uri="{C3380CC4-5D6E-409C-BE32-E72D297353CC}">
                <c16:uniqueId val="{00000513-4B1F-42FD-9B84-37A75D366F36}"/>
              </c:ext>
            </c:extLst>
          </c:dPt>
          <c:dPt>
            <c:idx val="649"/>
            <c:invertIfNegative val="1"/>
            <c:bubble3D val="0"/>
            <c:spPr>
              <a:solidFill>
                <a:srgbClr val="AEABAB"/>
              </a:solidFill>
            </c:spPr>
            <c:extLst>
              <c:ext xmlns:c16="http://schemas.microsoft.com/office/drawing/2014/chart" uri="{C3380CC4-5D6E-409C-BE32-E72D297353CC}">
                <c16:uniqueId val="{00000515-4B1F-42FD-9B84-37A75D366F36}"/>
              </c:ext>
            </c:extLst>
          </c:dPt>
          <c:dPt>
            <c:idx val="650"/>
            <c:invertIfNegative val="1"/>
            <c:bubble3D val="0"/>
            <c:spPr>
              <a:solidFill>
                <a:srgbClr val="AEABAB"/>
              </a:solidFill>
            </c:spPr>
            <c:extLst>
              <c:ext xmlns:c16="http://schemas.microsoft.com/office/drawing/2014/chart" uri="{C3380CC4-5D6E-409C-BE32-E72D297353CC}">
                <c16:uniqueId val="{00000517-4B1F-42FD-9B84-37A75D366F36}"/>
              </c:ext>
            </c:extLst>
          </c:dPt>
          <c:dPt>
            <c:idx val="651"/>
            <c:invertIfNegative val="1"/>
            <c:bubble3D val="0"/>
            <c:spPr>
              <a:solidFill>
                <a:srgbClr val="AEABAB"/>
              </a:solidFill>
            </c:spPr>
            <c:extLst>
              <c:ext xmlns:c16="http://schemas.microsoft.com/office/drawing/2014/chart" uri="{C3380CC4-5D6E-409C-BE32-E72D297353CC}">
                <c16:uniqueId val="{00000519-4B1F-42FD-9B84-37A75D366F36}"/>
              </c:ext>
            </c:extLst>
          </c:dPt>
          <c:dPt>
            <c:idx val="652"/>
            <c:invertIfNegative val="1"/>
            <c:bubble3D val="0"/>
            <c:spPr>
              <a:solidFill>
                <a:srgbClr val="AEABAB"/>
              </a:solidFill>
            </c:spPr>
            <c:extLst>
              <c:ext xmlns:c16="http://schemas.microsoft.com/office/drawing/2014/chart" uri="{C3380CC4-5D6E-409C-BE32-E72D297353CC}">
                <c16:uniqueId val="{0000051B-4B1F-42FD-9B84-37A75D366F36}"/>
              </c:ext>
            </c:extLst>
          </c:dPt>
          <c:dPt>
            <c:idx val="653"/>
            <c:invertIfNegative val="1"/>
            <c:bubble3D val="0"/>
            <c:spPr>
              <a:solidFill>
                <a:srgbClr val="AEABAB"/>
              </a:solidFill>
            </c:spPr>
            <c:extLst>
              <c:ext xmlns:c16="http://schemas.microsoft.com/office/drawing/2014/chart" uri="{C3380CC4-5D6E-409C-BE32-E72D297353CC}">
                <c16:uniqueId val="{0000051D-4B1F-42FD-9B84-37A75D366F36}"/>
              </c:ext>
            </c:extLst>
          </c:dPt>
          <c:dPt>
            <c:idx val="654"/>
            <c:invertIfNegative val="1"/>
            <c:bubble3D val="0"/>
            <c:spPr>
              <a:solidFill>
                <a:srgbClr val="AEABAB"/>
              </a:solidFill>
            </c:spPr>
            <c:extLst>
              <c:ext xmlns:c16="http://schemas.microsoft.com/office/drawing/2014/chart" uri="{C3380CC4-5D6E-409C-BE32-E72D297353CC}">
                <c16:uniqueId val="{0000051F-4B1F-42FD-9B84-37A75D366F36}"/>
              </c:ext>
            </c:extLst>
          </c:dPt>
          <c:dPt>
            <c:idx val="655"/>
            <c:invertIfNegative val="1"/>
            <c:bubble3D val="0"/>
            <c:spPr>
              <a:solidFill>
                <a:srgbClr val="AEABAB"/>
              </a:solidFill>
            </c:spPr>
            <c:extLst>
              <c:ext xmlns:c16="http://schemas.microsoft.com/office/drawing/2014/chart" uri="{C3380CC4-5D6E-409C-BE32-E72D297353CC}">
                <c16:uniqueId val="{00000521-4B1F-42FD-9B84-37A75D366F36}"/>
              </c:ext>
            </c:extLst>
          </c:dPt>
          <c:dPt>
            <c:idx val="656"/>
            <c:invertIfNegative val="1"/>
            <c:bubble3D val="0"/>
            <c:spPr>
              <a:solidFill>
                <a:srgbClr val="AEABAB"/>
              </a:solidFill>
            </c:spPr>
            <c:extLst>
              <c:ext xmlns:c16="http://schemas.microsoft.com/office/drawing/2014/chart" uri="{C3380CC4-5D6E-409C-BE32-E72D297353CC}">
                <c16:uniqueId val="{00000523-4B1F-42FD-9B84-37A75D366F36}"/>
              </c:ext>
            </c:extLst>
          </c:dPt>
          <c:dPt>
            <c:idx val="657"/>
            <c:invertIfNegative val="1"/>
            <c:bubble3D val="0"/>
            <c:spPr>
              <a:solidFill>
                <a:srgbClr val="AEABAB"/>
              </a:solidFill>
            </c:spPr>
            <c:extLst>
              <c:ext xmlns:c16="http://schemas.microsoft.com/office/drawing/2014/chart" uri="{C3380CC4-5D6E-409C-BE32-E72D297353CC}">
                <c16:uniqueId val="{00000525-4B1F-42FD-9B84-37A75D366F36}"/>
              </c:ext>
            </c:extLst>
          </c:dPt>
          <c:dPt>
            <c:idx val="658"/>
            <c:invertIfNegative val="1"/>
            <c:bubble3D val="0"/>
            <c:spPr>
              <a:solidFill>
                <a:srgbClr val="AEABAB"/>
              </a:solidFill>
            </c:spPr>
            <c:extLst>
              <c:ext xmlns:c16="http://schemas.microsoft.com/office/drawing/2014/chart" uri="{C3380CC4-5D6E-409C-BE32-E72D297353CC}">
                <c16:uniqueId val="{00000527-4B1F-42FD-9B84-37A75D366F36}"/>
              </c:ext>
            </c:extLst>
          </c:dPt>
          <c:dPt>
            <c:idx val="659"/>
            <c:invertIfNegative val="1"/>
            <c:bubble3D val="0"/>
            <c:spPr>
              <a:solidFill>
                <a:srgbClr val="AEABAB"/>
              </a:solidFill>
            </c:spPr>
            <c:extLst>
              <c:ext xmlns:c16="http://schemas.microsoft.com/office/drawing/2014/chart" uri="{C3380CC4-5D6E-409C-BE32-E72D297353CC}">
                <c16:uniqueId val="{00000529-4B1F-42FD-9B84-37A75D366F36}"/>
              </c:ext>
            </c:extLst>
          </c:dPt>
          <c:dPt>
            <c:idx val="660"/>
            <c:invertIfNegative val="1"/>
            <c:bubble3D val="0"/>
            <c:spPr>
              <a:solidFill>
                <a:srgbClr val="AEABAB"/>
              </a:solidFill>
            </c:spPr>
            <c:extLst>
              <c:ext xmlns:c16="http://schemas.microsoft.com/office/drawing/2014/chart" uri="{C3380CC4-5D6E-409C-BE32-E72D297353CC}">
                <c16:uniqueId val="{0000052B-4B1F-42FD-9B84-37A75D366F36}"/>
              </c:ext>
            </c:extLst>
          </c:dPt>
          <c:dPt>
            <c:idx val="661"/>
            <c:invertIfNegative val="1"/>
            <c:bubble3D val="0"/>
            <c:spPr>
              <a:solidFill>
                <a:srgbClr val="AEABAB"/>
              </a:solidFill>
            </c:spPr>
            <c:extLst>
              <c:ext xmlns:c16="http://schemas.microsoft.com/office/drawing/2014/chart" uri="{C3380CC4-5D6E-409C-BE32-E72D297353CC}">
                <c16:uniqueId val="{0000052D-4B1F-42FD-9B84-37A75D366F36}"/>
              </c:ext>
            </c:extLst>
          </c:dPt>
          <c:dPt>
            <c:idx val="662"/>
            <c:invertIfNegative val="1"/>
            <c:bubble3D val="0"/>
            <c:spPr>
              <a:solidFill>
                <a:srgbClr val="AEABAB"/>
              </a:solidFill>
            </c:spPr>
            <c:extLst>
              <c:ext xmlns:c16="http://schemas.microsoft.com/office/drawing/2014/chart" uri="{C3380CC4-5D6E-409C-BE32-E72D297353CC}">
                <c16:uniqueId val="{0000052F-4B1F-42FD-9B84-37A75D366F36}"/>
              </c:ext>
            </c:extLst>
          </c:dPt>
          <c:dPt>
            <c:idx val="663"/>
            <c:invertIfNegative val="1"/>
            <c:bubble3D val="0"/>
            <c:spPr>
              <a:solidFill>
                <a:srgbClr val="AEABAB"/>
              </a:solidFill>
            </c:spPr>
            <c:extLst>
              <c:ext xmlns:c16="http://schemas.microsoft.com/office/drawing/2014/chart" uri="{C3380CC4-5D6E-409C-BE32-E72D297353CC}">
                <c16:uniqueId val="{00000531-4B1F-42FD-9B84-37A75D366F36}"/>
              </c:ext>
            </c:extLst>
          </c:dPt>
          <c:dPt>
            <c:idx val="664"/>
            <c:invertIfNegative val="1"/>
            <c:bubble3D val="0"/>
            <c:spPr>
              <a:solidFill>
                <a:srgbClr val="AEABAB"/>
              </a:solidFill>
            </c:spPr>
            <c:extLst>
              <c:ext xmlns:c16="http://schemas.microsoft.com/office/drawing/2014/chart" uri="{C3380CC4-5D6E-409C-BE32-E72D297353CC}">
                <c16:uniqueId val="{00000533-4B1F-42FD-9B84-37A75D366F36}"/>
              </c:ext>
            </c:extLst>
          </c:dPt>
          <c:dPt>
            <c:idx val="665"/>
            <c:invertIfNegative val="1"/>
            <c:bubble3D val="0"/>
            <c:spPr>
              <a:solidFill>
                <a:srgbClr val="AEABAB"/>
              </a:solidFill>
            </c:spPr>
            <c:extLst>
              <c:ext xmlns:c16="http://schemas.microsoft.com/office/drawing/2014/chart" uri="{C3380CC4-5D6E-409C-BE32-E72D297353CC}">
                <c16:uniqueId val="{00000535-4B1F-42FD-9B84-37A75D366F36}"/>
              </c:ext>
            </c:extLst>
          </c:dPt>
          <c:dPt>
            <c:idx val="666"/>
            <c:invertIfNegative val="1"/>
            <c:bubble3D val="0"/>
            <c:spPr>
              <a:solidFill>
                <a:srgbClr val="AEABAB"/>
              </a:solidFill>
            </c:spPr>
            <c:extLst>
              <c:ext xmlns:c16="http://schemas.microsoft.com/office/drawing/2014/chart" uri="{C3380CC4-5D6E-409C-BE32-E72D297353CC}">
                <c16:uniqueId val="{00000537-4B1F-42FD-9B84-37A75D366F36}"/>
              </c:ext>
            </c:extLst>
          </c:dPt>
          <c:dPt>
            <c:idx val="667"/>
            <c:invertIfNegative val="1"/>
            <c:bubble3D val="0"/>
            <c:spPr>
              <a:solidFill>
                <a:srgbClr val="AEABAB"/>
              </a:solidFill>
            </c:spPr>
            <c:extLst>
              <c:ext xmlns:c16="http://schemas.microsoft.com/office/drawing/2014/chart" uri="{C3380CC4-5D6E-409C-BE32-E72D297353CC}">
                <c16:uniqueId val="{00000539-4B1F-42FD-9B84-37A75D366F36}"/>
              </c:ext>
            </c:extLst>
          </c:dPt>
          <c:dPt>
            <c:idx val="668"/>
            <c:invertIfNegative val="1"/>
            <c:bubble3D val="0"/>
            <c:spPr>
              <a:solidFill>
                <a:srgbClr val="AEABAB"/>
              </a:solidFill>
            </c:spPr>
            <c:extLst>
              <c:ext xmlns:c16="http://schemas.microsoft.com/office/drawing/2014/chart" uri="{C3380CC4-5D6E-409C-BE32-E72D297353CC}">
                <c16:uniqueId val="{0000053B-4B1F-42FD-9B84-37A75D366F36}"/>
              </c:ext>
            </c:extLst>
          </c:dPt>
          <c:dPt>
            <c:idx val="669"/>
            <c:invertIfNegative val="1"/>
            <c:bubble3D val="0"/>
            <c:spPr>
              <a:solidFill>
                <a:srgbClr val="AEABAB"/>
              </a:solidFill>
            </c:spPr>
            <c:extLst>
              <c:ext xmlns:c16="http://schemas.microsoft.com/office/drawing/2014/chart" uri="{C3380CC4-5D6E-409C-BE32-E72D297353CC}">
                <c16:uniqueId val="{0000053D-4B1F-42FD-9B84-37A75D366F36}"/>
              </c:ext>
            </c:extLst>
          </c:dPt>
          <c:dPt>
            <c:idx val="670"/>
            <c:invertIfNegative val="1"/>
            <c:bubble3D val="0"/>
            <c:spPr>
              <a:solidFill>
                <a:srgbClr val="AEABAB"/>
              </a:solidFill>
            </c:spPr>
            <c:extLst>
              <c:ext xmlns:c16="http://schemas.microsoft.com/office/drawing/2014/chart" uri="{C3380CC4-5D6E-409C-BE32-E72D297353CC}">
                <c16:uniqueId val="{0000053F-4B1F-42FD-9B84-37A75D366F36}"/>
              </c:ext>
            </c:extLst>
          </c:dPt>
          <c:dPt>
            <c:idx val="671"/>
            <c:invertIfNegative val="1"/>
            <c:bubble3D val="0"/>
            <c:spPr>
              <a:solidFill>
                <a:srgbClr val="AEABAB"/>
              </a:solidFill>
            </c:spPr>
            <c:extLst>
              <c:ext xmlns:c16="http://schemas.microsoft.com/office/drawing/2014/chart" uri="{C3380CC4-5D6E-409C-BE32-E72D297353CC}">
                <c16:uniqueId val="{00000541-4B1F-42FD-9B84-37A75D366F36}"/>
              </c:ext>
            </c:extLst>
          </c:dPt>
          <c:dPt>
            <c:idx val="672"/>
            <c:invertIfNegative val="1"/>
            <c:bubble3D val="0"/>
            <c:spPr>
              <a:solidFill>
                <a:srgbClr val="AEABAB"/>
              </a:solidFill>
            </c:spPr>
            <c:extLst>
              <c:ext xmlns:c16="http://schemas.microsoft.com/office/drawing/2014/chart" uri="{C3380CC4-5D6E-409C-BE32-E72D297353CC}">
                <c16:uniqueId val="{00000543-4B1F-42FD-9B84-37A75D366F36}"/>
              </c:ext>
            </c:extLst>
          </c:dPt>
          <c:dPt>
            <c:idx val="673"/>
            <c:invertIfNegative val="1"/>
            <c:bubble3D val="0"/>
            <c:spPr>
              <a:solidFill>
                <a:srgbClr val="AEABAB"/>
              </a:solidFill>
            </c:spPr>
            <c:extLst>
              <c:ext xmlns:c16="http://schemas.microsoft.com/office/drawing/2014/chart" uri="{C3380CC4-5D6E-409C-BE32-E72D297353CC}">
                <c16:uniqueId val="{00000545-4B1F-42FD-9B84-37A75D366F36}"/>
              </c:ext>
            </c:extLst>
          </c:dPt>
          <c:dPt>
            <c:idx val="674"/>
            <c:invertIfNegative val="1"/>
            <c:bubble3D val="0"/>
            <c:spPr>
              <a:solidFill>
                <a:srgbClr val="AEABAB"/>
              </a:solidFill>
            </c:spPr>
            <c:extLst>
              <c:ext xmlns:c16="http://schemas.microsoft.com/office/drawing/2014/chart" uri="{C3380CC4-5D6E-409C-BE32-E72D297353CC}">
                <c16:uniqueId val="{00000547-4B1F-42FD-9B84-37A75D366F36}"/>
              </c:ext>
            </c:extLst>
          </c:dPt>
          <c:dPt>
            <c:idx val="675"/>
            <c:invertIfNegative val="1"/>
            <c:bubble3D val="0"/>
            <c:spPr>
              <a:solidFill>
                <a:srgbClr val="AEABAB"/>
              </a:solidFill>
            </c:spPr>
            <c:extLst>
              <c:ext xmlns:c16="http://schemas.microsoft.com/office/drawing/2014/chart" uri="{C3380CC4-5D6E-409C-BE32-E72D297353CC}">
                <c16:uniqueId val="{00000549-4B1F-42FD-9B84-37A75D366F36}"/>
              </c:ext>
            </c:extLst>
          </c:dPt>
          <c:dPt>
            <c:idx val="676"/>
            <c:invertIfNegative val="1"/>
            <c:bubble3D val="0"/>
            <c:spPr>
              <a:solidFill>
                <a:srgbClr val="AEABAB"/>
              </a:solidFill>
            </c:spPr>
            <c:extLst>
              <c:ext xmlns:c16="http://schemas.microsoft.com/office/drawing/2014/chart" uri="{C3380CC4-5D6E-409C-BE32-E72D297353CC}">
                <c16:uniqueId val="{0000054B-4B1F-42FD-9B84-37A75D366F36}"/>
              </c:ext>
            </c:extLst>
          </c:dPt>
          <c:dPt>
            <c:idx val="677"/>
            <c:invertIfNegative val="1"/>
            <c:bubble3D val="0"/>
            <c:spPr>
              <a:solidFill>
                <a:srgbClr val="AEABAB"/>
              </a:solidFill>
            </c:spPr>
            <c:extLst>
              <c:ext xmlns:c16="http://schemas.microsoft.com/office/drawing/2014/chart" uri="{C3380CC4-5D6E-409C-BE32-E72D297353CC}">
                <c16:uniqueId val="{0000054D-4B1F-42FD-9B84-37A75D366F36}"/>
              </c:ext>
            </c:extLst>
          </c:dPt>
          <c:dPt>
            <c:idx val="678"/>
            <c:invertIfNegative val="1"/>
            <c:bubble3D val="0"/>
            <c:spPr>
              <a:solidFill>
                <a:srgbClr val="AEABAB"/>
              </a:solidFill>
            </c:spPr>
            <c:extLst>
              <c:ext xmlns:c16="http://schemas.microsoft.com/office/drawing/2014/chart" uri="{C3380CC4-5D6E-409C-BE32-E72D297353CC}">
                <c16:uniqueId val="{0000054F-4B1F-42FD-9B84-37A75D366F36}"/>
              </c:ext>
            </c:extLst>
          </c:dPt>
          <c:dPt>
            <c:idx val="679"/>
            <c:invertIfNegative val="1"/>
            <c:bubble3D val="0"/>
            <c:spPr>
              <a:solidFill>
                <a:srgbClr val="AEABAB"/>
              </a:solidFill>
            </c:spPr>
            <c:extLst>
              <c:ext xmlns:c16="http://schemas.microsoft.com/office/drawing/2014/chart" uri="{C3380CC4-5D6E-409C-BE32-E72D297353CC}">
                <c16:uniqueId val="{00000551-4B1F-42FD-9B84-37A75D366F36}"/>
              </c:ext>
            </c:extLst>
          </c:dPt>
          <c:dPt>
            <c:idx val="680"/>
            <c:invertIfNegative val="1"/>
            <c:bubble3D val="0"/>
            <c:spPr>
              <a:solidFill>
                <a:srgbClr val="AEABAB"/>
              </a:solidFill>
            </c:spPr>
            <c:extLst>
              <c:ext xmlns:c16="http://schemas.microsoft.com/office/drawing/2014/chart" uri="{C3380CC4-5D6E-409C-BE32-E72D297353CC}">
                <c16:uniqueId val="{00000553-4B1F-42FD-9B84-37A75D366F36}"/>
              </c:ext>
            </c:extLst>
          </c:dPt>
          <c:dPt>
            <c:idx val="681"/>
            <c:invertIfNegative val="1"/>
            <c:bubble3D val="0"/>
            <c:spPr>
              <a:solidFill>
                <a:srgbClr val="AEABAB"/>
              </a:solidFill>
            </c:spPr>
            <c:extLst>
              <c:ext xmlns:c16="http://schemas.microsoft.com/office/drawing/2014/chart" uri="{C3380CC4-5D6E-409C-BE32-E72D297353CC}">
                <c16:uniqueId val="{00000555-4B1F-42FD-9B84-37A75D366F36}"/>
              </c:ext>
            </c:extLst>
          </c:dPt>
          <c:dPt>
            <c:idx val="682"/>
            <c:invertIfNegative val="1"/>
            <c:bubble3D val="0"/>
            <c:spPr>
              <a:solidFill>
                <a:srgbClr val="AEABAB"/>
              </a:solidFill>
            </c:spPr>
            <c:extLst>
              <c:ext xmlns:c16="http://schemas.microsoft.com/office/drawing/2014/chart" uri="{C3380CC4-5D6E-409C-BE32-E72D297353CC}">
                <c16:uniqueId val="{00000557-4B1F-42FD-9B84-37A75D366F36}"/>
              </c:ext>
            </c:extLst>
          </c:dPt>
          <c:dPt>
            <c:idx val="683"/>
            <c:invertIfNegative val="1"/>
            <c:bubble3D val="0"/>
            <c:spPr>
              <a:solidFill>
                <a:srgbClr val="AEABAB"/>
              </a:solidFill>
            </c:spPr>
            <c:extLst>
              <c:ext xmlns:c16="http://schemas.microsoft.com/office/drawing/2014/chart" uri="{C3380CC4-5D6E-409C-BE32-E72D297353CC}">
                <c16:uniqueId val="{00000559-4B1F-42FD-9B84-37A75D366F36}"/>
              </c:ext>
            </c:extLst>
          </c:dPt>
          <c:dPt>
            <c:idx val="684"/>
            <c:invertIfNegative val="1"/>
            <c:bubble3D val="0"/>
            <c:spPr>
              <a:solidFill>
                <a:srgbClr val="AEABAB"/>
              </a:solidFill>
            </c:spPr>
            <c:extLst>
              <c:ext xmlns:c16="http://schemas.microsoft.com/office/drawing/2014/chart" uri="{C3380CC4-5D6E-409C-BE32-E72D297353CC}">
                <c16:uniqueId val="{0000055B-4B1F-42FD-9B84-37A75D366F36}"/>
              </c:ext>
            </c:extLst>
          </c:dPt>
          <c:dPt>
            <c:idx val="685"/>
            <c:invertIfNegative val="1"/>
            <c:bubble3D val="0"/>
            <c:spPr>
              <a:solidFill>
                <a:srgbClr val="AEABAB"/>
              </a:solidFill>
            </c:spPr>
            <c:extLst>
              <c:ext xmlns:c16="http://schemas.microsoft.com/office/drawing/2014/chart" uri="{C3380CC4-5D6E-409C-BE32-E72D297353CC}">
                <c16:uniqueId val="{0000055D-4B1F-42FD-9B84-37A75D366F36}"/>
              </c:ext>
            </c:extLst>
          </c:dPt>
          <c:dPt>
            <c:idx val="686"/>
            <c:invertIfNegative val="1"/>
            <c:bubble3D val="0"/>
            <c:spPr>
              <a:solidFill>
                <a:srgbClr val="AEABAB"/>
              </a:solidFill>
            </c:spPr>
            <c:extLst>
              <c:ext xmlns:c16="http://schemas.microsoft.com/office/drawing/2014/chart" uri="{C3380CC4-5D6E-409C-BE32-E72D297353CC}">
                <c16:uniqueId val="{0000055F-4B1F-42FD-9B84-37A75D366F36}"/>
              </c:ext>
            </c:extLst>
          </c:dPt>
          <c:dPt>
            <c:idx val="687"/>
            <c:invertIfNegative val="1"/>
            <c:bubble3D val="0"/>
            <c:spPr>
              <a:solidFill>
                <a:srgbClr val="AEABAB"/>
              </a:solidFill>
            </c:spPr>
            <c:extLst>
              <c:ext xmlns:c16="http://schemas.microsoft.com/office/drawing/2014/chart" uri="{C3380CC4-5D6E-409C-BE32-E72D297353CC}">
                <c16:uniqueId val="{00000561-4B1F-42FD-9B84-37A75D366F36}"/>
              </c:ext>
            </c:extLst>
          </c:dPt>
          <c:dPt>
            <c:idx val="688"/>
            <c:invertIfNegative val="1"/>
            <c:bubble3D val="0"/>
            <c:spPr>
              <a:solidFill>
                <a:srgbClr val="AEABAB"/>
              </a:solidFill>
            </c:spPr>
            <c:extLst>
              <c:ext xmlns:c16="http://schemas.microsoft.com/office/drawing/2014/chart" uri="{C3380CC4-5D6E-409C-BE32-E72D297353CC}">
                <c16:uniqueId val="{00000563-4B1F-42FD-9B84-37A75D366F36}"/>
              </c:ext>
            </c:extLst>
          </c:dPt>
          <c:dPt>
            <c:idx val="689"/>
            <c:invertIfNegative val="1"/>
            <c:bubble3D val="0"/>
            <c:spPr>
              <a:solidFill>
                <a:srgbClr val="AEABAB"/>
              </a:solidFill>
            </c:spPr>
            <c:extLst>
              <c:ext xmlns:c16="http://schemas.microsoft.com/office/drawing/2014/chart" uri="{C3380CC4-5D6E-409C-BE32-E72D297353CC}">
                <c16:uniqueId val="{00000565-4B1F-42FD-9B84-37A75D366F36}"/>
              </c:ext>
            </c:extLst>
          </c:dPt>
          <c:dPt>
            <c:idx val="690"/>
            <c:invertIfNegative val="1"/>
            <c:bubble3D val="0"/>
            <c:spPr>
              <a:solidFill>
                <a:srgbClr val="AEABAB"/>
              </a:solidFill>
            </c:spPr>
            <c:extLst>
              <c:ext xmlns:c16="http://schemas.microsoft.com/office/drawing/2014/chart" uri="{C3380CC4-5D6E-409C-BE32-E72D297353CC}">
                <c16:uniqueId val="{00000567-4B1F-42FD-9B84-37A75D366F36}"/>
              </c:ext>
            </c:extLst>
          </c:dPt>
          <c:dPt>
            <c:idx val="691"/>
            <c:invertIfNegative val="1"/>
            <c:bubble3D val="0"/>
            <c:spPr>
              <a:solidFill>
                <a:srgbClr val="AEABAB"/>
              </a:solidFill>
            </c:spPr>
            <c:extLst>
              <c:ext xmlns:c16="http://schemas.microsoft.com/office/drawing/2014/chart" uri="{C3380CC4-5D6E-409C-BE32-E72D297353CC}">
                <c16:uniqueId val="{00000569-4B1F-42FD-9B84-37A75D366F36}"/>
              </c:ext>
            </c:extLst>
          </c:dPt>
          <c:dPt>
            <c:idx val="692"/>
            <c:invertIfNegative val="1"/>
            <c:bubble3D val="0"/>
            <c:spPr>
              <a:solidFill>
                <a:srgbClr val="AEABAB"/>
              </a:solidFill>
            </c:spPr>
            <c:extLst>
              <c:ext xmlns:c16="http://schemas.microsoft.com/office/drawing/2014/chart" uri="{C3380CC4-5D6E-409C-BE32-E72D297353CC}">
                <c16:uniqueId val="{0000056B-4B1F-42FD-9B84-37A75D366F36}"/>
              </c:ext>
            </c:extLst>
          </c:dPt>
          <c:dPt>
            <c:idx val="693"/>
            <c:invertIfNegative val="1"/>
            <c:bubble3D val="0"/>
            <c:spPr>
              <a:solidFill>
                <a:srgbClr val="AEABAB"/>
              </a:solidFill>
            </c:spPr>
            <c:extLst>
              <c:ext xmlns:c16="http://schemas.microsoft.com/office/drawing/2014/chart" uri="{C3380CC4-5D6E-409C-BE32-E72D297353CC}">
                <c16:uniqueId val="{0000056D-4B1F-42FD-9B84-37A75D366F36}"/>
              </c:ext>
            </c:extLst>
          </c:dPt>
          <c:dPt>
            <c:idx val="694"/>
            <c:invertIfNegative val="1"/>
            <c:bubble3D val="0"/>
            <c:spPr>
              <a:solidFill>
                <a:srgbClr val="AEABAB"/>
              </a:solidFill>
            </c:spPr>
            <c:extLst>
              <c:ext xmlns:c16="http://schemas.microsoft.com/office/drawing/2014/chart" uri="{C3380CC4-5D6E-409C-BE32-E72D297353CC}">
                <c16:uniqueId val="{0000056F-4B1F-42FD-9B84-37A75D366F36}"/>
              </c:ext>
            </c:extLst>
          </c:dPt>
          <c:dPt>
            <c:idx val="695"/>
            <c:invertIfNegative val="1"/>
            <c:bubble3D val="0"/>
            <c:spPr>
              <a:solidFill>
                <a:srgbClr val="AEABAB"/>
              </a:solidFill>
            </c:spPr>
            <c:extLst>
              <c:ext xmlns:c16="http://schemas.microsoft.com/office/drawing/2014/chart" uri="{C3380CC4-5D6E-409C-BE32-E72D297353CC}">
                <c16:uniqueId val="{00000571-4B1F-42FD-9B84-37A75D366F36}"/>
              </c:ext>
            </c:extLst>
          </c:dPt>
          <c:dPt>
            <c:idx val="696"/>
            <c:invertIfNegative val="1"/>
            <c:bubble3D val="0"/>
            <c:spPr>
              <a:solidFill>
                <a:srgbClr val="AEABAB"/>
              </a:solidFill>
            </c:spPr>
            <c:extLst>
              <c:ext xmlns:c16="http://schemas.microsoft.com/office/drawing/2014/chart" uri="{C3380CC4-5D6E-409C-BE32-E72D297353CC}">
                <c16:uniqueId val="{00000573-4B1F-42FD-9B84-37A75D366F36}"/>
              </c:ext>
            </c:extLst>
          </c:dPt>
          <c:dPt>
            <c:idx val="697"/>
            <c:invertIfNegative val="1"/>
            <c:bubble3D val="0"/>
            <c:spPr>
              <a:solidFill>
                <a:srgbClr val="AEABAB"/>
              </a:solidFill>
            </c:spPr>
            <c:extLst>
              <c:ext xmlns:c16="http://schemas.microsoft.com/office/drawing/2014/chart" uri="{C3380CC4-5D6E-409C-BE32-E72D297353CC}">
                <c16:uniqueId val="{00000575-4B1F-42FD-9B84-37A75D366F36}"/>
              </c:ext>
            </c:extLst>
          </c:dPt>
          <c:dPt>
            <c:idx val="698"/>
            <c:invertIfNegative val="1"/>
            <c:bubble3D val="0"/>
            <c:spPr>
              <a:solidFill>
                <a:srgbClr val="AEABAB"/>
              </a:solidFill>
            </c:spPr>
            <c:extLst>
              <c:ext xmlns:c16="http://schemas.microsoft.com/office/drawing/2014/chart" uri="{C3380CC4-5D6E-409C-BE32-E72D297353CC}">
                <c16:uniqueId val="{00000577-4B1F-42FD-9B84-37A75D366F36}"/>
              </c:ext>
            </c:extLst>
          </c:dPt>
          <c:dPt>
            <c:idx val="699"/>
            <c:invertIfNegative val="1"/>
            <c:bubble3D val="0"/>
            <c:spPr>
              <a:solidFill>
                <a:srgbClr val="AEABAB"/>
              </a:solidFill>
            </c:spPr>
            <c:extLst>
              <c:ext xmlns:c16="http://schemas.microsoft.com/office/drawing/2014/chart" uri="{C3380CC4-5D6E-409C-BE32-E72D297353CC}">
                <c16:uniqueId val="{00000579-4B1F-42FD-9B84-37A75D366F36}"/>
              </c:ext>
            </c:extLst>
          </c:dPt>
          <c:dPt>
            <c:idx val="700"/>
            <c:invertIfNegative val="1"/>
            <c:bubble3D val="0"/>
            <c:spPr>
              <a:solidFill>
                <a:srgbClr val="AEABAB"/>
              </a:solidFill>
            </c:spPr>
            <c:extLst>
              <c:ext xmlns:c16="http://schemas.microsoft.com/office/drawing/2014/chart" uri="{C3380CC4-5D6E-409C-BE32-E72D297353CC}">
                <c16:uniqueId val="{0000057B-4B1F-42FD-9B84-37A75D366F36}"/>
              </c:ext>
            </c:extLst>
          </c:dPt>
          <c:dPt>
            <c:idx val="701"/>
            <c:invertIfNegative val="1"/>
            <c:bubble3D val="0"/>
            <c:spPr>
              <a:solidFill>
                <a:srgbClr val="AEABAB"/>
              </a:solidFill>
            </c:spPr>
            <c:extLst>
              <c:ext xmlns:c16="http://schemas.microsoft.com/office/drawing/2014/chart" uri="{C3380CC4-5D6E-409C-BE32-E72D297353CC}">
                <c16:uniqueId val="{0000057D-4B1F-42FD-9B84-37A75D366F36}"/>
              </c:ext>
            </c:extLst>
          </c:dPt>
          <c:dPt>
            <c:idx val="702"/>
            <c:invertIfNegative val="1"/>
            <c:bubble3D val="0"/>
            <c:spPr>
              <a:solidFill>
                <a:srgbClr val="AEABAB"/>
              </a:solidFill>
            </c:spPr>
            <c:extLst>
              <c:ext xmlns:c16="http://schemas.microsoft.com/office/drawing/2014/chart" uri="{C3380CC4-5D6E-409C-BE32-E72D297353CC}">
                <c16:uniqueId val="{0000057F-4B1F-42FD-9B84-37A75D366F36}"/>
              </c:ext>
            </c:extLst>
          </c:dPt>
          <c:dPt>
            <c:idx val="703"/>
            <c:invertIfNegative val="1"/>
            <c:bubble3D val="0"/>
            <c:spPr>
              <a:solidFill>
                <a:srgbClr val="AEABAB"/>
              </a:solidFill>
            </c:spPr>
            <c:extLst>
              <c:ext xmlns:c16="http://schemas.microsoft.com/office/drawing/2014/chart" uri="{C3380CC4-5D6E-409C-BE32-E72D297353CC}">
                <c16:uniqueId val="{00000581-4B1F-42FD-9B84-37A75D366F36}"/>
              </c:ext>
            </c:extLst>
          </c:dPt>
          <c:dPt>
            <c:idx val="704"/>
            <c:invertIfNegative val="1"/>
            <c:bubble3D val="0"/>
            <c:spPr>
              <a:solidFill>
                <a:srgbClr val="AEABAB"/>
              </a:solidFill>
            </c:spPr>
            <c:extLst>
              <c:ext xmlns:c16="http://schemas.microsoft.com/office/drawing/2014/chart" uri="{C3380CC4-5D6E-409C-BE32-E72D297353CC}">
                <c16:uniqueId val="{00000583-4B1F-42FD-9B84-37A75D366F36}"/>
              </c:ext>
            </c:extLst>
          </c:dPt>
          <c:dPt>
            <c:idx val="705"/>
            <c:invertIfNegative val="1"/>
            <c:bubble3D val="0"/>
            <c:spPr>
              <a:solidFill>
                <a:srgbClr val="AEABAB"/>
              </a:solidFill>
            </c:spPr>
            <c:extLst>
              <c:ext xmlns:c16="http://schemas.microsoft.com/office/drawing/2014/chart" uri="{C3380CC4-5D6E-409C-BE32-E72D297353CC}">
                <c16:uniqueId val="{00000585-4B1F-42FD-9B84-37A75D366F36}"/>
              </c:ext>
            </c:extLst>
          </c:dPt>
          <c:dPt>
            <c:idx val="706"/>
            <c:invertIfNegative val="1"/>
            <c:bubble3D val="0"/>
            <c:spPr>
              <a:solidFill>
                <a:srgbClr val="AEABAB"/>
              </a:solidFill>
            </c:spPr>
            <c:extLst>
              <c:ext xmlns:c16="http://schemas.microsoft.com/office/drawing/2014/chart" uri="{C3380CC4-5D6E-409C-BE32-E72D297353CC}">
                <c16:uniqueId val="{00000587-4B1F-42FD-9B84-37A75D366F36}"/>
              </c:ext>
            </c:extLst>
          </c:dPt>
          <c:dPt>
            <c:idx val="707"/>
            <c:invertIfNegative val="1"/>
            <c:bubble3D val="0"/>
            <c:spPr>
              <a:solidFill>
                <a:srgbClr val="AEABAB"/>
              </a:solidFill>
            </c:spPr>
            <c:extLst>
              <c:ext xmlns:c16="http://schemas.microsoft.com/office/drawing/2014/chart" uri="{C3380CC4-5D6E-409C-BE32-E72D297353CC}">
                <c16:uniqueId val="{00000589-4B1F-42FD-9B84-37A75D366F36}"/>
              </c:ext>
            </c:extLst>
          </c:dPt>
          <c:dPt>
            <c:idx val="708"/>
            <c:invertIfNegative val="1"/>
            <c:bubble3D val="0"/>
            <c:spPr>
              <a:solidFill>
                <a:srgbClr val="AEABAB"/>
              </a:solidFill>
            </c:spPr>
            <c:extLst>
              <c:ext xmlns:c16="http://schemas.microsoft.com/office/drawing/2014/chart" uri="{C3380CC4-5D6E-409C-BE32-E72D297353CC}">
                <c16:uniqueId val="{0000058B-4B1F-42FD-9B84-37A75D366F36}"/>
              </c:ext>
            </c:extLst>
          </c:dPt>
          <c:dPt>
            <c:idx val="709"/>
            <c:invertIfNegative val="1"/>
            <c:bubble3D val="0"/>
            <c:spPr>
              <a:solidFill>
                <a:srgbClr val="AEABAB"/>
              </a:solidFill>
            </c:spPr>
            <c:extLst>
              <c:ext xmlns:c16="http://schemas.microsoft.com/office/drawing/2014/chart" uri="{C3380CC4-5D6E-409C-BE32-E72D297353CC}">
                <c16:uniqueId val="{0000058D-4B1F-42FD-9B84-37A75D366F36}"/>
              </c:ext>
            </c:extLst>
          </c:dPt>
          <c:dPt>
            <c:idx val="710"/>
            <c:invertIfNegative val="1"/>
            <c:bubble3D val="0"/>
            <c:spPr>
              <a:solidFill>
                <a:srgbClr val="AEABAB"/>
              </a:solidFill>
            </c:spPr>
            <c:extLst>
              <c:ext xmlns:c16="http://schemas.microsoft.com/office/drawing/2014/chart" uri="{C3380CC4-5D6E-409C-BE32-E72D297353CC}">
                <c16:uniqueId val="{0000058F-4B1F-42FD-9B84-37A75D366F36}"/>
              </c:ext>
            </c:extLst>
          </c:dPt>
          <c:dPt>
            <c:idx val="711"/>
            <c:invertIfNegative val="1"/>
            <c:bubble3D val="0"/>
            <c:spPr>
              <a:solidFill>
                <a:srgbClr val="AEABAB"/>
              </a:solidFill>
            </c:spPr>
            <c:extLst>
              <c:ext xmlns:c16="http://schemas.microsoft.com/office/drawing/2014/chart" uri="{C3380CC4-5D6E-409C-BE32-E72D297353CC}">
                <c16:uniqueId val="{00000591-4B1F-42FD-9B84-37A75D366F36}"/>
              </c:ext>
            </c:extLst>
          </c:dPt>
          <c:dPt>
            <c:idx val="712"/>
            <c:invertIfNegative val="1"/>
            <c:bubble3D val="0"/>
            <c:spPr>
              <a:solidFill>
                <a:srgbClr val="AEABAB"/>
              </a:solidFill>
            </c:spPr>
            <c:extLst>
              <c:ext xmlns:c16="http://schemas.microsoft.com/office/drawing/2014/chart" uri="{C3380CC4-5D6E-409C-BE32-E72D297353CC}">
                <c16:uniqueId val="{00000593-4B1F-42FD-9B84-37A75D366F36}"/>
              </c:ext>
            </c:extLst>
          </c:dPt>
          <c:dPt>
            <c:idx val="713"/>
            <c:invertIfNegative val="1"/>
            <c:bubble3D val="0"/>
            <c:spPr>
              <a:solidFill>
                <a:srgbClr val="AEABAB"/>
              </a:solidFill>
            </c:spPr>
            <c:extLst>
              <c:ext xmlns:c16="http://schemas.microsoft.com/office/drawing/2014/chart" uri="{C3380CC4-5D6E-409C-BE32-E72D297353CC}">
                <c16:uniqueId val="{00000595-4B1F-42FD-9B84-37A75D366F36}"/>
              </c:ext>
            </c:extLst>
          </c:dPt>
          <c:dPt>
            <c:idx val="714"/>
            <c:invertIfNegative val="1"/>
            <c:bubble3D val="0"/>
            <c:spPr>
              <a:solidFill>
                <a:srgbClr val="AEABAB"/>
              </a:solidFill>
            </c:spPr>
            <c:extLst>
              <c:ext xmlns:c16="http://schemas.microsoft.com/office/drawing/2014/chart" uri="{C3380CC4-5D6E-409C-BE32-E72D297353CC}">
                <c16:uniqueId val="{00000597-4B1F-42FD-9B84-37A75D366F36}"/>
              </c:ext>
            </c:extLst>
          </c:dPt>
          <c:dPt>
            <c:idx val="715"/>
            <c:invertIfNegative val="1"/>
            <c:bubble3D val="0"/>
            <c:spPr>
              <a:solidFill>
                <a:srgbClr val="AEABAB"/>
              </a:solidFill>
            </c:spPr>
            <c:extLst>
              <c:ext xmlns:c16="http://schemas.microsoft.com/office/drawing/2014/chart" uri="{C3380CC4-5D6E-409C-BE32-E72D297353CC}">
                <c16:uniqueId val="{00000599-4B1F-42FD-9B84-37A75D366F36}"/>
              </c:ext>
            </c:extLst>
          </c:dPt>
          <c:dPt>
            <c:idx val="716"/>
            <c:invertIfNegative val="1"/>
            <c:bubble3D val="0"/>
            <c:spPr>
              <a:solidFill>
                <a:srgbClr val="AEABAB"/>
              </a:solidFill>
            </c:spPr>
            <c:extLst>
              <c:ext xmlns:c16="http://schemas.microsoft.com/office/drawing/2014/chart" uri="{C3380CC4-5D6E-409C-BE32-E72D297353CC}">
                <c16:uniqueId val="{0000059B-4B1F-42FD-9B84-37A75D366F36}"/>
              </c:ext>
            </c:extLst>
          </c:dPt>
          <c:dPt>
            <c:idx val="717"/>
            <c:invertIfNegative val="1"/>
            <c:bubble3D val="0"/>
            <c:spPr>
              <a:solidFill>
                <a:srgbClr val="AEABAB"/>
              </a:solidFill>
            </c:spPr>
            <c:extLst>
              <c:ext xmlns:c16="http://schemas.microsoft.com/office/drawing/2014/chart" uri="{C3380CC4-5D6E-409C-BE32-E72D297353CC}">
                <c16:uniqueId val="{0000059D-4B1F-42FD-9B84-37A75D366F36}"/>
              </c:ext>
            </c:extLst>
          </c:dPt>
          <c:dPt>
            <c:idx val="718"/>
            <c:invertIfNegative val="1"/>
            <c:bubble3D val="0"/>
            <c:spPr>
              <a:solidFill>
                <a:srgbClr val="AEABAB"/>
              </a:solidFill>
            </c:spPr>
            <c:extLst>
              <c:ext xmlns:c16="http://schemas.microsoft.com/office/drawing/2014/chart" uri="{C3380CC4-5D6E-409C-BE32-E72D297353CC}">
                <c16:uniqueId val="{0000059F-4B1F-42FD-9B84-37A75D366F36}"/>
              </c:ext>
            </c:extLst>
          </c:dPt>
          <c:dPt>
            <c:idx val="719"/>
            <c:invertIfNegative val="1"/>
            <c:bubble3D val="0"/>
            <c:spPr>
              <a:solidFill>
                <a:srgbClr val="AEABAB"/>
              </a:solidFill>
            </c:spPr>
            <c:extLst>
              <c:ext xmlns:c16="http://schemas.microsoft.com/office/drawing/2014/chart" uri="{C3380CC4-5D6E-409C-BE32-E72D297353CC}">
                <c16:uniqueId val="{000005A1-4B1F-42FD-9B84-37A75D366F36}"/>
              </c:ext>
            </c:extLst>
          </c:dPt>
          <c:dPt>
            <c:idx val="720"/>
            <c:invertIfNegative val="1"/>
            <c:bubble3D val="0"/>
            <c:spPr>
              <a:solidFill>
                <a:srgbClr val="AEABAB"/>
              </a:solidFill>
            </c:spPr>
            <c:extLst>
              <c:ext xmlns:c16="http://schemas.microsoft.com/office/drawing/2014/chart" uri="{C3380CC4-5D6E-409C-BE32-E72D297353CC}">
                <c16:uniqueId val="{000005A3-4B1F-42FD-9B84-37A75D366F36}"/>
              </c:ext>
            </c:extLst>
          </c:dPt>
          <c:dPt>
            <c:idx val="721"/>
            <c:invertIfNegative val="1"/>
            <c:bubble3D val="0"/>
            <c:spPr>
              <a:solidFill>
                <a:srgbClr val="AEABAB"/>
              </a:solidFill>
            </c:spPr>
            <c:extLst>
              <c:ext xmlns:c16="http://schemas.microsoft.com/office/drawing/2014/chart" uri="{C3380CC4-5D6E-409C-BE32-E72D297353CC}">
                <c16:uniqueId val="{000005A5-4B1F-42FD-9B84-37A75D366F36}"/>
              </c:ext>
            </c:extLst>
          </c:dPt>
          <c:dPt>
            <c:idx val="722"/>
            <c:invertIfNegative val="1"/>
            <c:bubble3D val="0"/>
            <c:spPr>
              <a:solidFill>
                <a:srgbClr val="AEABAB"/>
              </a:solidFill>
            </c:spPr>
            <c:extLst>
              <c:ext xmlns:c16="http://schemas.microsoft.com/office/drawing/2014/chart" uri="{C3380CC4-5D6E-409C-BE32-E72D297353CC}">
                <c16:uniqueId val="{000005A7-4B1F-42FD-9B84-37A75D366F36}"/>
              </c:ext>
            </c:extLst>
          </c:dPt>
          <c:dPt>
            <c:idx val="723"/>
            <c:invertIfNegative val="1"/>
            <c:bubble3D val="0"/>
            <c:spPr>
              <a:solidFill>
                <a:srgbClr val="AEABAB"/>
              </a:solidFill>
            </c:spPr>
            <c:extLst>
              <c:ext xmlns:c16="http://schemas.microsoft.com/office/drawing/2014/chart" uri="{C3380CC4-5D6E-409C-BE32-E72D297353CC}">
                <c16:uniqueId val="{000005A9-4B1F-42FD-9B84-37A75D366F36}"/>
              </c:ext>
            </c:extLst>
          </c:dPt>
          <c:dPt>
            <c:idx val="724"/>
            <c:invertIfNegative val="1"/>
            <c:bubble3D val="0"/>
            <c:spPr>
              <a:solidFill>
                <a:srgbClr val="AEABAB"/>
              </a:solidFill>
            </c:spPr>
            <c:extLst>
              <c:ext xmlns:c16="http://schemas.microsoft.com/office/drawing/2014/chart" uri="{C3380CC4-5D6E-409C-BE32-E72D297353CC}">
                <c16:uniqueId val="{000005AB-4B1F-42FD-9B84-37A75D366F36}"/>
              </c:ext>
            </c:extLst>
          </c:dPt>
          <c:dPt>
            <c:idx val="725"/>
            <c:invertIfNegative val="1"/>
            <c:bubble3D val="0"/>
            <c:spPr>
              <a:solidFill>
                <a:srgbClr val="AEABAB"/>
              </a:solidFill>
            </c:spPr>
            <c:extLst>
              <c:ext xmlns:c16="http://schemas.microsoft.com/office/drawing/2014/chart" uri="{C3380CC4-5D6E-409C-BE32-E72D297353CC}">
                <c16:uniqueId val="{000005AD-4B1F-42FD-9B84-37A75D366F36}"/>
              </c:ext>
            </c:extLst>
          </c:dPt>
          <c:dPt>
            <c:idx val="726"/>
            <c:invertIfNegative val="1"/>
            <c:bubble3D val="0"/>
            <c:spPr>
              <a:solidFill>
                <a:srgbClr val="AEABAB"/>
              </a:solidFill>
            </c:spPr>
            <c:extLst>
              <c:ext xmlns:c16="http://schemas.microsoft.com/office/drawing/2014/chart" uri="{C3380CC4-5D6E-409C-BE32-E72D297353CC}">
                <c16:uniqueId val="{000005AF-4B1F-42FD-9B84-37A75D366F36}"/>
              </c:ext>
            </c:extLst>
          </c:dPt>
          <c:dPt>
            <c:idx val="727"/>
            <c:invertIfNegative val="1"/>
            <c:bubble3D val="0"/>
            <c:spPr>
              <a:solidFill>
                <a:srgbClr val="AEABAB"/>
              </a:solidFill>
            </c:spPr>
            <c:extLst>
              <c:ext xmlns:c16="http://schemas.microsoft.com/office/drawing/2014/chart" uri="{C3380CC4-5D6E-409C-BE32-E72D297353CC}">
                <c16:uniqueId val="{000005B1-4B1F-42FD-9B84-37A75D366F36}"/>
              </c:ext>
            </c:extLst>
          </c:dPt>
          <c:dPt>
            <c:idx val="728"/>
            <c:invertIfNegative val="1"/>
            <c:bubble3D val="0"/>
            <c:spPr>
              <a:solidFill>
                <a:srgbClr val="AEABAB"/>
              </a:solidFill>
            </c:spPr>
            <c:extLst>
              <c:ext xmlns:c16="http://schemas.microsoft.com/office/drawing/2014/chart" uri="{C3380CC4-5D6E-409C-BE32-E72D297353CC}">
                <c16:uniqueId val="{000005B3-4B1F-42FD-9B84-37A75D366F36}"/>
              </c:ext>
            </c:extLst>
          </c:dPt>
          <c:dPt>
            <c:idx val="729"/>
            <c:invertIfNegative val="1"/>
            <c:bubble3D val="0"/>
            <c:spPr>
              <a:solidFill>
                <a:srgbClr val="AEABAB"/>
              </a:solidFill>
            </c:spPr>
            <c:extLst>
              <c:ext xmlns:c16="http://schemas.microsoft.com/office/drawing/2014/chart" uri="{C3380CC4-5D6E-409C-BE32-E72D297353CC}">
                <c16:uniqueId val="{000005B5-4B1F-42FD-9B84-37A75D366F36}"/>
              </c:ext>
            </c:extLst>
          </c:dPt>
          <c:dPt>
            <c:idx val="730"/>
            <c:invertIfNegative val="1"/>
            <c:bubble3D val="0"/>
            <c:spPr>
              <a:solidFill>
                <a:srgbClr val="AEABAB"/>
              </a:solidFill>
            </c:spPr>
            <c:extLst>
              <c:ext xmlns:c16="http://schemas.microsoft.com/office/drawing/2014/chart" uri="{C3380CC4-5D6E-409C-BE32-E72D297353CC}">
                <c16:uniqueId val="{000005B7-4B1F-42FD-9B84-37A75D366F36}"/>
              </c:ext>
            </c:extLst>
          </c:dPt>
          <c:dPt>
            <c:idx val="731"/>
            <c:invertIfNegative val="1"/>
            <c:bubble3D val="0"/>
            <c:spPr>
              <a:solidFill>
                <a:srgbClr val="AEABAB"/>
              </a:solidFill>
            </c:spPr>
            <c:extLst>
              <c:ext xmlns:c16="http://schemas.microsoft.com/office/drawing/2014/chart" uri="{C3380CC4-5D6E-409C-BE32-E72D297353CC}">
                <c16:uniqueId val="{000005B9-4B1F-42FD-9B84-37A75D366F36}"/>
              </c:ext>
            </c:extLst>
          </c:dPt>
          <c:dPt>
            <c:idx val="732"/>
            <c:invertIfNegative val="1"/>
            <c:bubble3D val="0"/>
            <c:spPr>
              <a:solidFill>
                <a:srgbClr val="AEABAB"/>
              </a:solidFill>
            </c:spPr>
            <c:extLst>
              <c:ext xmlns:c16="http://schemas.microsoft.com/office/drawing/2014/chart" uri="{C3380CC4-5D6E-409C-BE32-E72D297353CC}">
                <c16:uniqueId val="{000005BB-4B1F-42FD-9B84-37A75D366F36}"/>
              </c:ext>
            </c:extLst>
          </c:dPt>
          <c:dPt>
            <c:idx val="733"/>
            <c:invertIfNegative val="1"/>
            <c:bubble3D val="0"/>
            <c:spPr>
              <a:solidFill>
                <a:srgbClr val="AEABAB"/>
              </a:solidFill>
            </c:spPr>
            <c:extLst>
              <c:ext xmlns:c16="http://schemas.microsoft.com/office/drawing/2014/chart" uri="{C3380CC4-5D6E-409C-BE32-E72D297353CC}">
                <c16:uniqueId val="{000005BD-4B1F-42FD-9B84-37A75D366F36}"/>
              </c:ext>
            </c:extLst>
          </c:dPt>
          <c:dPt>
            <c:idx val="734"/>
            <c:invertIfNegative val="1"/>
            <c:bubble3D val="0"/>
            <c:spPr>
              <a:solidFill>
                <a:srgbClr val="AEABAB"/>
              </a:solidFill>
            </c:spPr>
            <c:extLst>
              <c:ext xmlns:c16="http://schemas.microsoft.com/office/drawing/2014/chart" uri="{C3380CC4-5D6E-409C-BE32-E72D297353CC}">
                <c16:uniqueId val="{000005BF-4B1F-42FD-9B84-37A75D366F36}"/>
              </c:ext>
            </c:extLst>
          </c:dPt>
          <c:dPt>
            <c:idx val="735"/>
            <c:invertIfNegative val="1"/>
            <c:bubble3D val="0"/>
            <c:spPr>
              <a:solidFill>
                <a:srgbClr val="AEABAB"/>
              </a:solidFill>
            </c:spPr>
            <c:extLst>
              <c:ext xmlns:c16="http://schemas.microsoft.com/office/drawing/2014/chart" uri="{C3380CC4-5D6E-409C-BE32-E72D297353CC}">
                <c16:uniqueId val="{000005C1-4B1F-42FD-9B84-37A75D366F36}"/>
              </c:ext>
            </c:extLst>
          </c:dPt>
          <c:dPt>
            <c:idx val="736"/>
            <c:invertIfNegative val="1"/>
            <c:bubble3D val="0"/>
            <c:spPr>
              <a:solidFill>
                <a:srgbClr val="AEABAB"/>
              </a:solidFill>
            </c:spPr>
            <c:extLst>
              <c:ext xmlns:c16="http://schemas.microsoft.com/office/drawing/2014/chart" uri="{C3380CC4-5D6E-409C-BE32-E72D297353CC}">
                <c16:uniqueId val="{000005C3-4B1F-42FD-9B84-37A75D366F36}"/>
              </c:ext>
            </c:extLst>
          </c:dPt>
          <c:dPt>
            <c:idx val="737"/>
            <c:invertIfNegative val="1"/>
            <c:bubble3D val="0"/>
            <c:spPr>
              <a:solidFill>
                <a:srgbClr val="AEABAB"/>
              </a:solidFill>
            </c:spPr>
            <c:extLst>
              <c:ext xmlns:c16="http://schemas.microsoft.com/office/drawing/2014/chart" uri="{C3380CC4-5D6E-409C-BE32-E72D297353CC}">
                <c16:uniqueId val="{000005C5-4B1F-42FD-9B84-37A75D366F36}"/>
              </c:ext>
            </c:extLst>
          </c:dPt>
          <c:dPt>
            <c:idx val="738"/>
            <c:invertIfNegative val="1"/>
            <c:bubble3D val="0"/>
            <c:spPr>
              <a:solidFill>
                <a:srgbClr val="AEABAB"/>
              </a:solidFill>
            </c:spPr>
            <c:extLst>
              <c:ext xmlns:c16="http://schemas.microsoft.com/office/drawing/2014/chart" uri="{C3380CC4-5D6E-409C-BE32-E72D297353CC}">
                <c16:uniqueId val="{000005C7-4B1F-42FD-9B84-37A75D366F36}"/>
              </c:ext>
            </c:extLst>
          </c:dPt>
          <c:dPt>
            <c:idx val="739"/>
            <c:invertIfNegative val="1"/>
            <c:bubble3D val="0"/>
            <c:spPr>
              <a:solidFill>
                <a:srgbClr val="AEABAB"/>
              </a:solidFill>
            </c:spPr>
            <c:extLst>
              <c:ext xmlns:c16="http://schemas.microsoft.com/office/drawing/2014/chart" uri="{C3380CC4-5D6E-409C-BE32-E72D297353CC}">
                <c16:uniqueId val="{000005C9-4B1F-42FD-9B84-37A75D366F36}"/>
              </c:ext>
            </c:extLst>
          </c:dPt>
          <c:dPt>
            <c:idx val="740"/>
            <c:invertIfNegative val="1"/>
            <c:bubble3D val="0"/>
            <c:spPr>
              <a:solidFill>
                <a:srgbClr val="AEABAB"/>
              </a:solidFill>
            </c:spPr>
            <c:extLst>
              <c:ext xmlns:c16="http://schemas.microsoft.com/office/drawing/2014/chart" uri="{C3380CC4-5D6E-409C-BE32-E72D297353CC}">
                <c16:uniqueId val="{000005CB-4B1F-42FD-9B84-37A75D366F36}"/>
              </c:ext>
            </c:extLst>
          </c:dPt>
          <c:dPt>
            <c:idx val="741"/>
            <c:invertIfNegative val="1"/>
            <c:bubble3D val="0"/>
            <c:spPr>
              <a:solidFill>
                <a:srgbClr val="AEABAB"/>
              </a:solidFill>
            </c:spPr>
            <c:extLst>
              <c:ext xmlns:c16="http://schemas.microsoft.com/office/drawing/2014/chart" uri="{C3380CC4-5D6E-409C-BE32-E72D297353CC}">
                <c16:uniqueId val="{000005CD-4B1F-42FD-9B84-37A75D366F36}"/>
              </c:ext>
            </c:extLst>
          </c:dPt>
          <c:dPt>
            <c:idx val="742"/>
            <c:invertIfNegative val="1"/>
            <c:bubble3D val="0"/>
            <c:spPr>
              <a:solidFill>
                <a:srgbClr val="AEABAB"/>
              </a:solidFill>
            </c:spPr>
            <c:extLst>
              <c:ext xmlns:c16="http://schemas.microsoft.com/office/drawing/2014/chart" uri="{C3380CC4-5D6E-409C-BE32-E72D297353CC}">
                <c16:uniqueId val="{000005CF-4B1F-42FD-9B84-37A75D366F36}"/>
              </c:ext>
            </c:extLst>
          </c:dPt>
          <c:dPt>
            <c:idx val="743"/>
            <c:invertIfNegative val="1"/>
            <c:bubble3D val="0"/>
            <c:spPr>
              <a:solidFill>
                <a:srgbClr val="AEABAB"/>
              </a:solidFill>
            </c:spPr>
            <c:extLst>
              <c:ext xmlns:c16="http://schemas.microsoft.com/office/drawing/2014/chart" uri="{C3380CC4-5D6E-409C-BE32-E72D297353CC}">
                <c16:uniqueId val="{000005D1-4B1F-42FD-9B84-37A75D366F36}"/>
              </c:ext>
            </c:extLst>
          </c:dPt>
          <c:dPt>
            <c:idx val="744"/>
            <c:invertIfNegative val="1"/>
            <c:bubble3D val="0"/>
            <c:spPr>
              <a:solidFill>
                <a:srgbClr val="AEABAB"/>
              </a:solidFill>
            </c:spPr>
            <c:extLst>
              <c:ext xmlns:c16="http://schemas.microsoft.com/office/drawing/2014/chart" uri="{C3380CC4-5D6E-409C-BE32-E72D297353CC}">
                <c16:uniqueId val="{000005D3-4B1F-42FD-9B84-37A75D366F36}"/>
              </c:ext>
            </c:extLst>
          </c:dPt>
          <c:dPt>
            <c:idx val="745"/>
            <c:invertIfNegative val="1"/>
            <c:bubble3D val="0"/>
            <c:spPr>
              <a:solidFill>
                <a:srgbClr val="AEABAB"/>
              </a:solidFill>
            </c:spPr>
            <c:extLst>
              <c:ext xmlns:c16="http://schemas.microsoft.com/office/drawing/2014/chart" uri="{C3380CC4-5D6E-409C-BE32-E72D297353CC}">
                <c16:uniqueId val="{000005D5-4B1F-42FD-9B84-37A75D366F36}"/>
              </c:ext>
            </c:extLst>
          </c:dPt>
          <c:dPt>
            <c:idx val="746"/>
            <c:invertIfNegative val="1"/>
            <c:bubble3D val="0"/>
            <c:spPr>
              <a:solidFill>
                <a:srgbClr val="AEABAB"/>
              </a:solidFill>
            </c:spPr>
            <c:extLst>
              <c:ext xmlns:c16="http://schemas.microsoft.com/office/drawing/2014/chart" uri="{C3380CC4-5D6E-409C-BE32-E72D297353CC}">
                <c16:uniqueId val="{000005D7-4B1F-42FD-9B84-37A75D366F36}"/>
              </c:ext>
            </c:extLst>
          </c:dPt>
          <c:dPt>
            <c:idx val="747"/>
            <c:invertIfNegative val="1"/>
            <c:bubble3D val="0"/>
            <c:spPr>
              <a:solidFill>
                <a:srgbClr val="AEABAB"/>
              </a:solidFill>
            </c:spPr>
            <c:extLst>
              <c:ext xmlns:c16="http://schemas.microsoft.com/office/drawing/2014/chart" uri="{C3380CC4-5D6E-409C-BE32-E72D297353CC}">
                <c16:uniqueId val="{000005D9-4B1F-42FD-9B84-37A75D366F36}"/>
              </c:ext>
            </c:extLst>
          </c:dPt>
          <c:dPt>
            <c:idx val="748"/>
            <c:invertIfNegative val="1"/>
            <c:bubble3D val="0"/>
            <c:spPr>
              <a:solidFill>
                <a:srgbClr val="AEABAB"/>
              </a:solidFill>
            </c:spPr>
            <c:extLst>
              <c:ext xmlns:c16="http://schemas.microsoft.com/office/drawing/2014/chart" uri="{C3380CC4-5D6E-409C-BE32-E72D297353CC}">
                <c16:uniqueId val="{000005DB-4B1F-42FD-9B84-37A75D366F36}"/>
              </c:ext>
            </c:extLst>
          </c:dPt>
          <c:dPt>
            <c:idx val="749"/>
            <c:invertIfNegative val="1"/>
            <c:bubble3D val="0"/>
            <c:spPr>
              <a:solidFill>
                <a:srgbClr val="AEABAB"/>
              </a:solidFill>
            </c:spPr>
            <c:extLst>
              <c:ext xmlns:c16="http://schemas.microsoft.com/office/drawing/2014/chart" uri="{C3380CC4-5D6E-409C-BE32-E72D297353CC}">
                <c16:uniqueId val="{000005DD-4B1F-42FD-9B84-37A75D366F36}"/>
              </c:ext>
            </c:extLst>
          </c:dPt>
          <c:dPt>
            <c:idx val="750"/>
            <c:invertIfNegative val="1"/>
            <c:bubble3D val="0"/>
            <c:spPr>
              <a:solidFill>
                <a:srgbClr val="AEABAB"/>
              </a:solidFill>
            </c:spPr>
            <c:extLst>
              <c:ext xmlns:c16="http://schemas.microsoft.com/office/drawing/2014/chart" uri="{C3380CC4-5D6E-409C-BE32-E72D297353CC}">
                <c16:uniqueId val="{000005DF-4B1F-42FD-9B84-37A75D366F36}"/>
              </c:ext>
            </c:extLst>
          </c:dPt>
          <c:dPt>
            <c:idx val="751"/>
            <c:invertIfNegative val="1"/>
            <c:bubble3D val="0"/>
            <c:spPr>
              <a:solidFill>
                <a:srgbClr val="AEABAB"/>
              </a:solidFill>
            </c:spPr>
            <c:extLst>
              <c:ext xmlns:c16="http://schemas.microsoft.com/office/drawing/2014/chart" uri="{C3380CC4-5D6E-409C-BE32-E72D297353CC}">
                <c16:uniqueId val="{000005E1-4B1F-42FD-9B84-37A75D366F36}"/>
              </c:ext>
            </c:extLst>
          </c:dPt>
          <c:dPt>
            <c:idx val="752"/>
            <c:invertIfNegative val="1"/>
            <c:bubble3D val="0"/>
            <c:spPr>
              <a:solidFill>
                <a:srgbClr val="AEABAB"/>
              </a:solidFill>
            </c:spPr>
            <c:extLst>
              <c:ext xmlns:c16="http://schemas.microsoft.com/office/drawing/2014/chart" uri="{C3380CC4-5D6E-409C-BE32-E72D297353CC}">
                <c16:uniqueId val="{000005E3-4B1F-42FD-9B84-37A75D366F36}"/>
              </c:ext>
            </c:extLst>
          </c:dPt>
          <c:dPt>
            <c:idx val="753"/>
            <c:invertIfNegative val="1"/>
            <c:bubble3D val="0"/>
            <c:spPr>
              <a:solidFill>
                <a:srgbClr val="AEABAB"/>
              </a:solidFill>
            </c:spPr>
            <c:extLst>
              <c:ext xmlns:c16="http://schemas.microsoft.com/office/drawing/2014/chart" uri="{C3380CC4-5D6E-409C-BE32-E72D297353CC}">
                <c16:uniqueId val="{000005E5-4B1F-42FD-9B84-37A75D366F36}"/>
              </c:ext>
            </c:extLst>
          </c:dPt>
          <c:dPt>
            <c:idx val="754"/>
            <c:invertIfNegative val="1"/>
            <c:bubble3D val="0"/>
            <c:spPr>
              <a:solidFill>
                <a:srgbClr val="AEABAB"/>
              </a:solidFill>
            </c:spPr>
            <c:extLst>
              <c:ext xmlns:c16="http://schemas.microsoft.com/office/drawing/2014/chart" uri="{C3380CC4-5D6E-409C-BE32-E72D297353CC}">
                <c16:uniqueId val="{000005E7-4B1F-42FD-9B84-37A75D366F36}"/>
              </c:ext>
            </c:extLst>
          </c:dPt>
          <c:dPt>
            <c:idx val="755"/>
            <c:invertIfNegative val="1"/>
            <c:bubble3D val="0"/>
            <c:spPr>
              <a:solidFill>
                <a:srgbClr val="AEABAB"/>
              </a:solidFill>
            </c:spPr>
            <c:extLst>
              <c:ext xmlns:c16="http://schemas.microsoft.com/office/drawing/2014/chart" uri="{C3380CC4-5D6E-409C-BE32-E72D297353CC}">
                <c16:uniqueId val="{000005E9-4B1F-42FD-9B84-37A75D366F36}"/>
              </c:ext>
            </c:extLst>
          </c:dPt>
          <c:dPt>
            <c:idx val="756"/>
            <c:invertIfNegative val="1"/>
            <c:bubble3D val="0"/>
            <c:spPr>
              <a:solidFill>
                <a:srgbClr val="AEABAB"/>
              </a:solidFill>
            </c:spPr>
            <c:extLst>
              <c:ext xmlns:c16="http://schemas.microsoft.com/office/drawing/2014/chart" uri="{C3380CC4-5D6E-409C-BE32-E72D297353CC}">
                <c16:uniqueId val="{000005EB-4B1F-42FD-9B84-37A75D366F36}"/>
              </c:ext>
            </c:extLst>
          </c:dPt>
          <c:dPt>
            <c:idx val="757"/>
            <c:invertIfNegative val="1"/>
            <c:bubble3D val="0"/>
            <c:spPr>
              <a:solidFill>
                <a:srgbClr val="AEABAB"/>
              </a:solidFill>
            </c:spPr>
            <c:extLst>
              <c:ext xmlns:c16="http://schemas.microsoft.com/office/drawing/2014/chart" uri="{C3380CC4-5D6E-409C-BE32-E72D297353CC}">
                <c16:uniqueId val="{000005ED-4B1F-42FD-9B84-37A75D366F36}"/>
              </c:ext>
            </c:extLst>
          </c:dPt>
          <c:dPt>
            <c:idx val="758"/>
            <c:invertIfNegative val="1"/>
            <c:bubble3D val="0"/>
            <c:spPr>
              <a:solidFill>
                <a:srgbClr val="AEABAB"/>
              </a:solidFill>
            </c:spPr>
            <c:extLst>
              <c:ext xmlns:c16="http://schemas.microsoft.com/office/drawing/2014/chart" uri="{C3380CC4-5D6E-409C-BE32-E72D297353CC}">
                <c16:uniqueId val="{000005EF-4B1F-42FD-9B84-37A75D366F36}"/>
              </c:ext>
            </c:extLst>
          </c:dPt>
          <c:dPt>
            <c:idx val="759"/>
            <c:invertIfNegative val="1"/>
            <c:bubble3D val="0"/>
            <c:spPr>
              <a:solidFill>
                <a:srgbClr val="AEABAB"/>
              </a:solidFill>
            </c:spPr>
            <c:extLst>
              <c:ext xmlns:c16="http://schemas.microsoft.com/office/drawing/2014/chart" uri="{C3380CC4-5D6E-409C-BE32-E72D297353CC}">
                <c16:uniqueId val="{000005F1-4B1F-42FD-9B84-37A75D366F36}"/>
              </c:ext>
            </c:extLst>
          </c:dPt>
          <c:dPt>
            <c:idx val="760"/>
            <c:invertIfNegative val="1"/>
            <c:bubble3D val="0"/>
            <c:spPr>
              <a:solidFill>
                <a:srgbClr val="AEABAB"/>
              </a:solidFill>
            </c:spPr>
            <c:extLst>
              <c:ext xmlns:c16="http://schemas.microsoft.com/office/drawing/2014/chart" uri="{C3380CC4-5D6E-409C-BE32-E72D297353CC}">
                <c16:uniqueId val="{000005F3-4B1F-42FD-9B84-37A75D366F36}"/>
              </c:ext>
            </c:extLst>
          </c:dPt>
          <c:dPt>
            <c:idx val="761"/>
            <c:invertIfNegative val="1"/>
            <c:bubble3D val="0"/>
            <c:spPr>
              <a:solidFill>
                <a:srgbClr val="AEABAB"/>
              </a:solidFill>
            </c:spPr>
            <c:extLst>
              <c:ext xmlns:c16="http://schemas.microsoft.com/office/drawing/2014/chart" uri="{C3380CC4-5D6E-409C-BE32-E72D297353CC}">
                <c16:uniqueId val="{000005F5-4B1F-42FD-9B84-37A75D366F36}"/>
              </c:ext>
            </c:extLst>
          </c:dPt>
          <c:dPt>
            <c:idx val="762"/>
            <c:invertIfNegative val="1"/>
            <c:bubble3D val="0"/>
            <c:spPr>
              <a:solidFill>
                <a:srgbClr val="AEABAB"/>
              </a:solidFill>
            </c:spPr>
            <c:extLst>
              <c:ext xmlns:c16="http://schemas.microsoft.com/office/drawing/2014/chart" uri="{C3380CC4-5D6E-409C-BE32-E72D297353CC}">
                <c16:uniqueId val="{000005F7-4B1F-42FD-9B84-37A75D366F36}"/>
              </c:ext>
            </c:extLst>
          </c:dPt>
          <c:dPt>
            <c:idx val="763"/>
            <c:invertIfNegative val="1"/>
            <c:bubble3D val="0"/>
            <c:spPr>
              <a:solidFill>
                <a:srgbClr val="AEABAB"/>
              </a:solidFill>
            </c:spPr>
            <c:extLst>
              <c:ext xmlns:c16="http://schemas.microsoft.com/office/drawing/2014/chart" uri="{C3380CC4-5D6E-409C-BE32-E72D297353CC}">
                <c16:uniqueId val="{000005F9-4B1F-42FD-9B84-37A75D366F36}"/>
              </c:ext>
            </c:extLst>
          </c:dPt>
          <c:dPt>
            <c:idx val="764"/>
            <c:invertIfNegative val="1"/>
            <c:bubble3D val="0"/>
            <c:spPr>
              <a:solidFill>
                <a:srgbClr val="AEABAB"/>
              </a:solidFill>
            </c:spPr>
            <c:extLst>
              <c:ext xmlns:c16="http://schemas.microsoft.com/office/drawing/2014/chart" uri="{C3380CC4-5D6E-409C-BE32-E72D297353CC}">
                <c16:uniqueId val="{000005FB-4B1F-42FD-9B84-37A75D366F36}"/>
              </c:ext>
            </c:extLst>
          </c:dPt>
          <c:dPt>
            <c:idx val="765"/>
            <c:invertIfNegative val="1"/>
            <c:bubble3D val="0"/>
            <c:spPr>
              <a:solidFill>
                <a:srgbClr val="AEABAB"/>
              </a:solidFill>
            </c:spPr>
            <c:extLst>
              <c:ext xmlns:c16="http://schemas.microsoft.com/office/drawing/2014/chart" uri="{C3380CC4-5D6E-409C-BE32-E72D297353CC}">
                <c16:uniqueId val="{000005FD-4B1F-42FD-9B84-37A75D366F36}"/>
              </c:ext>
            </c:extLst>
          </c:dPt>
          <c:dPt>
            <c:idx val="766"/>
            <c:invertIfNegative val="1"/>
            <c:bubble3D val="0"/>
            <c:spPr>
              <a:solidFill>
                <a:srgbClr val="AEABAB"/>
              </a:solidFill>
            </c:spPr>
            <c:extLst>
              <c:ext xmlns:c16="http://schemas.microsoft.com/office/drawing/2014/chart" uri="{C3380CC4-5D6E-409C-BE32-E72D297353CC}">
                <c16:uniqueId val="{000005FF-4B1F-42FD-9B84-37A75D366F36}"/>
              </c:ext>
            </c:extLst>
          </c:dPt>
          <c:dPt>
            <c:idx val="767"/>
            <c:invertIfNegative val="1"/>
            <c:bubble3D val="0"/>
            <c:spPr>
              <a:solidFill>
                <a:srgbClr val="AEABAB"/>
              </a:solidFill>
            </c:spPr>
            <c:extLst>
              <c:ext xmlns:c16="http://schemas.microsoft.com/office/drawing/2014/chart" uri="{C3380CC4-5D6E-409C-BE32-E72D297353CC}">
                <c16:uniqueId val="{00000601-4B1F-42FD-9B84-37A75D366F36}"/>
              </c:ext>
            </c:extLst>
          </c:dPt>
          <c:dPt>
            <c:idx val="768"/>
            <c:invertIfNegative val="1"/>
            <c:bubble3D val="0"/>
            <c:spPr>
              <a:solidFill>
                <a:srgbClr val="AEABAB"/>
              </a:solidFill>
            </c:spPr>
            <c:extLst>
              <c:ext xmlns:c16="http://schemas.microsoft.com/office/drawing/2014/chart" uri="{C3380CC4-5D6E-409C-BE32-E72D297353CC}">
                <c16:uniqueId val="{00000603-4B1F-42FD-9B84-37A75D366F36}"/>
              </c:ext>
            </c:extLst>
          </c:dPt>
          <c:dPt>
            <c:idx val="769"/>
            <c:invertIfNegative val="1"/>
            <c:bubble3D val="0"/>
            <c:spPr>
              <a:solidFill>
                <a:srgbClr val="AEABAB"/>
              </a:solidFill>
            </c:spPr>
            <c:extLst>
              <c:ext xmlns:c16="http://schemas.microsoft.com/office/drawing/2014/chart" uri="{C3380CC4-5D6E-409C-BE32-E72D297353CC}">
                <c16:uniqueId val="{00000605-4B1F-42FD-9B84-37A75D366F36}"/>
              </c:ext>
            </c:extLst>
          </c:dPt>
          <c:dPt>
            <c:idx val="770"/>
            <c:invertIfNegative val="1"/>
            <c:bubble3D val="0"/>
            <c:spPr>
              <a:solidFill>
                <a:srgbClr val="AEABAB"/>
              </a:solidFill>
            </c:spPr>
            <c:extLst>
              <c:ext xmlns:c16="http://schemas.microsoft.com/office/drawing/2014/chart" uri="{C3380CC4-5D6E-409C-BE32-E72D297353CC}">
                <c16:uniqueId val="{00000607-4B1F-42FD-9B84-37A75D366F36}"/>
              </c:ext>
            </c:extLst>
          </c:dPt>
          <c:dPt>
            <c:idx val="771"/>
            <c:invertIfNegative val="1"/>
            <c:bubble3D val="0"/>
            <c:spPr>
              <a:solidFill>
                <a:srgbClr val="AEABAB"/>
              </a:solidFill>
            </c:spPr>
            <c:extLst>
              <c:ext xmlns:c16="http://schemas.microsoft.com/office/drawing/2014/chart" uri="{C3380CC4-5D6E-409C-BE32-E72D297353CC}">
                <c16:uniqueId val="{00000609-4B1F-42FD-9B84-37A75D366F36}"/>
              </c:ext>
            </c:extLst>
          </c:dPt>
          <c:dPt>
            <c:idx val="772"/>
            <c:invertIfNegative val="1"/>
            <c:bubble3D val="0"/>
            <c:spPr>
              <a:solidFill>
                <a:srgbClr val="AEABAB"/>
              </a:solidFill>
            </c:spPr>
            <c:extLst>
              <c:ext xmlns:c16="http://schemas.microsoft.com/office/drawing/2014/chart" uri="{C3380CC4-5D6E-409C-BE32-E72D297353CC}">
                <c16:uniqueId val="{0000060B-4B1F-42FD-9B84-37A75D366F36}"/>
              </c:ext>
            </c:extLst>
          </c:dPt>
          <c:dPt>
            <c:idx val="773"/>
            <c:invertIfNegative val="1"/>
            <c:bubble3D val="0"/>
            <c:spPr>
              <a:solidFill>
                <a:srgbClr val="AEABAB"/>
              </a:solidFill>
            </c:spPr>
            <c:extLst>
              <c:ext xmlns:c16="http://schemas.microsoft.com/office/drawing/2014/chart" uri="{C3380CC4-5D6E-409C-BE32-E72D297353CC}">
                <c16:uniqueId val="{0000060D-4B1F-42FD-9B84-37A75D366F36}"/>
              </c:ext>
            </c:extLst>
          </c:dPt>
          <c:dPt>
            <c:idx val="774"/>
            <c:invertIfNegative val="1"/>
            <c:bubble3D val="0"/>
            <c:spPr>
              <a:solidFill>
                <a:srgbClr val="AEABAB"/>
              </a:solidFill>
            </c:spPr>
            <c:extLst>
              <c:ext xmlns:c16="http://schemas.microsoft.com/office/drawing/2014/chart" uri="{C3380CC4-5D6E-409C-BE32-E72D297353CC}">
                <c16:uniqueId val="{0000060F-4B1F-42FD-9B84-37A75D366F36}"/>
              </c:ext>
            </c:extLst>
          </c:dPt>
          <c:dPt>
            <c:idx val="775"/>
            <c:invertIfNegative val="1"/>
            <c:bubble3D val="0"/>
            <c:spPr>
              <a:solidFill>
                <a:srgbClr val="AEABAB"/>
              </a:solidFill>
            </c:spPr>
            <c:extLst>
              <c:ext xmlns:c16="http://schemas.microsoft.com/office/drawing/2014/chart" uri="{C3380CC4-5D6E-409C-BE32-E72D297353CC}">
                <c16:uniqueId val="{00000611-4B1F-42FD-9B84-37A75D366F36}"/>
              </c:ext>
            </c:extLst>
          </c:dPt>
          <c:dPt>
            <c:idx val="776"/>
            <c:invertIfNegative val="1"/>
            <c:bubble3D val="0"/>
            <c:spPr>
              <a:solidFill>
                <a:srgbClr val="AEABAB"/>
              </a:solidFill>
            </c:spPr>
            <c:extLst>
              <c:ext xmlns:c16="http://schemas.microsoft.com/office/drawing/2014/chart" uri="{C3380CC4-5D6E-409C-BE32-E72D297353CC}">
                <c16:uniqueId val="{00000613-4B1F-42FD-9B84-37A75D366F36}"/>
              </c:ext>
            </c:extLst>
          </c:dPt>
          <c:dPt>
            <c:idx val="777"/>
            <c:invertIfNegative val="1"/>
            <c:bubble3D val="0"/>
            <c:spPr>
              <a:solidFill>
                <a:srgbClr val="AEABAB"/>
              </a:solidFill>
            </c:spPr>
            <c:extLst>
              <c:ext xmlns:c16="http://schemas.microsoft.com/office/drawing/2014/chart" uri="{C3380CC4-5D6E-409C-BE32-E72D297353CC}">
                <c16:uniqueId val="{00000615-4B1F-42FD-9B84-37A75D366F36}"/>
              </c:ext>
            </c:extLst>
          </c:dPt>
          <c:dPt>
            <c:idx val="778"/>
            <c:invertIfNegative val="1"/>
            <c:bubble3D val="0"/>
            <c:spPr>
              <a:solidFill>
                <a:srgbClr val="AEABAB"/>
              </a:solidFill>
            </c:spPr>
            <c:extLst>
              <c:ext xmlns:c16="http://schemas.microsoft.com/office/drawing/2014/chart" uri="{C3380CC4-5D6E-409C-BE32-E72D297353CC}">
                <c16:uniqueId val="{00000617-4B1F-42FD-9B84-37A75D366F36}"/>
              </c:ext>
            </c:extLst>
          </c:dPt>
          <c:dPt>
            <c:idx val="779"/>
            <c:invertIfNegative val="1"/>
            <c:bubble3D val="0"/>
            <c:spPr>
              <a:solidFill>
                <a:srgbClr val="AEABAB"/>
              </a:solidFill>
            </c:spPr>
            <c:extLst>
              <c:ext xmlns:c16="http://schemas.microsoft.com/office/drawing/2014/chart" uri="{C3380CC4-5D6E-409C-BE32-E72D297353CC}">
                <c16:uniqueId val="{00000619-4B1F-42FD-9B84-37A75D366F36}"/>
              </c:ext>
            </c:extLst>
          </c:dPt>
          <c:dPt>
            <c:idx val="780"/>
            <c:invertIfNegative val="1"/>
            <c:bubble3D val="0"/>
            <c:spPr>
              <a:solidFill>
                <a:srgbClr val="AEABAB"/>
              </a:solidFill>
            </c:spPr>
            <c:extLst>
              <c:ext xmlns:c16="http://schemas.microsoft.com/office/drawing/2014/chart" uri="{C3380CC4-5D6E-409C-BE32-E72D297353CC}">
                <c16:uniqueId val="{0000061B-4B1F-42FD-9B84-37A75D366F36}"/>
              </c:ext>
            </c:extLst>
          </c:dPt>
          <c:dPt>
            <c:idx val="781"/>
            <c:invertIfNegative val="1"/>
            <c:bubble3D val="0"/>
            <c:spPr>
              <a:solidFill>
                <a:srgbClr val="AEABAB"/>
              </a:solidFill>
            </c:spPr>
            <c:extLst>
              <c:ext xmlns:c16="http://schemas.microsoft.com/office/drawing/2014/chart" uri="{C3380CC4-5D6E-409C-BE32-E72D297353CC}">
                <c16:uniqueId val="{0000061D-4B1F-42FD-9B84-37A75D366F36}"/>
              </c:ext>
            </c:extLst>
          </c:dPt>
          <c:dPt>
            <c:idx val="782"/>
            <c:invertIfNegative val="1"/>
            <c:bubble3D val="0"/>
            <c:spPr>
              <a:solidFill>
                <a:srgbClr val="AEABAB"/>
              </a:solidFill>
            </c:spPr>
            <c:extLst>
              <c:ext xmlns:c16="http://schemas.microsoft.com/office/drawing/2014/chart" uri="{C3380CC4-5D6E-409C-BE32-E72D297353CC}">
                <c16:uniqueId val="{0000061F-4B1F-42FD-9B84-37A75D366F36}"/>
              </c:ext>
            </c:extLst>
          </c:dPt>
          <c:dPt>
            <c:idx val="783"/>
            <c:invertIfNegative val="1"/>
            <c:bubble3D val="0"/>
            <c:spPr>
              <a:solidFill>
                <a:srgbClr val="AEABAB"/>
              </a:solidFill>
            </c:spPr>
            <c:extLst>
              <c:ext xmlns:c16="http://schemas.microsoft.com/office/drawing/2014/chart" uri="{C3380CC4-5D6E-409C-BE32-E72D297353CC}">
                <c16:uniqueId val="{00000621-4B1F-42FD-9B84-37A75D366F36}"/>
              </c:ext>
            </c:extLst>
          </c:dPt>
          <c:dPt>
            <c:idx val="784"/>
            <c:invertIfNegative val="1"/>
            <c:bubble3D val="0"/>
            <c:spPr>
              <a:solidFill>
                <a:srgbClr val="AEABAB"/>
              </a:solidFill>
            </c:spPr>
            <c:extLst>
              <c:ext xmlns:c16="http://schemas.microsoft.com/office/drawing/2014/chart" uri="{C3380CC4-5D6E-409C-BE32-E72D297353CC}">
                <c16:uniqueId val="{00000623-4B1F-42FD-9B84-37A75D366F36}"/>
              </c:ext>
            </c:extLst>
          </c:dPt>
          <c:dPt>
            <c:idx val="785"/>
            <c:invertIfNegative val="1"/>
            <c:bubble3D val="0"/>
            <c:spPr>
              <a:solidFill>
                <a:srgbClr val="AEABAB"/>
              </a:solidFill>
            </c:spPr>
            <c:extLst>
              <c:ext xmlns:c16="http://schemas.microsoft.com/office/drawing/2014/chart" uri="{C3380CC4-5D6E-409C-BE32-E72D297353CC}">
                <c16:uniqueId val="{00000625-4B1F-42FD-9B84-37A75D366F36}"/>
              </c:ext>
            </c:extLst>
          </c:dPt>
          <c:dPt>
            <c:idx val="786"/>
            <c:invertIfNegative val="1"/>
            <c:bubble3D val="0"/>
            <c:spPr>
              <a:solidFill>
                <a:srgbClr val="AEABAB"/>
              </a:solidFill>
            </c:spPr>
            <c:extLst>
              <c:ext xmlns:c16="http://schemas.microsoft.com/office/drawing/2014/chart" uri="{C3380CC4-5D6E-409C-BE32-E72D297353CC}">
                <c16:uniqueId val="{00000627-4B1F-42FD-9B84-37A75D366F36}"/>
              </c:ext>
            </c:extLst>
          </c:dPt>
          <c:dPt>
            <c:idx val="787"/>
            <c:invertIfNegative val="1"/>
            <c:bubble3D val="0"/>
            <c:spPr>
              <a:solidFill>
                <a:srgbClr val="AEABAB"/>
              </a:solidFill>
            </c:spPr>
            <c:extLst>
              <c:ext xmlns:c16="http://schemas.microsoft.com/office/drawing/2014/chart" uri="{C3380CC4-5D6E-409C-BE32-E72D297353CC}">
                <c16:uniqueId val="{00000629-4B1F-42FD-9B84-37A75D366F36}"/>
              </c:ext>
            </c:extLst>
          </c:dPt>
          <c:dPt>
            <c:idx val="788"/>
            <c:invertIfNegative val="1"/>
            <c:bubble3D val="0"/>
            <c:spPr>
              <a:solidFill>
                <a:srgbClr val="AEABAB"/>
              </a:solidFill>
            </c:spPr>
            <c:extLst>
              <c:ext xmlns:c16="http://schemas.microsoft.com/office/drawing/2014/chart" uri="{C3380CC4-5D6E-409C-BE32-E72D297353CC}">
                <c16:uniqueId val="{0000062B-4B1F-42FD-9B84-37A75D366F36}"/>
              </c:ext>
            </c:extLst>
          </c:dPt>
          <c:dPt>
            <c:idx val="789"/>
            <c:invertIfNegative val="1"/>
            <c:bubble3D val="0"/>
            <c:spPr>
              <a:solidFill>
                <a:srgbClr val="AEABAB"/>
              </a:solidFill>
            </c:spPr>
            <c:extLst>
              <c:ext xmlns:c16="http://schemas.microsoft.com/office/drawing/2014/chart" uri="{C3380CC4-5D6E-409C-BE32-E72D297353CC}">
                <c16:uniqueId val="{0000062D-4B1F-42FD-9B84-37A75D366F36}"/>
              </c:ext>
            </c:extLst>
          </c:dPt>
          <c:dPt>
            <c:idx val="790"/>
            <c:invertIfNegative val="1"/>
            <c:bubble3D val="0"/>
            <c:spPr>
              <a:solidFill>
                <a:srgbClr val="AEABAB"/>
              </a:solidFill>
            </c:spPr>
            <c:extLst>
              <c:ext xmlns:c16="http://schemas.microsoft.com/office/drawing/2014/chart" uri="{C3380CC4-5D6E-409C-BE32-E72D297353CC}">
                <c16:uniqueId val="{0000062F-4B1F-42FD-9B84-37A75D366F36}"/>
              </c:ext>
            </c:extLst>
          </c:dPt>
          <c:dPt>
            <c:idx val="791"/>
            <c:invertIfNegative val="1"/>
            <c:bubble3D val="0"/>
            <c:spPr>
              <a:solidFill>
                <a:srgbClr val="AEABAB"/>
              </a:solidFill>
            </c:spPr>
            <c:extLst>
              <c:ext xmlns:c16="http://schemas.microsoft.com/office/drawing/2014/chart" uri="{C3380CC4-5D6E-409C-BE32-E72D297353CC}">
                <c16:uniqueId val="{00000631-4B1F-42FD-9B84-37A75D366F36}"/>
              </c:ext>
            </c:extLst>
          </c:dPt>
          <c:dPt>
            <c:idx val="792"/>
            <c:invertIfNegative val="1"/>
            <c:bubble3D val="0"/>
            <c:spPr>
              <a:solidFill>
                <a:srgbClr val="AEABAB"/>
              </a:solidFill>
            </c:spPr>
            <c:extLst>
              <c:ext xmlns:c16="http://schemas.microsoft.com/office/drawing/2014/chart" uri="{C3380CC4-5D6E-409C-BE32-E72D297353CC}">
                <c16:uniqueId val="{00000633-4B1F-42FD-9B84-37A75D366F36}"/>
              </c:ext>
            </c:extLst>
          </c:dPt>
          <c:dPt>
            <c:idx val="793"/>
            <c:invertIfNegative val="1"/>
            <c:bubble3D val="0"/>
            <c:spPr>
              <a:solidFill>
                <a:srgbClr val="AEABAB"/>
              </a:solidFill>
            </c:spPr>
            <c:extLst>
              <c:ext xmlns:c16="http://schemas.microsoft.com/office/drawing/2014/chart" uri="{C3380CC4-5D6E-409C-BE32-E72D297353CC}">
                <c16:uniqueId val="{00000635-4B1F-42FD-9B84-37A75D366F36}"/>
              </c:ext>
            </c:extLst>
          </c:dPt>
          <c:dPt>
            <c:idx val="794"/>
            <c:invertIfNegative val="1"/>
            <c:bubble3D val="0"/>
            <c:spPr>
              <a:solidFill>
                <a:srgbClr val="AEABAB"/>
              </a:solidFill>
            </c:spPr>
            <c:extLst>
              <c:ext xmlns:c16="http://schemas.microsoft.com/office/drawing/2014/chart" uri="{C3380CC4-5D6E-409C-BE32-E72D297353CC}">
                <c16:uniqueId val="{00000637-4B1F-42FD-9B84-37A75D366F36}"/>
              </c:ext>
            </c:extLst>
          </c:dPt>
          <c:dPt>
            <c:idx val="795"/>
            <c:invertIfNegative val="1"/>
            <c:bubble3D val="0"/>
            <c:spPr>
              <a:solidFill>
                <a:srgbClr val="AEABAB"/>
              </a:solidFill>
            </c:spPr>
            <c:extLst>
              <c:ext xmlns:c16="http://schemas.microsoft.com/office/drawing/2014/chart" uri="{C3380CC4-5D6E-409C-BE32-E72D297353CC}">
                <c16:uniqueId val="{00000639-4B1F-42FD-9B84-37A75D366F36}"/>
              </c:ext>
            </c:extLst>
          </c:dPt>
          <c:dPt>
            <c:idx val="796"/>
            <c:invertIfNegative val="1"/>
            <c:bubble3D val="0"/>
            <c:spPr>
              <a:solidFill>
                <a:srgbClr val="AEABAB"/>
              </a:solidFill>
            </c:spPr>
            <c:extLst>
              <c:ext xmlns:c16="http://schemas.microsoft.com/office/drawing/2014/chart" uri="{C3380CC4-5D6E-409C-BE32-E72D297353CC}">
                <c16:uniqueId val="{0000063B-4B1F-42FD-9B84-37A75D366F36}"/>
              </c:ext>
            </c:extLst>
          </c:dPt>
          <c:dPt>
            <c:idx val="797"/>
            <c:invertIfNegative val="1"/>
            <c:bubble3D val="0"/>
            <c:spPr>
              <a:solidFill>
                <a:srgbClr val="AEABAB"/>
              </a:solidFill>
            </c:spPr>
            <c:extLst>
              <c:ext xmlns:c16="http://schemas.microsoft.com/office/drawing/2014/chart" uri="{C3380CC4-5D6E-409C-BE32-E72D297353CC}">
                <c16:uniqueId val="{0000063D-4B1F-42FD-9B84-37A75D366F36}"/>
              </c:ext>
            </c:extLst>
          </c:dPt>
          <c:dPt>
            <c:idx val="798"/>
            <c:invertIfNegative val="1"/>
            <c:bubble3D val="0"/>
            <c:spPr>
              <a:solidFill>
                <a:srgbClr val="AEABAB"/>
              </a:solidFill>
            </c:spPr>
            <c:extLst>
              <c:ext xmlns:c16="http://schemas.microsoft.com/office/drawing/2014/chart" uri="{C3380CC4-5D6E-409C-BE32-E72D297353CC}">
                <c16:uniqueId val="{0000063F-4B1F-42FD-9B84-37A75D366F36}"/>
              </c:ext>
            </c:extLst>
          </c:dPt>
          <c:dPt>
            <c:idx val="799"/>
            <c:invertIfNegative val="1"/>
            <c:bubble3D val="0"/>
            <c:spPr>
              <a:solidFill>
                <a:srgbClr val="AEABAB"/>
              </a:solidFill>
            </c:spPr>
            <c:extLst>
              <c:ext xmlns:c16="http://schemas.microsoft.com/office/drawing/2014/chart" uri="{C3380CC4-5D6E-409C-BE32-E72D297353CC}">
                <c16:uniqueId val="{00000641-4B1F-42FD-9B84-37A75D366F36}"/>
              </c:ext>
            </c:extLst>
          </c:dPt>
          <c:dPt>
            <c:idx val="800"/>
            <c:invertIfNegative val="1"/>
            <c:bubble3D val="0"/>
            <c:spPr>
              <a:solidFill>
                <a:srgbClr val="AEABAB"/>
              </a:solidFill>
            </c:spPr>
            <c:extLst>
              <c:ext xmlns:c16="http://schemas.microsoft.com/office/drawing/2014/chart" uri="{C3380CC4-5D6E-409C-BE32-E72D297353CC}">
                <c16:uniqueId val="{00000643-4B1F-42FD-9B84-37A75D366F36}"/>
              </c:ext>
            </c:extLst>
          </c:dPt>
          <c:dPt>
            <c:idx val="801"/>
            <c:invertIfNegative val="1"/>
            <c:bubble3D val="0"/>
            <c:spPr>
              <a:solidFill>
                <a:srgbClr val="AEABAB"/>
              </a:solidFill>
            </c:spPr>
            <c:extLst>
              <c:ext xmlns:c16="http://schemas.microsoft.com/office/drawing/2014/chart" uri="{C3380CC4-5D6E-409C-BE32-E72D297353CC}">
                <c16:uniqueId val="{00000645-4B1F-42FD-9B84-37A75D366F36}"/>
              </c:ext>
            </c:extLst>
          </c:dPt>
          <c:dPt>
            <c:idx val="802"/>
            <c:invertIfNegative val="1"/>
            <c:bubble3D val="0"/>
            <c:spPr>
              <a:solidFill>
                <a:srgbClr val="AEABAB"/>
              </a:solidFill>
            </c:spPr>
            <c:extLst>
              <c:ext xmlns:c16="http://schemas.microsoft.com/office/drawing/2014/chart" uri="{C3380CC4-5D6E-409C-BE32-E72D297353CC}">
                <c16:uniqueId val="{00000647-4B1F-42FD-9B84-37A75D366F36}"/>
              </c:ext>
            </c:extLst>
          </c:dPt>
          <c:dPt>
            <c:idx val="803"/>
            <c:invertIfNegative val="1"/>
            <c:bubble3D val="0"/>
            <c:spPr>
              <a:solidFill>
                <a:srgbClr val="AEABAB"/>
              </a:solidFill>
            </c:spPr>
            <c:extLst>
              <c:ext xmlns:c16="http://schemas.microsoft.com/office/drawing/2014/chart" uri="{C3380CC4-5D6E-409C-BE32-E72D297353CC}">
                <c16:uniqueId val="{00000649-4B1F-42FD-9B84-37A75D366F36}"/>
              </c:ext>
            </c:extLst>
          </c:dPt>
          <c:dPt>
            <c:idx val="804"/>
            <c:invertIfNegative val="1"/>
            <c:bubble3D val="0"/>
            <c:spPr>
              <a:solidFill>
                <a:srgbClr val="AEABAB"/>
              </a:solidFill>
            </c:spPr>
            <c:extLst>
              <c:ext xmlns:c16="http://schemas.microsoft.com/office/drawing/2014/chart" uri="{C3380CC4-5D6E-409C-BE32-E72D297353CC}">
                <c16:uniqueId val="{0000064B-4B1F-42FD-9B84-37A75D366F36}"/>
              </c:ext>
            </c:extLst>
          </c:dPt>
          <c:dPt>
            <c:idx val="805"/>
            <c:invertIfNegative val="1"/>
            <c:bubble3D val="0"/>
            <c:spPr>
              <a:solidFill>
                <a:srgbClr val="AEABAB"/>
              </a:solidFill>
            </c:spPr>
            <c:extLst>
              <c:ext xmlns:c16="http://schemas.microsoft.com/office/drawing/2014/chart" uri="{C3380CC4-5D6E-409C-BE32-E72D297353CC}">
                <c16:uniqueId val="{0000064D-4B1F-42FD-9B84-37A75D366F36}"/>
              </c:ext>
            </c:extLst>
          </c:dPt>
          <c:dPt>
            <c:idx val="806"/>
            <c:invertIfNegative val="1"/>
            <c:bubble3D val="0"/>
            <c:spPr>
              <a:solidFill>
                <a:srgbClr val="AEABAB"/>
              </a:solidFill>
            </c:spPr>
            <c:extLst>
              <c:ext xmlns:c16="http://schemas.microsoft.com/office/drawing/2014/chart" uri="{C3380CC4-5D6E-409C-BE32-E72D297353CC}">
                <c16:uniqueId val="{0000064F-4B1F-42FD-9B84-37A75D366F36}"/>
              </c:ext>
            </c:extLst>
          </c:dPt>
          <c:dPt>
            <c:idx val="807"/>
            <c:invertIfNegative val="1"/>
            <c:bubble3D val="0"/>
            <c:spPr>
              <a:solidFill>
                <a:srgbClr val="AEABAB"/>
              </a:solidFill>
            </c:spPr>
            <c:extLst>
              <c:ext xmlns:c16="http://schemas.microsoft.com/office/drawing/2014/chart" uri="{C3380CC4-5D6E-409C-BE32-E72D297353CC}">
                <c16:uniqueId val="{00000651-4B1F-42FD-9B84-37A75D366F36}"/>
              </c:ext>
            </c:extLst>
          </c:dPt>
          <c:dPt>
            <c:idx val="808"/>
            <c:invertIfNegative val="1"/>
            <c:bubble3D val="0"/>
            <c:spPr>
              <a:solidFill>
                <a:srgbClr val="AEABAB"/>
              </a:solidFill>
            </c:spPr>
            <c:extLst>
              <c:ext xmlns:c16="http://schemas.microsoft.com/office/drawing/2014/chart" uri="{C3380CC4-5D6E-409C-BE32-E72D297353CC}">
                <c16:uniqueId val="{00000653-4B1F-42FD-9B84-37A75D366F36}"/>
              </c:ext>
            </c:extLst>
          </c:dPt>
          <c:dPt>
            <c:idx val="809"/>
            <c:invertIfNegative val="1"/>
            <c:bubble3D val="0"/>
            <c:spPr>
              <a:solidFill>
                <a:srgbClr val="AEABAB"/>
              </a:solidFill>
            </c:spPr>
            <c:extLst>
              <c:ext xmlns:c16="http://schemas.microsoft.com/office/drawing/2014/chart" uri="{C3380CC4-5D6E-409C-BE32-E72D297353CC}">
                <c16:uniqueId val="{00000655-4B1F-42FD-9B84-37A75D366F36}"/>
              </c:ext>
            </c:extLst>
          </c:dPt>
          <c:dPt>
            <c:idx val="810"/>
            <c:invertIfNegative val="1"/>
            <c:bubble3D val="0"/>
            <c:spPr>
              <a:solidFill>
                <a:srgbClr val="AEABAB"/>
              </a:solidFill>
            </c:spPr>
            <c:extLst>
              <c:ext xmlns:c16="http://schemas.microsoft.com/office/drawing/2014/chart" uri="{C3380CC4-5D6E-409C-BE32-E72D297353CC}">
                <c16:uniqueId val="{00000657-4B1F-42FD-9B84-37A75D366F36}"/>
              </c:ext>
            </c:extLst>
          </c:dPt>
          <c:dPt>
            <c:idx val="811"/>
            <c:invertIfNegative val="1"/>
            <c:bubble3D val="0"/>
            <c:spPr>
              <a:solidFill>
                <a:srgbClr val="AEABAB"/>
              </a:solidFill>
            </c:spPr>
            <c:extLst>
              <c:ext xmlns:c16="http://schemas.microsoft.com/office/drawing/2014/chart" uri="{C3380CC4-5D6E-409C-BE32-E72D297353CC}">
                <c16:uniqueId val="{00000659-4B1F-42FD-9B84-37A75D366F36}"/>
              </c:ext>
            </c:extLst>
          </c:dPt>
          <c:dPt>
            <c:idx val="812"/>
            <c:invertIfNegative val="1"/>
            <c:bubble3D val="0"/>
            <c:spPr>
              <a:solidFill>
                <a:srgbClr val="AEABAB"/>
              </a:solidFill>
            </c:spPr>
            <c:extLst>
              <c:ext xmlns:c16="http://schemas.microsoft.com/office/drawing/2014/chart" uri="{C3380CC4-5D6E-409C-BE32-E72D297353CC}">
                <c16:uniqueId val="{0000065B-4B1F-42FD-9B84-37A75D366F36}"/>
              </c:ext>
            </c:extLst>
          </c:dPt>
          <c:dPt>
            <c:idx val="813"/>
            <c:invertIfNegative val="1"/>
            <c:bubble3D val="0"/>
            <c:spPr>
              <a:solidFill>
                <a:srgbClr val="AEABAB"/>
              </a:solidFill>
            </c:spPr>
            <c:extLst>
              <c:ext xmlns:c16="http://schemas.microsoft.com/office/drawing/2014/chart" uri="{C3380CC4-5D6E-409C-BE32-E72D297353CC}">
                <c16:uniqueId val="{0000065D-4B1F-42FD-9B84-37A75D366F36}"/>
              </c:ext>
            </c:extLst>
          </c:dPt>
          <c:dPt>
            <c:idx val="814"/>
            <c:invertIfNegative val="1"/>
            <c:bubble3D val="0"/>
            <c:spPr>
              <a:solidFill>
                <a:srgbClr val="AEABAB"/>
              </a:solidFill>
            </c:spPr>
            <c:extLst>
              <c:ext xmlns:c16="http://schemas.microsoft.com/office/drawing/2014/chart" uri="{C3380CC4-5D6E-409C-BE32-E72D297353CC}">
                <c16:uniqueId val="{0000065F-4B1F-42FD-9B84-37A75D366F36}"/>
              </c:ext>
            </c:extLst>
          </c:dPt>
          <c:dPt>
            <c:idx val="815"/>
            <c:invertIfNegative val="1"/>
            <c:bubble3D val="0"/>
            <c:spPr>
              <a:solidFill>
                <a:srgbClr val="AEABAB"/>
              </a:solidFill>
            </c:spPr>
            <c:extLst>
              <c:ext xmlns:c16="http://schemas.microsoft.com/office/drawing/2014/chart" uri="{C3380CC4-5D6E-409C-BE32-E72D297353CC}">
                <c16:uniqueId val="{00000661-4B1F-42FD-9B84-37A75D366F36}"/>
              </c:ext>
            </c:extLst>
          </c:dPt>
          <c:dPt>
            <c:idx val="816"/>
            <c:invertIfNegative val="1"/>
            <c:bubble3D val="0"/>
            <c:spPr>
              <a:solidFill>
                <a:srgbClr val="AEABAB"/>
              </a:solidFill>
            </c:spPr>
            <c:extLst>
              <c:ext xmlns:c16="http://schemas.microsoft.com/office/drawing/2014/chart" uri="{C3380CC4-5D6E-409C-BE32-E72D297353CC}">
                <c16:uniqueId val="{00000663-4B1F-42FD-9B84-37A75D366F36}"/>
              </c:ext>
            </c:extLst>
          </c:dPt>
          <c:dPt>
            <c:idx val="817"/>
            <c:invertIfNegative val="1"/>
            <c:bubble3D val="0"/>
            <c:spPr>
              <a:solidFill>
                <a:srgbClr val="AEABAB"/>
              </a:solidFill>
            </c:spPr>
            <c:extLst>
              <c:ext xmlns:c16="http://schemas.microsoft.com/office/drawing/2014/chart" uri="{C3380CC4-5D6E-409C-BE32-E72D297353CC}">
                <c16:uniqueId val="{00000665-4B1F-42FD-9B84-37A75D366F36}"/>
              </c:ext>
            </c:extLst>
          </c:dPt>
          <c:dPt>
            <c:idx val="818"/>
            <c:invertIfNegative val="1"/>
            <c:bubble3D val="0"/>
            <c:spPr>
              <a:solidFill>
                <a:srgbClr val="AEABAB"/>
              </a:solidFill>
            </c:spPr>
            <c:extLst>
              <c:ext xmlns:c16="http://schemas.microsoft.com/office/drawing/2014/chart" uri="{C3380CC4-5D6E-409C-BE32-E72D297353CC}">
                <c16:uniqueId val="{00000667-4B1F-42FD-9B84-37A75D366F36}"/>
              </c:ext>
            </c:extLst>
          </c:dPt>
          <c:dPt>
            <c:idx val="819"/>
            <c:invertIfNegative val="1"/>
            <c:bubble3D val="0"/>
            <c:spPr>
              <a:solidFill>
                <a:srgbClr val="AEABAB"/>
              </a:solidFill>
            </c:spPr>
            <c:extLst>
              <c:ext xmlns:c16="http://schemas.microsoft.com/office/drawing/2014/chart" uri="{C3380CC4-5D6E-409C-BE32-E72D297353CC}">
                <c16:uniqueId val="{00000669-4B1F-42FD-9B84-37A75D366F36}"/>
              </c:ext>
            </c:extLst>
          </c:dPt>
          <c:dPt>
            <c:idx val="820"/>
            <c:invertIfNegative val="1"/>
            <c:bubble3D val="0"/>
            <c:spPr>
              <a:solidFill>
                <a:srgbClr val="AEABAB"/>
              </a:solidFill>
            </c:spPr>
            <c:extLst>
              <c:ext xmlns:c16="http://schemas.microsoft.com/office/drawing/2014/chart" uri="{C3380CC4-5D6E-409C-BE32-E72D297353CC}">
                <c16:uniqueId val="{0000066B-4B1F-42FD-9B84-37A75D366F36}"/>
              </c:ext>
            </c:extLst>
          </c:dPt>
          <c:dPt>
            <c:idx val="821"/>
            <c:invertIfNegative val="1"/>
            <c:bubble3D val="0"/>
            <c:spPr>
              <a:solidFill>
                <a:srgbClr val="AEABAB"/>
              </a:solidFill>
            </c:spPr>
            <c:extLst>
              <c:ext xmlns:c16="http://schemas.microsoft.com/office/drawing/2014/chart" uri="{C3380CC4-5D6E-409C-BE32-E72D297353CC}">
                <c16:uniqueId val="{0000066D-4B1F-42FD-9B84-37A75D366F36}"/>
              </c:ext>
            </c:extLst>
          </c:dPt>
          <c:dPt>
            <c:idx val="822"/>
            <c:invertIfNegative val="1"/>
            <c:bubble3D val="0"/>
            <c:spPr>
              <a:solidFill>
                <a:srgbClr val="AEABAB"/>
              </a:solidFill>
            </c:spPr>
            <c:extLst>
              <c:ext xmlns:c16="http://schemas.microsoft.com/office/drawing/2014/chart" uri="{C3380CC4-5D6E-409C-BE32-E72D297353CC}">
                <c16:uniqueId val="{0000066F-4B1F-42FD-9B84-37A75D366F36}"/>
              </c:ext>
            </c:extLst>
          </c:dPt>
          <c:dPt>
            <c:idx val="823"/>
            <c:invertIfNegative val="1"/>
            <c:bubble3D val="0"/>
            <c:spPr>
              <a:solidFill>
                <a:srgbClr val="AEABAB"/>
              </a:solidFill>
            </c:spPr>
            <c:extLst>
              <c:ext xmlns:c16="http://schemas.microsoft.com/office/drawing/2014/chart" uri="{C3380CC4-5D6E-409C-BE32-E72D297353CC}">
                <c16:uniqueId val="{00000671-4B1F-42FD-9B84-37A75D366F36}"/>
              </c:ext>
            </c:extLst>
          </c:dPt>
          <c:dPt>
            <c:idx val="824"/>
            <c:invertIfNegative val="1"/>
            <c:bubble3D val="0"/>
            <c:spPr>
              <a:solidFill>
                <a:srgbClr val="AEABAB"/>
              </a:solidFill>
            </c:spPr>
            <c:extLst>
              <c:ext xmlns:c16="http://schemas.microsoft.com/office/drawing/2014/chart" uri="{C3380CC4-5D6E-409C-BE32-E72D297353CC}">
                <c16:uniqueId val="{00000673-4B1F-42FD-9B84-37A75D366F36}"/>
              </c:ext>
            </c:extLst>
          </c:dPt>
          <c:dPt>
            <c:idx val="825"/>
            <c:invertIfNegative val="1"/>
            <c:bubble3D val="0"/>
            <c:spPr>
              <a:solidFill>
                <a:srgbClr val="AEABAB"/>
              </a:solidFill>
            </c:spPr>
            <c:extLst>
              <c:ext xmlns:c16="http://schemas.microsoft.com/office/drawing/2014/chart" uri="{C3380CC4-5D6E-409C-BE32-E72D297353CC}">
                <c16:uniqueId val="{00000675-4B1F-42FD-9B84-37A75D366F36}"/>
              </c:ext>
            </c:extLst>
          </c:dPt>
          <c:dPt>
            <c:idx val="826"/>
            <c:invertIfNegative val="1"/>
            <c:bubble3D val="0"/>
            <c:spPr>
              <a:solidFill>
                <a:srgbClr val="AEABAB"/>
              </a:solidFill>
            </c:spPr>
            <c:extLst>
              <c:ext xmlns:c16="http://schemas.microsoft.com/office/drawing/2014/chart" uri="{C3380CC4-5D6E-409C-BE32-E72D297353CC}">
                <c16:uniqueId val="{00000677-4B1F-42FD-9B84-37A75D366F36}"/>
              </c:ext>
            </c:extLst>
          </c:dPt>
          <c:dPt>
            <c:idx val="827"/>
            <c:invertIfNegative val="1"/>
            <c:bubble3D val="0"/>
            <c:spPr>
              <a:solidFill>
                <a:srgbClr val="AEABAB"/>
              </a:solidFill>
            </c:spPr>
            <c:extLst>
              <c:ext xmlns:c16="http://schemas.microsoft.com/office/drawing/2014/chart" uri="{C3380CC4-5D6E-409C-BE32-E72D297353CC}">
                <c16:uniqueId val="{00000679-4B1F-42FD-9B84-37A75D366F36}"/>
              </c:ext>
            </c:extLst>
          </c:dPt>
          <c:dPt>
            <c:idx val="828"/>
            <c:invertIfNegative val="1"/>
            <c:bubble3D val="0"/>
            <c:spPr>
              <a:solidFill>
                <a:srgbClr val="AEABAB"/>
              </a:solidFill>
            </c:spPr>
            <c:extLst>
              <c:ext xmlns:c16="http://schemas.microsoft.com/office/drawing/2014/chart" uri="{C3380CC4-5D6E-409C-BE32-E72D297353CC}">
                <c16:uniqueId val="{0000067B-4B1F-42FD-9B84-37A75D366F36}"/>
              </c:ext>
            </c:extLst>
          </c:dPt>
          <c:dPt>
            <c:idx val="829"/>
            <c:invertIfNegative val="1"/>
            <c:bubble3D val="0"/>
            <c:spPr>
              <a:solidFill>
                <a:srgbClr val="AEABAB"/>
              </a:solidFill>
            </c:spPr>
            <c:extLst>
              <c:ext xmlns:c16="http://schemas.microsoft.com/office/drawing/2014/chart" uri="{C3380CC4-5D6E-409C-BE32-E72D297353CC}">
                <c16:uniqueId val="{0000067D-4B1F-42FD-9B84-37A75D366F36}"/>
              </c:ext>
            </c:extLst>
          </c:dPt>
          <c:dPt>
            <c:idx val="830"/>
            <c:invertIfNegative val="1"/>
            <c:bubble3D val="0"/>
            <c:spPr>
              <a:solidFill>
                <a:srgbClr val="AEABAB"/>
              </a:solidFill>
            </c:spPr>
            <c:extLst>
              <c:ext xmlns:c16="http://schemas.microsoft.com/office/drawing/2014/chart" uri="{C3380CC4-5D6E-409C-BE32-E72D297353CC}">
                <c16:uniqueId val="{0000067F-4B1F-42FD-9B84-37A75D366F36}"/>
              </c:ext>
            </c:extLst>
          </c:dPt>
          <c:dPt>
            <c:idx val="831"/>
            <c:invertIfNegative val="1"/>
            <c:bubble3D val="0"/>
            <c:spPr>
              <a:solidFill>
                <a:srgbClr val="AEABAB"/>
              </a:solidFill>
            </c:spPr>
            <c:extLst>
              <c:ext xmlns:c16="http://schemas.microsoft.com/office/drawing/2014/chart" uri="{C3380CC4-5D6E-409C-BE32-E72D297353CC}">
                <c16:uniqueId val="{00000681-4B1F-42FD-9B84-37A75D366F36}"/>
              </c:ext>
            </c:extLst>
          </c:dPt>
          <c:dPt>
            <c:idx val="832"/>
            <c:invertIfNegative val="1"/>
            <c:bubble3D val="0"/>
            <c:spPr>
              <a:solidFill>
                <a:srgbClr val="AEABAB"/>
              </a:solidFill>
            </c:spPr>
            <c:extLst>
              <c:ext xmlns:c16="http://schemas.microsoft.com/office/drawing/2014/chart" uri="{C3380CC4-5D6E-409C-BE32-E72D297353CC}">
                <c16:uniqueId val="{00000683-4B1F-42FD-9B84-37A75D366F36}"/>
              </c:ext>
            </c:extLst>
          </c:dPt>
          <c:dPt>
            <c:idx val="833"/>
            <c:invertIfNegative val="1"/>
            <c:bubble3D val="0"/>
            <c:spPr>
              <a:solidFill>
                <a:srgbClr val="AEABAB"/>
              </a:solidFill>
            </c:spPr>
            <c:extLst>
              <c:ext xmlns:c16="http://schemas.microsoft.com/office/drawing/2014/chart" uri="{C3380CC4-5D6E-409C-BE32-E72D297353CC}">
                <c16:uniqueId val="{00000685-4B1F-42FD-9B84-37A75D366F36}"/>
              </c:ext>
            </c:extLst>
          </c:dPt>
          <c:dPt>
            <c:idx val="834"/>
            <c:invertIfNegative val="1"/>
            <c:bubble3D val="0"/>
            <c:spPr>
              <a:solidFill>
                <a:srgbClr val="AEABAB"/>
              </a:solidFill>
            </c:spPr>
            <c:extLst>
              <c:ext xmlns:c16="http://schemas.microsoft.com/office/drawing/2014/chart" uri="{C3380CC4-5D6E-409C-BE32-E72D297353CC}">
                <c16:uniqueId val="{00000687-4B1F-42FD-9B84-37A75D366F36}"/>
              </c:ext>
            </c:extLst>
          </c:dPt>
          <c:dPt>
            <c:idx val="835"/>
            <c:invertIfNegative val="1"/>
            <c:bubble3D val="0"/>
            <c:spPr>
              <a:solidFill>
                <a:srgbClr val="AEABAB"/>
              </a:solidFill>
            </c:spPr>
            <c:extLst>
              <c:ext xmlns:c16="http://schemas.microsoft.com/office/drawing/2014/chart" uri="{C3380CC4-5D6E-409C-BE32-E72D297353CC}">
                <c16:uniqueId val="{00000689-4B1F-42FD-9B84-37A75D366F36}"/>
              </c:ext>
            </c:extLst>
          </c:dPt>
          <c:dPt>
            <c:idx val="836"/>
            <c:invertIfNegative val="1"/>
            <c:bubble3D val="0"/>
            <c:spPr>
              <a:solidFill>
                <a:srgbClr val="AEABAB"/>
              </a:solidFill>
            </c:spPr>
            <c:extLst>
              <c:ext xmlns:c16="http://schemas.microsoft.com/office/drawing/2014/chart" uri="{C3380CC4-5D6E-409C-BE32-E72D297353CC}">
                <c16:uniqueId val="{0000068B-4B1F-42FD-9B84-37A75D366F36}"/>
              </c:ext>
            </c:extLst>
          </c:dPt>
          <c:dPt>
            <c:idx val="837"/>
            <c:invertIfNegative val="1"/>
            <c:bubble3D val="0"/>
            <c:spPr>
              <a:solidFill>
                <a:srgbClr val="AEABAB"/>
              </a:solidFill>
            </c:spPr>
            <c:extLst>
              <c:ext xmlns:c16="http://schemas.microsoft.com/office/drawing/2014/chart" uri="{C3380CC4-5D6E-409C-BE32-E72D297353CC}">
                <c16:uniqueId val="{0000068D-4B1F-42FD-9B84-37A75D366F36}"/>
              </c:ext>
            </c:extLst>
          </c:dPt>
          <c:dPt>
            <c:idx val="838"/>
            <c:invertIfNegative val="1"/>
            <c:bubble3D val="0"/>
            <c:spPr>
              <a:solidFill>
                <a:srgbClr val="AEABAB"/>
              </a:solidFill>
            </c:spPr>
            <c:extLst>
              <c:ext xmlns:c16="http://schemas.microsoft.com/office/drawing/2014/chart" uri="{C3380CC4-5D6E-409C-BE32-E72D297353CC}">
                <c16:uniqueId val="{0000068F-4B1F-42FD-9B84-37A75D366F36}"/>
              </c:ext>
            </c:extLst>
          </c:dPt>
          <c:dPt>
            <c:idx val="839"/>
            <c:invertIfNegative val="1"/>
            <c:bubble3D val="0"/>
            <c:spPr>
              <a:solidFill>
                <a:srgbClr val="AEABAB"/>
              </a:solidFill>
            </c:spPr>
            <c:extLst>
              <c:ext xmlns:c16="http://schemas.microsoft.com/office/drawing/2014/chart" uri="{C3380CC4-5D6E-409C-BE32-E72D297353CC}">
                <c16:uniqueId val="{00000691-4B1F-42FD-9B84-37A75D366F36}"/>
              </c:ext>
            </c:extLst>
          </c:dPt>
          <c:dPt>
            <c:idx val="840"/>
            <c:invertIfNegative val="1"/>
            <c:bubble3D val="0"/>
            <c:spPr>
              <a:solidFill>
                <a:srgbClr val="AEABAB"/>
              </a:solidFill>
            </c:spPr>
            <c:extLst>
              <c:ext xmlns:c16="http://schemas.microsoft.com/office/drawing/2014/chart" uri="{C3380CC4-5D6E-409C-BE32-E72D297353CC}">
                <c16:uniqueId val="{00000693-4B1F-42FD-9B84-37A75D366F36}"/>
              </c:ext>
            </c:extLst>
          </c:dPt>
          <c:dPt>
            <c:idx val="841"/>
            <c:invertIfNegative val="1"/>
            <c:bubble3D val="0"/>
            <c:spPr>
              <a:solidFill>
                <a:srgbClr val="AEABAB"/>
              </a:solidFill>
            </c:spPr>
            <c:extLst>
              <c:ext xmlns:c16="http://schemas.microsoft.com/office/drawing/2014/chart" uri="{C3380CC4-5D6E-409C-BE32-E72D297353CC}">
                <c16:uniqueId val="{00000695-4B1F-42FD-9B84-37A75D366F36}"/>
              </c:ext>
            </c:extLst>
          </c:dPt>
          <c:dPt>
            <c:idx val="842"/>
            <c:invertIfNegative val="1"/>
            <c:bubble3D val="0"/>
            <c:spPr>
              <a:solidFill>
                <a:srgbClr val="AEABAB"/>
              </a:solidFill>
            </c:spPr>
            <c:extLst>
              <c:ext xmlns:c16="http://schemas.microsoft.com/office/drawing/2014/chart" uri="{C3380CC4-5D6E-409C-BE32-E72D297353CC}">
                <c16:uniqueId val="{00000697-4B1F-42FD-9B84-37A75D366F36}"/>
              </c:ext>
            </c:extLst>
          </c:dPt>
          <c:dPt>
            <c:idx val="843"/>
            <c:invertIfNegative val="1"/>
            <c:bubble3D val="0"/>
            <c:spPr>
              <a:solidFill>
                <a:srgbClr val="AEABAB"/>
              </a:solidFill>
            </c:spPr>
            <c:extLst>
              <c:ext xmlns:c16="http://schemas.microsoft.com/office/drawing/2014/chart" uri="{C3380CC4-5D6E-409C-BE32-E72D297353CC}">
                <c16:uniqueId val="{00000699-4B1F-42FD-9B84-37A75D366F36}"/>
              </c:ext>
            </c:extLst>
          </c:dPt>
          <c:dPt>
            <c:idx val="844"/>
            <c:invertIfNegative val="1"/>
            <c:bubble3D val="0"/>
            <c:spPr>
              <a:solidFill>
                <a:srgbClr val="AEABAB"/>
              </a:solidFill>
            </c:spPr>
            <c:extLst>
              <c:ext xmlns:c16="http://schemas.microsoft.com/office/drawing/2014/chart" uri="{C3380CC4-5D6E-409C-BE32-E72D297353CC}">
                <c16:uniqueId val="{0000069B-4B1F-42FD-9B84-37A75D366F36}"/>
              </c:ext>
            </c:extLst>
          </c:dPt>
          <c:dPt>
            <c:idx val="845"/>
            <c:invertIfNegative val="1"/>
            <c:bubble3D val="0"/>
            <c:spPr>
              <a:solidFill>
                <a:srgbClr val="AEABAB"/>
              </a:solidFill>
            </c:spPr>
            <c:extLst>
              <c:ext xmlns:c16="http://schemas.microsoft.com/office/drawing/2014/chart" uri="{C3380CC4-5D6E-409C-BE32-E72D297353CC}">
                <c16:uniqueId val="{0000069D-4B1F-42FD-9B84-37A75D366F36}"/>
              </c:ext>
            </c:extLst>
          </c:dPt>
          <c:dPt>
            <c:idx val="846"/>
            <c:invertIfNegative val="1"/>
            <c:bubble3D val="0"/>
            <c:spPr>
              <a:solidFill>
                <a:srgbClr val="AEABAB"/>
              </a:solidFill>
            </c:spPr>
            <c:extLst>
              <c:ext xmlns:c16="http://schemas.microsoft.com/office/drawing/2014/chart" uri="{C3380CC4-5D6E-409C-BE32-E72D297353CC}">
                <c16:uniqueId val="{0000069F-4B1F-42FD-9B84-37A75D366F36}"/>
              </c:ext>
            </c:extLst>
          </c:dPt>
          <c:dPt>
            <c:idx val="847"/>
            <c:invertIfNegative val="1"/>
            <c:bubble3D val="0"/>
            <c:spPr>
              <a:solidFill>
                <a:srgbClr val="AEABAB"/>
              </a:solidFill>
            </c:spPr>
            <c:extLst>
              <c:ext xmlns:c16="http://schemas.microsoft.com/office/drawing/2014/chart" uri="{C3380CC4-5D6E-409C-BE32-E72D297353CC}">
                <c16:uniqueId val="{000006A1-4B1F-42FD-9B84-37A75D366F36}"/>
              </c:ext>
            </c:extLst>
          </c:dPt>
          <c:dPt>
            <c:idx val="848"/>
            <c:invertIfNegative val="1"/>
            <c:bubble3D val="0"/>
            <c:spPr>
              <a:solidFill>
                <a:srgbClr val="AEABAB"/>
              </a:solidFill>
            </c:spPr>
            <c:extLst>
              <c:ext xmlns:c16="http://schemas.microsoft.com/office/drawing/2014/chart" uri="{C3380CC4-5D6E-409C-BE32-E72D297353CC}">
                <c16:uniqueId val="{000006A3-4B1F-42FD-9B84-37A75D366F36}"/>
              </c:ext>
            </c:extLst>
          </c:dPt>
          <c:dPt>
            <c:idx val="849"/>
            <c:invertIfNegative val="1"/>
            <c:bubble3D val="0"/>
            <c:spPr>
              <a:solidFill>
                <a:srgbClr val="AEABAB"/>
              </a:solidFill>
            </c:spPr>
            <c:extLst>
              <c:ext xmlns:c16="http://schemas.microsoft.com/office/drawing/2014/chart" uri="{C3380CC4-5D6E-409C-BE32-E72D297353CC}">
                <c16:uniqueId val="{000006A5-4B1F-42FD-9B84-37A75D366F36}"/>
              </c:ext>
            </c:extLst>
          </c:dPt>
          <c:dPt>
            <c:idx val="850"/>
            <c:invertIfNegative val="1"/>
            <c:bubble3D val="0"/>
            <c:spPr>
              <a:solidFill>
                <a:srgbClr val="AEABAB"/>
              </a:solidFill>
            </c:spPr>
            <c:extLst>
              <c:ext xmlns:c16="http://schemas.microsoft.com/office/drawing/2014/chart" uri="{C3380CC4-5D6E-409C-BE32-E72D297353CC}">
                <c16:uniqueId val="{000006A7-4B1F-42FD-9B84-37A75D366F36}"/>
              </c:ext>
            </c:extLst>
          </c:dPt>
          <c:dPt>
            <c:idx val="851"/>
            <c:invertIfNegative val="1"/>
            <c:bubble3D val="0"/>
            <c:spPr>
              <a:solidFill>
                <a:srgbClr val="AEABAB"/>
              </a:solidFill>
            </c:spPr>
            <c:extLst>
              <c:ext xmlns:c16="http://schemas.microsoft.com/office/drawing/2014/chart" uri="{C3380CC4-5D6E-409C-BE32-E72D297353CC}">
                <c16:uniqueId val="{000006A9-4B1F-42FD-9B84-37A75D366F36}"/>
              </c:ext>
            </c:extLst>
          </c:dPt>
          <c:dPt>
            <c:idx val="852"/>
            <c:invertIfNegative val="1"/>
            <c:bubble3D val="0"/>
            <c:spPr>
              <a:solidFill>
                <a:srgbClr val="AEABAB"/>
              </a:solidFill>
            </c:spPr>
            <c:extLst>
              <c:ext xmlns:c16="http://schemas.microsoft.com/office/drawing/2014/chart" uri="{C3380CC4-5D6E-409C-BE32-E72D297353CC}">
                <c16:uniqueId val="{000006AB-4B1F-42FD-9B84-37A75D366F36}"/>
              </c:ext>
            </c:extLst>
          </c:dPt>
          <c:dPt>
            <c:idx val="853"/>
            <c:invertIfNegative val="1"/>
            <c:bubble3D val="0"/>
            <c:spPr>
              <a:solidFill>
                <a:srgbClr val="AEABAB"/>
              </a:solidFill>
            </c:spPr>
            <c:extLst>
              <c:ext xmlns:c16="http://schemas.microsoft.com/office/drawing/2014/chart" uri="{C3380CC4-5D6E-409C-BE32-E72D297353CC}">
                <c16:uniqueId val="{000006AD-4B1F-42FD-9B84-37A75D366F36}"/>
              </c:ext>
            </c:extLst>
          </c:dPt>
          <c:dPt>
            <c:idx val="854"/>
            <c:invertIfNegative val="1"/>
            <c:bubble3D val="0"/>
            <c:spPr>
              <a:solidFill>
                <a:srgbClr val="AEABAB"/>
              </a:solidFill>
            </c:spPr>
            <c:extLst>
              <c:ext xmlns:c16="http://schemas.microsoft.com/office/drawing/2014/chart" uri="{C3380CC4-5D6E-409C-BE32-E72D297353CC}">
                <c16:uniqueId val="{000006AF-4B1F-42FD-9B84-37A75D366F36}"/>
              </c:ext>
            </c:extLst>
          </c:dPt>
          <c:dPt>
            <c:idx val="855"/>
            <c:invertIfNegative val="1"/>
            <c:bubble3D val="0"/>
            <c:spPr>
              <a:solidFill>
                <a:srgbClr val="AEABAB"/>
              </a:solidFill>
            </c:spPr>
            <c:extLst>
              <c:ext xmlns:c16="http://schemas.microsoft.com/office/drawing/2014/chart" uri="{C3380CC4-5D6E-409C-BE32-E72D297353CC}">
                <c16:uniqueId val="{000006B1-4B1F-42FD-9B84-37A75D366F36}"/>
              </c:ext>
            </c:extLst>
          </c:dPt>
          <c:dPt>
            <c:idx val="856"/>
            <c:invertIfNegative val="1"/>
            <c:bubble3D val="0"/>
            <c:spPr>
              <a:solidFill>
                <a:srgbClr val="AEABAB"/>
              </a:solidFill>
            </c:spPr>
            <c:extLst>
              <c:ext xmlns:c16="http://schemas.microsoft.com/office/drawing/2014/chart" uri="{C3380CC4-5D6E-409C-BE32-E72D297353CC}">
                <c16:uniqueId val="{000006B3-4B1F-42FD-9B84-37A75D366F36}"/>
              </c:ext>
            </c:extLst>
          </c:dPt>
          <c:dPt>
            <c:idx val="857"/>
            <c:invertIfNegative val="1"/>
            <c:bubble3D val="0"/>
            <c:spPr>
              <a:solidFill>
                <a:srgbClr val="AEABAB"/>
              </a:solidFill>
            </c:spPr>
            <c:extLst>
              <c:ext xmlns:c16="http://schemas.microsoft.com/office/drawing/2014/chart" uri="{C3380CC4-5D6E-409C-BE32-E72D297353CC}">
                <c16:uniqueId val="{000006B5-4B1F-42FD-9B84-37A75D366F36}"/>
              </c:ext>
            </c:extLst>
          </c:dPt>
          <c:dPt>
            <c:idx val="858"/>
            <c:invertIfNegative val="1"/>
            <c:bubble3D val="0"/>
            <c:spPr>
              <a:solidFill>
                <a:srgbClr val="AEABAB"/>
              </a:solidFill>
            </c:spPr>
            <c:extLst>
              <c:ext xmlns:c16="http://schemas.microsoft.com/office/drawing/2014/chart" uri="{C3380CC4-5D6E-409C-BE32-E72D297353CC}">
                <c16:uniqueId val="{000006B7-4B1F-42FD-9B84-37A75D366F36}"/>
              </c:ext>
            </c:extLst>
          </c:dPt>
          <c:dPt>
            <c:idx val="859"/>
            <c:invertIfNegative val="1"/>
            <c:bubble3D val="0"/>
            <c:spPr>
              <a:solidFill>
                <a:srgbClr val="AEABAB"/>
              </a:solidFill>
            </c:spPr>
            <c:extLst>
              <c:ext xmlns:c16="http://schemas.microsoft.com/office/drawing/2014/chart" uri="{C3380CC4-5D6E-409C-BE32-E72D297353CC}">
                <c16:uniqueId val="{000006B9-4B1F-42FD-9B84-37A75D366F36}"/>
              </c:ext>
            </c:extLst>
          </c:dPt>
          <c:dPt>
            <c:idx val="860"/>
            <c:invertIfNegative val="1"/>
            <c:bubble3D val="0"/>
            <c:spPr>
              <a:solidFill>
                <a:srgbClr val="AEABAB"/>
              </a:solidFill>
            </c:spPr>
            <c:extLst>
              <c:ext xmlns:c16="http://schemas.microsoft.com/office/drawing/2014/chart" uri="{C3380CC4-5D6E-409C-BE32-E72D297353CC}">
                <c16:uniqueId val="{000006BB-4B1F-42FD-9B84-37A75D366F36}"/>
              </c:ext>
            </c:extLst>
          </c:dPt>
          <c:dPt>
            <c:idx val="861"/>
            <c:invertIfNegative val="1"/>
            <c:bubble3D val="0"/>
            <c:spPr>
              <a:solidFill>
                <a:srgbClr val="AEABAB"/>
              </a:solidFill>
            </c:spPr>
            <c:extLst>
              <c:ext xmlns:c16="http://schemas.microsoft.com/office/drawing/2014/chart" uri="{C3380CC4-5D6E-409C-BE32-E72D297353CC}">
                <c16:uniqueId val="{000006BD-4B1F-42FD-9B84-37A75D366F36}"/>
              </c:ext>
            </c:extLst>
          </c:dPt>
          <c:dPt>
            <c:idx val="862"/>
            <c:invertIfNegative val="1"/>
            <c:bubble3D val="0"/>
            <c:spPr>
              <a:solidFill>
                <a:srgbClr val="AEABAB"/>
              </a:solidFill>
            </c:spPr>
            <c:extLst>
              <c:ext xmlns:c16="http://schemas.microsoft.com/office/drawing/2014/chart" uri="{C3380CC4-5D6E-409C-BE32-E72D297353CC}">
                <c16:uniqueId val="{000006BF-4B1F-42FD-9B84-37A75D366F36}"/>
              </c:ext>
            </c:extLst>
          </c:dPt>
          <c:dPt>
            <c:idx val="863"/>
            <c:invertIfNegative val="1"/>
            <c:bubble3D val="0"/>
            <c:spPr>
              <a:solidFill>
                <a:srgbClr val="AEABAB"/>
              </a:solidFill>
            </c:spPr>
            <c:extLst>
              <c:ext xmlns:c16="http://schemas.microsoft.com/office/drawing/2014/chart" uri="{C3380CC4-5D6E-409C-BE32-E72D297353CC}">
                <c16:uniqueId val="{000006C1-4B1F-42FD-9B84-37A75D366F36}"/>
              </c:ext>
            </c:extLst>
          </c:dPt>
          <c:dPt>
            <c:idx val="864"/>
            <c:invertIfNegative val="1"/>
            <c:bubble3D val="0"/>
            <c:spPr>
              <a:solidFill>
                <a:srgbClr val="AEABAB"/>
              </a:solidFill>
            </c:spPr>
            <c:extLst>
              <c:ext xmlns:c16="http://schemas.microsoft.com/office/drawing/2014/chart" uri="{C3380CC4-5D6E-409C-BE32-E72D297353CC}">
                <c16:uniqueId val="{000006C3-4B1F-42FD-9B84-37A75D366F36}"/>
              </c:ext>
            </c:extLst>
          </c:dPt>
          <c:dPt>
            <c:idx val="865"/>
            <c:invertIfNegative val="1"/>
            <c:bubble3D val="0"/>
            <c:spPr>
              <a:solidFill>
                <a:srgbClr val="AEABAB"/>
              </a:solidFill>
            </c:spPr>
            <c:extLst>
              <c:ext xmlns:c16="http://schemas.microsoft.com/office/drawing/2014/chart" uri="{C3380CC4-5D6E-409C-BE32-E72D297353CC}">
                <c16:uniqueId val="{000006C5-4B1F-42FD-9B84-37A75D366F36}"/>
              </c:ext>
            </c:extLst>
          </c:dPt>
          <c:dPt>
            <c:idx val="866"/>
            <c:invertIfNegative val="1"/>
            <c:bubble3D val="0"/>
            <c:spPr>
              <a:solidFill>
                <a:srgbClr val="AEABAB"/>
              </a:solidFill>
            </c:spPr>
            <c:extLst>
              <c:ext xmlns:c16="http://schemas.microsoft.com/office/drawing/2014/chart" uri="{C3380CC4-5D6E-409C-BE32-E72D297353CC}">
                <c16:uniqueId val="{000006C7-4B1F-42FD-9B84-37A75D366F36}"/>
              </c:ext>
            </c:extLst>
          </c:dPt>
          <c:dPt>
            <c:idx val="867"/>
            <c:invertIfNegative val="1"/>
            <c:bubble3D val="0"/>
            <c:spPr>
              <a:solidFill>
                <a:srgbClr val="AEABAB"/>
              </a:solidFill>
            </c:spPr>
            <c:extLst>
              <c:ext xmlns:c16="http://schemas.microsoft.com/office/drawing/2014/chart" uri="{C3380CC4-5D6E-409C-BE32-E72D297353CC}">
                <c16:uniqueId val="{000006C9-4B1F-42FD-9B84-37A75D366F36}"/>
              </c:ext>
            </c:extLst>
          </c:dPt>
          <c:dPt>
            <c:idx val="868"/>
            <c:invertIfNegative val="1"/>
            <c:bubble3D val="0"/>
            <c:spPr>
              <a:solidFill>
                <a:srgbClr val="AEABAB"/>
              </a:solidFill>
            </c:spPr>
            <c:extLst>
              <c:ext xmlns:c16="http://schemas.microsoft.com/office/drawing/2014/chart" uri="{C3380CC4-5D6E-409C-BE32-E72D297353CC}">
                <c16:uniqueId val="{000006CB-4B1F-42FD-9B84-37A75D366F36}"/>
              </c:ext>
            </c:extLst>
          </c:dPt>
          <c:dPt>
            <c:idx val="869"/>
            <c:invertIfNegative val="1"/>
            <c:bubble3D val="0"/>
            <c:spPr>
              <a:solidFill>
                <a:srgbClr val="AEABAB"/>
              </a:solidFill>
            </c:spPr>
            <c:extLst>
              <c:ext xmlns:c16="http://schemas.microsoft.com/office/drawing/2014/chart" uri="{C3380CC4-5D6E-409C-BE32-E72D297353CC}">
                <c16:uniqueId val="{000006CD-4B1F-42FD-9B84-37A75D366F36}"/>
              </c:ext>
            </c:extLst>
          </c:dPt>
          <c:dPt>
            <c:idx val="870"/>
            <c:invertIfNegative val="1"/>
            <c:bubble3D val="0"/>
            <c:spPr>
              <a:solidFill>
                <a:srgbClr val="AEABAB"/>
              </a:solidFill>
            </c:spPr>
            <c:extLst>
              <c:ext xmlns:c16="http://schemas.microsoft.com/office/drawing/2014/chart" uri="{C3380CC4-5D6E-409C-BE32-E72D297353CC}">
                <c16:uniqueId val="{000006CF-4B1F-42FD-9B84-37A75D366F36}"/>
              </c:ext>
            </c:extLst>
          </c:dPt>
          <c:dPt>
            <c:idx val="871"/>
            <c:invertIfNegative val="1"/>
            <c:bubble3D val="0"/>
            <c:spPr>
              <a:solidFill>
                <a:srgbClr val="AEABAB"/>
              </a:solidFill>
            </c:spPr>
            <c:extLst>
              <c:ext xmlns:c16="http://schemas.microsoft.com/office/drawing/2014/chart" uri="{C3380CC4-5D6E-409C-BE32-E72D297353CC}">
                <c16:uniqueId val="{000006D1-4B1F-42FD-9B84-37A75D366F36}"/>
              </c:ext>
            </c:extLst>
          </c:dPt>
          <c:dPt>
            <c:idx val="872"/>
            <c:invertIfNegative val="1"/>
            <c:bubble3D val="0"/>
            <c:spPr>
              <a:solidFill>
                <a:srgbClr val="AEABAB"/>
              </a:solidFill>
            </c:spPr>
            <c:extLst>
              <c:ext xmlns:c16="http://schemas.microsoft.com/office/drawing/2014/chart" uri="{C3380CC4-5D6E-409C-BE32-E72D297353CC}">
                <c16:uniqueId val="{000006D3-4B1F-42FD-9B84-37A75D366F36}"/>
              </c:ext>
            </c:extLst>
          </c:dPt>
          <c:dPt>
            <c:idx val="873"/>
            <c:invertIfNegative val="1"/>
            <c:bubble3D val="0"/>
            <c:spPr>
              <a:solidFill>
                <a:srgbClr val="AEABAB"/>
              </a:solidFill>
            </c:spPr>
            <c:extLst>
              <c:ext xmlns:c16="http://schemas.microsoft.com/office/drawing/2014/chart" uri="{C3380CC4-5D6E-409C-BE32-E72D297353CC}">
                <c16:uniqueId val="{000006D5-4B1F-42FD-9B84-37A75D366F36}"/>
              </c:ext>
            </c:extLst>
          </c:dPt>
          <c:dPt>
            <c:idx val="874"/>
            <c:invertIfNegative val="1"/>
            <c:bubble3D val="0"/>
            <c:spPr>
              <a:solidFill>
                <a:srgbClr val="AEABAB"/>
              </a:solidFill>
            </c:spPr>
            <c:extLst>
              <c:ext xmlns:c16="http://schemas.microsoft.com/office/drawing/2014/chart" uri="{C3380CC4-5D6E-409C-BE32-E72D297353CC}">
                <c16:uniqueId val="{000006D7-4B1F-42FD-9B84-37A75D366F36}"/>
              </c:ext>
            </c:extLst>
          </c:dPt>
          <c:dPt>
            <c:idx val="875"/>
            <c:invertIfNegative val="1"/>
            <c:bubble3D val="0"/>
            <c:spPr>
              <a:solidFill>
                <a:srgbClr val="AEABAB"/>
              </a:solidFill>
            </c:spPr>
            <c:extLst>
              <c:ext xmlns:c16="http://schemas.microsoft.com/office/drawing/2014/chart" uri="{C3380CC4-5D6E-409C-BE32-E72D297353CC}">
                <c16:uniqueId val="{000006D9-4B1F-42FD-9B84-37A75D366F36}"/>
              </c:ext>
            </c:extLst>
          </c:dPt>
          <c:dPt>
            <c:idx val="876"/>
            <c:invertIfNegative val="1"/>
            <c:bubble3D val="0"/>
            <c:spPr>
              <a:solidFill>
                <a:srgbClr val="AEABAB"/>
              </a:solidFill>
            </c:spPr>
            <c:extLst>
              <c:ext xmlns:c16="http://schemas.microsoft.com/office/drawing/2014/chart" uri="{C3380CC4-5D6E-409C-BE32-E72D297353CC}">
                <c16:uniqueId val="{000006DB-4B1F-42FD-9B84-37A75D366F36}"/>
              </c:ext>
            </c:extLst>
          </c:dPt>
          <c:dPt>
            <c:idx val="877"/>
            <c:invertIfNegative val="1"/>
            <c:bubble3D val="0"/>
            <c:spPr>
              <a:solidFill>
                <a:srgbClr val="AEABAB"/>
              </a:solidFill>
            </c:spPr>
            <c:extLst>
              <c:ext xmlns:c16="http://schemas.microsoft.com/office/drawing/2014/chart" uri="{C3380CC4-5D6E-409C-BE32-E72D297353CC}">
                <c16:uniqueId val="{000006DD-4B1F-42FD-9B84-37A75D366F36}"/>
              </c:ext>
            </c:extLst>
          </c:dPt>
          <c:dPt>
            <c:idx val="878"/>
            <c:invertIfNegative val="1"/>
            <c:bubble3D val="0"/>
            <c:spPr>
              <a:solidFill>
                <a:srgbClr val="AEABAB"/>
              </a:solidFill>
            </c:spPr>
            <c:extLst>
              <c:ext xmlns:c16="http://schemas.microsoft.com/office/drawing/2014/chart" uri="{C3380CC4-5D6E-409C-BE32-E72D297353CC}">
                <c16:uniqueId val="{000006DF-4B1F-42FD-9B84-37A75D366F36}"/>
              </c:ext>
            </c:extLst>
          </c:dPt>
          <c:dPt>
            <c:idx val="879"/>
            <c:invertIfNegative val="1"/>
            <c:bubble3D val="0"/>
            <c:spPr>
              <a:solidFill>
                <a:srgbClr val="AEABAB"/>
              </a:solidFill>
            </c:spPr>
            <c:extLst>
              <c:ext xmlns:c16="http://schemas.microsoft.com/office/drawing/2014/chart" uri="{C3380CC4-5D6E-409C-BE32-E72D297353CC}">
                <c16:uniqueId val="{000006E1-4B1F-42FD-9B84-37A75D366F36}"/>
              </c:ext>
            </c:extLst>
          </c:dPt>
          <c:dPt>
            <c:idx val="880"/>
            <c:invertIfNegative val="1"/>
            <c:bubble3D val="0"/>
            <c:spPr>
              <a:solidFill>
                <a:srgbClr val="AEABAB"/>
              </a:solidFill>
            </c:spPr>
            <c:extLst>
              <c:ext xmlns:c16="http://schemas.microsoft.com/office/drawing/2014/chart" uri="{C3380CC4-5D6E-409C-BE32-E72D297353CC}">
                <c16:uniqueId val="{000006E3-4B1F-42FD-9B84-37A75D366F36}"/>
              </c:ext>
            </c:extLst>
          </c:dPt>
          <c:dPt>
            <c:idx val="881"/>
            <c:invertIfNegative val="1"/>
            <c:bubble3D val="0"/>
            <c:spPr>
              <a:solidFill>
                <a:srgbClr val="AEABAB"/>
              </a:solidFill>
            </c:spPr>
            <c:extLst>
              <c:ext xmlns:c16="http://schemas.microsoft.com/office/drawing/2014/chart" uri="{C3380CC4-5D6E-409C-BE32-E72D297353CC}">
                <c16:uniqueId val="{000006E5-4B1F-42FD-9B84-37A75D366F36}"/>
              </c:ext>
            </c:extLst>
          </c:dPt>
          <c:dPt>
            <c:idx val="882"/>
            <c:invertIfNegative val="1"/>
            <c:bubble3D val="0"/>
            <c:spPr>
              <a:solidFill>
                <a:srgbClr val="AEABAB"/>
              </a:solidFill>
            </c:spPr>
            <c:extLst>
              <c:ext xmlns:c16="http://schemas.microsoft.com/office/drawing/2014/chart" uri="{C3380CC4-5D6E-409C-BE32-E72D297353CC}">
                <c16:uniqueId val="{000006E7-4B1F-42FD-9B84-37A75D366F36}"/>
              </c:ext>
            </c:extLst>
          </c:dPt>
          <c:dPt>
            <c:idx val="883"/>
            <c:invertIfNegative val="1"/>
            <c:bubble3D val="0"/>
            <c:spPr>
              <a:solidFill>
                <a:srgbClr val="AEABAB"/>
              </a:solidFill>
            </c:spPr>
            <c:extLst>
              <c:ext xmlns:c16="http://schemas.microsoft.com/office/drawing/2014/chart" uri="{C3380CC4-5D6E-409C-BE32-E72D297353CC}">
                <c16:uniqueId val="{000006E9-4B1F-42FD-9B84-37A75D366F36}"/>
              </c:ext>
            </c:extLst>
          </c:dPt>
          <c:dPt>
            <c:idx val="884"/>
            <c:invertIfNegative val="1"/>
            <c:bubble3D val="0"/>
            <c:spPr>
              <a:solidFill>
                <a:srgbClr val="AEABAB"/>
              </a:solidFill>
            </c:spPr>
            <c:extLst>
              <c:ext xmlns:c16="http://schemas.microsoft.com/office/drawing/2014/chart" uri="{C3380CC4-5D6E-409C-BE32-E72D297353CC}">
                <c16:uniqueId val="{000006EB-4B1F-42FD-9B84-37A75D366F36}"/>
              </c:ext>
            </c:extLst>
          </c:dPt>
          <c:dPt>
            <c:idx val="885"/>
            <c:invertIfNegative val="1"/>
            <c:bubble3D val="0"/>
            <c:spPr>
              <a:solidFill>
                <a:srgbClr val="AEABAB"/>
              </a:solidFill>
            </c:spPr>
            <c:extLst>
              <c:ext xmlns:c16="http://schemas.microsoft.com/office/drawing/2014/chart" uri="{C3380CC4-5D6E-409C-BE32-E72D297353CC}">
                <c16:uniqueId val="{000006ED-4B1F-42FD-9B84-37A75D366F36}"/>
              </c:ext>
            </c:extLst>
          </c:dPt>
          <c:dPt>
            <c:idx val="886"/>
            <c:invertIfNegative val="1"/>
            <c:bubble3D val="0"/>
            <c:spPr>
              <a:solidFill>
                <a:srgbClr val="AEABAB"/>
              </a:solidFill>
            </c:spPr>
            <c:extLst>
              <c:ext xmlns:c16="http://schemas.microsoft.com/office/drawing/2014/chart" uri="{C3380CC4-5D6E-409C-BE32-E72D297353CC}">
                <c16:uniqueId val="{000006EF-4B1F-42FD-9B84-37A75D366F36}"/>
              </c:ext>
            </c:extLst>
          </c:dPt>
          <c:dPt>
            <c:idx val="887"/>
            <c:invertIfNegative val="1"/>
            <c:bubble3D val="0"/>
            <c:spPr>
              <a:solidFill>
                <a:srgbClr val="AEABAB"/>
              </a:solidFill>
            </c:spPr>
            <c:extLst>
              <c:ext xmlns:c16="http://schemas.microsoft.com/office/drawing/2014/chart" uri="{C3380CC4-5D6E-409C-BE32-E72D297353CC}">
                <c16:uniqueId val="{000006F1-4B1F-42FD-9B84-37A75D366F36}"/>
              </c:ext>
            </c:extLst>
          </c:dPt>
          <c:dPt>
            <c:idx val="888"/>
            <c:invertIfNegative val="1"/>
            <c:bubble3D val="0"/>
            <c:spPr>
              <a:solidFill>
                <a:srgbClr val="AEABAB"/>
              </a:solidFill>
            </c:spPr>
            <c:extLst>
              <c:ext xmlns:c16="http://schemas.microsoft.com/office/drawing/2014/chart" uri="{C3380CC4-5D6E-409C-BE32-E72D297353CC}">
                <c16:uniqueId val="{000006F3-4B1F-42FD-9B84-37A75D366F36}"/>
              </c:ext>
            </c:extLst>
          </c:dPt>
          <c:dPt>
            <c:idx val="889"/>
            <c:invertIfNegative val="1"/>
            <c:bubble3D val="0"/>
            <c:spPr>
              <a:solidFill>
                <a:srgbClr val="AEABAB"/>
              </a:solidFill>
            </c:spPr>
            <c:extLst>
              <c:ext xmlns:c16="http://schemas.microsoft.com/office/drawing/2014/chart" uri="{C3380CC4-5D6E-409C-BE32-E72D297353CC}">
                <c16:uniqueId val="{000006F5-4B1F-42FD-9B84-37A75D366F36}"/>
              </c:ext>
            </c:extLst>
          </c:dPt>
          <c:dPt>
            <c:idx val="890"/>
            <c:invertIfNegative val="1"/>
            <c:bubble3D val="0"/>
            <c:spPr>
              <a:solidFill>
                <a:srgbClr val="AEABAB"/>
              </a:solidFill>
            </c:spPr>
            <c:extLst>
              <c:ext xmlns:c16="http://schemas.microsoft.com/office/drawing/2014/chart" uri="{C3380CC4-5D6E-409C-BE32-E72D297353CC}">
                <c16:uniqueId val="{000006F7-4B1F-42FD-9B84-37A75D366F36}"/>
              </c:ext>
            </c:extLst>
          </c:dPt>
          <c:dPt>
            <c:idx val="891"/>
            <c:invertIfNegative val="1"/>
            <c:bubble3D val="0"/>
            <c:spPr>
              <a:solidFill>
                <a:srgbClr val="AEABAB"/>
              </a:solidFill>
            </c:spPr>
            <c:extLst>
              <c:ext xmlns:c16="http://schemas.microsoft.com/office/drawing/2014/chart" uri="{C3380CC4-5D6E-409C-BE32-E72D297353CC}">
                <c16:uniqueId val="{000006F9-4B1F-42FD-9B84-37A75D366F36}"/>
              </c:ext>
            </c:extLst>
          </c:dPt>
          <c:dPt>
            <c:idx val="892"/>
            <c:invertIfNegative val="1"/>
            <c:bubble3D val="0"/>
            <c:spPr>
              <a:solidFill>
                <a:srgbClr val="AEABAB"/>
              </a:solidFill>
            </c:spPr>
            <c:extLst>
              <c:ext xmlns:c16="http://schemas.microsoft.com/office/drawing/2014/chart" uri="{C3380CC4-5D6E-409C-BE32-E72D297353CC}">
                <c16:uniqueId val="{000006FB-4B1F-42FD-9B84-37A75D366F36}"/>
              </c:ext>
            </c:extLst>
          </c:dPt>
          <c:dPt>
            <c:idx val="893"/>
            <c:invertIfNegative val="1"/>
            <c:bubble3D val="0"/>
            <c:spPr>
              <a:solidFill>
                <a:srgbClr val="AEABAB"/>
              </a:solidFill>
            </c:spPr>
            <c:extLst>
              <c:ext xmlns:c16="http://schemas.microsoft.com/office/drawing/2014/chart" uri="{C3380CC4-5D6E-409C-BE32-E72D297353CC}">
                <c16:uniqueId val="{000006FD-4B1F-42FD-9B84-37A75D366F36}"/>
              </c:ext>
            </c:extLst>
          </c:dPt>
          <c:dPt>
            <c:idx val="894"/>
            <c:invertIfNegative val="1"/>
            <c:bubble3D val="0"/>
            <c:spPr>
              <a:solidFill>
                <a:srgbClr val="AEABAB"/>
              </a:solidFill>
            </c:spPr>
            <c:extLst>
              <c:ext xmlns:c16="http://schemas.microsoft.com/office/drawing/2014/chart" uri="{C3380CC4-5D6E-409C-BE32-E72D297353CC}">
                <c16:uniqueId val="{000006FF-4B1F-42FD-9B84-37A75D366F36}"/>
              </c:ext>
            </c:extLst>
          </c:dPt>
          <c:dPt>
            <c:idx val="895"/>
            <c:invertIfNegative val="1"/>
            <c:bubble3D val="0"/>
            <c:spPr>
              <a:solidFill>
                <a:srgbClr val="AEABAB"/>
              </a:solidFill>
            </c:spPr>
            <c:extLst>
              <c:ext xmlns:c16="http://schemas.microsoft.com/office/drawing/2014/chart" uri="{C3380CC4-5D6E-409C-BE32-E72D297353CC}">
                <c16:uniqueId val="{00000701-4B1F-42FD-9B84-37A75D366F36}"/>
              </c:ext>
            </c:extLst>
          </c:dPt>
          <c:dPt>
            <c:idx val="896"/>
            <c:invertIfNegative val="1"/>
            <c:bubble3D val="0"/>
            <c:spPr>
              <a:solidFill>
                <a:srgbClr val="AEABAB"/>
              </a:solidFill>
            </c:spPr>
            <c:extLst>
              <c:ext xmlns:c16="http://schemas.microsoft.com/office/drawing/2014/chart" uri="{C3380CC4-5D6E-409C-BE32-E72D297353CC}">
                <c16:uniqueId val="{00000703-4B1F-42FD-9B84-37A75D366F36}"/>
              </c:ext>
            </c:extLst>
          </c:dPt>
          <c:dPt>
            <c:idx val="897"/>
            <c:invertIfNegative val="1"/>
            <c:bubble3D val="0"/>
            <c:spPr>
              <a:solidFill>
                <a:srgbClr val="AEABAB"/>
              </a:solidFill>
            </c:spPr>
            <c:extLst>
              <c:ext xmlns:c16="http://schemas.microsoft.com/office/drawing/2014/chart" uri="{C3380CC4-5D6E-409C-BE32-E72D297353CC}">
                <c16:uniqueId val="{00000705-4B1F-42FD-9B84-37A75D366F36}"/>
              </c:ext>
            </c:extLst>
          </c:dPt>
          <c:dPt>
            <c:idx val="898"/>
            <c:invertIfNegative val="1"/>
            <c:bubble3D val="0"/>
            <c:spPr>
              <a:solidFill>
                <a:srgbClr val="AEABAB"/>
              </a:solidFill>
            </c:spPr>
            <c:extLst>
              <c:ext xmlns:c16="http://schemas.microsoft.com/office/drawing/2014/chart" uri="{C3380CC4-5D6E-409C-BE32-E72D297353CC}">
                <c16:uniqueId val="{00000707-4B1F-42FD-9B84-37A75D366F36}"/>
              </c:ext>
            </c:extLst>
          </c:dPt>
          <c:dPt>
            <c:idx val="899"/>
            <c:invertIfNegative val="1"/>
            <c:bubble3D val="0"/>
            <c:spPr>
              <a:solidFill>
                <a:srgbClr val="AEABAB"/>
              </a:solidFill>
            </c:spPr>
            <c:extLst>
              <c:ext xmlns:c16="http://schemas.microsoft.com/office/drawing/2014/chart" uri="{C3380CC4-5D6E-409C-BE32-E72D297353CC}">
                <c16:uniqueId val="{00000709-4B1F-42FD-9B84-37A75D366F36}"/>
              </c:ext>
            </c:extLst>
          </c:dPt>
          <c:dPt>
            <c:idx val="900"/>
            <c:invertIfNegative val="1"/>
            <c:bubble3D val="0"/>
            <c:spPr>
              <a:solidFill>
                <a:srgbClr val="AEABAB"/>
              </a:solidFill>
            </c:spPr>
            <c:extLst>
              <c:ext xmlns:c16="http://schemas.microsoft.com/office/drawing/2014/chart" uri="{C3380CC4-5D6E-409C-BE32-E72D297353CC}">
                <c16:uniqueId val="{0000070B-4B1F-42FD-9B84-37A75D366F36}"/>
              </c:ext>
            </c:extLst>
          </c:dPt>
          <c:dPt>
            <c:idx val="901"/>
            <c:invertIfNegative val="1"/>
            <c:bubble3D val="0"/>
            <c:spPr>
              <a:solidFill>
                <a:srgbClr val="AEABAB"/>
              </a:solidFill>
            </c:spPr>
            <c:extLst>
              <c:ext xmlns:c16="http://schemas.microsoft.com/office/drawing/2014/chart" uri="{C3380CC4-5D6E-409C-BE32-E72D297353CC}">
                <c16:uniqueId val="{0000070D-4B1F-42FD-9B84-37A75D366F36}"/>
              </c:ext>
            </c:extLst>
          </c:dPt>
          <c:dPt>
            <c:idx val="902"/>
            <c:invertIfNegative val="1"/>
            <c:bubble3D val="0"/>
            <c:spPr>
              <a:solidFill>
                <a:srgbClr val="AEABAB"/>
              </a:solidFill>
            </c:spPr>
            <c:extLst>
              <c:ext xmlns:c16="http://schemas.microsoft.com/office/drawing/2014/chart" uri="{C3380CC4-5D6E-409C-BE32-E72D297353CC}">
                <c16:uniqueId val="{0000070F-4B1F-42FD-9B84-37A75D366F36}"/>
              </c:ext>
            </c:extLst>
          </c:dPt>
          <c:dPt>
            <c:idx val="903"/>
            <c:invertIfNegative val="1"/>
            <c:bubble3D val="0"/>
            <c:spPr>
              <a:solidFill>
                <a:srgbClr val="AEABAB"/>
              </a:solidFill>
            </c:spPr>
            <c:extLst>
              <c:ext xmlns:c16="http://schemas.microsoft.com/office/drawing/2014/chart" uri="{C3380CC4-5D6E-409C-BE32-E72D297353CC}">
                <c16:uniqueId val="{00000711-4B1F-42FD-9B84-37A75D366F36}"/>
              </c:ext>
            </c:extLst>
          </c:dPt>
          <c:dPt>
            <c:idx val="904"/>
            <c:invertIfNegative val="1"/>
            <c:bubble3D val="0"/>
            <c:spPr>
              <a:solidFill>
                <a:srgbClr val="AEABAB"/>
              </a:solidFill>
            </c:spPr>
            <c:extLst>
              <c:ext xmlns:c16="http://schemas.microsoft.com/office/drawing/2014/chart" uri="{C3380CC4-5D6E-409C-BE32-E72D297353CC}">
                <c16:uniqueId val="{00000713-4B1F-42FD-9B84-37A75D366F36}"/>
              </c:ext>
            </c:extLst>
          </c:dPt>
          <c:dPt>
            <c:idx val="905"/>
            <c:invertIfNegative val="1"/>
            <c:bubble3D val="0"/>
            <c:spPr>
              <a:solidFill>
                <a:srgbClr val="AEABAB"/>
              </a:solidFill>
            </c:spPr>
            <c:extLst>
              <c:ext xmlns:c16="http://schemas.microsoft.com/office/drawing/2014/chart" uri="{C3380CC4-5D6E-409C-BE32-E72D297353CC}">
                <c16:uniqueId val="{00000715-4B1F-42FD-9B84-37A75D366F36}"/>
              </c:ext>
            </c:extLst>
          </c:dPt>
          <c:dPt>
            <c:idx val="906"/>
            <c:invertIfNegative val="1"/>
            <c:bubble3D val="0"/>
            <c:spPr>
              <a:solidFill>
                <a:srgbClr val="AEABAB"/>
              </a:solidFill>
            </c:spPr>
            <c:extLst>
              <c:ext xmlns:c16="http://schemas.microsoft.com/office/drawing/2014/chart" uri="{C3380CC4-5D6E-409C-BE32-E72D297353CC}">
                <c16:uniqueId val="{00000717-4B1F-42FD-9B84-37A75D366F36}"/>
              </c:ext>
            </c:extLst>
          </c:dPt>
          <c:dPt>
            <c:idx val="907"/>
            <c:invertIfNegative val="1"/>
            <c:bubble3D val="0"/>
            <c:spPr>
              <a:solidFill>
                <a:srgbClr val="AEABAB"/>
              </a:solidFill>
            </c:spPr>
            <c:extLst>
              <c:ext xmlns:c16="http://schemas.microsoft.com/office/drawing/2014/chart" uri="{C3380CC4-5D6E-409C-BE32-E72D297353CC}">
                <c16:uniqueId val="{00000719-4B1F-42FD-9B84-37A75D366F36}"/>
              </c:ext>
            </c:extLst>
          </c:dPt>
          <c:dPt>
            <c:idx val="908"/>
            <c:invertIfNegative val="1"/>
            <c:bubble3D val="0"/>
            <c:spPr>
              <a:solidFill>
                <a:srgbClr val="AEABAB"/>
              </a:solidFill>
            </c:spPr>
            <c:extLst>
              <c:ext xmlns:c16="http://schemas.microsoft.com/office/drawing/2014/chart" uri="{C3380CC4-5D6E-409C-BE32-E72D297353CC}">
                <c16:uniqueId val="{0000071B-4B1F-42FD-9B84-37A75D366F36}"/>
              </c:ext>
            </c:extLst>
          </c:dPt>
          <c:dPt>
            <c:idx val="909"/>
            <c:invertIfNegative val="1"/>
            <c:bubble3D val="0"/>
            <c:spPr>
              <a:solidFill>
                <a:srgbClr val="AEABAB"/>
              </a:solidFill>
            </c:spPr>
            <c:extLst>
              <c:ext xmlns:c16="http://schemas.microsoft.com/office/drawing/2014/chart" uri="{C3380CC4-5D6E-409C-BE32-E72D297353CC}">
                <c16:uniqueId val="{0000071D-4B1F-42FD-9B84-37A75D366F36}"/>
              </c:ext>
            </c:extLst>
          </c:dPt>
          <c:dPt>
            <c:idx val="910"/>
            <c:invertIfNegative val="1"/>
            <c:bubble3D val="0"/>
            <c:spPr>
              <a:solidFill>
                <a:srgbClr val="AEABAB"/>
              </a:solidFill>
            </c:spPr>
            <c:extLst>
              <c:ext xmlns:c16="http://schemas.microsoft.com/office/drawing/2014/chart" uri="{C3380CC4-5D6E-409C-BE32-E72D297353CC}">
                <c16:uniqueId val="{0000071F-4B1F-42FD-9B84-37A75D366F36}"/>
              </c:ext>
            </c:extLst>
          </c:dPt>
          <c:dPt>
            <c:idx val="911"/>
            <c:invertIfNegative val="1"/>
            <c:bubble3D val="0"/>
            <c:spPr>
              <a:solidFill>
                <a:srgbClr val="AEABAB"/>
              </a:solidFill>
            </c:spPr>
            <c:extLst>
              <c:ext xmlns:c16="http://schemas.microsoft.com/office/drawing/2014/chart" uri="{C3380CC4-5D6E-409C-BE32-E72D297353CC}">
                <c16:uniqueId val="{00000721-4B1F-42FD-9B84-37A75D366F36}"/>
              </c:ext>
            </c:extLst>
          </c:dPt>
          <c:dPt>
            <c:idx val="912"/>
            <c:invertIfNegative val="1"/>
            <c:bubble3D val="0"/>
            <c:spPr>
              <a:solidFill>
                <a:srgbClr val="AEABAB"/>
              </a:solidFill>
            </c:spPr>
            <c:extLst>
              <c:ext xmlns:c16="http://schemas.microsoft.com/office/drawing/2014/chart" uri="{C3380CC4-5D6E-409C-BE32-E72D297353CC}">
                <c16:uniqueId val="{00000723-4B1F-42FD-9B84-37A75D366F36}"/>
              </c:ext>
            </c:extLst>
          </c:dPt>
          <c:dPt>
            <c:idx val="913"/>
            <c:invertIfNegative val="1"/>
            <c:bubble3D val="0"/>
            <c:spPr>
              <a:solidFill>
                <a:srgbClr val="AEABAB"/>
              </a:solidFill>
            </c:spPr>
            <c:extLst>
              <c:ext xmlns:c16="http://schemas.microsoft.com/office/drawing/2014/chart" uri="{C3380CC4-5D6E-409C-BE32-E72D297353CC}">
                <c16:uniqueId val="{00000725-4B1F-42FD-9B84-37A75D366F36}"/>
              </c:ext>
            </c:extLst>
          </c:dPt>
          <c:dPt>
            <c:idx val="914"/>
            <c:invertIfNegative val="1"/>
            <c:bubble3D val="0"/>
            <c:spPr>
              <a:solidFill>
                <a:srgbClr val="AEABAB"/>
              </a:solidFill>
            </c:spPr>
            <c:extLst>
              <c:ext xmlns:c16="http://schemas.microsoft.com/office/drawing/2014/chart" uri="{C3380CC4-5D6E-409C-BE32-E72D297353CC}">
                <c16:uniqueId val="{00000727-4B1F-42FD-9B84-37A75D366F36}"/>
              </c:ext>
            </c:extLst>
          </c:dPt>
          <c:dPt>
            <c:idx val="915"/>
            <c:invertIfNegative val="1"/>
            <c:bubble3D val="0"/>
            <c:spPr>
              <a:solidFill>
                <a:srgbClr val="AEABAB"/>
              </a:solidFill>
            </c:spPr>
            <c:extLst>
              <c:ext xmlns:c16="http://schemas.microsoft.com/office/drawing/2014/chart" uri="{C3380CC4-5D6E-409C-BE32-E72D297353CC}">
                <c16:uniqueId val="{00000729-4B1F-42FD-9B84-37A75D366F36}"/>
              </c:ext>
            </c:extLst>
          </c:dPt>
          <c:dPt>
            <c:idx val="916"/>
            <c:invertIfNegative val="1"/>
            <c:bubble3D val="0"/>
            <c:spPr>
              <a:solidFill>
                <a:srgbClr val="AEABAB"/>
              </a:solidFill>
            </c:spPr>
            <c:extLst>
              <c:ext xmlns:c16="http://schemas.microsoft.com/office/drawing/2014/chart" uri="{C3380CC4-5D6E-409C-BE32-E72D297353CC}">
                <c16:uniqueId val="{0000072B-4B1F-42FD-9B84-37A75D366F36}"/>
              </c:ext>
            </c:extLst>
          </c:dPt>
          <c:dPt>
            <c:idx val="917"/>
            <c:invertIfNegative val="1"/>
            <c:bubble3D val="0"/>
            <c:spPr>
              <a:solidFill>
                <a:srgbClr val="AEABAB"/>
              </a:solidFill>
            </c:spPr>
            <c:extLst>
              <c:ext xmlns:c16="http://schemas.microsoft.com/office/drawing/2014/chart" uri="{C3380CC4-5D6E-409C-BE32-E72D297353CC}">
                <c16:uniqueId val="{0000072D-4B1F-42FD-9B84-37A75D366F36}"/>
              </c:ext>
            </c:extLst>
          </c:dPt>
          <c:dPt>
            <c:idx val="918"/>
            <c:invertIfNegative val="1"/>
            <c:bubble3D val="0"/>
            <c:spPr>
              <a:solidFill>
                <a:srgbClr val="AEABAB"/>
              </a:solidFill>
            </c:spPr>
            <c:extLst>
              <c:ext xmlns:c16="http://schemas.microsoft.com/office/drawing/2014/chart" uri="{C3380CC4-5D6E-409C-BE32-E72D297353CC}">
                <c16:uniqueId val="{0000072F-4B1F-42FD-9B84-37A75D366F36}"/>
              </c:ext>
            </c:extLst>
          </c:dPt>
          <c:dPt>
            <c:idx val="919"/>
            <c:invertIfNegative val="1"/>
            <c:bubble3D val="0"/>
            <c:spPr>
              <a:solidFill>
                <a:srgbClr val="AEABAB"/>
              </a:solidFill>
            </c:spPr>
            <c:extLst>
              <c:ext xmlns:c16="http://schemas.microsoft.com/office/drawing/2014/chart" uri="{C3380CC4-5D6E-409C-BE32-E72D297353CC}">
                <c16:uniqueId val="{00000731-4B1F-42FD-9B84-37A75D366F36}"/>
              </c:ext>
            </c:extLst>
          </c:dPt>
          <c:dPt>
            <c:idx val="920"/>
            <c:invertIfNegative val="1"/>
            <c:bubble3D val="0"/>
            <c:spPr>
              <a:solidFill>
                <a:srgbClr val="AEABAB"/>
              </a:solidFill>
            </c:spPr>
            <c:extLst>
              <c:ext xmlns:c16="http://schemas.microsoft.com/office/drawing/2014/chart" uri="{C3380CC4-5D6E-409C-BE32-E72D297353CC}">
                <c16:uniqueId val="{00000733-4B1F-42FD-9B84-37A75D366F36}"/>
              </c:ext>
            </c:extLst>
          </c:dPt>
          <c:dPt>
            <c:idx val="921"/>
            <c:invertIfNegative val="1"/>
            <c:bubble3D val="0"/>
            <c:spPr>
              <a:solidFill>
                <a:srgbClr val="AEABAB"/>
              </a:solidFill>
            </c:spPr>
            <c:extLst>
              <c:ext xmlns:c16="http://schemas.microsoft.com/office/drawing/2014/chart" uri="{C3380CC4-5D6E-409C-BE32-E72D297353CC}">
                <c16:uniqueId val="{00000735-4B1F-42FD-9B84-37A75D366F36}"/>
              </c:ext>
            </c:extLst>
          </c:dPt>
          <c:dPt>
            <c:idx val="922"/>
            <c:invertIfNegative val="1"/>
            <c:bubble3D val="0"/>
            <c:spPr>
              <a:solidFill>
                <a:srgbClr val="AEABAB"/>
              </a:solidFill>
            </c:spPr>
            <c:extLst>
              <c:ext xmlns:c16="http://schemas.microsoft.com/office/drawing/2014/chart" uri="{C3380CC4-5D6E-409C-BE32-E72D297353CC}">
                <c16:uniqueId val="{00000737-4B1F-42FD-9B84-37A75D366F36}"/>
              </c:ext>
            </c:extLst>
          </c:dPt>
          <c:dPt>
            <c:idx val="923"/>
            <c:invertIfNegative val="1"/>
            <c:bubble3D val="0"/>
            <c:spPr>
              <a:solidFill>
                <a:srgbClr val="AEABAB"/>
              </a:solidFill>
            </c:spPr>
            <c:extLst>
              <c:ext xmlns:c16="http://schemas.microsoft.com/office/drawing/2014/chart" uri="{C3380CC4-5D6E-409C-BE32-E72D297353CC}">
                <c16:uniqueId val="{00000739-4B1F-42FD-9B84-37A75D366F36}"/>
              </c:ext>
            </c:extLst>
          </c:dPt>
          <c:dPt>
            <c:idx val="924"/>
            <c:invertIfNegative val="1"/>
            <c:bubble3D val="0"/>
            <c:spPr>
              <a:solidFill>
                <a:srgbClr val="AEABAB"/>
              </a:solidFill>
            </c:spPr>
            <c:extLst>
              <c:ext xmlns:c16="http://schemas.microsoft.com/office/drawing/2014/chart" uri="{C3380CC4-5D6E-409C-BE32-E72D297353CC}">
                <c16:uniqueId val="{0000073B-4B1F-42FD-9B84-37A75D366F36}"/>
              </c:ext>
            </c:extLst>
          </c:dPt>
          <c:dPt>
            <c:idx val="925"/>
            <c:invertIfNegative val="1"/>
            <c:bubble3D val="0"/>
            <c:spPr>
              <a:solidFill>
                <a:srgbClr val="AEABAB"/>
              </a:solidFill>
            </c:spPr>
            <c:extLst>
              <c:ext xmlns:c16="http://schemas.microsoft.com/office/drawing/2014/chart" uri="{C3380CC4-5D6E-409C-BE32-E72D297353CC}">
                <c16:uniqueId val="{0000073D-4B1F-42FD-9B84-37A75D366F36}"/>
              </c:ext>
            </c:extLst>
          </c:dPt>
          <c:dPt>
            <c:idx val="926"/>
            <c:invertIfNegative val="1"/>
            <c:bubble3D val="0"/>
            <c:spPr>
              <a:solidFill>
                <a:srgbClr val="AEABAB"/>
              </a:solidFill>
            </c:spPr>
            <c:extLst>
              <c:ext xmlns:c16="http://schemas.microsoft.com/office/drawing/2014/chart" uri="{C3380CC4-5D6E-409C-BE32-E72D297353CC}">
                <c16:uniqueId val="{0000073F-4B1F-42FD-9B84-37A75D366F36}"/>
              </c:ext>
            </c:extLst>
          </c:dPt>
          <c:dPt>
            <c:idx val="927"/>
            <c:invertIfNegative val="1"/>
            <c:bubble3D val="0"/>
            <c:spPr>
              <a:solidFill>
                <a:srgbClr val="AEABAB"/>
              </a:solidFill>
            </c:spPr>
            <c:extLst>
              <c:ext xmlns:c16="http://schemas.microsoft.com/office/drawing/2014/chart" uri="{C3380CC4-5D6E-409C-BE32-E72D297353CC}">
                <c16:uniqueId val="{00000741-4B1F-42FD-9B84-37A75D366F36}"/>
              </c:ext>
            </c:extLst>
          </c:dPt>
          <c:dPt>
            <c:idx val="928"/>
            <c:invertIfNegative val="1"/>
            <c:bubble3D val="0"/>
            <c:spPr>
              <a:solidFill>
                <a:srgbClr val="AEABAB"/>
              </a:solidFill>
            </c:spPr>
            <c:extLst>
              <c:ext xmlns:c16="http://schemas.microsoft.com/office/drawing/2014/chart" uri="{C3380CC4-5D6E-409C-BE32-E72D297353CC}">
                <c16:uniqueId val="{00000743-4B1F-42FD-9B84-37A75D366F36}"/>
              </c:ext>
            </c:extLst>
          </c:dPt>
          <c:dPt>
            <c:idx val="929"/>
            <c:invertIfNegative val="1"/>
            <c:bubble3D val="0"/>
            <c:spPr>
              <a:solidFill>
                <a:srgbClr val="AEABAB"/>
              </a:solidFill>
            </c:spPr>
            <c:extLst>
              <c:ext xmlns:c16="http://schemas.microsoft.com/office/drawing/2014/chart" uri="{C3380CC4-5D6E-409C-BE32-E72D297353CC}">
                <c16:uniqueId val="{00000745-4B1F-42FD-9B84-37A75D366F36}"/>
              </c:ext>
            </c:extLst>
          </c:dPt>
          <c:dPt>
            <c:idx val="930"/>
            <c:invertIfNegative val="1"/>
            <c:bubble3D val="0"/>
            <c:spPr>
              <a:solidFill>
                <a:srgbClr val="AEABAB"/>
              </a:solidFill>
            </c:spPr>
            <c:extLst>
              <c:ext xmlns:c16="http://schemas.microsoft.com/office/drawing/2014/chart" uri="{C3380CC4-5D6E-409C-BE32-E72D297353CC}">
                <c16:uniqueId val="{00000747-4B1F-42FD-9B84-37A75D366F36}"/>
              </c:ext>
            </c:extLst>
          </c:dPt>
          <c:dPt>
            <c:idx val="931"/>
            <c:invertIfNegative val="1"/>
            <c:bubble3D val="0"/>
            <c:spPr>
              <a:solidFill>
                <a:srgbClr val="AEABAB"/>
              </a:solidFill>
            </c:spPr>
            <c:extLst>
              <c:ext xmlns:c16="http://schemas.microsoft.com/office/drawing/2014/chart" uri="{C3380CC4-5D6E-409C-BE32-E72D297353CC}">
                <c16:uniqueId val="{00000749-4B1F-42FD-9B84-37A75D366F36}"/>
              </c:ext>
            </c:extLst>
          </c:dPt>
          <c:dPt>
            <c:idx val="932"/>
            <c:invertIfNegative val="1"/>
            <c:bubble3D val="0"/>
            <c:spPr>
              <a:solidFill>
                <a:srgbClr val="AEABAB"/>
              </a:solidFill>
            </c:spPr>
            <c:extLst>
              <c:ext xmlns:c16="http://schemas.microsoft.com/office/drawing/2014/chart" uri="{C3380CC4-5D6E-409C-BE32-E72D297353CC}">
                <c16:uniqueId val="{0000074B-4B1F-42FD-9B84-37A75D366F36}"/>
              </c:ext>
            </c:extLst>
          </c:dPt>
          <c:dPt>
            <c:idx val="933"/>
            <c:invertIfNegative val="1"/>
            <c:bubble3D val="0"/>
            <c:spPr>
              <a:solidFill>
                <a:srgbClr val="AEABAB"/>
              </a:solidFill>
            </c:spPr>
            <c:extLst>
              <c:ext xmlns:c16="http://schemas.microsoft.com/office/drawing/2014/chart" uri="{C3380CC4-5D6E-409C-BE32-E72D297353CC}">
                <c16:uniqueId val="{0000074D-4B1F-42FD-9B84-37A75D366F36}"/>
              </c:ext>
            </c:extLst>
          </c:dPt>
          <c:dPt>
            <c:idx val="934"/>
            <c:invertIfNegative val="1"/>
            <c:bubble3D val="0"/>
            <c:spPr>
              <a:solidFill>
                <a:srgbClr val="AEABAB"/>
              </a:solidFill>
            </c:spPr>
            <c:extLst>
              <c:ext xmlns:c16="http://schemas.microsoft.com/office/drawing/2014/chart" uri="{C3380CC4-5D6E-409C-BE32-E72D297353CC}">
                <c16:uniqueId val="{0000074F-4B1F-42FD-9B84-37A75D366F36}"/>
              </c:ext>
            </c:extLst>
          </c:dPt>
          <c:dPt>
            <c:idx val="935"/>
            <c:invertIfNegative val="1"/>
            <c:bubble3D val="0"/>
            <c:spPr>
              <a:solidFill>
                <a:srgbClr val="AEABAB"/>
              </a:solidFill>
            </c:spPr>
            <c:extLst>
              <c:ext xmlns:c16="http://schemas.microsoft.com/office/drawing/2014/chart" uri="{C3380CC4-5D6E-409C-BE32-E72D297353CC}">
                <c16:uniqueId val="{00000751-4B1F-42FD-9B84-37A75D366F36}"/>
              </c:ext>
            </c:extLst>
          </c:dPt>
          <c:dPt>
            <c:idx val="936"/>
            <c:invertIfNegative val="1"/>
            <c:bubble3D val="0"/>
            <c:spPr>
              <a:solidFill>
                <a:srgbClr val="AEABAB"/>
              </a:solidFill>
            </c:spPr>
            <c:extLst>
              <c:ext xmlns:c16="http://schemas.microsoft.com/office/drawing/2014/chart" uri="{C3380CC4-5D6E-409C-BE32-E72D297353CC}">
                <c16:uniqueId val="{00000753-4B1F-42FD-9B84-37A75D366F36}"/>
              </c:ext>
            </c:extLst>
          </c:dPt>
          <c:dPt>
            <c:idx val="937"/>
            <c:invertIfNegative val="1"/>
            <c:bubble3D val="0"/>
            <c:spPr>
              <a:solidFill>
                <a:srgbClr val="AEABAB"/>
              </a:solidFill>
            </c:spPr>
            <c:extLst>
              <c:ext xmlns:c16="http://schemas.microsoft.com/office/drawing/2014/chart" uri="{C3380CC4-5D6E-409C-BE32-E72D297353CC}">
                <c16:uniqueId val="{00000755-4B1F-42FD-9B84-37A75D366F36}"/>
              </c:ext>
            </c:extLst>
          </c:dPt>
          <c:dPt>
            <c:idx val="938"/>
            <c:invertIfNegative val="1"/>
            <c:bubble3D val="0"/>
            <c:spPr>
              <a:solidFill>
                <a:srgbClr val="AEABAB"/>
              </a:solidFill>
            </c:spPr>
            <c:extLst>
              <c:ext xmlns:c16="http://schemas.microsoft.com/office/drawing/2014/chart" uri="{C3380CC4-5D6E-409C-BE32-E72D297353CC}">
                <c16:uniqueId val="{00000757-4B1F-42FD-9B84-37A75D366F36}"/>
              </c:ext>
            </c:extLst>
          </c:dPt>
          <c:dPt>
            <c:idx val="939"/>
            <c:invertIfNegative val="1"/>
            <c:bubble3D val="0"/>
            <c:spPr>
              <a:solidFill>
                <a:srgbClr val="AEABAB"/>
              </a:solidFill>
            </c:spPr>
            <c:extLst>
              <c:ext xmlns:c16="http://schemas.microsoft.com/office/drawing/2014/chart" uri="{C3380CC4-5D6E-409C-BE32-E72D297353CC}">
                <c16:uniqueId val="{00000759-4B1F-42FD-9B84-37A75D366F36}"/>
              </c:ext>
            </c:extLst>
          </c:dPt>
          <c:dPt>
            <c:idx val="940"/>
            <c:invertIfNegative val="1"/>
            <c:bubble3D val="0"/>
            <c:spPr>
              <a:solidFill>
                <a:srgbClr val="AEABAB"/>
              </a:solidFill>
            </c:spPr>
            <c:extLst>
              <c:ext xmlns:c16="http://schemas.microsoft.com/office/drawing/2014/chart" uri="{C3380CC4-5D6E-409C-BE32-E72D297353CC}">
                <c16:uniqueId val="{0000075B-4B1F-42FD-9B84-37A75D366F36}"/>
              </c:ext>
            </c:extLst>
          </c:dPt>
          <c:dPt>
            <c:idx val="941"/>
            <c:invertIfNegative val="1"/>
            <c:bubble3D val="0"/>
            <c:spPr>
              <a:solidFill>
                <a:srgbClr val="AEABAB"/>
              </a:solidFill>
            </c:spPr>
            <c:extLst>
              <c:ext xmlns:c16="http://schemas.microsoft.com/office/drawing/2014/chart" uri="{C3380CC4-5D6E-409C-BE32-E72D297353CC}">
                <c16:uniqueId val="{0000075D-4B1F-42FD-9B84-37A75D366F36}"/>
              </c:ext>
            </c:extLst>
          </c:dPt>
          <c:dPt>
            <c:idx val="942"/>
            <c:invertIfNegative val="1"/>
            <c:bubble3D val="0"/>
            <c:spPr>
              <a:solidFill>
                <a:srgbClr val="AEABAB"/>
              </a:solidFill>
            </c:spPr>
            <c:extLst>
              <c:ext xmlns:c16="http://schemas.microsoft.com/office/drawing/2014/chart" uri="{C3380CC4-5D6E-409C-BE32-E72D297353CC}">
                <c16:uniqueId val="{0000075F-4B1F-42FD-9B84-37A75D366F36}"/>
              </c:ext>
            </c:extLst>
          </c:dPt>
          <c:dPt>
            <c:idx val="943"/>
            <c:invertIfNegative val="1"/>
            <c:bubble3D val="0"/>
            <c:spPr>
              <a:solidFill>
                <a:srgbClr val="AEABAB"/>
              </a:solidFill>
            </c:spPr>
            <c:extLst>
              <c:ext xmlns:c16="http://schemas.microsoft.com/office/drawing/2014/chart" uri="{C3380CC4-5D6E-409C-BE32-E72D297353CC}">
                <c16:uniqueId val="{00000761-4B1F-42FD-9B84-37A75D366F36}"/>
              </c:ext>
            </c:extLst>
          </c:dPt>
          <c:dPt>
            <c:idx val="944"/>
            <c:invertIfNegative val="1"/>
            <c:bubble3D val="0"/>
            <c:spPr>
              <a:solidFill>
                <a:srgbClr val="AEABAB"/>
              </a:solidFill>
            </c:spPr>
            <c:extLst>
              <c:ext xmlns:c16="http://schemas.microsoft.com/office/drawing/2014/chart" uri="{C3380CC4-5D6E-409C-BE32-E72D297353CC}">
                <c16:uniqueId val="{00000763-4B1F-42FD-9B84-37A75D366F36}"/>
              </c:ext>
            </c:extLst>
          </c:dPt>
          <c:dPt>
            <c:idx val="945"/>
            <c:invertIfNegative val="1"/>
            <c:bubble3D val="0"/>
            <c:spPr>
              <a:solidFill>
                <a:srgbClr val="AEABAB"/>
              </a:solidFill>
            </c:spPr>
            <c:extLst>
              <c:ext xmlns:c16="http://schemas.microsoft.com/office/drawing/2014/chart" uri="{C3380CC4-5D6E-409C-BE32-E72D297353CC}">
                <c16:uniqueId val="{00000765-4B1F-42FD-9B84-37A75D366F36}"/>
              </c:ext>
            </c:extLst>
          </c:dPt>
          <c:dPt>
            <c:idx val="946"/>
            <c:invertIfNegative val="1"/>
            <c:bubble3D val="0"/>
            <c:spPr>
              <a:solidFill>
                <a:srgbClr val="AEABAB"/>
              </a:solidFill>
            </c:spPr>
            <c:extLst>
              <c:ext xmlns:c16="http://schemas.microsoft.com/office/drawing/2014/chart" uri="{C3380CC4-5D6E-409C-BE32-E72D297353CC}">
                <c16:uniqueId val="{00000767-4B1F-42FD-9B84-37A75D366F36}"/>
              </c:ext>
            </c:extLst>
          </c:dPt>
          <c:dPt>
            <c:idx val="947"/>
            <c:invertIfNegative val="1"/>
            <c:bubble3D val="0"/>
            <c:spPr>
              <a:solidFill>
                <a:srgbClr val="AEABAB"/>
              </a:solidFill>
            </c:spPr>
            <c:extLst>
              <c:ext xmlns:c16="http://schemas.microsoft.com/office/drawing/2014/chart" uri="{C3380CC4-5D6E-409C-BE32-E72D297353CC}">
                <c16:uniqueId val="{00000769-4B1F-42FD-9B84-37A75D366F36}"/>
              </c:ext>
            </c:extLst>
          </c:dPt>
          <c:dPt>
            <c:idx val="948"/>
            <c:invertIfNegative val="1"/>
            <c:bubble3D val="0"/>
            <c:spPr>
              <a:solidFill>
                <a:srgbClr val="AEABAB"/>
              </a:solidFill>
            </c:spPr>
            <c:extLst>
              <c:ext xmlns:c16="http://schemas.microsoft.com/office/drawing/2014/chart" uri="{C3380CC4-5D6E-409C-BE32-E72D297353CC}">
                <c16:uniqueId val="{0000076B-4B1F-42FD-9B84-37A75D366F36}"/>
              </c:ext>
            </c:extLst>
          </c:dPt>
          <c:dPt>
            <c:idx val="949"/>
            <c:invertIfNegative val="1"/>
            <c:bubble3D val="0"/>
            <c:spPr>
              <a:solidFill>
                <a:srgbClr val="AEABAB"/>
              </a:solidFill>
            </c:spPr>
            <c:extLst>
              <c:ext xmlns:c16="http://schemas.microsoft.com/office/drawing/2014/chart" uri="{C3380CC4-5D6E-409C-BE32-E72D297353CC}">
                <c16:uniqueId val="{0000076D-4B1F-42FD-9B84-37A75D366F36}"/>
              </c:ext>
            </c:extLst>
          </c:dPt>
          <c:dPt>
            <c:idx val="950"/>
            <c:invertIfNegative val="1"/>
            <c:bubble3D val="0"/>
            <c:spPr>
              <a:solidFill>
                <a:srgbClr val="AEABAB"/>
              </a:solidFill>
            </c:spPr>
            <c:extLst>
              <c:ext xmlns:c16="http://schemas.microsoft.com/office/drawing/2014/chart" uri="{C3380CC4-5D6E-409C-BE32-E72D297353CC}">
                <c16:uniqueId val="{0000076F-4B1F-42FD-9B84-37A75D366F36}"/>
              </c:ext>
            </c:extLst>
          </c:dPt>
          <c:dPt>
            <c:idx val="951"/>
            <c:invertIfNegative val="1"/>
            <c:bubble3D val="0"/>
            <c:spPr>
              <a:solidFill>
                <a:srgbClr val="AEABAB"/>
              </a:solidFill>
            </c:spPr>
            <c:extLst>
              <c:ext xmlns:c16="http://schemas.microsoft.com/office/drawing/2014/chart" uri="{C3380CC4-5D6E-409C-BE32-E72D297353CC}">
                <c16:uniqueId val="{00000771-4B1F-42FD-9B84-37A75D366F36}"/>
              </c:ext>
            </c:extLst>
          </c:dPt>
          <c:dPt>
            <c:idx val="952"/>
            <c:invertIfNegative val="1"/>
            <c:bubble3D val="0"/>
            <c:spPr>
              <a:solidFill>
                <a:srgbClr val="AEABAB"/>
              </a:solidFill>
            </c:spPr>
            <c:extLst>
              <c:ext xmlns:c16="http://schemas.microsoft.com/office/drawing/2014/chart" uri="{C3380CC4-5D6E-409C-BE32-E72D297353CC}">
                <c16:uniqueId val="{00000773-4B1F-42FD-9B84-37A75D366F36}"/>
              </c:ext>
            </c:extLst>
          </c:dPt>
          <c:dPt>
            <c:idx val="953"/>
            <c:invertIfNegative val="1"/>
            <c:bubble3D val="0"/>
            <c:spPr>
              <a:solidFill>
                <a:srgbClr val="AEABAB"/>
              </a:solidFill>
            </c:spPr>
            <c:extLst>
              <c:ext xmlns:c16="http://schemas.microsoft.com/office/drawing/2014/chart" uri="{C3380CC4-5D6E-409C-BE32-E72D297353CC}">
                <c16:uniqueId val="{00000775-4B1F-42FD-9B84-37A75D366F36}"/>
              </c:ext>
            </c:extLst>
          </c:dPt>
          <c:dPt>
            <c:idx val="954"/>
            <c:invertIfNegative val="1"/>
            <c:bubble3D val="0"/>
            <c:spPr>
              <a:solidFill>
                <a:srgbClr val="AEABAB"/>
              </a:solidFill>
            </c:spPr>
            <c:extLst>
              <c:ext xmlns:c16="http://schemas.microsoft.com/office/drawing/2014/chart" uri="{C3380CC4-5D6E-409C-BE32-E72D297353CC}">
                <c16:uniqueId val="{00000777-4B1F-42FD-9B84-37A75D366F36}"/>
              </c:ext>
            </c:extLst>
          </c:dPt>
          <c:dPt>
            <c:idx val="955"/>
            <c:invertIfNegative val="1"/>
            <c:bubble3D val="0"/>
            <c:spPr>
              <a:solidFill>
                <a:srgbClr val="AEABAB"/>
              </a:solidFill>
            </c:spPr>
            <c:extLst>
              <c:ext xmlns:c16="http://schemas.microsoft.com/office/drawing/2014/chart" uri="{C3380CC4-5D6E-409C-BE32-E72D297353CC}">
                <c16:uniqueId val="{00000779-4B1F-42FD-9B84-37A75D366F36}"/>
              </c:ext>
            </c:extLst>
          </c:dPt>
          <c:dPt>
            <c:idx val="956"/>
            <c:invertIfNegative val="1"/>
            <c:bubble3D val="0"/>
            <c:spPr>
              <a:solidFill>
                <a:srgbClr val="AEABAB"/>
              </a:solidFill>
            </c:spPr>
            <c:extLst>
              <c:ext xmlns:c16="http://schemas.microsoft.com/office/drawing/2014/chart" uri="{C3380CC4-5D6E-409C-BE32-E72D297353CC}">
                <c16:uniqueId val="{0000077B-4B1F-42FD-9B84-37A75D366F36}"/>
              </c:ext>
            </c:extLst>
          </c:dPt>
          <c:dPt>
            <c:idx val="957"/>
            <c:invertIfNegative val="1"/>
            <c:bubble3D val="0"/>
            <c:spPr>
              <a:solidFill>
                <a:srgbClr val="AEABAB"/>
              </a:solidFill>
            </c:spPr>
            <c:extLst>
              <c:ext xmlns:c16="http://schemas.microsoft.com/office/drawing/2014/chart" uri="{C3380CC4-5D6E-409C-BE32-E72D297353CC}">
                <c16:uniqueId val="{0000077D-4B1F-42FD-9B84-37A75D366F36}"/>
              </c:ext>
            </c:extLst>
          </c:dPt>
          <c:dPt>
            <c:idx val="958"/>
            <c:invertIfNegative val="1"/>
            <c:bubble3D val="0"/>
            <c:spPr>
              <a:solidFill>
                <a:srgbClr val="AEABAB"/>
              </a:solidFill>
            </c:spPr>
            <c:extLst>
              <c:ext xmlns:c16="http://schemas.microsoft.com/office/drawing/2014/chart" uri="{C3380CC4-5D6E-409C-BE32-E72D297353CC}">
                <c16:uniqueId val="{0000077F-4B1F-42FD-9B84-37A75D366F36}"/>
              </c:ext>
            </c:extLst>
          </c:dPt>
          <c:dPt>
            <c:idx val="959"/>
            <c:invertIfNegative val="1"/>
            <c:bubble3D val="0"/>
            <c:spPr>
              <a:solidFill>
                <a:srgbClr val="AEABAB"/>
              </a:solidFill>
            </c:spPr>
            <c:extLst>
              <c:ext xmlns:c16="http://schemas.microsoft.com/office/drawing/2014/chart" uri="{C3380CC4-5D6E-409C-BE32-E72D297353CC}">
                <c16:uniqueId val="{00000781-4B1F-42FD-9B84-37A75D366F36}"/>
              </c:ext>
            </c:extLst>
          </c:dPt>
          <c:dPt>
            <c:idx val="960"/>
            <c:invertIfNegative val="1"/>
            <c:bubble3D val="0"/>
            <c:spPr>
              <a:solidFill>
                <a:srgbClr val="AEABAB"/>
              </a:solidFill>
            </c:spPr>
            <c:extLst>
              <c:ext xmlns:c16="http://schemas.microsoft.com/office/drawing/2014/chart" uri="{C3380CC4-5D6E-409C-BE32-E72D297353CC}">
                <c16:uniqueId val="{00000783-4B1F-42FD-9B84-37A75D366F36}"/>
              </c:ext>
            </c:extLst>
          </c:dPt>
          <c:dPt>
            <c:idx val="961"/>
            <c:invertIfNegative val="1"/>
            <c:bubble3D val="0"/>
            <c:spPr>
              <a:solidFill>
                <a:srgbClr val="AEABAB"/>
              </a:solidFill>
            </c:spPr>
            <c:extLst>
              <c:ext xmlns:c16="http://schemas.microsoft.com/office/drawing/2014/chart" uri="{C3380CC4-5D6E-409C-BE32-E72D297353CC}">
                <c16:uniqueId val="{00000785-4B1F-42FD-9B84-37A75D366F36}"/>
              </c:ext>
            </c:extLst>
          </c:dPt>
          <c:dPt>
            <c:idx val="962"/>
            <c:invertIfNegative val="1"/>
            <c:bubble3D val="0"/>
            <c:spPr>
              <a:solidFill>
                <a:srgbClr val="AEABAB"/>
              </a:solidFill>
            </c:spPr>
            <c:extLst>
              <c:ext xmlns:c16="http://schemas.microsoft.com/office/drawing/2014/chart" uri="{C3380CC4-5D6E-409C-BE32-E72D297353CC}">
                <c16:uniqueId val="{00000787-4B1F-42FD-9B84-37A75D366F36}"/>
              </c:ext>
            </c:extLst>
          </c:dPt>
          <c:dPt>
            <c:idx val="963"/>
            <c:invertIfNegative val="1"/>
            <c:bubble3D val="0"/>
            <c:spPr>
              <a:solidFill>
                <a:srgbClr val="AEABAB"/>
              </a:solidFill>
            </c:spPr>
            <c:extLst>
              <c:ext xmlns:c16="http://schemas.microsoft.com/office/drawing/2014/chart" uri="{C3380CC4-5D6E-409C-BE32-E72D297353CC}">
                <c16:uniqueId val="{00000789-4B1F-42FD-9B84-37A75D366F36}"/>
              </c:ext>
            </c:extLst>
          </c:dPt>
          <c:dPt>
            <c:idx val="964"/>
            <c:invertIfNegative val="1"/>
            <c:bubble3D val="0"/>
            <c:spPr>
              <a:solidFill>
                <a:srgbClr val="AEABAB"/>
              </a:solidFill>
            </c:spPr>
            <c:extLst>
              <c:ext xmlns:c16="http://schemas.microsoft.com/office/drawing/2014/chart" uri="{C3380CC4-5D6E-409C-BE32-E72D297353CC}">
                <c16:uniqueId val="{0000078B-4B1F-42FD-9B84-37A75D366F36}"/>
              </c:ext>
            </c:extLst>
          </c:dPt>
          <c:dPt>
            <c:idx val="965"/>
            <c:invertIfNegative val="1"/>
            <c:bubble3D val="0"/>
            <c:spPr>
              <a:solidFill>
                <a:srgbClr val="AEABAB"/>
              </a:solidFill>
            </c:spPr>
            <c:extLst>
              <c:ext xmlns:c16="http://schemas.microsoft.com/office/drawing/2014/chart" uri="{C3380CC4-5D6E-409C-BE32-E72D297353CC}">
                <c16:uniqueId val="{0000078D-4B1F-42FD-9B84-37A75D366F36}"/>
              </c:ext>
            </c:extLst>
          </c:dPt>
          <c:dPt>
            <c:idx val="966"/>
            <c:invertIfNegative val="1"/>
            <c:bubble3D val="0"/>
            <c:spPr>
              <a:solidFill>
                <a:srgbClr val="AEABAB"/>
              </a:solidFill>
            </c:spPr>
            <c:extLst>
              <c:ext xmlns:c16="http://schemas.microsoft.com/office/drawing/2014/chart" uri="{C3380CC4-5D6E-409C-BE32-E72D297353CC}">
                <c16:uniqueId val="{0000078F-4B1F-42FD-9B84-37A75D366F36}"/>
              </c:ext>
            </c:extLst>
          </c:dPt>
          <c:dPt>
            <c:idx val="967"/>
            <c:invertIfNegative val="1"/>
            <c:bubble3D val="0"/>
            <c:spPr>
              <a:solidFill>
                <a:srgbClr val="AEABAB"/>
              </a:solidFill>
            </c:spPr>
            <c:extLst>
              <c:ext xmlns:c16="http://schemas.microsoft.com/office/drawing/2014/chart" uri="{C3380CC4-5D6E-409C-BE32-E72D297353CC}">
                <c16:uniqueId val="{00000791-4B1F-42FD-9B84-37A75D366F36}"/>
              </c:ext>
            </c:extLst>
          </c:dPt>
          <c:dPt>
            <c:idx val="968"/>
            <c:invertIfNegative val="1"/>
            <c:bubble3D val="0"/>
            <c:spPr>
              <a:solidFill>
                <a:srgbClr val="AEABAB"/>
              </a:solidFill>
            </c:spPr>
            <c:extLst>
              <c:ext xmlns:c16="http://schemas.microsoft.com/office/drawing/2014/chart" uri="{C3380CC4-5D6E-409C-BE32-E72D297353CC}">
                <c16:uniqueId val="{00000793-4B1F-42FD-9B84-37A75D366F36}"/>
              </c:ext>
            </c:extLst>
          </c:dPt>
          <c:dPt>
            <c:idx val="969"/>
            <c:invertIfNegative val="1"/>
            <c:bubble3D val="0"/>
            <c:spPr>
              <a:solidFill>
                <a:srgbClr val="AEABAB"/>
              </a:solidFill>
            </c:spPr>
            <c:extLst>
              <c:ext xmlns:c16="http://schemas.microsoft.com/office/drawing/2014/chart" uri="{C3380CC4-5D6E-409C-BE32-E72D297353CC}">
                <c16:uniqueId val="{00000795-4B1F-42FD-9B84-37A75D366F36}"/>
              </c:ext>
            </c:extLst>
          </c:dPt>
          <c:dPt>
            <c:idx val="970"/>
            <c:invertIfNegative val="1"/>
            <c:bubble3D val="0"/>
            <c:spPr>
              <a:solidFill>
                <a:srgbClr val="AEABAB"/>
              </a:solidFill>
            </c:spPr>
            <c:extLst>
              <c:ext xmlns:c16="http://schemas.microsoft.com/office/drawing/2014/chart" uri="{C3380CC4-5D6E-409C-BE32-E72D297353CC}">
                <c16:uniqueId val="{00000797-4B1F-42FD-9B84-37A75D366F36}"/>
              </c:ext>
            </c:extLst>
          </c:dPt>
          <c:dPt>
            <c:idx val="971"/>
            <c:invertIfNegative val="1"/>
            <c:bubble3D val="0"/>
            <c:spPr>
              <a:solidFill>
                <a:srgbClr val="AEABAB"/>
              </a:solidFill>
            </c:spPr>
            <c:extLst>
              <c:ext xmlns:c16="http://schemas.microsoft.com/office/drawing/2014/chart" uri="{C3380CC4-5D6E-409C-BE32-E72D297353CC}">
                <c16:uniqueId val="{00000799-4B1F-42FD-9B84-37A75D366F36}"/>
              </c:ext>
            </c:extLst>
          </c:dPt>
          <c:dPt>
            <c:idx val="972"/>
            <c:invertIfNegative val="1"/>
            <c:bubble3D val="0"/>
            <c:spPr>
              <a:solidFill>
                <a:srgbClr val="AEABAB"/>
              </a:solidFill>
            </c:spPr>
            <c:extLst>
              <c:ext xmlns:c16="http://schemas.microsoft.com/office/drawing/2014/chart" uri="{C3380CC4-5D6E-409C-BE32-E72D297353CC}">
                <c16:uniqueId val="{0000079B-4B1F-42FD-9B84-37A75D366F36}"/>
              </c:ext>
            </c:extLst>
          </c:dPt>
          <c:dPt>
            <c:idx val="973"/>
            <c:invertIfNegative val="1"/>
            <c:bubble3D val="0"/>
            <c:spPr>
              <a:solidFill>
                <a:srgbClr val="AEABAB"/>
              </a:solidFill>
            </c:spPr>
            <c:extLst>
              <c:ext xmlns:c16="http://schemas.microsoft.com/office/drawing/2014/chart" uri="{C3380CC4-5D6E-409C-BE32-E72D297353CC}">
                <c16:uniqueId val="{0000079D-4B1F-42FD-9B84-37A75D366F36}"/>
              </c:ext>
            </c:extLst>
          </c:dPt>
          <c:dPt>
            <c:idx val="974"/>
            <c:invertIfNegative val="1"/>
            <c:bubble3D val="0"/>
            <c:spPr>
              <a:solidFill>
                <a:srgbClr val="AEABAB"/>
              </a:solidFill>
            </c:spPr>
            <c:extLst>
              <c:ext xmlns:c16="http://schemas.microsoft.com/office/drawing/2014/chart" uri="{C3380CC4-5D6E-409C-BE32-E72D297353CC}">
                <c16:uniqueId val="{0000079F-4B1F-42FD-9B84-37A75D366F36}"/>
              </c:ext>
            </c:extLst>
          </c:dPt>
          <c:dPt>
            <c:idx val="975"/>
            <c:invertIfNegative val="1"/>
            <c:bubble3D val="0"/>
            <c:spPr>
              <a:solidFill>
                <a:srgbClr val="AEABAB"/>
              </a:solidFill>
            </c:spPr>
            <c:extLst>
              <c:ext xmlns:c16="http://schemas.microsoft.com/office/drawing/2014/chart" uri="{C3380CC4-5D6E-409C-BE32-E72D297353CC}">
                <c16:uniqueId val="{000007A1-4B1F-42FD-9B84-37A75D366F36}"/>
              </c:ext>
            </c:extLst>
          </c:dPt>
          <c:dPt>
            <c:idx val="976"/>
            <c:invertIfNegative val="1"/>
            <c:bubble3D val="0"/>
            <c:spPr>
              <a:solidFill>
                <a:srgbClr val="AEABAB"/>
              </a:solidFill>
            </c:spPr>
            <c:extLst>
              <c:ext xmlns:c16="http://schemas.microsoft.com/office/drawing/2014/chart" uri="{C3380CC4-5D6E-409C-BE32-E72D297353CC}">
                <c16:uniqueId val="{000007A3-4B1F-42FD-9B84-37A75D366F36}"/>
              </c:ext>
            </c:extLst>
          </c:dPt>
          <c:dPt>
            <c:idx val="977"/>
            <c:invertIfNegative val="1"/>
            <c:bubble3D val="0"/>
            <c:spPr>
              <a:solidFill>
                <a:srgbClr val="AEABAB"/>
              </a:solidFill>
            </c:spPr>
            <c:extLst>
              <c:ext xmlns:c16="http://schemas.microsoft.com/office/drawing/2014/chart" uri="{C3380CC4-5D6E-409C-BE32-E72D297353CC}">
                <c16:uniqueId val="{000007A5-4B1F-42FD-9B84-37A75D366F36}"/>
              </c:ext>
            </c:extLst>
          </c:dPt>
          <c:dPt>
            <c:idx val="978"/>
            <c:invertIfNegative val="1"/>
            <c:bubble3D val="0"/>
            <c:spPr>
              <a:solidFill>
                <a:srgbClr val="AEABAB"/>
              </a:solidFill>
            </c:spPr>
            <c:extLst>
              <c:ext xmlns:c16="http://schemas.microsoft.com/office/drawing/2014/chart" uri="{C3380CC4-5D6E-409C-BE32-E72D297353CC}">
                <c16:uniqueId val="{000007A7-4B1F-42FD-9B84-37A75D366F36}"/>
              </c:ext>
            </c:extLst>
          </c:dPt>
          <c:dPt>
            <c:idx val="979"/>
            <c:invertIfNegative val="1"/>
            <c:bubble3D val="0"/>
            <c:spPr>
              <a:solidFill>
                <a:srgbClr val="AEABAB"/>
              </a:solidFill>
            </c:spPr>
            <c:extLst>
              <c:ext xmlns:c16="http://schemas.microsoft.com/office/drawing/2014/chart" uri="{C3380CC4-5D6E-409C-BE32-E72D297353CC}">
                <c16:uniqueId val="{000007A9-4B1F-42FD-9B84-37A75D366F36}"/>
              </c:ext>
            </c:extLst>
          </c:dPt>
          <c:dPt>
            <c:idx val="980"/>
            <c:invertIfNegative val="1"/>
            <c:bubble3D val="0"/>
            <c:spPr>
              <a:solidFill>
                <a:srgbClr val="AEABAB"/>
              </a:solidFill>
            </c:spPr>
            <c:extLst>
              <c:ext xmlns:c16="http://schemas.microsoft.com/office/drawing/2014/chart" uri="{C3380CC4-5D6E-409C-BE32-E72D297353CC}">
                <c16:uniqueId val="{000007AB-4B1F-42FD-9B84-37A75D366F36}"/>
              </c:ext>
            </c:extLst>
          </c:dPt>
          <c:dPt>
            <c:idx val="981"/>
            <c:invertIfNegative val="1"/>
            <c:bubble3D val="0"/>
            <c:spPr>
              <a:solidFill>
                <a:srgbClr val="AEABAB"/>
              </a:solidFill>
            </c:spPr>
            <c:extLst>
              <c:ext xmlns:c16="http://schemas.microsoft.com/office/drawing/2014/chart" uri="{C3380CC4-5D6E-409C-BE32-E72D297353CC}">
                <c16:uniqueId val="{000007AD-4B1F-42FD-9B84-37A75D366F36}"/>
              </c:ext>
            </c:extLst>
          </c:dPt>
          <c:dPt>
            <c:idx val="982"/>
            <c:invertIfNegative val="1"/>
            <c:bubble3D val="0"/>
            <c:spPr>
              <a:solidFill>
                <a:srgbClr val="AEABAB"/>
              </a:solidFill>
            </c:spPr>
            <c:extLst>
              <c:ext xmlns:c16="http://schemas.microsoft.com/office/drawing/2014/chart" uri="{C3380CC4-5D6E-409C-BE32-E72D297353CC}">
                <c16:uniqueId val="{000007AF-4B1F-42FD-9B84-37A75D366F36}"/>
              </c:ext>
            </c:extLst>
          </c:dPt>
          <c:dPt>
            <c:idx val="983"/>
            <c:invertIfNegative val="1"/>
            <c:bubble3D val="0"/>
            <c:spPr>
              <a:solidFill>
                <a:srgbClr val="AEABAB"/>
              </a:solidFill>
            </c:spPr>
            <c:extLst>
              <c:ext xmlns:c16="http://schemas.microsoft.com/office/drawing/2014/chart" uri="{C3380CC4-5D6E-409C-BE32-E72D297353CC}">
                <c16:uniqueId val="{000007B1-4B1F-42FD-9B84-37A75D366F36}"/>
              </c:ext>
            </c:extLst>
          </c:dPt>
          <c:dPt>
            <c:idx val="984"/>
            <c:invertIfNegative val="1"/>
            <c:bubble3D val="0"/>
            <c:spPr>
              <a:solidFill>
                <a:srgbClr val="AEABAB"/>
              </a:solidFill>
            </c:spPr>
            <c:extLst>
              <c:ext xmlns:c16="http://schemas.microsoft.com/office/drawing/2014/chart" uri="{C3380CC4-5D6E-409C-BE32-E72D297353CC}">
                <c16:uniqueId val="{000007B3-4B1F-42FD-9B84-37A75D366F36}"/>
              </c:ext>
            </c:extLst>
          </c:dPt>
          <c:dPt>
            <c:idx val="985"/>
            <c:invertIfNegative val="1"/>
            <c:bubble3D val="0"/>
            <c:spPr>
              <a:solidFill>
                <a:srgbClr val="AEABAB"/>
              </a:solidFill>
            </c:spPr>
            <c:extLst>
              <c:ext xmlns:c16="http://schemas.microsoft.com/office/drawing/2014/chart" uri="{C3380CC4-5D6E-409C-BE32-E72D297353CC}">
                <c16:uniqueId val="{000007B5-4B1F-42FD-9B84-37A75D366F36}"/>
              </c:ext>
            </c:extLst>
          </c:dPt>
          <c:dPt>
            <c:idx val="986"/>
            <c:invertIfNegative val="1"/>
            <c:bubble3D val="0"/>
            <c:spPr>
              <a:solidFill>
                <a:srgbClr val="AEABAB"/>
              </a:solidFill>
            </c:spPr>
            <c:extLst>
              <c:ext xmlns:c16="http://schemas.microsoft.com/office/drawing/2014/chart" uri="{C3380CC4-5D6E-409C-BE32-E72D297353CC}">
                <c16:uniqueId val="{000007B7-4B1F-42FD-9B84-37A75D366F36}"/>
              </c:ext>
            </c:extLst>
          </c:dPt>
          <c:dPt>
            <c:idx val="987"/>
            <c:invertIfNegative val="1"/>
            <c:bubble3D val="0"/>
            <c:spPr>
              <a:solidFill>
                <a:srgbClr val="AEABAB"/>
              </a:solidFill>
            </c:spPr>
            <c:extLst>
              <c:ext xmlns:c16="http://schemas.microsoft.com/office/drawing/2014/chart" uri="{C3380CC4-5D6E-409C-BE32-E72D297353CC}">
                <c16:uniqueId val="{000007B9-4B1F-42FD-9B84-37A75D366F36}"/>
              </c:ext>
            </c:extLst>
          </c:dPt>
          <c:dPt>
            <c:idx val="988"/>
            <c:invertIfNegative val="1"/>
            <c:bubble3D val="0"/>
            <c:spPr>
              <a:solidFill>
                <a:srgbClr val="AEABAB"/>
              </a:solidFill>
            </c:spPr>
            <c:extLst>
              <c:ext xmlns:c16="http://schemas.microsoft.com/office/drawing/2014/chart" uri="{C3380CC4-5D6E-409C-BE32-E72D297353CC}">
                <c16:uniqueId val="{000007BB-4B1F-42FD-9B84-37A75D366F36}"/>
              </c:ext>
            </c:extLst>
          </c:dPt>
          <c:dPt>
            <c:idx val="989"/>
            <c:invertIfNegative val="1"/>
            <c:bubble3D val="0"/>
            <c:spPr>
              <a:solidFill>
                <a:srgbClr val="AEABAB"/>
              </a:solidFill>
            </c:spPr>
            <c:extLst>
              <c:ext xmlns:c16="http://schemas.microsoft.com/office/drawing/2014/chart" uri="{C3380CC4-5D6E-409C-BE32-E72D297353CC}">
                <c16:uniqueId val="{000007BD-4B1F-42FD-9B84-37A75D366F36}"/>
              </c:ext>
            </c:extLst>
          </c:dPt>
          <c:dPt>
            <c:idx val="990"/>
            <c:invertIfNegative val="1"/>
            <c:bubble3D val="0"/>
            <c:spPr>
              <a:solidFill>
                <a:srgbClr val="AEABAB"/>
              </a:solidFill>
            </c:spPr>
            <c:extLst>
              <c:ext xmlns:c16="http://schemas.microsoft.com/office/drawing/2014/chart" uri="{C3380CC4-5D6E-409C-BE32-E72D297353CC}">
                <c16:uniqueId val="{000007BF-4B1F-42FD-9B84-37A75D366F36}"/>
              </c:ext>
            </c:extLst>
          </c:dPt>
          <c:dPt>
            <c:idx val="991"/>
            <c:invertIfNegative val="1"/>
            <c:bubble3D val="0"/>
            <c:spPr>
              <a:solidFill>
                <a:srgbClr val="AEABAB"/>
              </a:solidFill>
            </c:spPr>
            <c:extLst>
              <c:ext xmlns:c16="http://schemas.microsoft.com/office/drawing/2014/chart" uri="{C3380CC4-5D6E-409C-BE32-E72D297353CC}">
                <c16:uniqueId val="{000007C1-4B1F-42FD-9B84-37A75D366F36}"/>
              </c:ext>
            </c:extLst>
          </c:dPt>
          <c:dPt>
            <c:idx val="992"/>
            <c:invertIfNegative val="1"/>
            <c:bubble3D val="0"/>
            <c:spPr>
              <a:solidFill>
                <a:srgbClr val="AEABAB"/>
              </a:solidFill>
            </c:spPr>
            <c:extLst>
              <c:ext xmlns:c16="http://schemas.microsoft.com/office/drawing/2014/chart" uri="{C3380CC4-5D6E-409C-BE32-E72D297353CC}">
                <c16:uniqueId val="{000007C3-4B1F-42FD-9B84-37A75D366F36}"/>
              </c:ext>
            </c:extLst>
          </c:dPt>
          <c:dPt>
            <c:idx val="993"/>
            <c:invertIfNegative val="1"/>
            <c:bubble3D val="0"/>
            <c:spPr>
              <a:solidFill>
                <a:srgbClr val="AEABAB"/>
              </a:solidFill>
            </c:spPr>
            <c:extLst>
              <c:ext xmlns:c16="http://schemas.microsoft.com/office/drawing/2014/chart" uri="{C3380CC4-5D6E-409C-BE32-E72D297353CC}">
                <c16:uniqueId val="{000007C5-4B1F-42FD-9B84-37A75D366F36}"/>
              </c:ext>
            </c:extLst>
          </c:dPt>
          <c:dPt>
            <c:idx val="994"/>
            <c:invertIfNegative val="1"/>
            <c:bubble3D val="0"/>
            <c:spPr>
              <a:solidFill>
                <a:srgbClr val="AEABAB"/>
              </a:solidFill>
            </c:spPr>
            <c:extLst>
              <c:ext xmlns:c16="http://schemas.microsoft.com/office/drawing/2014/chart" uri="{C3380CC4-5D6E-409C-BE32-E72D297353CC}">
                <c16:uniqueId val="{000007C7-4B1F-42FD-9B84-37A75D366F36}"/>
              </c:ext>
            </c:extLst>
          </c:dPt>
          <c:dPt>
            <c:idx val="995"/>
            <c:invertIfNegative val="1"/>
            <c:bubble3D val="0"/>
            <c:spPr>
              <a:solidFill>
                <a:srgbClr val="AEABAB"/>
              </a:solidFill>
            </c:spPr>
            <c:extLst>
              <c:ext xmlns:c16="http://schemas.microsoft.com/office/drawing/2014/chart" uri="{C3380CC4-5D6E-409C-BE32-E72D297353CC}">
                <c16:uniqueId val="{000007C9-4B1F-42FD-9B84-37A75D366F36}"/>
              </c:ext>
            </c:extLst>
          </c:dPt>
          <c:dPt>
            <c:idx val="996"/>
            <c:invertIfNegative val="1"/>
            <c:bubble3D val="0"/>
            <c:spPr>
              <a:solidFill>
                <a:srgbClr val="AEABAB"/>
              </a:solidFill>
            </c:spPr>
            <c:extLst>
              <c:ext xmlns:c16="http://schemas.microsoft.com/office/drawing/2014/chart" uri="{C3380CC4-5D6E-409C-BE32-E72D297353CC}">
                <c16:uniqueId val="{000007CB-4B1F-42FD-9B84-37A75D366F36}"/>
              </c:ext>
            </c:extLst>
          </c:dPt>
          <c:dPt>
            <c:idx val="997"/>
            <c:invertIfNegative val="1"/>
            <c:bubble3D val="0"/>
            <c:spPr>
              <a:solidFill>
                <a:srgbClr val="AEABAB"/>
              </a:solidFill>
            </c:spPr>
            <c:extLst>
              <c:ext xmlns:c16="http://schemas.microsoft.com/office/drawing/2014/chart" uri="{C3380CC4-5D6E-409C-BE32-E72D297353CC}">
                <c16:uniqueId val="{000007CD-4B1F-42FD-9B84-37A75D366F36}"/>
              </c:ext>
            </c:extLst>
          </c:dPt>
          <c:dPt>
            <c:idx val="998"/>
            <c:invertIfNegative val="1"/>
            <c:bubble3D val="0"/>
            <c:spPr>
              <a:solidFill>
                <a:srgbClr val="AEABAB"/>
              </a:solidFill>
            </c:spPr>
            <c:extLst>
              <c:ext xmlns:c16="http://schemas.microsoft.com/office/drawing/2014/chart" uri="{C3380CC4-5D6E-409C-BE32-E72D297353CC}">
                <c16:uniqueId val="{000007CF-4B1F-42FD-9B84-37A75D366F36}"/>
              </c:ext>
            </c:extLst>
          </c:dPt>
          <c:dPt>
            <c:idx val="999"/>
            <c:invertIfNegative val="1"/>
            <c:bubble3D val="0"/>
            <c:spPr>
              <a:solidFill>
                <a:srgbClr val="AEABAB"/>
              </a:solidFill>
            </c:spPr>
            <c:extLst>
              <c:ext xmlns:c16="http://schemas.microsoft.com/office/drawing/2014/chart" uri="{C3380CC4-5D6E-409C-BE32-E72D297353CC}">
                <c16:uniqueId val="{000007D1-4B1F-42FD-9B84-37A75D366F36}"/>
              </c:ext>
            </c:extLst>
          </c:dPt>
          <c:dPt>
            <c:idx val="1000"/>
            <c:invertIfNegative val="1"/>
            <c:bubble3D val="0"/>
            <c:spPr>
              <a:solidFill>
                <a:srgbClr val="AEABAB"/>
              </a:solidFill>
            </c:spPr>
            <c:extLst>
              <c:ext xmlns:c16="http://schemas.microsoft.com/office/drawing/2014/chart" uri="{C3380CC4-5D6E-409C-BE32-E72D297353CC}">
                <c16:uniqueId val="{000007D3-4B1F-42FD-9B84-37A75D366F36}"/>
              </c:ext>
            </c:extLst>
          </c:dPt>
          <c:dPt>
            <c:idx val="1001"/>
            <c:invertIfNegative val="1"/>
            <c:bubble3D val="0"/>
            <c:spPr>
              <a:solidFill>
                <a:srgbClr val="AEABAB"/>
              </a:solidFill>
            </c:spPr>
            <c:extLst>
              <c:ext xmlns:c16="http://schemas.microsoft.com/office/drawing/2014/chart" uri="{C3380CC4-5D6E-409C-BE32-E72D297353CC}">
                <c16:uniqueId val="{000007D5-4B1F-42FD-9B84-37A75D366F36}"/>
              </c:ext>
            </c:extLst>
          </c:dPt>
          <c:dPt>
            <c:idx val="1002"/>
            <c:invertIfNegative val="1"/>
            <c:bubble3D val="0"/>
            <c:spPr>
              <a:solidFill>
                <a:srgbClr val="AEABAB"/>
              </a:solidFill>
            </c:spPr>
            <c:extLst>
              <c:ext xmlns:c16="http://schemas.microsoft.com/office/drawing/2014/chart" uri="{C3380CC4-5D6E-409C-BE32-E72D297353CC}">
                <c16:uniqueId val="{000007D7-4B1F-42FD-9B84-37A75D366F36}"/>
              </c:ext>
            </c:extLst>
          </c:dPt>
          <c:dPt>
            <c:idx val="1003"/>
            <c:invertIfNegative val="1"/>
            <c:bubble3D val="0"/>
            <c:spPr>
              <a:solidFill>
                <a:srgbClr val="AEABAB"/>
              </a:solidFill>
            </c:spPr>
            <c:extLst>
              <c:ext xmlns:c16="http://schemas.microsoft.com/office/drawing/2014/chart" uri="{C3380CC4-5D6E-409C-BE32-E72D297353CC}">
                <c16:uniqueId val="{000007D9-4B1F-42FD-9B84-37A75D366F36}"/>
              </c:ext>
            </c:extLst>
          </c:dPt>
          <c:dPt>
            <c:idx val="1004"/>
            <c:invertIfNegative val="1"/>
            <c:bubble3D val="0"/>
            <c:spPr>
              <a:solidFill>
                <a:srgbClr val="AEABAB"/>
              </a:solidFill>
            </c:spPr>
            <c:extLst>
              <c:ext xmlns:c16="http://schemas.microsoft.com/office/drawing/2014/chart" uri="{C3380CC4-5D6E-409C-BE32-E72D297353CC}">
                <c16:uniqueId val="{000007DB-4B1F-42FD-9B84-37A75D366F36}"/>
              </c:ext>
            </c:extLst>
          </c:dPt>
          <c:dPt>
            <c:idx val="1005"/>
            <c:invertIfNegative val="1"/>
            <c:bubble3D val="0"/>
            <c:spPr>
              <a:solidFill>
                <a:srgbClr val="AEABAB"/>
              </a:solidFill>
            </c:spPr>
            <c:extLst>
              <c:ext xmlns:c16="http://schemas.microsoft.com/office/drawing/2014/chart" uri="{C3380CC4-5D6E-409C-BE32-E72D297353CC}">
                <c16:uniqueId val="{000007DD-4B1F-42FD-9B84-37A75D366F36}"/>
              </c:ext>
            </c:extLst>
          </c:dPt>
          <c:dPt>
            <c:idx val="1006"/>
            <c:invertIfNegative val="1"/>
            <c:bubble3D val="0"/>
            <c:spPr>
              <a:solidFill>
                <a:srgbClr val="AEABAB"/>
              </a:solidFill>
            </c:spPr>
            <c:extLst>
              <c:ext xmlns:c16="http://schemas.microsoft.com/office/drawing/2014/chart" uri="{C3380CC4-5D6E-409C-BE32-E72D297353CC}">
                <c16:uniqueId val="{000007DF-4B1F-42FD-9B84-37A75D366F36}"/>
              </c:ext>
            </c:extLst>
          </c:dPt>
          <c:dPt>
            <c:idx val="1007"/>
            <c:invertIfNegative val="1"/>
            <c:bubble3D val="0"/>
            <c:spPr>
              <a:solidFill>
                <a:srgbClr val="AEABAB"/>
              </a:solidFill>
            </c:spPr>
            <c:extLst>
              <c:ext xmlns:c16="http://schemas.microsoft.com/office/drawing/2014/chart" uri="{C3380CC4-5D6E-409C-BE32-E72D297353CC}">
                <c16:uniqueId val="{000007E1-4B1F-42FD-9B84-37A75D366F36}"/>
              </c:ext>
            </c:extLst>
          </c:dPt>
          <c:dPt>
            <c:idx val="1008"/>
            <c:invertIfNegative val="1"/>
            <c:bubble3D val="0"/>
            <c:spPr>
              <a:solidFill>
                <a:srgbClr val="AEABAB"/>
              </a:solidFill>
            </c:spPr>
            <c:extLst>
              <c:ext xmlns:c16="http://schemas.microsoft.com/office/drawing/2014/chart" uri="{C3380CC4-5D6E-409C-BE32-E72D297353CC}">
                <c16:uniqueId val="{000007E3-4B1F-42FD-9B84-37A75D366F36}"/>
              </c:ext>
            </c:extLst>
          </c:dPt>
          <c:dPt>
            <c:idx val="1009"/>
            <c:invertIfNegative val="1"/>
            <c:bubble3D val="0"/>
            <c:spPr>
              <a:solidFill>
                <a:srgbClr val="AEABAB"/>
              </a:solidFill>
            </c:spPr>
            <c:extLst>
              <c:ext xmlns:c16="http://schemas.microsoft.com/office/drawing/2014/chart" uri="{C3380CC4-5D6E-409C-BE32-E72D297353CC}">
                <c16:uniqueId val="{000007E5-4B1F-42FD-9B84-37A75D366F36}"/>
              </c:ext>
            </c:extLst>
          </c:dPt>
          <c:dPt>
            <c:idx val="1010"/>
            <c:invertIfNegative val="1"/>
            <c:bubble3D val="0"/>
            <c:spPr>
              <a:solidFill>
                <a:srgbClr val="AEABAB"/>
              </a:solidFill>
            </c:spPr>
            <c:extLst>
              <c:ext xmlns:c16="http://schemas.microsoft.com/office/drawing/2014/chart" uri="{C3380CC4-5D6E-409C-BE32-E72D297353CC}">
                <c16:uniqueId val="{000007E7-4B1F-42FD-9B84-37A75D366F36}"/>
              </c:ext>
            </c:extLst>
          </c:dPt>
          <c:dPt>
            <c:idx val="1011"/>
            <c:invertIfNegative val="1"/>
            <c:bubble3D val="0"/>
            <c:spPr>
              <a:solidFill>
                <a:srgbClr val="AEABAB"/>
              </a:solidFill>
            </c:spPr>
            <c:extLst>
              <c:ext xmlns:c16="http://schemas.microsoft.com/office/drawing/2014/chart" uri="{C3380CC4-5D6E-409C-BE32-E72D297353CC}">
                <c16:uniqueId val="{000007E9-4B1F-42FD-9B84-37A75D366F36}"/>
              </c:ext>
            </c:extLst>
          </c:dPt>
          <c:dPt>
            <c:idx val="1012"/>
            <c:invertIfNegative val="1"/>
            <c:bubble3D val="0"/>
            <c:spPr>
              <a:solidFill>
                <a:srgbClr val="AEABAB"/>
              </a:solidFill>
            </c:spPr>
            <c:extLst>
              <c:ext xmlns:c16="http://schemas.microsoft.com/office/drawing/2014/chart" uri="{C3380CC4-5D6E-409C-BE32-E72D297353CC}">
                <c16:uniqueId val="{000007EB-4B1F-42FD-9B84-37A75D366F36}"/>
              </c:ext>
            </c:extLst>
          </c:dPt>
          <c:dPt>
            <c:idx val="1013"/>
            <c:invertIfNegative val="1"/>
            <c:bubble3D val="0"/>
            <c:spPr>
              <a:solidFill>
                <a:srgbClr val="AEABAB"/>
              </a:solidFill>
            </c:spPr>
            <c:extLst>
              <c:ext xmlns:c16="http://schemas.microsoft.com/office/drawing/2014/chart" uri="{C3380CC4-5D6E-409C-BE32-E72D297353CC}">
                <c16:uniqueId val="{000007ED-4B1F-42FD-9B84-37A75D366F36}"/>
              </c:ext>
            </c:extLst>
          </c:dPt>
          <c:dPt>
            <c:idx val="1014"/>
            <c:invertIfNegative val="1"/>
            <c:bubble3D val="0"/>
            <c:spPr>
              <a:solidFill>
                <a:srgbClr val="AEABAB"/>
              </a:solidFill>
            </c:spPr>
            <c:extLst>
              <c:ext xmlns:c16="http://schemas.microsoft.com/office/drawing/2014/chart" uri="{C3380CC4-5D6E-409C-BE32-E72D297353CC}">
                <c16:uniqueId val="{000007EF-4B1F-42FD-9B84-37A75D366F36}"/>
              </c:ext>
            </c:extLst>
          </c:dPt>
          <c:dPt>
            <c:idx val="1015"/>
            <c:invertIfNegative val="1"/>
            <c:bubble3D val="0"/>
            <c:spPr>
              <a:solidFill>
                <a:srgbClr val="AEABAB"/>
              </a:solidFill>
            </c:spPr>
            <c:extLst>
              <c:ext xmlns:c16="http://schemas.microsoft.com/office/drawing/2014/chart" uri="{C3380CC4-5D6E-409C-BE32-E72D297353CC}">
                <c16:uniqueId val="{000007F1-4B1F-42FD-9B84-37A75D366F36}"/>
              </c:ext>
            </c:extLst>
          </c:dPt>
          <c:dPt>
            <c:idx val="1016"/>
            <c:invertIfNegative val="1"/>
            <c:bubble3D val="0"/>
            <c:spPr>
              <a:solidFill>
                <a:srgbClr val="AEABAB"/>
              </a:solidFill>
            </c:spPr>
            <c:extLst>
              <c:ext xmlns:c16="http://schemas.microsoft.com/office/drawing/2014/chart" uri="{C3380CC4-5D6E-409C-BE32-E72D297353CC}">
                <c16:uniqueId val="{000007F3-4B1F-42FD-9B84-37A75D366F36}"/>
              </c:ext>
            </c:extLst>
          </c:dPt>
          <c:dPt>
            <c:idx val="1017"/>
            <c:invertIfNegative val="1"/>
            <c:bubble3D val="0"/>
            <c:spPr>
              <a:solidFill>
                <a:srgbClr val="AEABAB"/>
              </a:solidFill>
            </c:spPr>
            <c:extLst>
              <c:ext xmlns:c16="http://schemas.microsoft.com/office/drawing/2014/chart" uri="{C3380CC4-5D6E-409C-BE32-E72D297353CC}">
                <c16:uniqueId val="{000007F5-4B1F-42FD-9B84-37A75D366F36}"/>
              </c:ext>
            </c:extLst>
          </c:dPt>
          <c:dPt>
            <c:idx val="1018"/>
            <c:invertIfNegative val="1"/>
            <c:bubble3D val="0"/>
            <c:spPr>
              <a:solidFill>
                <a:srgbClr val="AEABAB"/>
              </a:solidFill>
            </c:spPr>
            <c:extLst>
              <c:ext xmlns:c16="http://schemas.microsoft.com/office/drawing/2014/chart" uri="{C3380CC4-5D6E-409C-BE32-E72D297353CC}">
                <c16:uniqueId val="{000007F7-4B1F-42FD-9B84-37A75D366F36}"/>
              </c:ext>
            </c:extLst>
          </c:dPt>
          <c:dPt>
            <c:idx val="1019"/>
            <c:invertIfNegative val="1"/>
            <c:bubble3D val="0"/>
            <c:spPr>
              <a:solidFill>
                <a:srgbClr val="AEABAB"/>
              </a:solidFill>
            </c:spPr>
            <c:extLst>
              <c:ext xmlns:c16="http://schemas.microsoft.com/office/drawing/2014/chart" uri="{C3380CC4-5D6E-409C-BE32-E72D297353CC}">
                <c16:uniqueId val="{000007F9-4B1F-42FD-9B84-37A75D366F36}"/>
              </c:ext>
            </c:extLst>
          </c:dPt>
          <c:dPt>
            <c:idx val="1020"/>
            <c:invertIfNegative val="1"/>
            <c:bubble3D val="0"/>
            <c:spPr>
              <a:solidFill>
                <a:srgbClr val="AEABAB"/>
              </a:solidFill>
            </c:spPr>
            <c:extLst>
              <c:ext xmlns:c16="http://schemas.microsoft.com/office/drawing/2014/chart" uri="{C3380CC4-5D6E-409C-BE32-E72D297353CC}">
                <c16:uniqueId val="{000007FB-4B1F-42FD-9B84-37A75D366F36}"/>
              </c:ext>
            </c:extLst>
          </c:dPt>
          <c:dPt>
            <c:idx val="1021"/>
            <c:invertIfNegative val="1"/>
            <c:bubble3D val="0"/>
            <c:spPr>
              <a:solidFill>
                <a:srgbClr val="AEABAB"/>
              </a:solidFill>
            </c:spPr>
            <c:extLst>
              <c:ext xmlns:c16="http://schemas.microsoft.com/office/drawing/2014/chart" uri="{C3380CC4-5D6E-409C-BE32-E72D297353CC}">
                <c16:uniqueId val="{000007FD-4B1F-42FD-9B84-37A75D366F36}"/>
              </c:ext>
            </c:extLst>
          </c:dPt>
          <c:dPt>
            <c:idx val="1022"/>
            <c:invertIfNegative val="1"/>
            <c:bubble3D val="0"/>
            <c:spPr>
              <a:solidFill>
                <a:srgbClr val="AEABAB"/>
              </a:solidFill>
            </c:spPr>
            <c:extLst>
              <c:ext xmlns:c16="http://schemas.microsoft.com/office/drawing/2014/chart" uri="{C3380CC4-5D6E-409C-BE32-E72D297353CC}">
                <c16:uniqueId val="{000007FF-4B1F-42FD-9B84-37A75D366F36}"/>
              </c:ext>
            </c:extLst>
          </c:dPt>
          <c:dPt>
            <c:idx val="1023"/>
            <c:invertIfNegative val="1"/>
            <c:bubble3D val="0"/>
            <c:spPr>
              <a:solidFill>
                <a:srgbClr val="AEABAB"/>
              </a:solidFill>
            </c:spPr>
            <c:extLst>
              <c:ext xmlns:c16="http://schemas.microsoft.com/office/drawing/2014/chart" uri="{C3380CC4-5D6E-409C-BE32-E72D297353CC}">
                <c16:uniqueId val="{00000801-4B1F-42FD-9B84-37A75D366F36}"/>
              </c:ext>
            </c:extLst>
          </c:dPt>
          <c:dPt>
            <c:idx val="1024"/>
            <c:invertIfNegative val="1"/>
            <c:bubble3D val="0"/>
            <c:spPr>
              <a:solidFill>
                <a:srgbClr val="AEABAB"/>
              </a:solidFill>
            </c:spPr>
            <c:extLst>
              <c:ext xmlns:c16="http://schemas.microsoft.com/office/drawing/2014/chart" uri="{C3380CC4-5D6E-409C-BE32-E72D297353CC}">
                <c16:uniqueId val="{00000803-4B1F-42FD-9B84-37A75D366F36}"/>
              </c:ext>
            </c:extLst>
          </c:dPt>
          <c:dPt>
            <c:idx val="1025"/>
            <c:invertIfNegative val="1"/>
            <c:bubble3D val="0"/>
            <c:spPr>
              <a:solidFill>
                <a:srgbClr val="AEABAB"/>
              </a:solidFill>
            </c:spPr>
            <c:extLst>
              <c:ext xmlns:c16="http://schemas.microsoft.com/office/drawing/2014/chart" uri="{C3380CC4-5D6E-409C-BE32-E72D297353CC}">
                <c16:uniqueId val="{00000805-4B1F-42FD-9B84-37A75D366F36}"/>
              </c:ext>
            </c:extLst>
          </c:dPt>
          <c:dPt>
            <c:idx val="1026"/>
            <c:invertIfNegative val="1"/>
            <c:bubble3D val="0"/>
            <c:spPr>
              <a:solidFill>
                <a:srgbClr val="AEABAB"/>
              </a:solidFill>
            </c:spPr>
            <c:extLst>
              <c:ext xmlns:c16="http://schemas.microsoft.com/office/drawing/2014/chart" uri="{C3380CC4-5D6E-409C-BE32-E72D297353CC}">
                <c16:uniqueId val="{00000807-4B1F-42FD-9B84-37A75D366F36}"/>
              </c:ext>
            </c:extLst>
          </c:dPt>
          <c:dPt>
            <c:idx val="1027"/>
            <c:invertIfNegative val="1"/>
            <c:bubble3D val="0"/>
            <c:spPr>
              <a:solidFill>
                <a:srgbClr val="AEABAB"/>
              </a:solidFill>
            </c:spPr>
            <c:extLst>
              <c:ext xmlns:c16="http://schemas.microsoft.com/office/drawing/2014/chart" uri="{C3380CC4-5D6E-409C-BE32-E72D297353CC}">
                <c16:uniqueId val="{00000809-4B1F-42FD-9B84-37A75D366F36}"/>
              </c:ext>
            </c:extLst>
          </c:dPt>
          <c:dPt>
            <c:idx val="1028"/>
            <c:invertIfNegative val="1"/>
            <c:bubble3D val="0"/>
            <c:spPr>
              <a:solidFill>
                <a:srgbClr val="AEABAB"/>
              </a:solidFill>
            </c:spPr>
            <c:extLst>
              <c:ext xmlns:c16="http://schemas.microsoft.com/office/drawing/2014/chart" uri="{C3380CC4-5D6E-409C-BE32-E72D297353CC}">
                <c16:uniqueId val="{0000080B-4B1F-42FD-9B84-37A75D366F36}"/>
              </c:ext>
            </c:extLst>
          </c:dPt>
          <c:dPt>
            <c:idx val="1029"/>
            <c:invertIfNegative val="1"/>
            <c:bubble3D val="0"/>
            <c:spPr>
              <a:solidFill>
                <a:srgbClr val="AEABAB"/>
              </a:solidFill>
            </c:spPr>
            <c:extLst>
              <c:ext xmlns:c16="http://schemas.microsoft.com/office/drawing/2014/chart" uri="{C3380CC4-5D6E-409C-BE32-E72D297353CC}">
                <c16:uniqueId val="{0000080D-4B1F-42FD-9B84-37A75D366F36}"/>
              </c:ext>
            </c:extLst>
          </c:dPt>
          <c:dPt>
            <c:idx val="1030"/>
            <c:invertIfNegative val="1"/>
            <c:bubble3D val="0"/>
            <c:spPr>
              <a:solidFill>
                <a:srgbClr val="AEABAB"/>
              </a:solidFill>
            </c:spPr>
            <c:extLst>
              <c:ext xmlns:c16="http://schemas.microsoft.com/office/drawing/2014/chart" uri="{C3380CC4-5D6E-409C-BE32-E72D297353CC}">
                <c16:uniqueId val="{0000080F-4B1F-42FD-9B84-37A75D366F36}"/>
              </c:ext>
            </c:extLst>
          </c:dPt>
          <c:dPt>
            <c:idx val="1031"/>
            <c:invertIfNegative val="1"/>
            <c:bubble3D val="0"/>
            <c:spPr>
              <a:solidFill>
                <a:srgbClr val="AEABAB"/>
              </a:solidFill>
            </c:spPr>
            <c:extLst>
              <c:ext xmlns:c16="http://schemas.microsoft.com/office/drawing/2014/chart" uri="{C3380CC4-5D6E-409C-BE32-E72D297353CC}">
                <c16:uniqueId val="{00000811-4B1F-42FD-9B84-37A75D366F36}"/>
              </c:ext>
            </c:extLst>
          </c:dPt>
          <c:dPt>
            <c:idx val="1032"/>
            <c:invertIfNegative val="1"/>
            <c:bubble3D val="0"/>
            <c:spPr>
              <a:solidFill>
                <a:srgbClr val="AEABAB"/>
              </a:solidFill>
            </c:spPr>
            <c:extLst>
              <c:ext xmlns:c16="http://schemas.microsoft.com/office/drawing/2014/chart" uri="{C3380CC4-5D6E-409C-BE32-E72D297353CC}">
                <c16:uniqueId val="{00000813-4B1F-42FD-9B84-37A75D366F36}"/>
              </c:ext>
            </c:extLst>
          </c:dPt>
          <c:dPt>
            <c:idx val="1033"/>
            <c:invertIfNegative val="1"/>
            <c:bubble3D val="0"/>
            <c:spPr>
              <a:solidFill>
                <a:srgbClr val="AEABAB"/>
              </a:solidFill>
            </c:spPr>
            <c:extLst>
              <c:ext xmlns:c16="http://schemas.microsoft.com/office/drawing/2014/chart" uri="{C3380CC4-5D6E-409C-BE32-E72D297353CC}">
                <c16:uniqueId val="{00000815-4B1F-42FD-9B84-37A75D366F36}"/>
              </c:ext>
            </c:extLst>
          </c:dPt>
          <c:dPt>
            <c:idx val="1034"/>
            <c:invertIfNegative val="1"/>
            <c:bubble3D val="0"/>
            <c:spPr>
              <a:solidFill>
                <a:srgbClr val="AEABAB"/>
              </a:solidFill>
            </c:spPr>
            <c:extLst>
              <c:ext xmlns:c16="http://schemas.microsoft.com/office/drawing/2014/chart" uri="{C3380CC4-5D6E-409C-BE32-E72D297353CC}">
                <c16:uniqueId val="{00000817-4B1F-42FD-9B84-37A75D366F36}"/>
              </c:ext>
            </c:extLst>
          </c:dPt>
          <c:dPt>
            <c:idx val="1035"/>
            <c:invertIfNegative val="1"/>
            <c:bubble3D val="0"/>
            <c:spPr>
              <a:solidFill>
                <a:srgbClr val="AEABAB"/>
              </a:solidFill>
            </c:spPr>
            <c:extLst>
              <c:ext xmlns:c16="http://schemas.microsoft.com/office/drawing/2014/chart" uri="{C3380CC4-5D6E-409C-BE32-E72D297353CC}">
                <c16:uniqueId val="{00000819-4B1F-42FD-9B84-37A75D366F36}"/>
              </c:ext>
            </c:extLst>
          </c:dPt>
          <c:dPt>
            <c:idx val="1036"/>
            <c:invertIfNegative val="1"/>
            <c:bubble3D val="0"/>
            <c:spPr>
              <a:solidFill>
                <a:srgbClr val="AEABAB"/>
              </a:solidFill>
            </c:spPr>
            <c:extLst>
              <c:ext xmlns:c16="http://schemas.microsoft.com/office/drawing/2014/chart" uri="{C3380CC4-5D6E-409C-BE32-E72D297353CC}">
                <c16:uniqueId val="{0000081B-4B1F-42FD-9B84-37A75D366F36}"/>
              </c:ext>
            </c:extLst>
          </c:dPt>
          <c:dPt>
            <c:idx val="1037"/>
            <c:invertIfNegative val="1"/>
            <c:bubble3D val="0"/>
            <c:spPr>
              <a:solidFill>
                <a:srgbClr val="AEABAB"/>
              </a:solidFill>
            </c:spPr>
            <c:extLst>
              <c:ext xmlns:c16="http://schemas.microsoft.com/office/drawing/2014/chart" uri="{C3380CC4-5D6E-409C-BE32-E72D297353CC}">
                <c16:uniqueId val="{0000081D-4B1F-42FD-9B84-37A75D366F36}"/>
              </c:ext>
            </c:extLst>
          </c:dPt>
          <c:dPt>
            <c:idx val="1038"/>
            <c:invertIfNegative val="1"/>
            <c:bubble3D val="0"/>
            <c:spPr>
              <a:solidFill>
                <a:srgbClr val="AEABAB"/>
              </a:solidFill>
            </c:spPr>
            <c:extLst>
              <c:ext xmlns:c16="http://schemas.microsoft.com/office/drawing/2014/chart" uri="{C3380CC4-5D6E-409C-BE32-E72D297353CC}">
                <c16:uniqueId val="{0000081F-4B1F-42FD-9B84-37A75D366F36}"/>
              </c:ext>
            </c:extLst>
          </c:dPt>
          <c:dPt>
            <c:idx val="1039"/>
            <c:invertIfNegative val="1"/>
            <c:bubble3D val="0"/>
            <c:spPr>
              <a:solidFill>
                <a:srgbClr val="AEABAB"/>
              </a:solidFill>
            </c:spPr>
            <c:extLst>
              <c:ext xmlns:c16="http://schemas.microsoft.com/office/drawing/2014/chart" uri="{C3380CC4-5D6E-409C-BE32-E72D297353CC}">
                <c16:uniqueId val="{00000821-4B1F-42FD-9B84-37A75D366F36}"/>
              </c:ext>
            </c:extLst>
          </c:dPt>
          <c:dPt>
            <c:idx val="1040"/>
            <c:invertIfNegative val="1"/>
            <c:bubble3D val="0"/>
            <c:spPr>
              <a:solidFill>
                <a:srgbClr val="AEABAB"/>
              </a:solidFill>
            </c:spPr>
            <c:extLst>
              <c:ext xmlns:c16="http://schemas.microsoft.com/office/drawing/2014/chart" uri="{C3380CC4-5D6E-409C-BE32-E72D297353CC}">
                <c16:uniqueId val="{00000823-4B1F-42FD-9B84-37A75D366F36}"/>
              </c:ext>
            </c:extLst>
          </c:dPt>
          <c:dPt>
            <c:idx val="1041"/>
            <c:invertIfNegative val="1"/>
            <c:bubble3D val="0"/>
            <c:spPr>
              <a:solidFill>
                <a:srgbClr val="AEABAB"/>
              </a:solidFill>
            </c:spPr>
            <c:extLst>
              <c:ext xmlns:c16="http://schemas.microsoft.com/office/drawing/2014/chart" uri="{C3380CC4-5D6E-409C-BE32-E72D297353CC}">
                <c16:uniqueId val="{00000825-4B1F-42FD-9B84-37A75D366F36}"/>
              </c:ext>
            </c:extLst>
          </c:dPt>
          <c:dPt>
            <c:idx val="1042"/>
            <c:invertIfNegative val="1"/>
            <c:bubble3D val="0"/>
            <c:spPr>
              <a:solidFill>
                <a:srgbClr val="AEABAB"/>
              </a:solidFill>
            </c:spPr>
            <c:extLst>
              <c:ext xmlns:c16="http://schemas.microsoft.com/office/drawing/2014/chart" uri="{C3380CC4-5D6E-409C-BE32-E72D297353CC}">
                <c16:uniqueId val="{00000827-4B1F-42FD-9B84-37A75D366F36}"/>
              </c:ext>
            </c:extLst>
          </c:dPt>
          <c:dPt>
            <c:idx val="1043"/>
            <c:invertIfNegative val="1"/>
            <c:bubble3D val="0"/>
            <c:spPr>
              <a:solidFill>
                <a:srgbClr val="AEABAB"/>
              </a:solidFill>
            </c:spPr>
            <c:extLst>
              <c:ext xmlns:c16="http://schemas.microsoft.com/office/drawing/2014/chart" uri="{C3380CC4-5D6E-409C-BE32-E72D297353CC}">
                <c16:uniqueId val="{00000829-4B1F-42FD-9B84-37A75D366F36}"/>
              </c:ext>
            </c:extLst>
          </c:dPt>
          <c:dPt>
            <c:idx val="1044"/>
            <c:invertIfNegative val="1"/>
            <c:bubble3D val="0"/>
            <c:spPr>
              <a:solidFill>
                <a:srgbClr val="AEABAB"/>
              </a:solidFill>
            </c:spPr>
            <c:extLst>
              <c:ext xmlns:c16="http://schemas.microsoft.com/office/drawing/2014/chart" uri="{C3380CC4-5D6E-409C-BE32-E72D297353CC}">
                <c16:uniqueId val="{0000082B-4B1F-42FD-9B84-37A75D366F36}"/>
              </c:ext>
            </c:extLst>
          </c:dPt>
          <c:dPt>
            <c:idx val="1045"/>
            <c:invertIfNegative val="1"/>
            <c:bubble3D val="0"/>
            <c:spPr>
              <a:solidFill>
                <a:srgbClr val="AEABAB"/>
              </a:solidFill>
            </c:spPr>
            <c:extLst>
              <c:ext xmlns:c16="http://schemas.microsoft.com/office/drawing/2014/chart" uri="{C3380CC4-5D6E-409C-BE32-E72D297353CC}">
                <c16:uniqueId val="{0000082D-4B1F-42FD-9B84-37A75D366F36}"/>
              </c:ext>
            </c:extLst>
          </c:dPt>
          <c:dPt>
            <c:idx val="1046"/>
            <c:invertIfNegative val="1"/>
            <c:bubble3D val="0"/>
            <c:spPr>
              <a:solidFill>
                <a:srgbClr val="AEABAB"/>
              </a:solidFill>
            </c:spPr>
            <c:extLst>
              <c:ext xmlns:c16="http://schemas.microsoft.com/office/drawing/2014/chart" uri="{C3380CC4-5D6E-409C-BE32-E72D297353CC}">
                <c16:uniqueId val="{0000082F-4B1F-42FD-9B84-37A75D366F36}"/>
              </c:ext>
            </c:extLst>
          </c:dPt>
          <c:dPt>
            <c:idx val="1047"/>
            <c:invertIfNegative val="1"/>
            <c:bubble3D val="0"/>
            <c:spPr>
              <a:solidFill>
                <a:srgbClr val="AEABAB"/>
              </a:solidFill>
            </c:spPr>
            <c:extLst>
              <c:ext xmlns:c16="http://schemas.microsoft.com/office/drawing/2014/chart" uri="{C3380CC4-5D6E-409C-BE32-E72D297353CC}">
                <c16:uniqueId val="{00000831-4B1F-42FD-9B84-37A75D366F36}"/>
              </c:ext>
            </c:extLst>
          </c:dPt>
          <c:dPt>
            <c:idx val="1048"/>
            <c:invertIfNegative val="1"/>
            <c:bubble3D val="0"/>
            <c:spPr>
              <a:solidFill>
                <a:srgbClr val="AEABAB"/>
              </a:solidFill>
            </c:spPr>
            <c:extLst>
              <c:ext xmlns:c16="http://schemas.microsoft.com/office/drawing/2014/chart" uri="{C3380CC4-5D6E-409C-BE32-E72D297353CC}">
                <c16:uniqueId val="{00000833-4B1F-42FD-9B84-37A75D366F36}"/>
              </c:ext>
            </c:extLst>
          </c:dPt>
          <c:dPt>
            <c:idx val="1049"/>
            <c:invertIfNegative val="1"/>
            <c:bubble3D val="0"/>
            <c:spPr>
              <a:solidFill>
                <a:srgbClr val="AEABAB"/>
              </a:solidFill>
            </c:spPr>
            <c:extLst>
              <c:ext xmlns:c16="http://schemas.microsoft.com/office/drawing/2014/chart" uri="{C3380CC4-5D6E-409C-BE32-E72D297353CC}">
                <c16:uniqueId val="{00000835-4B1F-42FD-9B84-37A75D366F36}"/>
              </c:ext>
            </c:extLst>
          </c:dPt>
          <c:dPt>
            <c:idx val="1050"/>
            <c:invertIfNegative val="1"/>
            <c:bubble3D val="0"/>
            <c:spPr>
              <a:solidFill>
                <a:srgbClr val="AEABAB"/>
              </a:solidFill>
            </c:spPr>
            <c:extLst>
              <c:ext xmlns:c16="http://schemas.microsoft.com/office/drawing/2014/chart" uri="{C3380CC4-5D6E-409C-BE32-E72D297353CC}">
                <c16:uniqueId val="{00000837-4B1F-42FD-9B84-37A75D366F36}"/>
              </c:ext>
            </c:extLst>
          </c:dPt>
          <c:dPt>
            <c:idx val="1051"/>
            <c:invertIfNegative val="1"/>
            <c:bubble3D val="0"/>
            <c:spPr>
              <a:solidFill>
                <a:srgbClr val="AEABAB"/>
              </a:solidFill>
            </c:spPr>
            <c:extLst>
              <c:ext xmlns:c16="http://schemas.microsoft.com/office/drawing/2014/chart" uri="{C3380CC4-5D6E-409C-BE32-E72D297353CC}">
                <c16:uniqueId val="{00000839-4B1F-42FD-9B84-37A75D366F36}"/>
              </c:ext>
            </c:extLst>
          </c:dPt>
          <c:dPt>
            <c:idx val="1052"/>
            <c:invertIfNegative val="1"/>
            <c:bubble3D val="0"/>
            <c:spPr>
              <a:solidFill>
                <a:srgbClr val="AEABAB"/>
              </a:solidFill>
            </c:spPr>
            <c:extLst>
              <c:ext xmlns:c16="http://schemas.microsoft.com/office/drawing/2014/chart" uri="{C3380CC4-5D6E-409C-BE32-E72D297353CC}">
                <c16:uniqueId val="{0000083B-4B1F-42FD-9B84-37A75D366F36}"/>
              </c:ext>
            </c:extLst>
          </c:dPt>
          <c:dPt>
            <c:idx val="1053"/>
            <c:invertIfNegative val="1"/>
            <c:bubble3D val="0"/>
            <c:spPr>
              <a:solidFill>
                <a:srgbClr val="AEABAB"/>
              </a:solidFill>
            </c:spPr>
            <c:extLst>
              <c:ext xmlns:c16="http://schemas.microsoft.com/office/drawing/2014/chart" uri="{C3380CC4-5D6E-409C-BE32-E72D297353CC}">
                <c16:uniqueId val="{0000083D-4B1F-42FD-9B84-37A75D366F36}"/>
              </c:ext>
            </c:extLst>
          </c:dPt>
          <c:dPt>
            <c:idx val="1054"/>
            <c:invertIfNegative val="1"/>
            <c:bubble3D val="0"/>
            <c:spPr>
              <a:solidFill>
                <a:srgbClr val="AEABAB"/>
              </a:solidFill>
            </c:spPr>
            <c:extLst>
              <c:ext xmlns:c16="http://schemas.microsoft.com/office/drawing/2014/chart" uri="{C3380CC4-5D6E-409C-BE32-E72D297353CC}">
                <c16:uniqueId val="{0000083F-4B1F-42FD-9B84-37A75D366F36}"/>
              </c:ext>
            </c:extLst>
          </c:dPt>
          <c:dPt>
            <c:idx val="1055"/>
            <c:invertIfNegative val="1"/>
            <c:bubble3D val="0"/>
            <c:spPr>
              <a:solidFill>
                <a:srgbClr val="AEABAB"/>
              </a:solidFill>
            </c:spPr>
            <c:extLst>
              <c:ext xmlns:c16="http://schemas.microsoft.com/office/drawing/2014/chart" uri="{C3380CC4-5D6E-409C-BE32-E72D297353CC}">
                <c16:uniqueId val="{00000841-4B1F-42FD-9B84-37A75D366F36}"/>
              </c:ext>
            </c:extLst>
          </c:dPt>
          <c:dPt>
            <c:idx val="1056"/>
            <c:invertIfNegative val="1"/>
            <c:bubble3D val="0"/>
            <c:spPr>
              <a:solidFill>
                <a:srgbClr val="AEABAB"/>
              </a:solidFill>
            </c:spPr>
            <c:extLst>
              <c:ext xmlns:c16="http://schemas.microsoft.com/office/drawing/2014/chart" uri="{C3380CC4-5D6E-409C-BE32-E72D297353CC}">
                <c16:uniqueId val="{00000843-4B1F-42FD-9B84-37A75D366F36}"/>
              </c:ext>
            </c:extLst>
          </c:dPt>
          <c:dPt>
            <c:idx val="1057"/>
            <c:invertIfNegative val="1"/>
            <c:bubble3D val="0"/>
            <c:spPr>
              <a:solidFill>
                <a:srgbClr val="AEABAB"/>
              </a:solidFill>
            </c:spPr>
            <c:extLst>
              <c:ext xmlns:c16="http://schemas.microsoft.com/office/drawing/2014/chart" uri="{C3380CC4-5D6E-409C-BE32-E72D297353CC}">
                <c16:uniqueId val="{00000845-4B1F-42FD-9B84-37A75D366F36}"/>
              </c:ext>
            </c:extLst>
          </c:dPt>
          <c:dPt>
            <c:idx val="1058"/>
            <c:invertIfNegative val="1"/>
            <c:bubble3D val="0"/>
            <c:spPr>
              <a:solidFill>
                <a:srgbClr val="AEABAB"/>
              </a:solidFill>
            </c:spPr>
            <c:extLst>
              <c:ext xmlns:c16="http://schemas.microsoft.com/office/drawing/2014/chart" uri="{C3380CC4-5D6E-409C-BE32-E72D297353CC}">
                <c16:uniqueId val="{00000847-4B1F-42FD-9B84-37A75D366F36}"/>
              </c:ext>
            </c:extLst>
          </c:dPt>
          <c:dPt>
            <c:idx val="1059"/>
            <c:invertIfNegative val="1"/>
            <c:bubble3D val="0"/>
            <c:spPr>
              <a:solidFill>
                <a:srgbClr val="AEABAB"/>
              </a:solidFill>
            </c:spPr>
            <c:extLst>
              <c:ext xmlns:c16="http://schemas.microsoft.com/office/drawing/2014/chart" uri="{C3380CC4-5D6E-409C-BE32-E72D297353CC}">
                <c16:uniqueId val="{00000849-4B1F-42FD-9B84-37A75D366F36}"/>
              </c:ext>
            </c:extLst>
          </c:dPt>
          <c:dPt>
            <c:idx val="1060"/>
            <c:invertIfNegative val="1"/>
            <c:bubble3D val="0"/>
            <c:spPr>
              <a:solidFill>
                <a:srgbClr val="AEABAB"/>
              </a:solidFill>
            </c:spPr>
            <c:extLst>
              <c:ext xmlns:c16="http://schemas.microsoft.com/office/drawing/2014/chart" uri="{C3380CC4-5D6E-409C-BE32-E72D297353CC}">
                <c16:uniqueId val="{0000084B-4B1F-42FD-9B84-37A75D366F36}"/>
              </c:ext>
            </c:extLst>
          </c:dPt>
          <c:dPt>
            <c:idx val="1061"/>
            <c:invertIfNegative val="1"/>
            <c:bubble3D val="0"/>
            <c:spPr>
              <a:solidFill>
                <a:srgbClr val="AEABAB"/>
              </a:solidFill>
            </c:spPr>
            <c:extLst>
              <c:ext xmlns:c16="http://schemas.microsoft.com/office/drawing/2014/chart" uri="{C3380CC4-5D6E-409C-BE32-E72D297353CC}">
                <c16:uniqueId val="{0000084D-4B1F-42FD-9B84-37A75D366F36}"/>
              </c:ext>
            </c:extLst>
          </c:dPt>
          <c:dPt>
            <c:idx val="1062"/>
            <c:invertIfNegative val="1"/>
            <c:bubble3D val="0"/>
            <c:spPr>
              <a:solidFill>
                <a:srgbClr val="AEABAB"/>
              </a:solidFill>
            </c:spPr>
            <c:extLst>
              <c:ext xmlns:c16="http://schemas.microsoft.com/office/drawing/2014/chart" uri="{C3380CC4-5D6E-409C-BE32-E72D297353CC}">
                <c16:uniqueId val="{0000084F-4B1F-42FD-9B84-37A75D366F36}"/>
              </c:ext>
            </c:extLst>
          </c:dPt>
          <c:dPt>
            <c:idx val="1063"/>
            <c:invertIfNegative val="1"/>
            <c:bubble3D val="0"/>
            <c:spPr>
              <a:solidFill>
                <a:srgbClr val="AEABAB"/>
              </a:solidFill>
            </c:spPr>
            <c:extLst>
              <c:ext xmlns:c16="http://schemas.microsoft.com/office/drawing/2014/chart" uri="{C3380CC4-5D6E-409C-BE32-E72D297353CC}">
                <c16:uniqueId val="{00000851-4B1F-42FD-9B84-37A75D366F36}"/>
              </c:ext>
            </c:extLst>
          </c:dPt>
          <c:dPt>
            <c:idx val="1064"/>
            <c:invertIfNegative val="1"/>
            <c:bubble3D val="0"/>
            <c:spPr>
              <a:solidFill>
                <a:srgbClr val="AEABAB"/>
              </a:solidFill>
            </c:spPr>
            <c:extLst>
              <c:ext xmlns:c16="http://schemas.microsoft.com/office/drawing/2014/chart" uri="{C3380CC4-5D6E-409C-BE32-E72D297353CC}">
                <c16:uniqueId val="{00000853-4B1F-42FD-9B84-37A75D366F36}"/>
              </c:ext>
            </c:extLst>
          </c:dPt>
          <c:dPt>
            <c:idx val="1065"/>
            <c:invertIfNegative val="1"/>
            <c:bubble3D val="0"/>
            <c:spPr>
              <a:solidFill>
                <a:srgbClr val="AEABAB"/>
              </a:solidFill>
            </c:spPr>
            <c:extLst>
              <c:ext xmlns:c16="http://schemas.microsoft.com/office/drawing/2014/chart" uri="{C3380CC4-5D6E-409C-BE32-E72D297353CC}">
                <c16:uniqueId val="{00000855-4B1F-42FD-9B84-37A75D366F36}"/>
              </c:ext>
            </c:extLst>
          </c:dPt>
          <c:dPt>
            <c:idx val="1066"/>
            <c:invertIfNegative val="1"/>
            <c:bubble3D val="0"/>
            <c:spPr>
              <a:solidFill>
                <a:srgbClr val="AEABAB"/>
              </a:solidFill>
            </c:spPr>
            <c:extLst>
              <c:ext xmlns:c16="http://schemas.microsoft.com/office/drawing/2014/chart" uri="{C3380CC4-5D6E-409C-BE32-E72D297353CC}">
                <c16:uniqueId val="{00000857-4B1F-42FD-9B84-37A75D366F36}"/>
              </c:ext>
            </c:extLst>
          </c:dPt>
          <c:dPt>
            <c:idx val="1067"/>
            <c:invertIfNegative val="1"/>
            <c:bubble3D val="0"/>
            <c:spPr>
              <a:solidFill>
                <a:srgbClr val="AEABAB"/>
              </a:solidFill>
            </c:spPr>
            <c:extLst>
              <c:ext xmlns:c16="http://schemas.microsoft.com/office/drawing/2014/chart" uri="{C3380CC4-5D6E-409C-BE32-E72D297353CC}">
                <c16:uniqueId val="{00000859-4B1F-42FD-9B84-37A75D366F36}"/>
              </c:ext>
            </c:extLst>
          </c:dPt>
          <c:dPt>
            <c:idx val="1068"/>
            <c:invertIfNegative val="1"/>
            <c:bubble3D val="0"/>
            <c:spPr>
              <a:solidFill>
                <a:srgbClr val="AEABAB"/>
              </a:solidFill>
            </c:spPr>
            <c:extLst>
              <c:ext xmlns:c16="http://schemas.microsoft.com/office/drawing/2014/chart" uri="{C3380CC4-5D6E-409C-BE32-E72D297353CC}">
                <c16:uniqueId val="{0000085B-4B1F-42FD-9B84-37A75D366F36}"/>
              </c:ext>
            </c:extLst>
          </c:dPt>
          <c:dPt>
            <c:idx val="1069"/>
            <c:invertIfNegative val="1"/>
            <c:bubble3D val="0"/>
            <c:spPr>
              <a:solidFill>
                <a:srgbClr val="AEABAB"/>
              </a:solidFill>
            </c:spPr>
            <c:extLst>
              <c:ext xmlns:c16="http://schemas.microsoft.com/office/drawing/2014/chart" uri="{C3380CC4-5D6E-409C-BE32-E72D297353CC}">
                <c16:uniqueId val="{0000085D-4B1F-42FD-9B84-37A75D366F36}"/>
              </c:ext>
            </c:extLst>
          </c:dPt>
          <c:dPt>
            <c:idx val="1070"/>
            <c:invertIfNegative val="1"/>
            <c:bubble3D val="0"/>
            <c:spPr>
              <a:solidFill>
                <a:srgbClr val="AEABAB"/>
              </a:solidFill>
            </c:spPr>
            <c:extLst>
              <c:ext xmlns:c16="http://schemas.microsoft.com/office/drawing/2014/chart" uri="{C3380CC4-5D6E-409C-BE32-E72D297353CC}">
                <c16:uniqueId val="{0000085F-4B1F-42FD-9B84-37A75D366F36}"/>
              </c:ext>
            </c:extLst>
          </c:dPt>
          <c:dPt>
            <c:idx val="1071"/>
            <c:invertIfNegative val="1"/>
            <c:bubble3D val="0"/>
            <c:spPr>
              <a:solidFill>
                <a:srgbClr val="AEABAB"/>
              </a:solidFill>
            </c:spPr>
            <c:extLst>
              <c:ext xmlns:c16="http://schemas.microsoft.com/office/drawing/2014/chart" uri="{C3380CC4-5D6E-409C-BE32-E72D297353CC}">
                <c16:uniqueId val="{00000861-4B1F-42FD-9B84-37A75D366F36}"/>
              </c:ext>
            </c:extLst>
          </c:dPt>
          <c:dPt>
            <c:idx val="1072"/>
            <c:invertIfNegative val="1"/>
            <c:bubble3D val="0"/>
            <c:spPr>
              <a:solidFill>
                <a:srgbClr val="AEABAB"/>
              </a:solidFill>
            </c:spPr>
            <c:extLst>
              <c:ext xmlns:c16="http://schemas.microsoft.com/office/drawing/2014/chart" uri="{C3380CC4-5D6E-409C-BE32-E72D297353CC}">
                <c16:uniqueId val="{00000863-4B1F-42FD-9B84-37A75D366F36}"/>
              </c:ext>
            </c:extLst>
          </c:dPt>
          <c:dPt>
            <c:idx val="1073"/>
            <c:invertIfNegative val="1"/>
            <c:bubble3D val="0"/>
            <c:spPr>
              <a:solidFill>
                <a:srgbClr val="AEABAB"/>
              </a:solidFill>
            </c:spPr>
            <c:extLst>
              <c:ext xmlns:c16="http://schemas.microsoft.com/office/drawing/2014/chart" uri="{C3380CC4-5D6E-409C-BE32-E72D297353CC}">
                <c16:uniqueId val="{00000865-4B1F-42FD-9B84-37A75D366F36}"/>
              </c:ext>
            </c:extLst>
          </c:dPt>
          <c:dPt>
            <c:idx val="1074"/>
            <c:invertIfNegative val="1"/>
            <c:bubble3D val="0"/>
            <c:spPr>
              <a:solidFill>
                <a:srgbClr val="AEABAB"/>
              </a:solidFill>
            </c:spPr>
            <c:extLst>
              <c:ext xmlns:c16="http://schemas.microsoft.com/office/drawing/2014/chart" uri="{C3380CC4-5D6E-409C-BE32-E72D297353CC}">
                <c16:uniqueId val="{00000867-4B1F-42FD-9B84-37A75D366F36}"/>
              </c:ext>
            </c:extLst>
          </c:dPt>
          <c:dPt>
            <c:idx val="1075"/>
            <c:invertIfNegative val="1"/>
            <c:bubble3D val="0"/>
            <c:spPr>
              <a:solidFill>
                <a:srgbClr val="AEABAB"/>
              </a:solidFill>
            </c:spPr>
            <c:extLst>
              <c:ext xmlns:c16="http://schemas.microsoft.com/office/drawing/2014/chart" uri="{C3380CC4-5D6E-409C-BE32-E72D297353CC}">
                <c16:uniqueId val="{00000869-4B1F-42FD-9B84-37A75D366F36}"/>
              </c:ext>
            </c:extLst>
          </c:dPt>
          <c:dPt>
            <c:idx val="1076"/>
            <c:invertIfNegative val="1"/>
            <c:bubble3D val="0"/>
            <c:spPr>
              <a:solidFill>
                <a:srgbClr val="AEABAB"/>
              </a:solidFill>
            </c:spPr>
            <c:extLst>
              <c:ext xmlns:c16="http://schemas.microsoft.com/office/drawing/2014/chart" uri="{C3380CC4-5D6E-409C-BE32-E72D297353CC}">
                <c16:uniqueId val="{0000086B-4B1F-42FD-9B84-37A75D366F36}"/>
              </c:ext>
            </c:extLst>
          </c:dPt>
          <c:dPt>
            <c:idx val="1077"/>
            <c:invertIfNegative val="1"/>
            <c:bubble3D val="0"/>
            <c:spPr>
              <a:solidFill>
                <a:srgbClr val="AEABAB"/>
              </a:solidFill>
            </c:spPr>
            <c:extLst>
              <c:ext xmlns:c16="http://schemas.microsoft.com/office/drawing/2014/chart" uri="{C3380CC4-5D6E-409C-BE32-E72D297353CC}">
                <c16:uniqueId val="{0000086D-4B1F-42FD-9B84-37A75D366F36}"/>
              </c:ext>
            </c:extLst>
          </c:dPt>
          <c:dPt>
            <c:idx val="1078"/>
            <c:invertIfNegative val="1"/>
            <c:bubble3D val="0"/>
            <c:spPr>
              <a:solidFill>
                <a:srgbClr val="AEABAB"/>
              </a:solidFill>
            </c:spPr>
            <c:extLst>
              <c:ext xmlns:c16="http://schemas.microsoft.com/office/drawing/2014/chart" uri="{C3380CC4-5D6E-409C-BE32-E72D297353CC}">
                <c16:uniqueId val="{0000086F-4B1F-42FD-9B84-37A75D366F36}"/>
              </c:ext>
            </c:extLst>
          </c:dPt>
          <c:dPt>
            <c:idx val="1079"/>
            <c:invertIfNegative val="1"/>
            <c:bubble3D val="0"/>
            <c:spPr>
              <a:solidFill>
                <a:srgbClr val="AEABAB"/>
              </a:solidFill>
            </c:spPr>
            <c:extLst>
              <c:ext xmlns:c16="http://schemas.microsoft.com/office/drawing/2014/chart" uri="{C3380CC4-5D6E-409C-BE32-E72D297353CC}">
                <c16:uniqueId val="{00000871-4B1F-42FD-9B84-37A75D366F36}"/>
              </c:ext>
            </c:extLst>
          </c:dPt>
          <c:dPt>
            <c:idx val="1080"/>
            <c:invertIfNegative val="1"/>
            <c:bubble3D val="0"/>
            <c:spPr>
              <a:solidFill>
                <a:srgbClr val="AEABAB"/>
              </a:solidFill>
            </c:spPr>
            <c:extLst>
              <c:ext xmlns:c16="http://schemas.microsoft.com/office/drawing/2014/chart" uri="{C3380CC4-5D6E-409C-BE32-E72D297353CC}">
                <c16:uniqueId val="{00000873-4B1F-42FD-9B84-37A75D366F36}"/>
              </c:ext>
            </c:extLst>
          </c:dPt>
          <c:dPt>
            <c:idx val="1081"/>
            <c:invertIfNegative val="1"/>
            <c:bubble3D val="0"/>
            <c:spPr>
              <a:solidFill>
                <a:srgbClr val="AEABAB"/>
              </a:solidFill>
            </c:spPr>
            <c:extLst>
              <c:ext xmlns:c16="http://schemas.microsoft.com/office/drawing/2014/chart" uri="{C3380CC4-5D6E-409C-BE32-E72D297353CC}">
                <c16:uniqueId val="{00000875-4B1F-42FD-9B84-37A75D366F36}"/>
              </c:ext>
            </c:extLst>
          </c:dPt>
          <c:dPt>
            <c:idx val="1082"/>
            <c:invertIfNegative val="1"/>
            <c:bubble3D val="0"/>
            <c:spPr>
              <a:solidFill>
                <a:srgbClr val="AEABAB"/>
              </a:solidFill>
            </c:spPr>
            <c:extLst>
              <c:ext xmlns:c16="http://schemas.microsoft.com/office/drawing/2014/chart" uri="{C3380CC4-5D6E-409C-BE32-E72D297353CC}">
                <c16:uniqueId val="{00000877-4B1F-42FD-9B84-37A75D366F36}"/>
              </c:ext>
            </c:extLst>
          </c:dPt>
          <c:dPt>
            <c:idx val="1083"/>
            <c:invertIfNegative val="1"/>
            <c:bubble3D val="0"/>
            <c:spPr>
              <a:solidFill>
                <a:srgbClr val="AEABAB"/>
              </a:solidFill>
            </c:spPr>
            <c:extLst>
              <c:ext xmlns:c16="http://schemas.microsoft.com/office/drawing/2014/chart" uri="{C3380CC4-5D6E-409C-BE32-E72D297353CC}">
                <c16:uniqueId val="{00000879-4B1F-42FD-9B84-37A75D366F36}"/>
              </c:ext>
            </c:extLst>
          </c:dPt>
          <c:dPt>
            <c:idx val="1084"/>
            <c:invertIfNegative val="1"/>
            <c:bubble3D val="0"/>
            <c:spPr>
              <a:solidFill>
                <a:srgbClr val="AEABAB"/>
              </a:solidFill>
            </c:spPr>
            <c:extLst>
              <c:ext xmlns:c16="http://schemas.microsoft.com/office/drawing/2014/chart" uri="{C3380CC4-5D6E-409C-BE32-E72D297353CC}">
                <c16:uniqueId val="{0000087B-4B1F-42FD-9B84-37A75D366F36}"/>
              </c:ext>
            </c:extLst>
          </c:dPt>
          <c:dPt>
            <c:idx val="1085"/>
            <c:invertIfNegative val="1"/>
            <c:bubble3D val="0"/>
            <c:spPr>
              <a:solidFill>
                <a:srgbClr val="AEABAB"/>
              </a:solidFill>
            </c:spPr>
            <c:extLst>
              <c:ext xmlns:c16="http://schemas.microsoft.com/office/drawing/2014/chart" uri="{C3380CC4-5D6E-409C-BE32-E72D297353CC}">
                <c16:uniqueId val="{0000087D-4B1F-42FD-9B84-37A75D366F36}"/>
              </c:ext>
            </c:extLst>
          </c:dPt>
          <c:dPt>
            <c:idx val="1086"/>
            <c:invertIfNegative val="1"/>
            <c:bubble3D val="0"/>
            <c:spPr>
              <a:solidFill>
                <a:srgbClr val="AEABAB"/>
              </a:solidFill>
            </c:spPr>
            <c:extLst>
              <c:ext xmlns:c16="http://schemas.microsoft.com/office/drawing/2014/chart" uri="{C3380CC4-5D6E-409C-BE32-E72D297353CC}">
                <c16:uniqueId val="{0000087F-4B1F-42FD-9B84-37A75D366F36}"/>
              </c:ext>
            </c:extLst>
          </c:dPt>
          <c:dPt>
            <c:idx val="1087"/>
            <c:invertIfNegative val="1"/>
            <c:bubble3D val="0"/>
            <c:spPr>
              <a:solidFill>
                <a:srgbClr val="AEABAB"/>
              </a:solidFill>
            </c:spPr>
            <c:extLst>
              <c:ext xmlns:c16="http://schemas.microsoft.com/office/drawing/2014/chart" uri="{C3380CC4-5D6E-409C-BE32-E72D297353CC}">
                <c16:uniqueId val="{00000881-4B1F-42FD-9B84-37A75D366F36}"/>
              </c:ext>
            </c:extLst>
          </c:dPt>
          <c:dPt>
            <c:idx val="1088"/>
            <c:invertIfNegative val="1"/>
            <c:bubble3D val="0"/>
            <c:spPr>
              <a:solidFill>
                <a:srgbClr val="AEABAB"/>
              </a:solidFill>
            </c:spPr>
            <c:extLst>
              <c:ext xmlns:c16="http://schemas.microsoft.com/office/drawing/2014/chart" uri="{C3380CC4-5D6E-409C-BE32-E72D297353CC}">
                <c16:uniqueId val="{00000883-4B1F-42FD-9B84-37A75D366F36}"/>
              </c:ext>
            </c:extLst>
          </c:dPt>
          <c:dPt>
            <c:idx val="1089"/>
            <c:invertIfNegative val="1"/>
            <c:bubble3D val="0"/>
            <c:spPr>
              <a:solidFill>
                <a:srgbClr val="AEABAB"/>
              </a:solidFill>
            </c:spPr>
            <c:extLst>
              <c:ext xmlns:c16="http://schemas.microsoft.com/office/drawing/2014/chart" uri="{C3380CC4-5D6E-409C-BE32-E72D297353CC}">
                <c16:uniqueId val="{00000885-4B1F-42FD-9B84-37A75D366F36}"/>
              </c:ext>
            </c:extLst>
          </c:dPt>
          <c:dPt>
            <c:idx val="1090"/>
            <c:invertIfNegative val="1"/>
            <c:bubble3D val="0"/>
            <c:spPr>
              <a:solidFill>
                <a:srgbClr val="AEABAB"/>
              </a:solidFill>
            </c:spPr>
            <c:extLst>
              <c:ext xmlns:c16="http://schemas.microsoft.com/office/drawing/2014/chart" uri="{C3380CC4-5D6E-409C-BE32-E72D297353CC}">
                <c16:uniqueId val="{00000887-4B1F-42FD-9B84-37A75D366F36}"/>
              </c:ext>
            </c:extLst>
          </c:dPt>
          <c:dPt>
            <c:idx val="1091"/>
            <c:invertIfNegative val="1"/>
            <c:bubble3D val="0"/>
            <c:spPr>
              <a:solidFill>
                <a:srgbClr val="AEABAB"/>
              </a:solidFill>
            </c:spPr>
            <c:extLst>
              <c:ext xmlns:c16="http://schemas.microsoft.com/office/drawing/2014/chart" uri="{C3380CC4-5D6E-409C-BE32-E72D297353CC}">
                <c16:uniqueId val="{00000889-4B1F-42FD-9B84-37A75D366F36}"/>
              </c:ext>
            </c:extLst>
          </c:dPt>
          <c:dPt>
            <c:idx val="1092"/>
            <c:invertIfNegative val="1"/>
            <c:bubble3D val="0"/>
            <c:spPr>
              <a:solidFill>
                <a:srgbClr val="AEABAB"/>
              </a:solidFill>
            </c:spPr>
            <c:extLst>
              <c:ext xmlns:c16="http://schemas.microsoft.com/office/drawing/2014/chart" uri="{C3380CC4-5D6E-409C-BE32-E72D297353CC}">
                <c16:uniqueId val="{0000088B-4B1F-42FD-9B84-37A75D366F36}"/>
              </c:ext>
            </c:extLst>
          </c:dPt>
          <c:dPt>
            <c:idx val="1093"/>
            <c:invertIfNegative val="1"/>
            <c:bubble3D val="0"/>
            <c:spPr>
              <a:solidFill>
                <a:srgbClr val="AEABAB"/>
              </a:solidFill>
            </c:spPr>
            <c:extLst>
              <c:ext xmlns:c16="http://schemas.microsoft.com/office/drawing/2014/chart" uri="{C3380CC4-5D6E-409C-BE32-E72D297353CC}">
                <c16:uniqueId val="{0000088D-4B1F-42FD-9B84-37A75D366F36}"/>
              </c:ext>
            </c:extLst>
          </c:dPt>
          <c:dPt>
            <c:idx val="1094"/>
            <c:invertIfNegative val="1"/>
            <c:bubble3D val="0"/>
            <c:spPr>
              <a:solidFill>
                <a:srgbClr val="AEABAB"/>
              </a:solidFill>
            </c:spPr>
            <c:extLst>
              <c:ext xmlns:c16="http://schemas.microsoft.com/office/drawing/2014/chart" uri="{C3380CC4-5D6E-409C-BE32-E72D297353CC}">
                <c16:uniqueId val="{0000088F-4B1F-42FD-9B84-37A75D366F36}"/>
              </c:ext>
            </c:extLst>
          </c:dPt>
          <c:dPt>
            <c:idx val="1095"/>
            <c:invertIfNegative val="1"/>
            <c:bubble3D val="0"/>
            <c:spPr>
              <a:solidFill>
                <a:srgbClr val="AEABAB"/>
              </a:solidFill>
            </c:spPr>
            <c:extLst>
              <c:ext xmlns:c16="http://schemas.microsoft.com/office/drawing/2014/chart" uri="{C3380CC4-5D6E-409C-BE32-E72D297353CC}">
                <c16:uniqueId val="{00000891-4B1F-42FD-9B84-37A75D366F36}"/>
              </c:ext>
            </c:extLst>
          </c:dPt>
          <c:dPt>
            <c:idx val="1096"/>
            <c:invertIfNegative val="1"/>
            <c:bubble3D val="0"/>
            <c:spPr>
              <a:solidFill>
                <a:srgbClr val="AEABAB"/>
              </a:solidFill>
            </c:spPr>
            <c:extLst>
              <c:ext xmlns:c16="http://schemas.microsoft.com/office/drawing/2014/chart" uri="{C3380CC4-5D6E-409C-BE32-E72D297353CC}">
                <c16:uniqueId val="{00000893-4B1F-42FD-9B84-37A75D366F36}"/>
              </c:ext>
            </c:extLst>
          </c:dPt>
          <c:dPt>
            <c:idx val="1097"/>
            <c:invertIfNegative val="1"/>
            <c:bubble3D val="0"/>
            <c:spPr>
              <a:solidFill>
                <a:srgbClr val="AEABAB"/>
              </a:solidFill>
            </c:spPr>
            <c:extLst>
              <c:ext xmlns:c16="http://schemas.microsoft.com/office/drawing/2014/chart" uri="{C3380CC4-5D6E-409C-BE32-E72D297353CC}">
                <c16:uniqueId val="{00000895-4B1F-42FD-9B84-37A75D366F36}"/>
              </c:ext>
            </c:extLst>
          </c:dPt>
          <c:dPt>
            <c:idx val="1098"/>
            <c:invertIfNegative val="1"/>
            <c:bubble3D val="0"/>
            <c:spPr>
              <a:solidFill>
                <a:srgbClr val="AEABAB"/>
              </a:solidFill>
            </c:spPr>
            <c:extLst>
              <c:ext xmlns:c16="http://schemas.microsoft.com/office/drawing/2014/chart" uri="{C3380CC4-5D6E-409C-BE32-E72D297353CC}">
                <c16:uniqueId val="{00000897-4B1F-42FD-9B84-37A75D366F36}"/>
              </c:ext>
            </c:extLst>
          </c:dPt>
          <c:dPt>
            <c:idx val="1099"/>
            <c:invertIfNegative val="1"/>
            <c:bubble3D val="0"/>
            <c:spPr>
              <a:solidFill>
                <a:srgbClr val="AEABAB"/>
              </a:solidFill>
            </c:spPr>
            <c:extLst>
              <c:ext xmlns:c16="http://schemas.microsoft.com/office/drawing/2014/chart" uri="{C3380CC4-5D6E-409C-BE32-E72D297353CC}">
                <c16:uniqueId val="{00000899-4B1F-42FD-9B84-37A75D366F36}"/>
              </c:ext>
            </c:extLst>
          </c:dPt>
          <c:dPt>
            <c:idx val="1100"/>
            <c:invertIfNegative val="1"/>
            <c:bubble3D val="0"/>
            <c:spPr>
              <a:solidFill>
                <a:srgbClr val="AEABAB"/>
              </a:solidFill>
            </c:spPr>
            <c:extLst>
              <c:ext xmlns:c16="http://schemas.microsoft.com/office/drawing/2014/chart" uri="{C3380CC4-5D6E-409C-BE32-E72D297353CC}">
                <c16:uniqueId val="{0000089B-4B1F-42FD-9B84-37A75D366F36}"/>
              </c:ext>
            </c:extLst>
          </c:dPt>
          <c:dPt>
            <c:idx val="1101"/>
            <c:invertIfNegative val="1"/>
            <c:bubble3D val="0"/>
            <c:spPr>
              <a:solidFill>
                <a:srgbClr val="AEABAB"/>
              </a:solidFill>
            </c:spPr>
            <c:extLst>
              <c:ext xmlns:c16="http://schemas.microsoft.com/office/drawing/2014/chart" uri="{C3380CC4-5D6E-409C-BE32-E72D297353CC}">
                <c16:uniqueId val="{0000089D-4B1F-42FD-9B84-37A75D366F36}"/>
              </c:ext>
            </c:extLst>
          </c:dPt>
          <c:dPt>
            <c:idx val="1102"/>
            <c:invertIfNegative val="1"/>
            <c:bubble3D val="0"/>
            <c:spPr>
              <a:solidFill>
                <a:srgbClr val="AEABAB"/>
              </a:solidFill>
            </c:spPr>
            <c:extLst>
              <c:ext xmlns:c16="http://schemas.microsoft.com/office/drawing/2014/chart" uri="{C3380CC4-5D6E-409C-BE32-E72D297353CC}">
                <c16:uniqueId val="{0000089F-4B1F-42FD-9B84-37A75D366F36}"/>
              </c:ext>
            </c:extLst>
          </c:dPt>
          <c:dPt>
            <c:idx val="1103"/>
            <c:invertIfNegative val="1"/>
            <c:bubble3D val="0"/>
            <c:spPr>
              <a:solidFill>
                <a:srgbClr val="AEABAB"/>
              </a:solidFill>
            </c:spPr>
            <c:extLst>
              <c:ext xmlns:c16="http://schemas.microsoft.com/office/drawing/2014/chart" uri="{C3380CC4-5D6E-409C-BE32-E72D297353CC}">
                <c16:uniqueId val="{000008A1-4B1F-42FD-9B84-37A75D366F36}"/>
              </c:ext>
            </c:extLst>
          </c:dPt>
          <c:dPt>
            <c:idx val="1104"/>
            <c:invertIfNegative val="1"/>
            <c:bubble3D val="0"/>
            <c:spPr>
              <a:solidFill>
                <a:srgbClr val="AEABAB"/>
              </a:solidFill>
            </c:spPr>
            <c:extLst>
              <c:ext xmlns:c16="http://schemas.microsoft.com/office/drawing/2014/chart" uri="{C3380CC4-5D6E-409C-BE32-E72D297353CC}">
                <c16:uniqueId val="{000008A3-4B1F-42FD-9B84-37A75D366F36}"/>
              </c:ext>
            </c:extLst>
          </c:dPt>
          <c:dPt>
            <c:idx val="1105"/>
            <c:invertIfNegative val="1"/>
            <c:bubble3D val="0"/>
            <c:spPr>
              <a:solidFill>
                <a:srgbClr val="AEABAB"/>
              </a:solidFill>
            </c:spPr>
            <c:extLst>
              <c:ext xmlns:c16="http://schemas.microsoft.com/office/drawing/2014/chart" uri="{C3380CC4-5D6E-409C-BE32-E72D297353CC}">
                <c16:uniqueId val="{000008A5-4B1F-42FD-9B84-37A75D366F36}"/>
              </c:ext>
            </c:extLst>
          </c:dPt>
          <c:dPt>
            <c:idx val="1106"/>
            <c:invertIfNegative val="1"/>
            <c:bubble3D val="0"/>
            <c:spPr>
              <a:solidFill>
                <a:srgbClr val="AEABAB"/>
              </a:solidFill>
            </c:spPr>
            <c:extLst>
              <c:ext xmlns:c16="http://schemas.microsoft.com/office/drawing/2014/chart" uri="{C3380CC4-5D6E-409C-BE32-E72D297353CC}">
                <c16:uniqueId val="{000008A7-4B1F-42FD-9B84-37A75D366F36}"/>
              </c:ext>
            </c:extLst>
          </c:dPt>
          <c:dPt>
            <c:idx val="1107"/>
            <c:invertIfNegative val="1"/>
            <c:bubble3D val="0"/>
            <c:spPr>
              <a:solidFill>
                <a:srgbClr val="AEABAB"/>
              </a:solidFill>
            </c:spPr>
            <c:extLst>
              <c:ext xmlns:c16="http://schemas.microsoft.com/office/drawing/2014/chart" uri="{C3380CC4-5D6E-409C-BE32-E72D297353CC}">
                <c16:uniqueId val="{000008A9-4B1F-42FD-9B84-37A75D366F36}"/>
              </c:ext>
            </c:extLst>
          </c:dPt>
          <c:dPt>
            <c:idx val="1108"/>
            <c:invertIfNegative val="1"/>
            <c:bubble3D val="0"/>
            <c:spPr>
              <a:solidFill>
                <a:srgbClr val="AEABAB"/>
              </a:solidFill>
            </c:spPr>
            <c:extLst>
              <c:ext xmlns:c16="http://schemas.microsoft.com/office/drawing/2014/chart" uri="{C3380CC4-5D6E-409C-BE32-E72D297353CC}">
                <c16:uniqueId val="{000008AB-4B1F-42FD-9B84-37A75D366F36}"/>
              </c:ext>
            </c:extLst>
          </c:dPt>
          <c:dPt>
            <c:idx val="1109"/>
            <c:invertIfNegative val="1"/>
            <c:bubble3D val="0"/>
            <c:spPr>
              <a:solidFill>
                <a:srgbClr val="AEABAB"/>
              </a:solidFill>
            </c:spPr>
            <c:extLst>
              <c:ext xmlns:c16="http://schemas.microsoft.com/office/drawing/2014/chart" uri="{C3380CC4-5D6E-409C-BE32-E72D297353CC}">
                <c16:uniqueId val="{000008AD-4B1F-42FD-9B84-37A75D366F36}"/>
              </c:ext>
            </c:extLst>
          </c:dPt>
          <c:dPt>
            <c:idx val="1110"/>
            <c:invertIfNegative val="1"/>
            <c:bubble3D val="0"/>
            <c:spPr>
              <a:solidFill>
                <a:srgbClr val="AEABAB"/>
              </a:solidFill>
            </c:spPr>
            <c:extLst>
              <c:ext xmlns:c16="http://schemas.microsoft.com/office/drawing/2014/chart" uri="{C3380CC4-5D6E-409C-BE32-E72D297353CC}">
                <c16:uniqueId val="{000008AF-4B1F-42FD-9B84-37A75D366F36}"/>
              </c:ext>
            </c:extLst>
          </c:dPt>
          <c:dPt>
            <c:idx val="1111"/>
            <c:invertIfNegative val="1"/>
            <c:bubble3D val="0"/>
            <c:spPr>
              <a:solidFill>
                <a:srgbClr val="AEABAB"/>
              </a:solidFill>
            </c:spPr>
            <c:extLst>
              <c:ext xmlns:c16="http://schemas.microsoft.com/office/drawing/2014/chart" uri="{C3380CC4-5D6E-409C-BE32-E72D297353CC}">
                <c16:uniqueId val="{000008B1-4B1F-42FD-9B84-37A75D366F36}"/>
              </c:ext>
            </c:extLst>
          </c:dPt>
          <c:dPt>
            <c:idx val="1112"/>
            <c:invertIfNegative val="1"/>
            <c:bubble3D val="0"/>
            <c:spPr>
              <a:solidFill>
                <a:srgbClr val="AEABAB"/>
              </a:solidFill>
            </c:spPr>
            <c:extLst>
              <c:ext xmlns:c16="http://schemas.microsoft.com/office/drawing/2014/chart" uri="{C3380CC4-5D6E-409C-BE32-E72D297353CC}">
                <c16:uniqueId val="{000008B3-4B1F-42FD-9B84-37A75D366F36}"/>
              </c:ext>
            </c:extLst>
          </c:dPt>
          <c:dPt>
            <c:idx val="1113"/>
            <c:invertIfNegative val="1"/>
            <c:bubble3D val="0"/>
            <c:spPr>
              <a:solidFill>
                <a:srgbClr val="AEABAB"/>
              </a:solidFill>
            </c:spPr>
            <c:extLst>
              <c:ext xmlns:c16="http://schemas.microsoft.com/office/drawing/2014/chart" uri="{C3380CC4-5D6E-409C-BE32-E72D297353CC}">
                <c16:uniqueId val="{000008B5-4B1F-42FD-9B84-37A75D366F36}"/>
              </c:ext>
            </c:extLst>
          </c:dPt>
          <c:dPt>
            <c:idx val="1114"/>
            <c:invertIfNegative val="1"/>
            <c:bubble3D val="0"/>
            <c:spPr>
              <a:solidFill>
                <a:srgbClr val="AEABAB"/>
              </a:solidFill>
            </c:spPr>
            <c:extLst>
              <c:ext xmlns:c16="http://schemas.microsoft.com/office/drawing/2014/chart" uri="{C3380CC4-5D6E-409C-BE32-E72D297353CC}">
                <c16:uniqueId val="{000008B7-4B1F-42FD-9B84-37A75D366F36}"/>
              </c:ext>
            </c:extLst>
          </c:dPt>
          <c:dPt>
            <c:idx val="1115"/>
            <c:invertIfNegative val="1"/>
            <c:bubble3D val="0"/>
            <c:spPr>
              <a:solidFill>
                <a:srgbClr val="AEABAB"/>
              </a:solidFill>
            </c:spPr>
            <c:extLst>
              <c:ext xmlns:c16="http://schemas.microsoft.com/office/drawing/2014/chart" uri="{C3380CC4-5D6E-409C-BE32-E72D297353CC}">
                <c16:uniqueId val="{000008B9-4B1F-42FD-9B84-37A75D366F36}"/>
              </c:ext>
            </c:extLst>
          </c:dPt>
          <c:dPt>
            <c:idx val="1116"/>
            <c:invertIfNegative val="1"/>
            <c:bubble3D val="0"/>
            <c:spPr>
              <a:solidFill>
                <a:srgbClr val="AEABAB"/>
              </a:solidFill>
            </c:spPr>
            <c:extLst>
              <c:ext xmlns:c16="http://schemas.microsoft.com/office/drawing/2014/chart" uri="{C3380CC4-5D6E-409C-BE32-E72D297353CC}">
                <c16:uniqueId val="{000008BB-4B1F-42FD-9B84-37A75D366F36}"/>
              </c:ext>
            </c:extLst>
          </c:dPt>
          <c:dPt>
            <c:idx val="1117"/>
            <c:invertIfNegative val="1"/>
            <c:bubble3D val="0"/>
            <c:spPr>
              <a:solidFill>
                <a:srgbClr val="AEABAB"/>
              </a:solidFill>
            </c:spPr>
            <c:extLst>
              <c:ext xmlns:c16="http://schemas.microsoft.com/office/drawing/2014/chart" uri="{C3380CC4-5D6E-409C-BE32-E72D297353CC}">
                <c16:uniqueId val="{000008BD-4B1F-42FD-9B84-37A75D366F36}"/>
              </c:ext>
            </c:extLst>
          </c:dPt>
          <c:dPt>
            <c:idx val="1118"/>
            <c:invertIfNegative val="1"/>
            <c:bubble3D val="0"/>
            <c:spPr>
              <a:solidFill>
                <a:srgbClr val="AEABAB"/>
              </a:solidFill>
            </c:spPr>
            <c:extLst>
              <c:ext xmlns:c16="http://schemas.microsoft.com/office/drawing/2014/chart" uri="{C3380CC4-5D6E-409C-BE32-E72D297353CC}">
                <c16:uniqueId val="{000008BF-4B1F-42FD-9B84-37A75D366F36}"/>
              </c:ext>
            </c:extLst>
          </c:dPt>
          <c:dPt>
            <c:idx val="1119"/>
            <c:invertIfNegative val="1"/>
            <c:bubble3D val="0"/>
            <c:spPr>
              <a:solidFill>
                <a:srgbClr val="AEABAB"/>
              </a:solidFill>
            </c:spPr>
            <c:extLst>
              <c:ext xmlns:c16="http://schemas.microsoft.com/office/drawing/2014/chart" uri="{C3380CC4-5D6E-409C-BE32-E72D297353CC}">
                <c16:uniqueId val="{000008C1-4B1F-42FD-9B84-37A75D366F36}"/>
              </c:ext>
            </c:extLst>
          </c:dPt>
          <c:dPt>
            <c:idx val="1120"/>
            <c:invertIfNegative val="1"/>
            <c:bubble3D val="0"/>
            <c:spPr>
              <a:solidFill>
                <a:srgbClr val="AEABAB"/>
              </a:solidFill>
            </c:spPr>
            <c:extLst>
              <c:ext xmlns:c16="http://schemas.microsoft.com/office/drawing/2014/chart" uri="{C3380CC4-5D6E-409C-BE32-E72D297353CC}">
                <c16:uniqueId val="{000008C3-4B1F-42FD-9B84-37A75D366F36}"/>
              </c:ext>
            </c:extLst>
          </c:dPt>
          <c:dPt>
            <c:idx val="1121"/>
            <c:invertIfNegative val="1"/>
            <c:bubble3D val="0"/>
            <c:spPr>
              <a:solidFill>
                <a:srgbClr val="AEABAB"/>
              </a:solidFill>
            </c:spPr>
            <c:extLst>
              <c:ext xmlns:c16="http://schemas.microsoft.com/office/drawing/2014/chart" uri="{C3380CC4-5D6E-409C-BE32-E72D297353CC}">
                <c16:uniqueId val="{000008C5-4B1F-42FD-9B84-37A75D366F36}"/>
              </c:ext>
            </c:extLst>
          </c:dPt>
          <c:dPt>
            <c:idx val="1122"/>
            <c:invertIfNegative val="1"/>
            <c:bubble3D val="0"/>
            <c:spPr>
              <a:solidFill>
                <a:srgbClr val="AEABAB"/>
              </a:solidFill>
            </c:spPr>
            <c:extLst>
              <c:ext xmlns:c16="http://schemas.microsoft.com/office/drawing/2014/chart" uri="{C3380CC4-5D6E-409C-BE32-E72D297353CC}">
                <c16:uniqueId val="{000008C7-4B1F-42FD-9B84-37A75D366F36}"/>
              </c:ext>
            </c:extLst>
          </c:dPt>
          <c:dPt>
            <c:idx val="1123"/>
            <c:invertIfNegative val="1"/>
            <c:bubble3D val="0"/>
            <c:spPr>
              <a:solidFill>
                <a:srgbClr val="AEABAB"/>
              </a:solidFill>
            </c:spPr>
            <c:extLst>
              <c:ext xmlns:c16="http://schemas.microsoft.com/office/drawing/2014/chart" uri="{C3380CC4-5D6E-409C-BE32-E72D297353CC}">
                <c16:uniqueId val="{000008C9-4B1F-42FD-9B84-37A75D366F36}"/>
              </c:ext>
            </c:extLst>
          </c:dPt>
          <c:dPt>
            <c:idx val="1124"/>
            <c:invertIfNegative val="1"/>
            <c:bubble3D val="0"/>
            <c:spPr>
              <a:solidFill>
                <a:srgbClr val="AEABAB"/>
              </a:solidFill>
            </c:spPr>
            <c:extLst>
              <c:ext xmlns:c16="http://schemas.microsoft.com/office/drawing/2014/chart" uri="{C3380CC4-5D6E-409C-BE32-E72D297353CC}">
                <c16:uniqueId val="{000008CB-4B1F-42FD-9B84-37A75D366F36}"/>
              </c:ext>
            </c:extLst>
          </c:dPt>
          <c:dPt>
            <c:idx val="1125"/>
            <c:invertIfNegative val="1"/>
            <c:bubble3D val="0"/>
            <c:spPr>
              <a:solidFill>
                <a:srgbClr val="AEABAB"/>
              </a:solidFill>
            </c:spPr>
            <c:extLst>
              <c:ext xmlns:c16="http://schemas.microsoft.com/office/drawing/2014/chart" uri="{C3380CC4-5D6E-409C-BE32-E72D297353CC}">
                <c16:uniqueId val="{000008CD-4B1F-42FD-9B84-37A75D366F36}"/>
              </c:ext>
            </c:extLst>
          </c:dPt>
          <c:dPt>
            <c:idx val="1126"/>
            <c:invertIfNegative val="1"/>
            <c:bubble3D val="0"/>
            <c:spPr>
              <a:solidFill>
                <a:srgbClr val="AEABAB"/>
              </a:solidFill>
            </c:spPr>
            <c:extLst>
              <c:ext xmlns:c16="http://schemas.microsoft.com/office/drawing/2014/chart" uri="{C3380CC4-5D6E-409C-BE32-E72D297353CC}">
                <c16:uniqueId val="{000008CF-4B1F-42FD-9B84-37A75D366F36}"/>
              </c:ext>
            </c:extLst>
          </c:dPt>
          <c:dPt>
            <c:idx val="1127"/>
            <c:invertIfNegative val="1"/>
            <c:bubble3D val="0"/>
            <c:spPr>
              <a:solidFill>
                <a:srgbClr val="AEABAB"/>
              </a:solidFill>
            </c:spPr>
            <c:extLst>
              <c:ext xmlns:c16="http://schemas.microsoft.com/office/drawing/2014/chart" uri="{C3380CC4-5D6E-409C-BE32-E72D297353CC}">
                <c16:uniqueId val="{000008D1-4B1F-42FD-9B84-37A75D366F36}"/>
              </c:ext>
            </c:extLst>
          </c:dPt>
          <c:dPt>
            <c:idx val="1128"/>
            <c:invertIfNegative val="1"/>
            <c:bubble3D val="0"/>
            <c:spPr>
              <a:solidFill>
                <a:srgbClr val="AEABAB"/>
              </a:solidFill>
            </c:spPr>
            <c:extLst>
              <c:ext xmlns:c16="http://schemas.microsoft.com/office/drawing/2014/chart" uri="{C3380CC4-5D6E-409C-BE32-E72D297353CC}">
                <c16:uniqueId val="{000008D3-4B1F-42FD-9B84-37A75D366F36}"/>
              </c:ext>
            </c:extLst>
          </c:dPt>
          <c:dPt>
            <c:idx val="1129"/>
            <c:invertIfNegative val="1"/>
            <c:bubble3D val="0"/>
            <c:spPr>
              <a:solidFill>
                <a:srgbClr val="AEABAB"/>
              </a:solidFill>
            </c:spPr>
            <c:extLst>
              <c:ext xmlns:c16="http://schemas.microsoft.com/office/drawing/2014/chart" uri="{C3380CC4-5D6E-409C-BE32-E72D297353CC}">
                <c16:uniqueId val="{000008D5-4B1F-42FD-9B84-37A75D366F36}"/>
              </c:ext>
            </c:extLst>
          </c:dPt>
          <c:dPt>
            <c:idx val="1130"/>
            <c:invertIfNegative val="1"/>
            <c:bubble3D val="0"/>
            <c:spPr>
              <a:solidFill>
                <a:srgbClr val="AEABAB"/>
              </a:solidFill>
            </c:spPr>
            <c:extLst>
              <c:ext xmlns:c16="http://schemas.microsoft.com/office/drawing/2014/chart" uri="{C3380CC4-5D6E-409C-BE32-E72D297353CC}">
                <c16:uniqueId val="{000008D7-4B1F-42FD-9B84-37A75D366F36}"/>
              </c:ext>
            </c:extLst>
          </c:dPt>
          <c:dPt>
            <c:idx val="1131"/>
            <c:invertIfNegative val="1"/>
            <c:bubble3D val="0"/>
            <c:spPr>
              <a:solidFill>
                <a:srgbClr val="AEABAB"/>
              </a:solidFill>
            </c:spPr>
            <c:extLst>
              <c:ext xmlns:c16="http://schemas.microsoft.com/office/drawing/2014/chart" uri="{C3380CC4-5D6E-409C-BE32-E72D297353CC}">
                <c16:uniqueId val="{000008D9-4B1F-42FD-9B84-37A75D366F36}"/>
              </c:ext>
            </c:extLst>
          </c:dPt>
          <c:dPt>
            <c:idx val="1132"/>
            <c:invertIfNegative val="1"/>
            <c:bubble3D val="0"/>
            <c:spPr>
              <a:solidFill>
                <a:srgbClr val="AEABAB"/>
              </a:solidFill>
            </c:spPr>
            <c:extLst>
              <c:ext xmlns:c16="http://schemas.microsoft.com/office/drawing/2014/chart" uri="{C3380CC4-5D6E-409C-BE32-E72D297353CC}">
                <c16:uniqueId val="{000008DB-4B1F-42FD-9B84-37A75D366F36}"/>
              </c:ext>
            </c:extLst>
          </c:dPt>
          <c:dPt>
            <c:idx val="1133"/>
            <c:invertIfNegative val="1"/>
            <c:bubble3D val="0"/>
            <c:spPr>
              <a:solidFill>
                <a:srgbClr val="AEABAB"/>
              </a:solidFill>
            </c:spPr>
            <c:extLst>
              <c:ext xmlns:c16="http://schemas.microsoft.com/office/drawing/2014/chart" uri="{C3380CC4-5D6E-409C-BE32-E72D297353CC}">
                <c16:uniqueId val="{000008DD-4B1F-42FD-9B84-37A75D366F36}"/>
              </c:ext>
            </c:extLst>
          </c:dPt>
          <c:dPt>
            <c:idx val="1134"/>
            <c:invertIfNegative val="1"/>
            <c:bubble3D val="0"/>
            <c:spPr>
              <a:solidFill>
                <a:srgbClr val="AEABAB"/>
              </a:solidFill>
            </c:spPr>
            <c:extLst>
              <c:ext xmlns:c16="http://schemas.microsoft.com/office/drawing/2014/chart" uri="{C3380CC4-5D6E-409C-BE32-E72D297353CC}">
                <c16:uniqueId val="{000008DF-4B1F-42FD-9B84-37A75D366F36}"/>
              </c:ext>
            </c:extLst>
          </c:dPt>
          <c:dPt>
            <c:idx val="1135"/>
            <c:invertIfNegative val="1"/>
            <c:bubble3D val="0"/>
            <c:spPr>
              <a:solidFill>
                <a:srgbClr val="AEABAB"/>
              </a:solidFill>
            </c:spPr>
            <c:extLst>
              <c:ext xmlns:c16="http://schemas.microsoft.com/office/drawing/2014/chart" uri="{C3380CC4-5D6E-409C-BE32-E72D297353CC}">
                <c16:uniqueId val="{000008E1-4B1F-42FD-9B84-37A75D366F36}"/>
              </c:ext>
            </c:extLst>
          </c:dPt>
          <c:dPt>
            <c:idx val="1136"/>
            <c:invertIfNegative val="1"/>
            <c:bubble3D val="0"/>
            <c:spPr>
              <a:solidFill>
                <a:srgbClr val="AEABAB"/>
              </a:solidFill>
            </c:spPr>
            <c:extLst>
              <c:ext xmlns:c16="http://schemas.microsoft.com/office/drawing/2014/chart" uri="{C3380CC4-5D6E-409C-BE32-E72D297353CC}">
                <c16:uniqueId val="{000008E3-4B1F-42FD-9B84-37A75D366F36}"/>
              </c:ext>
            </c:extLst>
          </c:dPt>
          <c:dPt>
            <c:idx val="1137"/>
            <c:invertIfNegative val="1"/>
            <c:bubble3D val="0"/>
            <c:spPr>
              <a:solidFill>
                <a:srgbClr val="AEABAB"/>
              </a:solidFill>
            </c:spPr>
            <c:extLst>
              <c:ext xmlns:c16="http://schemas.microsoft.com/office/drawing/2014/chart" uri="{C3380CC4-5D6E-409C-BE32-E72D297353CC}">
                <c16:uniqueId val="{000008E5-4B1F-42FD-9B84-37A75D366F36}"/>
              </c:ext>
            </c:extLst>
          </c:dPt>
          <c:dPt>
            <c:idx val="1138"/>
            <c:invertIfNegative val="1"/>
            <c:bubble3D val="0"/>
            <c:spPr>
              <a:solidFill>
                <a:srgbClr val="AEABAB"/>
              </a:solidFill>
            </c:spPr>
            <c:extLst>
              <c:ext xmlns:c16="http://schemas.microsoft.com/office/drawing/2014/chart" uri="{C3380CC4-5D6E-409C-BE32-E72D297353CC}">
                <c16:uniqueId val="{000008E7-4B1F-42FD-9B84-37A75D366F36}"/>
              </c:ext>
            </c:extLst>
          </c:dPt>
          <c:dPt>
            <c:idx val="1139"/>
            <c:invertIfNegative val="1"/>
            <c:bubble3D val="0"/>
            <c:spPr>
              <a:solidFill>
                <a:srgbClr val="AEABAB"/>
              </a:solidFill>
            </c:spPr>
            <c:extLst>
              <c:ext xmlns:c16="http://schemas.microsoft.com/office/drawing/2014/chart" uri="{C3380CC4-5D6E-409C-BE32-E72D297353CC}">
                <c16:uniqueId val="{000008E9-4B1F-42FD-9B84-37A75D366F36}"/>
              </c:ext>
            </c:extLst>
          </c:dPt>
          <c:dPt>
            <c:idx val="1140"/>
            <c:invertIfNegative val="1"/>
            <c:bubble3D val="0"/>
            <c:spPr>
              <a:solidFill>
                <a:srgbClr val="AEABAB"/>
              </a:solidFill>
            </c:spPr>
            <c:extLst>
              <c:ext xmlns:c16="http://schemas.microsoft.com/office/drawing/2014/chart" uri="{C3380CC4-5D6E-409C-BE32-E72D297353CC}">
                <c16:uniqueId val="{000008EB-4B1F-42FD-9B84-37A75D366F36}"/>
              </c:ext>
            </c:extLst>
          </c:dPt>
          <c:dPt>
            <c:idx val="1141"/>
            <c:invertIfNegative val="1"/>
            <c:bubble3D val="0"/>
            <c:spPr>
              <a:solidFill>
                <a:srgbClr val="AEABAB"/>
              </a:solidFill>
            </c:spPr>
            <c:extLst>
              <c:ext xmlns:c16="http://schemas.microsoft.com/office/drawing/2014/chart" uri="{C3380CC4-5D6E-409C-BE32-E72D297353CC}">
                <c16:uniqueId val="{000008ED-4B1F-42FD-9B84-37A75D366F36}"/>
              </c:ext>
            </c:extLst>
          </c:dPt>
          <c:dPt>
            <c:idx val="1142"/>
            <c:invertIfNegative val="1"/>
            <c:bubble3D val="0"/>
            <c:spPr>
              <a:solidFill>
                <a:srgbClr val="AEABAB"/>
              </a:solidFill>
            </c:spPr>
            <c:extLst>
              <c:ext xmlns:c16="http://schemas.microsoft.com/office/drawing/2014/chart" uri="{C3380CC4-5D6E-409C-BE32-E72D297353CC}">
                <c16:uniqueId val="{000008EF-4B1F-42FD-9B84-37A75D366F36}"/>
              </c:ext>
            </c:extLst>
          </c:dPt>
          <c:dPt>
            <c:idx val="1143"/>
            <c:invertIfNegative val="1"/>
            <c:bubble3D val="0"/>
            <c:spPr>
              <a:solidFill>
                <a:srgbClr val="AEABAB"/>
              </a:solidFill>
            </c:spPr>
            <c:extLst>
              <c:ext xmlns:c16="http://schemas.microsoft.com/office/drawing/2014/chart" uri="{C3380CC4-5D6E-409C-BE32-E72D297353CC}">
                <c16:uniqueId val="{000008F1-4B1F-42FD-9B84-37A75D366F36}"/>
              </c:ext>
            </c:extLst>
          </c:dPt>
          <c:dPt>
            <c:idx val="1144"/>
            <c:invertIfNegative val="1"/>
            <c:bubble3D val="0"/>
            <c:spPr>
              <a:solidFill>
                <a:srgbClr val="AEABAB"/>
              </a:solidFill>
            </c:spPr>
            <c:extLst>
              <c:ext xmlns:c16="http://schemas.microsoft.com/office/drawing/2014/chart" uri="{C3380CC4-5D6E-409C-BE32-E72D297353CC}">
                <c16:uniqueId val="{000008F3-4B1F-42FD-9B84-37A75D366F36}"/>
              </c:ext>
            </c:extLst>
          </c:dPt>
          <c:dPt>
            <c:idx val="1145"/>
            <c:invertIfNegative val="1"/>
            <c:bubble3D val="0"/>
            <c:spPr>
              <a:solidFill>
                <a:srgbClr val="AEABAB"/>
              </a:solidFill>
            </c:spPr>
            <c:extLst>
              <c:ext xmlns:c16="http://schemas.microsoft.com/office/drawing/2014/chart" uri="{C3380CC4-5D6E-409C-BE32-E72D297353CC}">
                <c16:uniqueId val="{000008F5-4B1F-42FD-9B84-37A75D366F36}"/>
              </c:ext>
            </c:extLst>
          </c:dPt>
          <c:dPt>
            <c:idx val="1146"/>
            <c:invertIfNegative val="1"/>
            <c:bubble3D val="0"/>
            <c:spPr>
              <a:solidFill>
                <a:srgbClr val="AEABAB"/>
              </a:solidFill>
            </c:spPr>
            <c:extLst>
              <c:ext xmlns:c16="http://schemas.microsoft.com/office/drawing/2014/chart" uri="{C3380CC4-5D6E-409C-BE32-E72D297353CC}">
                <c16:uniqueId val="{000008F7-4B1F-42FD-9B84-37A75D366F36}"/>
              </c:ext>
            </c:extLst>
          </c:dPt>
          <c:dPt>
            <c:idx val="1147"/>
            <c:invertIfNegative val="1"/>
            <c:bubble3D val="0"/>
            <c:spPr>
              <a:solidFill>
                <a:srgbClr val="AEABAB"/>
              </a:solidFill>
            </c:spPr>
            <c:extLst>
              <c:ext xmlns:c16="http://schemas.microsoft.com/office/drawing/2014/chart" uri="{C3380CC4-5D6E-409C-BE32-E72D297353CC}">
                <c16:uniqueId val="{000008F9-4B1F-42FD-9B84-37A75D366F36}"/>
              </c:ext>
            </c:extLst>
          </c:dPt>
          <c:dPt>
            <c:idx val="1148"/>
            <c:invertIfNegative val="1"/>
            <c:bubble3D val="0"/>
            <c:spPr>
              <a:solidFill>
                <a:srgbClr val="AEABAB"/>
              </a:solidFill>
            </c:spPr>
            <c:extLst>
              <c:ext xmlns:c16="http://schemas.microsoft.com/office/drawing/2014/chart" uri="{C3380CC4-5D6E-409C-BE32-E72D297353CC}">
                <c16:uniqueId val="{000008FB-4B1F-42FD-9B84-37A75D366F36}"/>
              </c:ext>
            </c:extLst>
          </c:dPt>
          <c:dPt>
            <c:idx val="1149"/>
            <c:invertIfNegative val="1"/>
            <c:bubble3D val="0"/>
            <c:spPr>
              <a:solidFill>
                <a:srgbClr val="AEABAB"/>
              </a:solidFill>
            </c:spPr>
            <c:extLst>
              <c:ext xmlns:c16="http://schemas.microsoft.com/office/drawing/2014/chart" uri="{C3380CC4-5D6E-409C-BE32-E72D297353CC}">
                <c16:uniqueId val="{000008FD-4B1F-42FD-9B84-37A75D366F36}"/>
              </c:ext>
            </c:extLst>
          </c:dPt>
          <c:dPt>
            <c:idx val="1150"/>
            <c:invertIfNegative val="1"/>
            <c:bubble3D val="0"/>
            <c:spPr>
              <a:solidFill>
                <a:srgbClr val="AEABAB"/>
              </a:solidFill>
            </c:spPr>
            <c:extLst>
              <c:ext xmlns:c16="http://schemas.microsoft.com/office/drawing/2014/chart" uri="{C3380CC4-5D6E-409C-BE32-E72D297353CC}">
                <c16:uniqueId val="{000008FF-4B1F-42FD-9B84-37A75D366F36}"/>
              </c:ext>
            </c:extLst>
          </c:dPt>
          <c:dPt>
            <c:idx val="1151"/>
            <c:invertIfNegative val="1"/>
            <c:bubble3D val="0"/>
            <c:spPr>
              <a:solidFill>
                <a:srgbClr val="AEABAB"/>
              </a:solidFill>
            </c:spPr>
            <c:extLst>
              <c:ext xmlns:c16="http://schemas.microsoft.com/office/drawing/2014/chart" uri="{C3380CC4-5D6E-409C-BE32-E72D297353CC}">
                <c16:uniqueId val="{00000901-4B1F-42FD-9B84-37A75D366F36}"/>
              </c:ext>
            </c:extLst>
          </c:dPt>
          <c:dPt>
            <c:idx val="1152"/>
            <c:invertIfNegative val="1"/>
            <c:bubble3D val="0"/>
            <c:spPr>
              <a:solidFill>
                <a:srgbClr val="AEABAB"/>
              </a:solidFill>
            </c:spPr>
            <c:extLst>
              <c:ext xmlns:c16="http://schemas.microsoft.com/office/drawing/2014/chart" uri="{C3380CC4-5D6E-409C-BE32-E72D297353CC}">
                <c16:uniqueId val="{00000903-4B1F-42FD-9B84-37A75D366F36}"/>
              </c:ext>
            </c:extLst>
          </c:dPt>
          <c:dPt>
            <c:idx val="1153"/>
            <c:invertIfNegative val="1"/>
            <c:bubble3D val="0"/>
            <c:spPr>
              <a:solidFill>
                <a:srgbClr val="AEABAB"/>
              </a:solidFill>
            </c:spPr>
            <c:extLst>
              <c:ext xmlns:c16="http://schemas.microsoft.com/office/drawing/2014/chart" uri="{C3380CC4-5D6E-409C-BE32-E72D297353CC}">
                <c16:uniqueId val="{00000905-4B1F-42FD-9B84-37A75D366F36}"/>
              </c:ext>
            </c:extLst>
          </c:dPt>
          <c:dPt>
            <c:idx val="1154"/>
            <c:invertIfNegative val="1"/>
            <c:bubble3D val="0"/>
            <c:spPr>
              <a:solidFill>
                <a:srgbClr val="AEABAB"/>
              </a:solidFill>
            </c:spPr>
            <c:extLst>
              <c:ext xmlns:c16="http://schemas.microsoft.com/office/drawing/2014/chart" uri="{C3380CC4-5D6E-409C-BE32-E72D297353CC}">
                <c16:uniqueId val="{00000907-4B1F-42FD-9B84-37A75D366F36}"/>
              </c:ext>
            </c:extLst>
          </c:dPt>
          <c:dPt>
            <c:idx val="1155"/>
            <c:invertIfNegative val="1"/>
            <c:bubble3D val="0"/>
            <c:spPr>
              <a:solidFill>
                <a:srgbClr val="AEABAB"/>
              </a:solidFill>
            </c:spPr>
            <c:extLst>
              <c:ext xmlns:c16="http://schemas.microsoft.com/office/drawing/2014/chart" uri="{C3380CC4-5D6E-409C-BE32-E72D297353CC}">
                <c16:uniqueId val="{00000909-4B1F-42FD-9B84-37A75D366F36}"/>
              </c:ext>
            </c:extLst>
          </c:dPt>
          <c:dPt>
            <c:idx val="1156"/>
            <c:invertIfNegative val="1"/>
            <c:bubble3D val="0"/>
            <c:spPr>
              <a:solidFill>
                <a:srgbClr val="AEABAB"/>
              </a:solidFill>
            </c:spPr>
            <c:extLst>
              <c:ext xmlns:c16="http://schemas.microsoft.com/office/drawing/2014/chart" uri="{C3380CC4-5D6E-409C-BE32-E72D297353CC}">
                <c16:uniqueId val="{0000090B-4B1F-42FD-9B84-37A75D366F36}"/>
              </c:ext>
            </c:extLst>
          </c:dPt>
          <c:dPt>
            <c:idx val="1157"/>
            <c:invertIfNegative val="1"/>
            <c:bubble3D val="0"/>
            <c:spPr>
              <a:solidFill>
                <a:srgbClr val="AEABAB"/>
              </a:solidFill>
            </c:spPr>
            <c:extLst>
              <c:ext xmlns:c16="http://schemas.microsoft.com/office/drawing/2014/chart" uri="{C3380CC4-5D6E-409C-BE32-E72D297353CC}">
                <c16:uniqueId val="{0000090D-4B1F-42FD-9B84-37A75D366F36}"/>
              </c:ext>
            </c:extLst>
          </c:dPt>
          <c:dPt>
            <c:idx val="1158"/>
            <c:invertIfNegative val="1"/>
            <c:bubble3D val="0"/>
            <c:spPr>
              <a:solidFill>
                <a:srgbClr val="AEABAB"/>
              </a:solidFill>
            </c:spPr>
            <c:extLst>
              <c:ext xmlns:c16="http://schemas.microsoft.com/office/drawing/2014/chart" uri="{C3380CC4-5D6E-409C-BE32-E72D297353CC}">
                <c16:uniqueId val="{0000090F-4B1F-42FD-9B84-37A75D366F36}"/>
              </c:ext>
            </c:extLst>
          </c:dPt>
          <c:dPt>
            <c:idx val="1159"/>
            <c:invertIfNegative val="1"/>
            <c:bubble3D val="0"/>
            <c:spPr>
              <a:solidFill>
                <a:srgbClr val="AEABAB"/>
              </a:solidFill>
            </c:spPr>
            <c:extLst>
              <c:ext xmlns:c16="http://schemas.microsoft.com/office/drawing/2014/chart" uri="{C3380CC4-5D6E-409C-BE32-E72D297353CC}">
                <c16:uniqueId val="{00000911-4B1F-42FD-9B84-37A75D366F36}"/>
              </c:ext>
            </c:extLst>
          </c:dPt>
          <c:dPt>
            <c:idx val="1160"/>
            <c:invertIfNegative val="1"/>
            <c:bubble3D val="0"/>
            <c:spPr>
              <a:solidFill>
                <a:srgbClr val="AEABAB"/>
              </a:solidFill>
            </c:spPr>
            <c:extLst>
              <c:ext xmlns:c16="http://schemas.microsoft.com/office/drawing/2014/chart" uri="{C3380CC4-5D6E-409C-BE32-E72D297353CC}">
                <c16:uniqueId val="{00000913-4B1F-42FD-9B84-37A75D366F36}"/>
              </c:ext>
            </c:extLst>
          </c:dPt>
          <c:dPt>
            <c:idx val="1161"/>
            <c:invertIfNegative val="1"/>
            <c:bubble3D val="0"/>
            <c:spPr>
              <a:solidFill>
                <a:srgbClr val="AEABAB"/>
              </a:solidFill>
            </c:spPr>
            <c:extLst>
              <c:ext xmlns:c16="http://schemas.microsoft.com/office/drawing/2014/chart" uri="{C3380CC4-5D6E-409C-BE32-E72D297353CC}">
                <c16:uniqueId val="{00000915-4B1F-42FD-9B84-37A75D366F36}"/>
              </c:ext>
            </c:extLst>
          </c:dPt>
          <c:dPt>
            <c:idx val="1162"/>
            <c:invertIfNegative val="1"/>
            <c:bubble3D val="0"/>
            <c:spPr>
              <a:solidFill>
                <a:srgbClr val="AEABAB"/>
              </a:solidFill>
            </c:spPr>
            <c:extLst>
              <c:ext xmlns:c16="http://schemas.microsoft.com/office/drawing/2014/chart" uri="{C3380CC4-5D6E-409C-BE32-E72D297353CC}">
                <c16:uniqueId val="{00000917-4B1F-42FD-9B84-37A75D366F36}"/>
              </c:ext>
            </c:extLst>
          </c:dPt>
          <c:dPt>
            <c:idx val="1163"/>
            <c:invertIfNegative val="1"/>
            <c:bubble3D val="0"/>
            <c:spPr>
              <a:solidFill>
                <a:srgbClr val="AEABAB"/>
              </a:solidFill>
            </c:spPr>
            <c:extLst>
              <c:ext xmlns:c16="http://schemas.microsoft.com/office/drawing/2014/chart" uri="{C3380CC4-5D6E-409C-BE32-E72D297353CC}">
                <c16:uniqueId val="{00000919-4B1F-42FD-9B84-37A75D366F36}"/>
              </c:ext>
            </c:extLst>
          </c:dPt>
          <c:dPt>
            <c:idx val="1164"/>
            <c:invertIfNegative val="1"/>
            <c:bubble3D val="0"/>
            <c:spPr>
              <a:solidFill>
                <a:srgbClr val="AEABAB"/>
              </a:solidFill>
            </c:spPr>
            <c:extLst>
              <c:ext xmlns:c16="http://schemas.microsoft.com/office/drawing/2014/chart" uri="{C3380CC4-5D6E-409C-BE32-E72D297353CC}">
                <c16:uniqueId val="{0000091B-4B1F-42FD-9B84-37A75D366F36}"/>
              </c:ext>
            </c:extLst>
          </c:dPt>
          <c:dPt>
            <c:idx val="1165"/>
            <c:invertIfNegative val="1"/>
            <c:bubble3D val="0"/>
            <c:spPr>
              <a:solidFill>
                <a:srgbClr val="AEABAB"/>
              </a:solidFill>
            </c:spPr>
            <c:extLst>
              <c:ext xmlns:c16="http://schemas.microsoft.com/office/drawing/2014/chart" uri="{C3380CC4-5D6E-409C-BE32-E72D297353CC}">
                <c16:uniqueId val="{0000091D-4B1F-42FD-9B84-37A75D366F36}"/>
              </c:ext>
            </c:extLst>
          </c:dPt>
          <c:dPt>
            <c:idx val="1166"/>
            <c:invertIfNegative val="1"/>
            <c:bubble3D val="0"/>
            <c:spPr>
              <a:solidFill>
                <a:srgbClr val="AEABAB"/>
              </a:solidFill>
            </c:spPr>
            <c:extLst>
              <c:ext xmlns:c16="http://schemas.microsoft.com/office/drawing/2014/chart" uri="{C3380CC4-5D6E-409C-BE32-E72D297353CC}">
                <c16:uniqueId val="{0000091F-4B1F-42FD-9B84-37A75D366F36}"/>
              </c:ext>
            </c:extLst>
          </c:dPt>
          <c:dPt>
            <c:idx val="1167"/>
            <c:invertIfNegative val="1"/>
            <c:bubble3D val="0"/>
            <c:spPr>
              <a:solidFill>
                <a:srgbClr val="AEABAB"/>
              </a:solidFill>
            </c:spPr>
            <c:extLst>
              <c:ext xmlns:c16="http://schemas.microsoft.com/office/drawing/2014/chart" uri="{C3380CC4-5D6E-409C-BE32-E72D297353CC}">
                <c16:uniqueId val="{00000921-4B1F-42FD-9B84-37A75D366F36}"/>
              </c:ext>
            </c:extLst>
          </c:dPt>
          <c:dPt>
            <c:idx val="1168"/>
            <c:invertIfNegative val="1"/>
            <c:bubble3D val="0"/>
            <c:spPr>
              <a:solidFill>
                <a:srgbClr val="AEABAB"/>
              </a:solidFill>
            </c:spPr>
            <c:extLst>
              <c:ext xmlns:c16="http://schemas.microsoft.com/office/drawing/2014/chart" uri="{C3380CC4-5D6E-409C-BE32-E72D297353CC}">
                <c16:uniqueId val="{00000923-4B1F-42FD-9B84-37A75D366F36}"/>
              </c:ext>
            </c:extLst>
          </c:dPt>
          <c:dPt>
            <c:idx val="1169"/>
            <c:invertIfNegative val="1"/>
            <c:bubble3D val="0"/>
            <c:spPr>
              <a:solidFill>
                <a:srgbClr val="AEABAB"/>
              </a:solidFill>
            </c:spPr>
            <c:extLst>
              <c:ext xmlns:c16="http://schemas.microsoft.com/office/drawing/2014/chart" uri="{C3380CC4-5D6E-409C-BE32-E72D297353CC}">
                <c16:uniqueId val="{00000925-4B1F-42FD-9B84-37A75D366F36}"/>
              </c:ext>
            </c:extLst>
          </c:dPt>
          <c:dPt>
            <c:idx val="1170"/>
            <c:invertIfNegative val="1"/>
            <c:bubble3D val="0"/>
            <c:spPr>
              <a:solidFill>
                <a:srgbClr val="AEABAB"/>
              </a:solidFill>
            </c:spPr>
            <c:extLst>
              <c:ext xmlns:c16="http://schemas.microsoft.com/office/drawing/2014/chart" uri="{C3380CC4-5D6E-409C-BE32-E72D297353CC}">
                <c16:uniqueId val="{00000927-4B1F-42FD-9B84-37A75D366F36}"/>
              </c:ext>
            </c:extLst>
          </c:dPt>
          <c:dPt>
            <c:idx val="1171"/>
            <c:invertIfNegative val="1"/>
            <c:bubble3D val="0"/>
            <c:spPr>
              <a:solidFill>
                <a:srgbClr val="AEABAB"/>
              </a:solidFill>
            </c:spPr>
            <c:extLst>
              <c:ext xmlns:c16="http://schemas.microsoft.com/office/drawing/2014/chart" uri="{C3380CC4-5D6E-409C-BE32-E72D297353CC}">
                <c16:uniqueId val="{00000929-4B1F-42FD-9B84-37A75D366F36}"/>
              </c:ext>
            </c:extLst>
          </c:dPt>
          <c:dPt>
            <c:idx val="1172"/>
            <c:invertIfNegative val="1"/>
            <c:bubble3D val="0"/>
            <c:spPr>
              <a:solidFill>
                <a:srgbClr val="AEABAB"/>
              </a:solidFill>
            </c:spPr>
            <c:extLst>
              <c:ext xmlns:c16="http://schemas.microsoft.com/office/drawing/2014/chart" uri="{C3380CC4-5D6E-409C-BE32-E72D297353CC}">
                <c16:uniqueId val="{0000092B-4B1F-42FD-9B84-37A75D366F36}"/>
              </c:ext>
            </c:extLst>
          </c:dPt>
          <c:dPt>
            <c:idx val="1173"/>
            <c:invertIfNegative val="1"/>
            <c:bubble3D val="0"/>
            <c:spPr>
              <a:solidFill>
                <a:srgbClr val="AEABAB"/>
              </a:solidFill>
            </c:spPr>
            <c:extLst>
              <c:ext xmlns:c16="http://schemas.microsoft.com/office/drawing/2014/chart" uri="{C3380CC4-5D6E-409C-BE32-E72D297353CC}">
                <c16:uniqueId val="{0000092D-4B1F-42FD-9B84-37A75D366F36}"/>
              </c:ext>
            </c:extLst>
          </c:dPt>
          <c:dPt>
            <c:idx val="1174"/>
            <c:invertIfNegative val="1"/>
            <c:bubble3D val="0"/>
            <c:spPr>
              <a:solidFill>
                <a:srgbClr val="AEABAB"/>
              </a:solidFill>
            </c:spPr>
            <c:extLst>
              <c:ext xmlns:c16="http://schemas.microsoft.com/office/drawing/2014/chart" uri="{C3380CC4-5D6E-409C-BE32-E72D297353CC}">
                <c16:uniqueId val="{0000092F-4B1F-42FD-9B84-37A75D366F36}"/>
              </c:ext>
            </c:extLst>
          </c:dPt>
          <c:dPt>
            <c:idx val="1175"/>
            <c:invertIfNegative val="1"/>
            <c:bubble3D val="0"/>
            <c:spPr>
              <a:solidFill>
                <a:srgbClr val="AEABAB"/>
              </a:solidFill>
            </c:spPr>
            <c:extLst>
              <c:ext xmlns:c16="http://schemas.microsoft.com/office/drawing/2014/chart" uri="{C3380CC4-5D6E-409C-BE32-E72D297353CC}">
                <c16:uniqueId val="{00000931-4B1F-42FD-9B84-37A75D366F36}"/>
              </c:ext>
            </c:extLst>
          </c:dPt>
          <c:dPt>
            <c:idx val="1176"/>
            <c:invertIfNegative val="1"/>
            <c:bubble3D val="0"/>
            <c:spPr>
              <a:solidFill>
                <a:srgbClr val="AEABAB"/>
              </a:solidFill>
            </c:spPr>
            <c:extLst>
              <c:ext xmlns:c16="http://schemas.microsoft.com/office/drawing/2014/chart" uri="{C3380CC4-5D6E-409C-BE32-E72D297353CC}">
                <c16:uniqueId val="{00000933-4B1F-42FD-9B84-37A75D366F36}"/>
              </c:ext>
            </c:extLst>
          </c:dPt>
          <c:dPt>
            <c:idx val="1177"/>
            <c:invertIfNegative val="1"/>
            <c:bubble3D val="0"/>
            <c:spPr>
              <a:solidFill>
                <a:srgbClr val="AEABAB"/>
              </a:solidFill>
            </c:spPr>
            <c:extLst>
              <c:ext xmlns:c16="http://schemas.microsoft.com/office/drawing/2014/chart" uri="{C3380CC4-5D6E-409C-BE32-E72D297353CC}">
                <c16:uniqueId val="{00000935-4B1F-42FD-9B84-37A75D366F36}"/>
              </c:ext>
            </c:extLst>
          </c:dPt>
          <c:dPt>
            <c:idx val="1178"/>
            <c:invertIfNegative val="1"/>
            <c:bubble3D val="0"/>
            <c:spPr>
              <a:solidFill>
                <a:srgbClr val="AEABAB"/>
              </a:solidFill>
            </c:spPr>
            <c:extLst>
              <c:ext xmlns:c16="http://schemas.microsoft.com/office/drawing/2014/chart" uri="{C3380CC4-5D6E-409C-BE32-E72D297353CC}">
                <c16:uniqueId val="{00000937-4B1F-42FD-9B84-37A75D366F36}"/>
              </c:ext>
            </c:extLst>
          </c:dPt>
          <c:dPt>
            <c:idx val="1179"/>
            <c:invertIfNegative val="1"/>
            <c:bubble3D val="0"/>
            <c:spPr>
              <a:solidFill>
                <a:srgbClr val="AEABAB"/>
              </a:solidFill>
            </c:spPr>
            <c:extLst>
              <c:ext xmlns:c16="http://schemas.microsoft.com/office/drawing/2014/chart" uri="{C3380CC4-5D6E-409C-BE32-E72D297353CC}">
                <c16:uniqueId val="{00000939-4B1F-42FD-9B84-37A75D366F36}"/>
              </c:ext>
            </c:extLst>
          </c:dPt>
          <c:dPt>
            <c:idx val="1180"/>
            <c:invertIfNegative val="1"/>
            <c:bubble3D val="0"/>
            <c:spPr>
              <a:solidFill>
                <a:srgbClr val="AEABAB"/>
              </a:solidFill>
            </c:spPr>
            <c:extLst>
              <c:ext xmlns:c16="http://schemas.microsoft.com/office/drawing/2014/chart" uri="{C3380CC4-5D6E-409C-BE32-E72D297353CC}">
                <c16:uniqueId val="{0000093B-4B1F-42FD-9B84-37A75D366F36}"/>
              </c:ext>
            </c:extLst>
          </c:dPt>
          <c:dPt>
            <c:idx val="1181"/>
            <c:invertIfNegative val="1"/>
            <c:bubble3D val="0"/>
            <c:spPr>
              <a:solidFill>
                <a:srgbClr val="AEABAB"/>
              </a:solidFill>
            </c:spPr>
            <c:extLst>
              <c:ext xmlns:c16="http://schemas.microsoft.com/office/drawing/2014/chart" uri="{C3380CC4-5D6E-409C-BE32-E72D297353CC}">
                <c16:uniqueId val="{0000093D-4B1F-42FD-9B84-37A75D366F36}"/>
              </c:ext>
            </c:extLst>
          </c:dPt>
          <c:dPt>
            <c:idx val="1182"/>
            <c:invertIfNegative val="1"/>
            <c:bubble3D val="0"/>
            <c:spPr>
              <a:solidFill>
                <a:srgbClr val="AEABAB"/>
              </a:solidFill>
            </c:spPr>
            <c:extLst>
              <c:ext xmlns:c16="http://schemas.microsoft.com/office/drawing/2014/chart" uri="{C3380CC4-5D6E-409C-BE32-E72D297353CC}">
                <c16:uniqueId val="{0000093F-4B1F-42FD-9B84-37A75D366F36}"/>
              </c:ext>
            </c:extLst>
          </c:dPt>
          <c:dPt>
            <c:idx val="1183"/>
            <c:invertIfNegative val="1"/>
            <c:bubble3D val="0"/>
            <c:spPr>
              <a:solidFill>
                <a:srgbClr val="AEABAB"/>
              </a:solidFill>
            </c:spPr>
            <c:extLst>
              <c:ext xmlns:c16="http://schemas.microsoft.com/office/drawing/2014/chart" uri="{C3380CC4-5D6E-409C-BE32-E72D297353CC}">
                <c16:uniqueId val="{00000941-4B1F-42FD-9B84-37A75D366F36}"/>
              </c:ext>
            </c:extLst>
          </c:dPt>
          <c:dPt>
            <c:idx val="1184"/>
            <c:invertIfNegative val="1"/>
            <c:bubble3D val="0"/>
            <c:spPr>
              <a:solidFill>
                <a:srgbClr val="AEABAB"/>
              </a:solidFill>
            </c:spPr>
            <c:extLst>
              <c:ext xmlns:c16="http://schemas.microsoft.com/office/drawing/2014/chart" uri="{C3380CC4-5D6E-409C-BE32-E72D297353CC}">
                <c16:uniqueId val="{00000943-4B1F-42FD-9B84-37A75D366F36}"/>
              </c:ext>
            </c:extLst>
          </c:dPt>
          <c:dPt>
            <c:idx val="1185"/>
            <c:invertIfNegative val="1"/>
            <c:bubble3D val="0"/>
            <c:spPr>
              <a:solidFill>
                <a:srgbClr val="AEABAB"/>
              </a:solidFill>
            </c:spPr>
            <c:extLst>
              <c:ext xmlns:c16="http://schemas.microsoft.com/office/drawing/2014/chart" uri="{C3380CC4-5D6E-409C-BE32-E72D297353CC}">
                <c16:uniqueId val="{00000945-4B1F-42FD-9B84-37A75D366F36}"/>
              </c:ext>
            </c:extLst>
          </c:dPt>
          <c:dPt>
            <c:idx val="1186"/>
            <c:invertIfNegative val="1"/>
            <c:bubble3D val="0"/>
            <c:spPr>
              <a:solidFill>
                <a:srgbClr val="AEABAB"/>
              </a:solidFill>
            </c:spPr>
            <c:extLst>
              <c:ext xmlns:c16="http://schemas.microsoft.com/office/drawing/2014/chart" uri="{C3380CC4-5D6E-409C-BE32-E72D297353CC}">
                <c16:uniqueId val="{00000947-4B1F-42FD-9B84-37A75D366F36}"/>
              </c:ext>
            </c:extLst>
          </c:dPt>
          <c:dPt>
            <c:idx val="1187"/>
            <c:invertIfNegative val="1"/>
            <c:bubble3D val="0"/>
            <c:spPr>
              <a:solidFill>
                <a:srgbClr val="AEABAB"/>
              </a:solidFill>
            </c:spPr>
            <c:extLst>
              <c:ext xmlns:c16="http://schemas.microsoft.com/office/drawing/2014/chart" uri="{C3380CC4-5D6E-409C-BE32-E72D297353CC}">
                <c16:uniqueId val="{00000949-4B1F-42FD-9B84-37A75D366F36}"/>
              </c:ext>
            </c:extLst>
          </c:dPt>
          <c:dPt>
            <c:idx val="1188"/>
            <c:invertIfNegative val="1"/>
            <c:bubble3D val="0"/>
            <c:spPr>
              <a:solidFill>
                <a:srgbClr val="AEABAB"/>
              </a:solidFill>
            </c:spPr>
            <c:extLst>
              <c:ext xmlns:c16="http://schemas.microsoft.com/office/drawing/2014/chart" uri="{C3380CC4-5D6E-409C-BE32-E72D297353CC}">
                <c16:uniqueId val="{0000094B-4B1F-42FD-9B84-37A75D366F36}"/>
              </c:ext>
            </c:extLst>
          </c:dPt>
          <c:dPt>
            <c:idx val="1189"/>
            <c:invertIfNegative val="1"/>
            <c:bubble3D val="0"/>
            <c:spPr>
              <a:solidFill>
                <a:srgbClr val="AEABAB"/>
              </a:solidFill>
            </c:spPr>
            <c:extLst>
              <c:ext xmlns:c16="http://schemas.microsoft.com/office/drawing/2014/chart" uri="{C3380CC4-5D6E-409C-BE32-E72D297353CC}">
                <c16:uniqueId val="{0000094D-4B1F-42FD-9B84-37A75D366F36}"/>
              </c:ext>
            </c:extLst>
          </c:dPt>
          <c:dPt>
            <c:idx val="1190"/>
            <c:invertIfNegative val="1"/>
            <c:bubble3D val="0"/>
            <c:spPr>
              <a:solidFill>
                <a:srgbClr val="AEABAB"/>
              </a:solidFill>
            </c:spPr>
            <c:extLst>
              <c:ext xmlns:c16="http://schemas.microsoft.com/office/drawing/2014/chart" uri="{C3380CC4-5D6E-409C-BE32-E72D297353CC}">
                <c16:uniqueId val="{0000094F-4B1F-42FD-9B84-37A75D366F36}"/>
              </c:ext>
            </c:extLst>
          </c:dPt>
          <c:dPt>
            <c:idx val="1191"/>
            <c:invertIfNegative val="1"/>
            <c:bubble3D val="0"/>
            <c:spPr>
              <a:solidFill>
                <a:srgbClr val="AEABAB"/>
              </a:solidFill>
            </c:spPr>
            <c:extLst>
              <c:ext xmlns:c16="http://schemas.microsoft.com/office/drawing/2014/chart" uri="{C3380CC4-5D6E-409C-BE32-E72D297353CC}">
                <c16:uniqueId val="{00000951-4B1F-42FD-9B84-37A75D366F36}"/>
              </c:ext>
            </c:extLst>
          </c:dPt>
          <c:dPt>
            <c:idx val="1192"/>
            <c:invertIfNegative val="1"/>
            <c:bubble3D val="0"/>
            <c:spPr>
              <a:solidFill>
                <a:srgbClr val="AEABAB"/>
              </a:solidFill>
            </c:spPr>
            <c:extLst>
              <c:ext xmlns:c16="http://schemas.microsoft.com/office/drawing/2014/chart" uri="{C3380CC4-5D6E-409C-BE32-E72D297353CC}">
                <c16:uniqueId val="{00000953-4B1F-42FD-9B84-37A75D366F36}"/>
              </c:ext>
            </c:extLst>
          </c:dPt>
          <c:dPt>
            <c:idx val="1193"/>
            <c:invertIfNegative val="1"/>
            <c:bubble3D val="0"/>
            <c:spPr>
              <a:solidFill>
                <a:srgbClr val="AEABAB"/>
              </a:solidFill>
            </c:spPr>
            <c:extLst>
              <c:ext xmlns:c16="http://schemas.microsoft.com/office/drawing/2014/chart" uri="{C3380CC4-5D6E-409C-BE32-E72D297353CC}">
                <c16:uniqueId val="{00000955-4B1F-42FD-9B84-37A75D366F36}"/>
              </c:ext>
            </c:extLst>
          </c:dPt>
          <c:dPt>
            <c:idx val="1194"/>
            <c:invertIfNegative val="1"/>
            <c:bubble3D val="0"/>
            <c:spPr>
              <a:solidFill>
                <a:srgbClr val="AEABAB"/>
              </a:solidFill>
            </c:spPr>
            <c:extLst>
              <c:ext xmlns:c16="http://schemas.microsoft.com/office/drawing/2014/chart" uri="{C3380CC4-5D6E-409C-BE32-E72D297353CC}">
                <c16:uniqueId val="{00000957-4B1F-42FD-9B84-37A75D366F36}"/>
              </c:ext>
            </c:extLst>
          </c:dPt>
          <c:dPt>
            <c:idx val="1195"/>
            <c:invertIfNegative val="1"/>
            <c:bubble3D val="0"/>
            <c:spPr>
              <a:solidFill>
                <a:srgbClr val="AEABAB"/>
              </a:solidFill>
            </c:spPr>
            <c:extLst>
              <c:ext xmlns:c16="http://schemas.microsoft.com/office/drawing/2014/chart" uri="{C3380CC4-5D6E-409C-BE32-E72D297353CC}">
                <c16:uniqueId val="{00000959-4B1F-42FD-9B84-37A75D366F36}"/>
              </c:ext>
            </c:extLst>
          </c:dPt>
          <c:dPt>
            <c:idx val="1196"/>
            <c:invertIfNegative val="1"/>
            <c:bubble3D val="0"/>
            <c:spPr>
              <a:solidFill>
                <a:srgbClr val="AEABAB"/>
              </a:solidFill>
            </c:spPr>
            <c:extLst>
              <c:ext xmlns:c16="http://schemas.microsoft.com/office/drawing/2014/chart" uri="{C3380CC4-5D6E-409C-BE32-E72D297353CC}">
                <c16:uniqueId val="{0000095B-4B1F-42FD-9B84-37A75D366F36}"/>
              </c:ext>
            </c:extLst>
          </c:dPt>
          <c:dPt>
            <c:idx val="1197"/>
            <c:invertIfNegative val="1"/>
            <c:bubble3D val="0"/>
            <c:spPr>
              <a:solidFill>
                <a:srgbClr val="AEABAB"/>
              </a:solidFill>
            </c:spPr>
            <c:extLst>
              <c:ext xmlns:c16="http://schemas.microsoft.com/office/drawing/2014/chart" uri="{C3380CC4-5D6E-409C-BE32-E72D297353CC}">
                <c16:uniqueId val="{0000095D-4B1F-42FD-9B84-37A75D366F36}"/>
              </c:ext>
            </c:extLst>
          </c:dPt>
          <c:dPt>
            <c:idx val="1198"/>
            <c:invertIfNegative val="1"/>
            <c:bubble3D val="0"/>
            <c:spPr>
              <a:solidFill>
                <a:srgbClr val="AEABAB"/>
              </a:solidFill>
            </c:spPr>
            <c:extLst>
              <c:ext xmlns:c16="http://schemas.microsoft.com/office/drawing/2014/chart" uri="{C3380CC4-5D6E-409C-BE32-E72D297353CC}">
                <c16:uniqueId val="{0000095F-4B1F-42FD-9B84-37A75D366F36}"/>
              </c:ext>
            </c:extLst>
          </c:dPt>
          <c:dPt>
            <c:idx val="1199"/>
            <c:invertIfNegative val="1"/>
            <c:bubble3D val="0"/>
            <c:spPr>
              <a:solidFill>
                <a:srgbClr val="AEABAB"/>
              </a:solidFill>
            </c:spPr>
            <c:extLst>
              <c:ext xmlns:c16="http://schemas.microsoft.com/office/drawing/2014/chart" uri="{C3380CC4-5D6E-409C-BE32-E72D297353CC}">
                <c16:uniqueId val="{00000961-4B1F-42FD-9B84-37A75D366F36}"/>
              </c:ext>
            </c:extLst>
          </c:dPt>
          <c:dPt>
            <c:idx val="1200"/>
            <c:invertIfNegative val="1"/>
            <c:bubble3D val="0"/>
            <c:spPr>
              <a:solidFill>
                <a:srgbClr val="AEABAB"/>
              </a:solidFill>
            </c:spPr>
            <c:extLst>
              <c:ext xmlns:c16="http://schemas.microsoft.com/office/drawing/2014/chart" uri="{C3380CC4-5D6E-409C-BE32-E72D297353CC}">
                <c16:uniqueId val="{00000963-4B1F-42FD-9B84-37A75D366F36}"/>
              </c:ext>
            </c:extLst>
          </c:dPt>
          <c:dPt>
            <c:idx val="1201"/>
            <c:invertIfNegative val="1"/>
            <c:bubble3D val="0"/>
            <c:spPr>
              <a:solidFill>
                <a:srgbClr val="AEABAB"/>
              </a:solidFill>
            </c:spPr>
            <c:extLst>
              <c:ext xmlns:c16="http://schemas.microsoft.com/office/drawing/2014/chart" uri="{C3380CC4-5D6E-409C-BE32-E72D297353CC}">
                <c16:uniqueId val="{00000965-4B1F-42FD-9B84-37A75D366F36}"/>
              </c:ext>
            </c:extLst>
          </c:dPt>
          <c:dPt>
            <c:idx val="1202"/>
            <c:invertIfNegative val="1"/>
            <c:bubble3D val="0"/>
            <c:spPr>
              <a:solidFill>
                <a:srgbClr val="AEABAB"/>
              </a:solidFill>
            </c:spPr>
            <c:extLst>
              <c:ext xmlns:c16="http://schemas.microsoft.com/office/drawing/2014/chart" uri="{C3380CC4-5D6E-409C-BE32-E72D297353CC}">
                <c16:uniqueId val="{00000967-4B1F-42FD-9B84-37A75D366F36}"/>
              </c:ext>
            </c:extLst>
          </c:dPt>
          <c:dPt>
            <c:idx val="1203"/>
            <c:invertIfNegative val="1"/>
            <c:bubble3D val="0"/>
            <c:spPr>
              <a:solidFill>
                <a:srgbClr val="AEABAB"/>
              </a:solidFill>
            </c:spPr>
            <c:extLst>
              <c:ext xmlns:c16="http://schemas.microsoft.com/office/drawing/2014/chart" uri="{C3380CC4-5D6E-409C-BE32-E72D297353CC}">
                <c16:uniqueId val="{00000969-4B1F-42FD-9B84-37A75D366F36}"/>
              </c:ext>
            </c:extLst>
          </c:dPt>
          <c:dPt>
            <c:idx val="1204"/>
            <c:invertIfNegative val="1"/>
            <c:bubble3D val="0"/>
            <c:spPr>
              <a:solidFill>
                <a:srgbClr val="AEABAB"/>
              </a:solidFill>
            </c:spPr>
            <c:extLst>
              <c:ext xmlns:c16="http://schemas.microsoft.com/office/drawing/2014/chart" uri="{C3380CC4-5D6E-409C-BE32-E72D297353CC}">
                <c16:uniqueId val="{0000096B-4B1F-42FD-9B84-37A75D366F36}"/>
              </c:ext>
            </c:extLst>
          </c:dPt>
          <c:dPt>
            <c:idx val="1205"/>
            <c:invertIfNegative val="1"/>
            <c:bubble3D val="0"/>
            <c:spPr>
              <a:solidFill>
                <a:srgbClr val="AEABAB"/>
              </a:solidFill>
            </c:spPr>
            <c:extLst>
              <c:ext xmlns:c16="http://schemas.microsoft.com/office/drawing/2014/chart" uri="{C3380CC4-5D6E-409C-BE32-E72D297353CC}">
                <c16:uniqueId val="{0000096D-4B1F-42FD-9B84-37A75D366F36}"/>
              </c:ext>
            </c:extLst>
          </c:dPt>
          <c:dPt>
            <c:idx val="1206"/>
            <c:invertIfNegative val="1"/>
            <c:bubble3D val="0"/>
            <c:spPr>
              <a:solidFill>
                <a:srgbClr val="AEABAB"/>
              </a:solidFill>
            </c:spPr>
            <c:extLst>
              <c:ext xmlns:c16="http://schemas.microsoft.com/office/drawing/2014/chart" uri="{C3380CC4-5D6E-409C-BE32-E72D297353CC}">
                <c16:uniqueId val="{0000096F-4B1F-42FD-9B84-37A75D366F36}"/>
              </c:ext>
            </c:extLst>
          </c:dPt>
          <c:dPt>
            <c:idx val="1207"/>
            <c:invertIfNegative val="1"/>
            <c:bubble3D val="0"/>
            <c:spPr>
              <a:solidFill>
                <a:srgbClr val="AEABAB"/>
              </a:solidFill>
            </c:spPr>
            <c:extLst>
              <c:ext xmlns:c16="http://schemas.microsoft.com/office/drawing/2014/chart" uri="{C3380CC4-5D6E-409C-BE32-E72D297353CC}">
                <c16:uniqueId val="{00000971-4B1F-42FD-9B84-37A75D366F36}"/>
              </c:ext>
            </c:extLst>
          </c:dPt>
          <c:dPt>
            <c:idx val="1208"/>
            <c:invertIfNegative val="1"/>
            <c:bubble3D val="0"/>
            <c:spPr>
              <a:solidFill>
                <a:srgbClr val="AEABAB"/>
              </a:solidFill>
            </c:spPr>
            <c:extLst>
              <c:ext xmlns:c16="http://schemas.microsoft.com/office/drawing/2014/chart" uri="{C3380CC4-5D6E-409C-BE32-E72D297353CC}">
                <c16:uniqueId val="{00000973-4B1F-42FD-9B84-37A75D366F36}"/>
              </c:ext>
            </c:extLst>
          </c:dPt>
          <c:dPt>
            <c:idx val="1209"/>
            <c:invertIfNegative val="1"/>
            <c:bubble3D val="0"/>
            <c:spPr>
              <a:solidFill>
                <a:srgbClr val="AEABAB"/>
              </a:solidFill>
            </c:spPr>
            <c:extLst>
              <c:ext xmlns:c16="http://schemas.microsoft.com/office/drawing/2014/chart" uri="{C3380CC4-5D6E-409C-BE32-E72D297353CC}">
                <c16:uniqueId val="{00000975-4B1F-42FD-9B84-37A75D366F36}"/>
              </c:ext>
            </c:extLst>
          </c:dPt>
          <c:dPt>
            <c:idx val="1210"/>
            <c:invertIfNegative val="1"/>
            <c:bubble3D val="0"/>
            <c:spPr>
              <a:solidFill>
                <a:srgbClr val="AEABAB"/>
              </a:solidFill>
            </c:spPr>
            <c:extLst>
              <c:ext xmlns:c16="http://schemas.microsoft.com/office/drawing/2014/chart" uri="{C3380CC4-5D6E-409C-BE32-E72D297353CC}">
                <c16:uniqueId val="{00000977-4B1F-42FD-9B84-37A75D366F36}"/>
              </c:ext>
            </c:extLst>
          </c:dPt>
          <c:dPt>
            <c:idx val="1211"/>
            <c:invertIfNegative val="1"/>
            <c:bubble3D val="0"/>
            <c:spPr>
              <a:solidFill>
                <a:srgbClr val="AEABAB"/>
              </a:solidFill>
            </c:spPr>
            <c:extLst>
              <c:ext xmlns:c16="http://schemas.microsoft.com/office/drawing/2014/chart" uri="{C3380CC4-5D6E-409C-BE32-E72D297353CC}">
                <c16:uniqueId val="{00000979-4B1F-42FD-9B84-37A75D366F36}"/>
              </c:ext>
            </c:extLst>
          </c:dPt>
          <c:dPt>
            <c:idx val="1212"/>
            <c:invertIfNegative val="1"/>
            <c:bubble3D val="0"/>
            <c:spPr>
              <a:solidFill>
                <a:srgbClr val="AEABAB"/>
              </a:solidFill>
            </c:spPr>
            <c:extLst>
              <c:ext xmlns:c16="http://schemas.microsoft.com/office/drawing/2014/chart" uri="{C3380CC4-5D6E-409C-BE32-E72D297353CC}">
                <c16:uniqueId val="{0000097B-4B1F-42FD-9B84-37A75D366F36}"/>
              </c:ext>
            </c:extLst>
          </c:dPt>
          <c:dPt>
            <c:idx val="1213"/>
            <c:invertIfNegative val="1"/>
            <c:bubble3D val="0"/>
            <c:spPr>
              <a:solidFill>
                <a:srgbClr val="AEABAB"/>
              </a:solidFill>
            </c:spPr>
            <c:extLst>
              <c:ext xmlns:c16="http://schemas.microsoft.com/office/drawing/2014/chart" uri="{C3380CC4-5D6E-409C-BE32-E72D297353CC}">
                <c16:uniqueId val="{0000097D-4B1F-42FD-9B84-37A75D366F36}"/>
              </c:ext>
            </c:extLst>
          </c:dPt>
          <c:dPt>
            <c:idx val="1214"/>
            <c:invertIfNegative val="1"/>
            <c:bubble3D val="0"/>
            <c:spPr>
              <a:solidFill>
                <a:srgbClr val="AEABAB"/>
              </a:solidFill>
            </c:spPr>
            <c:extLst>
              <c:ext xmlns:c16="http://schemas.microsoft.com/office/drawing/2014/chart" uri="{C3380CC4-5D6E-409C-BE32-E72D297353CC}">
                <c16:uniqueId val="{0000097F-4B1F-42FD-9B84-37A75D366F36}"/>
              </c:ext>
            </c:extLst>
          </c:dPt>
          <c:dPt>
            <c:idx val="1215"/>
            <c:invertIfNegative val="1"/>
            <c:bubble3D val="0"/>
            <c:spPr>
              <a:solidFill>
                <a:srgbClr val="AEABAB"/>
              </a:solidFill>
            </c:spPr>
            <c:extLst>
              <c:ext xmlns:c16="http://schemas.microsoft.com/office/drawing/2014/chart" uri="{C3380CC4-5D6E-409C-BE32-E72D297353CC}">
                <c16:uniqueId val="{00000981-4B1F-42FD-9B84-37A75D366F36}"/>
              </c:ext>
            </c:extLst>
          </c:dPt>
          <c:dPt>
            <c:idx val="1216"/>
            <c:invertIfNegative val="1"/>
            <c:bubble3D val="0"/>
            <c:spPr>
              <a:solidFill>
                <a:srgbClr val="AEABAB"/>
              </a:solidFill>
            </c:spPr>
            <c:extLst>
              <c:ext xmlns:c16="http://schemas.microsoft.com/office/drawing/2014/chart" uri="{C3380CC4-5D6E-409C-BE32-E72D297353CC}">
                <c16:uniqueId val="{00000983-4B1F-42FD-9B84-37A75D366F36}"/>
              </c:ext>
            </c:extLst>
          </c:dPt>
          <c:dPt>
            <c:idx val="1217"/>
            <c:invertIfNegative val="1"/>
            <c:bubble3D val="0"/>
            <c:spPr>
              <a:solidFill>
                <a:srgbClr val="AEABAB"/>
              </a:solidFill>
            </c:spPr>
            <c:extLst>
              <c:ext xmlns:c16="http://schemas.microsoft.com/office/drawing/2014/chart" uri="{C3380CC4-5D6E-409C-BE32-E72D297353CC}">
                <c16:uniqueId val="{00000985-4B1F-42FD-9B84-37A75D366F36}"/>
              </c:ext>
            </c:extLst>
          </c:dPt>
          <c:dPt>
            <c:idx val="1218"/>
            <c:invertIfNegative val="1"/>
            <c:bubble3D val="0"/>
            <c:spPr>
              <a:solidFill>
                <a:srgbClr val="AEABAB"/>
              </a:solidFill>
            </c:spPr>
            <c:extLst>
              <c:ext xmlns:c16="http://schemas.microsoft.com/office/drawing/2014/chart" uri="{C3380CC4-5D6E-409C-BE32-E72D297353CC}">
                <c16:uniqueId val="{00000987-4B1F-42FD-9B84-37A75D366F36}"/>
              </c:ext>
            </c:extLst>
          </c:dPt>
          <c:dPt>
            <c:idx val="1219"/>
            <c:invertIfNegative val="1"/>
            <c:bubble3D val="0"/>
            <c:spPr>
              <a:solidFill>
                <a:srgbClr val="AEABAB"/>
              </a:solidFill>
            </c:spPr>
            <c:extLst>
              <c:ext xmlns:c16="http://schemas.microsoft.com/office/drawing/2014/chart" uri="{C3380CC4-5D6E-409C-BE32-E72D297353CC}">
                <c16:uniqueId val="{00000989-4B1F-42FD-9B84-37A75D366F36}"/>
              </c:ext>
            </c:extLst>
          </c:dPt>
          <c:dPt>
            <c:idx val="1220"/>
            <c:invertIfNegative val="1"/>
            <c:bubble3D val="0"/>
            <c:spPr>
              <a:solidFill>
                <a:srgbClr val="AEABAB"/>
              </a:solidFill>
            </c:spPr>
            <c:extLst>
              <c:ext xmlns:c16="http://schemas.microsoft.com/office/drawing/2014/chart" uri="{C3380CC4-5D6E-409C-BE32-E72D297353CC}">
                <c16:uniqueId val="{0000098B-4B1F-42FD-9B84-37A75D366F36}"/>
              </c:ext>
            </c:extLst>
          </c:dPt>
          <c:dPt>
            <c:idx val="1221"/>
            <c:invertIfNegative val="1"/>
            <c:bubble3D val="0"/>
            <c:spPr>
              <a:solidFill>
                <a:srgbClr val="AEABAB"/>
              </a:solidFill>
            </c:spPr>
            <c:extLst>
              <c:ext xmlns:c16="http://schemas.microsoft.com/office/drawing/2014/chart" uri="{C3380CC4-5D6E-409C-BE32-E72D297353CC}">
                <c16:uniqueId val="{0000098D-4B1F-42FD-9B84-37A75D366F36}"/>
              </c:ext>
            </c:extLst>
          </c:dPt>
          <c:dPt>
            <c:idx val="1222"/>
            <c:invertIfNegative val="1"/>
            <c:bubble3D val="0"/>
            <c:spPr>
              <a:solidFill>
                <a:srgbClr val="AEABAB"/>
              </a:solidFill>
            </c:spPr>
            <c:extLst>
              <c:ext xmlns:c16="http://schemas.microsoft.com/office/drawing/2014/chart" uri="{C3380CC4-5D6E-409C-BE32-E72D297353CC}">
                <c16:uniqueId val="{0000098F-4B1F-42FD-9B84-37A75D366F36}"/>
              </c:ext>
            </c:extLst>
          </c:dPt>
          <c:dPt>
            <c:idx val="1223"/>
            <c:invertIfNegative val="1"/>
            <c:bubble3D val="0"/>
            <c:spPr>
              <a:solidFill>
                <a:srgbClr val="AEABAB"/>
              </a:solidFill>
            </c:spPr>
            <c:extLst>
              <c:ext xmlns:c16="http://schemas.microsoft.com/office/drawing/2014/chart" uri="{C3380CC4-5D6E-409C-BE32-E72D297353CC}">
                <c16:uniqueId val="{00000991-4B1F-42FD-9B84-37A75D366F36}"/>
              </c:ext>
            </c:extLst>
          </c:dPt>
          <c:dPt>
            <c:idx val="1224"/>
            <c:invertIfNegative val="1"/>
            <c:bubble3D val="0"/>
            <c:spPr>
              <a:solidFill>
                <a:srgbClr val="AEABAB"/>
              </a:solidFill>
            </c:spPr>
            <c:extLst>
              <c:ext xmlns:c16="http://schemas.microsoft.com/office/drawing/2014/chart" uri="{C3380CC4-5D6E-409C-BE32-E72D297353CC}">
                <c16:uniqueId val="{00000993-4B1F-42FD-9B84-37A75D366F36}"/>
              </c:ext>
            </c:extLst>
          </c:dPt>
          <c:dPt>
            <c:idx val="1225"/>
            <c:invertIfNegative val="1"/>
            <c:bubble3D val="0"/>
            <c:spPr>
              <a:solidFill>
                <a:srgbClr val="AEABAB"/>
              </a:solidFill>
            </c:spPr>
            <c:extLst>
              <c:ext xmlns:c16="http://schemas.microsoft.com/office/drawing/2014/chart" uri="{C3380CC4-5D6E-409C-BE32-E72D297353CC}">
                <c16:uniqueId val="{00000995-4B1F-42FD-9B84-37A75D366F36}"/>
              </c:ext>
            </c:extLst>
          </c:dPt>
          <c:dPt>
            <c:idx val="1226"/>
            <c:invertIfNegative val="1"/>
            <c:bubble3D val="0"/>
            <c:spPr>
              <a:solidFill>
                <a:srgbClr val="AEABAB"/>
              </a:solidFill>
            </c:spPr>
            <c:extLst>
              <c:ext xmlns:c16="http://schemas.microsoft.com/office/drawing/2014/chart" uri="{C3380CC4-5D6E-409C-BE32-E72D297353CC}">
                <c16:uniqueId val="{00000997-4B1F-42FD-9B84-37A75D366F36}"/>
              </c:ext>
            </c:extLst>
          </c:dPt>
          <c:dPt>
            <c:idx val="1227"/>
            <c:invertIfNegative val="1"/>
            <c:bubble3D val="0"/>
            <c:spPr>
              <a:solidFill>
                <a:srgbClr val="AEABAB"/>
              </a:solidFill>
            </c:spPr>
            <c:extLst>
              <c:ext xmlns:c16="http://schemas.microsoft.com/office/drawing/2014/chart" uri="{C3380CC4-5D6E-409C-BE32-E72D297353CC}">
                <c16:uniqueId val="{00000999-4B1F-42FD-9B84-37A75D366F36}"/>
              </c:ext>
            </c:extLst>
          </c:dPt>
          <c:dPt>
            <c:idx val="1228"/>
            <c:invertIfNegative val="1"/>
            <c:bubble3D val="0"/>
            <c:spPr>
              <a:solidFill>
                <a:srgbClr val="AEABAB"/>
              </a:solidFill>
            </c:spPr>
            <c:extLst>
              <c:ext xmlns:c16="http://schemas.microsoft.com/office/drawing/2014/chart" uri="{C3380CC4-5D6E-409C-BE32-E72D297353CC}">
                <c16:uniqueId val="{0000099B-4B1F-42FD-9B84-37A75D366F36}"/>
              </c:ext>
            </c:extLst>
          </c:dPt>
          <c:dPt>
            <c:idx val="1229"/>
            <c:invertIfNegative val="1"/>
            <c:bubble3D val="0"/>
            <c:spPr>
              <a:solidFill>
                <a:srgbClr val="AEABAB"/>
              </a:solidFill>
            </c:spPr>
            <c:extLst>
              <c:ext xmlns:c16="http://schemas.microsoft.com/office/drawing/2014/chart" uri="{C3380CC4-5D6E-409C-BE32-E72D297353CC}">
                <c16:uniqueId val="{0000099D-4B1F-42FD-9B84-37A75D366F36}"/>
              </c:ext>
            </c:extLst>
          </c:dPt>
          <c:dPt>
            <c:idx val="1230"/>
            <c:invertIfNegative val="1"/>
            <c:bubble3D val="0"/>
            <c:spPr>
              <a:solidFill>
                <a:srgbClr val="AEABAB"/>
              </a:solidFill>
            </c:spPr>
            <c:extLst>
              <c:ext xmlns:c16="http://schemas.microsoft.com/office/drawing/2014/chart" uri="{C3380CC4-5D6E-409C-BE32-E72D297353CC}">
                <c16:uniqueId val="{0000099F-4B1F-42FD-9B84-37A75D366F36}"/>
              </c:ext>
            </c:extLst>
          </c:dPt>
          <c:dPt>
            <c:idx val="1231"/>
            <c:invertIfNegative val="1"/>
            <c:bubble3D val="0"/>
            <c:spPr>
              <a:solidFill>
                <a:srgbClr val="AEABAB"/>
              </a:solidFill>
            </c:spPr>
            <c:extLst>
              <c:ext xmlns:c16="http://schemas.microsoft.com/office/drawing/2014/chart" uri="{C3380CC4-5D6E-409C-BE32-E72D297353CC}">
                <c16:uniqueId val="{000009A1-4B1F-42FD-9B84-37A75D366F36}"/>
              </c:ext>
            </c:extLst>
          </c:dPt>
          <c:dPt>
            <c:idx val="1232"/>
            <c:invertIfNegative val="1"/>
            <c:bubble3D val="0"/>
            <c:spPr>
              <a:solidFill>
                <a:srgbClr val="AEABAB"/>
              </a:solidFill>
            </c:spPr>
            <c:extLst>
              <c:ext xmlns:c16="http://schemas.microsoft.com/office/drawing/2014/chart" uri="{C3380CC4-5D6E-409C-BE32-E72D297353CC}">
                <c16:uniqueId val="{000009A3-4B1F-42FD-9B84-37A75D366F36}"/>
              </c:ext>
            </c:extLst>
          </c:dPt>
          <c:dPt>
            <c:idx val="1233"/>
            <c:invertIfNegative val="1"/>
            <c:bubble3D val="0"/>
            <c:spPr>
              <a:solidFill>
                <a:srgbClr val="AEABAB"/>
              </a:solidFill>
            </c:spPr>
            <c:extLst>
              <c:ext xmlns:c16="http://schemas.microsoft.com/office/drawing/2014/chart" uri="{C3380CC4-5D6E-409C-BE32-E72D297353CC}">
                <c16:uniqueId val="{000009A5-4B1F-42FD-9B84-37A75D366F36}"/>
              </c:ext>
            </c:extLst>
          </c:dPt>
          <c:dPt>
            <c:idx val="1234"/>
            <c:invertIfNegative val="1"/>
            <c:bubble3D val="0"/>
            <c:spPr>
              <a:solidFill>
                <a:srgbClr val="AEABAB"/>
              </a:solidFill>
            </c:spPr>
            <c:extLst>
              <c:ext xmlns:c16="http://schemas.microsoft.com/office/drawing/2014/chart" uri="{C3380CC4-5D6E-409C-BE32-E72D297353CC}">
                <c16:uniqueId val="{000009A7-4B1F-42FD-9B84-37A75D366F36}"/>
              </c:ext>
            </c:extLst>
          </c:dPt>
          <c:dPt>
            <c:idx val="1235"/>
            <c:invertIfNegative val="1"/>
            <c:bubble3D val="0"/>
            <c:spPr>
              <a:solidFill>
                <a:srgbClr val="AEABAB"/>
              </a:solidFill>
            </c:spPr>
            <c:extLst>
              <c:ext xmlns:c16="http://schemas.microsoft.com/office/drawing/2014/chart" uri="{C3380CC4-5D6E-409C-BE32-E72D297353CC}">
                <c16:uniqueId val="{000009A9-4B1F-42FD-9B84-37A75D366F36}"/>
              </c:ext>
            </c:extLst>
          </c:dPt>
          <c:dPt>
            <c:idx val="1236"/>
            <c:invertIfNegative val="1"/>
            <c:bubble3D val="0"/>
            <c:spPr>
              <a:solidFill>
                <a:srgbClr val="AEABAB"/>
              </a:solidFill>
            </c:spPr>
            <c:extLst>
              <c:ext xmlns:c16="http://schemas.microsoft.com/office/drawing/2014/chart" uri="{C3380CC4-5D6E-409C-BE32-E72D297353CC}">
                <c16:uniqueId val="{000009AB-4B1F-42FD-9B84-37A75D366F36}"/>
              </c:ext>
            </c:extLst>
          </c:dPt>
          <c:dPt>
            <c:idx val="1237"/>
            <c:invertIfNegative val="1"/>
            <c:bubble3D val="0"/>
            <c:spPr>
              <a:solidFill>
                <a:srgbClr val="AEABAB"/>
              </a:solidFill>
            </c:spPr>
            <c:extLst>
              <c:ext xmlns:c16="http://schemas.microsoft.com/office/drawing/2014/chart" uri="{C3380CC4-5D6E-409C-BE32-E72D297353CC}">
                <c16:uniqueId val="{000009AD-4B1F-42FD-9B84-37A75D366F36}"/>
              </c:ext>
            </c:extLst>
          </c:dPt>
          <c:dPt>
            <c:idx val="1238"/>
            <c:invertIfNegative val="1"/>
            <c:bubble3D val="0"/>
            <c:spPr>
              <a:solidFill>
                <a:srgbClr val="AEABAB"/>
              </a:solidFill>
            </c:spPr>
            <c:extLst>
              <c:ext xmlns:c16="http://schemas.microsoft.com/office/drawing/2014/chart" uri="{C3380CC4-5D6E-409C-BE32-E72D297353CC}">
                <c16:uniqueId val="{000009AF-4B1F-42FD-9B84-37A75D366F36}"/>
              </c:ext>
            </c:extLst>
          </c:dPt>
          <c:dPt>
            <c:idx val="1239"/>
            <c:invertIfNegative val="1"/>
            <c:bubble3D val="0"/>
            <c:spPr>
              <a:solidFill>
                <a:srgbClr val="AEABAB"/>
              </a:solidFill>
            </c:spPr>
            <c:extLst>
              <c:ext xmlns:c16="http://schemas.microsoft.com/office/drawing/2014/chart" uri="{C3380CC4-5D6E-409C-BE32-E72D297353CC}">
                <c16:uniqueId val="{000009B1-4B1F-42FD-9B84-37A75D366F36}"/>
              </c:ext>
            </c:extLst>
          </c:dPt>
          <c:dPt>
            <c:idx val="1240"/>
            <c:invertIfNegative val="1"/>
            <c:bubble3D val="0"/>
            <c:spPr>
              <a:solidFill>
                <a:srgbClr val="AEABAB"/>
              </a:solidFill>
            </c:spPr>
            <c:extLst>
              <c:ext xmlns:c16="http://schemas.microsoft.com/office/drawing/2014/chart" uri="{C3380CC4-5D6E-409C-BE32-E72D297353CC}">
                <c16:uniqueId val="{000009B3-4B1F-42FD-9B84-37A75D366F36}"/>
              </c:ext>
            </c:extLst>
          </c:dPt>
          <c:dPt>
            <c:idx val="1241"/>
            <c:invertIfNegative val="1"/>
            <c:bubble3D val="0"/>
            <c:spPr>
              <a:solidFill>
                <a:srgbClr val="AEABAB"/>
              </a:solidFill>
            </c:spPr>
            <c:extLst>
              <c:ext xmlns:c16="http://schemas.microsoft.com/office/drawing/2014/chart" uri="{C3380CC4-5D6E-409C-BE32-E72D297353CC}">
                <c16:uniqueId val="{000009B5-4B1F-42FD-9B84-37A75D366F36}"/>
              </c:ext>
            </c:extLst>
          </c:dPt>
          <c:dPt>
            <c:idx val="1242"/>
            <c:invertIfNegative val="1"/>
            <c:bubble3D val="0"/>
            <c:spPr>
              <a:solidFill>
                <a:srgbClr val="AEABAB"/>
              </a:solidFill>
            </c:spPr>
            <c:extLst>
              <c:ext xmlns:c16="http://schemas.microsoft.com/office/drawing/2014/chart" uri="{C3380CC4-5D6E-409C-BE32-E72D297353CC}">
                <c16:uniqueId val="{000009B7-4B1F-42FD-9B84-37A75D366F36}"/>
              </c:ext>
            </c:extLst>
          </c:dPt>
          <c:dPt>
            <c:idx val="1243"/>
            <c:invertIfNegative val="1"/>
            <c:bubble3D val="0"/>
            <c:spPr>
              <a:solidFill>
                <a:srgbClr val="AEABAB"/>
              </a:solidFill>
            </c:spPr>
            <c:extLst>
              <c:ext xmlns:c16="http://schemas.microsoft.com/office/drawing/2014/chart" uri="{C3380CC4-5D6E-409C-BE32-E72D297353CC}">
                <c16:uniqueId val="{000009B9-4B1F-42FD-9B84-37A75D366F36}"/>
              </c:ext>
            </c:extLst>
          </c:dPt>
          <c:dPt>
            <c:idx val="1244"/>
            <c:invertIfNegative val="1"/>
            <c:bubble3D val="0"/>
            <c:spPr>
              <a:solidFill>
                <a:srgbClr val="AEABAB"/>
              </a:solidFill>
            </c:spPr>
            <c:extLst>
              <c:ext xmlns:c16="http://schemas.microsoft.com/office/drawing/2014/chart" uri="{C3380CC4-5D6E-409C-BE32-E72D297353CC}">
                <c16:uniqueId val="{000009BB-4B1F-42FD-9B84-37A75D366F36}"/>
              </c:ext>
            </c:extLst>
          </c:dPt>
          <c:dPt>
            <c:idx val="1245"/>
            <c:invertIfNegative val="1"/>
            <c:bubble3D val="0"/>
            <c:spPr>
              <a:solidFill>
                <a:srgbClr val="AEABAB"/>
              </a:solidFill>
            </c:spPr>
            <c:extLst>
              <c:ext xmlns:c16="http://schemas.microsoft.com/office/drawing/2014/chart" uri="{C3380CC4-5D6E-409C-BE32-E72D297353CC}">
                <c16:uniqueId val="{000009BD-4B1F-42FD-9B84-37A75D366F36}"/>
              </c:ext>
            </c:extLst>
          </c:dPt>
          <c:dPt>
            <c:idx val="1246"/>
            <c:invertIfNegative val="1"/>
            <c:bubble3D val="0"/>
            <c:spPr>
              <a:solidFill>
                <a:srgbClr val="AEABAB"/>
              </a:solidFill>
            </c:spPr>
            <c:extLst>
              <c:ext xmlns:c16="http://schemas.microsoft.com/office/drawing/2014/chart" uri="{C3380CC4-5D6E-409C-BE32-E72D297353CC}">
                <c16:uniqueId val="{000009BF-4B1F-42FD-9B84-37A75D366F36}"/>
              </c:ext>
            </c:extLst>
          </c:dPt>
          <c:dPt>
            <c:idx val="1247"/>
            <c:invertIfNegative val="1"/>
            <c:bubble3D val="0"/>
            <c:spPr>
              <a:solidFill>
                <a:srgbClr val="AEABAB"/>
              </a:solidFill>
            </c:spPr>
            <c:extLst>
              <c:ext xmlns:c16="http://schemas.microsoft.com/office/drawing/2014/chart" uri="{C3380CC4-5D6E-409C-BE32-E72D297353CC}">
                <c16:uniqueId val="{000009C1-4B1F-42FD-9B84-37A75D366F36}"/>
              </c:ext>
            </c:extLst>
          </c:dPt>
          <c:dPt>
            <c:idx val="1248"/>
            <c:invertIfNegative val="1"/>
            <c:bubble3D val="0"/>
            <c:spPr>
              <a:solidFill>
                <a:srgbClr val="AEABAB"/>
              </a:solidFill>
            </c:spPr>
            <c:extLst>
              <c:ext xmlns:c16="http://schemas.microsoft.com/office/drawing/2014/chart" uri="{C3380CC4-5D6E-409C-BE32-E72D297353CC}">
                <c16:uniqueId val="{000009C3-4B1F-42FD-9B84-37A75D366F36}"/>
              </c:ext>
            </c:extLst>
          </c:dPt>
          <c:dPt>
            <c:idx val="1249"/>
            <c:invertIfNegative val="1"/>
            <c:bubble3D val="0"/>
            <c:spPr>
              <a:solidFill>
                <a:srgbClr val="AEABAB"/>
              </a:solidFill>
            </c:spPr>
            <c:extLst>
              <c:ext xmlns:c16="http://schemas.microsoft.com/office/drawing/2014/chart" uri="{C3380CC4-5D6E-409C-BE32-E72D297353CC}">
                <c16:uniqueId val="{000009C5-4B1F-42FD-9B84-37A75D366F36}"/>
              </c:ext>
            </c:extLst>
          </c:dPt>
          <c:dPt>
            <c:idx val="1250"/>
            <c:invertIfNegative val="1"/>
            <c:bubble3D val="0"/>
            <c:spPr>
              <a:solidFill>
                <a:srgbClr val="AEABAB"/>
              </a:solidFill>
            </c:spPr>
            <c:extLst>
              <c:ext xmlns:c16="http://schemas.microsoft.com/office/drawing/2014/chart" uri="{C3380CC4-5D6E-409C-BE32-E72D297353CC}">
                <c16:uniqueId val="{000009C7-4B1F-42FD-9B84-37A75D366F36}"/>
              </c:ext>
            </c:extLst>
          </c:dPt>
          <c:dPt>
            <c:idx val="1251"/>
            <c:invertIfNegative val="1"/>
            <c:bubble3D val="0"/>
            <c:spPr>
              <a:solidFill>
                <a:srgbClr val="AEABAB"/>
              </a:solidFill>
            </c:spPr>
            <c:extLst>
              <c:ext xmlns:c16="http://schemas.microsoft.com/office/drawing/2014/chart" uri="{C3380CC4-5D6E-409C-BE32-E72D297353CC}">
                <c16:uniqueId val="{000009C9-4B1F-42FD-9B84-37A75D366F36}"/>
              </c:ext>
            </c:extLst>
          </c:dPt>
          <c:dPt>
            <c:idx val="1252"/>
            <c:invertIfNegative val="1"/>
            <c:bubble3D val="0"/>
            <c:spPr>
              <a:solidFill>
                <a:srgbClr val="AEABAB"/>
              </a:solidFill>
            </c:spPr>
            <c:extLst>
              <c:ext xmlns:c16="http://schemas.microsoft.com/office/drawing/2014/chart" uri="{C3380CC4-5D6E-409C-BE32-E72D297353CC}">
                <c16:uniqueId val="{000009CB-4B1F-42FD-9B84-37A75D366F36}"/>
              </c:ext>
            </c:extLst>
          </c:dPt>
          <c:dPt>
            <c:idx val="1253"/>
            <c:invertIfNegative val="1"/>
            <c:bubble3D val="0"/>
            <c:spPr>
              <a:solidFill>
                <a:srgbClr val="AEABAB"/>
              </a:solidFill>
            </c:spPr>
            <c:extLst>
              <c:ext xmlns:c16="http://schemas.microsoft.com/office/drawing/2014/chart" uri="{C3380CC4-5D6E-409C-BE32-E72D297353CC}">
                <c16:uniqueId val="{000009CD-4B1F-42FD-9B84-37A75D366F36}"/>
              </c:ext>
            </c:extLst>
          </c:dPt>
          <c:dPt>
            <c:idx val="1254"/>
            <c:invertIfNegative val="1"/>
            <c:bubble3D val="0"/>
            <c:spPr>
              <a:solidFill>
                <a:srgbClr val="AEABAB"/>
              </a:solidFill>
            </c:spPr>
            <c:extLst>
              <c:ext xmlns:c16="http://schemas.microsoft.com/office/drawing/2014/chart" uri="{C3380CC4-5D6E-409C-BE32-E72D297353CC}">
                <c16:uniqueId val="{000009CF-4B1F-42FD-9B84-37A75D366F36}"/>
              </c:ext>
            </c:extLst>
          </c:dPt>
          <c:dPt>
            <c:idx val="1255"/>
            <c:invertIfNegative val="1"/>
            <c:bubble3D val="0"/>
            <c:spPr>
              <a:solidFill>
                <a:srgbClr val="AEABAB"/>
              </a:solidFill>
            </c:spPr>
            <c:extLst>
              <c:ext xmlns:c16="http://schemas.microsoft.com/office/drawing/2014/chart" uri="{C3380CC4-5D6E-409C-BE32-E72D297353CC}">
                <c16:uniqueId val="{000009D1-4B1F-42FD-9B84-37A75D366F36}"/>
              </c:ext>
            </c:extLst>
          </c:dPt>
          <c:dPt>
            <c:idx val="1256"/>
            <c:invertIfNegative val="1"/>
            <c:bubble3D val="0"/>
            <c:spPr>
              <a:solidFill>
                <a:srgbClr val="AEABAB"/>
              </a:solidFill>
            </c:spPr>
            <c:extLst>
              <c:ext xmlns:c16="http://schemas.microsoft.com/office/drawing/2014/chart" uri="{C3380CC4-5D6E-409C-BE32-E72D297353CC}">
                <c16:uniqueId val="{000009D3-4B1F-42FD-9B84-37A75D366F36}"/>
              </c:ext>
            </c:extLst>
          </c:dPt>
          <c:dPt>
            <c:idx val="1257"/>
            <c:invertIfNegative val="1"/>
            <c:bubble3D val="0"/>
            <c:spPr>
              <a:solidFill>
                <a:srgbClr val="AEABAB"/>
              </a:solidFill>
            </c:spPr>
            <c:extLst>
              <c:ext xmlns:c16="http://schemas.microsoft.com/office/drawing/2014/chart" uri="{C3380CC4-5D6E-409C-BE32-E72D297353CC}">
                <c16:uniqueId val="{000009D5-4B1F-42FD-9B84-37A75D366F36}"/>
              </c:ext>
            </c:extLst>
          </c:dPt>
          <c:dPt>
            <c:idx val="1258"/>
            <c:invertIfNegative val="1"/>
            <c:bubble3D val="0"/>
            <c:spPr>
              <a:solidFill>
                <a:srgbClr val="AEABAB"/>
              </a:solidFill>
            </c:spPr>
            <c:extLst>
              <c:ext xmlns:c16="http://schemas.microsoft.com/office/drawing/2014/chart" uri="{C3380CC4-5D6E-409C-BE32-E72D297353CC}">
                <c16:uniqueId val="{000009D7-4B1F-42FD-9B84-37A75D366F36}"/>
              </c:ext>
            </c:extLst>
          </c:dPt>
          <c:dPt>
            <c:idx val="1259"/>
            <c:invertIfNegative val="1"/>
            <c:bubble3D val="0"/>
            <c:spPr>
              <a:solidFill>
                <a:srgbClr val="AEABAB"/>
              </a:solidFill>
            </c:spPr>
            <c:extLst>
              <c:ext xmlns:c16="http://schemas.microsoft.com/office/drawing/2014/chart" uri="{C3380CC4-5D6E-409C-BE32-E72D297353CC}">
                <c16:uniqueId val="{000009D9-4B1F-42FD-9B84-37A75D366F36}"/>
              </c:ext>
            </c:extLst>
          </c:dPt>
          <c:dPt>
            <c:idx val="1260"/>
            <c:invertIfNegative val="1"/>
            <c:bubble3D val="0"/>
            <c:spPr>
              <a:solidFill>
                <a:srgbClr val="AEABAB"/>
              </a:solidFill>
            </c:spPr>
            <c:extLst>
              <c:ext xmlns:c16="http://schemas.microsoft.com/office/drawing/2014/chart" uri="{C3380CC4-5D6E-409C-BE32-E72D297353CC}">
                <c16:uniqueId val="{000009DB-4B1F-42FD-9B84-37A75D366F36}"/>
              </c:ext>
            </c:extLst>
          </c:dPt>
          <c:dPt>
            <c:idx val="1261"/>
            <c:invertIfNegative val="1"/>
            <c:bubble3D val="0"/>
            <c:spPr>
              <a:solidFill>
                <a:srgbClr val="AEABAB"/>
              </a:solidFill>
            </c:spPr>
            <c:extLst>
              <c:ext xmlns:c16="http://schemas.microsoft.com/office/drawing/2014/chart" uri="{C3380CC4-5D6E-409C-BE32-E72D297353CC}">
                <c16:uniqueId val="{000009DD-4B1F-42FD-9B84-37A75D366F36}"/>
              </c:ext>
            </c:extLst>
          </c:dPt>
          <c:dPt>
            <c:idx val="1262"/>
            <c:invertIfNegative val="1"/>
            <c:bubble3D val="0"/>
            <c:spPr>
              <a:solidFill>
                <a:srgbClr val="AEABAB"/>
              </a:solidFill>
            </c:spPr>
            <c:extLst>
              <c:ext xmlns:c16="http://schemas.microsoft.com/office/drawing/2014/chart" uri="{C3380CC4-5D6E-409C-BE32-E72D297353CC}">
                <c16:uniqueId val="{000009DF-4B1F-42FD-9B84-37A75D366F36}"/>
              </c:ext>
            </c:extLst>
          </c:dPt>
          <c:dPt>
            <c:idx val="1263"/>
            <c:invertIfNegative val="1"/>
            <c:bubble3D val="0"/>
            <c:spPr>
              <a:solidFill>
                <a:srgbClr val="AEABAB"/>
              </a:solidFill>
            </c:spPr>
            <c:extLst>
              <c:ext xmlns:c16="http://schemas.microsoft.com/office/drawing/2014/chart" uri="{C3380CC4-5D6E-409C-BE32-E72D297353CC}">
                <c16:uniqueId val="{000009E1-4B1F-42FD-9B84-37A75D366F36}"/>
              </c:ext>
            </c:extLst>
          </c:dPt>
          <c:dPt>
            <c:idx val="1264"/>
            <c:invertIfNegative val="1"/>
            <c:bubble3D val="0"/>
            <c:spPr>
              <a:solidFill>
                <a:srgbClr val="AEABAB"/>
              </a:solidFill>
            </c:spPr>
            <c:extLst>
              <c:ext xmlns:c16="http://schemas.microsoft.com/office/drawing/2014/chart" uri="{C3380CC4-5D6E-409C-BE32-E72D297353CC}">
                <c16:uniqueId val="{000009E3-4B1F-42FD-9B84-37A75D366F36}"/>
              </c:ext>
            </c:extLst>
          </c:dPt>
          <c:dPt>
            <c:idx val="1265"/>
            <c:invertIfNegative val="1"/>
            <c:bubble3D val="0"/>
            <c:spPr>
              <a:solidFill>
                <a:srgbClr val="AEABAB"/>
              </a:solidFill>
            </c:spPr>
            <c:extLst>
              <c:ext xmlns:c16="http://schemas.microsoft.com/office/drawing/2014/chart" uri="{C3380CC4-5D6E-409C-BE32-E72D297353CC}">
                <c16:uniqueId val="{000009E5-4B1F-42FD-9B84-37A75D366F36}"/>
              </c:ext>
            </c:extLst>
          </c:dPt>
          <c:dPt>
            <c:idx val="1266"/>
            <c:invertIfNegative val="1"/>
            <c:bubble3D val="0"/>
            <c:spPr>
              <a:solidFill>
                <a:srgbClr val="AEABAB"/>
              </a:solidFill>
            </c:spPr>
            <c:extLst>
              <c:ext xmlns:c16="http://schemas.microsoft.com/office/drawing/2014/chart" uri="{C3380CC4-5D6E-409C-BE32-E72D297353CC}">
                <c16:uniqueId val="{000009E7-4B1F-42FD-9B84-37A75D366F36}"/>
              </c:ext>
            </c:extLst>
          </c:dPt>
          <c:dPt>
            <c:idx val="1267"/>
            <c:invertIfNegative val="1"/>
            <c:bubble3D val="0"/>
            <c:spPr>
              <a:solidFill>
                <a:srgbClr val="AEABAB"/>
              </a:solidFill>
            </c:spPr>
            <c:extLst>
              <c:ext xmlns:c16="http://schemas.microsoft.com/office/drawing/2014/chart" uri="{C3380CC4-5D6E-409C-BE32-E72D297353CC}">
                <c16:uniqueId val="{000009E9-4B1F-42FD-9B84-37A75D366F36}"/>
              </c:ext>
            </c:extLst>
          </c:dPt>
          <c:dPt>
            <c:idx val="1268"/>
            <c:invertIfNegative val="1"/>
            <c:bubble3D val="0"/>
            <c:spPr>
              <a:solidFill>
                <a:srgbClr val="AEABAB"/>
              </a:solidFill>
            </c:spPr>
            <c:extLst>
              <c:ext xmlns:c16="http://schemas.microsoft.com/office/drawing/2014/chart" uri="{C3380CC4-5D6E-409C-BE32-E72D297353CC}">
                <c16:uniqueId val="{000009EB-4B1F-42FD-9B84-37A75D366F36}"/>
              </c:ext>
            </c:extLst>
          </c:dPt>
          <c:dPt>
            <c:idx val="1269"/>
            <c:invertIfNegative val="1"/>
            <c:bubble3D val="0"/>
            <c:spPr>
              <a:solidFill>
                <a:srgbClr val="AEABAB"/>
              </a:solidFill>
            </c:spPr>
            <c:extLst>
              <c:ext xmlns:c16="http://schemas.microsoft.com/office/drawing/2014/chart" uri="{C3380CC4-5D6E-409C-BE32-E72D297353CC}">
                <c16:uniqueId val="{000009ED-4B1F-42FD-9B84-37A75D366F36}"/>
              </c:ext>
            </c:extLst>
          </c:dPt>
          <c:dPt>
            <c:idx val="1270"/>
            <c:invertIfNegative val="1"/>
            <c:bubble3D val="0"/>
            <c:spPr>
              <a:solidFill>
                <a:srgbClr val="AEABAB"/>
              </a:solidFill>
            </c:spPr>
            <c:extLst>
              <c:ext xmlns:c16="http://schemas.microsoft.com/office/drawing/2014/chart" uri="{C3380CC4-5D6E-409C-BE32-E72D297353CC}">
                <c16:uniqueId val="{000009EF-4B1F-42FD-9B84-37A75D366F36}"/>
              </c:ext>
            </c:extLst>
          </c:dPt>
          <c:dPt>
            <c:idx val="1271"/>
            <c:invertIfNegative val="1"/>
            <c:bubble3D val="0"/>
            <c:spPr>
              <a:solidFill>
                <a:srgbClr val="AEABAB"/>
              </a:solidFill>
            </c:spPr>
            <c:extLst>
              <c:ext xmlns:c16="http://schemas.microsoft.com/office/drawing/2014/chart" uri="{C3380CC4-5D6E-409C-BE32-E72D297353CC}">
                <c16:uniqueId val="{000009F1-4B1F-42FD-9B84-37A75D366F36}"/>
              </c:ext>
            </c:extLst>
          </c:dPt>
          <c:dPt>
            <c:idx val="1272"/>
            <c:invertIfNegative val="1"/>
            <c:bubble3D val="0"/>
            <c:spPr>
              <a:solidFill>
                <a:srgbClr val="AEABAB"/>
              </a:solidFill>
            </c:spPr>
            <c:extLst>
              <c:ext xmlns:c16="http://schemas.microsoft.com/office/drawing/2014/chart" uri="{C3380CC4-5D6E-409C-BE32-E72D297353CC}">
                <c16:uniqueId val="{000009F3-4B1F-42FD-9B84-37A75D366F36}"/>
              </c:ext>
            </c:extLst>
          </c:dPt>
          <c:dPt>
            <c:idx val="1273"/>
            <c:invertIfNegative val="1"/>
            <c:bubble3D val="0"/>
            <c:spPr>
              <a:solidFill>
                <a:srgbClr val="AEABAB"/>
              </a:solidFill>
            </c:spPr>
            <c:extLst>
              <c:ext xmlns:c16="http://schemas.microsoft.com/office/drawing/2014/chart" uri="{C3380CC4-5D6E-409C-BE32-E72D297353CC}">
                <c16:uniqueId val="{000009F5-4B1F-42FD-9B84-37A75D366F36}"/>
              </c:ext>
            </c:extLst>
          </c:dPt>
          <c:dPt>
            <c:idx val="1274"/>
            <c:invertIfNegative val="1"/>
            <c:bubble3D val="0"/>
            <c:spPr>
              <a:solidFill>
                <a:srgbClr val="AEABAB"/>
              </a:solidFill>
            </c:spPr>
            <c:extLst>
              <c:ext xmlns:c16="http://schemas.microsoft.com/office/drawing/2014/chart" uri="{C3380CC4-5D6E-409C-BE32-E72D297353CC}">
                <c16:uniqueId val="{000009F7-4B1F-42FD-9B84-37A75D366F36}"/>
              </c:ext>
            </c:extLst>
          </c:dPt>
          <c:dPt>
            <c:idx val="1275"/>
            <c:invertIfNegative val="1"/>
            <c:bubble3D val="0"/>
            <c:spPr>
              <a:solidFill>
                <a:srgbClr val="AEABAB"/>
              </a:solidFill>
            </c:spPr>
            <c:extLst>
              <c:ext xmlns:c16="http://schemas.microsoft.com/office/drawing/2014/chart" uri="{C3380CC4-5D6E-409C-BE32-E72D297353CC}">
                <c16:uniqueId val="{000009F9-4B1F-42FD-9B84-37A75D366F36}"/>
              </c:ext>
            </c:extLst>
          </c:dPt>
          <c:dPt>
            <c:idx val="1276"/>
            <c:invertIfNegative val="1"/>
            <c:bubble3D val="0"/>
            <c:spPr>
              <a:solidFill>
                <a:srgbClr val="AEABAB"/>
              </a:solidFill>
            </c:spPr>
            <c:extLst>
              <c:ext xmlns:c16="http://schemas.microsoft.com/office/drawing/2014/chart" uri="{C3380CC4-5D6E-409C-BE32-E72D297353CC}">
                <c16:uniqueId val="{000009FB-4B1F-42FD-9B84-37A75D366F36}"/>
              </c:ext>
            </c:extLst>
          </c:dPt>
          <c:dPt>
            <c:idx val="1277"/>
            <c:invertIfNegative val="1"/>
            <c:bubble3D val="0"/>
            <c:spPr>
              <a:solidFill>
                <a:srgbClr val="AEABAB"/>
              </a:solidFill>
            </c:spPr>
            <c:extLst>
              <c:ext xmlns:c16="http://schemas.microsoft.com/office/drawing/2014/chart" uri="{C3380CC4-5D6E-409C-BE32-E72D297353CC}">
                <c16:uniqueId val="{000009FD-4B1F-42FD-9B84-37A75D366F36}"/>
              </c:ext>
            </c:extLst>
          </c:dPt>
          <c:dPt>
            <c:idx val="1278"/>
            <c:invertIfNegative val="1"/>
            <c:bubble3D val="0"/>
            <c:spPr>
              <a:solidFill>
                <a:srgbClr val="AEABAB"/>
              </a:solidFill>
            </c:spPr>
            <c:extLst>
              <c:ext xmlns:c16="http://schemas.microsoft.com/office/drawing/2014/chart" uri="{C3380CC4-5D6E-409C-BE32-E72D297353CC}">
                <c16:uniqueId val="{000009FF-4B1F-42FD-9B84-37A75D366F36}"/>
              </c:ext>
            </c:extLst>
          </c:dPt>
          <c:dPt>
            <c:idx val="1279"/>
            <c:invertIfNegative val="1"/>
            <c:bubble3D val="0"/>
            <c:spPr>
              <a:solidFill>
                <a:srgbClr val="AEABAB"/>
              </a:solidFill>
            </c:spPr>
            <c:extLst>
              <c:ext xmlns:c16="http://schemas.microsoft.com/office/drawing/2014/chart" uri="{C3380CC4-5D6E-409C-BE32-E72D297353CC}">
                <c16:uniqueId val="{00000A01-4B1F-42FD-9B84-37A75D366F36}"/>
              </c:ext>
            </c:extLst>
          </c:dPt>
          <c:dPt>
            <c:idx val="1280"/>
            <c:invertIfNegative val="1"/>
            <c:bubble3D val="0"/>
            <c:spPr>
              <a:solidFill>
                <a:srgbClr val="AEABAB"/>
              </a:solidFill>
            </c:spPr>
            <c:extLst>
              <c:ext xmlns:c16="http://schemas.microsoft.com/office/drawing/2014/chart" uri="{C3380CC4-5D6E-409C-BE32-E72D297353CC}">
                <c16:uniqueId val="{00000A03-4B1F-42FD-9B84-37A75D366F36}"/>
              </c:ext>
            </c:extLst>
          </c:dPt>
          <c:dPt>
            <c:idx val="1281"/>
            <c:invertIfNegative val="1"/>
            <c:bubble3D val="0"/>
            <c:spPr>
              <a:solidFill>
                <a:srgbClr val="AEABAB"/>
              </a:solidFill>
            </c:spPr>
            <c:extLst>
              <c:ext xmlns:c16="http://schemas.microsoft.com/office/drawing/2014/chart" uri="{C3380CC4-5D6E-409C-BE32-E72D297353CC}">
                <c16:uniqueId val="{00000A05-4B1F-42FD-9B84-37A75D366F36}"/>
              </c:ext>
            </c:extLst>
          </c:dPt>
          <c:dPt>
            <c:idx val="1282"/>
            <c:invertIfNegative val="1"/>
            <c:bubble3D val="0"/>
            <c:spPr>
              <a:solidFill>
                <a:srgbClr val="AEABAB"/>
              </a:solidFill>
            </c:spPr>
            <c:extLst>
              <c:ext xmlns:c16="http://schemas.microsoft.com/office/drawing/2014/chart" uri="{C3380CC4-5D6E-409C-BE32-E72D297353CC}">
                <c16:uniqueId val="{00000A07-4B1F-42FD-9B84-37A75D366F36}"/>
              </c:ext>
            </c:extLst>
          </c:dPt>
          <c:dPt>
            <c:idx val="1283"/>
            <c:invertIfNegative val="1"/>
            <c:bubble3D val="0"/>
            <c:spPr>
              <a:solidFill>
                <a:srgbClr val="AEABAB"/>
              </a:solidFill>
            </c:spPr>
            <c:extLst>
              <c:ext xmlns:c16="http://schemas.microsoft.com/office/drawing/2014/chart" uri="{C3380CC4-5D6E-409C-BE32-E72D297353CC}">
                <c16:uniqueId val="{00000A09-4B1F-42FD-9B84-37A75D366F36}"/>
              </c:ext>
            </c:extLst>
          </c:dPt>
          <c:dPt>
            <c:idx val="1284"/>
            <c:invertIfNegative val="1"/>
            <c:bubble3D val="0"/>
            <c:spPr>
              <a:solidFill>
                <a:srgbClr val="AEABAB"/>
              </a:solidFill>
            </c:spPr>
            <c:extLst>
              <c:ext xmlns:c16="http://schemas.microsoft.com/office/drawing/2014/chart" uri="{C3380CC4-5D6E-409C-BE32-E72D297353CC}">
                <c16:uniqueId val="{00000A0B-4B1F-42FD-9B84-37A75D366F36}"/>
              </c:ext>
            </c:extLst>
          </c:dPt>
          <c:dPt>
            <c:idx val="1285"/>
            <c:invertIfNegative val="1"/>
            <c:bubble3D val="0"/>
            <c:spPr>
              <a:solidFill>
                <a:srgbClr val="AEABAB"/>
              </a:solidFill>
            </c:spPr>
            <c:extLst>
              <c:ext xmlns:c16="http://schemas.microsoft.com/office/drawing/2014/chart" uri="{C3380CC4-5D6E-409C-BE32-E72D297353CC}">
                <c16:uniqueId val="{00000A0D-4B1F-42FD-9B84-37A75D366F36}"/>
              </c:ext>
            </c:extLst>
          </c:dPt>
          <c:dPt>
            <c:idx val="1286"/>
            <c:invertIfNegative val="1"/>
            <c:bubble3D val="0"/>
            <c:spPr>
              <a:solidFill>
                <a:srgbClr val="AEABAB"/>
              </a:solidFill>
            </c:spPr>
            <c:extLst>
              <c:ext xmlns:c16="http://schemas.microsoft.com/office/drawing/2014/chart" uri="{C3380CC4-5D6E-409C-BE32-E72D297353CC}">
                <c16:uniqueId val="{00000A0F-4B1F-42FD-9B84-37A75D366F36}"/>
              </c:ext>
            </c:extLst>
          </c:dPt>
          <c:dPt>
            <c:idx val="1287"/>
            <c:invertIfNegative val="1"/>
            <c:bubble3D val="0"/>
            <c:spPr>
              <a:solidFill>
                <a:srgbClr val="AEABAB"/>
              </a:solidFill>
            </c:spPr>
            <c:extLst>
              <c:ext xmlns:c16="http://schemas.microsoft.com/office/drawing/2014/chart" uri="{C3380CC4-5D6E-409C-BE32-E72D297353CC}">
                <c16:uniqueId val="{00000A11-4B1F-42FD-9B84-37A75D366F36}"/>
              </c:ext>
            </c:extLst>
          </c:dPt>
          <c:dPt>
            <c:idx val="1288"/>
            <c:invertIfNegative val="1"/>
            <c:bubble3D val="0"/>
            <c:spPr>
              <a:solidFill>
                <a:srgbClr val="AEABAB"/>
              </a:solidFill>
            </c:spPr>
            <c:extLst>
              <c:ext xmlns:c16="http://schemas.microsoft.com/office/drawing/2014/chart" uri="{C3380CC4-5D6E-409C-BE32-E72D297353CC}">
                <c16:uniqueId val="{00000A13-4B1F-42FD-9B84-37A75D366F36}"/>
              </c:ext>
            </c:extLst>
          </c:dPt>
          <c:dPt>
            <c:idx val="1289"/>
            <c:invertIfNegative val="1"/>
            <c:bubble3D val="0"/>
            <c:spPr>
              <a:solidFill>
                <a:srgbClr val="AEABAB"/>
              </a:solidFill>
            </c:spPr>
            <c:extLst>
              <c:ext xmlns:c16="http://schemas.microsoft.com/office/drawing/2014/chart" uri="{C3380CC4-5D6E-409C-BE32-E72D297353CC}">
                <c16:uniqueId val="{00000A15-4B1F-42FD-9B84-37A75D366F36}"/>
              </c:ext>
            </c:extLst>
          </c:dPt>
          <c:dPt>
            <c:idx val="1290"/>
            <c:invertIfNegative val="1"/>
            <c:bubble3D val="0"/>
            <c:spPr>
              <a:solidFill>
                <a:srgbClr val="AEABAB"/>
              </a:solidFill>
            </c:spPr>
            <c:extLst>
              <c:ext xmlns:c16="http://schemas.microsoft.com/office/drawing/2014/chart" uri="{C3380CC4-5D6E-409C-BE32-E72D297353CC}">
                <c16:uniqueId val="{00000A17-4B1F-42FD-9B84-37A75D366F36}"/>
              </c:ext>
            </c:extLst>
          </c:dPt>
          <c:dPt>
            <c:idx val="1291"/>
            <c:invertIfNegative val="1"/>
            <c:bubble3D val="0"/>
            <c:spPr>
              <a:solidFill>
                <a:srgbClr val="AEABAB"/>
              </a:solidFill>
            </c:spPr>
            <c:extLst>
              <c:ext xmlns:c16="http://schemas.microsoft.com/office/drawing/2014/chart" uri="{C3380CC4-5D6E-409C-BE32-E72D297353CC}">
                <c16:uniqueId val="{00000A19-4B1F-42FD-9B84-37A75D366F36}"/>
              </c:ext>
            </c:extLst>
          </c:dPt>
          <c:dPt>
            <c:idx val="1292"/>
            <c:invertIfNegative val="1"/>
            <c:bubble3D val="0"/>
            <c:spPr>
              <a:solidFill>
                <a:srgbClr val="AEABAB"/>
              </a:solidFill>
            </c:spPr>
            <c:extLst>
              <c:ext xmlns:c16="http://schemas.microsoft.com/office/drawing/2014/chart" uri="{C3380CC4-5D6E-409C-BE32-E72D297353CC}">
                <c16:uniqueId val="{00000A1B-4B1F-42FD-9B84-37A75D366F36}"/>
              </c:ext>
            </c:extLst>
          </c:dPt>
          <c:dPt>
            <c:idx val="1293"/>
            <c:invertIfNegative val="1"/>
            <c:bubble3D val="0"/>
            <c:spPr>
              <a:solidFill>
                <a:srgbClr val="AEABAB"/>
              </a:solidFill>
            </c:spPr>
            <c:extLst>
              <c:ext xmlns:c16="http://schemas.microsoft.com/office/drawing/2014/chart" uri="{C3380CC4-5D6E-409C-BE32-E72D297353CC}">
                <c16:uniqueId val="{00000A1D-4B1F-42FD-9B84-37A75D366F36}"/>
              </c:ext>
            </c:extLst>
          </c:dPt>
          <c:dPt>
            <c:idx val="1294"/>
            <c:invertIfNegative val="1"/>
            <c:bubble3D val="0"/>
            <c:spPr>
              <a:solidFill>
                <a:srgbClr val="AEABAB"/>
              </a:solidFill>
            </c:spPr>
            <c:extLst>
              <c:ext xmlns:c16="http://schemas.microsoft.com/office/drawing/2014/chart" uri="{C3380CC4-5D6E-409C-BE32-E72D297353CC}">
                <c16:uniqueId val="{00000A1F-4B1F-42FD-9B84-37A75D366F36}"/>
              </c:ext>
            </c:extLst>
          </c:dPt>
          <c:dPt>
            <c:idx val="1295"/>
            <c:invertIfNegative val="1"/>
            <c:bubble3D val="0"/>
            <c:spPr>
              <a:solidFill>
                <a:srgbClr val="AEABAB"/>
              </a:solidFill>
            </c:spPr>
            <c:extLst>
              <c:ext xmlns:c16="http://schemas.microsoft.com/office/drawing/2014/chart" uri="{C3380CC4-5D6E-409C-BE32-E72D297353CC}">
                <c16:uniqueId val="{00000A21-4B1F-42FD-9B84-37A75D366F36}"/>
              </c:ext>
            </c:extLst>
          </c:dPt>
          <c:dPt>
            <c:idx val="1296"/>
            <c:invertIfNegative val="1"/>
            <c:bubble3D val="0"/>
            <c:spPr>
              <a:solidFill>
                <a:srgbClr val="AEABAB"/>
              </a:solidFill>
            </c:spPr>
            <c:extLst>
              <c:ext xmlns:c16="http://schemas.microsoft.com/office/drawing/2014/chart" uri="{C3380CC4-5D6E-409C-BE32-E72D297353CC}">
                <c16:uniqueId val="{00000A23-4B1F-42FD-9B84-37A75D366F36}"/>
              </c:ext>
            </c:extLst>
          </c:dPt>
          <c:dPt>
            <c:idx val="1297"/>
            <c:invertIfNegative val="1"/>
            <c:bubble3D val="0"/>
            <c:spPr>
              <a:solidFill>
                <a:srgbClr val="AEABAB"/>
              </a:solidFill>
            </c:spPr>
            <c:extLst>
              <c:ext xmlns:c16="http://schemas.microsoft.com/office/drawing/2014/chart" uri="{C3380CC4-5D6E-409C-BE32-E72D297353CC}">
                <c16:uniqueId val="{00000A25-4B1F-42FD-9B84-37A75D366F36}"/>
              </c:ext>
            </c:extLst>
          </c:dPt>
          <c:dPt>
            <c:idx val="1298"/>
            <c:invertIfNegative val="1"/>
            <c:bubble3D val="0"/>
            <c:spPr>
              <a:solidFill>
                <a:srgbClr val="AEABAB"/>
              </a:solidFill>
            </c:spPr>
            <c:extLst>
              <c:ext xmlns:c16="http://schemas.microsoft.com/office/drawing/2014/chart" uri="{C3380CC4-5D6E-409C-BE32-E72D297353CC}">
                <c16:uniqueId val="{00000A27-4B1F-42FD-9B84-37A75D366F36}"/>
              </c:ext>
            </c:extLst>
          </c:dPt>
          <c:dPt>
            <c:idx val="1299"/>
            <c:invertIfNegative val="1"/>
            <c:bubble3D val="0"/>
            <c:spPr>
              <a:solidFill>
                <a:srgbClr val="AEABAB"/>
              </a:solidFill>
            </c:spPr>
            <c:extLst>
              <c:ext xmlns:c16="http://schemas.microsoft.com/office/drawing/2014/chart" uri="{C3380CC4-5D6E-409C-BE32-E72D297353CC}">
                <c16:uniqueId val="{00000A29-4B1F-42FD-9B84-37A75D366F36}"/>
              </c:ext>
            </c:extLst>
          </c:dPt>
          <c:dPt>
            <c:idx val="1300"/>
            <c:invertIfNegative val="1"/>
            <c:bubble3D val="0"/>
            <c:spPr>
              <a:solidFill>
                <a:srgbClr val="AEABAB"/>
              </a:solidFill>
            </c:spPr>
            <c:extLst>
              <c:ext xmlns:c16="http://schemas.microsoft.com/office/drawing/2014/chart" uri="{C3380CC4-5D6E-409C-BE32-E72D297353CC}">
                <c16:uniqueId val="{00000A2B-4B1F-42FD-9B84-37A75D366F36}"/>
              </c:ext>
            </c:extLst>
          </c:dPt>
          <c:dPt>
            <c:idx val="1301"/>
            <c:invertIfNegative val="1"/>
            <c:bubble3D val="0"/>
            <c:spPr>
              <a:solidFill>
                <a:srgbClr val="AEABAB"/>
              </a:solidFill>
            </c:spPr>
            <c:extLst>
              <c:ext xmlns:c16="http://schemas.microsoft.com/office/drawing/2014/chart" uri="{C3380CC4-5D6E-409C-BE32-E72D297353CC}">
                <c16:uniqueId val="{00000A2D-4B1F-42FD-9B84-37A75D366F36}"/>
              </c:ext>
            </c:extLst>
          </c:dPt>
          <c:dPt>
            <c:idx val="1302"/>
            <c:invertIfNegative val="1"/>
            <c:bubble3D val="0"/>
            <c:spPr>
              <a:solidFill>
                <a:srgbClr val="AEABAB"/>
              </a:solidFill>
            </c:spPr>
            <c:extLst>
              <c:ext xmlns:c16="http://schemas.microsoft.com/office/drawing/2014/chart" uri="{C3380CC4-5D6E-409C-BE32-E72D297353CC}">
                <c16:uniqueId val="{00000A2F-4B1F-42FD-9B84-37A75D366F36}"/>
              </c:ext>
            </c:extLst>
          </c:dPt>
          <c:dPt>
            <c:idx val="1303"/>
            <c:invertIfNegative val="1"/>
            <c:bubble3D val="0"/>
            <c:spPr>
              <a:solidFill>
                <a:srgbClr val="AEABAB"/>
              </a:solidFill>
            </c:spPr>
            <c:extLst>
              <c:ext xmlns:c16="http://schemas.microsoft.com/office/drawing/2014/chart" uri="{C3380CC4-5D6E-409C-BE32-E72D297353CC}">
                <c16:uniqueId val="{00000A31-4B1F-42FD-9B84-37A75D366F36}"/>
              </c:ext>
            </c:extLst>
          </c:dPt>
          <c:dPt>
            <c:idx val="1304"/>
            <c:invertIfNegative val="1"/>
            <c:bubble3D val="0"/>
            <c:spPr>
              <a:solidFill>
                <a:srgbClr val="AEABAB"/>
              </a:solidFill>
            </c:spPr>
            <c:extLst>
              <c:ext xmlns:c16="http://schemas.microsoft.com/office/drawing/2014/chart" uri="{C3380CC4-5D6E-409C-BE32-E72D297353CC}">
                <c16:uniqueId val="{00000A33-4B1F-42FD-9B84-37A75D366F36}"/>
              </c:ext>
            </c:extLst>
          </c:dPt>
          <c:dPt>
            <c:idx val="1305"/>
            <c:invertIfNegative val="1"/>
            <c:bubble3D val="0"/>
            <c:spPr>
              <a:solidFill>
                <a:srgbClr val="AEABAB"/>
              </a:solidFill>
            </c:spPr>
            <c:extLst>
              <c:ext xmlns:c16="http://schemas.microsoft.com/office/drawing/2014/chart" uri="{C3380CC4-5D6E-409C-BE32-E72D297353CC}">
                <c16:uniqueId val="{00000A35-4B1F-42FD-9B84-37A75D366F36}"/>
              </c:ext>
            </c:extLst>
          </c:dPt>
          <c:dPt>
            <c:idx val="1306"/>
            <c:invertIfNegative val="1"/>
            <c:bubble3D val="0"/>
            <c:spPr>
              <a:solidFill>
                <a:srgbClr val="AEABAB"/>
              </a:solidFill>
            </c:spPr>
            <c:extLst>
              <c:ext xmlns:c16="http://schemas.microsoft.com/office/drawing/2014/chart" uri="{C3380CC4-5D6E-409C-BE32-E72D297353CC}">
                <c16:uniqueId val="{00000A37-4B1F-42FD-9B84-37A75D366F36}"/>
              </c:ext>
            </c:extLst>
          </c:dPt>
          <c:dPt>
            <c:idx val="1307"/>
            <c:invertIfNegative val="1"/>
            <c:bubble3D val="0"/>
            <c:spPr>
              <a:solidFill>
                <a:srgbClr val="AEABAB"/>
              </a:solidFill>
            </c:spPr>
            <c:extLst>
              <c:ext xmlns:c16="http://schemas.microsoft.com/office/drawing/2014/chart" uri="{C3380CC4-5D6E-409C-BE32-E72D297353CC}">
                <c16:uniqueId val="{00000A39-4B1F-42FD-9B84-37A75D366F36}"/>
              </c:ext>
            </c:extLst>
          </c:dPt>
          <c:dPt>
            <c:idx val="1308"/>
            <c:invertIfNegative val="1"/>
            <c:bubble3D val="0"/>
            <c:spPr>
              <a:solidFill>
                <a:srgbClr val="AEABAB"/>
              </a:solidFill>
            </c:spPr>
            <c:extLst>
              <c:ext xmlns:c16="http://schemas.microsoft.com/office/drawing/2014/chart" uri="{C3380CC4-5D6E-409C-BE32-E72D297353CC}">
                <c16:uniqueId val="{00000A3B-4B1F-42FD-9B84-37A75D366F36}"/>
              </c:ext>
            </c:extLst>
          </c:dPt>
          <c:dPt>
            <c:idx val="1309"/>
            <c:invertIfNegative val="1"/>
            <c:bubble3D val="0"/>
            <c:spPr>
              <a:solidFill>
                <a:srgbClr val="AEABAB"/>
              </a:solidFill>
            </c:spPr>
            <c:extLst>
              <c:ext xmlns:c16="http://schemas.microsoft.com/office/drawing/2014/chart" uri="{C3380CC4-5D6E-409C-BE32-E72D297353CC}">
                <c16:uniqueId val="{00000A3D-4B1F-42FD-9B84-37A75D366F36}"/>
              </c:ext>
            </c:extLst>
          </c:dPt>
          <c:dPt>
            <c:idx val="1310"/>
            <c:invertIfNegative val="1"/>
            <c:bubble3D val="0"/>
            <c:spPr>
              <a:solidFill>
                <a:srgbClr val="AEABAB"/>
              </a:solidFill>
            </c:spPr>
            <c:extLst>
              <c:ext xmlns:c16="http://schemas.microsoft.com/office/drawing/2014/chart" uri="{C3380CC4-5D6E-409C-BE32-E72D297353CC}">
                <c16:uniqueId val="{00000A3F-4B1F-42FD-9B84-37A75D366F36}"/>
              </c:ext>
            </c:extLst>
          </c:dPt>
          <c:dPt>
            <c:idx val="1311"/>
            <c:invertIfNegative val="1"/>
            <c:bubble3D val="0"/>
            <c:spPr>
              <a:solidFill>
                <a:srgbClr val="AEABAB"/>
              </a:solidFill>
            </c:spPr>
            <c:extLst>
              <c:ext xmlns:c16="http://schemas.microsoft.com/office/drawing/2014/chart" uri="{C3380CC4-5D6E-409C-BE32-E72D297353CC}">
                <c16:uniqueId val="{00000A41-4B1F-42FD-9B84-37A75D366F36}"/>
              </c:ext>
            </c:extLst>
          </c:dPt>
          <c:cat>
            <c:strRef>
              <c:f>Sheet1!$A$2:$A$1313</c:f>
              <c:strCache>
                <c:ptCount val="1312"/>
                <c:pt idx="0">
                  <c:v>Private Lab</c:v>
                </c:pt>
                <c:pt idx="1">
                  <c:v>Private Lab</c:v>
                </c:pt>
                <c:pt idx="2">
                  <c:v>Private Lab</c:v>
                </c:pt>
                <c:pt idx="3">
                  <c:v>Private Lab</c:v>
                </c:pt>
                <c:pt idx="4">
                  <c:v>Private Lab</c:v>
                </c:pt>
                <c:pt idx="5">
                  <c:v>Private Lab</c:v>
                </c:pt>
                <c:pt idx="6">
                  <c:v>Caprice Des</c:v>
                </c:pt>
                <c:pt idx="7">
                  <c:v>Private Lab</c:v>
                </c:pt>
                <c:pt idx="8">
                  <c:v>Private Lab</c:v>
                </c:pt>
                <c:pt idx="9">
                  <c:v>Private Lab</c:v>
                </c:pt>
                <c:pt idx="10">
                  <c:v>Private Lab</c:v>
                </c:pt>
                <c:pt idx="11">
                  <c:v>Private Lab</c:v>
                </c:pt>
                <c:pt idx="12">
                  <c:v>Private Lab</c:v>
                </c:pt>
                <c:pt idx="13">
                  <c:v>Mini Babybe</c:v>
                </c:pt>
                <c:pt idx="14">
                  <c:v>Coeur De Li</c:v>
                </c:pt>
                <c:pt idx="15">
                  <c:v>Private Lab</c:v>
                </c:pt>
                <c:pt idx="16">
                  <c:v>President</c:v>
                </c:pt>
                <c:pt idx="17">
                  <c:v>Private Lab</c:v>
                </c:pt>
                <c:pt idx="18">
                  <c:v>Entremont</c:v>
                </c:pt>
                <c:pt idx="19">
                  <c:v>Chaussee Au</c:v>
                </c:pt>
                <c:pt idx="20">
                  <c:v>Private Lab</c:v>
                </c:pt>
                <c:pt idx="21">
                  <c:v>Soignon</c:v>
                </c:pt>
                <c:pt idx="22">
                  <c:v>Private Lab</c:v>
                </c:pt>
                <c:pt idx="23">
                  <c:v>Private Lab</c:v>
                </c:pt>
                <c:pt idx="24">
                  <c:v>Galbani</c:v>
                </c:pt>
                <c:pt idx="25">
                  <c:v>Entremont</c:v>
                </c:pt>
                <c:pt idx="26">
                  <c:v>Private Lab</c:v>
                </c:pt>
                <c:pt idx="27">
                  <c:v>Soignon</c:v>
                </c:pt>
                <c:pt idx="28">
                  <c:v>Salakis</c:v>
                </c:pt>
                <c:pt idx="29">
                  <c:v>Galbani</c:v>
                </c:pt>
                <c:pt idx="30">
                  <c:v>Galbani</c:v>
                </c:pt>
                <c:pt idx="31">
                  <c:v>Private Lab</c:v>
                </c:pt>
                <c:pt idx="32">
                  <c:v>St Moret</c:v>
                </c:pt>
                <c:pt idx="33">
                  <c:v>President</c:v>
                </c:pt>
                <c:pt idx="34">
                  <c:v>Private Lab</c:v>
                </c:pt>
                <c:pt idx="35">
                  <c:v>Caprice Des</c:v>
                </c:pt>
                <c:pt idx="36">
                  <c:v>Private Lab</c:v>
                </c:pt>
                <c:pt idx="37">
                  <c:v>St Moret</c:v>
                </c:pt>
                <c:pt idx="38">
                  <c:v>Private Lab</c:v>
                </c:pt>
                <c:pt idx="39">
                  <c:v>President</c:v>
                </c:pt>
                <c:pt idx="40">
                  <c:v>Private Lab</c:v>
                </c:pt>
                <c:pt idx="41">
                  <c:v>Private Lab</c:v>
                </c:pt>
                <c:pt idx="42">
                  <c:v>President</c:v>
                </c:pt>
                <c:pt idx="43">
                  <c:v>Private Lab</c:v>
                </c:pt>
                <c:pt idx="44">
                  <c:v>Private Lab</c:v>
                </c:pt>
                <c:pt idx="45">
                  <c:v>President</c:v>
                </c:pt>
                <c:pt idx="46">
                  <c:v>Private Lab</c:v>
                </c:pt>
                <c:pt idx="47">
                  <c:v>La Vache Qu</c:v>
                </c:pt>
                <c:pt idx="48">
                  <c:v>Private Lab</c:v>
                </c:pt>
                <c:pt idx="49">
                  <c:v>Private Lab</c:v>
                </c:pt>
                <c:pt idx="50">
                  <c:v>Leerdammer</c:v>
                </c:pt>
                <c:pt idx="51">
                  <c:v>Private Lab</c:v>
                </c:pt>
                <c:pt idx="52">
                  <c:v>St Moret</c:v>
                </c:pt>
                <c:pt idx="53">
                  <c:v>President</c:v>
                </c:pt>
                <c:pt idx="54">
                  <c:v>Coeur De Li</c:v>
                </c:pt>
                <c:pt idx="55">
                  <c:v>Private Lab</c:v>
                </c:pt>
                <c:pt idx="56">
                  <c:v>La Vache Qu</c:v>
                </c:pt>
                <c:pt idx="57">
                  <c:v>Le Rustique</c:v>
                </c:pt>
                <c:pt idx="58">
                  <c:v>La Vache Qu</c:v>
                </c:pt>
                <c:pt idx="59">
                  <c:v>Leerdammer</c:v>
                </c:pt>
                <c:pt idx="60">
                  <c:v>Private Lab</c:v>
                </c:pt>
                <c:pt idx="61">
                  <c:v>Leerdammer</c:v>
                </c:pt>
                <c:pt idx="62">
                  <c:v>Mini Babybe</c:v>
                </c:pt>
                <c:pt idx="63">
                  <c:v>Entremont</c:v>
                </c:pt>
                <c:pt idx="64">
                  <c:v>Tartare</c:v>
                </c:pt>
                <c:pt idx="65">
                  <c:v>Societe</c:v>
                </c:pt>
                <c:pt idx="66">
                  <c:v>Private Lab</c:v>
                </c:pt>
                <c:pt idx="67">
                  <c:v>Private Lab</c:v>
                </c:pt>
                <c:pt idx="68">
                  <c:v>Private Lab</c:v>
                </c:pt>
                <c:pt idx="69">
                  <c:v>Private Lab</c:v>
                </c:pt>
                <c:pt idx="70">
                  <c:v>Private Lab</c:v>
                </c:pt>
                <c:pt idx="71">
                  <c:v>Private Lab</c:v>
                </c:pt>
                <c:pt idx="72">
                  <c:v>Entremont</c:v>
                </c:pt>
                <c:pt idx="73">
                  <c:v>President</c:v>
                </c:pt>
                <c:pt idx="74">
                  <c:v>Chaussee Au</c:v>
                </c:pt>
                <c:pt idx="75">
                  <c:v>Private Lab</c:v>
                </c:pt>
                <c:pt idx="76">
                  <c:v>Salakis</c:v>
                </c:pt>
                <c:pt idx="77">
                  <c:v>Galbani</c:v>
                </c:pt>
                <c:pt idx="78">
                  <c:v>Galbani</c:v>
                </c:pt>
                <c:pt idx="79">
                  <c:v>St Moret</c:v>
                </c:pt>
                <c:pt idx="80">
                  <c:v>Private Lab</c:v>
                </c:pt>
                <c:pt idx="81">
                  <c:v>Islos</c:v>
                </c:pt>
                <c:pt idx="82">
                  <c:v>President</c:v>
                </c:pt>
                <c:pt idx="83">
                  <c:v>Private Lab</c:v>
                </c:pt>
                <c:pt idx="84">
                  <c:v>Private Lab</c:v>
                </c:pt>
                <c:pt idx="85">
                  <c:v>Juraflore</c:v>
                </c:pt>
                <c:pt idx="86">
                  <c:v>Soignon</c:v>
                </c:pt>
                <c:pt idx="87">
                  <c:v>President</c:v>
                </c:pt>
                <c:pt idx="88">
                  <c:v>Private Lab</c:v>
                </c:pt>
                <c:pt idx="89">
                  <c:v>Private Lab</c:v>
                </c:pt>
                <c:pt idx="90">
                  <c:v>Kiri</c:v>
                </c:pt>
                <c:pt idx="91">
                  <c:v>All Others</c:v>
                </c:pt>
                <c:pt idx="92">
                  <c:v>Private Lab</c:v>
                </c:pt>
                <c:pt idx="93">
                  <c:v>President</c:v>
                </c:pt>
                <c:pt idx="94">
                  <c:v>Private Lab</c:v>
                </c:pt>
                <c:pt idx="95">
                  <c:v>Private Lab</c:v>
                </c:pt>
                <c:pt idx="96">
                  <c:v>Private Lab</c:v>
                </c:pt>
                <c:pt idx="97">
                  <c:v>Entremont</c:v>
                </c:pt>
                <c:pt idx="98">
                  <c:v>Saint Agur</c:v>
                </c:pt>
                <c:pt idx="99">
                  <c:v>Private Lab</c:v>
                </c:pt>
                <c:pt idx="100">
                  <c:v>All Others</c:v>
                </c:pt>
                <c:pt idx="101">
                  <c:v>Entremont</c:v>
                </c:pt>
                <c:pt idx="102">
                  <c:v>Private Lab</c:v>
                </c:pt>
                <c:pt idx="103">
                  <c:v>Private Lab</c:v>
                </c:pt>
                <c:pt idx="104">
                  <c:v>Private Lab</c:v>
                </c:pt>
                <c:pt idx="105">
                  <c:v>Paysan Bret</c:v>
                </c:pt>
                <c:pt idx="106">
                  <c:v>Private Lab</c:v>
                </c:pt>
                <c:pt idx="107">
                  <c:v>Paysan Bret</c:v>
                </c:pt>
                <c:pt idx="108">
                  <c:v>Galbani</c:v>
                </c:pt>
                <c:pt idx="109">
                  <c:v>Apericube</c:v>
                </c:pt>
                <c:pt idx="110">
                  <c:v>President</c:v>
                </c:pt>
                <c:pt idx="111">
                  <c:v>Private Lab</c:v>
                </c:pt>
                <c:pt idx="112">
                  <c:v>Kiri</c:v>
                </c:pt>
                <c:pt idx="113">
                  <c:v>Saint Albra</c:v>
                </c:pt>
                <c:pt idx="114">
                  <c:v>Private Lab</c:v>
                </c:pt>
                <c:pt idx="115">
                  <c:v>President</c:v>
                </c:pt>
                <c:pt idx="116">
                  <c:v>Leerdammer</c:v>
                </c:pt>
                <c:pt idx="117">
                  <c:v>Private Lab</c:v>
                </c:pt>
                <c:pt idx="118">
                  <c:v>Private Lab</c:v>
                </c:pt>
                <c:pt idx="119">
                  <c:v>L'Ortolan</c:v>
                </c:pt>
                <c:pt idx="120">
                  <c:v>Apericube</c:v>
                </c:pt>
                <c:pt idx="121">
                  <c:v>Entremont</c:v>
                </c:pt>
                <c:pt idx="122">
                  <c:v>Private Lab</c:v>
                </c:pt>
                <c:pt idx="123">
                  <c:v>Private Lab</c:v>
                </c:pt>
                <c:pt idx="124">
                  <c:v>Ficello</c:v>
                </c:pt>
                <c:pt idx="125">
                  <c:v>Parmareggio</c:v>
                </c:pt>
                <c:pt idx="126">
                  <c:v>Istara</c:v>
                </c:pt>
                <c:pt idx="127">
                  <c:v>Private Lab</c:v>
                </c:pt>
                <c:pt idx="128">
                  <c:v>Bresse Bleu</c:v>
                </c:pt>
                <c:pt idx="129">
                  <c:v>Private Lab</c:v>
                </c:pt>
                <c:pt idx="130">
                  <c:v>Casa Azzurr</c:v>
                </c:pt>
                <c:pt idx="131">
                  <c:v>Saint Agur</c:v>
                </c:pt>
                <c:pt idx="132">
                  <c:v>Kiri</c:v>
                </c:pt>
                <c:pt idx="133">
                  <c:v>Leerdammer</c:v>
                </c:pt>
                <c:pt idx="134">
                  <c:v>Carre Frais</c:v>
                </c:pt>
                <c:pt idx="135">
                  <c:v>Casa Azzurr</c:v>
                </c:pt>
                <c:pt idx="136">
                  <c:v>Private Lab</c:v>
                </c:pt>
                <c:pt idx="137">
                  <c:v>Leerdammer</c:v>
                </c:pt>
                <c:pt idx="138">
                  <c:v>Les Mousque</c:v>
                </c:pt>
                <c:pt idx="139">
                  <c:v>President</c:v>
                </c:pt>
                <c:pt idx="140">
                  <c:v>Entremont</c:v>
                </c:pt>
                <c:pt idx="141">
                  <c:v>St Moret</c:v>
                </c:pt>
                <c:pt idx="142">
                  <c:v>Private Lab</c:v>
                </c:pt>
                <c:pt idx="143">
                  <c:v>Saint Albra</c:v>
                </c:pt>
                <c:pt idx="144">
                  <c:v>Private Lab</c:v>
                </c:pt>
                <c:pt idx="145">
                  <c:v>Carre Frais</c:v>
                </c:pt>
                <c:pt idx="146">
                  <c:v>Boursin</c:v>
                </c:pt>
                <c:pt idx="147">
                  <c:v>L'Ortolan</c:v>
                </c:pt>
                <c:pt idx="148">
                  <c:v>President</c:v>
                </c:pt>
                <c:pt idx="149">
                  <c:v>Boursin</c:v>
                </c:pt>
                <c:pt idx="150">
                  <c:v>President</c:v>
                </c:pt>
                <c:pt idx="151">
                  <c:v>Coeur De Li</c:v>
                </c:pt>
                <c:pt idx="152">
                  <c:v>Private Lab</c:v>
                </c:pt>
                <c:pt idx="153">
                  <c:v>Apericube</c:v>
                </c:pt>
                <c:pt idx="154">
                  <c:v>Kiri</c:v>
                </c:pt>
                <c:pt idx="155">
                  <c:v>Tartare</c:v>
                </c:pt>
                <c:pt idx="156">
                  <c:v>Private Lab</c:v>
                </c:pt>
                <c:pt idx="157">
                  <c:v>All Others</c:v>
                </c:pt>
                <c:pt idx="158">
                  <c:v>Kiri</c:v>
                </c:pt>
                <c:pt idx="159">
                  <c:v>Private Lab</c:v>
                </c:pt>
                <c:pt idx="160">
                  <c:v>Lou Perac</c:v>
                </c:pt>
                <c:pt idx="161">
                  <c:v>Private Lab</c:v>
                </c:pt>
                <c:pt idx="162">
                  <c:v>Lepetit</c:v>
                </c:pt>
                <c:pt idx="163">
                  <c:v>Salakis</c:v>
                </c:pt>
                <c:pt idx="164">
                  <c:v>Private Lab</c:v>
                </c:pt>
                <c:pt idx="165">
                  <c:v>Coeur De Li</c:v>
                </c:pt>
                <c:pt idx="166">
                  <c:v>Entremont</c:v>
                </c:pt>
                <c:pt idx="167">
                  <c:v>Entremont</c:v>
                </c:pt>
                <c:pt idx="168">
                  <c:v>Apericube</c:v>
                </c:pt>
                <c:pt idx="169">
                  <c:v>Entremont</c:v>
                </c:pt>
                <c:pt idx="170">
                  <c:v>Port Salut</c:v>
                </c:pt>
                <c:pt idx="171">
                  <c:v>Boursin</c:v>
                </c:pt>
                <c:pt idx="172">
                  <c:v>Salakis</c:v>
                </c:pt>
                <c:pt idx="173">
                  <c:v>Private Lab</c:v>
                </c:pt>
                <c:pt idx="174">
                  <c:v>Boursin</c:v>
                </c:pt>
                <c:pt idx="175">
                  <c:v>Casa Azzurr</c:v>
                </c:pt>
                <c:pt idx="176">
                  <c:v>Private Lab</c:v>
                </c:pt>
                <c:pt idx="177">
                  <c:v>Galbani</c:v>
                </c:pt>
                <c:pt idx="178">
                  <c:v>Entremont</c:v>
                </c:pt>
                <c:pt idx="179">
                  <c:v>Private Lab</c:v>
                </c:pt>
                <c:pt idx="180">
                  <c:v>Private Lab</c:v>
                </c:pt>
                <c:pt idx="181">
                  <c:v>Coeur De Li</c:v>
                </c:pt>
                <c:pt idx="182">
                  <c:v>Private Lab</c:v>
                </c:pt>
                <c:pt idx="183">
                  <c:v>Private Lab</c:v>
                </c:pt>
                <c:pt idx="184">
                  <c:v>Private Lab</c:v>
                </c:pt>
                <c:pt idx="185">
                  <c:v>Private Lab</c:v>
                </c:pt>
                <c:pt idx="186">
                  <c:v>Private Lab</c:v>
                </c:pt>
                <c:pt idx="187">
                  <c:v>President</c:v>
                </c:pt>
                <c:pt idx="188">
                  <c:v>Private Lab</c:v>
                </c:pt>
                <c:pt idx="189">
                  <c:v>Private Lab</c:v>
                </c:pt>
                <c:pt idx="190">
                  <c:v>St Moret</c:v>
                </c:pt>
                <c:pt idx="191">
                  <c:v>Soignon</c:v>
                </c:pt>
                <c:pt idx="192">
                  <c:v>Casa Azzurr</c:v>
                </c:pt>
                <c:pt idx="193">
                  <c:v>Petit Billy</c:v>
                </c:pt>
                <c:pt idx="194">
                  <c:v>Philadelphi</c:v>
                </c:pt>
                <c:pt idx="195">
                  <c:v>Private Lab</c:v>
                </c:pt>
                <c:pt idx="196">
                  <c:v>Pave D'Affi</c:v>
                </c:pt>
                <c:pt idx="197">
                  <c:v>Caprice Des</c:v>
                </c:pt>
                <c:pt idx="198">
                  <c:v>Private Lab</c:v>
                </c:pt>
                <c:pt idx="199">
                  <c:v>Private Lab</c:v>
                </c:pt>
                <c:pt idx="200">
                  <c:v>Private Lab</c:v>
                </c:pt>
                <c:pt idx="201">
                  <c:v>Private Lab</c:v>
                </c:pt>
                <c:pt idx="202">
                  <c:v>President</c:v>
                </c:pt>
                <c:pt idx="203">
                  <c:v>President</c:v>
                </c:pt>
                <c:pt idx="204">
                  <c:v>Ficello</c:v>
                </c:pt>
                <c:pt idx="205">
                  <c:v>All Others</c:v>
                </c:pt>
                <c:pt idx="206">
                  <c:v>Galbani</c:v>
                </c:pt>
                <c:pt idx="207">
                  <c:v>Soignon</c:v>
                </c:pt>
                <c:pt idx="208">
                  <c:v>Private Lab</c:v>
                </c:pt>
                <c:pt idx="209">
                  <c:v>Private Lab</c:v>
                </c:pt>
                <c:pt idx="210">
                  <c:v>Private Lab</c:v>
                </c:pt>
                <c:pt idx="211">
                  <c:v>St Moret</c:v>
                </c:pt>
                <c:pt idx="212">
                  <c:v>Aperivrais</c:v>
                </c:pt>
                <c:pt idx="213">
                  <c:v>Casa Azzurr</c:v>
                </c:pt>
                <c:pt idx="214">
                  <c:v>President</c:v>
                </c:pt>
                <c:pt idx="215">
                  <c:v>Galbani</c:v>
                </c:pt>
                <c:pt idx="216">
                  <c:v>Private Lab</c:v>
                </c:pt>
                <c:pt idx="217">
                  <c:v>Le Rustique</c:v>
                </c:pt>
                <c:pt idx="218">
                  <c:v>Istara</c:v>
                </c:pt>
                <c:pt idx="219">
                  <c:v>President</c:v>
                </c:pt>
                <c:pt idx="220">
                  <c:v>Private Lab</c:v>
                </c:pt>
                <c:pt idx="221">
                  <c:v>Private Lab</c:v>
                </c:pt>
                <c:pt idx="222">
                  <c:v>Babybel</c:v>
                </c:pt>
                <c:pt idx="223">
                  <c:v>Private Lab</c:v>
                </c:pt>
                <c:pt idx="224">
                  <c:v>Private Lab</c:v>
                </c:pt>
                <c:pt idx="225">
                  <c:v>Apericube</c:v>
                </c:pt>
                <c:pt idx="226">
                  <c:v>Private Lab</c:v>
                </c:pt>
                <c:pt idx="227">
                  <c:v>Private Lab</c:v>
                </c:pt>
                <c:pt idx="228">
                  <c:v>All Others</c:v>
                </c:pt>
                <c:pt idx="229">
                  <c:v>Private Lab</c:v>
                </c:pt>
                <c:pt idx="230">
                  <c:v>Casa Azzurr</c:v>
                </c:pt>
                <c:pt idx="231">
                  <c:v>Boursin</c:v>
                </c:pt>
                <c:pt idx="232">
                  <c:v>President</c:v>
                </c:pt>
                <c:pt idx="233">
                  <c:v>Apericube</c:v>
                </c:pt>
                <c:pt idx="234">
                  <c:v>Leerdammer</c:v>
                </c:pt>
                <c:pt idx="235">
                  <c:v>President</c:v>
                </c:pt>
                <c:pt idx="236">
                  <c:v>Private Lab</c:v>
                </c:pt>
                <c:pt idx="237">
                  <c:v>Private Lab</c:v>
                </c:pt>
                <c:pt idx="238">
                  <c:v>Societe</c:v>
                </c:pt>
                <c:pt idx="239">
                  <c:v>Private Lab</c:v>
                </c:pt>
                <c:pt idx="240">
                  <c:v>Apericube</c:v>
                </c:pt>
                <c:pt idx="241">
                  <c:v>Richesmonts</c:v>
                </c:pt>
                <c:pt idx="242">
                  <c:v>Saint Agur</c:v>
                </c:pt>
                <c:pt idx="243">
                  <c:v>Private Lab</c:v>
                </c:pt>
                <c:pt idx="244">
                  <c:v>Private Lab</c:v>
                </c:pt>
                <c:pt idx="245">
                  <c:v>Private Lab</c:v>
                </c:pt>
                <c:pt idx="246">
                  <c:v>Saint Agur</c:v>
                </c:pt>
                <c:pt idx="247">
                  <c:v>Galbani</c:v>
                </c:pt>
                <c:pt idx="248">
                  <c:v>Les Mousque</c:v>
                </c:pt>
                <c:pt idx="249">
                  <c:v>All Others</c:v>
                </c:pt>
                <c:pt idx="250">
                  <c:v>Private Lab</c:v>
                </c:pt>
                <c:pt idx="251">
                  <c:v>Coeur De Li</c:v>
                </c:pt>
                <c:pt idx="252">
                  <c:v>Chavroux</c:v>
                </c:pt>
                <c:pt idx="253">
                  <c:v>Philadelphi</c:v>
                </c:pt>
                <c:pt idx="254">
                  <c:v>Private Lab</c:v>
                </c:pt>
                <c:pt idx="255">
                  <c:v>Entremont</c:v>
                </c:pt>
                <c:pt idx="256">
                  <c:v>Soignon</c:v>
                </c:pt>
                <c:pt idx="257">
                  <c:v>Private Lab</c:v>
                </c:pt>
                <c:pt idx="258">
                  <c:v>Etorki</c:v>
                </c:pt>
                <c:pt idx="259">
                  <c:v>Apericube</c:v>
                </c:pt>
                <c:pt idx="260">
                  <c:v>Leerdammer</c:v>
                </c:pt>
                <c:pt idx="261">
                  <c:v>Entremont</c:v>
                </c:pt>
                <c:pt idx="262">
                  <c:v>Caprice Des</c:v>
                </c:pt>
                <c:pt idx="263">
                  <c:v>Private Lab</c:v>
                </c:pt>
                <c:pt idx="264">
                  <c:v>Vieux Pane</c:v>
                </c:pt>
                <c:pt idx="265">
                  <c:v>Private Lab</c:v>
                </c:pt>
                <c:pt idx="266">
                  <c:v>President</c:v>
                </c:pt>
                <c:pt idx="267">
                  <c:v>Fol Epi</c:v>
                </c:pt>
                <c:pt idx="268">
                  <c:v>Soignon</c:v>
                </c:pt>
                <c:pt idx="269">
                  <c:v>Savencia: A</c:v>
                </c:pt>
                <c:pt idx="270">
                  <c:v>Salakis</c:v>
                </c:pt>
                <c:pt idx="271">
                  <c:v>Leerdammer</c:v>
                </c:pt>
                <c:pt idx="272">
                  <c:v>La Vache Qu</c:v>
                </c:pt>
                <c:pt idx="273">
                  <c:v>P'Tit Louis</c:v>
                </c:pt>
                <c:pt idx="274">
                  <c:v>Private Lab</c:v>
                </c:pt>
                <c:pt idx="275">
                  <c:v>Boursin</c:v>
                </c:pt>
                <c:pt idx="276">
                  <c:v>Private Lab</c:v>
                </c:pt>
                <c:pt idx="277">
                  <c:v>Parmareggio</c:v>
                </c:pt>
                <c:pt idx="278">
                  <c:v>Lactalis: A</c:v>
                </c:pt>
                <c:pt idx="279">
                  <c:v>Private Lab</c:v>
                </c:pt>
                <c:pt idx="280">
                  <c:v>Casa Azzurr</c:v>
                </c:pt>
                <c:pt idx="281">
                  <c:v>Galbani</c:v>
                </c:pt>
                <c:pt idx="282">
                  <c:v>Private Lab</c:v>
                </c:pt>
                <c:pt idx="283">
                  <c:v>Private Lab</c:v>
                </c:pt>
                <c:pt idx="284">
                  <c:v>Soignon</c:v>
                </c:pt>
                <c:pt idx="285">
                  <c:v>Saint Agur</c:v>
                </c:pt>
                <c:pt idx="286">
                  <c:v>Casa Azzurr</c:v>
                </c:pt>
                <c:pt idx="287">
                  <c:v>Apericube</c:v>
                </c:pt>
                <c:pt idx="288">
                  <c:v>Private Lab</c:v>
                </c:pt>
                <c:pt idx="289">
                  <c:v>Ficello</c:v>
                </c:pt>
                <c:pt idx="290">
                  <c:v>Pave D'Affi</c:v>
                </c:pt>
                <c:pt idx="291">
                  <c:v>Le Rustique</c:v>
                </c:pt>
                <c:pt idx="292">
                  <c:v>Private Lab</c:v>
                </c:pt>
                <c:pt idx="293">
                  <c:v>Private Lab</c:v>
                </c:pt>
                <c:pt idx="294">
                  <c:v>La Vache Qu</c:v>
                </c:pt>
                <c:pt idx="295">
                  <c:v>Apericube</c:v>
                </c:pt>
                <c:pt idx="296">
                  <c:v>Pochat</c:v>
                </c:pt>
                <c:pt idx="297">
                  <c:v>Paysan Bret</c:v>
                </c:pt>
                <c:pt idx="298">
                  <c:v>Private Lab</c:v>
                </c:pt>
                <c:pt idx="299">
                  <c:v>Soignon</c:v>
                </c:pt>
                <c:pt idx="300">
                  <c:v>Le Brebiou</c:v>
                </c:pt>
                <c:pt idx="301">
                  <c:v>Societe</c:v>
                </c:pt>
                <c:pt idx="302">
                  <c:v>Private Lab</c:v>
                </c:pt>
                <c:pt idx="303">
                  <c:v>Casa Azzurr</c:v>
                </c:pt>
                <c:pt idx="304">
                  <c:v>Boursin</c:v>
                </c:pt>
                <c:pt idx="305">
                  <c:v>Tartare</c:v>
                </c:pt>
                <c:pt idx="306">
                  <c:v>Private Lab</c:v>
                </c:pt>
                <c:pt idx="307">
                  <c:v>Private Lab</c:v>
                </c:pt>
                <c:pt idx="308">
                  <c:v>Private Lab</c:v>
                </c:pt>
                <c:pt idx="309">
                  <c:v>Aperivrais</c:v>
                </c:pt>
                <c:pt idx="310">
                  <c:v>Salakis</c:v>
                </c:pt>
                <c:pt idx="311">
                  <c:v>Private Lab</c:v>
                </c:pt>
                <c:pt idx="312">
                  <c:v>All Others</c:v>
                </c:pt>
                <c:pt idx="313">
                  <c:v>Lactalis: A</c:v>
                </c:pt>
                <c:pt idx="314">
                  <c:v>Bresse Bleu</c:v>
                </c:pt>
                <c:pt idx="315">
                  <c:v>Societe</c:v>
                </c:pt>
                <c:pt idx="316">
                  <c:v>Private Lab</c:v>
                </c:pt>
                <c:pt idx="317">
                  <c:v>St Moret</c:v>
                </c:pt>
                <c:pt idx="318">
                  <c:v>Private Lab</c:v>
                </c:pt>
                <c:pt idx="319">
                  <c:v>Carre Frais</c:v>
                </c:pt>
                <c:pt idx="320">
                  <c:v>President</c:v>
                </c:pt>
                <c:pt idx="321">
                  <c:v>Private Lab</c:v>
                </c:pt>
                <c:pt idx="322">
                  <c:v>Pochat</c:v>
                </c:pt>
                <c:pt idx="323">
                  <c:v>Private Lab</c:v>
                </c:pt>
                <c:pt idx="324">
                  <c:v>Private Lab</c:v>
                </c:pt>
                <c:pt idx="325">
                  <c:v>Private Lab</c:v>
                </c:pt>
                <c:pt idx="326">
                  <c:v>All Others</c:v>
                </c:pt>
                <c:pt idx="327">
                  <c:v>Pave D'Affi</c:v>
                </c:pt>
                <c:pt idx="328">
                  <c:v>Paysan Bret</c:v>
                </c:pt>
                <c:pt idx="329">
                  <c:v>Paysan Bret</c:v>
                </c:pt>
                <c:pt idx="330">
                  <c:v>Private Lab</c:v>
                </c:pt>
                <c:pt idx="331">
                  <c:v>President</c:v>
                </c:pt>
                <c:pt idx="332">
                  <c:v>Galbani</c:v>
                </c:pt>
                <c:pt idx="333">
                  <c:v>Aperivrais</c:v>
                </c:pt>
                <c:pt idx="334">
                  <c:v>All Others</c:v>
                </c:pt>
                <c:pt idx="335">
                  <c:v>All Others</c:v>
                </c:pt>
                <c:pt idx="336">
                  <c:v>Private Lab</c:v>
                </c:pt>
                <c:pt idx="337">
                  <c:v>Savencia: A</c:v>
                </c:pt>
                <c:pt idx="338">
                  <c:v>Private Lab</c:v>
                </c:pt>
                <c:pt idx="339">
                  <c:v>Soignon</c:v>
                </c:pt>
                <c:pt idx="340">
                  <c:v>Private Lab</c:v>
                </c:pt>
                <c:pt idx="341">
                  <c:v>President</c:v>
                </c:pt>
                <c:pt idx="342">
                  <c:v>Paysan Bret</c:v>
                </c:pt>
                <c:pt idx="343">
                  <c:v>Galbani</c:v>
                </c:pt>
                <c:pt idx="344">
                  <c:v>Private Lab</c:v>
                </c:pt>
                <c:pt idx="345">
                  <c:v>Private Lab</c:v>
                </c:pt>
                <c:pt idx="346">
                  <c:v>Private Lab</c:v>
                </c:pt>
                <c:pt idx="347">
                  <c:v>Galbani</c:v>
                </c:pt>
                <c:pt idx="348">
                  <c:v>Galbani</c:v>
                </c:pt>
                <c:pt idx="349">
                  <c:v>Le Rustique</c:v>
                </c:pt>
                <c:pt idx="350">
                  <c:v>Soignon</c:v>
                </c:pt>
                <c:pt idx="351">
                  <c:v>Caprice Des</c:v>
                </c:pt>
                <c:pt idx="352">
                  <c:v>President</c:v>
                </c:pt>
                <c:pt idx="353">
                  <c:v>St Moret</c:v>
                </c:pt>
                <c:pt idx="354">
                  <c:v>Les Mousque</c:v>
                </c:pt>
                <c:pt idx="355">
                  <c:v>Kiri</c:v>
                </c:pt>
                <c:pt idx="356">
                  <c:v>Boursin</c:v>
                </c:pt>
                <c:pt idx="357">
                  <c:v>Boursin</c:v>
                </c:pt>
                <c:pt idx="358">
                  <c:v>President</c:v>
                </c:pt>
                <c:pt idx="359">
                  <c:v>Casa Azzurr</c:v>
                </c:pt>
                <c:pt idx="360">
                  <c:v>Private Lab</c:v>
                </c:pt>
                <c:pt idx="361">
                  <c:v>Savencia: A</c:v>
                </c:pt>
                <c:pt idx="362">
                  <c:v>Private Lab</c:v>
                </c:pt>
                <c:pt idx="363">
                  <c:v>Chavroux</c:v>
                </c:pt>
                <c:pt idx="364">
                  <c:v>All Others</c:v>
                </c:pt>
                <c:pt idx="365">
                  <c:v>Les Mousque</c:v>
                </c:pt>
                <c:pt idx="366">
                  <c:v>All Others</c:v>
                </c:pt>
                <c:pt idx="367">
                  <c:v>Mini Babybe</c:v>
                </c:pt>
                <c:pt idx="368">
                  <c:v>Galbani</c:v>
                </c:pt>
                <c:pt idx="369">
                  <c:v>President</c:v>
                </c:pt>
                <c:pt idx="370">
                  <c:v>Fauquet</c:v>
                </c:pt>
                <c:pt idx="371">
                  <c:v>Private Lab</c:v>
                </c:pt>
                <c:pt idx="372">
                  <c:v>Private Lab</c:v>
                </c:pt>
                <c:pt idx="373">
                  <c:v>L'Ortolan</c:v>
                </c:pt>
                <c:pt idx="374">
                  <c:v>La Vache Qu</c:v>
                </c:pt>
                <c:pt idx="375">
                  <c:v>Lou Perac</c:v>
                </c:pt>
                <c:pt idx="376">
                  <c:v>Milleret: A</c:v>
                </c:pt>
                <c:pt idx="377">
                  <c:v>Private Lab</c:v>
                </c:pt>
                <c:pt idx="378">
                  <c:v>Lactalis: A</c:v>
                </c:pt>
                <c:pt idx="379">
                  <c:v>All Others</c:v>
                </c:pt>
                <c:pt idx="380">
                  <c:v>Entremont</c:v>
                </c:pt>
                <c:pt idx="381">
                  <c:v>Private Lab</c:v>
                </c:pt>
                <c:pt idx="382">
                  <c:v>Private Lab</c:v>
                </c:pt>
                <c:pt idx="383">
                  <c:v>Paysan Bret</c:v>
                </c:pt>
                <c:pt idx="384">
                  <c:v>Boursin</c:v>
                </c:pt>
                <c:pt idx="385">
                  <c:v>St Moret</c:v>
                </c:pt>
                <c:pt idx="386">
                  <c:v>Galbani</c:v>
                </c:pt>
                <c:pt idx="387">
                  <c:v>All Others</c:v>
                </c:pt>
                <c:pt idx="388">
                  <c:v>Tartare</c:v>
                </c:pt>
                <c:pt idx="389">
                  <c:v>Private Lab</c:v>
                </c:pt>
                <c:pt idx="390">
                  <c:v>Societe</c:v>
                </c:pt>
                <c:pt idx="391">
                  <c:v>Soignon</c:v>
                </c:pt>
                <c:pt idx="392">
                  <c:v>St Moret</c:v>
                </c:pt>
                <c:pt idx="393">
                  <c:v>Private Lab</c:v>
                </c:pt>
                <c:pt idx="394">
                  <c:v>Private Lab</c:v>
                </c:pt>
                <c:pt idx="395">
                  <c:v>Pave D'Affi</c:v>
                </c:pt>
                <c:pt idx="396">
                  <c:v>Le Rustique</c:v>
                </c:pt>
                <c:pt idx="397">
                  <c:v>Casa Azzurr</c:v>
                </c:pt>
                <c:pt idx="398">
                  <c:v>All Others</c:v>
                </c:pt>
                <c:pt idx="399">
                  <c:v>Private Lab</c:v>
                </c:pt>
                <c:pt idx="400">
                  <c:v>Galbani</c:v>
                </c:pt>
                <c:pt idx="401">
                  <c:v>Eurial Autr</c:v>
                </c:pt>
                <c:pt idx="402">
                  <c:v>Casa Azzurr</c:v>
                </c:pt>
                <c:pt idx="403">
                  <c:v>All Others</c:v>
                </c:pt>
                <c:pt idx="404">
                  <c:v>All Others</c:v>
                </c:pt>
                <c:pt idx="405">
                  <c:v>Leerdammer</c:v>
                </c:pt>
                <c:pt idx="406">
                  <c:v>Private Lab</c:v>
                </c:pt>
                <c:pt idx="407">
                  <c:v>All Others</c:v>
                </c:pt>
                <c:pt idx="408">
                  <c:v>Private Lab</c:v>
                </c:pt>
                <c:pt idx="409">
                  <c:v>Galbani</c:v>
                </c:pt>
                <c:pt idx="410">
                  <c:v>Boursin</c:v>
                </c:pt>
                <c:pt idx="411">
                  <c:v>Kiri</c:v>
                </c:pt>
                <c:pt idx="412">
                  <c:v>Private Lab</c:v>
                </c:pt>
                <c:pt idx="413">
                  <c:v>Private Lab</c:v>
                </c:pt>
                <c:pt idx="414">
                  <c:v>Societe</c:v>
                </c:pt>
                <c:pt idx="415">
                  <c:v>Aperivrais</c:v>
                </c:pt>
                <c:pt idx="416">
                  <c:v>Tartare</c:v>
                </c:pt>
                <c:pt idx="417">
                  <c:v>Salakis</c:v>
                </c:pt>
                <c:pt idx="418">
                  <c:v>Boursin</c:v>
                </c:pt>
                <c:pt idx="419">
                  <c:v>All Others</c:v>
                </c:pt>
                <c:pt idx="420">
                  <c:v>Etorki</c:v>
                </c:pt>
                <c:pt idx="421">
                  <c:v>Boursin</c:v>
                </c:pt>
                <c:pt idx="422">
                  <c:v>Boursin</c:v>
                </c:pt>
                <c:pt idx="423">
                  <c:v>Mini Babybe</c:v>
                </c:pt>
                <c:pt idx="424">
                  <c:v>Casa Azzurr</c:v>
                </c:pt>
                <c:pt idx="425">
                  <c:v>Private Lab</c:v>
                </c:pt>
                <c:pt idx="426">
                  <c:v>Soignon</c:v>
                </c:pt>
                <c:pt idx="427">
                  <c:v>Private Lab</c:v>
                </c:pt>
                <c:pt idx="428">
                  <c:v>Private Lab</c:v>
                </c:pt>
                <c:pt idx="429">
                  <c:v>Islos</c:v>
                </c:pt>
                <c:pt idx="430">
                  <c:v>Eurial Autr</c:v>
                </c:pt>
                <c:pt idx="431">
                  <c:v>All Others</c:v>
                </c:pt>
                <c:pt idx="432">
                  <c:v>St Moret</c:v>
                </c:pt>
                <c:pt idx="433">
                  <c:v>Boursin</c:v>
                </c:pt>
                <c:pt idx="434">
                  <c:v>Fol Epi</c:v>
                </c:pt>
                <c:pt idx="435">
                  <c:v>Aperivrais</c:v>
                </c:pt>
                <c:pt idx="436">
                  <c:v>Private Lab</c:v>
                </c:pt>
                <c:pt idx="437">
                  <c:v>Savencia: A</c:v>
                </c:pt>
                <c:pt idx="438">
                  <c:v>Private Lab</c:v>
                </c:pt>
                <c:pt idx="439">
                  <c:v>Vieux Pane</c:v>
                </c:pt>
                <c:pt idx="440">
                  <c:v>All Others</c:v>
                </c:pt>
                <c:pt idx="441">
                  <c:v>Galbani</c:v>
                </c:pt>
                <c:pt idx="442">
                  <c:v>Savencia: A</c:v>
                </c:pt>
                <c:pt idx="443">
                  <c:v>Societe</c:v>
                </c:pt>
                <c:pt idx="444">
                  <c:v>Private Lab</c:v>
                </c:pt>
                <c:pt idx="445">
                  <c:v>All Others</c:v>
                </c:pt>
                <c:pt idx="446">
                  <c:v>Vieux Pane</c:v>
                </c:pt>
                <c:pt idx="447">
                  <c:v>La Belle Et</c:v>
                </c:pt>
                <c:pt idx="448">
                  <c:v>Casa Azzurr</c:v>
                </c:pt>
                <c:pt idx="449">
                  <c:v>Caprice Des</c:v>
                </c:pt>
                <c:pt idx="450">
                  <c:v>Apericube</c:v>
                </c:pt>
                <c:pt idx="451">
                  <c:v>Juraflore</c:v>
                </c:pt>
                <c:pt idx="452">
                  <c:v>Private Lab</c:v>
                </c:pt>
                <c:pt idx="453">
                  <c:v>Leerdammer</c:v>
                </c:pt>
                <c:pt idx="454">
                  <c:v>Lou Perac</c:v>
                </c:pt>
                <c:pt idx="455">
                  <c:v>Pave D'Affi</c:v>
                </c:pt>
                <c:pt idx="456">
                  <c:v>Caprice Des</c:v>
                </c:pt>
                <c:pt idx="457">
                  <c:v>Private Lab</c:v>
                </c:pt>
                <c:pt idx="458">
                  <c:v>Lactalis: A</c:v>
                </c:pt>
                <c:pt idx="459">
                  <c:v>Boursin</c:v>
                </c:pt>
                <c:pt idx="460">
                  <c:v>Islos</c:v>
                </c:pt>
                <c:pt idx="461">
                  <c:v>Private Lab</c:v>
                </c:pt>
                <c:pt idx="462">
                  <c:v>Saint Agur</c:v>
                </c:pt>
                <c:pt idx="463">
                  <c:v>Lou Perac</c:v>
                </c:pt>
                <c:pt idx="464">
                  <c:v>Lactalis: A</c:v>
                </c:pt>
                <c:pt idx="465">
                  <c:v>Les Mousque</c:v>
                </c:pt>
                <c:pt idx="466">
                  <c:v>Private Lab</c:v>
                </c:pt>
                <c:pt idx="467">
                  <c:v>Private Lab</c:v>
                </c:pt>
                <c:pt idx="468">
                  <c:v>Coeur De Li</c:v>
                </c:pt>
                <c:pt idx="469">
                  <c:v>Kiri</c:v>
                </c:pt>
                <c:pt idx="470">
                  <c:v>President</c:v>
                </c:pt>
                <c:pt idx="471">
                  <c:v>President</c:v>
                </c:pt>
                <c:pt idx="472">
                  <c:v>All Others</c:v>
                </c:pt>
                <c:pt idx="473">
                  <c:v>Paysan Bret</c:v>
                </c:pt>
                <c:pt idx="474">
                  <c:v>Private Lab</c:v>
                </c:pt>
                <c:pt idx="475">
                  <c:v>La Vache Qu</c:v>
                </c:pt>
                <c:pt idx="476">
                  <c:v>Tartare</c:v>
                </c:pt>
                <c:pt idx="477">
                  <c:v>Paysan Bret</c:v>
                </c:pt>
                <c:pt idx="478">
                  <c:v>Private Lab</c:v>
                </c:pt>
                <c:pt idx="479">
                  <c:v>Private Lab</c:v>
                </c:pt>
                <c:pt idx="480">
                  <c:v>Etoile Du V</c:v>
                </c:pt>
                <c:pt idx="481">
                  <c:v>Salakis</c:v>
                </c:pt>
                <c:pt idx="482">
                  <c:v>Bresse Bleu</c:v>
                </c:pt>
                <c:pt idx="483">
                  <c:v>L'Ortolan</c:v>
                </c:pt>
                <c:pt idx="484">
                  <c:v>All Others</c:v>
                </c:pt>
                <c:pt idx="485">
                  <c:v>Private Lab</c:v>
                </c:pt>
                <c:pt idx="486">
                  <c:v>Le Coq Crem</c:v>
                </c:pt>
                <c:pt idx="487">
                  <c:v>Pochat</c:v>
                </c:pt>
                <c:pt idx="488">
                  <c:v>La Belle Et</c:v>
                </c:pt>
                <c:pt idx="489">
                  <c:v>All Others</c:v>
                </c:pt>
                <c:pt idx="490">
                  <c:v>Tartare</c:v>
                </c:pt>
                <c:pt idx="491">
                  <c:v>All Others</c:v>
                </c:pt>
                <c:pt idx="492">
                  <c:v>All Others</c:v>
                </c:pt>
                <c:pt idx="493">
                  <c:v>Casa Azzurr</c:v>
                </c:pt>
                <c:pt idx="494">
                  <c:v>Tartare</c:v>
                </c:pt>
                <c:pt idx="495">
                  <c:v>Entremont</c:v>
                </c:pt>
                <c:pt idx="496">
                  <c:v>Istara</c:v>
                </c:pt>
                <c:pt idx="497">
                  <c:v>Juraflore</c:v>
                </c:pt>
                <c:pt idx="498">
                  <c:v>Private Lab</c:v>
                </c:pt>
                <c:pt idx="499">
                  <c:v>President</c:v>
                </c:pt>
                <c:pt idx="500">
                  <c:v>Private Lab</c:v>
                </c:pt>
                <c:pt idx="501">
                  <c:v>L'Ortolan</c:v>
                </c:pt>
                <c:pt idx="502">
                  <c:v>Fol Epi</c:v>
                </c:pt>
                <c:pt idx="503">
                  <c:v>Private Lab</c:v>
                </c:pt>
                <c:pt idx="504">
                  <c:v>Entremont</c:v>
                </c:pt>
                <c:pt idx="505">
                  <c:v>Private Lab</c:v>
                </c:pt>
                <c:pt idx="506">
                  <c:v>Paysan Bret</c:v>
                </c:pt>
                <c:pt idx="507">
                  <c:v>All Others</c:v>
                </c:pt>
                <c:pt idx="508">
                  <c:v>St Moret</c:v>
                </c:pt>
                <c:pt idx="509">
                  <c:v>All Others</c:v>
                </c:pt>
                <c:pt idx="510">
                  <c:v>All Others</c:v>
                </c:pt>
                <c:pt idx="511">
                  <c:v>All Others</c:v>
                </c:pt>
                <c:pt idx="512">
                  <c:v>Soignon</c:v>
                </c:pt>
                <c:pt idx="513">
                  <c:v>Le Saint Am</c:v>
                </c:pt>
                <c:pt idx="514">
                  <c:v>All Others</c:v>
                </c:pt>
                <c:pt idx="515">
                  <c:v>Savencia: A</c:v>
                </c:pt>
                <c:pt idx="516">
                  <c:v>Galbani</c:v>
                </c:pt>
                <c:pt idx="517">
                  <c:v>Corsica</c:v>
                </c:pt>
                <c:pt idx="518">
                  <c:v>Savencia: A</c:v>
                </c:pt>
                <c:pt idx="519">
                  <c:v>Mini Babybe</c:v>
                </c:pt>
                <c:pt idx="520">
                  <c:v>Private Lab</c:v>
                </c:pt>
                <c:pt idx="521">
                  <c:v>Private Lab</c:v>
                </c:pt>
                <c:pt idx="522">
                  <c:v>All Others</c:v>
                </c:pt>
                <c:pt idx="523">
                  <c:v>Paysan Bret</c:v>
                </c:pt>
                <c:pt idx="524">
                  <c:v>President</c:v>
                </c:pt>
                <c:pt idx="525">
                  <c:v>All Others</c:v>
                </c:pt>
                <c:pt idx="526">
                  <c:v>Galbani</c:v>
                </c:pt>
                <c:pt idx="527">
                  <c:v>Les Mousque</c:v>
                </c:pt>
                <c:pt idx="528">
                  <c:v>Paysan Bret</c:v>
                </c:pt>
                <c:pt idx="529">
                  <c:v>Boursin</c:v>
                </c:pt>
                <c:pt idx="530">
                  <c:v>Apericube</c:v>
                </c:pt>
                <c:pt idx="531">
                  <c:v>Savencia: A</c:v>
                </c:pt>
                <c:pt idx="532">
                  <c:v>P'Tit Louis</c:v>
                </c:pt>
                <c:pt idx="533">
                  <c:v>Bresse Bleu</c:v>
                </c:pt>
                <c:pt idx="534">
                  <c:v>President</c:v>
                </c:pt>
                <c:pt idx="535">
                  <c:v>Triballat N</c:v>
                </c:pt>
                <c:pt idx="536">
                  <c:v>All Others</c:v>
                </c:pt>
                <c:pt idx="537">
                  <c:v>All Others</c:v>
                </c:pt>
                <c:pt idx="538">
                  <c:v>Richesmonts</c:v>
                </c:pt>
                <c:pt idx="539">
                  <c:v>Soignon</c:v>
                </c:pt>
                <c:pt idx="540">
                  <c:v>All Others</c:v>
                </c:pt>
                <c:pt idx="541">
                  <c:v>Cousteron</c:v>
                </c:pt>
                <c:pt idx="542">
                  <c:v>All Others</c:v>
                </c:pt>
                <c:pt idx="543">
                  <c:v>All Others</c:v>
                </c:pt>
                <c:pt idx="544">
                  <c:v>Private Lab</c:v>
                </c:pt>
                <c:pt idx="545">
                  <c:v>All Others</c:v>
                </c:pt>
                <c:pt idx="546">
                  <c:v>Milleret: A</c:v>
                </c:pt>
                <c:pt idx="547">
                  <c:v>Pochat</c:v>
                </c:pt>
                <c:pt idx="548">
                  <c:v>Lactalis: A</c:v>
                </c:pt>
                <c:pt idx="549">
                  <c:v>All Others</c:v>
                </c:pt>
                <c:pt idx="550">
                  <c:v>All Others</c:v>
                </c:pt>
                <c:pt idx="551">
                  <c:v>Eurial Autr</c:v>
                </c:pt>
                <c:pt idx="552">
                  <c:v>Raguin</c:v>
                </c:pt>
                <c:pt idx="553">
                  <c:v>Caprice Des</c:v>
                </c:pt>
                <c:pt idx="554">
                  <c:v>Etoile Du Q</c:v>
                </c:pt>
                <c:pt idx="555">
                  <c:v>President</c:v>
                </c:pt>
                <c:pt idx="556">
                  <c:v>Savencia: A</c:v>
                </c:pt>
                <c:pt idx="557">
                  <c:v>Soignon</c:v>
                </c:pt>
                <c:pt idx="558">
                  <c:v>Kiri</c:v>
                </c:pt>
                <c:pt idx="559">
                  <c:v>All Others</c:v>
                </c:pt>
                <c:pt idx="560">
                  <c:v>All Others</c:v>
                </c:pt>
                <c:pt idx="561">
                  <c:v>Entremont</c:v>
                </c:pt>
                <c:pt idx="562">
                  <c:v>All Others</c:v>
                </c:pt>
                <c:pt idx="563">
                  <c:v>Apericube</c:v>
                </c:pt>
                <c:pt idx="564">
                  <c:v>Savencia: A</c:v>
                </c:pt>
                <c:pt idx="565">
                  <c:v>All Others</c:v>
                </c:pt>
                <c:pt idx="566">
                  <c:v>All Others</c:v>
                </c:pt>
                <c:pt idx="567">
                  <c:v>All Others</c:v>
                </c:pt>
                <c:pt idx="568">
                  <c:v>Lactalis: A</c:v>
                </c:pt>
                <c:pt idx="569">
                  <c:v>Raguin</c:v>
                </c:pt>
                <c:pt idx="570">
                  <c:v>All Others</c:v>
                </c:pt>
                <c:pt idx="571">
                  <c:v>Boursin</c:v>
                </c:pt>
                <c:pt idx="572">
                  <c:v>Richesmonts</c:v>
                </c:pt>
                <c:pt idx="573">
                  <c:v>Entremont</c:v>
                </c:pt>
                <c:pt idx="574">
                  <c:v>All Others</c:v>
                </c:pt>
                <c:pt idx="575">
                  <c:v>Triballat N</c:v>
                </c:pt>
                <c:pt idx="576">
                  <c:v>Violife</c:v>
                </c:pt>
                <c:pt idx="577">
                  <c:v>Private Lab</c:v>
                </c:pt>
                <c:pt idx="578">
                  <c:v>All Others</c:v>
                </c:pt>
                <c:pt idx="579">
                  <c:v>Lactalis: A</c:v>
                </c:pt>
                <c:pt idx="580">
                  <c:v>All Others</c:v>
                </c:pt>
                <c:pt idx="581">
                  <c:v>Saint Albra</c:v>
                </c:pt>
                <c:pt idx="582">
                  <c:v>Chaussee Au</c:v>
                </c:pt>
                <c:pt idx="583">
                  <c:v>All Others</c:v>
                </c:pt>
                <c:pt idx="584">
                  <c:v>Etoile Du V</c:v>
                </c:pt>
                <c:pt idx="585">
                  <c:v>All Others</c:v>
                </c:pt>
                <c:pt idx="586">
                  <c:v>Private Lab</c:v>
                </c:pt>
                <c:pt idx="587">
                  <c:v>Entremont</c:v>
                </c:pt>
                <c:pt idx="588">
                  <c:v>Private Lab</c:v>
                </c:pt>
                <c:pt idx="589">
                  <c:v>All Others</c:v>
                </c:pt>
                <c:pt idx="590">
                  <c:v>L'Ortolan</c:v>
                </c:pt>
                <c:pt idx="591">
                  <c:v>All Others</c:v>
                </c:pt>
                <c:pt idx="592">
                  <c:v>Soignon</c:v>
                </c:pt>
                <c:pt idx="593">
                  <c:v>Triballat N</c:v>
                </c:pt>
                <c:pt idx="594">
                  <c:v>Lactalis: A</c:v>
                </c:pt>
                <c:pt idx="595">
                  <c:v>Lactalis: A</c:v>
                </c:pt>
                <c:pt idx="596">
                  <c:v>Boursin</c:v>
                </c:pt>
                <c:pt idx="597">
                  <c:v>Carre Frais</c:v>
                </c:pt>
                <c:pt idx="598">
                  <c:v>Private Lab</c:v>
                </c:pt>
                <c:pt idx="599">
                  <c:v>La Belle Et</c:v>
                </c:pt>
                <c:pt idx="600">
                  <c:v>All Others</c:v>
                </c:pt>
                <c:pt idx="601">
                  <c:v>Chavroux</c:v>
                </c:pt>
                <c:pt idx="602">
                  <c:v>Lactalis: A</c:v>
                </c:pt>
                <c:pt idx="603">
                  <c:v>Paysan Bret</c:v>
                </c:pt>
                <c:pt idx="604">
                  <c:v>Raguin</c:v>
                </c:pt>
                <c:pt idx="605">
                  <c:v>Raguin</c:v>
                </c:pt>
                <c:pt idx="606">
                  <c:v>Chavroux</c:v>
                </c:pt>
                <c:pt idx="607">
                  <c:v>Boursin</c:v>
                </c:pt>
                <c:pt idx="608">
                  <c:v>All Others</c:v>
                </c:pt>
                <c:pt idx="609">
                  <c:v>All Others</c:v>
                </c:pt>
                <c:pt idx="610">
                  <c:v>All Others</c:v>
                </c:pt>
                <c:pt idx="611">
                  <c:v>Societe</c:v>
                </c:pt>
                <c:pt idx="612">
                  <c:v>All Others</c:v>
                </c:pt>
                <c:pt idx="613">
                  <c:v>Etorki</c:v>
                </c:pt>
                <c:pt idx="614">
                  <c:v>Etoile Du V</c:v>
                </c:pt>
                <c:pt idx="615">
                  <c:v>Entremont</c:v>
                </c:pt>
                <c:pt idx="616">
                  <c:v>Salakis</c:v>
                </c:pt>
                <c:pt idx="617">
                  <c:v>All Others</c:v>
                </c:pt>
                <c:pt idx="618">
                  <c:v>Milleret: A</c:v>
                </c:pt>
                <c:pt idx="619">
                  <c:v>All Others</c:v>
                </c:pt>
                <c:pt idx="620">
                  <c:v>All Others</c:v>
                </c:pt>
                <c:pt idx="621">
                  <c:v>Le Brebiou</c:v>
                </c:pt>
                <c:pt idx="622">
                  <c:v>Paysan Bret</c:v>
                </c:pt>
                <c:pt idx="623">
                  <c:v>Societe</c:v>
                </c:pt>
                <c:pt idx="624">
                  <c:v>All Others</c:v>
                </c:pt>
                <c:pt idx="625">
                  <c:v>All Others</c:v>
                </c:pt>
                <c:pt idx="626">
                  <c:v>All Others</c:v>
                </c:pt>
                <c:pt idx="627">
                  <c:v>Richesmonts</c:v>
                </c:pt>
                <c:pt idx="628">
                  <c:v>All Others</c:v>
                </c:pt>
                <c:pt idx="629">
                  <c:v>Paysan Bret</c:v>
                </c:pt>
                <c:pt idx="630">
                  <c:v>Savencia: A</c:v>
                </c:pt>
                <c:pt idx="631">
                  <c:v>All Others</c:v>
                </c:pt>
                <c:pt idx="632">
                  <c:v>Entremont</c:v>
                </c:pt>
                <c:pt idx="633">
                  <c:v>Fauquet</c:v>
                </c:pt>
                <c:pt idx="634">
                  <c:v>All Others</c:v>
                </c:pt>
                <c:pt idx="635">
                  <c:v>All Others</c:v>
                </c:pt>
                <c:pt idx="636">
                  <c:v>All Others</c:v>
                </c:pt>
                <c:pt idx="637">
                  <c:v>All Others</c:v>
                </c:pt>
                <c:pt idx="638">
                  <c:v>Milleret: A</c:v>
                </c:pt>
                <c:pt idx="639">
                  <c:v>All Others</c:v>
                </c:pt>
                <c:pt idx="640">
                  <c:v>All Others</c:v>
                </c:pt>
                <c:pt idx="641">
                  <c:v>Casa Azzurr</c:v>
                </c:pt>
                <c:pt idx="642">
                  <c:v>All Others</c:v>
                </c:pt>
                <c:pt idx="643">
                  <c:v>All Others</c:v>
                </c:pt>
                <c:pt idx="644">
                  <c:v>All Others</c:v>
                </c:pt>
                <c:pt idx="645">
                  <c:v>Salakis</c:v>
                </c:pt>
                <c:pt idx="646">
                  <c:v>All Others</c:v>
                </c:pt>
                <c:pt idx="647">
                  <c:v>Milleret: A</c:v>
                </c:pt>
                <c:pt idx="648">
                  <c:v>Savencia: A</c:v>
                </c:pt>
                <c:pt idx="649">
                  <c:v>All Others</c:v>
                </c:pt>
                <c:pt idx="650">
                  <c:v>All Others</c:v>
                </c:pt>
                <c:pt idx="651">
                  <c:v>President</c:v>
                </c:pt>
                <c:pt idx="652">
                  <c:v>Les Mousque</c:v>
                </c:pt>
                <c:pt idx="653">
                  <c:v>All Others</c:v>
                </c:pt>
                <c:pt idx="654">
                  <c:v>All Others</c:v>
                </c:pt>
                <c:pt idx="655">
                  <c:v>All Others</c:v>
                </c:pt>
                <c:pt idx="656">
                  <c:v>Nurishh</c:v>
                </c:pt>
                <c:pt idx="657">
                  <c:v>Lactalis: A</c:v>
                </c:pt>
                <c:pt idx="658">
                  <c:v>All Others</c:v>
                </c:pt>
                <c:pt idx="659">
                  <c:v>Milleret: A</c:v>
                </c:pt>
                <c:pt idx="660">
                  <c:v>Saint Agur</c:v>
                </c:pt>
                <c:pt idx="661">
                  <c:v>All Others</c:v>
                </c:pt>
                <c:pt idx="662">
                  <c:v>Istara</c:v>
                </c:pt>
                <c:pt idx="663">
                  <c:v>All Others</c:v>
                </c:pt>
                <c:pt idx="664">
                  <c:v>Aperivrais</c:v>
                </c:pt>
                <c:pt idx="665">
                  <c:v>All Others</c:v>
                </c:pt>
                <c:pt idx="666">
                  <c:v>All Others</c:v>
                </c:pt>
                <c:pt idx="667">
                  <c:v>Violife</c:v>
                </c:pt>
                <c:pt idx="668">
                  <c:v>Violife</c:v>
                </c:pt>
                <c:pt idx="669">
                  <c:v>All Others</c:v>
                </c:pt>
                <c:pt idx="670">
                  <c:v>All Others</c:v>
                </c:pt>
                <c:pt idx="671">
                  <c:v>All Others</c:v>
                </c:pt>
                <c:pt idx="672">
                  <c:v>All Others</c:v>
                </c:pt>
                <c:pt idx="673">
                  <c:v>Lactalis: A</c:v>
                </c:pt>
                <c:pt idx="674">
                  <c:v>All Others</c:v>
                </c:pt>
                <c:pt idx="675">
                  <c:v>Etoile Du V</c:v>
                </c:pt>
                <c:pt idx="676">
                  <c:v>Private Lab</c:v>
                </c:pt>
                <c:pt idx="677">
                  <c:v>All Others</c:v>
                </c:pt>
                <c:pt idx="678">
                  <c:v>All Others</c:v>
                </c:pt>
                <c:pt idx="679">
                  <c:v>Tartare</c:v>
                </c:pt>
                <c:pt idx="680">
                  <c:v>All Others</c:v>
                </c:pt>
                <c:pt idx="681">
                  <c:v>All Others</c:v>
                </c:pt>
                <c:pt idx="682">
                  <c:v>Etoile Du V</c:v>
                </c:pt>
                <c:pt idx="683">
                  <c:v>All Others</c:v>
                </c:pt>
                <c:pt idx="684">
                  <c:v>All Others</c:v>
                </c:pt>
                <c:pt idx="685">
                  <c:v>Nurishh</c:v>
                </c:pt>
                <c:pt idx="686">
                  <c:v>La Belle Et</c:v>
                </c:pt>
                <c:pt idx="687">
                  <c:v>All Others</c:v>
                </c:pt>
                <c:pt idx="688">
                  <c:v>All Others</c:v>
                </c:pt>
                <c:pt idx="689">
                  <c:v>All Others</c:v>
                </c:pt>
                <c:pt idx="690">
                  <c:v>Paysan Bret</c:v>
                </c:pt>
                <c:pt idx="691">
                  <c:v>All Others</c:v>
                </c:pt>
                <c:pt idx="692">
                  <c:v>All Others</c:v>
                </c:pt>
                <c:pt idx="693">
                  <c:v>All Others</c:v>
                </c:pt>
                <c:pt idx="694">
                  <c:v>All Others</c:v>
                </c:pt>
                <c:pt idx="695">
                  <c:v>All Others</c:v>
                </c:pt>
                <c:pt idx="696">
                  <c:v>All Others</c:v>
                </c:pt>
                <c:pt idx="697">
                  <c:v>All Others</c:v>
                </c:pt>
                <c:pt idx="698">
                  <c:v>Savencia: A</c:v>
                </c:pt>
                <c:pt idx="699">
                  <c:v>Etoile Du V</c:v>
                </c:pt>
                <c:pt idx="700">
                  <c:v>All Others</c:v>
                </c:pt>
                <c:pt idx="701">
                  <c:v>Savencia: A</c:v>
                </c:pt>
                <c:pt idx="702">
                  <c:v>All Others</c:v>
                </c:pt>
                <c:pt idx="703">
                  <c:v>All Others</c:v>
                </c:pt>
                <c:pt idx="704">
                  <c:v>All Others</c:v>
                </c:pt>
                <c:pt idx="705">
                  <c:v>All Others</c:v>
                </c:pt>
                <c:pt idx="706">
                  <c:v>Milleret: A</c:v>
                </c:pt>
                <c:pt idx="707">
                  <c:v>Lactalis: A</c:v>
                </c:pt>
                <c:pt idx="708">
                  <c:v>Triballat N</c:v>
                </c:pt>
                <c:pt idx="709">
                  <c:v>All Others</c:v>
                </c:pt>
                <c:pt idx="710">
                  <c:v>All Others</c:v>
                </c:pt>
                <c:pt idx="711">
                  <c:v>All Others</c:v>
                </c:pt>
                <c:pt idx="712">
                  <c:v>All Others</c:v>
                </c:pt>
                <c:pt idx="713">
                  <c:v>All Others</c:v>
                </c:pt>
                <c:pt idx="714">
                  <c:v>Casa Azzurr</c:v>
                </c:pt>
                <c:pt idx="715">
                  <c:v>All Others</c:v>
                </c:pt>
                <c:pt idx="716">
                  <c:v>All Others</c:v>
                </c:pt>
                <c:pt idx="717">
                  <c:v>All Others</c:v>
                </c:pt>
                <c:pt idx="718">
                  <c:v>All Others</c:v>
                </c:pt>
                <c:pt idx="719">
                  <c:v>L'Ortolan</c:v>
                </c:pt>
                <c:pt idx="720">
                  <c:v>La Belle Et</c:v>
                </c:pt>
                <c:pt idx="721">
                  <c:v>All Others</c:v>
                </c:pt>
                <c:pt idx="722">
                  <c:v>All Others</c:v>
                </c:pt>
                <c:pt idx="723">
                  <c:v>All Others</c:v>
                </c:pt>
                <c:pt idx="724">
                  <c:v>Rians</c:v>
                </c:pt>
                <c:pt idx="725">
                  <c:v>All Others</c:v>
                </c:pt>
                <c:pt idx="726">
                  <c:v>Private Lab</c:v>
                </c:pt>
                <c:pt idx="727">
                  <c:v>All Others</c:v>
                </c:pt>
                <c:pt idx="728">
                  <c:v>Entremont</c:v>
                </c:pt>
                <c:pt idx="729">
                  <c:v>All Others</c:v>
                </c:pt>
                <c:pt idx="730">
                  <c:v>All Others</c:v>
                </c:pt>
                <c:pt idx="731">
                  <c:v>All Others</c:v>
                </c:pt>
                <c:pt idx="732">
                  <c:v>All Others</c:v>
                </c:pt>
                <c:pt idx="733">
                  <c:v>All Others</c:v>
                </c:pt>
                <c:pt idx="734">
                  <c:v>All Others</c:v>
                </c:pt>
                <c:pt idx="735">
                  <c:v>All Others</c:v>
                </c:pt>
                <c:pt idx="736">
                  <c:v>Entremont</c:v>
                </c:pt>
                <c:pt idx="737">
                  <c:v>All Others</c:v>
                </c:pt>
                <c:pt idx="738">
                  <c:v>Fol Epi</c:v>
                </c:pt>
                <c:pt idx="739">
                  <c:v>All Others</c:v>
                </c:pt>
                <c:pt idx="740">
                  <c:v>All Others</c:v>
                </c:pt>
                <c:pt idx="741">
                  <c:v>All Others</c:v>
                </c:pt>
                <c:pt idx="742">
                  <c:v>All Others</c:v>
                </c:pt>
                <c:pt idx="743">
                  <c:v>La Table M</c:v>
                </c:pt>
                <c:pt idx="744">
                  <c:v>Nurishh</c:v>
                </c:pt>
                <c:pt idx="745">
                  <c:v>All Others</c:v>
                </c:pt>
                <c:pt idx="746">
                  <c:v>All Others</c:v>
                </c:pt>
                <c:pt idx="747">
                  <c:v>All Others</c:v>
                </c:pt>
                <c:pt idx="748">
                  <c:v>All Others</c:v>
                </c:pt>
                <c:pt idx="749">
                  <c:v>Etoile Du V</c:v>
                </c:pt>
                <c:pt idx="750">
                  <c:v>All Others</c:v>
                </c:pt>
                <c:pt idx="751">
                  <c:v>All Others</c:v>
                </c:pt>
                <c:pt idx="752">
                  <c:v>All Others</c:v>
                </c:pt>
                <c:pt idx="753">
                  <c:v>All Others</c:v>
                </c:pt>
                <c:pt idx="754">
                  <c:v>All Others</c:v>
                </c:pt>
                <c:pt idx="755">
                  <c:v>Lactalis: A</c:v>
                </c:pt>
                <c:pt idx="756">
                  <c:v>All Others</c:v>
                </c:pt>
                <c:pt idx="757">
                  <c:v>All Others</c:v>
                </c:pt>
                <c:pt idx="758">
                  <c:v>All Others</c:v>
                </c:pt>
                <c:pt idx="759">
                  <c:v>All Others</c:v>
                </c:pt>
                <c:pt idx="760">
                  <c:v>All Others</c:v>
                </c:pt>
                <c:pt idx="761">
                  <c:v>All Others</c:v>
                </c:pt>
                <c:pt idx="762">
                  <c:v>All Others</c:v>
                </c:pt>
                <c:pt idx="763">
                  <c:v>All Others</c:v>
                </c:pt>
                <c:pt idx="764">
                  <c:v>All Others</c:v>
                </c:pt>
                <c:pt idx="765">
                  <c:v>All Others</c:v>
                </c:pt>
                <c:pt idx="766">
                  <c:v>Etoile Du V</c:v>
                </c:pt>
                <c:pt idx="767">
                  <c:v>Entremont</c:v>
                </c:pt>
                <c:pt idx="768">
                  <c:v>All Others</c:v>
                </c:pt>
                <c:pt idx="769">
                  <c:v>Nurishh</c:v>
                </c:pt>
                <c:pt idx="770">
                  <c:v>All Others</c:v>
                </c:pt>
                <c:pt idx="771">
                  <c:v>Paysan Bret</c:v>
                </c:pt>
                <c:pt idx="772">
                  <c:v>All Others</c:v>
                </c:pt>
                <c:pt idx="773">
                  <c:v>Soignon</c:v>
                </c:pt>
                <c:pt idx="774">
                  <c:v>All Others</c:v>
                </c:pt>
                <c:pt idx="775">
                  <c:v>Nurishh</c:v>
                </c:pt>
                <c:pt idx="776">
                  <c:v>All Others</c:v>
                </c:pt>
                <c:pt idx="777">
                  <c:v>All Others</c:v>
                </c:pt>
                <c:pt idx="778">
                  <c:v>La Belle Et</c:v>
                </c:pt>
                <c:pt idx="779">
                  <c:v>Savencia: A</c:v>
                </c:pt>
                <c:pt idx="780">
                  <c:v>La Belle Et</c:v>
                </c:pt>
                <c:pt idx="781">
                  <c:v>Milleret: A</c:v>
                </c:pt>
                <c:pt idx="782">
                  <c:v>Nurishh</c:v>
                </c:pt>
                <c:pt idx="783">
                  <c:v>All Others</c:v>
                </c:pt>
                <c:pt idx="784">
                  <c:v>All Others</c:v>
                </c:pt>
                <c:pt idx="785">
                  <c:v>All Others</c:v>
                </c:pt>
                <c:pt idx="786">
                  <c:v>All Others</c:v>
                </c:pt>
                <c:pt idx="787">
                  <c:v>All Others</c:v>
                </c:pt>
                <c:pt idx="788">
                  <c:v>All Others</c:v>
                </c:pt>
                <c:pt idx="789">
                  <c:v>La Belle Et</c:v>
                </c:pt>
                <c:pt idx="790">
                  <c:v>All Others</c:v>
                </c:pt>
                <c:pt idx="791">
                  <c:v>All Others</c:v>
                </c:pt>
                <c:pt idx="792">
                  <c:v>All Others</c:v>
                </c:pt>
                <c:pt idx="793">
                  <c:v>All Others</c:v>
                </c:pt>
                <c:pt idx="794">
                  <c:v>All Others</c:v>
                </c:pt>
                <c:pt idx="795">
                  <c:v>Violife</c:v>
                </c:pt>
                <c:pt idx="796">
                  <c:v>Lactalis: A</c:v>
                </c:pt>
                <c:pt idx="797">
                  <c:v>All Others</c:v>
                </c:pt>
                <c:pt idx="798">
                  <c:v>All Others</c:v>
                </c:pt>
                <c:pt idx="799">
                  <c:v>All Others</c:v>
                </c:pt>
                <c:pt idx="800">
                  <c:v>All Others</c:v>
                </c:pt>
                <c:pt idx="801">
                  <c:v>La Belle Et</c:v>
                </c:pt>
                <c:pt idx="802">
                  <c:v>All Others</c:v>
                </c:pt>
                <c:pt idx="803">
                  <c:v>Private Lab</c:v>
                </c:pt>
                <c:pt idx="804">
                  <c:v>All Others</c:v>
                </c:pt>
                <c:pt idx="805">
                  <c:v>All Others</c:v>
                </c:pt>
                <c:pt idx="806">
                  <c:v>Tartare</c:v>
                </c:pt>
                <c:pt idx="807">
                  <c:v>All Others</c:v>
                </c:pt>
                <c:pt idx="808">
                  <c:v>All Others</c:v>
                </c:pt>
                <c:pt idx="809">
                  <c:v>All Others</c:v>
                </c:pt>
                <c:pt idx="810">
                  <c:v>Aperivrais</c:v>
                </c:pt>
                <c:pt idx="811">
                  <c:v>All Others</c:v>
                </c:pt>
                <c:pt idx="812">
                  <c:v>All Others</c:v>
                </c:pt>
                <c:pt idx="813">
                  <c:v>All Others</c:v>
                </c:pt>
                <c:pt idx="814">
                  <c:v>All Others</c:v>
                </c:pt>
                <c:pt idx="815">
                  <c:v>Milleret: A</c:v>
                </c:pt>
                <c:pt idx="816">
                  <c:v>All Others</c:v>
                </c:pt>
                <c:pt idx="817">
                  <c:v>Milleret</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Lindahls Pr</c:v>
                </c:pt>
                <c:pt idx="828">
                  <c:v>All Others</c:v>
                </c:pt>
                <c:pt idx="829">
                  <c:v>All Others</c:v>
                </c:pt>
                <c:pt idx="830">
                  <c:v>All Others</c:v>
                </c:pt>
                <c:pt idx="831">
                  <c:v>All Others</c:v>
                </c:pt>
                <c:pt idx="832">
                  <c:v>All Others</c:v>
                </c:pt>
                <c:pt idx="833">
                  <c:v>All Others</c:v>
                </c:pt>
                <c:pt idx="834">
                  <c:v>All Others</c:v>
                </c:pt>
                <c:pt idx="835">
                  <c:v>All Others</c:v>
                </c:pt>
                <c:pt idx="836">
                  <c:v>All Others</c:v>
                </c:pt>
                <c:pt idx="837">
                  <c:v>Petit Billy</c:v>
                </c:pt>
                <c:pt idx="838">
                  <c:v>Paysan Bret</c:v>
                </c:pt>
                <c:pt idx="839">
                  <c:v>Other Suppl</c:v>
                </c:pt>
                <c:pt idx="840">
                  <c:v>All Others</c:v>
                </c:pt>
                <c:pt idx="841">
                  <c:v>All Others</c:v>
                </c:pt>
                <c:pt idx="842">
                  <c:v>All Others</c:v>
                </c:pt>
                <c:pt idx="843">
                  <c:v>All Others</c:v>
                </c:pt>
                <c:pt idx="844">
                  <c:v>All Others</c:v>
                </c:pt>
                <c:pt idx="845">
                  <c:v>All Others</c:v>
                </c:pt>
                <c:pt idx="846">
                  <c:v>All Others</c:v>
                </c:pt>
                <c:pt idx="847">
                  <c:v>Savencia: A</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Eurial Autr</c:v>
                </c:pt>
                <c:pt idx="858">
                  <c:v>All Others</c:v>
                </c:pt>
                <c:pt idx="859">
                  <c:v>All Others</c:v>
                </c:pt>
                <c:pt idx="860">
                  <c:v>All Others</c:v>
                </c:pt>
                <c:pt idx="861">
                  <c:v>All Others</c:v>
                </c:pt>
                <c:pt idx="862">
                  <c:v>All Others</c:v>
                </c:pt>
                <c:pt idx="863">
                  <c:v>Corsica</c:v>
                </c:pt>
                <c:pt idx="864">
                  <c:v>All Others</c:v>
                </c:pt>
                <c:pt idx="865">
                  <c:v>All Others</c:v>
                </c:pt>
                <c:pt idx="866">
                  <c:v>Entremont</c:v>
                </c:pt>
                <c:pt idx="867">
                  <c:v>All Others</c:v>
                </c:pt>
                <c:pt idx="868">
                  <c:v>All Others</c:v>
                </c:pt>
                <c:pt idx="869">
                  <c:v>Mini Babybe</c:v>
                </c:pt>
                <c:pt idx="870">
                  <c:v>Lactalis: A</c:v>
                </c:pt>
                <c:pt idx="871">
                  <c:v>All Others</c:v>
                </c:pt>
                <c:pt idx="872">
                  <c:v>Apericube</c:v>
                </c:pt>
                <c:pt idx="873">
                  <c:v>All Others</c:v>
                </c:pt>
                <c:pt idx="874">
                  <c:v>All Others</c:v>
                </c:pt>
                <c:pt idx="875">
                  <c:v>All Others</c:v>
                </c:pt>
                <c:pt idx="876">
                  <c:v>Lactalis: A</c:v>
                </c:pt>
                <c:pt idx="877">
                  <c:v>Richesmonts</c:v>
                </c:pt>
                <c:pt idx="878">
                  <c:v>All Others</c:v>
                </c:pt>
                <c:pt idx="879">
                  <c:v>All Others</c:v>
                </c:pt>
                <c:pt idx="880">
                  <c:v>All Others</c:v>
                </c:pt>
                <c:pt idx="881">
                  <c:v>All Others</c:v>
                </c:pt>
                <c:pt idx="882">
                  <c:v>L'Ortolan</c:v>
                </c:pt>
                <c:pt idx="883">
                  <c:v>All Others</c:v>
                </c:pt>
                <c:pt idx="884">
                  <c:v>All Others</c:v>
                </c:pt>
                <c:pt idx="885">
                  <c:v>All Others</c:v>
                </c:pt>
                <c:pt idx="886">
                  <c:v>All Others</c:v>
                </c:pt>
                <c:pt idx="887">
                  <c:v>All Others</c:v>
                </c:pt>
                <c:pt idx="888">
                  <c:v>All Others</c:v>
                </c:pt>
                <c:pt idx="889">
                  <c:v>All Others</c:v>
                </c:pt>
                <c:pt idx="890">
                  <c:v>All Others</c:v>
                </c:pt>
                <c:pt idx="891">
                  <c:v>La Belle Et</c:v>
                </c:pt>
                <c:pt idx="892">
                  <c:v>All Others</c:v>
                </c:pt>
                <c:pt idx="893">
                  <c:v>Lactalis: A</c:v>
                </c:pt>
                <c:pt idx="894">
                  <c:v>All Others</c:v>
                </c:pt>
                <c:pt idx="895">
                  <c:v>All Others</c:v>
                </c:pt>
                <c:pt idx="896">
                  <c:v>All Others</c:v>
                </c:pt>
                <c:pt idx="897">
                  <c:v>All Others</c:v>
                </c:pt>
                <c:pt idx="898">
                  <c:v>All Others</c:v>
                </c:pt>
                <c:pt idx="899">
                  <c:v>All Others</c:v>
                </c:pt>
                <c:pt idx="900">
                  <c:v>All Others</c:v>
                </c:pt>
                <c:pt idx="901">
                  <c:v>All Others</c:v>
                </c:pt>
                <c:pt idx="902">
                  <c:v>All Others</c:v>
                </c:pt>
                <c:pt idx="903">
                  <c:v>La Belle Et</c:v>
                </c:pt>
                <c:pt idx="904">
                  <c:v>All Others</c:v>
                </c:pt>
                <c:pt idx="905">
                  <c:v>La Belle Et</c:v>
                </c:pt>
                <c:pt idx="906">
                  <c:v>All Others</c:v>
                </c:pt>
                <c:pt idx="907">
                  <c:v>All Others</c:v>
                </c:pt>
                <c:pt idx="908">
                  <c:v>All Others</c:v>
                </c:pt>
                <c:pt idx="909">
                  <c:v>All Others</c:v>
                </c:pt>
                <c:pt idx="910">
                  <c:v>All Others</c:v>
                </c:pt>
                <c:pt idx="911">
                  <c:v>La Belle Et</c:v>
                </c:pt>
                <c:pt idx="912">
                  <c:v>All Others</c:v>
                </c:pt>
                <c:pt idx="913">
                  <c:v>All Others</c:v>
                </c:pt>
                <c:pt idx="914">
                  <c:v>All Others</c:v>
                </c:pt>
                <c:pt idx="915">
                  <c:v>All Others</c:v>
                </c:pt>
                <c:pt idx="916">
                  <c:v>All Others</c:v>
                </c:pt>
                <c:pt idx="917">
                  <c:v>Baillon</c:v>
                </c:pt>
                <c:pt idx="918">
                  <c:v>All Others</c:v>
                </c:pt>
                <c:pt idx="919">
                  <c:v>All Others</c:v>
                </c:pt>
                <c:pt idx="920">
                  <c:v>All Others</c:v>
                </c:pt>
                <c:pt idx="921">
                  <c:v>All Others</c:v>
                </c:pt>
                <c:pt idx="922">
                  <c:v>All Others</c:v>
                </c:pt>
                <c:pt idx="923">
                  <c:v>Private Lab</c:v>
                </c:pt>
                <c:pt idx="924">
                  <c:v>All Others</c:v>
                </c:pt>
                <c:pt idx="925">
                  <c:v>All Others</c:v>
                </c:pt>
                <c:pt idx="926">
                  <c:v>All Others</c:v>
                </c:pt>
                <c:pt idx="927">
                  <c:v>All Others</c:v>
                </c:pt>
                <c:pt idx="928">
                  <c:v>All Others</c:v>
                </c:pt>
                <c:pt idx="929">
                  <c:v>All Others</c:v>
                </c:pt>
                <c:pt idx="930">
                  <c:v>All Others</c:v>
                </c:pt>
                <c:pt idx="931">
                  <c:v>All Others</c:v>
                </c:pt>
                <c:pt idx="932">
                  <c:v>All Others</c:v>
                </c:pt>
                <c:pt idx="933">
                  <c:v>Paysan Bret</c:v>
                </c:pt>
                <c:pt idx="934">
                  <c:v>All Others</c:v>
                </c:pt>
                <c:pt idx="935">
                  <c:v>Other Suppl</c:v>
                </c:pt>
                <c:pt idx="936">
                  <c:v>All Others</c:v>
                </c:pt>
                <c:pt idx="937">
                  <c:v>All Others</c:v>
                </c:pt>
                <c:pt idx="938">
                  <c:v>La Belle Et</c:v>
                </c:pt>
                <c:pt idx="939">
                  <c:v>All Others</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Entremont</c:v>
                </c:pt>
                <c:pt idx="950">
                  <c:v>All Others</c:v>
                </c:pt>
                <c:pt idx="951">
                  <c:v>All Others</c:v>
                </c:pt>
                <c:pt idx="952">
                  <c:v>All Others</c:v>
                </c:pt>
                <c:pt idx="953">
                  <c:v>Raguin</c:v>
                </c:pt>
                <c:pt idx="954">
                  <c:v>Casa Azzurr</c:v>
                </c:pt>
                <c:pt idx="955">
                  <c:v>Etoile Du V</c:v>
                </c:pt>
                <c:pt idx="956">
                  <c:v>All Others</c:v>
                </c:pt>
                <c:pt idx="957">
                  <c:v>All Others</c:v>
                </c:pt>
                <c:pt idx="958">
                  <c:v>All Others</c:v>
                </c:pt>
                <c:pt idx="959">
                  <c:v>All Others</c:v>
                </c:pt>
                <c:pt idx="960">
                  <c:v>All Others</c:v>
                </c:pt>
                <c:pt idx="961">
                  <c:v>All Others</c:v>
                </c:pt>
                <c:pt idx="962">
                  <c:v>All Others</c:v>
                </c:pt>
                <c:pt idx="963">
                  <c:v>All Others</c:v>
                </c:pt>
                <c:pt idx="964">
                  <c:v>All Others</c:v>
                </c:pt>
                <c:pt idx="965">
                  <c:v>Raguin</c:v>
                </c:pt>
                <c:pt idx="966">
                  <c:v>La Belle Et</c:v>
                </c:pt>
                <c:pt idx="967">
                  <c:v>All Others</c:v>
                </c:pt>
                <c:pt idx="968">
                  <c:v>Dodin</c:v>
                </c:pt>
                <c:pt idx="969">
                  <c:v>Raguin</c:v>
                </c:pt>
                <c:pt idx="970">
                  <c:v>All Others</c:v>
                </c:pt>
                <c:pt idx="971">
                  <c:v>All Others</c:v>
                </c:pt>
                <c:pt idx="972">
                  <c:v>All Others</c:v>
                </c:pt>
                <c:pt idx="973">
                  <c:v>All Others</c:v>
                </c:pt>
                <c:pt idx="974">
                  <c:v>Paysan Bret</c:v>
                </c:pt>
                <c:pt idx="975">
                  <c:v>All Others</c:v>
                </c:pt>
                <c:pt idx="976">
                  <c:v>All Others</c:v>
                </c:pt>
                <c:pt idx="977">
                  <c:v>All Others</c:v>
                </c:pt>
                <c:pt idx="978">
                  <c:v>All Others</c:v>
                </c:pt>
                <c:pt idx="979">
                  <c:v>All Others</c:v>
                </c:pt>
                <c:pt idx="980">
                  <c:v>All Others</c:v>
                </c:pt>
                <c:pt idx="981">
                  <c:v>All Others</c:v>
                </c:pt>
                <c:pt idx="982">
                  <c:v>Other Suppl</c:v>
                </c:pt>
                <c:pt idx="983">
                  <c:v>All Others</c:v>
                </c:pt>
                <c:pt idx="984">
                  <c:v>Raguin</c:v>
                </c:pt>
                <c:pt idx="985">
                  <c:v>Boursin</c:v>
                </c:pt>
                <c:pt idx="986">
                  <c:v>Raguin</c:v>
                </c:pt>
                <c:pt idx="987">
                  <c:v>All Others</c:v>
                </c:pt>
                <c:pt idx="988">
                  <c:v>All Others</c:v>
                </c:pt>
                <c:pt idx="989">
                  <c:v>All Others</c:v>
                </c:pt>
                <c:pt idx="990">
                  <c:v>All Others</c:v>
                </c:pt>
                <c:pt idx="991">
                  <c:v>All Others</c:v>
                </c:pt>
                <c:pt idx="992">
                  <c:v>All Others</c:v>
                </c:pt>
                <c:pt idx="993">
                  <c:v>All Others</c:v>
                </c:pt>
                <c:pt idx="994">
                  <c:v>All Others</c:v>
                </c:pt>
                <c:pt idx="995">
                  <c:v>Raguin</c:v>
                </c:pt>
                <c:pt idx="996">
                  <c:v>All Others</c:v>
                </c:pt>
                <c:pt idx="997">
                  <c:v>All Others</c:v>
                </c:pt>
                <c:pt idx="998">
                  <c:v>All Others</c:v>
                </c:pt>
                <c:pt idx="999">
                  <c:v>All Others</c:v>
                </c:pt>
                <c:pt idx="1000">
                  <c:v>All Others</c:v>
                </c:pt>
                <c:pt idx="1001">
                  <c:v>Lactalis: A</c:v>
                </c:pt>
                <c:pt idx="1002">
                  <c:v>All Others</c:v>
                </c:pt>
                <c:pt idx="1003">
                  <c:v>All Others</c:v>
                </c:pt>
                <c:pt idx="1004">
                  <c:v>All Others</c:v>
                </c:pt>
                <c:pt idx="1005">
                  <c:v>All Others</c:v>
                </c:pt>
                <c:pt idx="1006">
                  <c:v>All Others</c:v>
                </c:pt>
                <c:pt idx="1007">
                  <c:v>All Others</c:v>
                </c:pt>
                <c:pt idx="1008">
                  <c:v>All Others</c:v>
                </c:pt>
                <c:pt idx="1009">
                  <c:v>All Others</c:v>
                </c:pt>
                <c:pt idx="1010">
                  <c:v>All Others</c:v>
                </c:pt>
                <c:pt idx="1011">
                  <c:v>Raguin</c:v>
                </c:pt>
                <c:pt idx="1012">
                  <c:v>All Others</c:v>
                </c:pt>
                <c:pt idx="1013">
                  <c:v>All Others</c:v>
                </c:pt>
                <c:pt idx="1014">
                  <c:v>All Others</c:v>
                </c:pt>
                <c:pt idx="1015">
                  <c:v>All Others</c:v>
                </c:pt>
                <c:pt idx="1016">
                  <c:v>All Others</c:v>
                </c:pt>
                <c:pt idx="1017">
                  <c:v>La Belle Et</c:v>
                </c:pt>
                <c:pt idx="1018">
                  <c:v>All Others</c:v>
                </c:pt>
                <c:pt idx="1019">
                  <c:v>La Belle Et</c:v>
                </c:pt>
                <c:pt idx="1020">
                  <c:v>All Others</c:v>
                </c:pt>
                <c:pt idx="1021">
                  <c:v>All Others</c:v>
                </c:pt>
                <c:pt idx="1022">
                  <c:v>Raguin</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Raguin</c:v>
                </c:pt>
                <c:pt idx="1035">
                  <c:v>All Others</c:v>
                </c:pt>
                <c:pt idx="1036">
                  <c:v>All Others</c:v>
                </c:pt>
                <c:pt idx="1037">
                  <c:v>All Others</c:v>
                </c:pt>
                <c:pt idx="1038">
                  <c:v>All Others</c:v>
                </c:pt>
                <c:pt idx="1039">
                  <c:v>All Others</c:v>
                </c:pt>
                <c:pt idx="1040">
                  <c:v>All Others</c:v>
                </c:pt>
                <c:pt idx="1041">
                  <c:v>All Others</c:v>
                </c:pt>
                <c:pt idx="1042">
                  <c:v>Limiano</c:v>
                </c:pt>
                <c:pt idx="1043">
                  <c:v>Lactalis: A</c:v>
                </c:pt>
                <c:pt idx="1044">
                  <c:v>All Others</c:v>
                </c:pt>
                <c:pt idx="1045">
                  <c:v>All Others</c:v>
                </c:pt>
                <c:pt idx="1046">
                  <c:v>All Others</c:v>
                </c:pt>
                <c:pt idx="1047">
                  <c:v>All Others</c:v>
                </c:pt>
                <c:pt idx="1048">
                  <c:v>All Others</c:v>
                </c:pt>
                <c:pt idx="1049">
                  <c:v>All Others</c:v>
                </c:pt>
                <c:pt idx="1050">
                  <c:v>All Others</c:v>
                </c:pt>
                <c:pt idx="1051">
                  <c:v>All Others</c:v>
                </c:pt>
                <c:pt idx="1052">
                  <c:v>All Others</c:v>
                </c:pt>
                <c:pt idx="1053">
                  <c:v>All Others</c:v>
                </c:pt>
                <c:pt idx="1054">
                  <c:v>All Others</c:v>
                </c:pt>
                <c:pt idx="1055">
                  <c:v>All Others</c:v>
                </c:pt>
                <c:pt idx="1056">
                  <c:v>All Others</c:v>
                </c:pt>
                <c:pt idx="1057">
                  <c:v>All Others</c:v>
                </c:pt>
                <c:pt idx="1058">
                  <c:v>Raguin</c:v>
                </c:pt>
                <c:pt idx="1059">
                  <c:v>All Others</c:v>
                </c:pt>
                <c:pt idx="1060">
                  <c:v>All Others</c:v>
                </c:pt>
                <c:pt idx="1061">
                  <c:v>All Others</c:v>
                </c:pt>
                <c:pt idx="1062">
                  <c:v>Etoile Du V</c:v>
                </c:pt>
                <c:pt idx="1063">
                  <c:v>All Others</c:v>
                </c:pt>
                <c:pt idx="1064">
                  <c:v>All Others</c:v>
                </c:pt>
                <c:pt idx="1065">
                  <c:v>All Others</c:v>
                </c:pt>
                <c:pt idx="1066">
                  <c:v>All Others</c:v>
                </c:pt>
                <c:pt idx="1067">
                  <c:v>Etoile Du V</c:v>
                </c:pt>
                <c:pt idx="1068">
                  <c:v>All Others</c:v>
                </c:pt>
                <c:pt idx="1069">
                  <c:v>All Others</c:v>
                </c:pt>
                <c:pt idx="1070">
                  <c:v>All Others</c:v>
                </c:pt>
                <c:pt idx="1071">
                  <c:v>Other Suppl</c:v>
                </c:pt>
                <c:pt idx="1072">
                  <c:v>Private Lab</c:v>
                </c:pt>
                <c:pt idx="1073">
                  <c:v>All Others</c:v>
                </c:pt>
                <c:pt idx="1074">
                  <c:v>All Others</c:v>
                </c:pt>
                <c:pt idx="1075">
                  <c:v>All Others</c:v>
                </c:pt>
                <c:pt idx="1076">
                  <c:v>Raguin</c:v>
                </c:pt>
                <c:pt idx="1077">
                  <c:v>All Others</c:v>
                </c:pt>
                <c:pt idx="1078">
                  <c:v>All Others</c:v>
                </c:pt>
                <c:pt idx="1079">
                  <c:v>All Others</c:v>
                </c:pt>
                <c:pt idx="1080">
                  <c:v>All Others</c:v>
                </c:pt>
                <c:pt idx="1081">
                  <c:v>All Others</c:v>
                </c:pt>
                <c:pt idx="1082">
                  <c:v>President</c:v>
                </c:pt>
                <c:pt idx="1083">
                  <c:v>All Others</c:v>
                </c:pt>
                <c:pt idx="1084">
                  <c:v>All Others</c:v>
                </c:pt>
                <c:pt idx="1085">
                  <c:v>All Others</c:v>
                </c:pt>
                <c:pt idx="1086">
                  <c:v>All Others</c:v>
                </c:pt>
                <c:pt idx="1087">
                  <c:v>All Others</c:v>
                </c:pt>
                <c:pt idx="1088">
                  <c:v>Other Suppl</c:v>
                </c:pt>
                <c:pt idx="1089">
                  <c:v>All Others</c:v>
                </c:pt>
                <c:pt idx="1090">
                  <c:v>All Others</c:v>
                </c:pt>
                <c:pt idx="1091">
                  <c:v>All Others</c:v>
                </c:pt>
                <c:pt idx="1092">
                  <c:v>All Others</c:v>
                </c:pt>
                <c:pt idx="1093">
                  <c:v>All Others</c:v>
                </c:pt>
                <c:pt idx="1094">
                  <c:v>All Others</c:v>
                </c:pt>
                <c:pt idx="1095">
                  <c:v>Private Lab</c:v>
                </c:pt>
                <c:pt idx="1096">
                  <c:v>All Others</c:v>
                </c:pt>
                <c:pt idx="1097">
                  <c:v>All Others</c:v>
                </c:pt>
                <c:pt idx="1098">
                  <c:v>Private Lab</c:v>
                </c:pt>
                <c:pt idx="1099">
                  <c:v>All Others</c:v>
                </c:pt>
                <c:pt idx="1100">
                  <c:v>Limiano</c:v>
                </c:pt>
                <c:pt idx="1101">
                  <c:v>All Others</c:v>
                </c:pt>
                <c:pt idx="1102">
                  <c:v>Raguin</c:v>
                </c:pt>
                <c:pt idx="1103">
                  <c:v>All Others</c:v>
                </c:pt>
                <c:pt idx="1104">
                  <c:v>All Others</c:v>
                </c:pt>
                <c:pt idx="1105">
                  <c:v>All Others</c:v>
                </c:pt>
                <c:pt idx="1106">
                  <c:v>All Others</c:v>
                </c:pt>
                <c:pt idx="1107">
                  <c:v>All Others</c:v>
                </c:pt>
                <c:pt idx="1108">
                  <c:v>All Others</c:v>
                </c:pt>
                <c:pt idx="1109">
                  <c:v>Raguin</c:v>
                </c:pt>
                <c:pt idx="1110">
                  <c:v>Private Lab</c:v>
                </c:pt>
                <c:pt idx="1111">
                  <c:v>All Others</c:v>
                </c:pt>
                <c:pt idx="1112">
                  <c:v>All Others</c:v>
                </c:pt>
                <c:pt idx="1113">
                  <c:v>All Others</c:v>
                </c:pt>
                <c:pt idx="1114">
                  <c:v>All Others</c:v>
                </c:pt>
                <c:pt idx="1115">
                  <c:v>Lincet</c:v>
                </c:pt>
                <c:pt idx="1116">
                  <c:v>All Others</c:v>
                </c:pt>
                <c:pt idx="1117">
                  <c:v>All Others</c:v>
                </c:pt>
                <c:pt idx="1118">
                  <c:v>All Others</c:v>
                </c:pt>
                <c:pt idx="1119">
                  <c:v>All Others</c:v>
                </c:pt>
                <c:pt idx="1120">
                  <c:v>All Others</c:v>
                </c:pt>
                <c:pt idx="1121">
                  <c:v>All Others</c:v>
                </c:pt>
                <c:pt idx="1122">
                  <c:v>All Others</c:v>
                </c:pt>
                <c:pt idx="1123">
                  <c:v>All Others</c:v>
                </c:pt>
                <c:pt idx="1124">
                  <c:v>Juraflore</c:v>
                </c:pt>
                <c:pt idx="1125">
                  <c:v>All Others</c:v>
                </c:pt>
                <c:pt idx="1126">
                  <c:v>Lactalis: A</c:v>
                </c:pt>
                <c:pt idx="1127">
                  <c:v>Private Lab</c:v>
                </c:pt>
                <c:pt idx="1128">
                  <c:v>Private Lab</c:v>
                </c:pt>
                <c:pt idx="1129">
                  <c:v>All Others</c:v>
                </c:pt>
                <c:pt idx="1130">
                  <c:v>Raguin</c:v>
                </c:pt>
                <c:pt idx="1131">
                  <c:v>All Others</c:v>
                </c:pt>
                <c:pt idx="1132">
                  <c:v>All Others</c:v>
                </c:pt>
                <c:pt idx="1133">
                  <c:v>All Others</c:v>
                </c:pt>
                <c:pt idx="1134">
                  <c:v>All Others</c:v>
                </c:pt>
                <c:pt idx="1135">
                  <c:v>All Others</c:v>
                </c:pt>
                <c:pt idx="1136">
                  <c:v>Raguin</c:v>
                </c:pt>
                <c:pt idx="1137">
                  <c:v>All Others</c:v>
                </c:pt>
                <c:pt idx="1138">
                  <c:v>All Others</c:v>
                </c:pt>
                <c:pt idx="1139">
                  <c:v>All Others</c:v>
                </c:pt>
                <c:pt idx="1140">
                  <c:v>All Others</c:v>
                </c:pt>
                <c:pt idx="1141">
                  <c:v>Private Lab</c:v>
                </c:pt>
                <c:pt idx="1142">
                  <c:v>All Others</c:v>
                </c:pt>
                <c:pt idx="1143">
                  <c:v>All Others</c:v>
                </c:pt>
                <c:pt idx="1144">
                  <c:v>All Others</c:v>
                </c:pt>
                <c:pt idx="1145">
                  <c:v>Entremont</c:v>
                </c:pt>
                <c:pt idx="1146">
                  <c:v>All Others</c:v>
                </c:pt>
                <c:pt idx="1147">
                  <c:v>Raguin</c:v>
                </c:pt>
                <c:pt idx="1148">
                  <c:v>Private Lab</c:v>
                </c:pt>
                <c:pt idx="1149">
                  <c:v>All Others</c:v>
                </c:pt>
                <c:pt idx="1150">
                  <c:v>All Others</c:v>
                </c:pt>
                <c:pt idx="1151">
                  <c:v>Private Lab</c:v>
                </c:pt>
                <c:pt idx="1152">
                  <c:v>All Others</c:v>
                </c:pt>
                <c:pt idx="1153">
                  <c:v>All Others</c:v>
                </c:pt>
                <c:pt idx="1154">
                  <c:v>All Others</c:v>
                </c:pt>
                <c:pt idx="1155">
                  <c:v>All Others</c:v>
                </c:pt>
                <c:pt idx="1156">
                  <c:v>All Others</c:v>
                </c:pt>
                <c:pt idx="1157">
                  <c:v>All Others</c:v>
                </c:pt>
                <c:pt idx="1158">
                  <c:v>Mini Babybe</c:v>
                </c:pt>
                <c:pt idx="1159">
                  <c:v>All Others</c:v>
                </c:pt>
                <c:pt idx="1160">
                  <c:v>All Others</c:v>
                </c:pt>
                <c:pt idx="1161">
                  <c:v>All Others</c:v>
                </c:pt>
                <c:pt idx="1162">
                  <c:v>Pochat</c:v>
                </c:pt>
                <c:pt idx="1163">
                  <c:v>Private Lab</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La Vache Qu</c:v>
                </c:pt>
                <c:pt idx="1174">
                  <c:v>All Others</c:v>
                </c:pt>
                <c:pt idx="1175">
                  <c:v>All Others</c:v>
                </c:pt>
                <c:pt idx="1176">
                  <c:v>All Others</c:v>
                </c:pt>
                <c:pt idx="1177">
                  <c:v>All Others</c:v>
                </c:pt>
                <c:pt idx="1178">
                  <c:v>All Others</c:v>
                </c:pt>
                <c:pt idx="1179">
                  <c:v>All Others</c:v>
                </c:pt>
                <c:pt idx="1180">
                  <c:v>All Others</c:v>
                </c:pt>
                <c:pt idx="1181">
                  <c:v>All Others</c:v>
                </c:pt>
                <c:pt idx="1182">
                  <c:v>All Others</c:v>
                </c:pt>
                <c:pt idx="1183">
                  <c:v>Private Lab</c:v>
                </c:pt>
                <c:pt idx="1184">
                  <c:v>Lactalis: A</c:v>
                </c:pt>
                <c:pt idx="1185">
                  <c:v>All Others</c:v>
                </c:pt>
                <c:pt idx="1186">
                  <c:v>All Others</c:v>
                </c:pt>
                <c:pt idx="1187">
                  <c:v>All Others</c:v>
                </c:pt>
                <c:pt idx="1188">
                  <c:v>All Others</c:v>
                </c:pt>
                <c:pt idx="1189">
                  <c:v>All Others</c:v>
                </c:pt>
                <c:pt idx="1190">
                  <c:v>All Others</c:v>
                </c:pt>
                <c:pt idx="1191">
                  <c:v>All Others</c:v>
                </c:pt>
                <c:pt idx="1192">
                  <c:v>Private Lab</c:v>
                </c:pt>
                <c:pt idx="1193">
                  <c:v>Kiri</c:v>
                </c:pt>
                <c:pt idx="1194">
                  <c:v>Milleret: A</c:v>
                </c:pt>
                <c:pt idx="1195">
                  <c:v>All Others</c:v>
                </c:pt>
                <c:pt idx="1196">
                  <c:v>All Others</c:v>
                </c:pt>
                <c:pt idx="1197">
                  <c:v>All Others</c:v>
                </c:pt>
                <c:pt idx="1198">
                  <c:v>All Others</c:v>
                </c:pt>
                <c:pt idx="1199">
                  <c:v>All Others</c:v>
                </c:pt>
                <c:pt idx="1200">
                  <c:v>All Others</c:v>
                </c:pt>
                <c:pt idx="1201">
                  <c:v>All Others</c:v>
                </c:pt>
                <c:pt idx="1202">
                  <c:v>Entremont</c:v>
                </c:pt>
                <c:pt idx="1203">
                  <c:v>Richesmonts</c:v>
                </c:pt>
                <c:pt idx="1204">
                  <c:v>Private Lab</c:v>
                </c:pt>
                <c:pt idx="1205">
                  <c:v>Other Suppl</c:v>
                </c:pt>
                <c:pt idx="1206">
                  <c:v>All Others</c:v>
                </c:pt>
                <c:pt idx="1207">
                  <c:v>All Others</c:v>
                </c:pt>
                <c:pt idx="1208">
                  <c:v>Etoile Du V</c:v>
                </c:pt>
                <c:pt idx="1209">
                  <c:v>All Others</c:v>
                </c:pt>
                <c:pt idx="1210">
                  <c:v>Pochat</c:v>
                </c:pt>
                <c:pt idx="1211">
                  <c:v>All Others</c:v>
                </c:pt>
                <c:pt idx="1212">
                  <c:v>All Others</c:v>
                </c:pt>
                <c:pt idx="1213">
                  <c:v>All Others</c:v>
                </c:pt>
                <c:pt idx="1214">
                  <c:v>All Others</c:v>
                </c:pt>
                <c:pt idx="1215">
                  <c:v>All Others</c:v>
                </c:pt>
                <c:pt idx="1216">
                  <c:v>Apericube</c:v>
                </c:pt>
                <c:pt idx="1217">
                  <c:v>All Others</c:v>
                </c:pt>
                <c:pt idx="1218">
                  <c:v>All Others</c:v>
                </c:pt>
                <c:pt idx="1219">
                  <c:v>All Others</c:v>
                </c:pt>
                <c:pt idx="1220">
                  <c:v>Entremont</c:v>
                </c:pt>
                <c:pt idx="1221">
                  <c:v>All Others</c:v>
                </c:pt>
                <c:pt idx="1222">
                  <c:v>All Others</c:v>
                </c:pt>
                <c:pt idx="1223">
                  <c:v>All Others</c:v>
                </c:pt>
                <c:pt idx="1224">
                  <c:v>All Others</c:v>
                </c:pt>
                <c:pt idx="1225">
                  <c:v>All Others</c:v>
                </c:pt>
                <c:pt idx="1226">
                  <c:v>All Others</c:v>
                </c:pt>
                <c:pt idx="1227">
                  <c:v>Raguin</c:v>
                </c:pt>
                <c:pt idx="1228">
                  <c:v>All Others</c:v>
                </c:pt>
                <c:pt idx="1229">
                  <c:v>All Others</c:v>
                </c:pt>
                <c:pt idx="1230">
                  <c:v>Caprice Des</c:v>
                </c:pt>
                <c:pt idx="1231">
                  <c:v>All Others</c:v>
                </c:pt>
                <c:pt idx="1232">
                  <c:v>All Others</c:v>
                </c:pt>
                <c:pt idx="1233">
                  <c:v>All Others</c:v>
                </c:pt>
                <c:pt idx="1234">
                  <c:v>All Others</c:v>
                </c:pt>
                <c:pt idx="1235">
                  <c:v>All Others</c:v>
                </c:pt>
                <c:pt idx="1236">
                  <c:v>Raguin</c:v>
                </c:pt>
                <c:pt idx="1237">
                  <c:v>Boursin</c:v>
                </c:pt>
                <c:pt idx="1238">
                  <c:v>All Others</c:v>
                </c:pt>
                <c:pt idx="1239">
                  <c:v>All Others</c:v>
                </c:pt>
                <c:pt idx="1240">
                  <c:v>All Others</c:v>
                </c:pt>
                <c:pt idx="1241">
                  <c:v>Netto</c:v>
                </c:pt>
                <c:pt idx="1242">
                  <c:v>All Others</c:v>
                </c:pt>
                <c:pt idx="1243">
                  <c:v>Mini Babybe</c:v>
                </c:pt>
                <c:pt idx="1244">
                  <c:v>All Others</c:v>
                </c:pt>
                <c:pt idx="1245">
                  <c:v>All Others</c:v>
                </c:pt>
                <c:pt idx="1246">
                  <c:v>All Others</c:v>
                </c:pt>
                <c:pt idx="1247">
                  <c:v>Entremont</c:v>
                </c:pt>
                <c:pt idx="1248">
                  <c:v>Private Lab</c:v>
                </c:pt>
                <c:pt idx="1249">
                  <c:v>All Others</c:v>
                </c:pt>
                <c:pt idx="1250">
                  <c:v>All Others</c:v>
                </c:pt>
                <c:pt idx="1251">
                  <c:v>All Others</c:v>
                </c:pt>
                <c:pt idx="1252">
                  <c:v>Entremont</c:v>
                </c:pt>
                <c:pt idx="1253">
                  <c:v>All Others</c:v>
                </c:pt>
                <c:pt idx="1254">
                  <c:v>All Others</c:v>
                </c:pt>
                <c:pt idx="1255">
                  <c:v>All Others</c:v>
                </c:pt>
                <c:pt idx="1256">
                  <c:v>Private Lab</c:v>
                </c:pt>
                <c:pt idx="1257">
                  <c:v>Private Lab</c:v>
                </c:pt>
                <c:pt idx="1258">
                  <c:v>Entremont</c:v>
                </c:pt>
                <c:pt idx="1259">
                  <c:v>All Others</c:v>
                </c:pt>
                <c:pt idx="1260">
                  <c:v>All Others</c:v>
                </c:pt>
                <c:pt idx="1261">
                  <c:v>Private Lab</c:v>
                </c:pt>
                <c:pt idx="1262">
                  <c:v>All Others</c:v>
                </c:pt>
                <c:pt idx="1263">
                  <c:v>All Others</c:v>
                </c:pt>
                <c:pt idx="1264">
                  <c:v>All Others</c:v>
                </c:pt>
                <c:pt idx="1265">
                  <c:v>All Others</c:v>
                </c:pt>
                <c:pt idx="1266">
                  <c:v>All Others</c:v>
                </c:pt>
                <c:pt idx="1267">
                  <c:v>Richesmonts</c:v>
                </c:pt>
                <c:pt idx="1268">
                  <c:v>Gillot</c:v>
                </c:pt>
                <c:pt idx="1269">
                  <c:v>Private Lab</c:v>
                </c:pt>
                <c:pt idx="1270">
                  <c:v>All Others</c:v>
                </c:pt>
                <c:pt idx="1271">
                  <c:v>Entremont</c:v>
                </c:pt>
                <c:pt idx="1272">
                  <c:v>Private Lab</c:v>
                </c:pt>
                <c:pt idx="1273">
                  <c:v>O'Tapas Ape</c:v>
                </c:pt>
                <c:pt idx="1274">
                  <c:v>Pochat</c:v>
                </c:pt>
                <c:pt idx="1275">
                  <c:v>All Others</c:v>
                </c:pt>
                <c:pt idx="1276">
                  <c:v>Mini Babybe</c:v>
                </c:pt>
                <c:pt idx="1277">
                  <c:v>All Others</c:v>
                </c:pt>
                <c:pt idx="1278">
                  <c:v>Lactalis: A</c:v>
                </c:pt>
                <c:pt idx="1279">
                  <c:v>All Others</c:v>
                </c:pt>
                <c:pt idx="1280">
                  <c:v>Richesmonts</c:v>
                </c:pt>
                <c:pt idx="1281">
                  <c:v>All Others</c:v>
                </c:pt>
                <c:pt idx="1282">
                  <c:v>All Others</c:v>
                </c:pt>
                <c:pt idx="1283">
                  <c:v>Richesmonts</c:v>
                </c:pt>
                <c:pt idx="1284">
                  <c:v>Other Suppl</c:v>
                </c:pt>
                <c:pt idx="1285">
                  <c:v>Entremont</c:v>
                </c:pt>
                <c:pt idx="1286">
                  <c:v>President</c:v>
                </c:pt>
                <c:pt idx="1287">
                  <c:v>O'Tapas Ape</c:v>
                </c:pt>
                <c:pt idx="1288">
                  <c:v>All Others</c:v>
                </c:pt>
                <c:pt idx="1289">
                  <c:v>All Others</c:v>
                </c:pt>
                <c:pt idx="1290">
                  <c:v>Private Lab</c:v>
                </c:pt>
                <c:pt idx="1291">
                  <c:v>All Others</c:v>
                </c:pt>
                <c:pt idx="1292">
                  <c:v>All Others</c:v>
                </c:pt>
                <c:pt idx="1293">
                  <c:v>All Others</c:v>
                </c:pt>
                <c:pt idx="1294">
                  <c:v>Lactalis: A</c:v>
                </c:pt>
                <c:pt idx="1295">
                  <c:v>Private Lab</c:v>
                </c:pt>
                <c:pt idx="1296">
                  <c:v>Les Mousque</c:v>
                </c:pt>
                <c:pt idx="1297">
                  <c:v>All Others</c:v>
                </c:pt>
                <c:pt idx="1298">
                  <c:v>Private Lab</c:v>
                </c:pt>
                <c:pt idx="1299">
                  <c:v>All Others</c:v>
                </c:pt>
                <c:pt idx="1300">
                  <c:v>All Others</c:v>
                </c:pt>
                <c:pt idx="1301">
                  <c:v>Netto</c:v>
                </c:pt>
                <c:pt idx="1302">
                  <c:v>All Others</c:v>
                </c:pt>
                <c:pt idx="1303">
                  <c:v>Private Lab</c:v>
                </c:pt>
                <c:pt idx="1304">
                  <c:v>Lactalis: A</c:v>
                </c:pt>
                <c:pt idx="1305">
                  <c:v>All Others</c:v>
                </c:pt>
                <c:pt idx="1306">
                  <c:v>All Others</c:v>
                </c:pt>
                <c:pt idx="1307">
                  <c:v>Saint Agur</c:v>
                </c:pt>
                <c:pt idx="1308">
                  <c:v>All Others</c:v>
                </c:pt>
                <c:pt idx="1309">
                  <c:v>Private Lab</c:v>
                </c:pt>
                <c:pt idx="1310">
                  <c:v>All Others</c:v>
                </c:pt>
                <c:pt idx="1311">
                  <c:v>Les Mousque</c:v>
                </c:pt>
              </c:strCache>
            </c:strRef>
          </c:cat>
          <c:val>
            <c:numRef>
              <c:f>Sheet1!$C$2:$C$1313</c:f>
              <c:numCache>
                <c:formatCode>General</c:formatCode>
                <c:ptCount val="1312"/>
                <c:pt idx="0">
                  <c:v>1.7868997618426852E-2</c:v>
                </c:pt>
                <c:pt idx="1">
                  <c:v>3.4427330191787231E-2</c:v>
                </c:pt>
                <c:pt idx="2">
                  <c:v>4.9737764895813254E-2</c:v>
                </c:pt>
                <c:pt idx="3">
                  <c:v>6.499360830479893E-2</c:v>
                </c:pt>
                <c:pt idx="4">
                  <c:v>7.7838159364834097E-2</c:v>
                </c:pt>
                <c:pt idx="5">
                  <c:v>8.9423070921686706E-2</c:v>
                </c:pt>
                <c:pt idx="6">
                  <c:v>0.10079766366562429</c:v>
                </c:pt>
                <c:pt idx="7">
                  <c:v>0.11188395121327714</c:v>
                </c:pt>
                <c:pt idx="8">
                  <c:v>0.12282692524457754</c:v>
                </c:pt>
                <c:pt idx="9">
                  <c:v>0.13166614349205202</c:v>
                </c:pt>
                <c:pt idx="10">
                  <c:v>0.14025797176956853</c:v>
                </c:pt>
                <c:pt idx="11">
                  <c:v>0.1485638012923706</c:v>
                </c:pt>
                <c:pt idx="12">
                  <c:v>0.15657475074482977</c:v>
                </c:pt>
                <c:pt idx="13">
                  <c:v>0.16439941577311462</c:v>
                </c:pt>
                <c:pt idx="14">
                  <c:v>0.17192852836338257</c:v>
                </c:pt>
                <c:pt idx="15">
                  <c:v>0.17940549939165196</c:v>
                </c:pt>
                <c:pt idx="16">
                  <c:v>0.1866962769307193</c:v>
                </c:pt>
                <c:pt idx="17">
                  <c:v>0.19364566253891244</c:v>
                </c:pt>
                <c:pt idx="18">
                  <c:v>0.20055479977724242</c:v>
                </c:pt>
                <c:pt idx="19">
                  <c:v>0.20744390927682355</c:v>
                </c:pt>
                <c:pt idx="20">
                  <c:v>0.21433059935502033</c:v>
                </c:pt>
                <c:pt idx="21">
                  <c:v>0.22090343150971473</c:v>
                </c:pt>
                <c:pt idx="22">
                  <c:v>0.22743290972746147</c:v>
                </c:pt>
                <c:pt idx="23">
                  <c:v>0.23387440422609543</c:v>
                </c:pt>
                <c:pt idx="24">
                  <c:v>0.24002767619660131</c:v>
                </c:pt>
                <c:pt idx="25">
                  <c:v>0.24550293425799694</c:v>
                </c:pt>
                <c:pt idx="26">
                  <c:v>0.25091252624696758</c:v>
                </c:pt>
                <c:pt idx="27">
                  <c:v>0.25627522059067592</c:v>
                </c:pt>
                <c:pt idx="28">
                  <c:v>0.2614936893127035</c:v>
                </c:pt>
                <c:pt idx="29">
                  <c:v>0.26667995052090387</c:v>
                </c:pt>
                <c:pt idx="30">
                  <c:v>0.27185525819834933</c:v>
                </c:pt>
                <c:pt idx="31">
                  <c:v>0.27701696420842215</c:v>
                </c:pt>
                <c:pt idx="32">
                  <c:v>0.28216581807574254</c:v>
                </c:pt>
                <c:pt idx="33">
                  <c:v>0.28722561904912425</c:v>
                </c:pt>
                <c:pt idx="34">
                  <c:v>0.29225344949072773</c:v>
                </c:pt>
                <c:pt idx="35">
                  <c:v>0.29726478212387097</c:v>
                </c:pt>
                <c:pt idx="36">
                  <c:v>0.30226010744628334</c:v>
                </c:pt>
                <c:pt idx="37">
                  <c:v>0.3072374524446263</c:v>
                </c:pt>
                <c:pt idx="38">
                  <c:v>0.31220976295222985</c:v>
                </c:pt>
                <c:pt idx="39">
                  <c:v>0.31716147806640899</c:v>
                </c:pt>
                <c:pt idx="40">
                  <c:v>0.32210212115880871</c:v>
                </c:pt>
                <c:pt idx="41">
                  <c:v>0.3270133123426025</c:v>
                </c:pt>
                <c:pt idx="42">
                  <c:v>0.3318891546226167</c:v>
                </c:pt>
                <c:pt idx="43">
                  <c:v>0.33674397163479192</c:v>
                </c:pt>
                <c:pt idx="44">
                  <c:v>0.34149630217757437</c:v>
                </c:pt>
                <c:pt idx="45">
                  <c:v>0.34618599505807007</c:v>
                </c:pt>
                <c:pt idx="46">
                  <c:v>0.35084699657700102</c:v>
                </c:pt>
                <c:pt idx="47">
                  <c:v>0.35544598320042525</c:v>
                </c:pt>
                <c:pt idx="48">
                  <c:v>0.36000280630835746</c:v>
                </c:pt>
                <c:pt idx="49">
                  <c:v>0.36452207602833298</c:v>
                </c:pt>
                <c:pt idx="50">
                  <c:v>0.36901808568463501</c:v>
                </c:pt>
                <c:pt idx="51">
                  <c:v>0.37345892536880021</c:v>
                </c:pt>
                <c:pt idx="52">
                  <c:v>0.37771701607029007</c:v>
                </c:pt>
                <c:pt idx="53">
                  <c:v>0.38190980443924416</c:v>
                </c:pt>
                <c:pt idx="54">
                  <c:v>0.38608924190090077</c:v>
                </c:pt>
                <c:pt idx="55">
                  <c:v>0.390231889277247</c:v>
                </c:pt>
                <c:pt idx="56">
                  <c:v>0.39432052679125462</c:v>
                </c:pt>
                <c:pt idx="57">
                  <c:v>0.39837918056484861</c:v>
                </c:pt>
                <c:pt idx="58">
                  <c:v>0.40242004690673872</c:v>
                </c:pt>
                <c:pt idx="59">
                  <c:v>0.40644233220262121</c:v>
                </c:pt>
                <c:pt idx="60">
                  <c:v>0.41031568254749967</c:v>
                </c:pt>
                <c:pt idx="61">
                  <c:v>0.41418064483008432</c:v>
                </c:pt>
                <c:pt idx="62">
                  <c:v>0.41803112365162548</c:v>
                </c:pt>
                <c:pt idx="63">
                  <c:v>0.4218708225455407</c:v>
                </c:pt>
                <c:pt idx="64">
                  <c:v>0.42566728874913801</c:v>
                </c:pt>
                <c:pt idx="65">
                  <c:v>0.42944546048967069</c:v>
                </c:pt>
                <c:pt idx="66">
                  <c:v>0.43321617280686919</c:v>
                </c:pt>
                <c:pt idx="67">
                  <c:v>0.43691569406317388</c:v>
                </c:pt>
                <c:pt idx="68">
                  <c:v>0.44058034589100747</c:v>
                </c:pt>
                <c:pt idx="69">
                  <c:v>0.44422217304079253</c:v>
                </c:pt>
                <c:pt idx="70">
                  <c:v>0.44781020526544624</c:v>
                </c:pt>
                <c:pt idx="71">
                  <c:v>0.45137180021360623</c:v>
                </c:pt>
                <c:pt idx="72">
                  <c:v>0.45489939926015027</c:v>
                </c:pt>
                <c:pt idx="73">
                  <c:v>0.45839336338936243</c:v>
                </c:pt>
                <c:pt idx="74">
                  <c:v>0.46187357980412519</c:v>
                </c:pt>
                <c:pt idx="75">
                  <c:v>0.46534304660291947</c:v>
                </c:pt>
                <c:pt idx="76">
                  <c:v>0.46879914871639017</c:v>
                </c:pt>
                <c:pt idx="77">
                  <c:v>0.472251866946649</c:v>
                </c:pt>
                <c:pt idx="78">
                  <c:v>0.47568790549850293</c:v>
                </c:pt>
                <c:pt idx="79">
                  <c:v>0.47911908040714118</c:v>
                </c:pt>
                <c:pt idx="80">
                  <c:v>0.48254778904910633</c:v>
                </c:pt>
                <c:pt idx="81">
                  <c:v>0.48594545579825288</c:v>
                </c:pt>
                <c:pt idx="82">
                  <c:v>0.4893265475819929</c:v>
                </c:pt>
                <c:pt idx="83">
                  <c:v>0.49263274201581642</c:v>
                </c:pt>
                <c:pt idx="84">
                  <c:v>0.49593223757334681</c:v>
                </c:pt>
                <c:pt idx="85">
                  <c:v>0.49920597097766267</c:v>
                </c:pt>
                <c:pt idx="86">
                  <c:v>0.50242252281803013</c:v>
                </c:pt>
                <c:pt idx="87">
                  <c:v>0.50561939412590662</c:v>
                </c:pt>
                <c:pt idx="88">
                  <c:v>0.50878670605657361</c:v>
                </c:pt>
                <c:pt idx="89">
                  <c:v>0.51192916793935439</c:v>
                </c:pt>
                <c:pt idx="90">
                  <c:v>0.51505185008785626</c:v>
                </c:pt>
                <c:pt idx="91">
                  <c:v>0.5181538211075144</c:v>
                </c:pt>
                <c:pt idx="92">
                  <c:v>0.52125318808023835</c:v>
                </c:pt>
                <c:pt idx="93">
                  <c:v>0.52424476679912357</c:v>
                </c:pt>
                <c:pt idx="94">
                  <c:v>0.52722235531029993</c:v>
                </c:pt>
                <c:pt idx="95">
                  <c:v>0.53013974211420534</c:v>
                </c:pt>
                <c:pt idx="96">
                  <c:v>0.53305273372778261</c:v>
                </c:pt>
                <c:pt idx="97">
                  <c:v>0.53595225594303786</c:v>
                </c:pt>
                <c:pt idx="98">
                  <c:v>0.53882522514638009</c:v>
                </c:pt>
                <c:pt idx="99">
                  <c:v>0.54167864884188721</c:v>
                </c:pt>
                <c:pt idx="100">
                  <c:v>0.54453069473478366</c:v>
                </c:pt>
                <c:pt idx="101">
                  <c:v>0.54737725146207916</c:v>
                </c:pt>
                <c:pt idx="102">
                  <c:v>0.55022301457507095</c:v>
                </c:pt>
                <c:pt idx="103">
                  <c:v>0.55302586740355575</c:v>
                </c:pt>
                <c:pt idx="104">
                  <c:v>0.55582538594972264</c:v>
                </c:pt>
                <c:pt idx="105">
                  <c:v>0.5586124712051308</c:v>
                </c:pt>
                <c:pt idx="106">
                  <c:v>0.5613951061581065</c:v>
                </c:pt>
                <c:pt idx="107">
                  <c:v>0.56412868307132635</c:v>
                </c:pt>
                <c:pt idx="108">
                  <c:v>0.56683157632040637</c:v>
                </c:pt>
                <c:pt idx="109">
                  <c:v>0.56950608683570636</c:v>
                </c:pt>
                <c:pt idx="110">
                  <c:v>0.57212111485669803</c:v>
                </c:pt>
                <c:pt idx="111">
                  <c:v>0.57467376424229377</c:v>
                </c:pt>
                <c:pt idx="112">
                  <c:v>0.57719881073038726</c:v>
                </c:pt>
                <c:pt idx="113">
                  <c:v>0.57972079298547452</c:v>
                </c:pt>
                <c:pt idx="114">
                  <c:v>0.58223071671211313</c:v>
                </c:pt>
                <c:pt idx="115">
                  <c:v>0.58470769717833038</c:v>
                </c:pt>
                <c:pt idx="116">
                  <c:v>0.58717140389419631</c:v>
                </c:pt>
                <c:pt idx="117">
                  <c:v>0.58962832906561247</c:v>
                </c:pt>
                <c:pt idx="118">
                  <c:v>0.592084598402986</c:v>
                </c:pt>
                <c:pt idx="119">
                  <c:v>0.59453072160193443</c:v>
                </c:pt>
                <c:pt idx="120">
                  <c:v>0.59694035232093645</c:v>
                </c:pt>
                <c:pt idx="121">
                  <c:v>0.59931505574375776</c:v>
                </c:pt>
                <c:pt idx="122">
                  <c:v>0.60167967640707409</c:v>
                </c:pt>
                <c:pt idx="123">
                  <c:v>0.60402936995690637</c:v>
                </c:pt>
                <c:pt idx="124">
                  <c:v>0.60637100060586091</c:v>
                </c:pt>
                <c:pt idx="125">
                  <c:v>0.6086951634733172</c:v>
                </c:pt>
                <c:pt idx="126">
                  <c:v>0.61101621526247862</c:v>
                </c:pt>
                <c:pt idx="127">
                  <c:v>0.61333358280745909</c:v>
                </c:pt>
                <c:pt idx="128">
                  <c:v>0.61564717241768108</c:v>
                </c:pt>
                <c:pt idx="129">
                  <c:v>0.61792740542669855</c:v>
                </c:pt>
                <c:pt idx="130">
                  <c:v>0.62013570887262282</c:v>
                </c:pt>
                <c:pt idx="131">
                  <c:v>0.62233858377626106</c:v>
                </c:pt>
                <c:pt idx="132">
                  <c:v>0.62452115538062825</c:v>
                </c:pt>
                <c:pt idx="133">
                  <c:v>0.62666546816210211</c:v>
                </c:pt>
                <c:pt idx="134">
                  <c:v>0.62880887986066858</c:v>
                </c:pt>
                <c:pt idx="135">
                  <c:v>0.63092259164615927</c:v>
                </c:pt>
                <c:pt idx="136">
                  <c:v>0.63303425050576001</c:v>
                </c:pt>
                <c:pt idx="137">
                  <c:v>0.6351458597644668</c:v>
                </c:pt>
                <c:pt idx="138">
                  <c:v>0.63724183371914755</c:v>
                </c:pt>
                <c:pt idx="139">
                  <c:v>0.63932128230931584</c:v>
                </c:pt>
                <c:pt idx="140">
                  <c:v>0.64139253572955579</c:v>
                </c:pt>
                <c:pt idx="141">
                  <c:v>0.64344207773625672</c:v>
                </c:pt>
                <c:pt idx="142">
                  <c:v>0.64547310207587005</c:v>
                </c:pt>
                <c:pt idx="143">
                  <c:v>0.64746954632556053</c:v>
                </c:pt>
                <c:pt idx="144">
                  <c:v>0.64946527687349875</c:v>
                </c:pt>
                <c:pt idx="145">
                  <c:v>0.65145514349352585</c:v>
                </c:pt>
                <c:pt idx="146">
                  <c:v>0.65342513668869651</c:v>
                </c:pt>
                <c:pt idx="147">
                  <c:v>0.65535112011287688</c:v>
                </c:pt>
                <c:pt idx="148">
                  <c:v>0.6572493986821617</c:v>
                </c:pt>
                <c:pt idx="149">
                  <c:v>0.65914680372459133</c:v>
                </c:pt>
                <c:pt idx="150">
                  <c:v>0.66102326065612815</c:v>
                </c:pt>
                <c:pt idx="151">
                  <c:v>0.66288486211991671</c:v>
                </c:pt>
                <c:pt idx="152">
                  <c:v>0.66473922185318346</c:v>
                </c:pt>
                <c:pt idx="153">
                  <c:v>0.66658033814775641</c:v>
                </c:pt>
                <c:pt idx="154">
                  <c:v>0.66838888318861289</c:v>
                </c:pt>
                <c:pt idx="155">
                  <c:v>0.6701858078422509</c:v>
                </c:pt>
                <c:pt idx="156">
                  <c:v>0.67197630091330229</c:v>
                </c:pt>
                <c:pt idx="157">
                  <c:v>0.6737529746241685</c:v>
                </c:pt>
                <c:pt idx="158">
                  <c:v>0.67552872245168039</c:v>
                </c:pt>
                <c:pt idx="159">
                  <c:v>0.67730158516052552</c:v>
                </c:pt>
                <c:pt idx="160">
                  <c:v>0.67906117411901934</c:v>
                </c:pt>
                <c:pt idx="161">
                  <c:v>0.68081729928174983</c:v>
                </c:pt>
                <c:pt idx="162">
                  <c:v>0.68257310754987988</c:v>
                </c:pt>
                <c:pt idx="163">
                  <c:v>0.68432453165010276</c:v>
                </c:pt>
                <c:pt idx="164">
                  <c:v>0.68606545689443232</c:v>
                </c:pt>
                <c:pt idx="165">
                  <c:v>0.68777182960489125</c:v>
                </c:pt>
                <c:pt idx="166">
                  <c:v>0.68946295279605518</c:v>
                </c:pt>
                <c:pt idx="167">
                  <c:v>0.69113980470777769</c:v>
                </c:pt>
                <c:pt idx="168">
                  <c:v>0.69281343531699635</c:v>
                </c:pt>
                <c:pt idx="169">
                  <c:v>0.69448383911250089</c:v>
                </c:pt>
                <c:pt idx="170">
                  <c:v>0.69614374680771718</c:v>
                </c:pt>
                <c:pt idx="171">
                  <c:v>0.69779533257516502</c:v>
                </c:pt>
                <c:pt idx="172">
                  <c:v>0.69944495910730042</c:v>
                </c:pt>
                <c:pt idx="173">
                  <c:v>0.7010926622269914</c:v>
                </c:pt>
                <c:pt idx="174">
                  <c:v>0.70271454257015298</c:v>
                </c:pt>
                <c:pt idx="175">
                  <c:v>0.70433294258391999</c:v>
                </c:pt>
                <c:pt idx="176">
                  <c:v>0.70591607636206399</c:v>
                </c:pt>
                <c:pt idx="177">
                  <c:v>0.70748840816774028</c:v>
                </c:pt>
                <c:pt idx="178">
                  <c:v>0.70905778045340884</c:v>
                </c:pt>
                <c:pt idx="179">
                  <c:v>0.71062202731336566</c:v>
                </c:pt>
                <c:pt idx="180">
                  <c:v>0.71216511112522252</c:v>
                </c:pt>
                <c:pt idx="181">
                  <c:v>0.71370405877364207</c:v>
                </c:pt>
                <c:pt idx="182">
                  <c:v>0.71523575091351377</c:v>
                </c:pt>
                <c:pt idx="183">
                  <c:v>0.71674755309489768</c:v>
                </c:pt>
                <c:pt idx="184">
                  <c:v>0.71824952327685176</c:v>
                </c:pt>
                <c:pt idx="185">
                  <c:v>0.71975092855973555</c:v>
                </c:pt>
                <c:pt idx="186">
                  <c:v>0.72124117088586759</c:v>
                </c:pt>
                <c:pt idx="187">
                  <c:v>0.72273045977259298</c:v>
                </c:pt>
                <c:pt idx="188">
                  <c:v>0.72421416580313991</c:v>
                </c:pt>
                <c:pt idx="189">
                  <c:v>0.72569487097960084</c:v>
                </c:pt>
                <c:pt idx="190">
                  <c:v>0.72715998218611411</c:v>
                </c:pt>
                <c:pt idx="191">
                  <c:v>0.7286113070997049</c:v>
                </c:pt>
                <c:pt idx="192">
                  <c:v>0.73005574300024223</c:v>
                </c:pt>
                <c:pt idx="193">
                  <c:v>0.7314997324927337</c:v>
                </c:pt>
                <c:pt idx="194">
                  <c:v>0.73293395887592594</c:v>
                </c:pt>
                <c:pt idx="195">
                  <c:v>0.73436638860451386</c:v>
                </c:pt>
                <c:pt idx="196">
                  <c:v>0.73579812116498078</c:v>
                </c:pt>
                <c:pt idx="197">
                  <c:v>0.73722626868305474</c:v>
                </c:pt>
                <c:pt idx="198">
                  <c:v>0.73864295288340776</c:v>
                </c:pt>
                <c:pt idx="199">
                  <c:v>0.74005951859273633</c:v>
                </c:pt>
                <c:pt idx="200">
                  <c:v>0.74147467618779672</c:v>
                </c:pt>
                <c:pt idx="201">
                  <c:v>0.74288304397159166</c:v>
                </c:pt>
                <c:pt idx="202">
                  <c:v>0.74424851249330048</c:v>
                </c:pt>
                <c:pt idx="203">
                  <c:v>0.74560806473059915</c:v>
                </c:pt>
                <c:pt idx="204">
                  <c:v>0.74696032288087688</c:v>
                </c:pt>
                <c:pt idx="205">
                  <c:v>0.74830973173535564</c:v>
                </c:pt>
                <c:pt idx="206">
                  <c:v>0.74965685068189547</c:v>
                </c:pt>
                <c:pt idx="207">
                  <c:v>0.75100340748497019</c:v>
                </c:pt>
                <c:pt idx="208">
                  <c:v>0.75233503166335036</c:v>
                </c:pt>
                <c:pt idx="209">
                  <c:v>0.75366578231487535</c:v>
                </c:pt>
                <c:pt idx="210">
                  <c:v>0.75499500084989724</c:v>
                </c:pt>
                <c:pt idx="211">
                  <c:v>0.7563180523404337</c:v>
                </c:pt>
                <c:pt idx="212">
                  <c:v>0.75763900130418627</c:v>
                </c:pt>
                <c:pt idx="213">
                  <c:v>0.75895742337795091</c:v>
                </c:pt>
                <c:pt idx="214">
                  <c:v>0.76026121318799011</c:v>
                </c:pt>
                <c:pt idx="215">
                  <c:v>0.76156388697791466</c:v>
                </c:pt>
                <c:pt idx="216">
                  <c:v>0.76285857502390775</c:v>
                </c:pt>
                <c:pt idx="217">
                  <c:v>0.76414409517132931</c:v>
                </c:pt>
                <c:pt idx="218">
                  <c:v>0.76542785448701445</c:v>
                </c:pt>
                <c:pt idx="219">
                  <c:v>0.76671035449111336</c:v>
                </c:pt>
                <c:pt idx="220">
                  <c:v>0.76797660744682716</c:v>
                </c:pt>
                <c:pt idx="221">
                  <c:v>0.76922747861419538</c:v>
                </c:pt>
                <c:pt idx="222">
                  <c:v>0.77047666059556286</c:v>
                </c:pt>
                <c:pt idx="223">
                  <c:v>0.77171707148551083</c:v>
                </c:pt>
                <c:pt idx="224">
                  <c:v>0.7729519739206212</c:v>
                </c:pt>
                <c:pt idx="225">
                  <c:v>0.77417355300448631</c:v>
                </c:pt>
                <c:pt idx="226">
                  <c:v>0.77539014719850607</c:v>
                </c:pt>
                <c:pt idx="227">
                  <c:v>0.77660374329404491</c:v>
                </c:pt>
                <c:pt idx="228">
                  <c:v>0.77781026023977007</c:v>
                </c:pt>
                <c:pt idx="229">
                  <c:v>0.77901570801066933</c:v>
                </c:pt>
                <c:pt idx="230">
                  <c:v>0.78021834230863762</c:v>
                </c:pt>
                <c:pt idx="231">
                  <c:v>0.78141960155960044</c:v>
                </c:pt>
                <c:pt idx="232">
                  <c:v>0.78261773319863703</c:v>
                </c:pt>
                <c:pt idx="233">
                  <c:v>0.78381544323007479</c:v>
                </c:pt>
                <c:pt idx="234">
                  <c:v>0.78500993195900881</c:v>
                </c:pt>
                <c:pt idx="235">
                  <c:v>0.78620423881799817</c:v>
                </c:pt>
                <c:pt idx="236">
                  <c:v>0.78739244752263271</c:v>
                </c:pt>
                <c:pt idx="237">
                  <c:v>0.7885671923401556</c:v>
                </c:pt>
                <c:pt idx="238">
                  <c:v>0.78973667670731096</c:v>
                </c:pt>
                <c:pt idx="239">
                  <c:v>0.79090425144004795</c:v>
                </c:pt>
                <c:pt idx="240">
                  <c:v>0.7920666291013374</c:v>
                </c:pt>
                <c:pt idx="241">
                  <c:v>0.79321530313786104</c:v>
                </c:pt>
                <c:pt idx="242">
                  <c:v>0.79436054093467368</c:v>
                </c:pt>
                <c:pt idx="243">
                  <c:v>0.7954980106803673</c:v>
                </c:pt>
                <c:pt idx="244">
                  <c:v>0.79661972663101044</c:v>
                </c:pt>
                <c:pt idx="245">
                  <c:v>0.79774003446738539</c:v>
                </c:pt>
                <c:pt idx="246">
                  <c:v>0.79885270101048156</c:v>
                </c:pt>
                <c:pt idx="247">
                  <c:v>0.79996437553569799</c:v>
                </c:pt>
                <c:pt idx="248">
                  <c:v>0.8010665184224538</c:v>
                </c:pt>
                <c:pt idx="249">
                  <c:v>0.8021658919259621</c:v>
                </c:pt>
                <c:pt idx="250">
                  <c:v>0.80325198341230342</c:v>
                </c:pt>
                <c:pt idx="251">
                  <c:v>0.80433588694809899</c:v>
                </c:pt>
                <c:pt idx="252">
                  <c:v>0.80541962514758125</c:v>
                </c:pt>
                <c:pt idx="253">
                  <c:v>0.80649680225103149</c:v>
                </c:pt>
                <c:pt idx="254">
                  <c:v>0.80756681202530101</c:v>
                </c:pt>
                <c:pt idx="255">
                  <c:v>0.8086348294969955</c:v>
                </c:pt>
                <c:pt idx="256">
                  <c:v>0.80970161521315598</c:v>
                </c:pt>
                <c:pt idx="257">
                  <c:v>0.81076532291828418</c:v>
                </c:pt>
                <c:pt idx="258">
                  <c:v>0.81182898928933411</c:v>
                </c:pt>
                <c:pt idx="259">
                  <c:v>0.81288926626596181</c:v>
                </c:pt>
                <c:pt idx="260">
                  <c:v>0.81394164016681458</c:v>
                </c:pt>
                <c:pt idx="261">
                  <c:v>0.8149915312673629</c:v>
                </c:pt>
                <c:pt idx="262">
                  <c:v>0.81604058741952923</c:v>
                </c:pt>
                <c:pt idx="263">
                  <c:v>0.81708882791255</c:v>
                </c:pt>
                <c:pt idx="264">
                  <c:v>0.81813369003356939</c:v>
                </c:pt>
                <c:pt idx="265">
                  <c:v>0.81917499742385325</c:v>
                </c:pt>
                <c:pt idx="266">
                  <c:v>0.82021440895774478</c:v>
                </c:pt>
                <c:pt idx="267">
                  <c:v>0.82125114204336114</c:v>
                </c:pt>
                <c:pt idx="268">
                  <c:v>0.82228403381529891</c:v>
                </c:pt>
                <c:pt idx="269">
                  <c:v>0.82330906935675063</c:v>
                </c:pt>
                <c:pt idx="270">
                  <c:v>0.82433355928836849</c:v>
                </c:pt>
                <c:pt idx="271">
                  <c:v>0.82534574268706773</c:v>
                </c:pt>
                <c:pt idx="272">
                  <c:v>0.82635557555451322</c:v>
                </c:pt>
                <c:pt idx="273">
                  <c:v>0.82736083962850171</c:v>
                </c:pt>
                <c:pt idx="274">
                  <c:v>0.82836351618918724</c:v>
                </c:pt>
                <c:pt idx="275">
                  <c:v>0.82936006703946574</c:v>
                </c:pt>
                <c:pt idx="276">
                  <c:v>0.83035140152906017</c:v>
                </c:pt>
                <c:pt idx="277">
                  <c:v>0.83134134994922826</c:v>
                </c:pt>
                <c:pt idx="278">
                  <c:v>0.83233043586496214</c:v>
                </c:pt>
                <c:pt idx="279">
                  <c:v>0.83330515129946658</c:v>
                </c:pt>
                <c:pt idx="280">
                  <c:v>0.8342780425233145</c:v>
                </c:pt>
                <c:pt idx="281">
                  <c:v>0.83524664326983278</c:v>
                </c:pt>
                <c:pt idx="282">
                  <c:v>0.83621461573836053</c:v>
                </c:pt>
                <c:pt idx="283">
                  <c:v>0.83717986291332436</c:v>
                </c:pt>
                <c:pt idx="284">
                  <c:v>0.83814095463561444</c:v>
                </c:pt>
                <c:pt idx="285">
                  <c:v>0.83910187275477555</c:v>
                </c:pt>
                <c:pt idx="286">
                  <c:v>0.84006037971936798</c:v>
                </c:pt>
                <c:pt idx="287">
                  <c:v>0.84101817298220805</c:v>
                </c:pt>
                <c:pt idx="288">
                  <c:v>0.84197490809264308</c:v>
                </c:pt>
                <c:pt idx="289">
                  <c:v>0.84292900057767084</c:v>
                </c:pt>
                <c:pt idx="290">
                  <c:v>0.84387367991526252</c:v>
                </c:pt>
                <c:pt idx="291">
                  <c:v>0.8448173892798162</c:v>
                </c:pt>
                <c:pt idx="292">
                  <c:v>0.84575960786194515</c:v>
                </c:pt>
                <c:pt idx="293">
                  <c:v>0.84669813668868266</c:v>
                </c:pt>
                <c:pt idx="294">
                  <c:v>0.84763191209641342</c:v>
                </c:pt>
                <c:pt idx="295">
                  <c:v>0.84855068323371385</c:v>
                </c:pt>
                <c:pt idx="296">
                  <c:v>0.84946768802806738</c:v>
                </c:pt>
                <c:pt idx="297">
                  <c:v>0.85038423263634888</c:v>
                </c:pt>
                <c:pt idx="298">
                  <c:v>0.85129874911918757</c:v>
                </c:pt>
                <c:pt idx="299">
                  <c:v>0.8522078150148984</c:v>
                </c:pt>
                <c:pt idx="300">
                  <c:v>0.85311656952721915</c:v>
                </c:pt>
                <c:pt idx="301">
                  <c:v>0.85402493274359847</c:v>
                </c:pt>
                <c:pt idx="302">
                  <c:v>0.85493211656094303</c:v>
                </c:pt>
                <c:pt idx="303">
                  <c:v>0.85583571533589464</c:v>
                </c:pt>
                <c:pt idx="304">
                  <c:v>0.85673667424104416</c:v>
                </c:pt>
                <c:pt idx="305">
                  <c:v>0.85763688913278391</c:v>
                </c:pt>
                <c:pt idx="306">
                  <c:v>0.85853017092178674</c:v>
                </c:pt>
                <c:pt idx="307">
                  <c:v>0.85942188752702386</c:v>
                </c:pt>
                <c:pt idx="308">
                  <c:v>0.8603113996480839</c:v>
                </c:pt>
                <c:pt idx="309">
                  <c:v>0.86120039371536228</c:v>
                </c:pt>
                <c:pt idx="310">
                  <c:v>0.86208838474234006</c:v>
                </c:pt>
                <c:pt idx="311">
                  <c:v>0.86296617176318324</c:v>
                </c:pt>
                <c:pt idx="312">
                  <c:v>0.86384140709359136</c:v>
                </c:pt>
                <c:pt idx="313">
                  <c:v>0.86471077022927278</c:v>
                </c:pt>
                <c:pt idx="314">
                  <c:v>0.86558009754208631</c:v>
                </c:pt>
                <c:pt idx="315">
                  <c:v>0.86643834181069956</c:v>
                </c:pt>
                <c:pt idx="316">
                  <c:v>0.86729443670724016</c:v>
                </c:pt>
                <c:pt idx="317">
                  <c:v>0.86814500385970672</c:v>
                </c:pt>
                <c:pt idx="318">
                  <c:v>0.86898984210891805</c:v>
                </c:pt>
                <c:pt idx="319">
                  <c:v>0.86983157479104489</c:v>
                </c:pt>
                <c:pt idx="320">
                  <c:v>0.87067114156746772</c:v>
                </c:pt>
                <c:pt idx="321">
                  <c:v>0.8714990163109364</c:v>
                </c:pt>
                <c:pt idx="322">
                  <c:v>0.87232349063756187</c:v>
                </c:pt>
                <c:pt idx="323">
                  <c:v>0.87314360284112191</c:v>
                </c:pt>
                <c:pt idx="324">
                  <c:v>0.87395043027190977</c:v>
                </c:pt>
                <c:pt idx="325">
                  <c:v>0.87475002148338643</c:v>
                </c:pt>
                <c:pt idx="326">
                  <c:v>0.87554559502245033</c:v>
                </c:pt>
                <c:pt idx="327">
                  <c:v>0.87632655283142014</c:v>
                </c:pt>
                <c:pt idx="328">
                  <c:v>0.87709577451775211</c:v>
                </c:pt>
                <c:pt idx="329">
                  <c:v>0.87786285509882711</c:v>
                </c:pt>
                <c:pt idx="330">
                  <c:v>0.87862925780101764</c:v>
                </c:pt>
                <c:pt idx="331">
                  <c:v>0.87939337059526923</c:v>
                </c:pt>
                <c:pt idx="332">
                  <c:v>0.88015419595249178</c:v>
                </c:pt>
                <c:pt idx="333">
                  <c:v>0.88091004468668455</c:v>
                </c:pt>
                <c:pt idx="334">
                  <c:v>0.88166210997490835</c:v>
                </c:pt>
                <c:pt idx="335">
                  <c:v>0.88241307026543847</c:v>
                </c:pt>
                <c:pt idx="336">
                  <c:v>0.88315945074009061</c:v>
                </c:pt>
                <c:pt idx="337">
                  <c:v>0.88390326850188694</c:v>
                </c:pt>
                <c:pt idx="338">
                  <c:v>0.88464642216282485</c:v>
                </c:pt>
                <c:pt idx="339">
                  <c:v>0.885387026888933</c:v>
                </c:pt>
                <c:pt idx="340">
                  <c:v>0.88612649355008477</c:v>
                </c:pt>
                <c:pt idx="341">
                  <c:v>0.88685914284391887</c:v>
                </c:pt>
                <c:pt idx="342">
                  <c:v>0.88759033442259094</c:v>
                </c:pt>
                <c:pt idx="343">
                  <c:v>0.88832054776140945</c:v>
                </c:pt>
                <c:pt idx="344">
                  <c:v>0.88904519202207555</c:v>
                </c:pt>
                <c:pt idx="345">
                  <c:v>0.88976471361263509</c:v>
                </c:pt>
                <c:pt idx="346">
                  <c:v>0.89048022304199237</c:v>
                </c:pt>
                <c:pt idx="347">
                  <c:v>0.89118250005507671</c:v>
                </c:pt>
                <c:pt idx="348">
                  <c:v>0.89188158332170953</c:v>
                </c:pt>
                <c:pt idx="349">
                  <c:v>0.89257775942483375</c:v>
                </c:pt>
                <c:pt idx="350">
                  <c:v>0.89326413384018555</c:v>
                </c:pt>
                <c:pt idx="351">
                  <c:v>0.8939485269753833</c:v>
                </c:pt>
                <c:pt idx="352">
                  <c:v>0.89462985312196963</c:v>
                </c:pt>
                <c:pt idx="353">
                  <c:v>0.89530217395069256</c:v>
                </c:pt>
                <c:pt idx="354">
                  <c:v>0.89597245838715689</c:v>
                </c:pt>
                <c:pt idx="355">
                  <c:v>0.89664098474748999</c:v>
                </c:pt>
                <c:pt idx="356">
                  <c:v>0.89730899580964674</c:v>
                </c:pt>
                <c:pt idx="357">
                  <c:v>0.89797007101346127</c:v>
                </c:pt>
                <c:pt idx="358">
                  <c:v>0.89862949285414295</c:v>
                </c:pt>
                <c:pt idx="359">
                  <c:v>0.89927217163749973</c:v>
                </c:pt>
                <c:pt idx="360">
                  <c:v>0.89990979939648574</c:v>
                </c:pt>
                <c:pt idx="361">
                  <c:v>0.90054729764202635</c:v>
                </c:pt>
                <c:pt idx="362">
                  <c:v>0.90118328857151087</c:v>
                </c:pt>
                <c:pt idx="363">
                  <c:v>0.9018120377704737</c:v>
                </c:pt>
                <c:pt idx="364">
                  <c:v>0.90244051416451954</c:v>
                </c:pt>
                <c:pt idx="365">
                  <c:v>0.90306716359230366</c:v>
                </c:pt>
                <c:pt idx="366">
                  <c:v>0.90369287060310211</c:v>
                </c:pt>
                <c:pt idx="367">
                  <c:v>0.90431215705373469</c:v>
                </c:pt>
                <c:pt idx="368">
                  <c:v>0.90492275508110442</c:v>
                </c:pt>
                <c:pt idx="369">
                  <c:v>0.90553221779912296</c:v>
                </c:pt>
                <c:pt idx="370">
                  <c:v>0.9061396771921455</c:v>
                </c:pt>
                <c:pt idx="371">
                  <c:v>0.90674395937234786</c:v>
                </c:pt>
                <c:pt idx="372">
                  <c:v>0.90734680863783512</c:v>
                </c:pt>
                <c:pt idx="373">
                  <c:v>0.90794582210085417</c:v>
                </c:pt>
                <c:pt idx="374">
                  <c:v>0.90854207995865188</c:v>
                </c:pt>
                <c:pt idx="375">
                  <c:v>0.90913562078970134</c:v>
                </c:pt>
                <c:pt idx="376">
                  <c:v>0.90972713349530787</c:v>
                </c:pt>
                <c:pt idx="377">
                  <c:v>0.9103159787750601</c:v>
                </c:pt>
                <c:pt idx="378">
                  <c:v>0.91090105438686952</c:v>
                </c:pt>
                <c:pt idx="379">
                  <c:v>0.91148487344269802</c:v>
                </c:pt>
                <c:pt idx="380">
                  <c:v>0.91206837284832087</c:v>
                </c:pt>
                <c:pt idx="381">
                  <c:v>0.91265186674273324</c:v>
                </c:pt>
                <c:pt idx="382">
                  <c:v>0.91323290814849867</c:v>
                </c:pt>
                <c:pt idx="383">
                  <c:v>0.91381230170234173</c:v>
                </c:pt>
                <c:pt idx="384">
                  <c:v>0.91439153543108187</c:v>
                </c:pt>
                <c:pt idx="385">
                  <c:v>0.91496742661068853</c:v>
                </c:pt>
                <c:pt idx="386">
                  <c:v>0.9155348057257664</c:v>
                </c:pt>
                <c:pt idx="387">
                  <c:v>0.91610084286110149</c:v>
                </c:pt>
                <c:pt idx="388">
                  <c:v>0.91666587420053081</c:v>
                </c:pt>
                <c:pt idx="389">
                  <c:v>0.91722381536772557</c:v>
                </c:pt>
                <c:pt idx="390">
                  <c:v>0.91777844980865464</c:v>
                </c:pt>
                <c:pt idx="391">
                  <c:v>0.91833140608600394</c:v>
                </c:pt>
                <c:pt idx="392">
                  <c:v>0.91888283300245543</c:v>
                </c:pt>
                <c:pt idx="393">
                  <c:v>0.91943402569246302</c:v>
                </c:pt>
                <c:pt idx="394">
                  <c:v>0.91997230837200861</c:v>
                </c:pt>
                <c:pt idx="395">
                  <c:v>0.92050493379403475</c:v>
                </c:pt>
                <c:pt idx="396">
                  <c:v>0.92103240072308645</c:v>
                </c:pt>
                <c:pt idx="397">
                  <c:v>0.92155899688088827</c:v>
                </c:pt>
                <c:pt idx="398">
                  <c:v>0.92208460377641555</c:v>
                </c:pt>
                <c:pt idx="399">
                  <c:v>0.92260754600169381</c:v>
                </c:pt>
                <c:pt idx="400">
                  <c:v>0.92312578165325399</c:v>
                </c:pt>
                <c:pt idx="401">
                  <c:v>0.9236438023676069</c:v>
                </c:pt>
                <c:pt idx="402">
                  <c:v>0.92415792941178199</c:v>
                </c:pt>
                <c:pt idx="403">
                  <c:v>0.92466859817140434</c:v>
                </c:pt>
                <c:pt idx="404">
                  <c:v>0.92517721951634724</c:v>
                </c:pt>
                <c:pt idx="405">
                  <c:v>0.92568246524489395</c:v>
                </c:pt>
                <c:pt idx="406">
                  <c:v>0.9261822245634449</c:v>
                </c:pt>
                <c:pt idx="407">
                  <c:v>0.92668177721160427</c:v>
                </c:pt>
                <c:pt idx="408">
                  <c:v>0.92718074842706188</c:v>
                </c:pt>
                <c:pt idx="409">
                  <c:v>0.92767960115149506</c:v>
                </c:pt>
                <c:pt idx="410">
                  <c:v>0.92815791635021339</c:v>
                </c:pt>
                <c:pt idx="411">
                  <c:v>0.92863564736062476</c:v>
                </c:pt>
                <c:pt idx="412">
                  <c:v>0.92911224857289543</c:v>
                </c:pt>
                <c:pt idx="413">
                  <c:v>0.92958210130797891</c:v>
                </c:pt>
                <c:pt idx="414">
                  <c:v>0.93004429621615226</c:v>
                </c:pt>
                <c:pt idx="415">
                  <c:v>0.93050425908409629</c:v>
                </c:pt>
                <c:pt idx="416">
                  <c:v>0.93096257961132844</c:v>
                </c:pt>
                <c:pt idx="417">
                  <c:v>0.93142029114980662</c:v>
                </c:pt>
                <c:pt idx="418">
                  <c:v>0.93187508725796064</c:v>
                </c:pt>
                <c:pt idx="419">
                  <c:v>0.93232760723620178</c:v>
                </c:pt>
                <c:pt idx="420">
                  <c:v>0.93277584224832377</c:v>
                </c:pt>
                <c:pt idx="421">
                  <c:v>0.933223595029532</c:v>
                </c:pt>
                <c:pt idx="422">
                  <c:v>0.93367070299911847</c:v>
                </c:pt>
                <c:pt idx="423">
                  <c:v>0.93411237691520843</c:v>
                </c:pt>
                <c:pt idx="424">
                  <c:v>0.93455273640760772</c:v>
                </c:pt>
                <c:pt idx="425">
                  <c:v>0.93499264398075077</c:v>
                </c:pt>
                <c:pt idx="426">
                  <c:v>0.93543236417273878</c:v>
                </c:pt>
                <c:pt idx="427">
                  <c:v>0.93587007277291512</c:v>
                </c:pt>
                <c:pt idx="428">
                  <c:v>0.93630451598090414</c:v>
                </c:pt>
                <c:pt idx="429">
                  <c:v>0.936737947881777</c:v>
                </c:pt>
                <c:pt idx="430">
                  <c:v>0.93717055585668863</c:v>
                </c:pt>
                <c:pt idx="431">
                  <c:v>0.93760098690347538</c:v>
                </c:pt>
                <c:pt idx="432">
                  <c:v>0.93803105696597811</c:v>
                </c:pt>
                <c:pt idx="433">
                  <c:v>0.93846096169216764</c:v>
                </c:pt>
                <c:pt idx="434">
                  <c:v>0.93889001493634372</c:v>
                </c:pt>
                <c:pt idx="435">
                  <c:v>0.93931742583980793</c:v>
                </c:pt>
                <c:pt idx="436">
                  <c:v>0.93974439033522628</c:v>
                </c:pt>
                <c:pt idx="437">
                  <c:v>0.94017133003019759</c:v>
                </c:pt>
                <c:pt idx="438">
                  <c:v>0.94059671005261358</c:v>
                </c:pt>
                <c:pt idx="439">
                  <c:v>0.94102077289573383</c:v>
                </c:pt>
                <c:pt idx="440">
                  <c:v>0.94144292610443558</c:v>
                </c:pt>
                <c:pt idx="441">
                  <c:v>0.94185654795937201</c:v>
                </c:pt>
                <c:pt idx="442">
                  <c:v>0.9422650802114646</c:v>
                </c:pt>
                <c:pt idx="443">
                  <c:v>0.94267294836269888</c:v>
                </c:pt>
                <c:pt idx="444">
                  <c:v>0.94307966467095061</c:v>
                </c:pt>
                <c:pt idx="445">
                  <c:v>0.943478458614191</c:v>
                </c:pt>
                <c:pt idx="446">
                  <c:v>0.9438759767122139</c:v>
                </c:pt>
                <c:pt idx="447">
                  <c:v>0.94426958736203292</c:v>
                </c:pt>
                <c:pt idx="448">
                  <c:v>0.94466226386168184</c:v>
                </c:pt>
                <c:pt idx="449">
                  <c:v>0.94505228671350261</c:v>
                </c:pt>
                <c:pt idx="450">
                  <c:v>0.94543796948709968</c:v>
                </c:pt>
                <c:pt idx="451">
                  <c:v>0.94582158280117556</c:v>
                </c:pt>
                <c:pt idx="452">
                  <c:v>0.94620355101893427</c:v>
                </c:pt>
                <c:pt idx="453">
                  <c:v>0.94658256247229045</c:v>
                </c:pt>
                <c:pt idx="454">
                  <c:v>0.9469587439190843</c:v>
                </c:pt>
                <c:pt idx="455">
                  <c:v>0.94733234611939099</c:v>
                </c:pt>
                <c:pt idx="456">
                  <c:v>0.94770264986024766</c:v>
                </c:pt>
                <c:pt idx="457">
                  <c:v>0.94807282408765892</c:v>
                </c:pt>
                <c:pt idx="458">
                  <c:v>0.94844215234426732</c:v>
                </c:pt>
                <c:pt idx="459">
                  <c:v>0.94880622566171857</c:v>
                </c:pt>
                <c:pt idx="460">
                  <c:v>0.94916503852880219</c:v>
                </c:pt>
                <c:pt idx="461">
                  <c:v>0.94952310462687084</c:v>
                </c:pt>
                <c:pt idx="462">
                  <c:v>0.94987898828560413</c:v>
                </c:pt>
                <c:pt idx="463">
                  <c:v>0.95023014883698809</c:v>
                </c:pt>
                <c:pt idx="464">
                  <c:v>0.95057946864408416</c:v>
                </c:pt>
                <c:pt idx="465">
                  <c:v>0.95092275643135071</c:v>
                </c:pt>
                <c:pt idx="466">
                  <c:v>0.95126602768498592</c:v>
                </c:pt>
                <c:pt idx="467">
                  <c:v>0.9516092024924383</c:v>
                </c:pt>
                <c:pt idx="468">
                  <c:v>0.95194919457586002</c:v>
                </c:pt>
                <c:pt idx="469">
                  <c:v>0.95228798245980006</c:v>
                </c:pt>
                <c:pt idx="470">
                  <c:v>0.95262415802999023</c:v>
                </c:pt>
                <c:pt idx="471">
                  <c:v>0.95295808227071455</c:v>
                </c:pt>
                <c:pt idx="472">
                  <c:v>0.95328488051633642</c:v>
                </c:pt>
                <c:pt idx="473">
                  <c:v>0.95361141146825179</c:v>
                </c:pt>
                <c:pt idx="474">
                  <c:v>0.95393478725218872</c:v>
                </c:pt>
                <c:pt idx="475">
                  <c:v>0.954256710832174</c:v>
                </c:pt>
                <c:pt idx="476">
                  <c:v>0.95457818524850824</c:v>
                </c:pt>
                <c:pt idx="477">
                  <c:v>0.95489858773441139</c:v>
                </c:pt>
                <c:pt idx="478">
                  <c:v>0.95521554020257737</c:v>
                </c:pt>
                <c:pt idx="479">
                  <c:v>0.95553213719766983</c:v>
                </c:pt>
                <c:pt idx="480">
                  <c:v>0.95584726545517928</c:v>
                </c:pt>
                <c:pt idx="481">
                  <c:v>0.95616055847961134</c:v>
                </c:pt>
                <c:pt idx="482">
                  <c:v>0.95647318189197461</c:v>
                </c:pt>
                <c:pt idx="483">
                  <c:v>0.95677414909425151</c:v>
                </c:pt>
                <c:pt idx="484">
                  <c:v>0.95706989993584435</c:v>
                </c:pt>
                <c:pt idx="485">
                  <c:v>0.95736233578435592</c:v>
                </c:pt>
                <c:pt idx="486">
                  <c:v>0.95765376583696171</c:v>
                </c:pt>
                <c:pt idx="487">
                  <c:v>0.95794443258692119</c:v>
                </c:pt>
                <c:pt idx="488">
                  <c:v>0.95823201581463791</c:v>
                </c:pt>
                <c:pt idx="489">
                  <c:v>0.95851898729799545</c:v>
                </c:pt>
                <c:pt idx="490">
                  <c:v>0.9588051927231015</c:v>
                </c:pt>
                <c:pt idx="491">
                  <c:v>0.95908971722902248</c:v>
                </c:pt>
                <c:pt idx="492">
                  <c:v>0.95937342332019271</c:v>
                </c:pt>
                <c:pt idx="493">
                  <c:v>0.95965693100778704</c:v>
                </c:pt>
                <c:pt idx="494">
                  <c:v>0.95994041113932915</c:v>
                </c:pt>
                <c:pt idx="495">
                  <c:v>0.96021898629357727</c:v>
                </c:pt>
                <c:pt idx="496">
                  <c:v>0.96049463499508025</c:v>
                </c:pt>
                <c:pt idx="497">
                  <c:v>0.96076988964503662</c:v>
                </c:pt>
                <c:pt idx="498">
                  <c:v>0.96104475024344638</c:v>
                </c:pt>
                <c:pt idx="499">
                  <c:v>0.96131856646747715</c:v>
                </c:pt>
                <c:pt idx="500">
                  <c:v>0.9615902581198823</c:v>
                </c:pt>
                <c:pt idx="501">
                  <c:v>0.96186142896290061</c:v>
                </c:pt>
                <c:pt idx="502">
                  <c:v>0.96213169872301152</c:v>
                </c:pt>
                <c:pt idx="503">
                  <c:v>0.96239833108423023</c:v>
                </c:pt>
                <c:pt idx="504">
                  <c:v>0.96265997579999829</c:v>
                </c:pt>
                <c:pt idx="505">
                  <c:v>0.96292022617952433</c:v>
                </c:pt>
                <c:pt idx="506">
                  <c:v>0.96317657462205697</c:v>
                </c:pt>
                <c:pt idx="507">
                  <c:v>0.96343209638302318</c:v>
                </c:pt>
                <c:pt idx="508">
                  <c:v>0.9636832119312404</c:v>
                </c:pt>
                <c:pt idx="509">
                  <c:v>0.96393282016340154</c:v>
                </c:pt>
                <c:pt idx="510">
                  <c:v>0.96417749035100608</c:v>
                </c:pt>
                <c:pt idx="511">
                  <c:v>0.96442118505436225</c:v>
                </c:pt>
                <c:pt idx="512">
                  <c:v>0.96466241073544001</c:v>
                </c:pt>
                <c:pt idx="513">
                  <c:v>0.96490113432697677</c:v>
                </c:pt>
                <c:pt idx="514">
                  <c:v>0.965139067059815</c:v>
                </c:pt>
                <c:pt idx="515">
                  <c:v>0.96537632466937406</c:v>
                </c:pt>
                <c:pt idx="516">
                  <c:v>0.96560842654156398</c:v>
                </c:pt>
                <c:pt idx="517">
                  <c:v>0.96583621038037204</c:v>
                </c:pt>
                <c:pt idx="518">
                  <c:v>0.96606290024390717</c:v>
                </c:pt>
                <c:pt idx="519">
                  <c:v>0.9662879257218886</c:v>
                </c:pt>
                <c:pt idx="520">
                  <c:v>0.96651222923130198</c:v>
                </c:pt>
                <c:pt idx="521">
                  <c:v>0.96673500337981755</c:v>
                </c:pt>
                <c:pt idx="522">
                  <c:v>0.96695641901495899</c:v>
                </c:pt>
                <c:pt idx="523">
                  <c:v>0.9671776114460775</c:v>
                </c:pt>
                <c:pt idx="524">
                  <c:v>0.9673892667275249</c:v>
                </c:pt>
                <c:pt idx="525">
                  <c:v>0.96759917219965674</c:v>
                </c:pt>
                <c:pt idx="526">
                  <c:v>0.96780725897234243</c:v>
                </c:pt>
                <c:pt idx="527">
                  <c:v>0.96801443639530516</c:v>
                </c:pt>
                <c:pt idx="528">
                  <c:v>0.96822114260977499</c:v>
                </c:pt>
                <c:pt idx="529">
                  <c:v>0.96842615963824408</c:v>
                </c:pt>
                <c:pt idx="530">
                  <c:v>0.96862966383944671</c:v>
                </c:pt>
                <c:pt idx="531">
                  <c:v>0.96883226144653145</c:v>
                </c:pt>
                <c:pt idx="532">
                  <c:v>0.96903312853353718</c:v>
                </c:pt>
                <c:pt idx="533">
                  <c:v>0.96923292644571701</c:v>
                </c:pt>
                <c:pt idx="534">
                  <c:v>0.96943218977048395</c:v>
                </c:pt>
                <c:pt idx="535">
                  <c:v>0.96963125469167499</c:v>
                </c:pt>
                <c:pt idx="536">
                  <c:v>0.96982951222053615</c:v>
                </c:pt>
                <c:pt idx="537">
                  <c:v>0.97002686315527942</c:v>
                </c:pt>
                <c:pt idx="538">
                  <c:v>0.97022206471795003</c:v>
                </c:pt>
                <c:pt idx="539">
                  <c:v>0.9704172139241215</c:v>
                </c:pt>
                <c:pt idx="540">
                  <c:v>0.97061184507651133</c:v>
                </c:pt>
                <c:pt idx="541">
                  <c:v>0.97080574599351754</c:v>
                </c:pt>
                <c:pt idx="542">
                  <c:v>0.97099810377159979</c:v>
                </c:pt>
                <c:pt idx="543">
                  <c:v>0.97118983051608632</c:v>
                </c:pt>
                <c:pt idx="544">
                  <c:v>0.97138076915747951</c:v>
                </c:pt>
                <c:pt idx="545">
                  <c:v>0.97157165819797875</c:v>
                </c:pt>
                <c:pt idx="546">
                  <c:v>0.97176239568019085</c:v>
                </c:pt>
                <c:pt idx="547">
                  <c:v>0.97195259581938476</c:v>
                </c:pt>
                <c:pt idx="548">
                  <c:v>0.97213879481979726</c:v>
                </c:pt>
                <c:pt idx="549">
                  <c:v>0.97232378962072796</c:v>
                </c:pt>
                <c:pt idx="550">
                  <c:v>0.97250835179163897</c:v>
                </c:pt>
                <c:pt idx="551">
                  <c:v>0.97269279822713062</c:v>
                </c:pt>
                <c:pt idx="552">
                  <c:v>0.97287673763126159</c:v>
                </c:pt>
                <c:pt idx="553">
                  <c:v>0.97306028298384595</c:v>
                </c:pt>
                <c:pt idx="554">
                  <c:v>0.97324269027147381</c:v>
                </c:pt>
                <c:pt idx="555">
                  <c:v>0.97342373353451717</c:v>
                </c:pt>
                <c:pt idx="556">
                  <c:v>0.9736042146540953</c:v>
                </c:pt>
                <c:pt idx="557">
                  <c:v>0.97378439816830953</c:v>
                </c:pt>
                <c:pt idx="558">
                  <c:v>0.97396363926553808</c:v>
                </c:pt>
                <c:pt idx="559">
                  <c:v>0.97414235128656412</c:v>
                </c:pt>
                <c:pt idx="560">
                  <c:v>0.97432079876948896</c:v>
                </c:pt>
                <c:pt idx="561">
                  <c:v>0.97449916358425714</c:v>
                </c:pt>
                <c:pt idx="562">
                  <c:v>0.97467564356505387</c:v>
                </c:pt>
                <c:pt idx="563">
                  <c:v>0.97485098823649941</c:v>
                </c:pt>
                <c:pt idx="564">
                  <c:v>0.97502433509415942</c:v>
                </c:pt>
                <c:pt idx="565">
                  <c:v>0.97519421264484574</c:v>
                </c:pt>
                <c:pt idx="566">
                  <c:v>0.9753638394354569</c:v>
                </c:pt>
                <c:pt idx="567">
                  <c:v>0.97553339733593758</c:v>
                </c:pt>
                <c:pt idx="568">
                  <c:v>0.97570246749429412</c:v>
                </c:pt>
                <c:pt idx="569">
                  <c:v>0.97587144120646785</c:v>
                </c:pt>
                <c:pt idx="570">
                  <c:v>0.97604014762493518</c:v>
                </c:pt>
                <c:pt idx="571">
                  <c:v>0.9762048887274889</c:v>
                </c:pt>
                <c:pt idx="572">
                  <c:v>0.97636689626966311</c:v>
                </c:pt>
                <c:pt idx="573">
                  <c:v>0.97652685639715775</c:v>
                </c:pt>
                <c:pt idx="574">
                  <c:v>0.9766863150045022</c:v>
                </c:pt>
                <c:pt idx="575">
                  <c:v>0.97684464381370584</c:v>
                </c:pt>
                <c:pt idx="576">
                  <c:v>0.97700015914997851</c:v>
                </c:pt>
                <c:pt idx="577">
                  <c:v>0.97715472655805502</c:v>
                </c:pt>
                <c:pt idx="578">
                  <c:v>0.9773092388540271</c:v>
                </c:pt>
                <c:pt idx="579">
                  <c:v>0.97746373461636782</c:v>
                </c:pt>
                <c:pt idx="580">
                  <c:v>0.97761543068380363</c:v>
                </c:pt>
                <c:pt idx="581">
                  <c:v>0.97776509587019134</c:v>
                </c:pt>
                <c:pt idx="582">
                  <c:v>0.97791195033925327</c:v>
                </c:pt>
                <c:pt idx="583">
                  <c:v>0.97805856231505572</c:v>
                </c:pt>
                <c:pt idx="584">
                  <c:v>0.97820376066537962</c:v>
                </c:pt>
                <c:pt idx="585">
                  <c:v>0.97834784299558886</c:v>
                </c:pt>
                <c:pt idx="586">
                  <c:v>0.97849133287067547</c:v>
                </c:pt>
                <c:pt idx="587">
                  <c:v>0.97863229310016886</c:v>
                </c:pt>
                <c:pt idx="588">
                  <c:v>0.97877280141040601</c:v>
                </c:pt>
                <c:pt idx="589">
                  <c:v>0.97891326287535441</c:v>
                </c:pt>
                <c:pt idx="590">
                  <c:v>0.97905234929329732</c:v>
                </c:pt>
                <c:pt idx="591">
                  <c:v>0.97918943514184953</c:v>
                </c:pt>
                <c:pt idx="592">
                  <c:v>0.97932625094109005</c:v>
                </c:pt>
                <c:pt idx="593">
                  <c:v>0.97946194245340024</c:v>
                </c:pt>
                <c:pt idx="594">
                  <c:v>0.97959663092540983</c:v>
                </c:pt>
                <c:pt idx="595">
                  <c:v>0.97973055058356262</c:v>
                </c:pt>
                <c:pt idx="596">
                  <c:v>0.97986361600409688</c:v>
                </c:pt>
                <c:pt idx="597">
                  <c:v>0.97999593190001089</c:v>
                </c:pt>
                <c:pt idx="598">
                  <c:v>0.9801274100919376</c:v>
                </c:pt>
                <c:pt idx="599">
                  <c:v>0.98025873121436669</c:v>
                </c:pt>
                <c:pt idx="600">
                  <c:v>0.98038995864621825</c:v>
                </c:pt>
                <c:pt idx="601">
                  <c:v>0.98051955475977881</c:v>
                </c:pt>
                <c:pt idx="602">
                  <c:v>0.98064899931505212</c:v>
                </c:pt>
                <c:pt idx="603">
                  <c:v>0.98077799470667437</c:v>
                </c:pt>
                <c:pt idx="604">
                  <c:v>0.98090660706917088</c:v>
                </c:pt>
                <c:pt idx="605">
                  <c:v>0.98103491631509299</c:v>
                </c:pt>
                <c:pt idx="606">
                  <c:v>0.98116288111036243</c:v>
                </c:pt>
                <c:pt idx="607">
                  <c:v>0.98128966099538673</c:v>
                </c:pt>
                <c:pt idx="608">
                  <c:v>0.98141617909791501</c:v>
                </c:pt>
                <c:pt idx="609">
                  <c:v>0.98154066356378988</c:v>
                </c:pt>
                <c:pt idx="610">
                  <c:v>0.98166507638392908</c:v>
                </c:pt>
                <c:pt idx="611">
                  <c:v>0.98178830704942832</c:v>
                </c:pt>
                <c:pt idx="612">
                  <c:v>0.9819112566431949</c:v>
                </c:pt>
                <c:pt idx="613">
                  <c:v>0.98203290283569178</c:v>
                </c:pt>
                <c:pt idx="614">
                  <c:v>0.98215409159772193</c:v>
                </c:pt>
                <c:pt idx="615">
                  <c:v>0.98227449776786924</c:v>
                </c:pt>
                <c:pt idx="616">
                  <c:v>0.98239475789093977</c:v>
                </c:pt>
                <c:pt idx="617">
                  <c:v>0.98251297886614652</c:v>
                </c:pt>
                <c:pt idx="618">
                  <c:v>0.9826307920117805</c:v>
                </c:pt>
                <c:pt idx="619">
                  <c:v>0.98274678094675794</c:v>
                </c:pt>
                <c:pt idx="620">
                  <c:v>0.98286270374721008</c:v>
                </c:pt>
                <c:pt idx="621">
                  <c:v>0.98297805338177613</c:v>
                </c:pt>
                <c:pt idx="622">
                  <c:v>0.98309228148501715</c:v>
                </c:pt>
                <c:pt idx="623">
                  <c:v>0.98320638834162843</c:v>
                </c:pt>
                <c:pt idx="624">
                  <c:v>0.98331949215793912</c:v>
                </c:pt>
                <c:pt idx="625">
                  <c:v>0.98343179684873561</c:v>
                </c:pt>
                <c:pt idx="626">
                  <c:v>0.98354257493423947</c:v>
                </c:pt>
                <c:pt idx="627">
                  <c:v>0.98365232517899581</c:v>
                </c:pt>
                <c:pt idx="628">
                  <c:v>0.98376167034978457</c:v>
                </c:pt>
                <c:pt idx="629">
                  <c:v>0.9838707206708146</c:v>
                </c:pt>
                <c:pt idx="630">
                  <c:v>0.98397891124301562</c:v>
                </c:pt>
                <c:pt idx="631">
                  <c:v>0.98408682901029976</c:v>
                </c:pt>
                <c:pt idx="632">
                  <c:v>0.98419471922153168</c:v>
                </c:pt>
                <c:pt idx="633">
                  <c:v>0.98429924483878828</c:v>
                </c:pt>
                <c:pt idx="634">
                  <c:v>0.98440375667801883</c:v>
                </c:pt>
                <c:pt idx="635">
                  <c:v>0.984507356411921</c:v>
                </c:pt>
                <c:pt idx="636">
                  <c:v>0.98460824187468021</c:v>
                </c:pt>
                <c:pt idx="637">
                  <c:v>0.98470907222533499</c:v>
                </c:pt>
                <c:pt idx="638">
                  <c:v>0.98480978408496522</c:v>
                </c:pt>
                <c:pt idx="639">
                  <c:v>0.98490886738190964</c:v>
                </c:pt>
                <c:pt idx="640">
                  <c:v>0.98500758142775435</c:v>
                </c:pt>
                <c:pt idx="641">
                  <c:v>0.98510563137274076</c:v>
                </c:pt>
                <c:pt idx="642">
                  <c:v>0.98520230627072169</c:v>
                </c:pt>
                <c:pt idx="643">
                  <c:v>0.9852987910319424</c:v>
                </c:pt>
                <c:pt idx="644">
                  <c:v>0.98539431133133559</c:v>
                </c:pt>
                <c:pt idx="645">
                  <c:v>0.98548962496033721</c:v>
                </c:pt>
                <c:pt idx="646">
                  <c:v>0.98558440675753112</c:v>
                </c:pt>
                <c:pt idx="647">
                  <c:v>0.98567824338213406</c:v>
                </c:pt>
                <c:pt idx="648">
                  <c:v>0.98577065535883757</c:v>
                </c:pt>
                <c:pt idx="649">
                  <c:v>0.98586283586470247</c:v>
                </c:pt>
                <c:pt idx="650">
                  <c:v>0.98595422551186884</c:v>
                </c:pt>
                <c:pt idx="651">
                  <c:v>0.98604544982272191</c:v>
                </c:pt>
                <c:pt idx="652">
                  <c:v>0.98613566007085351</c:v>
                </c:pt>
                <c:pt idx="653">
                  <c:v>0.98622365205678197</c:v>
                </c:pt>
                <c:pt idx="654">
                  <c:v>0.98631104607637743</c:v>
                </c:pt>
                <c:pt idx="655">
                  <c:v>0.98639798266550605</c:v>
                </c:pt>
                <c:pt idx="656">
                  <c:v>0.98648403746096391</c:v>
                </c:pt>
                <c:pt idx="657">
                  <c:v>0.98656990211966145</c:v>
                </c:pt>
                <c:pt idx="658">
                  <c:v>0.98665537823802274</c:v>
                </c:pt>
                <c:pt idx="659">
                  <c:v>0.98674011034297426</c:v>
                </c:pt>
                <c:pt idx="660">
                  <c:v>0.98682239822609452</c:v>
                </c:pt>
                <c:pt idx="661">
                  <c:v>0.98690457037379542</c:v>
                </c:pt>
                <c:pt idx="662">
                  <c:v>0.98698591308432471</c:v>
                </c:pt>
                <c:pt idx="663">
                  <c:v>0.98706724201682794</c:v>
                </c:pt>
                <c:pt idx="664">
                  <c:v>0.98714838081257084</c:v>
                </c:pt>
                <c:pt idx="665">
                  <c:v>0.98722861025859077</c:v>
                </c:pt>
                <c:pt idx="666">
                  <c:v>0.98730837676293348</c:v>
                </c:pt>
                <c:pt idx="667">
                  <c:v>0.98738760867986319</c:v>
                </c:pt>
                <c:pt idx="668">
                  <c:v>0.98746679375150415</c:v>
                </c:pt>
                <c:pt idx="669">
                  <c:v>0.98754591819983029</c:v>
                </c:pt>
                <c:pt idx="670">
                  <c:v>0.98762477259884474</c:v>
                </c:pt>
                <c:pt idx="671">
                  <c:v>0.98770340103823095</c:v>
                </c:pt>
                <c:pt idx="672">
                  <c:v>0.98778154724670353</c:v>
                </c:pt>
                <c:pt idx="673">
                  <c:v>0.98785948678478441</c:v>
                </c:pt>
                <c:pt idx="674">
                  <c:v>0.98793727200897297</c:v>
                </c:pt>
                <c:pt idx="675">
                  <c:v>0.98801485607398032</c:v>
                </c:pt>
                <c:pt idx="676">
                  <c:v>0.98809126625116339</c:v>
                </c:pt>
                <c:pt idx="677">
                  <c:v>0.98816677258983387</c:v>
                </c:pt>
                <c:pt idx="678">
                  <c:v>0.98824164238369816</c:v>
                </c:pt>
                <c:pt idx="679">
                  <c:v>0.98831618426054113</c:v>
                </c:pt>
                <c:pt idx="680">
                  <c:v>0.98839010612620937</c:v>
                </c:pt>
                <c:pt idx="681">
                  <c:v>0.98846367251880396</c:v>
                </c:pt>
                <c:pt idx="682">
                  <c:v>0.98853662441143419</c:v>
                </c:pt>
                <c:pt idx="683">
                  <c:v>0.98860926492067447</c:v>
                </c:pt>
                <c:pt idx="684">
                  <c:v>0.98868177316086414</c:v>
                </c:pt>
                <c:pt idx="685">
                  <c:v>0.9887529173764692</c:v>
                </c:pt>
                <c:pt idx="686">
                  <c:v>0.98882288219303949</c:v>
                </c:pt>
                <c:pt idx="687">
                  <c:v>0.98889272576298004</c:v>
                </c:pt>
                <c:pt idx="688">
                  <c:v>0.98896256933292059</c:v>
                </c:pt>
                <c:pt idx="689">
                  <c:v>0.98903226685578438</c:v>
                </c:pt>
                <c:pt idx="690">
                  <c:v>0.98910156757149637</c:v>
                </c:pt>
                <c:pt idx="691">
                  <c:v>0.9891700168051949</c:v>
                </c:pt>
                <c:pt idx="692">
                  <c:v>0.98923844674965689</c:v>
                </c:pt>
                <c:pt idx="693">
                  <c:v>0.98930652122104534</c:v>
                </c:pt>
                <c:pt idx="694">
                  <c:v>0.98937300295261588</c:v>
                </c:pt>
                <c:pt idx="695">
                  <c:v>0.98943943783889765</c:v>
                </c:pt>
                <c:pt idx="696">
                  <c:v>0.98950482835080056</c:v>
                </c:pt>
                <c:pt idx="697">
                  <c:v>0.98956881350404047</c:v>
                </c:pt>
                <c:pt idx="698">
                  <c:v>0.98963233571560327</c:v>
                </c:pt>
                <c:pt idx="699">
                  <c:v>0.98969577801461461</c:v>
                </c:pt>
                <c:pt idx="700">
                  <c:v>0.98975897506476129</c:v>
                </c:pt>
                <c:pt idx="701">
                  <c:v>0.98982208944675132</c:v>
                </c:pt>
                <c:pt idx="702">
                  <c:v>0.98988509636013766</c:v>
                </c:pt>
                <c:pt idx="703">
                  <c:v>0.98994805367263006</c:v>
                </c:pt>
                <c:pt idx="704">
                  <c:v>0.99001091178333445</c:v>
                </c:pt>
                <c:pt idx="705">
                  <c:v>0.99007363762498823</c:v>
                </c:pt>
                <c:pt idx="706">
                  <c:v>0.990136002482358</c:v>
                </c:pt>
                <c:pt idx="707">
                  <c:v>0.99019826262672939</c:v>
                </c:pt>
                <c:pt idx="708">
                  <c:v>0.99026047592581201</c:v>
                </c:pt>
                <c:pt idx="709">
                  <c:v>0.99032267269126328</c:v>
                </c:pt>
                <c:pt idx="710">
                  <c:v>0.99038460491861335</c:v>
                </c:pt>
                <c:pt idx="711">
                  <c:v>0.99044646825583282</c:v>
                </c:pt>
                <c:pt idx="712">
                  <c:v>0.9905081965683965</c:v>
                </c:pt>
                <c:pt idx="713">
                  <c:v>0.9905698835468818</c:v>
                </c:pt>
                <c:pt idx="714">
                  <c:v>0.9906314051890539</c:v>
                </c:pt>
                <c:pt idx="715">
                  <c:v>0.9906920588155812</c:v>
                </c:pt>
                <c:pt idx="716">
                  <c:v>0.99075229359011485</c:v>
                </c:pt>
                <c:pt idx="717">
                  <c:v>0.99081247876375456</c:v>
                </c:pt>
                <c:pt idx="718">
                  <c:v>0.9908724848230549</c:v>
                </c:pt>
                <c:pt idx="719">
                  <c:v>0.99093194802812656</c:v>
                </c:pt>
                <c:pt idx="720">
                  <c:v>0.99099133132064687</c:v>
                </c:pt>
                <c:pt idx="721">
                  <c:v>0.99105054927685388</c:v>
                </c:pt>
                <c:pt idx="722">
                  <c:v>0.99110962945279979</c:v>
                </c:pt>
                <c:pt idx="723">
                  <c:v>0.99116867656148311</c:v>
                </c:pt>
                <c:pt idx="724">
                  <c:v>0.99122768233608805</c:v>
                </c:pt>
                <c:pt idx="725">
                  <c:v>0.99128649797393276</c:v>
                </c:pt>
                <c:pt idx="726">
                  <c:v>0.99134481209162717</c:v>
                </c:pt>
                <c:pt idx="727">
                  <c:v>0.99140306007479628</c:v>
                </c:pt>
                <c:pt idx="728">
                  <c:v>0.99146114272165209</c:v>
                </c:pt>
                <c:pt idx="729">
                  <c:v>0.99151863566899057</c:v>
                </c:pt>
                <c:pt idx="730">
                  <c:v>0.99157585856701735</c:v>
                </c:pt>
                <c:pt idx="731">
                  <c:v>0.99163294092917786</c:v>
                </c:pt>
                <c:pt idx="732">
                  <c:v>0.99168974221960571</c:v>
                </c:pt>
                <c:pt idx="733">
                  <c:v>0.99174548535762863</c:v>
                </c:pt>
                <c:pt idx="734">
                  <c:v>0.9918011458274949</c:v>
                </c:pt>
                <c:pt idx="735">
                  <c:v>0.99185676771888809</c:v>
                </c:pt>
                <c:pt idx="736">
                  <c:v>0.99191234000938722</c:v>
                </c:pt>
                <c:pt idx="737">
                  <c:v>0.99196684863627094</c:v>
                </c:pt>
                <c:pt idx="738">
                  <c:v>0.9920212415277353</c:v>
                </c:pt>
                <c:pt idx="739">
                  <c:v>0.99207543050441338</c:v>
                </c:pt>
                <c:pt idx="740">
                  <c:v>0.9921292364519656</c:v>
                </c:pt>
                <c:pt idx="741">
                  <c:v>0.99218248025605271</c:v>
                </c:pt>
                <c:pt idx="742">
                  <c:v>0.99223539338751321</c:v>
                </c:pt>
                <c:pt idx="743">
                  <c:v>0.99228822109521186</c:v>
                </c:pt>
                <c:pt idx="744">
                  <c:v>0.99234067679620563</c:v>
                </c:pt>
                <c:pt idx="745">
                  <c:v>0.99239304156222707</c:v>
                </c:pt>
                <c:pt idx="746">
                  <c:v>0.992444976453834</c:v>
                </c:pt>
                <c:pt idx="747">
                  <c:v>0.99249690583423056</c:v>
                </c:pt>
                <c:pt idx="748">
                  <c:v>0.99254831716084546</c:v>
                </c:pt>
                <c:pt idx="749">
                  <c:v>0.99259966235293506</c:v>
                </c:pt>
                <c:pt idx="750">
                  <c:v>0.99265085874234271</c:v>
                </c:pt>
                <c:pt idx="751">
                  <c:v>0.99270128631789356</c:v>
                </c:pt>
                <c:pt idx="752">
                  <c:v>0.99275146864457975</c:v>
                </c:pt>
                <c:pt idx="753">
                  <c:v>0.99280138367755943</c:v>
                </c:pt>
                <c:pt idx="754">
                  <c:v>0.99285051887426146</c:v>
                </c:pt>
                <c:pt idx="755">
                  <c:v>0.99289916632883934</c:v>
                </c:pt>
                <c:pt idx="756">
                  <c:v>0.99294775316010231</c:v>
                </c:pt>
                <c:pt idx="757">
                  <c:v>0.992996298657287</c:v>
                </c:pt>
                <c:pt idx="758">
                  <c:v>0.99304477526434121</c:v>
                </c:pt>
                <c:pt idx="759">
                  <c:v>0.99309295702163669</c:v>
                </c:pt>
                <c:pt idx="760">
                  <c:v>0.99314083566235778</c:v>
                </c:pt>
                <c:pt idx="761">
                  <c:v>0.99318852141071345</c:v>
                </c:pt>
                <c:pt idx="762">
                  <c:v>0.99323593159854695</c:v>
                </c:pt>
                <c:pt idx="763">
                  <c:v>0.99328297529088605</c:v>
                </c:pt>
                <c:pt idx="764">
                  <c:v>0.99332983711328049</c:v>
                </c:pt>
                <c:pt idx="765">
                  <c:v>0.99337632417336486</c:v>
                </c:pt>
                <c:pt idx="766">
                  <c:v>0.99342274509892392</c:v>
                </c:pt>
                <c:pt idx="767">
                  <c:v>0.99346869757159528</c:v>
                </c:pt>
                <c:pt idx="768">
                  <c:v>0.99351437172813928</c:v>
                </c:pt>
                <c:pt idx="769">
                  <c:v>0.99356004588468327</c:v>
                </c:pt>
                <c:pt idx="770">
                  <c:v>0.99360564012867592</c:v>
                </c:pt>
                <c:pt idx="771">
                  <c:v>0.99365112690406487</c:v>
                </c:pt>
                <c:pt idx="772">
                  <c:v>0.99369644007632496</c:v>
                </c:pt>
                <c:pt idx="773">
                  <c:v>0.99374172293692753</c:v>
                </c:pt>
                <c:pt idx="774">
                  <c:v>0.99378699753071442</c:v>
                </c:pt>
                <c:pt idx="775">
                  <c:v>0.99383223905723872</c:v>
                </c:pt>
                <c:pt idx="776">
                  <c:v>0.99387639763091096</c:v>
                </c:pt>
                <c:pt idx="777">
                  <c:v>0.99392041566871692</c:v>
                </c:pt>
                <c:pt idx="778">
                  <c:v>0.99396276380975879</c:v>
                </c:pt>
                <c:pt idx="779">
                  <c:v>0.9940048639463307</c:v>
                </c:pt>
                <c:pt idx="780">
                  <c:v>0.99404688417035125</c:v>
                </c:pt>
                <c:pt idx="781">
                  <c:v>0.99408873079124283</c:v>
                </c:pt>
                <c:pt idx="782">
                  <c:v>0.99413028807358617</c:v>
                </c:pt>
                <c:pt idx="783">
                  <c:v>0.99417164970795879</c:v>
                </c:pt>
                <c:pt idx="784">
                  <c:v>0.99421269720333616</c:v>
                </c:pt>
                <c:pt idx="785">
                  <c:v>0.9942529180171471</c:v>
                </c:pt>
                <c:pt idx="786">
                  <c:v>0.99429281918075241</c:v>
                </c:pt>
                <c:pt idx="787">
                  <c:v>0.99433271207754204</c:v>
                </c:pt>
                <c:pt idx="788">
                  <c:v>0.99437257741827945</c:v>
                </c:pt>
                <c:pt idx="789">
                  <c:v>0.99441228568951923</c:v>
                </c:pt>
                <c:pt idx="790">
                  <c:v>0.99445179831278829</c:v>
                </c:pt>
                <c:pt idx="791">
                  <c:v>0.99449089208406372</c:v>
                </c:pt>
                <c:pt idx="792">
                  <c:v>0.99452980398539448</c:v>
                </c:pt>
                <c:pt idx="793">
                  <c:v>0.99456866904143648</c:v>
                </c:pt>
                <c:pt idx="794">
                  <c:v>0.994607465207348</c:v>
                </c:pt>
                <c:pt idx="795">
                  <c:v>0.99464583425445019</c:v>
                </c:pt>
                <c:pt idx="796">
                  <c:v>0.99468385333968934</c:v>
                </c:pt>
                <c:pt idx="797">
                  <c:v>0.99472186966932319</c:v>
                </c:pt>
                <c:pt idx="798">
                  <c:v>0.99475957737117227</c:v>
                </c:pt>
                <c:pt idx="799">
                  <c:v>0.99479651625916454</c:v>
                </c:pt>
                <c:pt idx="800">
                  <c:v>0.9948329288265596</c:v>
                </c:pt>
                <c:pt idx="801">
                  <c:v>0.99486930281548158</c:v>
                </c:pt>
                <c:pt idx="802">
                  <c:v>0.99490538471025003</c:v>
                </c:pt>
                <c:pt idx="803">
                  <c:v>0.9949413591364149</c:v>
                </c:pt>
                <c:pt idx="804">
                  <c:v>0.99497726191684399</c:v>
                </c:pt>
                <c:pt idx="805">
                  <c:v>0.99501243997309985</c:v>
                </c:pt>
                <c:pt idx="806">
                  <c:v>0.99504751331635732</c:v>
                </c:pt>
                <c:pt idx="807">
                  <c:v>0.99508239927845976</c:v>
                </c:pt>
                <c:pt idx="808">
                  <c:v>0.99511677820920141</c:v>
                </c:pt>
                <c:pt idx="809">
                  <c:v>0.99515042139334897</c:v>
                </c:pt>
                <c:pt idx="810">
                  <c:v>0.99518376146092224</c:v>
                </c:pt>
                <c:pt idx="811">
                  <c:v>0.99521700232670751</c:v>
                </c:pt>
                <c:pt idx="812">
                  <c:v>0.99525019359159883</c:v>
                </c:pt>
                <c:pt idx="813">
                  <c:v>0.99528276760092049</c:v>
                </c:pt>
                <c:pt idx="814">
                  <c:v>0.99531532232100561</c:v>
                </c:pt>
                <c:pt idx="815">
                  <c:v>0.99534756565770077</c:v>
                </c:pt>
                <c:pt idx="816">
                  <c:v>0.99537887484422582</c:v>
                </c:pt>
                <c:pt idx="817">
                  <c:v>0.9954101785195405</c:v>
                </c:pt>
                <c:pt idx="818">
                  <c:v>0.99544108538770326</c:v>
                </c:pt>
                <c:pt idx="819">
                  <c:v>0.99547161749355595</c:v>
                </c:pt>
                <c:pt idx="820">
                  <c:v>0.99550212204335642</c:v>
                </c:pt>
                <c:pt idx="821">
                  <c:v>0.99553250534652715</c:v>
                </c:pt>
                <c:pt idx="822">
                  <c:v>0.99556260206675484</c:v>
                </c:pt>
                <c:pt idx="823">
                  <c:v>0.99559261887443107</c:v>
                </c:pt>
                <c:pt idx="824">
                  <c:v>0.99562244830095226</c:v>
                </c:pt>
                <c:pt idx="825">
                  <c:v>0.99565224190460555</c:v>
                </c:pt>
                <c:pt idx="826">
                  <c:v>0.99568197212933884</c:v>
                </c:pt>
                <c:pt idx="827">
                  <c:v>0.99571166653120424</c:v>
                </c:pt>
                <c:pt idx="828">
                  <c:v>0.99574120110796682</c:v>
                </c:pt>
                <c:pt idx="829">
                  <c:v>0.99577060341567869</c:v>
                </c:pt>
                <c:pt idx="830">
                  <c:v>0.99579996990052266</c:v>
                </c:pt>
                <c:pt idx="831">
                  <c:v>0.99582899469031927</c:v>
                </c:pt>
                <c:pt idx="832">
                  <c:v>0.99585746284786114</c:v>
                </c:pt>
                <c:pt idx="833">
                  <c:v>0.99588573260182711</c:v>
                </c:pt>
                <c:pt idx="834">
                  <c:v>0.99591379844100669</c:v>
                </c:pt>
                <c:pt idx="835">
                  <c:v>0.99594180090126616</c:v>
                </c:pt>
                <c:pt idx="836">
                  <c:v>0.99596978958349947</c:v>
                </c:pt>
                <c:pt idx="837">
                  <c:v>0.99599769284197093</c:v>
                </c:pt>
                <c:pt idx="838">
                  <c:v>0.99602551067668055</c:v>
                </c:pt>
                <c:pt idx="839">
                  <c:v>0.99605302263921058</c:v>
                </c:pt>
                <c:pt idx="840">
                  <c:v>0.99608003032598513</c:v>
                </c:pt>
                <c:pt idx="841">
                  <c:v>0.9961069332997613</c:v>
                </c:pt>
                <c:pt idx="842">
                  <c:v>0.99613326035204619</c:v>
                </c:pt>
                <c:pt idx="843">
                  <c:v>0.99615944962406999</c:v>
                </c:pt>
                <c:pt idx="844">
                  <c:v>0.99618554520551628</c:v>
                </c:pt>
                <c:pt idx="845">
                  <c:v>0.99621158843046331</c:v>
                </c:pt>
                <c:pt idx="846">
                  <c:v>0.99623751040878061</c:v>
                </c:pt>
                <c:pt idx="847">
                  <c:v>0.99626269664050382</c:v>
                </c:pt>
                <c:pt idx="848">
                  <c:v>0.99628780571528086</c:v>
                </c:pt>
                <c:pt idx="849">
                  <c:v>0.99631268056361411</c:v>
                </c:pt>
                <c:pt idx="850">
                  <c:v>0.99633750581105329</c:v>
                </c:pt>
                <c:pt idx="851">
                  <c:v>0.99636221807867842</c:v>
                </c:pt>
                <c:pt idx="852">
                  <c:v>0.99638645913781076</c:v>
                </c:pt>
                <c:pt idx="853">
                  <c:v>0.99641062855120732</c:v>
                </c:pt>
                <c:pt idx="854">
                  <c:v>0.99643462987268538</c:v>
                </c:pt>
                <c:pt idx="855">
                  <c:v>0.99645823714261672</c:v>
                </c:pt>
                <c:pt idx="856">
                  <c:v>0.99648180583407497</c:v>
                </c:pt>
                <c:pt idx="857">
                  <c:v>0.99650534696948101</c:v>
                </c:pt>
                <c:pt idx="858">
                  <c:v>0.99652868970131114</c:v>
                </c:pt>
                <c:pt idx="859">
                  <c:v>0.99655196905422117</c:v>
                </c:pt>
                <c:pt idx="860">
                  <c:v>0.99657520156184243</c:v>
                </c:pt>
                <c:pt idx="861">
                  <c:v>0.99659839549099061</c:v>
                </c:pt>
                <c:pt idx="862">
                  <c:v>0.99662146817350905</c:v>
                </c:pt>
                <c:pt idx="863">
                  <c:v>0.99664441409818727</c:v>
                </c:pt>
                <c:pt idx="864">
                  <c:v>0.9966670927291591</c:v>
                </c:pt>
                <c:pt idx="865">
                  <c:v>0.99668976860452563</c:v>
                </c:pt>
                <c:pt idx="866">
                  <c:v>0.99671241416823475</c:v>
                </c:pt>
                <c:pt idx="867">
                  <c:v>0.99673502942028647</c:v>
                </c:pt>
                <c:pt idx="868">
                  <c:v>0.9967575372037345</c:v>
                </c:pt>
                <c:pt idx="869">
                  <c:v>0.9967799540522102</c:v>
                </c:pt>
                <c:pt idx="870">
                  <c:v>0.99680217800832049</c:v>
                </c:pt>
                <c:pt idx="871">
                  <c:v>0.99682434685232635</c:v>
                </c:pt>
                <c:pt idx="872">
                  <c:v>0.99684645782862258</c:v>
                </c:pt>
                <c:pt idx="873">
                  <c:v>0.99686839520178983</c:v>
                </c:pt>
                <c:pt idx="874">
                  <c:v>0.99689018928348561</c:v>
                </c:pt>
                <c:pt idx="875">
                  <c:v>0.99691155349076677</c:v>
                </c:pt>
                <c:pt idx="876">
                  <c:v>0.99693283227428608</c:v>
                </c:pt>
                <c:pt idx="877">
                  <c:v>0.99695387407575642</c:v>
                </c:pt>
                <c:pt idx="878">
                  <c:v>0.99697489107677972</c:v>
                </c:pt>
                <c:pt idx="879">
                  <c:v>0.99699564353970183</c:v>
                </c:pt>
                <c:pt idx="880">
                  <c:v>0.99701636569096641</c:v>
                </c:pt>
                <c:pt idx="881">
                  <c:v>0.99703705753057359</c:v>
                </c:pt>
                <c:pt idx="882">
                  <c:v>0.9970577383477599</c:v>
                </c:pt>
                <c:pt idx="883">
                  <c:v>0.99707817942729193</c:v>
                </c:pt>
                <c:pt idx="884">
                  <c:v>0.99709848548216817</c:v>
                </c:pt>
                <c:pt idx="885">
                  <c:v>0.99711878602583393</c:v>
                </c:pt>
                <c:pt idx="886">
                  <c:v>0.99713884958745069</c:v>
                </c:pt>
                <c:pt idx="887">
                  <c:v>0.99715881394727945</c:v>
                </c:pt>
                <c:pt idx="888">
                  <c:v>0.99717870666137243</c:v>
                </c:pt>
                <c:pt idx="889">
                  <c:v>0.9971984312835469</c:v>
                </c:pt>
                <c:pt idx="890">
                  <c:v>0.99721810906043262</c:v>
                </c:pt>
                <c:pt idx="891">
                  <c:v>0.99723778132610785</c:v>
                </c:pt>
                <c:pt idx="892">
                  <c:v>0.99725741501331</c:v>
                </c:pt>
                <c:pt idx="893">
                  <c:v>0.99727692745388241</c:v>
                </c:pt>
                <c:pt idx="894">
                  <c:v>0.99729632967024595</c:v>
                </c:pt>
                <c:pt idx="895">
                  <c:v>0.99731565197405814</c:v>
                </c:pt>
                <c:pt idx="896">
                  <c:v>0.99733480894155702</c:v>
                </c:pt>
                <c:pt idx="897">
                  <c:v>0.99735384466242616</c:v>
                </c:pt>
                <c:pt idx="898">
                  <c:v>0.99737265993487756</c:v>
                </c:pt>
                <c:pt idx="899">
                  <c:v>0.99739145591809242</c:v>
                </c:pt>
                <c:pt idx="900">
                  <c:v>0.99741014718830889</c:v>
                </c:pt>
                <c:pt idx="901">
                  <c:v>0.99742852156392492</c:v>
                </c:pt>
                <c:pt idx="902">
                  <c:v>0.99744683256062083</c:v>
                </c:pt>
                <c:pt idx="903">
                  <c:v>0.99746511049005415</c:v>
                </c:pt>
                <c:pt idx="904">
                  <c:v>0.99748332779617255</c:v>
                </c:pt>
                <c:pt idx="905">
                  <c:v>0.9975014927457917</c:v>
                </c:pt>
                <c:pt idx="906">
                  <c:v>0.9975196384061743</c:v>
                </c:pt>
                <c:pt idx="907">
                  <c:v>0.99753776202171518</c:v>
                </c:pt>
                <c:pt idx="908">
                  <c:v>0.9975558691036247</c:v>
                </c:pt>
                <c:pt idx="909">
                  <c:v>0.99757384942769411</c:v>
                </c:pt>
                <c:pt idx="910">
                  <c:v>0.99759174708360687</c:v>
                </c:pt>
                <c:pt idx="911">
                  <c:v>0.99760958411620471</c:v>
                </c:pt>
                <c:pt idx="912">
                  <c:v>0.99762732745822502</c:v>
                </c:pt>
                <c:pt idx="913">
                  <c:v>0.99764506804464015</c:v>
                </c:pt>
                <c:pt idx="914">
                  <c:v>0.99766271769608295</c:v>
                </c:pt>
                <c:pt idx="915">
                  <c:v>0.99768026814573774</c:v>
                </c:pt>
                <c:pt idx="916">
                  <c:v>0.99769779930615599</c:v>
                </c:pt>
                <c:pt idx="917">
                  <c:v>0.99771528913249596</c:v>
                </c:pt>
                <c:pt idx="918">
                  <c:v>0.99773266873462707</c:v>
                </c:pt>
                <c:pt idx="919">
                  <c:v>0.99774974246457859</c:v>
                </c:pt>
                <c:pt idx="920">
                  <c:v>0.99776680517210925</c:v>
                </c:pt>
                <c:pt idx="921">
                  <c:v>0.99778382378995634</c:v>
                </c:pt>
                <c:pt idx="922">
                  <c:v>0.99780077076206775</c:v>
                </c:pt>
                <c:pt idx="923">
                  <c:v>0.99781748901894574</c:v>
                </c:pt>
                <c:pt idx="924">
                  <c:v>0.9978340832735888</c:v>
                </c:pt>
                <c:pt idx="925">
                  <c:v>0.99785064170536397</c:v>
                </c:pt>
                <c:pt idx="926">
                  <c:v>0.99786681710801339</c:v>
                </c:pt>
                <c:pt idx="927">
                  <c:v>0.99788286575282259</c:v>
                </c:pt>
                <c:pt idx="928">
                  <c:v>0.99789889235279006</c:v>
                </c:pt>
                <c:pt idx="929">
                  <c:v>0.99791462685860399</c:v>
                </c:pt>
                <c:pt idx="930">
                  <c:v>0.9979302731850509</c:v>
                </c:pt>
                <c:pt idx="931">
                  <c:v>0.99794582857652547</c:v>
                </c:pt>
                <c:pt idx="932">
                  <c:v>0.99796125996576512</c:v>
                </c:pt>
                <c:pt idx="933">
                  <c:v>0.9979766830881891</c:v>
                </c:pt>
                <c:pt idx="934">
                  <c:v>0.99800646842502672</c:v>
                </c:pt>
                <c:pt idx="935">
                  <c:v>0.99802110619996254</c:v>
                </c:pt>
                <c:pt idx="936">
                  <c:v>0.9980356998852149</c:v>
                </c:pt>
                <c:pt idx="937">
                  <c:v>0.99805001800994508</c:v>
                </c:pt>
                <c:pt idx="938">
                  <c:v>0.99806433062346478</c:v>
                </c:pt>
                <c:pt idx="939">
                  <c:v>0.99807828225270057</c:v>
                </c:pt>
                <c:pt idx="940">
                  <c:v>0.99809223388193635</c:v>
                </c:pt>
                <c:pt idx="941">
                  <c:v>0.99810613591027808</c:v>
                </c:pt>
                <c:pt idx="942">
                  <c:v>0.99812000487135721</c:v>
                </c:pt>
                <c:pt idx="943">
                  <c:v>0.99813385178759451</c:v>
                </c:pt>
                <c:pt idx="944">
                  <c:v>0.99814768217020056</c:v>
                </c:pt>
                <c:pt idx="945">
                  <c:v>0.99816134170528281</c:v>
                </c:pt>
                <c:pt idx="946">
                  <c:v>0.99817494061705025</c:v>
                </c:pt>
                <c:pt idx="947">
                  <c:v>0.99818853126200202</c:v>
                </c:pt>
                <c:pt idx="948">
                  <c:v>0.99820198963790319</c:v>
                </c:pt>
                <c:pt idx="949">
                  <c:v>0.99821542872456781</c:v>
                </c:pt>
                <c:pt idx="950">
                  <c:v>0.99822873003097135</c:v>
                </c:pt>
                <c:pt idx="951">
                  <c:v>0.99824202858176958</c:v>
                </c:pt>
                <c:pt idx="952">
                  <c:v>0.99825532162135744</c:v>
                </c:pt>
                <c:pt idx="953">
                  <c:v>0.99826842452418496</c:v>
                </c:pt>
                <c:pt idx="954">
                  <c:v>0.99828144751446113</c:v>
                </c:pt>
                <c:pt idx="955">
                  <c:v>0.99829439334779102</c:v>
                </c:pt>
                <c:pt idx="956">
                  <c:v>0.99830731162506881</c:v>
                </c:pt>
                <c:pt idx="957">
                  <c:v>0.99832003149877058</c:v>
                </c:pt>
                <c:pt idx="958">
                  <c:v>0.99833271279399927</c:v>
                </c:pt>
                <c:pt idx="959">
                  <c:v>0.99834530315425563</c:v>
                </c:pt>
                <c:pt idx="960">
                  <c:v>0.99835783840240755</c:v>
                </c:pt>
                <c:pt idx="961">
                  <c:v>0.99837028547119244</c:v>
                </c:pt>
                <c:pt idx="962">
                  <c:v>0.99838271876195117</c:v>
                </c:pt>
                <c:pt idx="963">
                  <c:v>0.99839513551907866</c:v>
                </c:pt>
                <c:pt idx="964">
                  <c:v>0.99840748063047036</c:v>
                </c:pt>
                <c:pt idx="965">
                  <c:v>0.99841972929567935</c:v>
                </c:pt>
                <c:pt idx="966">
                  <c:v>0.99843186498107417</c:v>
                </c:pt>
                <c:pt idx="967">
                  <c:v>0.99844398964404812</c:v>
                </c:pt>
                <c:pt idx="968">
                  <c:v>0.998456075728549</c:v>
                </c:pt>
                <c:pt idx="969">
                  <c:v>0.99846815905744468</c:v>
                </c:pt>
                <c:pt idx="970">
                  <c:v>0.99848017900742025</c:v>
                </c:pt>
                <c:pt idx="971">
                  <c:v>0.99849218242376447</c:v>
                </c:pt>
                <c:pt idx="972">
                  <c:v>0.99850413899481993</c:v>
                </c:pt>
                <c:pt idx="973">
                  <c:v>0.99851589991790468</c:v>
                </c:pt>
                <c:pt idx="974">
                  <c:v>0.99852754786117537</c:v>
                </c:pt>
                <c:pt idx="975">
                  <c:v>0.99853895331118658</c:v>
                </c:pt>
                <c:pt idx="976">
                  <c:v>0.99855031742711942</c:v>
                </c:pt>
                <c:pt idx="977">
                  <c:v>0.99856140873813537</c:v>
                </c:pt>
                <c:pt idx="978">
                  <c:v>0.99857246698188873</c:v>
                </c:pt>
                <c:pt idx="979">
                  <c:v>0.99858337917856532</c:v>
                </c:pt>
                <c:pt idx="980">
                  <c:v>0.99859415083937564</c:v>
                </c:pt>
                <c:pt idx="981">
                  <c:v>0.99860473511903092</c:v>
                </c:pt>
                <c:pt idx="982">
                  <c:v>0.99861518161842511</c:v>
                </c:pt>
                <c:pt idx="983">
                  <c:v>0.99862560056176708</c:v>
                </c:pt>
                <c:pt idx="984">
                  <c:v>0.99863596439300462</c:v>
                </c:pt>
                <c:pt idx="985">
                  <c:v>0.99864624831169069</c:v>
                </c:pt>
                <c:pt idx="986">
                  <c:v>0.99865651294114022</c:v>
                </c:pt>
                <c:pt idx="987">
                  <c:v>0.99866668112440704</c:v>
                </c:pt>
                <c:pt idx="988">
                  <c:v>0.99867677490633289</c:v>
                </c:pt>
                <c:pt idx="989">
                  <c:v>0.99868680806494381</c:v>
                </c:pt>
                <c:pt idx="990">
                  <c:v>0.99869676957781905</c:v>
                </c:pt>
                <c:pt idx="991">
                  <c:v>0.99870672557948381</c:v>
                </c:pt>
                <c:pt idx="992">
                  <c:v>0.99871658513496586</c:v>
                </c:pt>
                <c:pt idx="993">
                  <c:v>0.99873610859795925</c:v>
                </c:pt>
                <c:pt idx="994">
                  <c:v>0.9987457669942601</c:v>
                </c:pt>
                <c:pt idx="995">
                  <c:v>0.99875537854527219</c:v>
                </c:pt>
                <c:pt idx="996">
                  <c:v>0.99876485231602319</c:v>
                </c:pt>
                <c:pt idx="997">
                  <c:v>0.99877430955314295</c:v>
                </c:pt>
                <c:pt idx="998">
                  <c:v>0.99878372270057914</c:v>
                </c:pt>
                <c:pt idx="999">
                  <c:v>0.99879313309241002</c:v>
                </c:pt>
                <c:pt idx="1000">
                  <c:v>0.99880247734971561</c:v>
                </c:pt>
                <c:pt idx="1001">
                  <c:v>0.99881178027294293</c:v>
                </c:pt>
                <c:pt idx="1002">
                  <c:v>0.99882103635088149</c:v>
                </c:pt>
                <c:pt idx="1003">
                  <c:v>0.99883013535932241</c:v>
                </c:pt>
                <c:pt idx="1004">
                  <c:v>0.99883920956731631</c:v>
                </c:pt>
                <c:pt idx="1005">
                  <c:v>0.9988481570174701</c:v>
                </c:pt>
                <c:pt idx="1006">
                  <c:v>0.99885707966717685</c:v>
                </c:pt>
                <c:pt idx="1007">
                  <c:v>0.99886589209267473</c:v>
                </c:pt>
                <c:pt idx="1008">
                  <c:v>0.99887468522893608</c:v>
                </c:pt>
                <c:pt idx="1009">
                  <c:v>0.99888346734277655</c:v>
                </c:pt>
                <c:pt idx="1010">
                  <c:v>0.99889207034227767</c:v>
                </c:pt>
                <c:pt idx="1011">
                  <c:v>0.9989005355615177</c:v>
                </c:pt>
                <c:pt idx="1012">
                  <c:v>0.99890898700273156</c:v>
                </c:pt>
                <c:pt idx="1013">
                  <c:v>0.99891739986547234</c:v>
                </c:pt>
                <c:pt idx="1014">
                  <c:v>0.99892576037171399</c:v>
                </c:pt>
                <c:pt idx="1015">
                  <c:v>0.99893411536674515</c:v>
                </c:pt>
                <c:pt idx="1016">
                  <c:v>0.99894245107253976</c:v>
                </c:pt>
                <c:pt idx="1017">
                  <c:v>0.99895076748909784</c:v>
                </c:pt>
                <c:pt idx="1018">
                  <c:v>0.99895900123749926</c:v>
                </c:pt>
                <c:pt idx="1019">
                  <c:v>0.99896723223029549</c:v>
                </c:pt>
                <c:pt idx="1020">
                  <c:v>0.99897538331054025</c:v>
                </c:pt>
                <c:pt idx="1021">
                  <c:v>0.99898345723383886</c:v>
                </c:pt>
                <c:pt idx="1022">
                  <c:v>0.99899122252935268</c:v>
                </c:pt>
                <c:pt idx="1023">
                  <c:v>0.99899891066792024</c:v>
                </c:pt>
                <c:pt idx="1024">
                  <c:v>0.99900657400604087</c:v>
                </c:pt>
                <c:pt idx="1025">
                  <c:v>0.99901419601008312</c:v>
                </c:pt>
                <c:pt idx="1026">
                  <c:v>0.99902166094462774</c:v>
                </c:pt>
                <c:pt idx="1027">
                  <c:v>0.99902909556751496</c:v>
                </c:pt>
                <c:pt idx="1028">
                  <c:v>0.99903653019040217</c:v>
                </c:pt>
                <c:pt idx="1029">
                  <c:v>0.99905114316489096</c:v>
                </c:pt>
                <c:pt idx="1030">
                  <c:v>0.99905842347388585</c:v>
                </c:pt>
                <c:pt idx="1031">
                  <c:v>0.99906557151383002</c:v>
                </c:pt>
                <c:pt idx="1032">
                  <c:v>0.9990726864865116</c:v>
                </c:pt>
                <c:pt idx="1033">
                  <c:v>0.99907976563632528</c:v>
                </c:pt>
                <c:pt idx="1034">
                  <c:v>0.9990867979408502</c:v>
                </c:pt>
                <c:pt idx="1035">
                  <c:v>0.99909383024537513</c:v>
                </c:pt>
                <c:pt idx="1036">
                  <c:v>0.99910085979429486</c:v>
                </c:pt>
                <c:pt idx="1037">
                  <c:v>0.99910783974232054</c:v>
                </c:pt>
                <c:pt idx="1038">
                  <c:v>0.99911479213429399</c:v>
                </c:pt>
                <c:pt idx="1039">
                  <c:v>0.99912844340256057</c:v>
                </c:pt>
                <c:pt idx="1040">
                  <c:v>0.99913516707930072</c:v>
                </c:pt>
                <c:pt idx="1041">
                  <c:v>0.99914184391075211</c:v>
                </c:pt>
                <c:pt idx="1042">
                  <c:v>0.99914851523099302</c:v>
                </c:pt>
                <c:pt idx="1043">
                  <c:v>0.99915516450639219</c:v>
                </c:pt>
                <c:pt idx="1044">
                  <c:v>0.99916173111363471</c:v>
                </c:pt>
                <c:pt idx="1045">
                  <c:v>0.99916823985316761</c:v>
                </c:pt>
                <c:pt idx="1046">
                  <c:v>0.99917473205906915</c:v>
                </c:pt>
                <c:pt idx="1047">
                  <c:v>0.99918119395331328</c:v>
                </c:pt>
                <c:pt idx="1048">
                  <c:v>0.99918762002468953</c:v>
                </c:pt>
                <c:pt idx="1049">
                  <c:v>0.99919403782925009</c:v>
                </c:pt>
                <c:pt idx="1050">
                  <c:v>0.99920045012260017</c:v>
                </c:pt>
                <c:pt idx="1051">
                  <c:v>0.99921954095557375</c:v>
                </c:pt>
                <c:pt idx="1052">
                  <c:v>0.9992257989350315</c:v>
                </c:pt>
                <c:pt idx="1053">
                  <c:v>0.99923201558041086</c:v>
                </c:pt>
                <c:pt idx="1054">
                  <c:v>0.99923819640292233</c:v>
                </c:pt>
                <c:pt idx="1055">
                  <c:v>0.99924437171422342</c:v>
                </c:pt>
                <c:pt idx="1056">
                  <c:v>0.99925051120265662</c:v>
                </c:pt>
                <c:pt idx="1057">
                  <c:v>0.99925661762382711</c:v>
                </c:pt>
                <c:pt idx="1058">
                  <c:v>0.99926868166348626</c:v>
                </c:pt>
                <c:pt idx="1059">
                  <c:v>0.99927467786044799</c:v>
                </c:pt>
                <c:pt idx="1060">
                  <c:v>0.99928065201256788</c:v>
                </c:pt>
                <c:pt idx="1061">
                  <c:v>0.99928657656379383</c:v>
                </c:pt>
                <c:pt idx="1062">
                  <c:v>0.99929245978094139</c:v>
                </c:pt>
                <c:pt idx="1063">
                  <c:v>0.99929831544203673</c:v>
                </c:pt>
                <c:pt idx="1064">
                  <c:v>0.99930400025560839</c:v>
                </c:pt>
                <c:pt idx="1065">
                  <c:v>0.99930965200191735</c:v>
                </c:pt>
                <c:pt idx="1066">
                  <c:v>0.99931529823701593</c:v>
                </c:pt>
                <c:pt idx="1067">
                  <c:v>0.99932093069408834</c:v>
                </c:pt>
                <c:pt idx="1068">
                  <c:v>0.99932653008389816</c:v>
                </c:pt>
                <c:pt idx="1069">
                  <c:v>0.99933210467326095</c:v>
                </c:pt>
                <c:pt idx="1070">
                  <c:v>0.99933763517294016</c:v>
                </c:pt>
                <c:pt idx="1071">
                  <c:v>0.9993431270941463</c:v>
                </c:pt>
                <c:pt idx="1072">
                  <c:v>0.99934860523732638</c:v>
                </c:pt>
                <c:pt idx="1073">
                  <c:v>0.99935407786929598</c:v>
                </c:pt>
                <c:pt idx="1074">
                  <c:v>0.99936495975431516</c:v>
                </c:pt>
                <c:pt idx="1075">
                  <c:v>0.9993703497181281</c:v>
                </c:pt>
                <c:pt idx="1076">
                  <c:v>0.99937561016849563</c:v>
                </c:pt>
                <c:pt idx="1077">
                  <c:v>0.99938076866146996</c:v>
                </c:pt>
                <c:pt idx="1078">
                  <c:v>0.99938588582036603</c:v>
                </c:pt>
                <c:pt idx="1079">
                  <c:v>0.99939599613592323</c:v>
                </c:pt>
                <c:pt idx="1080">
                  <c:v>0.99940102787105745</c:v>
                </c:pt>
                <c:pt idx="1081">
                  <c:v>0.99940603756134982</c:v>
                </c:pt>
                <c:pt idx="1082">
                  <c:v>0.99941086538169766</c:v>
                </c:pt>
                <c:pt idx="1083">
                  <c:v>0.99941568217962462</c:v>
                </c:pt>
                <c:pt idx="1084">
                  <c:v>0.99942049622194629</c:v>
                </c:pt>
                <c:pt idx="1085">
                  <c:v>0.99942529924184709</c:v>
                </c:pt>
                <c:pt idx="1086">
                  <c:v>0.99943009675053751</c:v>
                </c:pt>
                <c:pt idx="1087">
                  <c:v>0.99943489150362264</c:v>
                </c:pt>
                <c:pt idx="1088">
                  <c:v>0.99943966696747122</c:v>
                </c:pt>
                <c:pt idx="1089">
                  <c:v>0.9994444121196624</c:v>
                </c:pt>
                <c:pt idx="1090">
                  <c:v>0.9994491159377753</c:v>
                </c:pt>
                <c:pt idx="1091">
                  <c:v>0.99945849601794878</c:v>
                </c:pt>
                <c:pt idx="1092">
                  <c:v>0.99946780996359696</c:v>
                </c:pt>
                <c:pt idx="1093">
                  <c:v>0.99947244489157927</c:v>
                </c:pt>
                <c:pt idx="1094">
                  <c:v>0.99947706328593022</c:v>
                </c:pt>
                <c:pt idx="1095">
                  <c:v>0.99948164861301858</c:v>
                </c:pt>
                <c:pt idx="1096">
                  <c:v>0.99948621740647559</c:v>
                </c:pt>
                <c:pt idx="1097">
                  <c:v>0.99949077793311691</c:v>
                </c:pt>
                <c:pt idx="1098">
                  <c:v>0.99949530263689035</c:v>
                </c:pt>
                <c:pt idx="1099">
                  <c:v>0.99949978049537502</c:v>
                </c:pt>
                <c:pt idx="1100">
                  <c:v>0.99950423355341278</c:v>
                </c:pt>
                <c:pt idx="1101">
                  <c:v>0.99950867007781918</c:v>
                </c:pt>
                <c:pt idx="1102">
                  <c:v>0.99951304597891066</c:v>
                </c:pt>
                <c:pt idx="1103">
                  <c:v>0.99951738881273955</c:v>
                </c:pt>
                <c:pt idx="1104">
                  <c:v>0.99952169306809535</c:v>
                </c:pt>
                <c:pt idx="1105">
                  <c:v>0.99952597803421461</c:v>
                </c:pt>
                <c:pt idx="1106">
                  <c:v>0.99953439916377107</c:v>
                </c:pt>
                <c:pt idx="1107">
                  <c:v>0.99953859043931281</c:v>
                </c:pt>
                <c:pt idx="1108">
                  <c:v>0.9995426301565673</c:v>
                </c:pt>
                <c:pt idx="1109">
                  <c:v>0.99954664231776957</c:v>
                </c:pt>
                <c:pt idx="1110">
                  <c:v>0.99955062967852493</c:v>
                </c:pt>
                <c:pt idx="1111">
                  <c:v>0.99955461152806979</c:v>
                </c:pt>
                <c:pt idx="1112">
                  <c:v>0.99956240713524103</c:v>
                </c:pt>
                <c:pt idx="1113">
                  <c:v>0.99956626222694567</c:v>
                </c:pt>
                <c:pt idx="1114">
                  <c:v>0.99957004842851982</c:v>
                </c:pt>
                <c:pt idx="1115">
                  <c:v>0.99957382360767311</c:v>
                </c:pt>
                <c:pt idx="1116">
                  <c:v>0.99957757674198455</c:v>
                </c:pt>
                <c:pt idx="1117">
                  <c:v>0.99958124996374464</c:v>
                </c:pt>
                <c:pt idx="1118">
                  <c:v>0.99958853578395002</c:v>
                </c:pt>
                <c:pt idx="1119">
                  <c:v>0.99959214562679</c:v>
                </c:pt>
                <c:pt idx="1120">
                  <c:v>0.99959572791357776</c:v>
                </c:pt>
                <c:pt idx="1121">
                  <c:v>0.99959930744476033</c:v>
                </c:pt>
                <c:pt idx="1122">
                  <c:v>0.99960981181186415</c:v>
                </c:pt>
                <c:pt idx="1123">
                  <c:v>0.99961327836323266</c:v>
                </c:pt>
                <c:pt idx="1124">
                  <c:v>0.99961672838096982</c:v>
                </c:pt>
                <c:pt idx="1125">
                  <c:v>0.99962014257583909</c:v>
                </c:pt>
                <c:pt idx="1126">
                  <c:v>0.99962691860907849</c:v>
                </c:pt>
                <c:pt idx="1127">
                  <c:v>0.99963027769184332</c:v>
                </c:pt>
                <c:pt idx="1128">
                  <c:v>0.99963362024097679</c:v>
                </c:pt>
                <c:pt idx="1129">
                  <c:v>0.99963694625647892</c:v>
                </c:pt>
                <c:pt idx="1130">
                  <c:v>0.99964019511503488</c:v>
                </c:pt>
                <c:pt idx="1131">
                  <c:v>0.99964343570677516</c:v>
                </c:pt>
                <c:pt idx="1132">
                  <c:v>0.99964667629851545</c:v>
                </c:pt>
                <c:pt idx="1133">
                  <c:v>0.99964991413465054</c:v>
                </c:pt>
                <c:pt idx="1134">
                  <c:v>0.99965942097266425</c:v>
                </c:pt>
                <c:pt idx="1135">
                  <c:v>0.99966254582898528</c:v>
                </c:pt>
                <c:pt idx="1136">
                  <c:v>0.99966565415167497</c:v>
                </c:pt>
                <c:pt idx="1137">
                  <c:v>0.99966876247436465</c:v>
                </c:pt>
                <c:pt idx="1138">
                  <c:v>0.99967186253023865</c:v>
                </c:pt>
                <c:pt idx="1139">
                  <c:v>0.99967493227445525</c:v>
                </c:pt>
                <c:pt idx="1140">
                  <c:v>0.99967799099625099</c:v>
                </c:pt>
                <c:pt idx="1141">
                  <c:v>0.99968104971804672</c:v>
                </c:pt>
                <c:pt idx="1142">
                  <c:v>0.99968408915060591</c:v>
                </c:pt>
                <c:pt idx="1143">
                  <c:v>0.99968710102711289</c:v>
                </c:pt>
                <c:pt idx="1144">
                  <c:v>0.99969011014801457</c:v>
                </c:pt>
                <c:pt idx="1145">
                  <c:v>0.99969310824649538</c:v>
                </c:pt>
                <c:pt idx="1146">
                  <c:v>0.99969610083376581</c:v>
                </c:pt>
                <c:pt idx="1147">
                  <c:v>0.99970498214939429</c:v>
                </c:pt>
                <c:pt idx="1148">
                  <c:v>0.99970790309092894</c:v>
                </c:pt>
                <c:pt idx="1149">
                  <c:v>0.99971081025443742</c:v>
                </c:pt>
                <c:pt idx="1150">
                  <c:v>0.99971370915113034</c:v>
                </c:pt>
                <c:pt idx="1151">
                  <c:v>0.99971660804782325</c:v>
                </c:pt>
                <c:pt idx="1152">
                  <c:v>0.99972516144643031</c:v>
                </c:pt>
                <c:pt idx="1153">
                  <c:v>0.99972796389694041</c:v>
                </c:pt>
                <c:pt idx="1154">
                  <c:v>0.99973074705821396</c:v>
                </c:pt>
                <c:pt idx="1155">
                  <c:v>0.99973353021948752</c:v>
                </c:pt>
                <c:pt idx="1156">
                  <c:v>0.99973627480228799</c:v>
                </c:pt>
                <c:pt idx="1157">
                  <c:v>0.99973898356222057</c:v>
                </c:pt>
                <c:pt idx="1158">
                  <c:v>0.99974434596998141</c:v>
                </c:pt>
                <c:pt idx="1159">
                  <c:v>0.99974700512902004</c:v>
                </c:pt>
                <c:pt idx="1160">
                  <c:v>0.99974964224321683</c:v>
                </c:pt>
                <c:pt idx="1161">
                  <c:v>0.99975227935741362</c:v>
                </c:pt>
                <c:pt idx="1162">
                  <c:v>0.99975751225172893</c:v>
                </c:pt>
                <c:pt idx="1163">
                  <c:v>0.99976011905426831</c:v>
                </c:pt>
                <c:pt idx="1164">
                  <c:v>0.99976272310120251</c:v>
                </c:pt>
                <c:pt idx="1165">
                  <c:v>0.99976532439253152</c:v>
                </c:pt>
                <c:pt idx="1166">
                  <c:v>0.99976792292825523</c:v>
                </c:pt>
                <c:pt idx="1167">
                  <c:v>0.9997704663518745</c:v>
                </c:pt>
                <c:pt idx="1168">
                  <c:v>0.99977299324186253</c:v>
                </c:pt>
                <c:pt idx="1169">
                  <c:v>0.99977546777535131</c:v>
                </c:pt>
                <c:pt idx="1170">
                  <c:v>0.99977789821915652</c:v>
                </c:pt>
                <c:pt idx="1171">
                  <c:v>0.99978032315175136</c:v>
                </c:pt>
                <c:pt idx="1172">
                  <c:v>0.99978273155071484</c:v>
                </c:pt>
                <c:pt idx="1173">
                  <c:v>0.99978754283743143</c:v>
                </c:pt>
                <c:pt idx="1174">
                  <c:v>0.99978994848078973</c:v>
                </c:pt>
                <c:pt idx="1175">
                  <c:v>0.99979230727885926</c:v>
                </c:pt>
                <c:pt idx="1176">
                  <c:v>0.9997946660769288</c:v>
                </c:pt>
                <c:pt idx="1177">
                  <c:v>0.99979700558576168</c:v>
                </c:pt>
                <c:pt idx="1178">
                  <c:v>0.99979932856096332</c:v>
                </c:pt>
                <c:pt idx="1179">
                  <c:v>0.99980163224692842</c:v>
                </c:pt>
                <c:pt idx="1180">
                  <c:v>0.99980391113244649</c:v>
                </c:pt>
                <c:pt idx="1181">
                  <c:v>0.99980616521751753</c:v>
                </c:pt>
                <c:pt idx="1182">
                  <c:v>0.99980840276895733</c:v>
                </c:pt>
                <c:pt idx="1183">
                  <c:v>0.99981063480918664</c:v>
                </c:pt>
                <c:pt idx="1184">
                  <c:v>0.99981284204896892</c:v>
                </c:pt>
                <c:pt idx="1185">
                  <c:v>0.99981504653314601</c:v>
                </c:pt>
                <c:pt idx="1186">
                  <c:v>0.9998172179500604</c:v>
                </c:pt>
                <c:pt idx="1187">
                  <c:v>0.99981936456652787</c:v>
                </c:pt>
                <c:pt idx="1188">
                  <c:v>0.99982148087133782</c:v>
                </c:pt>
                <c:pt idx="1189">
                  <c:v>0.99982358339812172</c:v>
                </c:pt>
                <c:pt idx="1190">
                  <c:v>0.99982568316930043</c:v>
                </c:pt>
                <c:pt idx="1191">
                  <c:v>0.9998277608956373</c:v>
                </c:pt>
                <c:pt idx="1192">
                  <c:v>0.99982981382152725</c:v>
                </c:pt>
                <c:pt idx="1193">
                  <c:v>0.99983185021378584</c:v>
                </c:pt>
                <c:pt idx="1194">
                  <c:v>0.99983387007241309</c:v>
                </c:pt>
                <c:pt idx="1195">
                  <c:v>0.99983587064180379</c:v>
                </c:pt>
                <c:pt idx="1196">
                  <c:v>0.99983786845558931</c:v>
                </c:pt>
                <c:pt idx="1197">
                  <c:v>0.99983984698013828</c:v>
                </c:pt>
                <c:pt idx="1198">
                  <c:v>0.99984182274908195</c:v>
                </c:pt>
                <c:pt idx="1199">
                  <c:v>0.99984379300681525</c:v>
                </c:pt>
                <c:pt idx="1200">
                  <c:v>0.99984576050894325</c:v>
                </c:pt>
                <c:pt idx="1201">
                  <c:v>0.99984965969033146</c:v>
                </c:pt>
                <c:pt idx="1202">
                  <c:v>0.9998515803471707</c:v>
                </c:pt>
                <c:pt idx="1203">
                  <c:v>0.9998534817147734</c:v>
                </c:pt>
                <c:pt idx="1204">
                  <c:v>0.99985538308237609</c:v>
                </c:pt>
                <c:pt idx="1205">
                  <c:v>0.99985918030637111</c:v>
                </c:pt>
                <c:pt idx="1206">
                  <c:v>0.99986105411792159</c:v>
                </c:pt>
                <c:pt idx="1207">
                  <c:v>0.99986290037341985</c:v>
                </c:pt>
                <c:pt idx="1208">
                  <c:v>0.99986473836210255</c:v>
                </c:pt>
                <c:pt idx="1209">
                  <c:v>0.9998683922946261</c:v>
                </c:pt>
                <c:pt idx="1210">
                  <c:v>0.99987020548286176</c:v>
                </c:pt>
                <c:pt idx="1211">
                  <c:v>0.99987200213746608</c:v>
                </c:pt>
                <c:pt idx="1212">
                  <c:v>0.99987376848041298</c:v>
                </c:pt>
                <c:pt idx="1213">
                  <c:v>0.9998755293121494</c:v>
                </c:pt>
                <c:pt idx="1214">
                  <c:v>0.99987904270880668</c:v>
                </c:pt>
                <c:pt idx="1215">
                  <c:v>0.99988074016162298</c:v>
                </c:pt>
                <c:pt idx="1216">
                  <c:v>0.99988241005838707</c:v>
                </c:pt>
                <c:pt idx="1217">
                  <c:v>0.99988566718375871</c:v>
                </c:pt>
                <c:pt idx="1218">
                  <c:v>0.9998919747641104</c:v>
                </c:pt>
                <c:pt idx="1219">
                  <c:v>0.99989352616985006</c:v>
                </c:pt>
                <c:pt idx="1220">
                  <c:v>0.99989808669649138</c:v>
                </c:pt>
                <c:pt idx="1221">
                  <c:v>0.99989956645649525</c:v>
                </c:pt>
                <c:pt idx="1222">
                  <c:v>0.99990104070528862</c:v>
                </c:pt>
                <c:pt idx="1223">
                  <c:v>0.99990536149427567</c:v>
                </c:pt>
                <c:pt idx="1224">
                  <c:v>0.99990810056586577</c:v>
                </c:pt>
                <c:pt idx="1225">
                  <c:v>0.99990943703439816</c:v>
                </c:pt>
                <c:pt idx="1226">
                  <c:v>0.99991076248050959</c:v>
                </c:pt>
                <c:pt idx="1227">
                  <c:v>0.99991206312617409</c:v>
                </c:pt>
                <c:pt idx="1228">
                  <c:v>0.99991335274941773</c:v>
                </c:pt>
                <c:pt idx="1229">
                  <c:v>0.99991463961705607</c:v>
                </c:pt>
                <c:pt idx="1230">
                  <c:v>0.999915896173037</c:v>
                </c:pt>
                <c:pt idx="1231">
                  <c:v>0.99991838999576232</c:v>
                </c:pt>
                <c:pt idx="1232">
                  <c:v>0.99991963552932239</c:v>
                </c:pt>
                <c:pt idx="1233">
                  <c:v>0.9999208700404616</c:v>
                </c:pt>
                <c:pt idx="1234">
                  <c:v>0.9999221045516008</c:v>
                </c:pt>
                <c:pt idx="1235">
                  <c:v>0.99992452672859045</c:v>
                </c:pt>
                <c:pt idx="1236">
                  <c:v>0.99992693788315912</c:v>
                </c:pt>
                <c:pt idx="1237">
                  <c:v>0.9999281420826408</c:v>
                </c:pt>
                <c:pt idx="1238">
                  <c:v>0.99992934077091211</c:v>
                </c:pt>
                <c:pt idx="1239">
                  <c:v>0.99993053945918342</c:v>
                </c:pt>
                <c:pt idx="1240">
                  <c:v>0.99993171610261289</c:v>
                </c:pt>
                <c:pt idx="1241">
                  <c:v>0.99993288723483198</c:v>
                </c:pt>
                <c:pt idx="1242">
                  <c:v>0.99993405561144588</c:v>
                </c:pt>
                <c:pt idx="1243">
                  <c:v>0.99993516887595535</c:v>
                </c:pt>
                <c:pt idx="1244">
                  <c:v>0.99993626836243865</c:v>
                </c:pt>
                <c:pt idx="1245">
                  <c:v>0.9999373540708959</c:v>
                </c:pt>
                <c:pt idx="1246">
                  <c:v>0.9999384232457218</c:v>
                </c:pt>
                <c:pt idx="1247">
                  <c:v>0.99994051750569002</c:v>
                </c:pt>
                <c:pt idx="1248">
                  <c:v>0.99994155361325321</c:v>
                </c:pt>
                <c:pt idx="1249">
                  <c:v>0.99994462060186451</c:v>
                </c:pt>
                <c:pt idx="1250">
                  <c:v>0.99994558781929721</c:v>
                </c:pt>
                <c:pt idx="1251">
                  <c:v>0.99994654125870375</c:v>
                </c:pt>
                <c:pt idx="1252">
                  <c:v>0.99994748643129472</c:v>
                </c:pt>
                <c:pt idx="1253">
                  <c:v>0.99994930513074087</c:v>
                </c:pt>
                <c:pt idx="1254">
                  <c:v>0.99995106596247729</c:v>
                </c:pt>
                <c:pt idx="1255">
                  <c:v>0.99995191744449075</c:v>
                </c:pt>
                <c:pt idx="1256">
                  <c:v>0.99995433962148028</c:v>
                </c:pt>
                <c:pt idx="1257">
                  <c:v>0.99995505883444302</c:v>
                </c:pt>
                <c:pt idx="1258">
                  <c:v>0.99995577529180057</c:v>
                </c:pt>
                <c:pt idx="1259">
                  <c:v>0.99995649174915813</c:v>
                </c:pt>
                <c:pt idx="1260">
                  <c:v>0.99995929419966822</c:v>
                </c:pt>
                <c:pt idx="1261">
                  <c:v>0.99995996656734221</c:v>
                </c:pt>
                <c:pt idx="1262">
                  <c:v>0.99996063893501619</c:v>
                </c:pt>
                <c:pt idx="1263">
                  <c:v>0.99996252928019813</c:v>
                </c:pt>
                <c:pt idx="1264">
                  <c:v>0.9999631410245573</c:v>
                </c:pt>
                <c:pt idx="1265">
                  <c:v>0.99996375276891647</c:v>
                </c:pt>
                <c:pt idx="1266">
                  <c:v>0.99996434797964429</c:v>
                </c:pt>
                <c:pt idx="1267">
                  <c:v>0.99996727718799461</c:v>
                </c:pt>
                <c:pt idx="1268">
                  <c:v>0.99996785310948588</c:v>
                </c:pt>
                <c:pt idx="1269">
                  <c:v>0.99996950371701343</c:v>
                </c:pt>
                <c:pt idx="1270">
                  <c:v>0.99997001901518978</c:v>
                </c:pt>
                <c:pt idx="1271">
                  <c:v>0.99997053431336613</c:v>
                </c:pt>
                <c:pt idx="1272">
                  <c:v>0.9999710468559373</c:v>
                </c:pt>
                <c:pt idx="1273">
                  <c:v>0.99997205540744827</c:v>
                </c:pt>
                <c:pt idx="1274">
                  <c:v>0.99997255417199338</c:v>
                </c:pt>
                <c:pt idx="1275">
                  <c:v>0.99997353792305732</c:v>
                </c:pt>
                <c:pt idx="1276">
                  <c:v>0.99997402566518145</c:v>
                </c:pt>
                <c:pt idx="1277">
                  <c:v>0.99997450789609521</c:v>
                </c:pt>
                <c:pt idx="1278">
                  <c:v>0.99997498461579848</c:v>
                </c:pt>
                <c:pt idx="1279">
                  <c:v>0.99997812600575076</c:v>
                </c:pt>
                <c:pt idx="1280">
                  <c:v>0.99997897473215891</c:v>
                </c:pt>
                <c:pt idx="1281">
                  <c:v>0.99997939633975774</c:v>
                </c:pt>
                <c:pt idx="1282">
                  <c:v>0.99998055644955597</c:v>
                </c:pt>
                <c:pt idx="1283">
                  <c:v>0.99998271133283911</c:v>
                </c:pt>
                <c:pt idx="1284">
                  <c:v>0.99998303098304475</c:v>
                </c:pt>
                <c:pt idx="1285">
                  <c:v>0.99998425447176298</c:v>
                </c:pt>
                <c:pt idx="1286">
                  <c:v>0.99998453554349553</c:v>
                </c:pt>
                <c:pt idx="1287">
                  <c:v>0.99998615032815519</c:v>
                </c:pt>
                <c:pt idx="1288">
                  <c:v>0.99998837410156882</c:v>
                </c:pt>
                <c:pt idx="1289">
                  <c:v>0.99998994479654502</c:v>
                </c:pt>
                <c:pt idx="1290">
                  <c:v>0.99999220163722136</c:v>
                </c:pt>
                <c:pt idx="1291">
                  <c:v>0.99999292911699977</c:v>
                </c:pt>
                <c:pt idx="1292">
                  <c:v>0.99999309996452346</c:v>
                </c:pt>
                <c:pt idx="1293">
                  <c:v>0.99999343890396564</c:v>
                </c:pt>
                <c:pt idx="1294">
                  <c:v>0.99999376957659225</c:v>
                </c:pt>
                <c:pt idx="1295">
                  <c:v>0.99999409473800827</c:v>
                </c:pt>
                <c:pt idx="1296">
                  <c:v>0.99999425731871627</c:v>
                </c:pt>
                <c:pt idx="1297">
                  <c:v>0.99999500408773134</c:v>
                </c:pt>
                <c:pt idx="1298">
                  <c:v>0.99999554143074965</c:v>
                </c:pt>
                <c:pt idx="1299">
                  <c:v>0.99999678145309923</c:v>
                </c:pt>
                <c:pt idx="1300">
                  <c:v>0.99999765222434922</c:v>
                </c:pt>
                <c:pt idx="1301">
                  <c:v>0.99999783960550426</c:v>
                </c:pt>
                <c:pt idx="1302">
                  <c:v>0.99999817027813087</c:v>
                </c:pt>
                <c:pt idx="1303">
                  <c:v>0.99999873242159598</c:v>
                </c:pt>
                <c:pt idx="1304">
                  <c:v>0.99999897215925038</c:v>
                </c:pt>
                <c:pt idx="1305">
                  <c:v>0.99999940478927019</c:v>
                </c:pt>
                <c:pt idx="1306">
                  <c:v>0.9999994984798477</c:v>
                </c:pt>
                <c:pt idx="1307">
                  <c:v>0.99999958114800436</c:v>
                </c:pt>
                <c:pt idx="1308">
                  <c:v>0.99999975750673864</c:v>
                </c:pt>
                <c:pt idx="1309">
                  <c:v>0.99999987875336838</c:v>
                </c:pt>
                <c:pt idx="1310">
                  <c:v>0.99999992835426244</c:v>
                </c:pt>
                <c:pt idx="1311">
                  <c:v>0.9999999696883407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24</c:f>
              <c:strCache>
                <c:ptCount val="1023"/>
                <c:pt idx="0">
                  <c:v>Caprice Des</c:v>
                </c:pt>
                <c:pt idx="1">
                  <c:v>President</c:v>
                </c:pt>
                <c:pt idx="2">
                  <c:v>Caprice Des</c:v>
                </c:pt>
                <c:pt idx="3">
                  <c:v>La Vache Qu</c:v>
                </c:pt>
                <c:pt idx="4">
                  <c:v>La Vache Qu</c:v>
                </c:pt>
                <c:pt idx="5">
                  <c:v>Kiri</c:v>
                </c:pt>
                <c:pt idx="6">
                  <c:v>Coeur De Li</c:v>
                </c:pt>
                <c:pt idx="7">
                  <c:v>Mini Babybe</c:v>
                </c:pt>
                <c:pt idx="8">
                  <c:v>Galbani</c:v>
                </c:pt>
                <c:pt idx="9">
                  <c:v>Soignon</c:v>
                </c:pt>
                <c:pt idx="10">
                  <c:v>Mini Babybe</c:v>
                </c:pt>
                <c:pt idx="11">
                  <c:v>Salakis</c:v>
                </c:pt>
                <c:pt idx="12">
                  <c:v>Coeur De Li</c:v>
                </c:pt>
                <c:pt idx="13">
                  <c:v>Soignon</c:v>
                </c:pt>
                <c:pt idx="14">
                  <c:v>Le Rustique</c:v>
                </c:pt>
                <c:pt idx="15">
                  <c:v>Islos</c:v>
                </c:pt>
                <c:pt idx="16">
                  <c:v>Salakis</c:v>
                </c:pt>
                <c:pt idx="17">
                  <c:v>Ficello</c:v>
                </c:pt>
                <c:pt idx="18">
                  <c:v>Tartare</c:v>
                </c:pt>
                <c:pt idx="19">
                  <c:v>Soignon</c:v>
                </c:pt>
                <c:pt idx="20">
                  <c:v>Mini Babybe</c:v>
                </c:pt>
                <c:pt idx="21">
                  <c:v>St Moret</c:v>
                </c:pt>
                <c:pt idx="22">
                  <c:v>All Others</c:v>
                </c:pt>
                <c:pt idx="23">
                  <c:v>St Moret</c:v>
                </c:pt>
                <c:pt idx="24">
                  <c:v>Galbani</c:v>
                </c:pt>
                <c:pt idx="25">
                  <c:v>Kiri</c:v>
                </c:pt>
                <c:pt idx="26">
                  <c:v>St Moret</c:v>
                </c:pt>
                <c:pt idx="27">
                  <c:v>Coeur De Li</c:v>
                </c:pt>
                <c:pt idx="28">
                  <c:v>Galbani</c:v>
                </c:pt>
                <c:pt idx="29">
                  <c:v>All Others</c:v>
                </c:pt>
                <c:pt idx="30">
                  <c:v>Mini Babybe</c:v>
                </c:pt>
                <c:pt idx="31">
                  <c:v>Paysan Bret</c:v>
                </c:pt>
                <c:pt idx="32">
                  <c:v>St Moret</c:v>
                </c:pt>
                <c:pt idx="33">
                  <c:v>St Moret</c:v>
                </c:pt>
                <c:pt idx="34">
                  <c:v>All Others</c:v>
                </c:pt>
                <c:pt idx="35">
                  <c:v>Carre Frais</c:v>
                </c:pt>
                <c:pt idx="36">
                  <c:v>President</c:v>
                </c:pt>
                <c:pt idx="37">
                  <c:v>Salakis</c:v>
                </c:pt>
                <c:pt idx="38">
                  <c:v>President</c:v>
                </c:pt>
                <c:pt idx="39">
                  <c:v>Casa Azzurr</c:v>
                </c:pt>
                <c:pt idx="40">
                  <c:v>Carre Frais</c:v>
                </c:pt>
                <c:pt idx="41">
                  <c:v>Kiri</c:v>
                </c:pt>
                <c:pt idx="42">
                  <c:v>President</c:v>
                </c:pt>
                <c:pt idx="43">
                  <c:v>President</c:v>
                </c:pt>
                <c:pt idx="44">
                  <c:v>La Vache Qu</c:v>
                </c:pt>
                <c:pt idx="45">
                  <c:v>Paysan Bret</c:v>
                </c:pt>
                <c:pt idx="46">
                  <c:v>Paysan Bret</c:v>
                </c:pt>
                <c:pt idx="47">
                  <c:v>Apericube</c:v>
                </c:pt>
                <c:pt idx="48">
                  <c:v>St Moret</c:v>
                </c:pt>
                <c:pt idx="49">
                  <c:v>Philadelphi</c:v>
                </c:pt>
                <c:pt idx="50">
                  <c:v>Coeur De Li</c:v>
                </c:pt>
                <c:pt idx="51">
                  <c:v>All Others</c:v>
                </c:pt>
                <c:pt idx="52">
                  <c:v>St Moret</c:v>
                </c:pt>
                <c:pt idx="53">
                  <c:v>Casa Azzurr</c:v>
                </c:pt>
                <c:pt idx="54">
                  <c:v>Salakis</c:v>
                </c:pt>
                <c:pt idx="55">
                  <c:v>Apericube</c:v>
                </c:pt>
                <c:pt idx="56">
                  <c:v>Boursin</c:v>
                </c:pt>
                <c:pt idx="57">
                  <c:v>Galbani</c:v>
                </c:pt>
                <c:pt idx="58">
                  <c:v>All Others</c:v>
                </c:pt>
                <c:pt idx="59">
                  <c:v>La Vache Qu</c:v>
                </c:pt>
                <c:pt idx="60">
                  <c:v>Kiri</c:v>
                </c:pt>
                <c:pt idx="61">
                  <c:v>Casa Azzurr</c:v>
                </c:pt>
                <c:pt idx="62">
                  <c:v>Casa Azzurr</c:v>
                </c:pt>
                <c:pt idx="63">
                  <c:v>Galbani</c:v>
                </c:pt>
                <c:pt idx="64">
                  <c:v>Petit Billy</c:v>
                </c:pt>
                <c:pt idx="65">
                  <c:v>Apericube</c:v>
                </c:pt>
                <c:pt idx="66">
                  <c:v>All Others</c:v>
                </c:pt>
                <c:pt idx="67">
                  <c:v>Tartare</c:v>
                </c:pt>
                <c:pt idx="68">
                  <c:v>Kiri</c:v>
                </c:pt>
                <c:pt idx="69">
                  <c:v>Casa Azzurr</c:v>
                </c:pt>
                <c:pt idx="70">
                  <c:v>Carre Frais</c:v>
                </c:pt>
                <c:pt idx="71">
                  <c:v>St Moret</c:v>
                </c:pt>
                <c:pt idx="72">
                  <c:v>Kiri</c:v>
                </c:pt>
                <c:pt idx="73">
                  <c:v>Boursin</c:v>
                </c:pt>
                <c:pt idx="74">
                  <c:v>Casa Azzurr</c:v>
                </c:pt>
                <c:pt idx="75">
                  <c:v>Salakis</c:v>
                </c:pt>
                <c:pt idx="76">
                  <c:v>Istara</c:v>
                </c:pt>
                <c:pt idx="77">
                  <c:v>La Vache Qu</c:v>
                </c:pt>
                <c:pt idx="78">
                  <c:v>All Others</c:v>
                </c:pt>
                <c:pt idx="79">
                  <c:v>All Others</c:v>
                </c:pt>
                <c:pt idx="80">
                  <c:v>Lepetit</c:v>
                </c:pt>
                <c:pt idx="81">
                  <c:v>Galbani</c:v>
                </c:pt>
                <c:pt idx="82">
                  <c:v>President</c:v>
                </c:pt>
                <c:pt idx="83">
                  <c:v>Ficello</c:v>
                </c:pt>
                <c:pt idx="84">
                  <c:v>Etorki</c:v>
                </c:pt>
                <c:pt idx="85">
                  <c:v>Lou Perac</c:v>
                </c:pt>
                <c:pt idx="86">
                  <c:v>Boursin</c:v>
                </c:pt>
                <c:pt idx="87">
                  <c:v>All Others</c:v>
                </c:pt>
                <c:pt idx="88">
                  <c:v>Philadelphi</c:v>
                </c:pt>
                <c:pt idx="89">
                  <c:v>Boursin</c:v>
                </c:pt>
                <c:pt idx="90">
                  <c:v>Philadelphi</c:v>
                </c:pt>
                <c:pt idx="91">
                  <c:v>Casa Azzurr</c:v>
                </c:pt>
                <c:pt idx="92">
                  <c:v>Apericube</c:v>
                </c:pt>
                <c:pt idx="93">
                  <c:v>Coeur De Li</c:v>
                </c:pt>
                <c:pt idx="94">
                  <c:v>Salakis</c:v>
                </c:pt>
                <c:pt idx="95">
                  <c:v>Boursin</c:v>
                </c:pt>
                <c:pt idx="96">
                  <c:v>All Others</c:v>
                </c:pt>
                <c:pt idx="97">
                  <c:v>Caprice Des</c:v>
                </c:pt>
                <c:pt idx="98">
                  <c:v>Apericube</c:v>
                </c:pt>
                <c:pt idx="99">
                  <c:v>Mini Babybe</c:v>
                </c:pt>
                <c:pt idx="100">
                  <c:v>Galbani</c:v>
                </c:pt>
                <c:pt idx="101">
                  <c:v>All Others</c:v>
                </c:pt>
                <c:pt idx="102">
                  <c:v>Caprice Des</c:v>
                </c:pt>
                <c:pt idx="103">
                  <c:v>Apericube</c:v>
                </c:pt>
                <c:pt idx="104">
                  <c:v>Casa Azzurr</c:v>
                </c:pt>
                <c:pt idx="105">
                  <c:v>Salakis</c:v>
                </c:pt>
                <c:pt idx="106">
                  <c:v>Istara</c:v>
                </c:pt>
                <c:pt idx="107">
                  <c:v>Casa Azzurr</c:v>
                </c:pt>
                <c:pt idx="108">
                  <c:v>St Moret</c:v>
                </c:pt>
                <c:pt idx="109">
                  <c:v>Lactalis: A</c:v>
                </c:pt>
                <c:pt idx="110">
                  <c:v>All Others</c:v>
                </c:pt>
                <c:pt idx="111">
                  <c:v>La Vache Qu</c:v>
                </c:pt>
                <c:pt idx="112">
                  <c:v>President</c:v>
                </c:pt>
                <c:pt idx="113">
                  <c:v>Apericube</c:v>
                </c:pt>
                <c:pt idx="114">
                  <c:v>Casa Azzurr</c:v>
                </c:pt>
                <c:pt idx="115">
                  <c:v>Le Rustique</c:v>
                </c:pt>
                <c:pt idx="116">
                  <c:v>All Others</c:v>
                </c:pt>
                <c:pt idx="117">
                  <c:v>Apericube</c:v>
                </c:pt>
                <c:pt idx="118">
                  <c:v>Paysan Bret</c:v>
                </c:pt>
                <c:pt idx="119">
                  <c:v>Paysan Bret</c:v>
                </c:pt>
                <c:pt idx="120">
                  <c:v>Soignon</c:v>
                </c:pt>
                <c:pt idx="121">
                  <c:v>Paysan Bret</c:v>
                </c:pt>
                <c:pt idx="122">
                  <c:v>Casa Azzurr</c:v>
                </c:pt>
                <c:pt idx="123">
                  <c:v>Casa Azzurr</c:v>
                </c:pt>
                <c:pt idx="124">
                  <c:v>Tartare</c:v>
                </c:pt>
                <c:pt idx="125">
                  <c:v>President</c:v>
                </c:pt>
                <c:pt idx="126">
                  <c:v>Soignon</c:v>
                </c:pt>
                <c:pt idx="127">
                  <c:v>President</c:v>
                </c:pt>
                <c:pt idx="128">
                  <c:v>All Others</c:v>
                </c:pt>
                <c:pt idx="129">
                  <c:v>President</c:v>
                </c:pt>
                <c:pt idx="130">
                  <c:v>Caprice Des</c:v>
                </c:pt>
                <c:pt idx="131">
                  <c:v>Galbani</c:v>
                </c:pt>
                <c:pt idx="132">
                  <c:v>Aperivrais</c:v>
                </c:pt>
                <c:pt idx="133">
                  <c:v>Soignon</c:v>
                </c:pt>
                <c:pt idx="134">
                  <c:v>All Others</c:v>
                </c:pt>
                <c:pt idx="135">
                  <c:v>Le Brebiou</c:v>
                </c:pt>
                <c:pt idx="136">
                  <c:v>Soignon</c:v>
                </c:pt>
                <c:pt idx="137">
                  <c:v>All Others</c:v>
                </c:pt>
                <c:pt idx="138">
                  <c:v>Apericube</c:v>
                </c:pt>
                <c:pt idx="139">
                  <c:v>Aperivrais</c:v>
                </c:pt>
                <c:pt idx="140">
                  <c:v>Paysan Bret</c:v>
                </c:pt>
                <c:pt idx="141">
                  <c:v>Galbani</c:v>
                </c:pt>
                <c:pt idx="142">
                  <c:v>Lactalis: A</c:v>
                </c:pt>
                <c:pt idx="143">
                  <c:v>Lactalis: A</c:v>
                </c:pt>
                <c:pt idx="144">
                  <c:v>Laita: All </c:v>
                </c:pt>
                <c:pt idx="145">
                  <c:v>Le Rustique</c:v>
                </c:pt>
                <c:pt idx="146">
                  <c:v>Savencia: A</c:v>
                </c:pt>
                <c:pt idx="147">
                  <c:v>Apericube</c:v>
                </c:pt>
                <c:pt idx="148">
                  <c:v>All Others</c:v>
                </c:pt>
                <c:pt idx="149">
                  <c:v>All Others</c:v>
                </c:pt>
                <c:pt idx="150">
                  <c:v>Apericube</c:v>
                </c:pt>
                <c:pt idx="151">
                  <c:v>Coeur De Li</c:v>
                </c:pt>
                <c:pt idx="152">
                  <c:v>All Others</c:v>
                </c:pt>
                <c:pt idx="153">
                  <c:v>All Others</c:v>
                </c:pt>
                <c:pt idx="154">
                  <c:v>Lactalis: A</c:v>
                </c:pt>
                <c:pt idx="155">
                  <c:v>All Others</c:v>
                </c:pt>
                <c:pt idx="156">
                  <c:v>Mini Babybe</c:v>
                </c:pt>
                <c:pt idx="157">
                  <c:v>Chavroux</c:v>
                </c:pt>
                <c:pt idx="158">
                  <c:v>Rondele</c:v>
                </c:pt>
                <c:pt idx="159">
                  <c:v>All Others</c:v>
                </c:pt>
                <c:pt idx="160">
                  <c:v>Galbani</c:v>
                </c:pt>
                <c:pt idx="161">
                  <c:v>Ficello</c:v>
                </c:pt>
                <c:pt idx="162">
                  <c:v>Galbani</c:v>
                </c:pt>
                <c:pt idx="163">
                  <c:v>All Others</c:v>
                </c:pt>
                <c:pt idx="164">
                  <c:v>All Others</c:v>
                </c:pt>
                <c:pt idx="165">
                  <c:v>All Others</c:v>
                </c:pt>
                <c:pt idx="166">
                  <c:v>President</c:v>
                </c:pt>
                <c:pt idx="167">
                  <c:v>La Vache Qu</c:v>
                </c:pt>
                <c:pt idx="168">
                  <c:v>Lou Perac</c:v>
                </c:pt>
                <c:pt idx="169">
                  <c:v>Chavroux</c:v>
                </c:pt>
                <c:pt idx="170">
                  <c:v>Etorki</c:v>
                </c:pt>
                <c:pt idx="171">
                  <c:v>All Others</c:v>
                </c:pt>
                <c:pt idx="172">
                  <c:v>Islos</c:v>
                </c:pt>
                <c:pt idx="173">
                  <c:v>President</c:v>
                </c:pt>
                <c:pt idx="174">
                  <c:v>Le Rustique</c:v>
                </c:pt>
                <c:pt idx="175">
                  <c:v>Boursin</c:v>
                </c:pt>
                <c:pt idx="176">
                  <c:v>All Others</c:v>
                </c:pt>
                <c:pt idx="177">
                  <c:v>President</c:v>
                </c:pt>
                <c:pt idx="178">
                  <c:v>Boursin</c:v>
                </c:pt>
                <c:pt idx="179">
                  <c:v>Boursin</c:v>
                </c:pt>
                <c:pt idx="180">
                  <c:v>All Others</c:v>
                </c:pt>
                <c:pt idx="181">
                  <c:v>All Others</c:v>
                </c:pt>
                <c:pt idx="182">
                  <c:v>Caprice Des</c:v>
                </c:pt>
                <c:pt idx="183">
                  <c:v>All Others</c:v>
                </c:pt>
                <c:pt idx="184">
                  <c:v>Casa Azzurr</c:v>
                </c:pt>
                <c:pt idx="185">
                  <c:v>Soignon</c:v>
                </c:pt>
                <c:pt idx="186">
                  <c:v>Kiri</c:v>
                </c:pt>
                <c:pt idx="187">
                  <c:v>Soignon</c:v>
                </c:pt>
                <c:pt idx="188">
                  <c:v>Lactalis: A</c:v>
                </c:pt>
                <c:pt idx="189">
                  <c:v>Chavroux</c:v>
                </c:pt>
                <c:pt idx="190">
                  <c:v>All Others</c:v>
                </c:pt>
                <c:pt idx="191">
                  <c:v>Apericube</c:v>
                </c:pt>
                <c:pt idx="192">
                  <c:v>All Others</c:v>
                </c:pt>
                <c:pt idx="193">
                  <c:v>Soignon</c:v>
                </c:pt>
                <c:pt idx="194">
                  <c:v>All Others</c:v>
                </c:pt>
                <c:pt idx="195">
                  <c:v>Casa Azzurr</c:v>
                </c:pt>
                <c:pt idx="196">
                  <c:v>Casa Azzurr</c:v>
                </c:pt>
                <c:pt idx="197">
                  <c:v>All Others</c:v>
                </c:pt>
                <c:pt idx="198">
                  <c:v>P'Tit Louis</c:v>
                </c:pt>
                <c:pt idx="199">
                  <c:v>Soignon</c:v>
                </c:pt>
                <c:pt idx="200">
                  <c:v>Aperivrais</c:v>
                </c:pt>
                <c:pt idx="201">
                  <c:v>St Moret</c:v>
                </c:pt>
                <c:pt idx="202">
                  <c:v>All Others</c:v>
                </c:pt>
                <c:pt idx="203">
                  <c:v>Mini Babybe</c:v>
                </c:pt>
                <c:pt idx="204">
                  <c:v>Lactalis: A</c:v>
                </c:pt>
                <c:pt idx="205">
                  <c:v>Apericube</c:v>
                </c:pt>
                <c:pt idx="206">
                  <c:v>All Others</c:v>
                </c:pt>
                <c:pt idx="207">
                  <c:v>Paysan Bret</c:v>
                </c:pt>
                <c:pt idx="208">
                  <c:v>Caprice Des</c:v>
                </c:pt>
                <c:pt idx="209">
                  <c:v>All Others</c:v>
                </c:pt>
                <c:pt idx="210">
                  <c:v>All Others</c:v>
                </c:pt>
                <c:pt idx="211">
                  <c:v>Soignon</c:v>
                </c:pt>
                <c:pt idx="212">
                  <c:v>All Others</c:v>
                </c:pt>
                <c:pt idx="213">
                  <c:v>All Others</c:v>
                </c:pt>
                <c:pt idx="214">
                  <c:v>Boursin</c:v>
                </c:pt>
                <c:pt idx="215">
                  <c:v>Galbani</c:v>
                </c:pt>
                <c:pt idx="216">
                  <c:v>All Others</c:v>
                </c:pt>
                <c:pt idx="217">
                  <c:v>P'Tit Louis</c:v>
                </c:pt>
                <c:pt idx="218">
                  <c:v>Boursin</c:v>
                </c:pt>
                <c:pt idx="219">
                  <c:v>Boursin</c:v>
                </c:pt>
                <c:pt idx="220">
                  <c:v>All Others</c:v>
                </c:pt>
                <c:pt idx="221">
                  <c:v>Mini Babybe</c:v>
                </c:pt>
                <c:pt idx="222">
                  <c:v>All Others</c:v>
                </c:pt>
                <c:pt idx="223">
                  <c:v>Boursin</c:v>
                </c:pt>
                <c:pt idx="224">
                  <c:v>St Moret</c:v>
                </c:pt>
                <c:pt idx="225">
                  <c:v>President</c:v>
                </c:pt>
                <c:pt idx="226">
                  <c:v>Aperivrais</c:v>
                </c:pt>
                <c:pt idx="227">
                  <c:v>Pave D'Affi</c:v>
                </c:pt>
                <c:pt idx="228">
                  <c:v>P'Tit Louis</c:v>
                </c:pt>
                <c:pt idx="229">
                  <c:v>St Moret</c:v>
                </c:pt>
                <c:pt idx="230">
                  <c:v>La Vache Qu</c:v>
                </c:pt>
                <c:pt idx="231">
                  <c:v>Tartare</c:v>
                </c:pt>
                <c:pt idx="232">
                  <c:v>Galbani</c:v>
                </c:pt>
                <c:pt idx="233">
                  <c:v>All Others</c:v>
                </c:pt>
                <c:pt idx="234">
                  <c:v>All Others</c:v>
                </c:pt>
                <c:pt idx="235">
                  <c:v>Caprice Des</c:v>
                </c:pt>
                <c:pt idx="236">
                  <c:v>Lou Perac</c:v>
                </c:pt>
                <c:pt idx="237">
                  <c:v>Rondele</c:v>
                </c:pt>
                <c:pt idx="238">
                  <c:v>Tartare</c:v>
                </c:pt>
                <c:pt idx="239">
                  <c:v>All Others</c:v>
                </c:pt>
                <c:pt idx="240">
                  <c:v>Lactalis: A</c:v>
                </c:pt>
                <c:pt idx="241">
                  <c:v>All Others</c:v>
                </c:pt>
                <c:pt idx="242">
                  <c:v>Islos</c:v>
                </c:pt>
                <c:pt idx="243">
                  <c:v>Savencia: A</c:v>
                </c:pt>
                <c:pt idx="244">
                  <c:v>All Others</c:v>
                </c:pt>
                <c:pt idx="245">
                  <c:v>Tartare</c:v>
                </c:pt>
                <c:pt idx="246">
                  <c:v>All Others</c:v>
                </c:pt>
                <c:pt idx="247">
                  <c:v>All Others</c:v>
                </c:pt>
                <c:pt idx="248">
                  <c:v>Philadelphi</c:v>
                </c:pt>
                <c:pt idx="249">
                  <c:v>All Others</c:v>
                </c:pt>
                <c:pt idx="250">
                  <c:v>All Others</c:v>
                </c:pt>
                <c:pt idx="251">
                  <c:v>All Others</c:v>
                </c:pt>
                <c:pt idx="252">
                  <c:v>Ficello</c:v>
                </c:pt>
                <c:pt idx="253">
                  <c:v>All Others</c:v>
                </c:pt>
                <c:pt idx="254">
                  <c:v>Paysan Bret</c:v>
                </c:pt>
                <c:pt idx="255">
                  <c:v>Boursin</c:v>
                </c:pt>
                <c:pt idx="256">
                  <c:v>All Others</c:v>
                </c:pt>
                <c:pt idx="257">
                  <c:v>All Others</c:v>
                </c:pt>
                <c:pt idx="258">
                  <c:v>Soignon</c:v>
                </c:pt>
                <c:pt idx="259">
                  <c:v>Kiri</c:v>
                </c:pt>
                <c:pt idx="260">
                  <c:v>Salakis</c:v>
                </c:pt>
                <c:pt idx="261">
                  <c:v>All Others</c:v>
                </c:pt>
                <c:pt idx="262">
                  <c:v>All Others</c:v>
                </c:pt>
                <c:pt idx="263">
                  <c:v>Corsica</c:v>
                </c:pt>
                <c:pt idx="264">
                  <c:v>Tartare</c:v>
                </c:pt>
                <c:pt idx="265">
                  <c:v>Lou Perac</c:v>
                </c:pt>
                <c:pt idx="266">
                  <c:v>All Others</c:v>
                </c:pt>
                <c:pt idx="267">
                  <c:v>All Others</c:v>
                </c:pt>
                <c:pt idx="268">
                  <c:v>All Others</c:v>
                </c:pt>
                <c:pt idx="269">
                  <c:v>All Others</c:v>
                </c:pt>
                <c:pt idx="270">
                  <c:v>All Others</c:v>
                </c:pt>
                <c:pt idx="271">
                  <c:v>Leerdammer</c:v>
                </c:pt>
                <c:pt idx="272">
                  <c:v>Boursin</c:v>
                </c:pt>
                <c:pt idx="273">
                  <c:v>Apericube</c:v>
                </c:pt>
                <c:pt idx="274">
                  <c:v>All Others</c:v>
                </c:pt>
                <c:pt idx="275">
                  <c:v>All Others</c:v>
                </c:pt>
                <c:pt idx="276">
                  <c:v>Triballat N</c:v>
                </c:pt>
                <c:pt idx="277">
                  <c:v>All Others</c:v>
                </c:pt>
                <c:pt idx="278">
                  <c:v>Corsica</c:v>
                </c:pt>
                <c:pt idx="279">
                  <c:v>President</c:v>
                </c:pt>
                <c:pt idx="280">
                  <c:v>All Others</c:v>
                </c:pt>
                <c:pt idx="281">
                  <c:v>All Others</c:v>
                </c:pt>
                <c:pt idx="282">
                  <c:v>Boursin</c:v>
                </c:pt>
                <c:pt idx="283">
                  <c:v>All Others</c:v>
                </c:pt>
                <c:pt idx="284">
                  <c:v>All Others</c:v>
                </c:pt>
                <c:pt idx="285">
                  <c:v>Chavroux</c:v>
                </c:pt>
                <c:pt idx="286">
                  <c:v>Apericube</c:v>
                </c:pt>
                <c:pt idx="287">
                  <c:v>Aperivrais</c:v>
                </c:pt>
                <c:pt idx="288">
                  <c:v>All Others</c:v>
                </c:pt>
                <c:pt idx="289">
                  <c:v>All Others</c:v>
                </c:pt>
                <c:pt idx="290">
                  <c:v>All Others</c:v>
                </c:pt>
                <c:pt idx="291">
                  <c:v>All Others</c:v>
                </c:pt>
                <c:pt idx="292">
                  <c:v>All Others</c:v>
                </c:pt>
                <c:pt idx="293">
                  <c:v>Coeur De Li</c:v>
                </c:pt>
                <c:pt idx="294">
                  <c:v>All Others</c:v>
                </c:pt>
                <c:pt idx="295">
                  <c:v>Savencia: A</c:v>
                </c:pt>
                <c:pt idx="296">
                  <c:v>All Others</c:v>
                </c:pt>
                <c:pt idx="297">
                  <c:v>Aperivrais</c:v>
                </c:pt>
                <c:pt idx="298">
                  <c:v>All Others</c:v>
                </c:pt>
                <c:pt idx="299">
                  <c:v>All Others</c:v>
                </c:pt>
                <c:pt idx="300">
                  <c:v>All Others</c:v>
                </c:pt>
                <c:pt idx="301">
                  <c:v>Paysan Bret</c:v>
                </c:pt>
                <c:pt idx="302">
                  <c:v>St Moret</c:v>
                </c:pt>
                <c:pt idx="303">
                  <c:v>All Others</c:v>
                </c:pt>
                <c:pt idx="304">
                  <c:v>All Others</c:v>
                </c:pt>
                <c:pt idx="305">
                  <c:v>All Others</c:v>
                </c:pt>
                <c:pt idx="306">
                  <c:v>Lou Perac</c:v>
                </c:pt>
                <c:pt idx="307">
                  <c:v>Etoile Du Q</c:v>
                </c:pt>
                <c:pt idx="308">
                  <c:v>Violife</c:v>
                </c:pt>
                <c:pt idx="309">
                  <c:v>President</c:v>
                </c:pt>
                <c:pt idx="310">
                  <c:v>All Others</c:v>
                </c:pt>
                <c:pt idx="311">
                  <c:v>All Others</c:v>
                </c:pt>
                <c:pt idx="312">
                  <c:v>All Others</c:v>
                </c:pt>
                <c:pt idx="313">
                  <c:v>Boursin</c:v>
                </c:pt>
                <c:pt idx="314">
                  <c:v>Istara</c:v>
                </c:pt>
                <c:pt idx="315">
                  <c:v>All Others</c:v>
                </c:pt>
                <c:pt idx="316">
                  <c:v>All Others</c:v>
                </c:pt>
                <c:pt idx="317">
                  <c:v>Etoile Du V</c:v>
                </c:pt>
                <c:pt idx="318">
                  <c:v>All Others</c:v>
                </c:pt>
                <c:pt idx="319">
                  <c:v>All Others</c:v>
                </c:pt>
                <c:pt idx="320">
                  <c:v>Eurial Autr</c:v>
                </c:pt>
                <c:pt idx="321">
                  <c:v>Casa Azzurr</c:v>
                </c:pt>
                <c:pt idx="322">
                  <c:v>Aperivrais</c:v>
                </c:pt>
                <c:pt idx="323">
                  <c:v>All Others</c:v>
                </c:pt>
                <c:pt idx="324">
                  <c:v>All Others</c:v>
                </c:pt>
                <c:pt idx="325">
                  <c:v>Violife</c:v>
                </c:pt>
                <c:pt idx="326">
                  <c:v>Boursin</c:v>
                </c:pt>
                <c:pt idx="327">
                  <c:v>Saint Agur</c:v>
                </c:pt>
                <c:pt idx="328">
                  <c:v>Salakis</c:v>
                </c:pt>
                <c:pt idx="329">
                  <c:v>All Others</c:v>
                </c:pt>
                <c:pt idx="330">
                  <c:v>Kiri</c:v>
                </c:pt>
                <c:pt idx="331">
                  <c:v>All Others</c:v>
                </c:pt>
                <c:pt idx="332">
                  <c:v>All Others</c:v>
                </c:pt>
                <c:pt idx="333">
                  <c:v>O'Tapas Ape</c:v>
                </c:pt>
                <c:pt idx="334">
                  <c:v>All Others</c:v>
                </c:pt>
                <c:pt idx="335">
                  <c:v>Boursin</c:v>
                </c:pt>
                <c:pt idx="336">
                  <c:v>All Others</c:v>
                </c:pt>
                <c:pt idx="337">
                  <c:v>Violife</c:v>
                </c:pt>
                <c:pt idx="338">
                  <c:v>Milleret: A</c:v>
                </c:pt>
                <c:pt idx="339">
                  <c:v>Triballat R</c:v>
                </c:pt>
                <c:pt idx="340">
                  <c:v>All Others</c:v>
                </c:pt>
                <c:pt idx="341">
                  <c:v>All Others</c:v>
                </c:pt>
                <c:pt idx="342">
                  <c:v>All Others</c:v>
                </c:pt>
                <c:pt idx="343">
                  <c:v>All Others</c:v>
                </c:pt>
                <c:pt idx="344">
                  <c:v>All Others</c:v>
                </c:pt>
                <c:pt idx="345">
                  <c:v>All Others</c:v>
                </c:pt>
                <c:pt idx="346">
                  <c:v>Boursin</c:v>
                </c:pt>
                <c:pt idx="347">
                  <c:v>St Moret</c:v>
                </c:pt>
                <c:pt idx="348">
                  <c:v>Savencia: A</c:v>
                </c:pt>
                <c:pt idx="349">
                  <c:v>Violife</c:v>
                </c:pt>
                <c:pt idx="350">
                  <c:v>Mini Babybe</c:v>
                </c:pt>
                <c:pt idx="351">
                  <c:v>All Others</c:v>
                </c:pt>
                <c:pt idx="352">
                  <c:v>Tartare</c:v>
                </c:pt>
                <c:pt idx="353">
                  <c:v>All Others</c:v>
                </c:pt>
                <c:pt idx="354">
                  <c:v>All Others</c:v>
                </c:pt>
                <c:pt idx="355">
                  <c:v>All Others</c:v>
                </c:pt>
                <c:pt idx="356">
                  <c:v>O'Tapas Ape</c:v>
                </c:pt>
                <c:pt idx="357">
                  <c:v>Apericube</c:v>
                </c:pt>
                <c:pt idx="358">
                  <c:v>All Others</c:v>
                </c:pt>
                <c:pt idx="359">
                  <c:v>Triballat R</c:v>
                </c:pt>
                <c:pt idx="360">
                  <c:v>All Others</c:v>
                </c:pt>
                <c:pt idx="361">
                  <c:v>All Others</c:v>
                </c:pt>
                <c:pt idx="362">
                  <c:v>Etoile Du Q</c:v>
                </c:pt>
                <c:pt idx="363">
                  <c:v>All Others</c:v>
                </c:pt>
                <c:pt idx="364">
                  <c:v>Richesmonts</c:v>
                </c:pt>
                <c:pt idx="365">
                  <c:v>All Others</c:v>
                </c:pt>
                <c:pt idx="366">
                  <c:v>All Others</c:v>
                </c:pt>
                <c:pt idx="367">
                  <c:v>Boursin</c:v>
                </c:pt>
                <c:pt idx="368">
                  <c:v>All Others</c:v>
                </c:pt>
                <c:pt idx="369">
                  <c:v>Nurishh</c:v>
                </c:pt>
                <c:pt idx="370">
                  <c:v>Nurishh</c:v>
                </c:pt>
                <c:pt idx="371">
                  <c:v>All Others</c:v>
                </c:pt>
                <c:pt idx="372">
                  <c:v>All Others</c:v>
                </c:pt>
                <c:pt idx="373">
                  <c:v>Nurishh</c:v>
                </c:pt>
                <c:pt idx="374">
                  <c:v>All Others</c:v>
                </c:pt>
                <c:pt idx="375">
                  <c:v>All Others</c:v>
                </c:pt>
                <c:pt idx="376">
                  <c:v>All Others</c:v>
                </c:pt>
                <c:pt idx="377">
                  <c:v>Saint Agur</c:v>
                </c:pt>
                <c:pt idx="378">
                  <c:v>All Others</c:v>
                </c:pt>
                <c:pt idx="379">
                  <c:v>Lactalis: A</c:v>
                </c:pt>
                <c:pt idx="380">
                  <c:v>Savencia: A</c:v>
                </c:pt>
                <c:pt idx="381">
                  <c:v>Nurishh</c:v>
                </c:pt>
                <c:pt idx="382">
                  <c:v>Savencia: A</c:v>
                </c:pt>
                <c:pt idx="383">
                  <c:v>Etoile Du V</c:v>
                </c:pt>
                <c:pt idx="384">
                  <c:v>All Others</c:v>
                </c:pt>
                <c:pt idx="385">
                  <c:v>All Others</c:v>
                </c:pt>
                <c:pt idx="386">
                  <c:v>All Others</c:v>
                </c:pt>
                <c:pt idx="387">
                  <c:v>All Others</c:v>
                </c:pt>
                <c:pt idx="388">
                  <c:v>Triballat N</c:v>
                </c:pt>
                <c:pt idx="389">
                  <c:v>Lactalis: A</c:v>
                </c:pt>
                <c:pt idx="390">
                  <c:v>Soignon</c:v>
                </c:pt>
                <c:pt idx="391">
                  <c:v>All Others</c:v>
                </c:pt>
                <c:pt idx="392">
                  <c:v>Entremont</c:v>
                </c:pt>
                <c:pt idx="393">
                  <c:v>All Others</c:v>
                </c:pt>
                <c:pt idx="394">
                  <c:v>All Others</c:v>
                </c:pt>
                <c:pt idx="395">
                  <c:v>Nurishh</c:v>
                </c:pt>
                <c:pt idx="396">
                  <c:v>All Others</c:v>
                </c:pt>
                <c:pt idx="397">
                  <c:v>All Others</c:v>
                </c:pt>
                <c:pt idx="398">
                  <c:v>All Others</c:v>
                </c:pt>
                <c:pt idx="399">
                  <c:v>Violife</c:v>
                </c:pt>
                <c:pt idx="400">
                  <c:v>Etoile Du Q</c:v>
                </c:pt>
                <c:pt idx="401">
                  <c:v>All Others</c:v>
                </c:pt>
                <c:pt idx="402">
                  <c:v>All Others</c:v>
                </c:pt>
                <c:pt idx="403">
                  <c:v>All Others</c:v>
                </c:pt>
                <c:pt idx="404">
                  <c:v>All Others</c:v>
                </c:pt>
                <c:pt idx="405">
                  <c:v>All Others</c:v>
                </c:pt>
                <c:pt idx="406">
                  <c:v>All Others</c:v>
                </c:pt>
                <c:pt idx="407">
                  <c:v>All Others</c:v>
                </c:pt>
                <c:pt idx="408">
                  <c:v>Triballat N</c:v>
                </c:pt>
                <c:pt idx="409">
                  <c:v>All Others</c:v>
                </c:pt>
                <c:pt idx="410">
                  <c:v>Casa Azzurr</c:v>
                </c:pt>
                <c:pt idx="411">
                  <c:v>Tartare</c:v>
                </c:pt>
                <c:pt idx="412">
                  <c:v>All Others</c:v>
                </c:pt>
                <c:pt idx="413">
                  <c:v>All Others</c:v>
                </c:pt>
                <c:pt idx="414">
                  <c:v>Violife</c:v>
                </c:pt>
                <c:pt idx="415">
                  <c:v>Aperivrais</c:v>
                </c:pt>
                <c:pt idx="416">
                  <c:v>Violife</c:v>
                </c:pt>
                <c:pt idx="417">
                  <c:v>All Others</c:v>
                </c:pt>
                <c:pt idx="418">
                  <c:v>All Others</c:v>
                </c:pt>
                <c:pt idx="419">
                  <c:v>Eurial Autr</c:v>
                </c:pt>
                <c:pt idx="420">
                  <c:v>All Others</c:v>
                </c:pt>
                <c:pt idx="421">
                  <c:v>Nurishh</c:v>
                </c:pt>
                <c:pt idx="422">
                  <c:v>All Others</c:v>
                </c:pt>
                <c:pt idx="423">
                  <c:v>All Others</c:v>
                </c:pt>
                <c:pt idx="424">
                  <c:v>All Others</c:v>
                </c:pt>
                <c:pt idx="425">
                  <c:v>All Others</c:v>
                </c:pt>
                <c:pt idx="426">
                  <c:v>Lactalis: A</c:v>
                </c:pt>
                <c:pt idx="427">
                  <c:v>Private Lab</c:v>
                </c:pt>
                <c:pt idx="428">
                  <c:v>All Others</c:v>
                </c:pt>
                <c:pt idx="429">
                  <c:v>All Others</c:v>
                </c:pt>
                <c:pt idx="430">
                  <c:v>All Others</c:v>
                </c:pt>
                <c:pt idx="431">
                  <c:v>Paysan Bret</c:v>
                </c:pt>
                <c:pt idx="432">
                  <c:v>Nurishh</c:v>
                </c:pt>
                <c:pt idx="433">
                  <c:v>Philadelphi</c:v>
                </c:pt>
                <c:pt idx="434">
                  <c:v>All Others</c:v>
                </c:pt>
                <c:pt idx="435">
                  <c:v>Boursin</c:v>
                </c:pt>
                <c:pt idx="436">
                  <c:v>All Others</c:v>
                </c:pt>
                <c:pt idx="437">
                  <c:v>Violife</c:v>
                </c:pt>
                <c:pt idx="438">
                  <c:v>All Others</c:v>
                </c:pt>
                <c:pt idx="439">
                  <c:v>All Others</c:v>
                </c:pt>
                <c:pt idx="440">
                  <c:v>Tartare</c:v>
                </c:pt>
                <c:pt idx="441">
                  <c:v>All Others</c:v>
                </c:pt>
                <c:pt idx="442">
                  <c:v>All Others</c:v>
                </c:pt>
                <c:pt idx="443">
                  <c:v>Boursin</c:v>
                </c:pt>
                <c:pt idx="444">
                  <c:v>All Others</c:v>
                </c:pt>
                <c:pt idx="445">
                  <c:v>Savencia: A</c:v>
                </c:pt>
                <c:pt idx="446">
                  <c:v>All Others</c:v>
                </c:pt>
                <c:pt idx="447">
                  <c:v>All Others</c:v>
                </c:pt>
                <c:pt idx="448">
                  <c:v>O'Tapas Ape</c:v>
                </c:pt>
                <c:pt idx="449">
                  <c:v>Entremont</c:v>
                </c:pt>
                <c:pt idx="450">
                  <c:v>All Others</c:v>
                </c:pt>
                <c:pt idx="451">
                  <c:v>Apericube</c:v>
                </c:pt>
                <c:pt idx="452">
                  <c:v>Apericube</c:v>
                </c:pt>
                <c:pt idx="453">
                  <c:v>All Others</c:v>
                </c:pt>
                <c:pt idx="454">
                  <c:v>All Others</c:v>
                </c:pt>
                <c:pt idx="455">
                  <c:v>All Others</c:v>
                </c:pt>
                <c:pt idx="456">
                  <c:v>Etoile Du V</c:v>
                </c:pt>
                <c:pt idx="457">
                  <c:v>All Others</c:v>
                </c:pt>
                <c:pt idx="458">
                  <c:v>All Others</c:v>
                </c:pt>
                <c:pt idx="459">
                  <c:v>Etoile Du V</c:v>
                </c:pt>
                <c:pt idx="460">
                  <c:v>St Moret</c:v>
                </c:pt>
                <c:pt idx="461">
                  <c:v>Salakis</c:v>
                </c:pt>
                <c:pt idx="462">
                  <c:v>Soignon</c:v>
                </c:pt>
                <c:pt idx="463">
                  <c:v>Violife</c:v>
                </c:pt>
                <c:pt idx="464">
                  <c:v>Violife</c:v>
                </c:pt>
                <c:pt idx="465">
                  <c:v>All Others</c:v>
                </c:pt>
                <c:pt idx="466">
                  <c:v>All Others</c:v>
                </c:pt>
                <c:pt idx="467">
                  <c:v>Lactalis: A</c:v>
                </c:pt>
                <c:pt idx="468">
                  <c:v>All Others</c:v>
                </c:pt>
                <c:pt idx="469">
                  <c:v>All Others</c:v>
                </c:pt>
                <c:pt idx="470">
                  <c:v>All Others</c:v>
                </c:pt>
                <c:pt idx="471">
                  <c:v>All Others</c:v>
                </c:pt>
                <c:pt idx="472">
                  <c:v>Etoile Du V</c:v>
                </c:pt>
                <c:pt idx="473">
                  <c:v>Etoile Du V</c:v>
                </c:pt>
                <c:pt idx="474">
                  <c:v>All Others</c:v>
                </c:pt>
                <c:pt idx="475">
                  <c:v>Nurishh</c:v>
                </c:pt>
                <c:pt idx="476">
                  <c:v>Etoile Du Q</c:v>
                </c:pt>
                <c:pt idx="477">
                  <c:v>All Others</c:v>
                </c:pt>
                <c:pt idx="478">
                  <c:v>Triballat R</c:v>
                </c:pt>
                <c:pt idx="479">
                  <c:v>O'Tapas Ape</c:v>
                </c:pt>
                <c:pt idx="480">
                  <c:v>All Others</c:v>
                </c:pt>
                <c:pt idx="481">
                  <c:v>All Others</c:v>
                </c:pt>
                <c:pt idx="482">
                  <c:v>All Others</c:v>
                </c:pt>
                <c:pt idx="483">
                  <c:v>All Others</c:v>
                </c:pt>
                <c:pt idx="484">
                  <c:v>Nurishh</c:v>
                </c:pt>
                <c:pt idx="485">
                  <c:v>All Others</c:v>
                </c:pt>
                <c:pt idx="486">
                  <c:v>All Others</c:v>
                </c:pt>
                <c:pt idx="487">
                  <c:v>All Others</c:v>
                </c:pt>
                <c:pt idx="488">
                  <c:v>All Others</c:v>
                </c:pt>
                <c:pt idx="489">
                  <c:v>All Others</c:v>
                </c:pt>
                <c:pt idx="490">
                  <c:v>All Others</c:v>
                </c:pt>
                <c:pt idx="491">
                  <c:v>All Others</c:v>
                </c:pt>
                <c:pt idx="492">
                  <c:v>All Others</c:v>
                </c:pt>
                <c:pt idx="493">
                  <c:v>All Others</c:v>
                </c:pt>
                <c:pt idx="494">
                  <c:v>Milleret: A</c:v>
                </c:pt>
                <c:pt idx="495">
                  <c:v>Lactalis: A</c:v>
                </c:pt>
                <c:pt idx="496">
                  <c:v>Lactalis: A</c:v>
                </c:pt>
                <c:pt idx="497">
                  <c:v>Salakis</c:v>
                </c:pt>
                <c:pt idx="498">
                  <c:v>All Others</c:v>
                </c:pt>
                <c:pt idx="499">
                  <c:v>All Others</c:v>
                </c:pt>
                <c:pt idx="500">
                  <c:v>Triballat N</c:v>
                </c:pt>
                <c:pt idx="501">
                  <c:v>All Others</c:v>
                </c:pt>
                <c:pt idx="502">
                  <c:v>Richesmonts</c:v>
                </c:pt>
                <c:pt idx="503">
                  <c:v>Boursin</c:v>
                </c:pt>
                <c:pt idx="504">
                  <c:v>All Others</c:v>
                </c:pt>
                <c:pt idx="505">
                  <c:v>All Others</c:v>
                </c:pt>
                <c:pt idx="506">
                  <c:v>All Others</c:v>
                </c:pt>
                <c:pt idx="507">
                  <c:v>All Others</c:v>
                </c:pt>
                <c:pt idx="508">
                  <c:v>All Others</c:v>
                </c:pt>
                <c:pt idx="509">
                  <c:v>Tartare</c:v>
                </c:pt>
                <c:pt idx="510">
                  <c:v>All Others</c:v>
                </c:pt>
                <c:pt idx="511">
                  <c:v>La Vache Qu</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Tartare</c:v>
                </c:pt>
                <c:pt idx="522">
                  <c:v>All Others</c:v>
                </c:pt>
                <c:pt idx="523">
                  <c:v>All Others</c:v>
                </c:pt>
                <c:pt idx="524">
                  <c:v>All Others</c:v>
                </c:pt>
                <c:pt idx="525">
                  <c:v>All Others</c:v>
                </c:pt>
                <c:pt idx="526">
                  <c:v>Islos</c:v>
                </c:pt>
                <c:pt idx="527">
                  <c:v>All Others</c:v>
                </c:pt>
                <c:pt idx="528">
                  <c:v>All Others</c:v>
                </c:pt>
                <c:pt idx="529">
                  <c:v>All Others</c:v>
                </c:pt>
                <c:pt idx="530">
                  <c:v>All Others</c:v>
                </c:pt>
                <c:pt idx="531">
                  <c:v>Triballat N</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All Others</c:v>
                </c:pt>
                <c:pt idx="542">
                  <c:v>All Others</c:v>
                </c:pt>
                <c:pt idx="543">
                  <c:v>All Others</c:v>
                </c:pt>
                <c:pt idx="544">
                  <c:v>All Others</c:v>
                </c:pt>
                <c:pt idx="545">
                  <c:v>All Others</c:v>
                </c:pt>
                <c:pt idx="546">
                  <c:v>All Others</c:v>
                </c:pt>
                <c:pt idx="547">
                  <c:v>All Others</c:v>
                </c:pt>
                <c:pt idx="548">
                  <c:v>All Others</c:v>
                </c:pt>
                <c:pt idx="549">
                  <c:v>All Others</c:v>
                </c:pt>
                <c:pt idx="550">
                  <c:v>All Others</c:v>
                </c:pt>
                <c:pt idx="551">
                  <c:v>All Others</c:v>
                </c:pt>
                <c:pt idx="552">
                  <c:v>All Others</c:v>
                </c:pt>
                <c:pt idx="553">
                  <c:v>Casa Azzurr</c:v>
                </c:pt>
                <c:pt idx="554">
                  <c:v>All Others</c:v>
                </c:pt>
                <c:pt idx="555">
                  <c:v>All Others</c:v>
                </c:pt>
                <c:pt idx="556">
                  <c:v>All Others</c:v>
                </c:pt>
                <c:pt idx="557">
                  <c:v>All Others</c:v>
                </c:pt>
                <c:pt idx="558">
                  <c:v>All Others</c:v>
                </c:pt>
                <c:pt idx="559">
                  <c:v>All Others</c:v>
                </c:pt>
                <c:pt idx="560">
                  <c:v>All Others</c:v>
                </c:pt>
                <c:pt idx="561">
                  <c:v>Eurial Autr</c:v>
                </c:pt>
                <c:pt idx="562">
                  <c:v>O'Tapas Ape</c:v>
                </c:pt>
                <c:pt idx="563">
                  <c:v>All Others</c:v>
                </c:pt>
                <c:pt idx="564">
                  <c:v>All Others</c:v>
                </c:pt>
                <c:pt idx="565">
                  <c:v>All Others</c:v>
                </c:pt>
                <c:pt idx="566">
                  <c:v>All Others</c:v>
                </c:pt>
                <c:pt idx="567">
                  <c:v>All Others</c:v>
                </c:pt>
                <c:pt idx="568">
                  <c:v>All Others</c:v>
                </c:pt>
                <c:pt idx="569">
                  <c:v>All Others</c:v>
                </c:pt>
                <c:pt idx="570">
                  <c:v>All Others</c:v>
                </c:pt>
                <c:pt idx="571">
                  <c:v>All Others</c:v>
                </c:pt>
                <c:pt idx="572">
                  <c:v>All Others</c:v>
                </c:pt>
                <c:pt idx="573">
                  <c:v>All Others</c:v>
                </c:pt>
                <c:pt idx="574">
                  <c:v>Apericube</c:v>
                </c:pt>
                <c:pt idx="575">
                  <c:v>All Others</c:v>
                </c:pt>
                <c:pt idx="576">
                  <c:v>All Others</c:v>
                </c:pt>
                <c:pt idx="577">
                  <c:v>All Others</c:v>
                </c:pt>
                <c:pt idx="578">
                  <c:v>All Others</c:v>
                </c:pt>
                <c:pt idx="579">
                  <c:v>All Others</c:v>
                </c:pt>
                <c:pt idx="580">
                  <c:v>All Others</c:v>
                </c:pt>
                <c:pt idx="581">
                  <c:v>All Others</c:v>
                </c:pt>
                <c:pt idx="582">
                  <c:v>All Others</c:v>
                </c:pt>
                <c:pt idx="583">
                  <c:v>All Others</c:v>
                </c:pt>
                <c:pt idx="584">
                  <c:v>All Others</c:v>
                </c:pt>
                <c:pt idx="585">
                  <c:v>All Others</c:v>
                </c:pt>
                <c:pt idx="586">
                  <c:v>All Others</c:v>
                </c:pt>
                <c:pt idx="587">
                  <c:v>All Others</c:v>
                </c:pt>
                <c:pt idx="588">
                  <c:v>All Others</c:v>
                </c:pt>
                <c:pt idx="589">
                  <c:v>All Others</c:v>
                </c:pt>
                <c:pt idx="590">
                  <c:v>All Others</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All Others</c:v>
                </c:pt>
                <c:pt idx="601">
                  <c:v>All Others</c:v>
                </c:pt>
                <c:pt idx="602">
                  <c:v>All Others</c:v>
                </c:pt>
                <c:pt idx="603">
                  <c:v>All Others</c:v>
                </c:pt>
                <c:pt idx="604">
                  <c:v>All Others</c:v>
                </c:pt>
                <c:pt idx="605">
                  <c:v>All Others</c:v>
                </c:pt>
                <c:pt idx="606">
                  <c:v>All Others</c:v>
                </c:pt>
                <c:pt idx="607">
                  <c:v>All Others</c:v>
                </c:pt>
                <c:pt idx="608">
                  <c:v>Triballat R</c:v>
                </c:pt>
                <c:pt idx="609">
                  <c:v>All Others</c:v>
                </c:pt>
                <c:pt idx="610">
                  <c:v>All Others</c:v>
                </c:pt>
                <c:pt idx="611">
                  <c:v>All Others</c:v>
                </c:pt>
                <c:pt idx="612">
                  <c:v>All Others</c:v>
                </c:pt>
                <c:pt idx="613">
                  <c:v>All Others</c:v>
                </c:pt>
                <c:pt idx="614">
                  <c:v>All Others</c:v>
                </c:pt>
                <c:pt idx="615">
                  <c:v>All Others</c:v>
                </c:pt>
                <c:pt idx="616">
                  <c:v>All Others</c:v>
                </c:pt>
                <c:pt idx="617">
                  <c:v>All Others</c:v>
                </c:pt>
                <c:pt idx="618">
                  <c:v>All Others</c:v>
                </c:pt>
                <c:pt idx="619">
                  <c:v>All Others</c:v>
                </c:pt>
                <c:pt idx="620">
                  <c:v>All Others</c:v>
                </c:pt>
                <c:pt idx="621">
                  <c:v>All Others</c:v>
                </c:pt>
                <c:pt idx="622">
                  <c:v>Kiri</c:v>
                </c:pt>
                <c:pt idx="623">
                  <c:v>All Others</c:v>
                </c:pt>
                <c:pt idx="624">
                  <c:v>All Others</c:v>
                </c:pt>
                <c:pt idx="625">
                  <c:v>All Others</c:v>
                </c:pt>
                <c:pt idx="626">
                  <c:v>All Others</c:v>
                </c:pt>
                <c:pt idx="627">
                  <c:v>All Others</c:v>
                </c:pt>
                <c:pt idx="628">
                  <c:v>All Others</c:v>
                </c:pt>
                <c:pt idx="629">
                  <c:v>All Others</c:v>
                </c:pt>
                <c:pt idx="630">
                  <c:v>All Others</c:v>
                </c:pt>
                <c:pt idx="631">
                  <c:v>All Others</c:v>
                </c:pt>
                <c:pt idx="632">
                  <c:v>Triballat N</c:v>
                </c:pt>
                <c:pt idx="633">
                  <c:v>Mini Babybe</c:v>
                </c:pt>
                <c:pt idx="634">
                  <c:v>Lactalis: A</c:v>
                </c:pt>
                <c:pt idx="635">
                  <c:v>All Others</c:v>
                </c:pt>
                <c:pt idx="636">
                  <c:v>All Others</c:v>
                </c:pt>
                <c:pt idx="637">
                  <c:v>All Others</c:v>
                </c:pt>
                <c:pt idx="638">
                  <c:v>All Others</c:v>
                </c:pt>
                <c:pt idx="639">
                  <c:v>All Others</c:v>
                </c:pt>
                <c:pt idx="640">
                  <c:v>Triballat R</c:v>
                </c:pt>
                <c:pt idx="641">
                  <c:v>Lactalis: A</c:v>
                </c:pt>
                <c:pt idx="642">
                  <c:v>Tartare</c:v>
                </c:pt>
                <c:pt idx="643">
                  <c:v>All Others</c:v>
                </c:pt>
                <c:pt idx="644">
                  <c:v>All Others</c:v>
                </c:pt>
                <c:pt idx="645">
                  <c:v>All Others</c:v>
                </c:pt>
                <c:pt idx="646">
                  <c:v>All Others</c:v>
                </c:pt>
                <c:pt idx="647">
                  <c:v>All Others</c:v>
                </c:pt>
                <c:pt idx="648">
                  <c:v>All Others</c:v>
                </c:pt>
                <c:pt idx="649">
                  <c:v>All Others</c:v>
                </c:pt>
                <c:pt idx="650">
                  <c:v>All Others</c:v>
                </c:pt>
                <c:pt idx="651">
                  <c:v>All Others</c:v>
                </c:pt>
                <c:pt idx="652">
                  <c:v>All Others</c:v>
                </c:pt>
                <c:pt idx="653">
                  <c:v>All Others</c:v>
                </c:pt>
                <c:pt idx="654">
                  <c:v>All Others</c:v>
                </c:pt>
                <c:pt idx="655">
                  <c:v>Soignon</c:v>
                </c:pt>
                <c:pt idx="656">
                  <c:v>Eurial Autr</c:v>
                </c:pt>
                <c:pt idx="657">
                  <c:v>All Others</c:v>
                </c:pt>
                <c:pt idx="658">
                  <c:v>All Others</c:v>
                </c:pt>
                <c:pt idx="659">
                  <c:v>All Others</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All Others</c:v>
                </c:pt>
                <c:pt idx="672">
                  <c:v>All Others</c:v>
                </c:pt>
                <c:pt idx="673">
                  <c:v>All Others</c:v>
                </c:pt>
                <c:pt idx="674">
                  <c:v>All Others</c:v>
                </c:pt>
                <c:pt idx="675">
                  <c:v>All Others</c:v>
                </c:pt>
                <c:pt idx="676">
                  <c:v>All Others</c:v>
                </c:pt>
                <c:pt idx="677">
                  <c:v>President</c:v>
                </c:pt>
                <c:pt idx="678">
                  <c:v>Lou Perac</c:v>
                </c:pt>
                <c:pt idx="679">
                  <c:v>All Others</c:v>
                </c:pt>
                <c:pt idx="680">
                  <c:v>All Others</c:v>
                </c:pt>
                <c:pt idx="681">
                  <c:v>All Others</c:v>
                </c:pt>
                <c:pt idx="682">
                  <c:v>All Others</c:v>
                </c:pt>
                <c:pt idx="683">
                  <c:v>All Others</c:v>
                </c:pt>
                <c:pt idx="684">
                  <c:v>All Others</c:v>
                </c:pt>
                <c:pt idx="685">
                  <c:v>All Others</c:v>
                </c:pt>
                <c:pt idx="686">
                  <c:v>Lactalis: A</c:v>
                </c:pt>
                <c:pt idx="687">
                  <c:v>All Others</c:v>
                </c:pt>
                <c:pt idx="688">
                  <c:v>All Others</c:v>
                </c:pt>
                <c:pt idx="689">
                  <c:v>All Others</c:v>
                </c:pt>
                <c:pt idx="690">
                  <c:v>All Others</c:v>
                </c:pt>
                <c:pt idx="691">
                  <c:v>All Others</c:v>
                </c:pt>
                <c:pt idx="692">
                  <c:v>All Others</c:v>
                </c:pt>
                <c:pt idx="693">
                  <c:v>All Others</c:v>
                </c:pt>
                <c:pt idx="694">
                  <c:v>All Others</c:v>
                </c:pt>
                <c:pt idx="695">
                  <c:v>All Others</c:v>
                </c:pt>
                <c:pt idx="696">
                  <c:v>All Others</c:v>
                </c:pt>
                <c:pt idx="697">
                  <c:v>All Others</c:v>
                </c:pt>
                <c:pt idx="698">
                  <c:v>All Others</c:v>
                </c:pt>
                <c:pt idx="699">
                  <c:v>All Others</c:v>
                </c:pt>
                <c:pt idx="700">
                  <c:v>All Others</c:v>
                </c:pt>
                <c:pt idx="701">
                  <c:v>All Others</c:v>
                </c:pt>
                <c:pt idx="702">
                  <c:v>Eurial Autr</c:v>
                </c:pt>
                <c:pt idx="703">
                  <c:v>All Others</c:v>
                </c:pt>
                <c:pt idx="704">
                  <c:v>Eurial Autr</c:v>
                </c:pt>
                <c:pt idx="705">
                  <c:v>All Others</c:v>
                </c:pt>
                <c:pt idx="706">
                  <c:v>All Others</c:v>
                </c:pt>
                <c:pt idx="707">
                  <c:v>All Others</c:v>
                </c:pt>
                <c:pt idx="708">
                  <c:v>All Others</c:v>
                </c:pt>
                <c:pt idx="709">
                  <c:v>Apericube</c:v>
                </c:pt>
                <c:pt idx="710">
                  <c:v>All Others</c:v>
                </c:pt>
                <c:pt idx="711">
                  <c:v>All Others</c:v>
                </c:pt>
                <c:pt idx="712">
                  <c:v>Savencia: A</c:v>
                </c:pt>
                <c:pt idx="713">
                  <c:v>All Others</c:v>
                </c:pt>
                <c:pt idx="714">
                  <c:v>All Others</c:v>
                </c:pt>
                <c:pt idx="715">
                  <c:v>Milleret: A</c:v>
                </c:pt>
                <c:pt idx="716">
                  <c:v>All Others</c:v>
                </c:pt>
                <c:pt idx="717">
                  <c:v>All Others</c:v>
                </c:pt>
                <c:pt idx="718">
                  <c:v>All Others</c:v>
                </c:pt>
                <c:pt idx="719">
                  <c:v>All Others</c:v>
                </c:pt>
                <c:pt idx="720">
                  <c:v>Lactalis: A</c:v>
                </c:pt>
                <c:pt idx="721">
                  <c:v>All Others</c:v>
                </c:pt>
                <c:pt idx="722">
                  <c:v>All Others</c:v>
                </c:pt>
                <c:pt idx="723">
                  <c:v>All Others</c:v>
                </c:pt>
                <c:pt idx="724">
                  <c:v>All Others</c:v>
                </c:pt>
                <c:pt idx="725">
                  <c:v>All Others</c:v>
                </c:pt>
                <c:pt idx="726">
                  <c:v>All Others</c:v>
                </c:pt>
                <c:pt idx="727">
                  <c:v>Lactalis: A</c:v>
                </c:pt>
                <c:pt idx="728">
                  <c:v>All Others</c:v>
                </c:pt>
                <c:pt idx="729">
                  <c:v>All Others</c:v>
                </c:pt>
                <c:pt idx="730">
                  <c:v>All Others</c:v>
                </c:pt>
                <c:pt idx="731">
                  <c:v>All Others</c:v>
                </c:pt>
                <c:pt idx="732">
                  <c:v>Violife</c:v>
                </c:pt>
                <c:pt idx="733">
                  <c:v>All Others</c:v>
                </c:pt>
                <c:pt idx="734">
                  <c:v>All Others</c:v>
                </c:pt>
                <c:pt idx="735">
                  <c:v>All Others</c:v>
                </c:pt>
                <c:pt idx="736">
                  <c:v>All Others</c:v>
                </c:pt>
                <c:pt idx="737">
                  <c:v>All Others</c:v>
                </c:pt>
                <c:pt idx="738">
                  <c:v>All Others</c:v>
                </c:pt>
                <c:pt idx="739">
                  <c:v>All Others</c:v>
                </c:pt>
                <c:pt idx="740">
                  <c:v>All Others</c:v>
                </c:pt>
                <c:pt idx="741">
                  <c:v>All Others</c:v>
                </c:pt>
                <c:pt idx="742">
                  <c:v>Corsica</c:v>
                </c:pt>
                <c:pt idx="743">
                  <c:v>All Others</c:v>
                </c:pt>
                <c:pt idx="744">
                  <c:v>All Others</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All Others</c:v>
                </c:pt>
                <c:pt idx="756">
                  <c:v>Savencia: A</c:v>
                </c:pt>
                <c:pt idx="757">
                  <c:v>All Others</c:v>
                </c:pt>
                <c:pt idx="758">
                  <c:v>All Others</c:v>
                </c:pt>
                <c:pt idx="759">
                  <c:v>All Others</c:v>
                </c:pt>
                <c:pt idx="760">
                  <c:v>All Others</c:v>
                </c:pt>
                <c:pt idx="761">
                  <c:v>All Others</c:v>
                </c:pt>
                <c:pt idx="762">
                  <c:v>All Others</c:v>
                </c:pt>
                <c:pt idx="763">
                  <c:v>Kiri</c:v>
                </c:pt>
                <c:pt idx="764">
                  <c:v>All Others</c:v>
                </c:pt>
                <c:pt idx="765">
                  <c:v>All Others</c:v>
                </c:pt>
                <c:pt idx="766">
                  <c:v>All Others</c:v>
                </c:pt>
                <c:pt idx="767">
                  <c:v>All Others</c:v>
                </c:pt>
                <c:pt idx="768">
                  <c:v>Apericube</c:v>
                </c:pt>
                <c:pt idx="769">
                  <c:v>All Others</c:v>
                </c:pt>
                <c:pt idx="770">
                  <c:v>All Others</c:v>
                </c:pt>
                <c:pt idx="771">
                  <c:v>All Others</c:v>
                </c:pt>
                <c:pt idx="772">
                  <c:v>Savencia: A</c:v>
                </c:pt>
                <c:pt idx="773">
                  <c:v>All Others</c:v>
                </c:pt>
                <c:pt idx="774">
                  <c:v>All Others</c:v>
                </c:pt>
                <c:pt idx="775">
                  <c:v>All Others</c:v>
                </c:pt>
                <c:pt idx="776">
                  <c:v>All Others</c:v>
                </c:pt>
                <c:pt idx="777">
                  <c:v>Etorki</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All Others</c:v>
                </c:pt>
                <c:pt idx="788">
                  <c:v>All Others</c:v>
                </c:pt>
                <c:pt idx="789">
                  <c:v>All Others</c:v>
                </c:pt>
                <c:pt idx="790">
                  <c:v>All Others</c:v>
                </c:pt>
                <c:pt idx="791">
                  <c:v>All Others</c:v>
                </c:pt>
                <c:pt idx="792">
                  <c:v>Caprice Des</c:v>
                </c:pt>
                <c:pt idx="793">
                  <c:v>All Others</c:v>
                </c:pt>
                <c:pt idx="794">
                  <c:v>All Others</c:v>
                </c:pt>
                <c:pt idx="795">
                  <c:v>All Others</c:v>
                </c:pt>
                <c:pt idx="796">
                  <c:v>All Others</c:v>
                </c:pt>
                <c:pt idx="797">
                  <c:v>All Others</c:v>
                </c:pt>
                <c:pt idx="798">
                  <c:v>All Others</c:v>
                </c:pt>
                <c:pt idx="799">
                  <c:v>Nurishh</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All Others</c:v>
                </c:pt>
                <c:pt idx="810">
                  <c:v>All Others</c:v>
                </c:pt>
                <c:pt idx="811">
                  <c:v>All Others</c:v>
                </c:pt>
                <c:pt idx="812">
                  <c:v>Petit Billy</c:v>
                </c:pt>
                <c:pt idx="813">
                  <c:v>Mini Babybe</c:v>
                </c:pt>
                <c:pt idx="814">
                  <c:v>All Others</c:v>
                </c:pt>
                <c:pt idx="815">
                  <c:v>All Others</c:v>
                </c:pt>
                <c:pt idx="816">
                  <c:v>All Others</c:v>
                </c:pt>
                <c:pt idx="817">
                  <c:v>All Others</c:v>
                </c:pt>
                <c:pt idx="818">
                  <c:v>All Others</c:v>
                </c:pt>
                <c:pt idx="819">
                  <c:v>All Others</c:v>
                </c:pt>
                <c:pt idx="820">
                  <c:v>Soignon</c:v>
                </c:pt>
                <c:pt idx="821">
                  <c:v>All Others</c:v>
                </c:pt>
                <c:pt idx="822">
                  <c:v>Soignon</c:v>
                </c:pt>
                <c:pt idx="823">
                  <c:v>All Others</c:v>
                </c:pt>
                <c:pt idx="824">
                  <c:v>Mini Babybe</c:v>
                </c:pt>
                <c:pt idx="825">
                  <c:v>All Others</c:v>
                </c:pt>
                <c:pt idx="826">
                  <c:v>All Others</c:v>
                </c:pt>
                <c:pt idx="827">
                  <c:v>All Others</c:v>
                </c:pt>
                <c:pt idx="828">
                  <c:v>All Others</c:v>
                </c:pt>
                <c:pt idx="829">
                  <c:v>La Vache Qu</c:v>
                </c:pt>
                <c:pt idx="830">
                  <c:v>All Others</c:v>
                </c:pt>
                <c:pt idx="831">
                  <c:v>All Others</c:v>
                </c:pt>
                <c:pt idx="832">
                  <c:v>All Others</c:v>
                </c:pt>
                <c:pt idx="833">
                  <c:v>All Others</c:v>
                </c:pt>
                <c:pt idx="834">
                  <c:v>All Others</c:v>
                </c:pt>
                <c:pt idx="835">
                  <c:v>All Others</c:v>
                </c:pt>
                <c:pt idx="836">
                  <c:v>All Others</c:v>
                </c:pt>
                <c:pt idx="837">
                  <c:v>All Others</c:v>
                </c:pt>
                <c:pt idx="838">
                  <c:v>All Others</c:v>
                </c:pt>
                <c:pt idx="839">
                  <c:v>Eurial Autr</c:v>
                </c:pt>
                <c:pt idx="840">
                  <c:v>All Others</c:v>
                </c:pt>
                <c:pt idx="841">
                  <c:v>All Others</c:v>
                </c:pt>
                <c:pt idx="842">
                  <c:v>All Others</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President</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Triballat R</c:v>
                </c:pt>
                <c:pt idx="868">
                  <c:v>All Others</c:v>
                </c:pt>
                <c:pt idx="869">
                  <c:v>All Others</c:v>
                </c:pt>
                <c:pt idx="870">
                  <c:v>All Others</c:v>
                </c:pt>
                <c:pt idx="871">
                  <c:v>Triballat R</c:v>
                </c:pt>
                <c:pt idx="872">
                  <c:v>All Others</c:v>
                </c:pt>
                <c:pt idx="873">
                  <c:v>Eurial Autr</c:v>
                </c:pt>
                <c:pt idx="874">
                  <c:v>Apericube</c:v>
                </c:pt>
                <c:pt idx="875">
                  <c:v>All Others</c:v>
                </c:pt>
                <c:pt idx="876">
                  <c:v>Lactalis: A</c:v>
                </c:pt>
                <c:pt idx="877">
                  <c:v>All Others</c:v>
                </c:pt>
                <c:pt idx="878">
                  <c:v>All Others</c:v>
                </c:pt>
                <c:pt idx="879">
                  <c:v>All Others</c:v>
                </c:pt>
                <c:pt idx="880">
                  <c:v>All Others</c:v>
                </c:pt>
                <c:pt idx="881">
                  <c:v>Lactalis: A</c:v>
                </c:pt>
                <c:pt idx="882">
                  <c:v>All Others</c:v>
                </c:pt>
                <c:pt idx="883">
                  <c:v>All Others</c:v>
                </c:pt>
                <c:pt idx="884">
                  <c:v>All Others</c:v>
                </c:pt>
                <c:pt idx="885">
                  <c:v>All Others</c:v>
                </c:pt>
                <c:pt idx="886">
                  <c:v>Soignon</c:v>
                </c:pt>
                <c:pt idx="887">
                  <c:v>All Others</c:v>
                </c:pt>
                <c:pt idx="888">
                  <c:v>Triballat R</c:v>
                </c:pt>
                <c:pt idx="889">
                  <c:v>All Others</c:v>
                </c:pt>
                <c:pt idx="890">
                  <c:v>All Others</c:v>
                </c:pt>
                <c:pt idx="891">
                  <c:v>All Others</c:v>
                </c:pt>
                <c:pt idx="892">
                  <c:v>All Others</c:v>
                </c:pt>
                <c:pt idx="893">
                  <c:v>All Others</c:v>
                </c:pt>
                <c:pt idx="894">
                  <c:v>All Others</c:v>
                </c:pt>
                <c:pt idx="895">
                  <c:v>All Others</c:v>
                </c:pt>
                <c:pt idx="896">
                  <c:v>All Others</c:v>
                </c:pt>
                <c:pt idx="897">
                  <c:v>All Others</c:v>
                </c:pt>
                <c:pt idx="898">
                  <c:v>All Others</c:v>
                </c:pt>
                <c:pt idx="899">
                  <c:v>All Others</c:v>
                </c:pt>
                <c:pt idx="900">
                  <c:v>All Others</c:v>
                </c:pt>
                <c:pt idx="901">
                  <c:v>Salakis</c:v>
                </c:pt>
                <c:pt idx="902">
                  <c:v>Societe</c:v>
                </c:pt>
                <c:pt idx="903">
                  <c:v>All Others</c:v>
                </c:pt>
                <c:pt idx="904">
                  <c:v>All Others</c:v>
                </c:pt>
                <c:pt idx="905">
                  <c:v>Lactalis: A</c:v>
                </c:pt>
                <c:pt idx="906">
                  <c:v>All Others</c:v>
                </c:pt>
                <c:pt idx="907">
                  <c:v>All Others</c:v>
                </c:pt>
                <c:pt idx="908">
                  <c:v>Lactalis: A</c:v>
                </c:pt>
                <c:pt idx="909">
                  <c:v>All Others</c:v>
                </c:pt>
                <c:pt idx="910">
                  <c:v>All Others</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All Others</c:v>
                </c:pt>
                <c:pt idx="922">
                  <c:v>All Others</c:v>
                </c:pt>
                <c:pt idx="923">
                  <c:v>All Others</c:v>
                </c:pt>
                <c:pt idx="924">
                  <c:v>All Others</c:v>
                </c:pt>
                <c:pt idx="925">
                  <c:v>All Others</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All Others</c:v>
                </c:pt>
                <c:pt idx="936">
                  <c:v>All Others</c:v>
                </c:pt>
                <c:pt idx="937">
                  <c:v>All Others</c:v>
                </c:pt>
                <c:pt idx="938">
                  <c:v>All Others</c:v>
                </c:pt>
                <c:pt idx="939">
                  <c:v>All Others</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All Others</c:v>
                </c:pt>
                <c:pt idx="950">
                  <c:v>All Others</c:v>
                </c:pt>
                <c:pt idx="951">
                  <c:v>All Others</c:v>
                </c:pt>
                <c:pt idx="952">
                  <c:v>All Others</c:v>
                </c:pt>
                <c:pt idx="953">
                  <c:v>All Others</c:v>
                </c:pt>
                <c:pt idx="954">
                  <c:v>All Others</c:v>
                </c:pt>
                <c:pt idx="955">
                  <c:v>All Others</c:v>
                </c:pt>
                <c:pt idx="956">
                  <c:v>All Others</c:v>
                </c:pt>
                <c:pt idx="957">
                  <c:v>All Others</c:v>
                </c:pt>
                <c:pt idx="958">
                  <c:v>All Others</c:v>
                </c:pt>
                <c:pt idx="959">
                  <c:v>All Others</c:v>
                </c:pt>
                <c:pt idx="960">
                  <c:v>All Others</c:v>
                </c:pt>
                <c:pt idx="961">
                  <c:v>All Others</c:v>
                </c:pt>
                <c:pt idx="962">
                  <c:v>All Others</c:v>
                </c:pt>
                <c:pt idx="963">
                  <c:v>All Others</c:v>
                </c:pt>
                <c:pt idx="964">
                  <c:v>All Others</c:v>
                </c:pt>
                <c:pt idx="965">
                  <c:v>All Others</c:v>
                </c:pt>
                <c:pt idx="966">
                  <c:v>All Others</c:v>
                </c:pt>
                <c:pt idx="967">
                  <c:v>All Others</c:v>
                </c:pt>
                <c:pt idx="968">
                  <c:v>All Others</c:v>
                </c:pt>
                <c:pt idx="969">
                  <c:v>Limiano</c:v>
                </c:pt>
                <c:pt idx="970">
                  <c:v>All Others</c:v>
                </c:pt>
                <c:pt idx="971">
                  <c:v>Petit Billy</c:v>
                </c:pt>
                <c:pt idx="972">
                  <c:v>Mini Babybe</c:v>
                </c:pt>
                <c:pt idx="973">
                  <c:v>Petit Billy</c:v>
                </c:pt>
                <c:pt idx="974">
                  <c:v>All Others</c:v>
                </c:pt>
                <c:pt idx="975">
                  <c:v>All Others</c:v>
                </c:pt>
                <c:pt idx="976">
                  <c:v>All Others</c:v>
                </c:pt>
                <c:pt idx="977">
                  <c:v>All Others</c:v>
                </c:pt>
                <c:pt idx="978">
                  <c:v>Savencia: A</c:v>
                </c:pt>
                <c:pt idx="979">
                  <c:v>All Others</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All Others</c:v>
                </c:pt>
                <c:pt idx="991">
                  <c:v>Mini Babybe</c:v>
                </c:pt>
                <c:pt idx="992">
                  <c:v>All Others</c:v>
                </c:pt>
                <c:pt idx="993">
                  <c:v>All Others</c:v>
                </c:pt>
                <c:pt idx="994">
                  <c:v>All Others</c:v>
                </c:pt>
                <c:pt idx="995">
                  <c:v>All Others</c:v>
                </c:pt>
                <c:pt idx="996">
                  <c:v>All Others</c:v>
                </c:pt>
                <c:pt idx="997">
                  <c:v>All Others</c:v>
                </c:pt>
                <c:pt idx="998">
                  <c:v>President</c:v>
                </c:pt>
                <c:pt idx="999">
                  <c:v>All Others</c:v>
                </c:pt>
                <c:pt idx="1000">
                  <c:v>All Others</c:v>
                </c:pt>
                <c:pt idx="1001">
                  <c:v>All Others</c:v>
                </c:pt>
                <c:pt idx="1002">
                  <c:v>All Others</c:v>
                </c:pt>
                <c:pt idx="1003">
                  <c:v>All Others</c:v>
                </c:pt>
                <c:pt idx="1004">
                  <c:v>All Others</c:v>
                </c:pt>
                <c:pt idx="1005">
                  <c:v>All Others</c:v>
                </c:pt>
                <c:pt idx="1006">
                  <c:v>All Others</c:v>
                </c:pt>
                <c:pt idx="1007">
                  <c:v>All Others</c:v>
                </c:pt>
                <c:pt idx="1008">
                  <c:v>Le Brebiou</c:v>
                </c:pt>
                <c:pt idx="1009">
                  <c:v>All Others</c:v>
                </c:pt>
                <c:pt idx="1010">
                  <c:v>All Others</c:v>
                </c:pt>
                <c:pt idx="1011">
                  <c:v>All Others</c:v>
                </c:pt>
                <c:pt idx="1012">
                  <c:v>All Others</c:v>
                </c:pt>
                <c:pt idx="1013">
                  <c:v>All Others</c:v>
                </c:pt>
                <c:pt idx="1014">
                  <c:v>Boursin</c:v>
                </c:pt>
                <c:pt idx="1015">
                  <c:v>Lactalis: A</c:v>
                </c:pt>
                <c:pt idx="1016">
                  <c:v>All Others</c:v>
                </c:pt>
                <c:pt idx="1017">
                  <c:v>All Others</c:v>
                </c:pt>
                <c:pt idx="1018">
                  <c:v>All Others</c:v>
                </c:pt>
                <c:pt idx="1019">
                  <c:v>All Others</c:v>
                </c:pt>
                <c:pt idx="1020">
                  <c:v>All Others</c:v>
                </c:pt>
                <c:pt idx="1021">
                  <c:v>All Others</c:v>
                </c:pt>
                <c:pt idx="1022">
                  <c:v>Boursin</c:v>
                </c:pt>
              </c:strCache>
            </c:strRef>
          </c:cat>
          <c:val>
            <c:numRef>
              <c:f>Sheet1!$B$2:$B$1024</c:f>
              <c:numCache>
                <c:formatCode>General</c:formatCode>
                <c:ptCount val="1023"/>
                <c:pt idx="0">
                  <c:v>1</c:v>
                </c:pt>
                <c:pt idx="1">
                  <c:v>1</c:v>
                </c:pt>
                <c:pt idx="2">
                  <c:v>1</c:v>
                </c:pt>
                <c:pt idx="3">
                  <c:v>0.98</c:v>
                </c:pt>
                <c:pt idx="4">
                  <c:v>0.98</c:v>
                </c:pt>
                <c:pt idx="5">
                  <c:v>0.98</c:v>
                </c:pt>
                <c:pt idx="6">
                  <c:v>1</c:v>
                </c:pt>
                <c:pt idx="7">
                  <c:v>0.97</c:v>
                </c:pt>
                <c:pt idx="8">
                  <c:v>0.99</c:v>
                </c:pt>
                <c:pt idx="9">
                  <c:v>1</c:v>
                </c:pt>
                <c:pt idx="10">
                  <c:v>1</c:v>
                </c:pt>
                <c:pt idx="11">
                  <c:v>1</c:v>
                </c:pt>
                <c:pt idx="12">
                  <c:v>1</c:v>
                </c:pt>
                <c:pt idx="13">
                  <c:v>1</c:v>
                </c:pt>
                <c:pt idx="14">
                  <c:v>1</c:v>
                </c:pt>
                <c:pt idx="15">
                  <c:v>1</c:v>
                </c:pt>
                <c:pt idx="16">
                  <c:v>0.99</c:v>
                </c:pt>
                <c:pt idx="17">
                  <c:v>1</c:v>
                </c:pt>
                <c:pt idx="18">
                  <c:v>1</c:v>
                </c:pt>
                <c:pt idx="19">
                  <c:v>1</c:v>
                </c:pt>
                <c:pt idx="20">
                  <c:v>1</c:v>
                </c:pt>
                <c:pt idx="21">
                  <c:v>1</c:v>
                </c:pt>
                <c:pt idx="22">
                  <c:v>0.97</c:v>
                </c:pt>
                <c:pt idx="23">
                  <c:v>1</c:v>
                </c:pt>
                <c:pt idx="24">
                  <c:v>0.97</c:v>
                </c:pt>
                <c:pt idx="25">
                  <c:v>1</c:v>
                </c:pt>
                <c:pt idx="26">
                  <c:v>1</c:v>
                </c:pt>
                <c:pt idx="27">
                  <c:v>1</c:v>
                </c:pt>
                <c:pt idx="28">
                  <c:v>1</c:v>
                </c:pt>
                <c:pt idx="29">
                  <c:v>0.96</c:v>
                </c:pt>
                <c:pt idx="30">
                  <c:v>0.99</c:v>
                </c:pt>
                <c:pt idx="31">
                  <c:v>1</c:v>
                </c:pt>
                <c:pt idx="32">
                  <c:v>0.99</c:v>
                </c:pt>
                <c:pt idx="33">
                  <c:v>1</c:v>
                </c:pt>
                <c:pt idx="34">
                  <c:v>1</c:v>
                </c:pt>
                <c:pt idx="35">
                  <c:v>1</c:v>
                </c:pt>
                <c:pt idx="36">
                  <c:v>1</c:v>
                </c:pt>
                <c:pt idx="37">
                  <c:v>0.98</c:v>
                </c:pt>
                <c:pt idx="38">
                  <c:v>1</c:v>
                </c:pt>
                <c:pt idx="39">
                  <c:v>0.99</c:v>
                </c:pt>
                <c:pt idx="40">
                  <c:v>1</c:v>
                </c:pt>
                <c:pt idx="41">
                  <c:v>1</c:v>
                </c:pt>
                <c:pt idx="42">
                  <c:v>0.99</c:v>
                </c:pt>
                <c:pt idx="43">
                  <c:v>0.99</c:v>
                </c:pt>
                <c:pt idx="44">
                  <c:v>1</c:v>
                </c:pt>
                <c:pt idx="45">
                  <c:v>1</c:v>
                </c:pt>
                <c:pt idx="46">
                  <c:v>0.99</c:v>
                </c:pt>
                <c:pt idx="47">
                  <c:v>1</c:v>
                </c:pt>
                <c:pt idx="48">
                  <c:v>0.99</c:v>
                </c:pt>
                <c:pt idx="49">
                  <c:v>1</c:v>
                </c:pt>
                <c:pt idx="50">
                  <c:v>1</c:v>
                </c:pt>
                <c:pt idx="51">
                  <c:v>0.93</c:v>
                </c:pt>
                <c:pt idx="52">
                  <c:v>1</c:v>
                </c:pt>
                <c:pt idx="53">
                  <c:v>0.94</c:v>
                </c:pt>
                <c:pt idx="54">
                  <c:v>0.99</c:v>
                </c:pt>
                <c:pt idx="55">
                  <c:v>0.99</c:v>
                </c:pt>
                <c:pt idx="56">
                  <c:v>1</c:v>
                </c:pt>
                <c:pt idx="57">
                  <c:v>0.96</c:v>
                </c:pt>
                <c:pt idx="58">
                  <c:v>0.97</c:v>
                </c:pt>
                <c:pt idx="59">
                  <c:v>0.93</c:v>
                </c:pt>
                <c:pt idx="60">
                  <c:v>0.98</c:v>
                </c:pt>
                <c:pt idx="61">
                  <c:v>0.96</c:v>
                </c:pt>
                <c:pt idx="62">
                  <c:v>0.94</c:v>
                </c:pt>
                <c:pt idx="63">
                  <c:v>0.81</c:v>
                </c:pt>
                <c:pt idx="64">
                  <c:v>1</c:v>
                </c:pt>
                <c:pt idx="65">
                  <c:v>0.99</c:v>
                </c:pt>
                <c:pt idx="66">
                  <c:v>0.91</c:v>
                </c:pt>
                <c:pt idx="67">
                  <c:v>1</c:v>
                </c:pt>
                <c:pt idx="68">
                  <c:v>1</c:v>
                </c:pt>
                <c:pt idx="69">
                  <c:v>0.97</c:v>
                </c:pt>
                <c:pt idx="70">
                  <c:v>1</c:v>
                </c:pt>
                <c:pt idx="71">
                  <c:v>1</c:v>
                </c:pt>
                <c:pt idx="72">
                  <c:v>0.98</c:v>
                </c:pt>
                <c:pt idx="73">
                  <c:v>1</c:v>
                </c:pt>
                <c:pt idx="74">
                  <c:v>0.92</c:v>
                </c:pt>
                <c:pt idx="75">
                  <c:v>0.95</c:v>
                </c:pt>
                <c:pt idx="76">
                  <c:v>0.99</c:v>
                </c:pt>
                <c:pt idx="77">
                  <c:v>1</c:v>
                </c:pt>
                <c:pt idx="78">
                  <c:v>0.95</c:v>
                </c:pt>
                <c:pt idx="79">
                  <c:v>0.85</c:v>
                </c:pt>
                <c:pt idx="80">
                  <c:v>1</c:v>
                </c:pt>
                <c:pt idx="81">
                  <c:v>0.97</c:v>
                </c:pt>
                <c:pt idx="82">
                  <c:v>1</c:v>
                </c:pt>
                <c:pt idx="83">
                  <c:v>1</c:v>
                </c:pt>
                <c:pt idx="84">
                  <c:v>0.99</c:v>
                </c:pt>
                <c:pt idx="85">
                  <c:v>1</c:v>
                </c:pt>
                <c:pt idx="86">
                  <c:v>1</c:v>
                </c:pt>
                <c:pt idx="87">
                  <c:v>0.84</c:v>
                </c:pt>
                <c:pt idx="88">
                  <c:v>0.95</c:v>
                </c:pt>
                <c:pt idx="89">
                  <c:v>1</c:v>
                </c:pt>
                <c:pt idx="90">
                  <c:v>1</c:v>
                </c:pt>
                <c:pt idx="91">
                  <c:v>0.96</c:v>
                </c:pt>
                <c:pt idx="92">
                  <c:v>0.97</c:v>
                </c:pt>
                <c:pt idx="93">
                  <c:v>1</c:v>
                </c:pt>
                <c:pt idx="94">
                  <c:v>0.98</c:v>
                </c:pt>
                <c:pt idx="95">
                  <c:v>0.99</c:v>
                </c:pt>
                <c:pt idx="96">
                  <c:v>0.98</c:v>
                </c:pt>
                <c:pt idx="97">
                  <c:v>0.99</c:v>
                </c:pt>
                <c:pt idx="98">
                  <c:v>0.93</c:v>
                </c:pt>
                <c:pt idx="99">
                  <c:v>0.91</c:v>
                </c:pt>
                <c:pt idx="100">
                  <c:v>0.99</c:v>
                </c:pt>
                <c:pt idx="101">
                  <c:v>0.9</c:v>
                </c:pt>
                <c:pt idx="102">
                  <c:v>0.9</c:v>
                </c:pt>
                <c:pt idx="103">
                  <c:v>1</c:v>
                </c:pt>
                <c:pt idx="104">
                  <c:v>0.98</c:v>
                </c:pt>
                <c:pt idx="105">
                  <c:v>0.88</c:v>
                </c:pt>
                <c:pt idx="106">
                  <c:v>0.99</c:v>
                </c:pt>
                <c:pt idx="107">
                  <c:v>0.93</c:v>
                </c:pt>
                <c:pt idx="108">
                  <c:v>0.96</c:v>
                </c:pt>
                <c:pt idx="109">
                  <c:v>0.97</c:v>
                </c:pt>
                <c:pt idx="110">
                  <c:v>0.99</c:v>
                </c:pt>
                <c:pt idx="111">
                  <c:v>0.93</c:v>
                </c:pt>
                <c:pt idx="112">
                  <c:v>0.99</c:v>
                </c:pt>
                <c:pt idx="113">
                  <c:v>0.97</c:v>
                </c:pt>
                <c:pt idx="114">
                  <c:v>0.92</c:v>
                </c:pt>
                <c:pt idx="115">
                  <c:v>1</c:v>
                </c:pt>
                <c:pt idx="116">
                  <c:v>0.94</c:v>
                </c:pt>
                <c:pt idx="117">
                  <c:v>0.89</c:v>
                </c:pt>
                <c:pt idx="118">
                  <c:v>1</c:v>
                </c:pt>
                <c:pt idx="119">
                  <c:v>1</c:v>
                </c:pt>
                <c:pt idx="120">
                  <c:v>1</c:v>
                </c:pt>
                <c:pt idx="121">
                  <c:v>0.95</c:v>
                </c:pt>
                <c:pt idx="122">
                  <c:v>0.9</c:v>
                </c:pt>
                <c:pt idx="123">
                  <c:v>0.76</c:v>
                </c:pt>
                <c:pt idx="124">
                  <c:v>0.99</c:v>
                </c:pt>
                <c:pt idx="125">
                  <c:v>1</c:v>
                </c:pt>
                <c:pt idx="126">
                  <c:v>1</c:v>
                </c:pt>
                <c:pt idx="127">
                  <c:v>0.99</c:v>
                </c:pt>
                <c:pt idx="128">
                  <c:v>0.97</c:v>
                </c:pt>
                <c:pt idx="129">
                  <c:v>0.96</c:v>
                </c:pt>
                <c:pt idx="130">
                  <c:v>0.98</c:v>
                </c:pt>
                <c:pt idx="131">
                  <c:v>0.94</c:v>
                </c:pt>
                <c:pt idx="132">
                  <c:v>1</c:v>
                </c:pt>
                <c:pt idx="133">
                  <c:v>1</c:v>
                </c:pt>
                <c:pt idx="134">
                  <c:v>0.98</c:v>
                </c:pt>
                <c:pt idx="135">
                  <c:v>0.99</c:v>
                </c:pt>
                <c:pt idx="136">
                  <c:v>0.99</c:v>
                </c:pt>
                <c:pt idx="137">
                  <c:v>0.71</c:v>
                </c:pt>
                <c:pt idx="138">
                  <c:v>0.96</c:v>
                </c:pt>
                <c:pt idx="139">
                  <c:v>1</c:v>
                </c:pt>
                <c:pt idx="140">
                  <c:v>1</c:v>
                </c:pt>
                <c:pt idx="141">
                  <c:v>0.88</c:v>
                </c:pt>
                <c:pt idx="142">
                  <c:v>0.98</c:v>
                </c:pt>
                <c:pt idx="143">
                  <c:v>0.92</c:v>
                </c:pt>
                <c:pt idx="144">
                  <c:v>0.85</c:v>
                </c:pt>
                <c:pt idx="145">
                  <c:v>0.93</c:v>
                </c:pt>
                <c:pt idx="146">
                  <c:v>0.99</c:v>
                </c:pt>
                <c:pt idx="147">
                  <c:v>0.98</c:v>
                </c:pt>
                <c:pt idx="148">
                  <c:v>0.96</c:v>
                </c:pt>
                <c:pt idx="149">
                  <c:v>0.91</c:v>
                </c:pt>
                <c:pt idx="150">
                  <c:v>0.96</c:v>
                </c:pt>
                <c:pt idx="151">
                  <c:v>0.99</c:v>
                </c:pt>
                <c:pt idx="152">
                  <c:v>0.94</c:v>
                </c:pt>
                <c:pt idx="153">
                  <c:v>0.79</c:v>
                </c:pt>
                <c:pt idx="154">
                  <c:v>0.92</c:v>
                </c:pt>
                <c:pt idx="155">
                  <c:v>0.99</c:v>
                </c:pt>
                <c:pt idx="156">
                  <c:v>0.96</c:v>
                </c:pt>
                <c:pt idx="157">
                  <c:v>0.99</c:v>
                </c:pt>
                <c:pt idx="158">
                  <c:v>0.99</c:v>
                </c:pt>
                <c:pt idx="159">
                  <c:v>0.91</c:v>
                </c:pt>
                <c:pt idx="160">
                  <c:v>0.99</c:v>
                </c:pt>
                <c:pt idx="161">
                  <c:v>0.97</c:v>
                </c:pt>
                <c:pt idx="162">
                  <c:v>0.75</c:v>
                </c:pt>
                <c:pt idx="163">
                  <c:v>0.87</c:v>
                </c:pt>
                <c:pt idx="164">
                  <c:v>0.95</c:v>
                </c:pt>
                <c:pt idx="165">
                  <c:v>0.65</c:v>
                </c:pt>
                <c:pt idx="166">
                  <c:v>0.79</c:v>
                </c:pt>
                <c:pt idx="167">
                  <c:v>0.93</c:v>
                </c:pt>
                <c:pt idx="168">
                  <c:v>0.95</c:v>
                </c:pt>
                <c:pt idx="169">
                  <c:v>0.99</c:v>
                </c:pt>
                <c:pt idx="170">
                  <c:v>0.88</c:v>
                </c:pt>
                <c:pt idx="171">
                  <c:v>0.89</c:v>
                </c:pt>
                <c:pt idx="172">
                  <c:v>0.93</c:v>
                </c:pt>
                <c:pt idx="173">
                  <c:v>0.99</c:v>
                </c:pt>
                <c:pt idx="174">
                  <c:v>0.98</c:v>
                </c:pt>
                <c:pt idx="175">
                  <c:v>1</c:v>
                </c:pt>
                <c:pt idx="176">
                  <c:v>0.87</c:v>
                </c:pt>
                <c:pt idx="177">
                  <c:v>1</c:v>
                </c:pt>
                <c:pt idx="178">
                  <c:v>0.9</c:v>
                </c:pt>
                <c:pt idx="179">
                  <c:v>0.99</c:v>
                </c:pt>
                <c:pt idx="180">
                  <c:v>0.67</c:v>
                </c:pt>
                <c:pt idx="181">
                  <c:v>0.94</c:v>
                </c:pt>
                <c:pt idx="182">
                  <c:v>0.98</c:v>
                </c:pt>
                <c:pt idx="183">
                  <c:v>0.84</c:v>
                </c:pt>
                <c:pt idx="184">
                  <c:v>0.92</c:v>
                </c:pt>
                <c:pt idx="185">
                  <c:v>0.97</c:v>
                </c:pt>
                <c:pt idx="186">
                  <c:v>0.96</c:v>
                </c:pt>
                <c:pt idx="187">
                  <c:v>0.96</c:v>
                </c:pt>
                <c:pt idx="188">
                  <c:v>0.94</c:v>
                </c:pt>
                <c:pt idx="189">
                  <c:v>0.75</c:v>
                </c:pt>
                <c:pt idx="190">
                  <c:v>0.88</c:v>
                </c:pt>
                <c:pt idx="191">
                  <c:v>0.97</c:v>
                </c:pt>
                <c:pt idx="192">
                  <c:v>0.6</c:v>
                </c:pt>
                <c:pt idx="193">
                  <c:v>0.94</c:v>
                </c:pt>
                <c:pt idx="194">
                  <c:v>0.95</c:v>
                </c:pt>
                <c:pt idx="195">
                  <c:v>0.88</c:v>
                </c:pt>
                <c:pt idx="196">
                  <c:v>0.84</c:v>
                </c:pt>
                <c:pt idx="197">
                  <c:v>0.31</c:v>
                </c:pt>
                <c:pt idx="198">
                  <c:v>0.94</c:v>
                </c:pt>
                <c:pt idx="199">
                  <c:v>0.95</c:v>
                </c:pt>
                <c:pt idx="200">
                  <c:v>0.97</c:v>
                </c:pt>
                <c:pt idx="201">
                  <c:v>0.98</c:v>
                </c:pt>
                <c:pt idx="202">
                  <c:v>0.96</c:v>
                </c:pt>
                <c:pt idx="203">
                  <c:v>0.94</c:v>
                </c:pt>
                <c:pt idx="204">
                  <c:v>0.91</c:v>
                </c:pt>
                <c:pt idx="205">
                  <c:v>0.71</c:v>
                </c:pt>
                <c:pt idx="206">
                  <c:v>0.91</c:v>
                </c:pt>
                <c:pt idx="207">
                  <c:v>0.94</c:v>
                </c:pt>
                <c:pt idx="208">
                  <c:v>0.95</c:v>
                </c:pt>
                <c:pt idx="209">
                  <c:v>0.91</c:v>
                </c:pt>
                <c:pt idx="210">
                  <c:v>0.83</c:v>
                </c:pt>
                <c:pt idx="211">
                  <c:v>0.95</c:v>
                </c:pt>
                <c:pt idx="212">
                  <c:v>0.83</c:v>
                </c:pt>
                <c:pt idx="213">
                  <c:v>0.87</c:v>
                </c:pt>
                <c:pt idx="214">
                  <c:v>0.99</c:v>
                </c:pt>
                <c:pt idx="215">
                  <c:v>0.77</c:v>
                </c:pt>
                <c:pt idx="216">
                  <c:v>0.75</c:v>
                </c:pt>
                <c:pt idx="217">
                  <c:v>0.95</c:v>
                </c:pt>
                <c:pt idx="218">
                  <c:v>0.94</c:v>
                </c:pt>
                <c:pt idx="219">
                  <c:v>0.99</c:v>
                </c:pt>
                <c:pt idx="220">
                  <c:v>0.81</c:v>
                </c:pt>
                <c:pt idx="221">
                  <c:v>0.92</c:v>
                </c:pt>
                <c:pt idx="222">
                  <c:v>0.94</c:v>
                </c:pt>
                <c:pt idx="223">
                  <c:v>0.97</c:v>
                </c:pt>
                <c:pt idx="224">
                  <c:v>0.82</c:v>
                </c:pt>
                <c:pt idx="225">
                  <c:v>0.93</c:v>
                </c:pt>
                <c:pt idx="226">
                  <c:v>0.92</c:v>
                </c:pt>
                <c:pt idx="227">
                  <c:v>0.88</c:v>
                </c:pt>
                <c:pt idx="228">
                  <c:v>0.88</c:v>
                </c:pt>
                <c:pt idx="229">
                  <c:v>0.87</c:v>
                </c:pt>
                <c:pt idx="230">
                  <c:v>0.84</c:v>
                </c:pt>
                <c:pt idx="231">
                  <c:v>0.97</c:v>
                </c:pt>
                <c:pt idx="232">
                  <c:v>0.47</c:v>
                </c:pt>
                <c:pt idx="233">
                  <c:v>0.65</c:v>
                </c:pt>
                <c:pt idx="234">
                  <c:v>0.67</c:v>
                </c:pt>
                <c:pt idx="235">
                  <c:v>0.82</c:v>
                </c:pt>
                <c:pt idx="236">
                  <c:v>0.88</c:v>
                </c:pt>
                <c:pt idx="237">
                  <c:v>0.94</c:v>
                </c:pt>
                <c:pt idx="238">
                  <c:v>0.93</c:v>
                </c:pt>
                <c:pt idx="239">
                  <c:v>0.83</c:v>
                </c:pt>
                <c:pt idx="240">
                  <c:v>0.84</c:v>
                </c:pt>
                <c:pt idx="241">
                  <c:v>0.88</c:v>
                </c:pt>
                <c:pt idx="242">
                  <c:v>0.99</c:v>
                </c:pt>
                <c:pt idx="243">
                  <c:v>0.87</c:v>
                </c:pt>
                <c:pt idx="244">
                  <c:v>0.87</c:v>
                </c:pt>
                <c:pt idx="245">
                  <c:v>0.85</c:v>
                </c:pt>
                <c:pt idx="246">
                  <c:v>0.87</c:v>
                </c:pt>
                <c:pt idx="247">
                  <c:v>0.88</c:v>
                </c:pt>
                <c:pt idx="248">
                  <c:v>0.83</c:v>
                </c:pt>
                <c:pt idx="249">
                  <c:v>0.82</c:v>
                </c:pt>
                <c:pt idx="250">
                  <c:v>0.57999999999999996</c:v>
                </c:pt>
                <c:pt idx="251">
                  <c:v>0.83</c:v>
                </c:pt>
                <c:pt idx="252">
                  <c:v>0.93</c:v>
                </c:pt>
                <c:pt idx="253">
                  <c:v>0.81</c:v>
                </c:pt>
                <c:pt idx="254">
                  <c:v>0.77</c:v>
                </c:pt>
                <c:pt idx="255">
                  <c:v>0.88</c:v>
                </c:pt>
                <c:pt idx="256">
                  <c:v>0.2</c:v>
                </c:pt>
                <c:pt idx="257">
                  <c:v>0.6</c:v>
                </c:pt>
                <c:pt idx="258">
                  <c:v>0.92</c:v>
                </c:pt>
                <c:pt idx="259">
                  <c:v>0.98</c:v>
                </c:pt>
                <c:pt idx="260">
                  <c:v>0.73</c:v>
                </c:pt>
                <c:pt idx="261">
                  <c:v>0.65</c:v>
                </c:pt>
                <c:pt idx="262">
                  <c:v>0.95</c:v>
                </c:pt>
                <c:pt idx="263">
                  <c:v>0.75</c:v>
                </c:pt>
                <c:pt idx="264">
                  <c:v>0.86</c:v>
                </c:pt>
                <c:pt idx="265">
                  <c:v>0.93</c:v>
                </c:pt>
                <c:pt idx="266">
                  <c:v>0.68</c:v>
                </c:pt>
                <c:pt idx="267">
                  <c:v>0.46</c:v>
                </c:pt>
                <c:pt idx="268">
                  <c:v>0.72</c:v>
                </c:pt>
                <c:pt idx="269">
                  <c:v>0.65</c:v>
                </c:pt>
                <c:pt idx="270">
                  <c:v>0.46</c:v>
                </c:pt>
                <c:pt idx="271">
                  <c:v>0.96</c:v>
                </c:pt>
                <c:pt idx="272">
                  <c:v>0.94</c:v>
                </c:pt>
                <c:pt idx="273">
                  <c:v>0.97</c:v>
                </c:pt>
                <c:pt idx="274">
                  <c:v>0.9</c:v>
                </c:pt>
                <c:pt idx="275">
                  <c:v>0.64</c:v>
                </c:pt>
                <c:pt idx="276">
                  <c:v>0.44</c:v>
                </c:pt>
                <c:pt idx="277">
                  <c:v>0.6</c:v>
                </c:pt>
                <c:pt idx="278">
                  <c:v>0.71</c:v>
                </c:pt>
                <c:pt idx="279">
                  <c:v>0.84</c:v>
                </c:pt>
                <c:pt idx="280">
                  <c:v>0.48</c:v>
                </c:pt>
                <c:pt idx="281">
                  <c:v>0.22</c:v>
                </c:pt>
                <c:pt idx="282">
                  <c:v>0.93</c:v>
                </c:pt>
                <c:pt idx="283">
                  <c:v>0.63</c:v>
                </c:pt>
                <c:pt idx="284">
                  <c:v>0.84</c:v>
                </c:pt>
                <c:pt idx="285">
                  <c:v>0.85</c:v>
                </c:pt>
                <c:pt idx="286">
                  <c:v>0.54</c:v>
                </c:pt>
                <c:pt idx="287">
                  <c:v>0.89</c:v>
                </c:pt>
                <c:pt idx="288">
                  <c:v>0.42</c:v>
                </c:pt>
                <c:pt idx="289">
                  <c:v>0.9</c:v>
                </c:pt>
                <c:pt idx="290">
                  <c:v>0.77</c:v>
                </c:pt>
                <c:pt idx="291">
                  <c:v>0.93</c:v>
                </c:pt>
                <c:pt idx="292">
                  <c:v>0.91</c:v>
                </c:pt>
                <c:pt idx="293">
                  <c:v>0.62</c:v>
                </c:pt>
                <c:pt idx="294">
                  <c:v>0.78</c:v>
                </c:pt>
                <c:pt idx="295">
                  <c:v>0.55000000000000004</c:v>
                </c:pt>
                <c:pt idx="296">
                  <c:v>0.77</c:v>
                </c:pt>
                <c:pt idx="297">
                  <c:v>0.79</c:v>
                </c:pt>
                <c:pt idx="298">
                  <c:v>0.73</c:v>
                </c:pt>
                <c:pt idx="299">
                  <c:v>0.75</c:v>
                </c:pt>
                <c:pt idx="300">
                  <c:v>0.68</c:v>
                </c:pt>
                <c:pt idx="301">
                  <c:v>0.92</c:v>
                </c:pt>
                <c:pt idx="302">
                  <c:v>0.86</c:v>
                </c:pt>
                <c:pt idx="303">
                  <c:v>0.89</c:v>
                </c:pt>
                <c:pt idx="304">
                  <c:v>0.41</c:v>
                </c:pt>
                <c:pt idx="305">
                  <c:v>0.33</c:v>
                </c:pt>
                <c:pt idx="306">
                  <c:v>0.77</c:v>
                </c:pt>
                <c:pt idx="307">
                  <c:v>0.34</c:v>
                </c:pt>
                <c:pt idx="308">
                  <c:v>0.81</c:v>
                </c:pt>
                <c:pt idx="309">
                  <c:v>0.7</c:v>
                </c:pt>
                <c:pt idx="310">
                  <c:v>0.85</c:v>
                </c:pt>
                <c:pt idx="311">
                  <c:v>0.7</c:v>
                </c:pt>
                <c:pt idx="312">
                  <c:v>0.57999999999999996</c:v>
                </c:pt>
                <c:pt idx="313">
                  <c:v>0.53</c:v>
                </c:pt>
                <c:pt idx="314">
                  <c:v>0.66</c:v>
                </c:pt>
                <c:pt idx="315">
                  <c:v>0.05</c:v>
                </c:pt>
                <c:pt idx="316">
                  <c:v>0.84</c:v>
                </c:pt>
                <c:pt idx="317">
                  <c:v>0.74</c:v>
                </c:pt>
                <c:pt idx="318">
                  <c:v>0.09</c:v>
                </c:pt>
                <c:pt idx="319">
                  <c:v>0.59</c:v>
                </c:pt>
                <c:pt idx="320">
                  <c:v>0.43</c:v>
                </c:pt>
                <c:pt idx="321">
                  <c:v>0.44</c:v>
                </c:pt>
                <c:pt idx="322">
                  <c:v>0.85</c:v>
                </c:pt>
                <c:pt idx="323">
                  <c:v>0.18</c:v>
                </c:pt>
                <c:pt idx="324">
                  <c:v>0.48</c:v>
                </c:pt>
                <c:pt idx="325">
                  <c:v>0.88</c:v>
                </c:pt>
                <c:pt idx="326">
                  <c:v>0.53</c:v>
                </c:pt>
                <c:pt idx="327">
                  <c:v>0.56000000000000005</c:v>
                </c:pt>
                <c:pt idx="328">
                  <c:v>0.7</c:v>
                </c:pt>
                <c:pt idx="329">
                  <c:v>0.38</c:v>
                </c:pt>
                <c:pt idx="330">
                  <c:v>0.54</c:v>
                </c:pt>
                <c:pt idx="331">
                  <c:v>0.3</c:v>
                </c:pt>
                <c:pt idx="332">
                  <c:v>0.46</c:v>
                </c:pt>
                <c:pt idx="333">
                  <c:v>0.4</c:v>
                </c:pt>
                <c:pt idx="334">
                  <c:v>0.76</c:v>
                </c:pt>
                <c:pt idx="335">
                  <c:v>0.85</c:v>
                </c:pt>
                <c:pt idx="336">
                  <c:v>0.73</c:v>
                </c:pt>
                <c:pt idx="337">
                  <c:v>0.72</c:v>
                </c:pt>
                <c:pt idx="338">
                  <c:v>0.15</c:v>
                </c:pt>
                <c:pt idx="339">
                  <c:v>0.73</c:v>
                </c:pt>
                <c:pt idx="340">
                  <c:v>0.06</c:v>
                </c:pt>
                <c:pt idx="341">
                  <c:v>0.9</c:v>
                </c:pt>
                <c:pt idx="342">
                  <c:v>0.86</c:v>
                </c:pt>
                <c:pt idx="343">
                  <c:v>0.38</c:v>
                </c:pt>
                <c:pt idx="344">
                  <c:v>7.0000000000000007E-2</c:v>
                </c:pt>
                <c:pt idx="345">
                  <c:v>0.66</c:v>
                </c:pt>
                <c:pt idx="346">
                  <c:v>0.79</c:v>
                </c:pt>
                <c:pt idx="347">
                  <c:v>0.84</c:v>
                </c:pt>
                <c:pt idx="348">
                  <c:v>0.39</c:v>
                </c:pt>
                <c:pt idx="349">
                  <c:v>0.76</c:v>
                </c:pt>
                <c:pt idx="350">
                  <c:v>0.68</c:v>
                </c:pt>
                <c:pt idx="351">
                  <c:v>0.54</c:v>
                </c:pt>
                <c:pt idx="352">
                  <c:v>0.72</c:v>
                </c:pt>
                <c:pt idx="353">
                  <c:v>0.04</c:v>
                </c:pt>
                <c:pt idx="354">
                  <c:v>0.28000000000000003</c:v>
                </c:pt>
                <c:pt idx="355">
                  <c:v>0.64</c:v>
                </c:pt>
                <c:pt idx="356">
                  <c:v>0.37</c:v>
                </c:pt>
                <c:pt idx="357">
                  <c:v>0.75</c:v>
                </c:pt>
                <c:pt idx="358">
                  <c:v>0.06</c:v>
                </c:pt>
                <c:pt idx="359">
                  <c:v>0.31</c:v>
                </c:pt>
                <c:pt idx="360">
                  <c:v>0.2</c:v>
                </c:pt>
                <c:pt idx="361">
                  <c:v>0.67</c:v>
                </c:pt>
                <c:pt idx="362">
                  <c:v>0.34</c:v>
                </c:pt>
                <c:pt idx="363">
                  <c:v>0.61</c:v>
                </c:pt>
                <c:pt idx="364">
                  <c:v>0.74</c:v>
                </c:pt>
                <c:pt idx="365">
                  <c:v>0.5</c:v>
                </c:pt>
                <c:pt idx="366">
                  <c:v>0.41</c:v>
                </c:pt>
                <c:pt idx="367">
                  <c:v>0.77</c:v>
                </c:pt>
                <c:pt idx="368">
                  <c:v>0.81</c:v>
                </c:pt>
                <c:pt idx="369">
                  <c:v>0.75</c:v>
                </c:pt>
                <c:pt idx="370">
                  <c:v>0.66</c:v>
                </c:pt>
                <c:pt idx="371">
                  <c:v>0.32</c:v>
                </c:pt>
                <c:pt idx="372">
                  <c:v>0.42</c:v>
                </c:pt>
                <c:pt idx="373">
                  <c:v>0.71</c:v>
                </c:pt>
                <c:pt idx="374">
                  <c:v>0.15</c:v>
                </c:pt>
                <c:pt idx="375">
                  <c:v>0.61</c:v>
                </c:pt>
                <c:pt idx="376">
                  <c:v>0.64</c:v>
                </c:pt>
                <c:pt idx="377">
                  <c:v>0.57999999999999996</c:v>
                </c:pt>
                <c:pt idx="378">
                  <c:v>0.47</c:v>
                </c:pt>
                <c:pt idx="379">
                  <c:v>0.84</c:v>
                </c:pt>
                <c:pt idx="380">
                  <c:v>0.31</c:v>
                </c:pt>
                <c:pt idx="381">
                  <c:v>0.72</c:v>
                </c:pt>
                <c:pt idx="382">
                  <c:v>0.42</c:v>
                </c:pt>
                <c:pt idx="383">
                  <c:v>0.16</c:v>
                </c:pt>
                <c:pt idx="384">
                  <c:v>0.28000000000000003</c:v>
                </c:pt>
                <c:pt idx="385">
                  <c:v>0.37</c:v>
                </c:pt>
                <c:pt idx="386">
                  <c:v>0.38</c:v>
                </c:pt>
                <c:pt idx="387">
                  <c:v>0.36</c:v>
                </c:pt>
                <c:pt idx="388">
                  <c:v>0.37</c:v>
                </c:pt>
                <c:pt idx="389">
                  <c:v>0.33</c:v>
                </c:pt>
                <c:pt idx="390">
                  <c:v>0.69</c:v>
                </c:pt>
                <c:pt idx="391">
                  <c:v>0.32</c:v>
                </c:pt>
                <c:pt idx="392">
                  <c:v>0.68</c:v>
                </c:pt>
                <c:pt idx="393">
                  <c:v>0.72</c:v>
                </c:pt>
                <c:pt idx="394">
                  <c:v>0.31</c:v>
                </c:pt>
                <c:pt idx="395">
                  <c:v>0.77</c:v>
                </c:pt>
                <c:pt idx="396">
                  <c:v>0.63</c:v>
                </c:pt>
                <c:pt idx="397">
                  <c:v>0.49</c:v>
                </c:pt>
                <c:pt idx="398">
                  <c:v>0.17</c:v>
                </c:pt>
                <c:pt idx="399">
                  <c:v>0.72</c:v>
                </c:pt>
                <c:pt idx="400">
                  <c:v>0.26</c:v>
                </c:pt>
                <c:pt idx="401">
                  <c:v>0.12</c:v>
                </c:pt>
                <c:pt idx="402">
                  <c:v>0.33</c:v>
                </c:pt>
                <c:pt idx="403">
                  <c:v>0.28000000000000003</c:v>
                </c:pt>
                <c:pt idx="404">
                  <c:v>0.6</c:v>
                </c:pt>
                <c:pt idx="405">
                  <c:v>0.11</c:v>
                </c:pt>
                <c:pt idx="406">
                  <c:v>0.52</c:v>
                </c:pt>
                <c:pt idx="407">
                  <c:v>0.24</c:v>
                </c:pt>
                <c:pt idx="408">
                  <c:v>0.38</c:v>
                </c:pt>
                <c:pt idx="409">
                  <c:v>0.09</c:v>
                </c:pt>
                <c:pt idx="410">
                  <c:v>0.13</c:v>
                </c:pt>
                <c:pt idx="411">
                  <c:v>0.62</c:v>
                </c:pt>
                <c:pt idx="412">
                  <c:v>0.14000000000000001</c:v>
                </c:pt>
                <c:pt idx="413">
                  <c:v>0.17</c:v>
                </c:pt>
                <c:pt idx="414">
                  <c:v>0.64</c:v>
                </c:pt>
                <c:pt idx="415">
                  <c:v>0.64</c:v>
                </c:pt>
                <c:pt idx="416">
                  <c:v>0.62</c:v>
                </c:pt>
                <c:pt idx="417">
                  <c:v>0.2</c:v>
                </c:pt>
                <c:pt idx="418">
                  <c:v>0.1</c:v>
                </c:pt>
                <c:pt idx="419">
                  <c:v>0.36</c:v>
                </c:pt>
                <c:pt idx="420">
                  <c:v>0.72</c:v>
                </c:pt>
                <c:pt idx="421">
                  <c:v>0.66</c:v>
                </c:pt>
                <c:pt idx="422">
                  <c:v>0.01</c:v>
                </c:pt>
                <c:pt idx="423">
                  <c:v>0.16</c:v>
                </c:pt>
                <c:pt idx="424">
                  <c:v>0.12</c:v>
                </c:pt>
                <c:pt idx="425">
                  <c:v>0.36</c:v>
                </c:pt>
                <c:pt idx="426">
                  <c:v>0.3</c:v>
                </c:pt>
                <c:pt idx="427">
                  <c:v>0.01</c:v>
                </c:pt>
                <c:pt idx="428">
                  <c:v>0.57999999999999996</c:v>
                </c:pt>
                <c:pt idx="429">
                  <c:v>0.34</c:v>
                </c:pt>
                <c:pt idx="430">
                  <c:v>0.27</c:v>
                </c:pt>
                <c:pt idx="431">
                  <c:v>0.04</c:v>
                </c:pt>
                <c:pt idx="432">
                  <c:v>0.54</c:v>
                </c:pt>
                <c:pt idx="433">
                  <c:v>0.44</c:v>
                </c:pt>
                <c:pt idx="434">
                  <c:v>0.25</c:v>
                </c:pt>
                <c:pt idx="435">
                  <c:v>0.59</c:v>
                </c:pt>
                <c:pt idx="436">
                  <c:v>0.28000000000000003</c:v>
                </c:pt>
                <c:pt idx="437">
                  <c:v>0.6</c:v>
                </c:pt>
                <c:pt idx="438">
                  <c:v>0.09</c:v>
                </c:pt>
                <c:pt idx="439">
                  <c:v>0.04</c:v>
                </c:pt>
                <c:pt idx="440">
                  <c:v>0.68</c:v>
                </c:pt>
                <c:pt idx="441">
                  <c:v>0.09</c:v>
                </c:pt>
                <c:pt idx="442">
                  <c:v>0.16</c:v>
                </c:pt>
                <c:pt idx="443">
                  <c:v>0.67</c:v>
                </c:pt>
                <c:pt idx="444">
                  <c:v>0.08</c:v>
                </c:pt>
                <c:pt idx="445">
                  <c:v>0.27</c:v>
                </c:pt>
                <c:pt idx="446">
                  <c:v>0.1</c:v>
                </c:pt>
                <c:pt idx="447">
                  <c:v>7.0000000000000007E-2</c:v>
                </c:pt>
                <c:pt idx="448">
                  <c:v>0.28000000000000003</c:v>
                </c:pt>
                <c:pt idx="449">
                  <c:v>0.68</c:v>
                </c:pt>
                <c:pt idx="450">
                  <c:v>0.34</c:v>
                </c:pt>
                <c:pt idx="451">
                  <c:v>7.0000000000000007E-2</c:v>
                </c:pt>
                <c:pt idx="452">
                  <c:v>0.91</c:v>
                </c:pt>
                <c:pt idx="453">
                  <c:v>0.15</c:v>
                </c:pt>
                <c:pt idx="454">
                  <c:v>0.3</c:v>
                </c:pt>
                <c:pt idx="455">
                  <c:v>0.1</c:v>
                </c:pt>
                <c:pt idx="456">
                  <c:v>0.17</c:v>
                </c:pt>
                <c:pt idx="457">
                  <c:v>0.21</c:v>
                </c:pt>
                <c:pt idx="458">
                  <c:v>0.09</c:v>
                </c:pt>
                <c:pt idx="459">
                  <c:v>0.16</c:v>
                </c:pt>
                <c:pt idx="460">
                  <c:v>0.69</c:v>
                </c:pt>
                <c:pt idx="461">
                  <c:v>0.49</c:v>
                </c:pt>
                <c:pt idx="462">
                  <c:v>0.49</c:v>
                </c:pt>
                <c:pt idx="463">
                  <c:v>0.57999999999999996</c:v>
                </c:pt>
                <c:pt idx="464">
                  <c:v>0.57999999999999996</c:v>
                </c:pt>
                <c:pt idx="465">
                  <c:v>0.19</c:v>
                </c:pt>
                <c:pt idx="466">
                  <c:v>0.32</c:v>
                </c:pt>
                <c:pt idx="467">
                  <c:v>0.53</c:v>
                </c:pt>
                <c:pt idx="468">
                  <c:v>0.09</c:v>
                </c:pt>
                <c:pt idx="469">
                  <c:v>0.1</c:v>
                </c:pt>
                <c:pt idx="470">
                  <c:v>0.14000000000000001</c:v>
                </c:pt>
                <c:pt idx="471">
                  <c:v>0.21</c:v>
                </c:pt>
                <c:pt idx="472">
                  <c:v>0.23</c:v>
                </c:pt>
                <c:pt idx="473">
                  <c:v>0.16</c:v>
                </c:pt>
                <c:pt idx="474">
                  <c:v>0.09</c:v>
                </c:pt>
                <c:pt idx="475">
                  <c:v>0.56999999999999995</c:v>
                </c:pt>
                <c:pt idx="476">
                  <c:v>0.18</c:v>
                </c:pt>
                <c:pt idx="477">
                  <c:v>0.04</c:v>
                </c:pt>
                <c:pt idx="478">
                  <c:v>0.28000000000000003</c:v>
                </c:pt>
                <c:pt idx="479">
                  <c:v>0.23</c:v>
                </c:pt>
                <c:pt idx="480">
                  <c:v>0.11</c:v>
                </c:pt>
                <c:pt idx="481">
                  <c:v>0.28000000000000003</c:v>
                </c:pt>
                <c:pt idx="482">
                  <c:v>0.09</c:v>
                </c:pt>
                <c:pt idx="483">
                  <c:v>0.16</c:v>
                </c:pt>
                <c:pt idx="484">
                  <c:v>0.56000000000000005</c:v>
                </c:pt>
                <c:pt idx="485">
                  <c:v>0.28999999999999998</c:v>
                </c:pt>
                <c:pt idx="486">
                  <c:v>0.09</c:v>
                </c:pt>
                <c:pt idx="487">
                  <c:v>0.01</c:v>
                </c:pt>
                <c:pt idx="488">
                  <c:v>7.0000000000000007E-2</c:v>
                </c:pt>
                <c:pt idx="489">
                  <c:v>0.04</c:v>
                </c:pt>
                <c:pt idx="490">
                  <c:v>0.04</c:v>
                </c:pt>
                <c:pt idx="491">
                  <c:v>0.25</c:v>
                </c:pt>
                <c:pt idx="492">
                  <c:v>0.05</c:v>
                </c:pt>
                <c:pt idx="493">
                  <c:v>7.0000000000000007E-2</c:v>
                </c:pt>
                <c:pt idx="494">
                  <c:v>0.1</c:v>
                </c:pt>
                <c:pt idx="495">
                  <c:v>0.56999999999999995</c:v>
                </c:pt>
                <c:pt idx="496">
                  <c:v>0.24</c:v>
                </c:pt>
                <c:pt idx="497">
                  <c:v>0.46</c:v>
                </c:pt>
                <c:pt idx="498">
                  <c:v>0.18</c:v>
                </c:pt>
                <c:pt idx="499">
                  <c:v>0.04</c:v>
                </c:pt>
                <c:pt idx="500">
                  <c:v>0.21</c:v>
                </c:pt>
                <c:pt idx="501">
                  <c:v>0.18</c:v>
                </c:pt>
                <c:pt idx="502">
                  <c:v>0.57999999999999996</c:v>
                </c:pt>
                <c:pt idx="503">
                  <c:v>0.49</c:v>
                </c:pt>
                <c:pt idx="504">
                  <c:v>0.21</c:v>
                </c:pt>
                <c:pt idx="505">
                  <c:v>0.08</c:v>
                </c:pt>
                <c:pt idx="506">
                  <c:v>7.0000000000000007E-2</c:v>
                </c:pt>
                <c:pt idx="507">
                  <c:v>0.28999999999999998</c:v>
                </c:pt>
                <c:pt idx="508">
                  <c:v>0.08</c:v>
                </c:pt>
                <c:pt idx="509">
                  <c:v>0.54</c:v>
                </c:pt>
                <c:pt idx="510">
                  <c:v>0.05</c:v>
                </c:pt>
                <c:pt idx="511">
                  <c:v>0.06</c:v>
                </c:pt>
                <c:pt idx="512">
                  <c:v>0.01</c:v>
                </c:pt>
                <c:pt idx="513">
                  <c:v>0.06</c:v>
                </c:pt>
                <c:pt idx="514">
                  <c:v>0.06</c:v>
                </c:pt>
                <c:pt idx="515">
                  <c:v>0.5</c:v>
                </c:pt>
                <c:pt idx="516">
                  <c:v>0.33</c:v>
                </c:pt>
                <c:pt idx="517">
                  <c:v>0.08</c:v>
                </c:pt>
                <c:pt idx="518">
                  <c:v>0.1</c:v>
                </c:pt>
                <c:pt idx="519">
                  <c:v>0.08</c:v>
                </c:pt>
                <c:pt idx="520">
                  <c:v>0.04</c:v>
                </c:pt>
                <c:pt idx="521">
                  <c:v>0.41</c:v>
                </c:pt>
                <c:pt idx="522">
                  <c:v>0.21</c:v>
                </c:pt>
                <c:pt idx="523">
                  <c:v>0.17</c:v>
                </c:pt>
                <c:pt idx="524">
                  <c:v>0.53</c:v>
                </c:pt>
                <c:pt idx="525">
                  <c:v>0.01</c:v>
                </c:pt>
                <c:pt idx="526">
                  <c:v>0.41</c:v>
                </c:pt>
                <c:pt idx="527">
                  <c:v>0.17</c:v>
                </c:pt>
                <c:pt idx="528">
                  <c:v>0.08</c:v>
                </c:pt>
                <c:pt idx="529">
                  <c:v>0.01</c:v>
                </c:pt>
                <c:pt idx="530">
                  <c:v>0.12</c:v>
                </c:pt>
                <c:pt idx="531">
                  <c:v>0.21</c:v>
                </c:pt>
                <c:pt idx="532">
                  <c:v>0.18</c:v>
                </c:pt>
                <c:pt idx="533">
                  <c:v>0.06</c:v>
                </c:pt>
                <c:pt idx="534">
                  <c:v>0.05</c:v>
                </c:pt>
                <c:pt idx="535">
                  <c:v>0.05</c:v>
                </c:pt>
                <c:pt idx="536">
                  <c:v>0.04</c:v>
                </c:pt>
                <c:pt idx="537">
                  <c:v>0.39</c:v>
                </c:pt>
                <c:pt idx="538">
                  <c:v>0.06</c:v>
                </c:pt>
                <c:pt idx="539">
                  <c:v>0.01</c:v>
                </c:pt>
                <c:pt idx="540">
                  <c:v>0.08</c:v>
                </c:pt>
                <c:pt idx="541">
                  <c:v>7.0000000000000007E-2</c:v>
                </c:pt>
                <c:pt idx="542">
                  <c:v>0.31</c:v>
                </c:pt>
                <c:pt idx="543">
                  <c:v>0.09</c:v>
                </c:pt>
                <c:pt idx="544">
                  <c:v>0.08</c:v>
                </c:pt>
                <c:pt idx="545">
                  <c:v>0.01</c:v>
                </c:pt>
                <c:pt idx="546">
                  <c:v>7.0000000000000007E-2</c:v>
                </c:pt>
                <c:pt idx="547">
                  <c:v>0.09</c:v>
                </c:pt>
                <c:pt idx="548">
                  <c:v>0.08</c:v>
                </c:pt>
                <c:pt idx="549">
                  <c:v>0.08</c:v>
                </c:pt>
                <c:pt idx="550">
                  <c:v>0.13</c:v>
                </c:pt>
                <c:pt idx="551">
                  <c:v>0.34</c:v>
                </c:pt>
                <c:pt idx="552">
                  <c:v>0.16</c:v>
                </c:pt>
                <c:pt idx="553">
                  <c:v>0.23</c:v>
                </c:pt>
                <c:pt idx="554">
                  <c:v>0.05</c:v>
                </c:pt>
                <c:pt idx="555">
                  <c:v>0.38</c:v>
                </c:pt>
                <c:pt idx="556">
                  <c:v>0.09</c:v>
                </c:pt>
                <c:pt idx="557">
                  <c:v>0.14000000000000001</c:v>
                </c:pt>
                <c:pt idx="558">
                  <c:v>0.06</c:v>
                </c:pt>
                <c:pt idx="559">
                  <c:v>0.1</c:v>
                </c:pt>
                <c:pt idx="560">
                  <c:v>0.02</c:v>
                </c:pt>
                <c:pt idx="561">
                  <c:v>0.02</c:v>
                </c:pt>
                <c:pt idx="562">
                  <c:v>0.16</c:v>
                </c:pt>
                <c:pt idx="563">
                  <c:v>0.2</c:v>
                </c:pt>
                <c:pt idx="564">
                  <c:v>0.24</c:v>
                </c:pt>
                <c:pt idx="565">
                  <c:v>0.04</c:v>
                </c:pt>
                <c:pt idx="566">
                  <c:v>0.06</c:v>
                </c:pt>
                <c:pt idx="567">
                  <c:v>0.14000000000000001</c:v>
                </c:pt>
                <c:pt idx="568">
                  <c:v>0.37</c:v>
                </c:pt>
                <c:pt idx="569">
                  <c:v>0.03</c:v>
                </c:pt>
                <c:pt idx="570">
                  <c:v>0.06</c:v>
                </c:pt>
                <c:pt idx="571">
                  <c:v>0.05</c:v>
                </c:pt>
                <c:pt idx="572">
                  <c:v>0.08</c:v>
                </c:pt>
                <c:pt idx="573">
                  <c:v>0.31</c:v>
                </c:pt>
                <c:pt idx="574">
                  <c:v>0.23</c:v>
                </c:pt>
                <c:pt idx="575">
                  <c:v>0.05</c:v>
                </c:pt>
                <c:pt idx="576">
                  <c:v>0.04</c:v>
                </c:pt>
                <c:pt idx="577">
                  <c:v>0.08</c:v>
                </c:pt>
                <c:pt idx="578">
                  <c:v>0.11</c:v>
                </c:pt>
                <c:pt idx="579">
                  <c:v>0.14000000000000001</c:v>
                </c:pt>
                <c:pt idx="580">
                  <c:v>0.56999999999999995</c:v>
                </c:pt>
                <c:pt idx="581">
                  <c:v>0.01</c:v>
                </c:pt>
                <c:pt idx="582">
                  <c:v>0.42</c:v>
                </c:pt>
                <c:pt idx="583">
                  <c:v>0.06</c:v>
                </c:pt>
                <c:pt idx="584">
                  <c:v>0.25</c:v>
                </c:pt>
                <c:pt idx="585">
                  <c:v>0.04</c:v>
                </c:pt>
                <c:pt idx="586">
                  <c:v>0.03</c:v>
                </c:pt>
                <c:pt idx="587">
                  <c:v>0.06</c:v>
                </c:pt>
                <c:pt idx="588">
                  <c:v>0.06</c:v>
                </c:pt>
                <c:pt idx="589">
                  <c:v>0.01</c:v>
                </c:pt>
                <c:pt idx="590">
                  <c:v>0.3</c:v>
                </c:pt>
                <c:pt idx="591">
                  <c:v>0.04</c:v>
                </c:pt>
                <c:pt idx="592">
                  <c:v>0.17</c:v>
                </c:pt>
                <c:pt idx="593">
                  <c:v>7.0000000000000007E-2</c:v>
                </c:pt>
                <c:pt idx="594">
                  <c:v>7.0000000000000007E-2</c:v>
                </c:pt>
                <c:pt idx="595">
                  <c:v>0.02</c:v>
                </c:pt>
                <c:pt idx="596">
                  <c:v>0.06</c:v>
                </c:pt>
                <c:pt idx="597">
                  <c:v>0.01</c:v>
                </c:pt>
                <c:pt idx="598">
                  <c:v>0.01</c:v>
                </c:pt>
                <c:pt idx="599">
                  <c:v>0.05</c:v>
                </c:pt>
                <c:pt idx="600">
                  <c:v>0.03</c:v>
                </c:pt>
                <c:pt idx="601">
                  <c:v>0.11</c:v>
                </c:pt>
                <c:pt idx="602">
                  <c:v>0.08</c:v>
                </c:pt>
                <c:pt idx="603">
                  <c:v>0.05</c:v>
                </c:pt>
                <c:pt idx="604">
                  <c:v>0.1</c:v>
                </c:pt>
                <c:pt idx="605">
                  <c:v>0.26</c:v>
                </c:pt>
                <c:pt idx="606">
                  <c:v>0.06</c:v>
                </c:pt>
                <c:pt idx="607">
                  <c:v>0.1</c:v>
                </c:pt>
                <c:pt idx="608">
                  <c:v>0.06</c:v>
                </c:pt>
                <c:pt idx="609">
                  <c:v>0.12</c:v>
                </c:pt>
                <c:pt idx="610">
                  <c:v>0.05</c:v>
                </c:pt>
                <c:pt idx="611">
                  <c:v>0.14000000000000001</c:v>
                </c:pt>
                <c:pt idx="612">
                  <c:v>7.0000000000000007E-2</c:v>
                </c:pt>
                <c:pt idx="613">
                  <c:v>0.02</c:v>
                </c:pt>
                <c:pt idx="614">
                  <c:v>0.05</c:v>
                </c:pt>
                <c:pt idx="615">
                  <c:v>0.05</c:v>
                </c:pt>
                <c:pt idx="616">
                  <c:v>0.26</c:v>
                </c:pt>
                <c:pt idx="617">
                  <c:v>0.04</c:v>
                </c:pt>
                <c:pt idx="618">
                  <c:v>0.1</c:v>
                </c:pt>
                <c:pt idx="619">
                  <c:v>0.04</c:v>
                </c:pt>
                <c:pt idx="620">
                  <c:v>0.01</c:v>
                </c:pt>
                <c:pt idx="621">
                  <c:v>7.0000000000000007E-2</c:v>
                </c:pt>
                <c:pt idx="622">
                  <c:v>0.56000000000000005</c:v>
                </c:pt>
                <c:pt idx="623">
                  <c:v>0.04</c:v>
                </c:pt>
                <c:pt idx="624">
                  <c:v>0.04</c:v>
                </c:pt>
                <c:pt idx="625">
                  <c:v>0.05</c:v>
                </c:pt>
                <c:pt idx="626">
                  <c:v>0.05</c:v>
                </c:pt>
                <c:pt idx="627">
                  <c:v>0.19</c:v>
                </c:pt>
                <c:pt idx="628">
                  <c:v>7.0000000000000007E-2</c:v>
                </c:pt>
                <c:pt idx="629">
                  <c:v>0.08</c:v>
                </c:pt>
                <c:pt idx="630">
                  <c:v>0.08</c:v>
                </c:pt>
                <c:pt idx="631">
                  <c:v>7.0000000000000007E-2</c:v>
                </c:pt>
                <c:pt idx="632">
                  <c:v>0.2</c:v>
                </c:pt>
                <c:pt idx="633">
                  <c:v>0.21</c:v>
                </c:pt>
                <c:pt idx="634">
                  <c:v>0.05</c:v>
                </c:pt>
                <c:pt idx="635">
                  <c:v>0.01</c:v>
                </c:pt>
                <c:pt idx="636">
                  <c:v>0.11</c:v>
                </c:pt>
                <c:pt idx="637">
                  <c:v>0.08</c:v>
                </c:pt>
                <c:pt idx="638">
                  <c:v>0.09</c:v>
                </c:pt>
                <c:pt idx="639">
                  <c:v>0.05</c:v>
                </c:pt>
                <c:pt idx="640">
                  <c:v>0.06</c:v>
                </c:pt>
                <c:pt idx="641">
                  <c:v>7.0000000000000007E-2</c:v>
                </c:pt>
                <c:pt idx="642">
                  <c:v>0.28000000000000003</c:v>
                </c:pt>
                <c:pt idx="643">
                  <c:v>0.03</c:v>
                </c:pt>
                <c:pt idx="644">
                  <c:v>0.01</c:v>
                </c:pt>
                <c:pt idx="645">
                  <c:v>0.06</c:v>
                </c:pt>
                <c:pt idx="646">
                  <c:v>0.01</c:v>
                </c:pt>
                <c:pt idx="647">
                  <c:v>0.06</c:v>
                </c:pt>
                <c:pt idx="648">
                  <c:v>7.0000000000000007E-2</c:v>
                </c:pt>
                <c:pt idx="649">
                  <c:v>0.11</c:v>
                </c:pt>
                <c:pt idx="650">
                  <c:v>0.03</c:v>
                </c:pt>
                <c:pt idx="651">
                  <c:v>7.0000000000000007E-2</c:v>
                </c:pt>
                <c:pt idx="652">
                  <c:v>0.05</c:v>
                </c:pt>
                <c:pt idx="653">
                  <c:v>0.11</c:v>
                </c:pt>
                <c:pt idx="654">
                  <c:v>0.05</c:v>
                </c:pt>
                <c:pt idx="655">
                  <c:v>0.03</c:v>
                </c:pt>
                <c:pt idx="656">
                  <c:v>0.08</c:v>
                </c:pt>
                <c:pt idx="657">
                  <c:v>0.01</c:v>
                </c:pt>
                <c:pt idx="658">
                  <c:v>0.33</c:v>
                </c:pt>
                <c:pt idx="659">
                  <c:v>0.02</c:v>
                </c:pt>
                <c:pt idx="660">
                  <c:v>0.02</c:v>
                </c:pt>
                <c:pt idx="661">
                  <c:v>7.0000000000000007E-2</c:v>
                </c:pt>
                <c:pt idx="662">
                  <c:v>7.0000000000000007E-2</c:v>
                </c:pt>
                <c:pt idx="663">
                  <c:v>0.06</c:v>
                </c:pt>
                <c:pt idx="664">
                  <c:v>0.17</c:v>
                </c:pt>
                <c:pt idx="665">
                  <c:v>0.01</c:v>
                </c:pt>
                <c:pt idx="666">
                  <c:v>0.04</c:v>
                </c:pt>
                <c:pt idx="667">
                  <c:v>7.0000000000000007E-2</c:v>
                </c:pt>
                <c:pt idx="668">
                  <c:v>0.05</c:v>
                </c:pt>
                <c:pt idx="669">
                  <c:v>0.01</c:v>
                </c:pt>
                <c:pt idx="670">
                  <c:v>7.0000000000000007E-2</c:v>
                </c:pt>
                <c:pt idx="671">
                  <c:v>0.06</c:v>
                </c:pt>
                <c:pt idx="672">
                  <c:v>0.09</c:v>
                </c:pt>
                <c:pt idx="673">
                  <c:v>0.01</c:v>
                </c:pt>
                <c:pt idx="674">
                  <c:v>0.02</c:v>
                </c:pt>
                <c:pt idx="675">
                  <c:v>0.06</c:v>
                </c:pt>
                <c:pt idx="676">
                  <c:v>0.13</c:v>
                </c:pt>
                <c:pt idx="677">
                  <c:v>0.28999999999999998</c:v>
                </c:pt>
                <c:pt idx="678">
                  <c:v>0.04</c:v>
                </c:pt>
                <c:pt idx="679">
                  <c:v>0.05</c:v>
                </c:pt>
                <c:pt idx="680">
                  <c:v>0.1</c:v>
                </c:pt>
                <c:pt idx="681">
                  <c:v>0.01</c:v>
                </c:pt>
                <c:pt idx="682">
                  <c:v>0.03</c:v>
                </c:pt>
                <c:pt idx="683">
                  <c:v>0.01</c:v>
                </c:pt>
                <c:pt idx="684">
                  <c:v>0.04</c:v>
                </c:pt>
                <c:pt idx="685">
                  <c:v>0.12</c:v>
                </c:pt>
                <c:pt idx="686">
                  <c:v>0.06</c:v>
                </c:pt>
                <c:pt idx="687">
                  <c:v>0.03</c:v>
                </c:pt>
                <c:pt idx="688">
                  <c:v>0.01</c:v>
                </c:pt>
                <c:pt idx="689">
                  <c:v>0.06</c:v>
                </c:pt>
                <c:pt idx="690">
                  <c:v>0.13</c:v>
                </c:pt>
                <c:pt idx="691">
                  <c:v>0.09</c:v>
                </c:pt>
                <c:pt idx="692">
                  <c:v>0.01</c:v>
                </c:pt>
                <c:pt idx="693">
                  <c:v>0.02</c:v>
                </c:pt>
                <c:pt idx="694">
                  <c:v>0.01</c:v>
                </c:pt>
                <c:pt idx="695">
                  <c:v>0.1</c:v>
                </c:pt>
                <c:pt idx="696">
                  <c:v>0.02</c:v>
                </c:pt>
                <c:pt idx="697">
                  <c:v>0.01</c:v>
                </c:pt>
                <c:pt idx="698">
                  <c:v>0.04</c:v>
                </c:pt>
                <c:pt idx="699">
                  <c:v>0.02</c:v>
                </c:pt>
                <c:pt idx="700">
                  <c:v>0.08</c:v>
                </c:pt>
                <c:pt idx="701">
                  <c:v>0.02</c:v>
                </c:pt>
                <c:pt idx="702">
                  <c:v>0.03</c:v>
                </c:pt>
                <c:pt idx="703">
                  <c:v>0.06</c:v>
                </c:pt>
                <c:pt idx="704">
                  <c:v>0.03</c:v>
                </c:pt>
                <c:pt idx="705">
                  <c:v>0.03</c:v>
                </c:pt>
                <c:pt idx="706">
                  <c:v>0.05</c:v>
                </c:pt>
                <c:pt idx="707">
                  <c:v>0.03</c:v>
                </c:pt>
                <c:pt idx="708">
                  <c:v>0.01</c:v>
                </c:pt>
                <c:pt idx="709">
                  <c:v>0.16</c:v>
                </c:pt>
                <c:pt idx="710">
                  <c:v>0.04</c:v>
                </c:pt>
                <c:pt idx="711">
                  <c:v>0.01</c:v>
                </c:pt>
                <c:pt idx="712">
                  <c:v>0.05</c:v>
                </c:pt>
                <c:pt idx="713">
                  <c:v>0.01</c:v>
                </c:pt>
                <c:pt idx="714">
                  <c:v>0.01</c:v>
                </c:pt>
                <c:pt idx="715">
                  <c:v>0.28999999999999998</c:v>
                </c:pt>
                <c:pt idx="716">
                  <c:v>7.0000000000000007E-2</c:v>
                </c:pt>
                <c:pt idx="717">
                  <c:v>0.06</c:v>
                </c:pt>
                <c:pt idx="718">
                  <c:v>0.05</c:v>
                </c:pt>
                <c:pt idx="719">
                  <c:v>0.01</c:v>
                </c:pt>
                <c:pt idx="720">
                  <c:v>0.09</c:v>
                </c:pt>
                <c:pt idx="721">
                  <c:v>0.02</c:v>
                </c:pt>
                <c:pt idx="722">
                  <c:v>0.19</c:v>
                </c:pt>
                <c:pt idx="723">
                  <c:v>0.08</c:v>
                </c:pt>
                <c:pt idx="724">
                  <c:v>0.04</c:v>
                </c:pt>
                <c:pt idx="725">
                  <c:v>7.0000000000000007E-2</c:v>
                </c:pt>
                <c:pt idx="726">
                  <c:v>0.08</c:v>
                </c:pt>
                <c:pt idx="727">
                  <c:v>0.11</c:v>
                </c:pt>
                <c:pt idx="728">
                  <c:v>0.01</c:v>
                </c:pt>
                <c:pt idx="729">
                  <c:v>0.01</c:v>
                </c:pt>
                <c:pt idx="730">
                  <c:v>0.03</c:v>
                </c:pt>
                <c:pt idx="731">
                  <c:v>0.11</c:v>
                </c:pt>
                <c:pt idx="732">
                  <c:v>0.17</c:v>
                </c:pt>
                <c:pt idx="733">
                  <c:v>0.06</c:v>
                </c:pt>
                <c:pt idx="734">
                  <c:v>0.05</c:v>
                </c:pt>
                <c:pt idx="735">
                  <c:v>0.02</c:v>
                </c:pt>
                <c:pt idx="736">
                  <c:v>0.02</c:v>
                </c:pt>
                <c:pt idx="737">
                  <c:v>0.04</c:v>
                </c:pt>
                <c:pt idx="738">
                  <c:v>7.0000000000000007E-2</c:v>
                </c:pt>
                <c:pt idx="739">
                  <c:v>0.01</c:v>
                </c:pt>
                <c:pt idx="740">
                  <c:v>0.03</c:v>
                </c:pt>
                <c:pt idx="741">
                  <c:v>0.01</c:v>
                </c:pt>
                <c:pt idx="742">
                  <c:v>0.23</c:v>
                </c:pt>
                <c:pt idx="743">
                  <c:v>0.02</c:v>
                </c:pt>
                <c:pt idx="744">
                  <c:v>0.05</c:v>
                </c:pt>
                <c:pt idx="745">
                  <c:v>0.04</c:v>
                </c:pt>
                <c:pt idx="746">
                  <c:v>0.04</c:v>
                </c:pt>
                <c:pt idx="747">
                  <c:v>0.03</c:v>
                </c:pt>
                <c:pt idx="748">
                  <c:v>0.01</c:v>
                </c:pt>
                <c:pt idx="749">
                  <c:v>0.06</c:v>
                </c:pt>
                <c:pt idx="750">
                  <c:v>0.02</c:v>
                </c:pt>
                <c:pt idx="751">
                  <c:v>0.01</c:v>
                </c:pt>
                <c:pt idx="752">
                  <c:v>0.04</c:v>
                </c:pt>
                <c:pt idx="753">
                  <c:v>0.02</c:v>
                </c:pt>
                <c:pt idx="754">
                  <c:v>0.01</c:v>
                </c:pt>
                <c:pt idx="755">
                  <c:v>0.04</c:v>
                </c:pt>
                <c:pt idx="756">
                  <c:v>7.0000000000000007E-2</c:v>
                </c:pt>
                <c:pt idx="757">
                  <c:v>0.06</c:v>
                </c:pt>
                <c:pt idx="758">
                  <c:v>0.01</c:v>
                </c:pt>
                <c:pt idx="759">
                  <c:v>0.02</c:v>
                </c:pt>
                <c:pt idx="760">
                  <c:v>0.03</c:v>
                </c:pt>
                <c:pt idx="761">
                  <c:v>0.01</c:v>
                </c:pt>
                <c:pt idx="762">
                  <c:v>0.01</c:v>
                </c:pt>
                <c:pt idx="763">
                  <c:v>0.15</c:v>
                </c:pt>
                <c:pt idx="764">
                  <c:v>0.05</c:v>
                </c:pt>
                <c:pt idx="765">
                  <c:v>0.02</c:v>
                </c:pt>
                <c:pt idx="766">
                  <c:v>0.05</c:v>
                </c:pt>
                <c:pt idx="767">
                  <c:v>0.02</c:v>
                </c:pt>
                <c:pt idx="768">
                  <c:v>0.12</c:v>
                </c:pt>
                <c:pt idx="769">
                  <c:v>0.19</c:v>
                </c:pt>
                <c:pt idx="770">
                  <c:v>0.05</c:v>
                </c:pt>
                <c:pt idx="771">
                  <c:v>0.03</c:v>
                </c:pt>
                <c:pt idx="772">
                  <c:v>7.0000000000000007E-2</c:v>
                </c:pt>
                <c:pt idx="773">
                  <c:v>0.05</c:v>
                </c:pt>
                <c:pt idx="774">
                  <c:v>0.02</c:v>
                </c:pt>
                <c:pt idx="775">
                  <c:v>0.03</c:v>
                </c:pt>
                <c:pt idx="776">
                  <c:v>0.06</c:v>
                </c:pt>
                <c:pt idx="777">
                  <c:v>0.2</c:v>
                </c:pt>
                <c:pt idx="778">
                  <c:v>0.05</c:v>
                </c:pt>
                <c:pt idx="779">
                  <c:v>0.05</c:v>
                </c:pt>
                <c:pt idx="780">
                  <c:v>0.01</c:v>
                </c:pt>
                <c:pt idx="781">
                  <c:v>0.05</c:v>
                </c:pt>
                <c:pt idx="782">
                  <c:v>0.09</c:v>
                </c:pt>
                <c:pt idx="783">
                  <c:v>0.02</c:v>
                </c:pt>
                <c:pt idx="784">
                  <c:v>0.04</c:v>
                </c:pt>
                <c:pt idx="785">
                  <c:v>0.02</c:v>
                </c:pt>
                <c:pt idx="786">
                  <c:v>0.04</c:v>
                </c:pt>
                <c:pt idx="787">
                  <c:v>0.06</c:v>
                </c:pt>
                <c:pt idx="788">
                  <c:v>0.01</c:v>
                </c:pt>
                <c:pt idx="789">
                  <c:v>0.06</c:v>
                </c:pt>
                <c:pt idx="790">
                  <c:v>0.04</c:v>
                </c:pt>
                <c:pt idx="791">
                  <c:v>0.04</c:v>
                </c:pt>
                <c:pt idx="792">
                  <c:v>0.32</c:v>
                </c:pt>
                <c:pt idx="793">
                  <c:v>0.01</c:v>
                </c:pt>
                <c:pt idx="794">
                  <c:v>0.03</c:v>
                </c:pt>
                <c:pt idx="795">
                  <c:v>0.02</c:v>
                </c:pt>
                <c:pt idx="796">
                  <c:v>0.01</c:v>
                </c:pt>
                <c:pt idx="797">
                  <c:v>0.02</c:v>
                </c:pt>
                <c:pt idx="798">
                  <c:v>0.03</c:v>
                </c:pt>
                <c:pt idx="799">
                  <c:v>0.34</c:v>
                </c:pt>
                <c:pt idx="800">
                  <c:v>0.09</c:v>
                </c:pt>
                <c:pt idx="801">
                  <c:v>0.05</c:v>
                </c:pt>
                <c:pt idx="802">
                  <c:v>0.01</c:v>
                </c:pt>
                <c:pt idx="803">
                  <c:v>0.02</c:v>
                </c:pt>
                <c:pt idx="804">
                  <c:v>0.04</c:v>
                </c:pt>
                <c:pt idx="805">
                  <c:v>0.06</c:v>
                </c:pt>
                <c:pt idx="806">
                  <c:v>0.03</c:v>
                </c:pt>
                <c:pt idx="807">
                  <c:v>0.03</c:v>
                </c:pt>
                <c:pt idx="808">
                  <c:v>0.01</c:v>
                </c:pt>
                <c:pt idx="809">
                  <c:v>0.03</c:v>
                </c:pt>
                <c:pt idx="810">
                  <c:v>0.01</c:v>
                </c:pt>
                <c:pt idx="811">
                  <c:v>0.03</c:v>
                </c:pt>
                <c:pt idx="812">
                  <c:v>0.19</c:v>
                </c:pt>
                <c:pt idx="813">
                  <c:v>0.38</c:v>
                </c:pt>
                <c:pt idx="814">
                  <c:v>7.0000000000000007E-2</c:v>
                </c:pt>
                <c:pt idx="815">
                  <c:v>0.08</c:v>
                </c:pt>
                <c:pt idx="816">
                  <c:v>0.04</c:v>
                </c:pt>
                <c:pt idx="817">
                  <c:v>0.05</c:v>
                </c:pt>
                <c:pt idx="818">
                  <c:v>0.02</c:v>
                </c:pt>
                <c:pt idx="819">
                  <c:v>0.01</c:v>
                </c:pt>
                <c:pt idx="820">
                  <c:v>0.02</c:v>
                </c:pt>
                <c:pt idx="821">
                  <c:v>0.03</c:v>
                </c:pt>
                <c:pt idx="822">
                  <c:v>0.25</c:v>
                </c:pt>
                <c:pt idx="823">
                  <c:v>0.04</c:v>
                </c:pt>
                <c:pt idx="824">
                  <c:v>0.04</c:v>
                </c:pt>
                <c:pt idx="825">
                  <c:v>0.01</c:v>
                </c:pt>
                <c:pt idx="826">
                  <c:v>0.14000000000000001</c:v>
                </c:pt>
                <c:pt idx="827">
                  <c:v>0.03</c:v>
                </c:pt>
                <c:pt idx="828">
                  <c:v>0.02</c:v>
                </c:pt>
                <c:pt idx="829">
                  <c:v>0.19</c:v>
                </c:pt>
                <c:pt idx="830">
                  <c:v>0.01</c:v>
                </c:pt>
                <c:pt idx="831">
                  <c:v>0.02</c:v>
                </c:pt>
                <c:pt idx="832">
                  <c:v>0.02</c:v>
                </c:pt>
                <c:pt idx="833">
                  <c:v>0.03</c:v>
                </c:pt>
                <c:pt idx="834">
                  <c:v>0.01</c:v>
                </c:pt>
                <c:pt idx="835">
                  <c:v>0.14000000000000001</c:v>
                </c:pt>
                <c:pt idx="836">
                  <c:v>0.02</c:v>
                </c:pt>
                <c:pt idx="837">
                  <c:v>0.01</c:v>
                </c:pt>
                <c:pt idx="838">
                  <c:v>0.05</c:v>
                </c:pt>
                <c:pt idx="839">
                  <c:v>0.02</c:v>
                </c:pt>
                <c:pt idx="840">
                  <c:v>0.05</c:v>
                </c:pt>
                <c:pt idx="841">
                  <c:v>0.01</c:v>
                </c:pt>
                <c:pt idx="842">
                  <c:v>0.01</c:v>
                </c:pt>
                <c:pt idx="843">
                  <c:v>0.01</c:v>
                </c:pt>
                <c:pt idx="844">
                  <c:v>0.01</c:v>
                </c:pt>
                <c:pt idx="845">
                  <c:v>0.01</c:v>
                </c:pt>
                <c:pt idx="846">
                  <c:v>0.02</c:v>
                </c:pt>
                <c:pt idx="847">
                  <c:v>0.01</c:v>
                </c:pt>
                <c:pt idx="848">
                  <c:v>0.03</c:v>
                </c:pt>
                <c:pt idx="849">
                  <c:v>0.02</c:v>
                </c:pt>
                <c:pt idx="850">
                  <c:v>0.01</c:v>
                </c:pt>
                <c:pt idx="851">
                  <c:v>0.01</c:v>
                </c:pt>
                <c:pt idx="852">
                  <c:v>0.04</c:v>
                </c:pt>
                <c:pt idx="853">
                  <c:v>0.04</c:v>
                </c:pt>
                <c:pt idx="854">
                  <c:v>0.05</c:v>
                </c:pt>
                <c:pt idx="855">
                  <c:v>0.01</c:v>
                </c:pt>
                <c:pt idx="856">
                  <c:v>0.15</c:v>
                </c:pt>
                <c:pt idx="857">
                  <c:v>0.01</c:v>
                </c:pt>
                <c:pt idx="858">
                  <c:v>0.04</c:v>
                </c:pt>
                <c:pt idx="859">
                  <c:v>0.03</c:v>
                </c:pt>
                <c:pt idx="860">
                  <c:v>0.01</c:v>
                </c:pt>
                <c:pt idx="861">
                  <c:v>0.12</c:v>
                </c:pt>
                <c:pt idx="862">
                  <c:v>0.01</c:v>
                </c:pt>
                <c:pt idx="863">
                  <c:v>0.01</c:v>
                </c:pt>
                <c:pt idx="864">
                  <c:v>0.01</c:v>
                </c:pt>
                <c:pt idx="865">
                  <c:v>0.01</c:v>
                </c:pt>
                <c:pt idx="866">
                  <c:v>0.01</c:v>
                </c:pt>
                <c:pt idx="867">
                  <c:v>0.02</c:v>
                </c:pt>
                <c:pt idx="868">
                  <c:v>0.05</c:v>
                </c:pt>
                <c:pt idx="869">
                  <c:v>0.01</c:v>
                </c:pt>
                <c:pt idx="870">
                  <c:v>0.01</c:v>
                </c:pt>
                <c:pt idx="871">
                  <c:v>0.11</c:v>
                </c:pt>
                <c:pt idx="872">
                  <c:v>0.01</c:v>
                </c:pt>
                <c:pt idx="873">
                  <c:v>0.03</c:v>
                </c:pt>
                <c:pt idx="874">
                  <c:v>0.11</c:v>
                </c:pt>
                <c:pt idx="875">
                  <c:v>0.02</c:v>
                </c:pt>
                <c:pt idx="876">
                  <c:v>0.02</c:v>
                </c:pt>
                <c:pt idx="877">
                  <c:v>0.04</c:v>
                </c:pt>
                <c:pt idx="878">
                  <c:v>0.01</c:v>
                </c:pt>
                <c:pt idx="879">
                  <c:v>0.01</c:v>
                </c:pt>
                <c:pt idx="880">
                  <c:v>0.01</c:v>
                </c:pt>
                <c:pt idx="881">
                  <c:v>0.02</c:v>
                </c:pt>
                <c:pt idx="882">
                  <c:v>0.02</c:v>
                </c:pt>
                <c:pt idx="883">
                  <c:v>0.04</c:v>
                </c:pt>
                <c:pt idx="884">
                  <c:v>0.02</c:v>
                </c:pt>
                <c:pt idx="885">
                  <c:v>0.01</c:v>
                </c:pt>
                <c:pt idx="886">
                  <c:v>0.02</c:v>
                </c:pt>
                <c:pt idx="887">
                  <c:v>0.01</c:v>
                </c:pt>
                <c:pt idx="888">
                  <c:v>0.02</c:v>
                </c:pt>
                <c:pt idx="889">
                  <c:v>0.02</c:v>
                </c:pt>
                <c:pt idx="890">
                  <c:v>0.01</c:v>
                </c:pt>
                <c:pt idx="891">
                  <c:v>0.01</c:v>
                </c:pt>
                <c:pt idx="892">
                  <c:v>0.02</c:v>
                </c:pt>
                <c:pt idx="893">
                  <c:v>0.03</c:v>
                </c:pt>
                <c:pt idx="894">
                  <c:v>0.01</c:v>
                </c:pt>
                <c:pt idx="895">
                  <c:v>0.06</c:v>
                </c:pt>
                <c:pt idx="896">
                  <c:v>0.04</c:v>
                </c:pt>
                <c:pt idx="897">
                  <c:v>0.01</c:v>
                </c:pt>
                <c:pt idx="898">
                  <c:v>0.01</c:v>
                </c:pt>
                <c:pt idx="899">
                  <c:v>0.02</c:v>
                </c:pt>
                <c:pt idx="900">
                  <c:v>0.02</c:v>
                </c:pt>
                <c:pt idx="901">
                  <c:v>0.01</c:v>
                </c:pt>
                <c:pt idx="902">
                  <c:v>0.01</c:v>
                </c:pt>
                <c:pt idx="903">
                  <c:v>0.03</c:v>
                </c:pt>
                <c:pt idx="904">
                  <c:v>0.02</c:v>
                </c:pt>
                <c:pt idx="905">
                  <c:v>0.01</c:v>
                </c:pt>
                <c:pt idx="906">
                  <c:v>0.02</c:v>
                </c:pt>
                <c:pt idx="907">
                  <c:v>0.06</c:v>
                </c:pt>
                <c:pt idx="908">
                  <c:v>0.01</c:v>
                </c:pt>
                <c:pt idx="909">
                  <c:v>0.01</c:v>
                </c:pt>
                <c:pt idx="910">
                  <c:v>0.02</c:v>
                </c:pt>
                <c:pt idx="911">
                  <c:v>0.01</c:v>
                </c:pt>
                <c:pt idx="912">
                  <c:v>0.01</c:v>
                </c:pt>
                <c:pt idx="913">
                  <c:v>0.01</c:v>
                </c:pt>
                <c:pt idx="914">
                  <c:v>0.03</c:v>
                </c:pt>
                <c:pt idx="915">
                  <c:v>0.05</c:v>
                </c:pt>
                <c:pt idx="916">
                  <c:v>0.01</c:v>
                </c:pt>
                <c:pt idx="917">
                  <c:v>0.04</c:v>
                </c:pt>
                <c:pt idx="918">
                  <c:v>0.03</c:v>
                </c:pt>
                <c:pt idx="919">
                  <c:v>0.01</c:v>
                </c:pt>
                <c:pt idx="920">
                  <c:v>0.01</c:v>
                </c:pt>
                <c:pt idx="921">
                  <c:v>0.01</c:v>
                </c:pt>
                <c:pt idx="922">
                  <c:v>0.01</c:v>
                </c:pt>
                <c:pt idx="923">
                  <c:v>0.01</c:v>
                </c:pt>
                <c:pt idx="924">
                  <c:v>0.09</c:v>
                </c:pt>
                <c:pt idx="925">
                  <c:v>0.01</c:v>
                </c:pt>
                <c:pt idx="926">
                  <c:v>0.01</c:v>
                </c:pt>
                <c:pt idx="927">
                  <c:v>0.01</c:v>
                </c:pt>
                <c:pt idx="928">
                  <c:v>0.01</c:v>
                </c:pt>
                <c:pt idx="929">
                  <c:v>0.01</c:v>
                </c:pt>
                <c:pt idx="930">
                  <c:v>0.03</c:v>
                </c:pt>
                <c:pt idx="931">
                  <c:v>0.01</c:v>
                </c:pt>
                <c:pt idx="932">
                  <c:v>0.01</c:v>
                </c:pt>
                <c:pt idx="933">
                  <c:v>0.01</c:v>
                </c:pt>
                <c:pt idx="934">
                  <c:v>0.01</c:v>
                </c:pt>
                <c:pt idx="935">
                  <c:v>0.02</c:v>
                </c:pt>
                <c:pt idx="936">
                  <c:v>0.01</c:v>
                </c:pt>
                <c:pt idx="937">
                  <c:v>0.01</c:v>
                </c:pt>
                <c:pt idx="938">
                  <c:v>0.14000000000000001</c:v>
                </c:pt>
                <c:pt idx="939">
                  <c:v>0.01</c:v>
                </c:pt>
                <c:pt idx="940">
                  <c:v>0.01</c:v>
                </c:pt>
                <c:pt idx="941">
                  <c:v>0.01</c:v>
                </c:pt>
                <c:pt idx="942">
                  <c:v>0.01</c:v>
                </c:pt>
                <c:pt idx="943">
                  <c:v>0.03</c:v>
                </c:pt>
                <c:pt idx="944">
                  <c:v>0.01</c:v>
                </c:pt>
                <c:pt idx="945">
                  <c:v>0.03</c:v>
                </c:pt>
                <c:pt idx="946">
                  <c:v>0.01</c:v>
                </c:pt>
                <c:pt idx="947">
                  <c:v>0.02</c:v>
                </c:pt>
                <c:pt idx="948">
                  <c:v>0.02</c:v>
                </c:pt>
                <c:pt idx="949">
                  <c:v>0.01</c:v>
                </c:pt>
                <c:pt idx="950">
                  <c:v>0.01</c:v>
                </c:pt>
                <c:pt idx="951">
                  <c:v>0.02</c:v>
                </c:pt>
                <c:pt idx="952">
                  <c:v>0.02</c:v>
                </c:pt>
                <c:pt idx="953">
                  <c:v>0.09</c:v>
                </c:pt>
                <c:pt idx="954">
                  <c:v>0.09</c:v>
                </c:pt>
                <c:pt idx="955">
                  <c:v>0.01</c:v>
                </c:pt>
                <c:pt idx="956">
                  <c:v>0.01</c:v>
                </c:pt>
                <c:pt idx="957">
                  <c:v>0.01</c:v>
                </c:pt>
                <c:pt idx="958">
                  <c:v>0.01</c:v>
                </c:pt>
                <c:pt idx="959">
                  <c:v>0.01</c:v>
                </c:pt>
                <c:pt idx="960">
                  <c:v>0.01</c:v>
                </c:pt>
                <c:pt idx="961">
                  <c:v>0.01</c:v>
                </c:pt>
                <c:pt idx="962">
                  <c:v>0.01</c:v>
                </c:pt>
                <c:pt idx="963">
                  <c:v>0.01</c:v>
                </c:pt>
                <c:pt idx="964">
                  <c:v>0.01</c:v>
                </c:pt>
                <c:pt idx="965">
                  <c:v>0.01</c:v>
                </c:pt>
                <c:pt idx="966">
                  <c:v>0.03</c:v>
                </c:pt>
                <c:pt idx="967">
                  <c:v>0.01</c:v>
                </c:pt>
                <c:pt idx="968">
                  <c:v>0.02</c:v>
                </c:pt>
                <c:pt idx="969">
                  <c:v>0.01</c:v>
                </c:pt>
                <c:pt idx="970">
                  <c:v>0.02</c:v>
                </c:pt>
                <c:pt idx="971">
                  <c:v>0.1</c:v>
                </c:pt>
                <c:pt idx="972">
                  <c:v>7.0000000000000007E-2</c:v>
                </c:pt>
                <c:pt idx="973">
                  <c:v>0.08</c:v>
                </c:pt>
                <c:pt idx="974">
                  <c:v>0.01</c:v>
                </c:pt>
                <c:pt idx="975">
                  <c:v>0.11</c:v>
                </c:pt>
                <c:pt idx="976">
                  <c:v>0.01</c:v>
                </c:pt>
                <c:pt idx="977">
                  <c:v>0.01</c:v>
                </c:pt>
                <c:pt idx="978">
                  <c:v>0.01</c:v>
                </c:pt>
                <c:pt idx="979">
                  <c:v>0.01</c:v>
                </c:pt>
                <c:pt idx="980">
                  <c:v>0.01</c:v>
                </c:pt>
                <c:pt idx="981">
                  <c:v>0.01</c:v>
                </c:pt>
                <c:pt idx="982">
                  <c:v>0.02</c:v>
                </c:pt>
                <c:pt idx="983">
                  <c:v>0.01</c:v>
                </c:pt>
                <c:pt idx="984">
                  <c:v>0.02</c:v>
                </c:pt>
                <c:pt idx="985">
                  <c:v>0.01</c:v>
                </c:pt>
                <c:pt idx="986">
                  <c:v>0.01</c:v>
                </c:pt>
                <c:pt idx="987">
                  <c:v>0.01</c:v>
                </c:pt>
                <c:pt idx="988">
                  <c:v>0.08</c:v>
                </c:pt>
                <c:pt idx="989">
                  <c:v>0.01</c:v>
                </c:pt>
                <c:pt idx="990">
                  <c:v>0.01</c:v>
                </c:pt>
                <c:pt idx="991">
                  <c:v>0.04</c:v>
                </c:pt>
                <c:pt idx="992">
                  <c:v>0.02</c:v>
                </c:pt>
                <c:pt idx="993">
                  <c:v>0.01</c:v>
                </c:pt>
                <c:pt idx="994">
                  <c:v>0.01</c:v>
                </c:pt>
                <c:pt idx="995">
                  <c:v>0.01</c:v>
                </c:pt>
                <c:pt idx="996">
                  <c:v>0.01</c:v>
                </c:pt>
                <c:pt idx="997">
                  <c:v>0.02</c:v>
                </c:pt>
                <c:pt idx="998">
                  <c:v>0.12</c:v>
                </c:pt>
                <c:pt idx="999">
                  <c:v>0.02</c:v>
                </c:pt>
                <c:pt idx="1000">
                  <c:v>0.01</c:v>
                </c:pt>
                <c:pt idx="1001">
                  <c:v>0.01</c:v>
                </c:pt>
                <c:pt idx="1002">
                  <c:v>0.01</c:v>
                </c:pt>
                <c:pt idx="1003">
                  <c:v>0.01</c:v>
                </c:pt>
                <c:pt idx="1004">
                  <c:v>0.01</c:v>
                </c:pt>
                <c:pt idx="1005">
                  <c:v>0.01</c:v>
                </c:pt>
                <c:pt idx="1006">
                  <c:v>0.02</c:v>
                </c:pt>
                <c:pt idx="1007">
                  <c:v>0.02</c:v>
                </c:pt>
                <c:pt idx="1008">
                  <c:v>0.05</c:v>
                </c:pt>
                <c:pt idx="1009">
                  <c:v>0.01</c:v>
                </c:pt>
                <c:pt idx="1010">
                  <c:v>0.01</c:v>
                </c:pt>
                <c:pt idx="1011">
                  <c:v>0.02</c:v>
                </c:pt>
                <c:pt idx="1012">
                  <c:v>0.01</c:v>
                </c:pt>
                <c:pt idx="1013">
                  <c:v>0.01</c:v>
                </c:pt>
                <c:pt idx="1014">
                  <c:v>0.02</c:v>
                </c:pt>
                <c:pt idx="1015">
                  <c:v>0.01</c:v>
                </c:pt>
                <c:pt idx="1016">
                  <c:v>0.01</c:v>
                </c:pt>
                <c:pt idx="1017">
                  <c:v>0.01</c:v>
                </c:pt>
                <c:pt idx="1018">
                  <c:v>0.01</c:v>
                </c:pt>
                <c:pt idx="1019">
                  <c:v>0.01</c:v>
                </c:pt>
                <c:pt idx="1020">
                  <c:v>0.02</c:v>
                </c:pt>
                <c:pt idx="1021">
                  <c:v>0.01</c:v>
                </c:pt>
                <c:pt idx="102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86F4-458F-B5E5-D296EB1009DF}"/>
              </c:ext>
            </c:extLst>
          </c:dPt>
          <c:dPt>
            <c:idx val="211"/>
            <c:invertIfNegative val="1"/>
            <c:bubble3D val="0"/>
            <c:spPr>
              <a:solidFill>
                <a:srgbClr val="7ECAC4"/>
              </a:solidFill>
            </c:spPr>
            <c:extLst>
              <c:ext xmlns:c16="http://schemas.microsoft.com/office/drawing/2014/chart" uri="{C3380CC4-5D6E-409C-BE32-E72D297353CC}">
                <c16:uniqueId val="{000001A9-86F4-458F-B5E5-D296EB1009DF}"/>
              </c:ext>
            </c:extLst>
          </c:dPt>
          <c:dPt>
            <c:idx val="212"/>
            <c:invertIfNegative val="1"/>
            <c:bubble3D val="0"/>
            <c:spPr>
              <a:solidFill>
                <a:srgbClr val="7ECAC4"/>
              </a:solidFill>
            </c:spPr>
            <c:extLst>
              <c:ext xmlns:c16="http://schemas.microsoft.com/office/drawing/2014/chart" uri="{C3380CC4-5D6E-409C-BE32-E72D297353CC}">
                <c16:uniqueId val="{000001AB-86F4-458F-B5E5-D296EB1009DF}"/>
              </c:ext>
            </c:extLst>
          </c:dPt>
          <c:dPt>
            <c:idx val="213"/>
            <c:invertIfNegative val="1"/>
            <c:bubble3D val="0"/>
            <c:spPr>
              <a:solidFill>
                <a:srgbClr val="7ECAC4"/>
              </a:solidFill>
            </c:spPr>
            <c:extLst>
              <c:ext xmlns:c16="http://schemas.microsoft.com/office/drawing/2014/chart" uri="{C3380CC4-5D6E-409C-BE32-E72D297353CC}">
                <c16:uniqueId val="{000001AD-86F4-458F-B5E5-D296EB1009DF}"/>
              </c:ext>
            </c:extLst>
          </c:dPt>
          <c:dPt>
            <c:idx val="214"/>
            <c:invertIfNegative val="1"/>
            <c:bubble3D val="0"/>
            <c:spPr>
              <a:solidFill>
                <a:srgbClr val="7ECAC4"/>
              </a:solidFill>
            </c:spPr>
            <c:extLst>
              <c:ext xmlns:c16="http://schemas.microsoft.com/office/drawing/2014/chart" uri="{C3380CC4-5D6E-409C-BE32-E72D297353CC}">
                <c16:uniqueId val="{000001AF-86F4-458F-B5E5-D296EB1009DF}"/>
              </c:ext>
            </c:extLst>
          </c:dPt>
          <c:dPt>
            <c:idx val="215"/>
            <c:invertIfNegative val="1"/>
            <c:bubble3D val="0"/>
            <c:spPr>
              <a:solidFill>
                <a:srgbClr val="7ECAC4"/>
              </a:solidFill>
            </c:spPr>
            <c:extLst>
              <c:ext xmlns:c16="http://schemas.microsoft.com/office/drawing/2014/chart" uri="{C3380CC4-5D6E-409C-BE32-E72D297353CC}">
                <c16:uniqueId val="{000001B1-86F4-458F-B5E5-D296EB1009DF}"/>
              </c:ext>
            </c:extLst>
          </c:dPt>
          <c:dPt>
            <c:idx val="216"/>
            <c:invertIfNegative val="1"/>
            <c:bubble3D val="0"/>
            <c:spPr>
              <a:solidFill>
                <a:srgbClr val="7ECAC4"/>
              </a:solidFill>
            </c:spPr>
            <c:extLst>
              <c:ext xmlns:c16="http://schemas.microsoft.com/office/drawing/2014/chart" uri="{C3380CC4-5D6E-409C-BE32-E72D297353CC}">
                <c16:uniqueId val="{000001B3-86F4-458F-B5E5-D296EB1009DF}"/>
              </c:ext>
            </c:extLst>
          </c:dPt>
          <c:dPt>
            <c:idx val="217"/>
            <c:invertIfNegative val="1"/>
            <c:bubble3D val="0"/>
            <c:spPr>
              <a:solidFill>
                <a:srgbClr val="7ECAC4"/>
              </a:solidFill>
            </c:spPr>
            <c:extLst>
              <c:ext xmlns:c16="http://schemas.microsoft.com/office/drawing/2014/chart" uri="{C3380CC4-5D6E-409C-BE32-E72D297353CC}">
                <c16:uniqueId val="{000001B5-86F4-458F-B5E5-D296EB1009DF}"/>
              </c:ext>
            </c:extLst>
          </c:dPt>
          <c:dPt>
            <c:idx val="218"/>
            <c:invertIfNegative val="1"/>
            <c:bubble3D val="0"/>
            <c:spPr>
              <a:solidFill>
                <a:srgbClr val="7ECAC4"/>
              </a:solidFill>
            </c:spPr>
            <c:extLst>
              <c:ext xmlns:c16="http://schemas.microsoft.com/office/drawing/2014/chart" uri="{C3380CC4-5D6E-409C-BE32-E72D297353CC}">
                <c16:uniqueId val="{000001B7-86F4-458F-B5E5-D296EB1009DF}"/>
              </c:ext>
            </c:extLst>
          </c:dPt>
          <c:dPt>
            <c:idx val="219"/>
            <c:invertIfNegative val="1"/>
            <c:bubble3D val="0"/>
            <c:spPr>
              <a:solidFill>
                <a:srgbClr val="7ECAC4"/>
              </a:solidFill>
            </c:spPr>
            <c:extLst>
              <c:ext xmlns:c16="http://schemas.microsoft.com/office/drawing/2014/chart" uri="{C3380CC4-5D6E-409C-BE32-E72D297353CC}">
                <c16:uniqueId val="{000001B9-86F4-458F-B5E5-D296EB1009DF}"/>
              </c:ext>
            </c:extLst>
          </c:dPt>
          <c:dPt>
            <c:idx val="220"/>
            <c:invertIfNegative val="1"/>
            <c:bubble3D val="0"/>
            <c:spPr>
              <a:solidFill>
                <a:srgbClr val="7ECAC4"/>
              </a:solidFill>
            </c:spPr>
            <c:extLst>
              <c:ext xmlns:c16="http://schemas.microsoft.com/office/drawing/2014/chart" uri="{C3380CC4-5D6E-409C-BE32-E72D297353CC}">
                <c16:uniqueId val="{000001BB-86F4-458F-B5E5-D296EB1009DF}"/>
              </c:ext>
            </c:extLst>
          </c:dPt>
          <c:dPt>
            <c:idx val="221"/>
            <c:invertIfNegative val="1"/>
            <c:bubble3D val="0"/>
            <c:spPr>
              <a:solidFill>
                <a:srgbClr val="7ECAC4"/>
              </a:solidFill>
            </c:spPr>
            <c:extLst>
              <c:ext xmlns:c16="http://schemas.microsoft.com/office/drawing/2014/chart" uri="{C3380CC4-5D6E-409C-BE32-E72D297353CC}">
                <c16:uniqueId val="{000001BD-86F4-458F-B5E5-D296EB1009DF}"/>
              </c:ext>
            </c:extLst>
          </c:dPt>
          <c:dPt>
            <c:idx val="222"/>
            <c:invertIfNegative val="1"/>
            <c:bubble3D val="0"/>
            <c:spPr>
              <a:solidFill>
                <a:srgbClr val="7ECAC4"/>
              </a:solidFill>
            </c:spPr>
            <c:extLst>
              <c:ext xmlns:c16="http://schemas.microsoft.com/office/drawing/2014/chart" uri="{C3380CC4-5D6E-409C-BE32-E72D297353CC}">
                <c16:uniqueId val="{000001BF-86F4-458F-B5E5-D296EB1009DF}"/>
              </c:ext>
            </c:extLst>
          </c:dPt>
          <c:dPt>
            <c:idx val="223"/>
            <c:invertIfNegative val="1"/>
            <c:bubble3D val="0"/>
            <c:spPr>
              <a:solidFill>
                <a:srgbClr val="7ECAC4"/>
              </a:solidFill>
            </c:spPr>
            <c:extLst>
              <c:ext xmlns:c16="http://schemas.microsoft.com/office/drawing/2014/chart" uri="{C3380CC4-5D6E-409C-BE32-E72D297353CC}">
                <c16:uniqueId val="{000001C1-86F4-458F-B5E5-D296EB1009DF}"/>
              </c:ext>
            </c:extLst>
          </c:dPt>
          <c:dPt>
            <c:idx val="224"/>
            <c:invertIfNegative val="1"/>
            <c:bubble3D val="0"/>
            <c:spPr>
              <a:solidFill>
                <a:srgbClr val="7ECAC4"/>
              </a:solidFill>
            </c:spPr>
            <c:extLst>
              <c:ext xmlns:c16="http://schemas.microsoft.com/office/drawing/2014/chart" uri="{C3380CC4-5D6E-409C-BE32-E72D297353CC}">
                <c16:uniqueId val="{000001C3-86F4-458F-B5E5-D296EB1009DF}"/>
              </c:ext>
            </c:extLst>
          </c:dPt>
          <c:dPt>
            <c:idx val="225"/>
            <c:invertIfNegative val="1"/>
            <c:bubble3D val="0"/>
            <c:spPr>
              <a:solidFill>
                <a:srgbClr val="7ECAC4"/>
              </a:solidFill>
            </c:spPr>
            <c:extLst>
              <c:ext xmlns:c16="http://schemas.microsoft.com/office/drawing/2014/chart" uri="{C3380CC4-5D6E-409C-BE32-E72D297353CC}">
                <c16:uniqueId val="{000001C5-86F4-458F-B5E5-D296EB1009DF}"/>
              </c:ext>
            </c:extLst>
          </c:dPt>
          <c:dPt>
            <c:idx val="226"/>
            <c:invertIfNegative val="1"/>
            <c:bubble3D val="0"/>
            <c:spPr>
              <a:solidFill>
                <a:srgbClr val="7ECAC4"/>
              </a:solidFill>
            </c:spPr>
            <c:extLst>
              <c:ext xmlns:c16="http://schemas.microsoft.com/office/drawing/2014/chart" uri="{C3380CC4-5D6E-409C-BE32-E72D297353CC}">
                <c16:uniqueId val="{000001C7-86F4-458F-B5E5-D296EB1009DF}"/>
              </c:ext>
            </c:extLst>
          </c:dPt>
          <c:dPt>
            <c:idx val="227"/>
            <c:invertIfNegative val="1"/>
            <c:bubble3D val="0"/>
            <c:spPr>
              <a:solidFill>
                <a:srgbClr val="7ECAC4"/>
              </a:solidFill>
            </c:spPr>
            <c:extLst>
              <c:ext xmlns:c16="http://schemas.microsoft.com/office/drawing/2014/chart" uri="{C3380CC4-5D6E-409C-BE32-E72D297353CC}">
                <c16:uniqueId val="{000001C9-86F4-458F-B5E5-D296EB1009DF}"/>
              </c:ext>
            </c:extLst>
          </c:dPt>
          <c:dPt>
            <c:idx val="228"/>
            <c:invertIfNegative val="1"/>
            <c:bubble3D val="0"/>
            <c:spPr>
              <a:solidFill>
                <a:srgbClr val="7ECAC4"/>
              </a:solidFill>
            </c:spPr>
            <c:extLst>
              <c:ext xmlns:c16="http://schemas.microsoft.com/office/drawing/2014/chart" uri="{C3380CC4-5D6E-409C-BE32-E72D297353CC}">
                <c16:uniqueId val="{000001CB-86F4-458F-B5E5-D296EB1009DF}"/>
              </c:ext>
            </c:extLst>
          </c:dPt>
          <c:dPt>
            <c:idx val="229"/>
            <c:invertIfNegative val="1"/>
            <c:bubble3D val="0"/>
            <c:spPr>
              <a:solidFill>
                <a:srgbClr val="7ECAC4"/>
              </a:solidFill>
            </c:spPr>
            <c:extLst>
              <c:ext xmlns:c16="http://schemas.microsoft.com/office/drawing/2014/chart" uri="{C3380CC4-5D6E-409C-BE32-E72D297353CC}">
                <c16:uniqueId val="{000001CD-86F4-458F-B5E5-D296EB1009DF}"/>
              </c:ext>
            </c:extLst>
          </c:dPt>
          <c:dPt>
            <c:idx val="230"/>
            <c:invertIfNegative val="1"/>
            <c:bubble3D val="0"/>
            <c:spPr>
              <a:solidFill>
                <a:srgbClr val="7ECAC4"/>
              </a:solidFill>
            </c:spPr>
            <c:extLst>
              <c:ext xmlns:c16="http://schemas.microsoft.com/office/drawing/2014/chart" uri="{C3380CC4-5D6E-409C-BE32-E72D297353CC}">
                <c16:uniqueId val="{000001CF-86F4-458F-B5E5-D296EB1009DF}"/>
              </c:ext>
            </c:extLst>
          </c:dPt>
          <c:dPt>
            <c:idx val="231"/>
            <c:invertIfNegative val="1"/>
            <c:bubble3D val="0"/>
            <c:spPr>
              <a:solidFill>
                <a:srgbClr val="7ECAC4"/>
              </a:solidFill>
            </c:spPr>
            <c:extLst>
              <c:ext xmlns:c16="http://schemas.microsoft.com/office/drawing/2014/chart" uri="{C3380CC4-5D6E-409C-BE32-E72D297353CC}">
                <c16:uniqueId val="{000001D1-86F4-458F-B5E5-D296EB1009DF}"/>
              </c:ext>
            </c:extLst>
          </c:dPt>
          <c:dPt>
            <c:idx val="232"/>
            <c:invertIfNegative val="1"/>
            <c:bubble3D val="0"/>
            <c:spPr>
              <a:solidFill>
                <a:srgbClr val="7ECAC4"/>
              </a:solidFill>
            </c:spPr>
            <c:extLst>
              <c:ext xmlns:c16="http://schemas.microsoft.com/office/drawing/2014/chart" uri="{C3380CC4-5D6E-409C-BE32-E72D297353CC}">
                <c16:uniqueId val="{000001D3-86F4-458F-B5E5-D296EB1009DF}"/>
              </c:ext>
            </c:extLst>
          </c:dPt>
          <c:dPt>
            <c:idx val="233"/>
            <c:invertIfNegative val="1"/>
            <c:bubble3D val="0"/>
            <c:spPr>
              <a:solidFill>
                <a:srgbClr val="7ECAC4"/>
              </a:solidFill>
            </c:spPr>
            <c:extLst>
              <c:ext xmlns:c16="http://schemas.microsoft.com/office/drawing/2014/chart" uri="{C3380CC4-5D6E-409C-BE32-E72D297353CC}">
                <c16:uniqueId val="{000001D5-86F4-458F-B5E5-D296EB1009DF}"/>
              </c:ext>
            </c:extLst>
          </c:dPt>
          <c:dPt>
            <c:idx val="234"/>
            <c:invertIfNegative val="1"/>
            <c:bubble3D val="0"/>
            <c:spPr>
              <a:solidFill>
                <a:srgbClr val="7ECAC4"/>
              </a:solidFill>
            </c:spPr>
            <c:extLst>
              <c:ext xmlns:c16="http://schemas.microsoft.com/office/drawing/2014/chart" uri="{C3380CC4-5D6E-409C-BE32-E72D297353CC}">
                <c16:uniqueId val="{000001D7-86F4-458F-B5E5-D296EB1009DF}"/>
              </c:ext>
            </c:extLst>
          </c:dPt>
          <c:dPt>
            <c:idx val="235"/>
            <c:invertIfNegative val="1"/>
            <c:bubble3D val="0"/>
            <c:spPr>
              <a:solidFill>
                <a:srgbClr val="7ECAC4"/>
              </a:solidFill>
            </c:spPr>
            <c:extLst>
              <c:ext xmlns:c16="http://schemas.microsoft.com/office/drawing/2014/chart" uri="{C3380CC4-5D6E-409C-BE32-E72D297353CC}">
                <c16:uniqueId val="{000001D9-86F4-458F-B5E5-D296EB1009DF}"/>
              </c:ext>
            </c:extLst>
          </c:dPt>
          <c:dPt>
            <c:idx val="236"/>
            <c:invertIfNegative val="1"/>
            <c:bubble3D val="0"/>
            <c:spPr>
              <a:solidFill>
                <a:srgbClr val="7ECAC4"/>
              </a:solidFill>
            </c:spPr>
            <c:extLst>
              <c:ext xmlns:c16="http://schemas.microsoft.com/office/drawing/2014/chart" uri="{C3380CC4-5D6E-409C-BE32-E72D297353CC}">
                <c16:uniqueId val="{000001DB-86F4-458F-B5E5-D296EB1009DF}"/>
              </c:ext>
            </c:extLst>
          </c:dPt>
          <c:dPt>
            <c:idx val="237"/>
            <c:invertIfNegative val="1"/>
            <c:bubble3D val="0"/>
            <c:spPr>
              <a:solidFill>
                <a:srgbClr val="7ECAC4"/>
              </a:solidFill>
            </c:spPr>
            <c:extLst>
              <c:ext xmlns:c16="http://schemas.microsoft.com/office/drawing/2014/chart" uri="{C3380CC4-5D6E-409C-BE32-E72D297353CC}">
                <c16:uniqueId val="{000001DD-86F4-458F-B5E5-D296EB1009DF}"/>
              </c:ext>
            </c:extLst>
          </c:dPt>
          <c:dPt>
            <c:idx val="238"/>
            <c:invertIfNegative val="1"/>
            <c:bubble3D val="0"/>
            <c:spPr>
              <a:solidFill>
                <a:srgbClr val="7ECAC4"/>
              </a:solidFill>
            </c:spPr>
            <c:extLst>
              <c:ext xmlns:c16="http://schemas.microsoft.com/office/drawing/2014/chart" uri="{C3380CC4-5D6E-409C-BE32-E72D297353CC}">
                <c16:uniqueId val="{000001DF-86F4-458F-B5E5-D296EB1009DF}"/>
              </c:ext>
            </c:extLst>
          </c:dPt>
          <c:dPt>
            <c:idx val="239"/>
            <c:invertIfNegative val="1"/>
            <c:bubble3D val="0"/>
            <c:spPr>
              <a:solidFill>
                <a:srgbClr val="7ECAC4"/>
              </a:solidFill>
            </c:spPr>
            <c:extLst>
              <c:ext xmlns:c16="http://schemas.microsoft.com/office/drawing/2014/chart" uri="{C3380CC4-5D6E-409C-BE32-E72D297353CC}">
                <c16:uniqueId val="{000001E1-86F4-458F-B5E5-D296EB1009DF}"/>
              </c:ext>
            </c:extLst>
          </c:dPt>
          <c:dPt>
            <c:idx val="240"/>
            <c:invertIfNegative val="1"/>
            <c:bubble3D val="0"/>
            <c:spPr>
              <a:solidFill>
                <a:srgbClr val="7ECAC4"/>
              </a:solidFill>
            </c:spPr>
            <c:extLst>
              <c:ext xmlns:c16="http://schemas.microsoft.com/office/drawing/2014/chart" uri="{C3380CC4-5D6E-409C-BE32-E72D297353CC}">
                <c16:uniqueId val="{000001E3-86F4-458F-B5E5-D296EB1009DF}"/>
              </c:ext>
            </c:extLst>
          </c:dPt>
          <c:dPt>
            <c:idx val="241"/>
            <c:invertIfNegative val="1"/>
            <c:bubble3D val="0"/>
            <c:spPr>
              <a:solidFill>
                <a:srgbClr val="7ECAC4"/>
              </a:solidFill>
            </c:spPr>
            <c:extLst>
              <c:ext xmlns:c16="http://schemas.microsoft.com/office/drawing/2014/chart" uri="{C3380CC4-5D6E-409C-BE32-E72D297353CC}">
                <c16:uniqueId val="{000001E5-86F4-458F-B5E5-D296EB1009DF}"/>
              </c:ext>
            </c:extLst>
          </c:dPt>
          <c:dPt>
            <c:idx val="242"/>
            <c:invertIfNegative val="1"/>
            <c:bubble3D val="0"/>
            <c:spPr>
              <a:solidFill>
                <a:srgbClr val="7ECAC4"/>
              </a:solidFill>
            </c:spPr>
            <c:extLst>
              <c:ext xmlns:c16="http://schemas.microsoft.com/office/drawing/2014/chart" uri="{C3380CC4-5D6E-409C-BE32-E72D297353CC}">
                <c16:uniqueId val="{000001E7-86F4-458F-B5E5-D296EB1009DF}"/>
              </c:ext>
            </c:extLst>
          </c:dPt>
          <c:dPt>
            <c:idx val="243"/>
            <c:invertIfNegative val="1"/>
            <c:bubble3D val="0"/>
            <c:spPr>
              <a:solidFill>
                <a:srgbClr val="7ECAC4"/>
              </a:solidFill>
            </c:spPr>
            <c:extLst>
              <c:ext xmlns:c16="http://schemas.microsoft.com/office/drawing/2014/chart" uri="{C3380CC4-5D6E-409C-BE32-E72D297353CC}">
                <c16:uniqueId val="{000001E9-86F4-458F-B5E5-D296EB1009DF}"/>
              </c:ext>
            </c:extLst>
          </c:dPt>
          <c:dPt>
            <c:idx val="244"/>
            <c:invertIfNegative val="1"/>
            <c:bubble3D val="0"/>
            <c:spPr>
              <a:solidFill>
                <a:srgbClr val="7ECAC4"/>
              </a:solidFill>
            </c:spPr>
            <c:extLst>
              <c:ext xmlns:c16="http://schemas.microsoft.com/office/drawing/2014/chart" uri="{C3380CC4-5D6E-409C-BE32-E72D297353CC}">
                <c16:uniqueId val="{000001EB-86F4-458F-B5E5-D296EB1009DF}"/>
              </c:ext>
            </c:extLst>
          </c:dPt>
          <c:dPt>
            <c:idx val="245"/>
            <c:invertIfNegative val="1"/>
            <c:bubble3D val="0"/>
            <c:spPr>
              <a:solidFill>
                <a:srgbClr val="7ECAC4"/>
              </a:solidFill>
            </c:spPr>
            <c:extLst>
              <c:ext xmlns:c16="http://schemas.microsoft.com/office/drawing/2014/chart" uri="{C3380CC4-5D6E-409C-BE32-E72D297353CC}">
                <c16:uniqueId val="{000001ED-86F4-458F-B5E5-D296EB1009DF}"/>
              </c:ext>
            </c:extLst>
          </c:dPt>
          <c:dPt>
            <c:idx val="246"/>
            <c:invertIfNegative val="1"/>
            <c:bubble3D val="0"/>
            <c:spPr>
              <a:solidFill>
                <a:srgbClr val="7ECAC4"/>
              </a:solidFill>
            </c:spPr>
            <c:extLst>
              <c:ext xmlns:c16="http://schemas.microsoft.com/office/drawing/2014/chart" uri="{C3380CC4-5D6E-409C-BE32-E72D297353CC}">
                <c16:uniqueId val="{000001EF-86F4-458F-B5E5-D296EB1009DF}"/>
              </c:ext>
            </c:extLst>
          </c:dPt>
          <c:dPt>
            <c:idx val="247"/>
            <c:invertIfNegative val="1"/>
            <c:bubble3D val="0"/>
            <c:spPr>
              <a:solidFill>
                <a:srgbClr val="7ECAC4"/>
              </a:solidFill>
            </c:spPr>
            <c:extLst>
              <c:ext xmlns:c16="http://schemas.microsoft.com/office/drawing/2014/chart" uri="{C3380CC4-5D6E-409C-BE32-E72D297353CC}">
                <c16:uniqueId val="{000001F1-86F4-458F-B5E5-D296EB1009DF}"/>
              </c:ext>
            </c:extLst>
          </c:dPt>
          <c:dPt>
            <c:idx val="248"/>
            <c:invertIfNegative val="1"/>
            <c:bubble3D val="0"/>
            <c:spPr>
              <a:solidFill>
                <a:srgbClr val="7ECAC4"/>
              </a:solidFill>
            </c:spPr>
            <c:extLst>
              <c:ext xmlns:c16="http://schemas.microsoft.com/office/drawing/2014/chart" uri="{C3380CC4-5D6E-409C-BE32-E72D297353CC}">
                <c16:uniqueId val="{000001F3-86F4-458F-B5E5-D296EB1009DF}"/>
              </c:ext>
            </c:extLst>
          </c:dPt>
          <c:dPt>
            <c:idx val="249"/>
            <c:invertIfNegative val="1"/>
            <c:bubble3D val="0"/>
            <c:spPr>
              <a:solidFill>
                <a:srgbClr val="7ECAC4"/>
              </a:solidFill>
            </c:spPr>
            <c:extLst>
              <c:ext xmlns:c16="http://schemas.microsoft.com/office/drawing/2014/chart" uri="{C3380CC4-5D6E-409C-BE32-E72D297353CC}">
                <c16:uniqueId val="{000001F5-86F4-458F-B5E5-D296EB1009DF}"/>
              </c:ext>
            </c:extLst>
          </c:dPt>
          <c:dPt>
            <c:idx val="250"/>
            <c:invertIfNegative val="1"/>
            <c:bubble3D val="0"/>
            <c:spPr>
              <a:solidFill>
                <a:srgbClr val="7ECAC4"/>
              </a:solidFill>
            </c:spPr>
            <c:extLst>
              <c:ext xmlns:c16="http://schemas.microsoft.com/office/drawing/2014/chart" uri="{C3380CC4-5D6E-409C-BE32-E72D297353CC}">
                <c16:uniqueId val="{000001F7-86F4-458F-B5E5-D296EB1009DF}"/>
              </c:ext>
            </c:extLst>
          </c:dPt>
          <c:dPt>
            <c:idx val="251"/>
            <c:invertIfNegative val="1"/>
            <c:bubble3D val="0"/>
            <c:spPr>
              <a:solidFill>
                <a:srgbClr val="7ECAC4"/>
              </a:solidFill>
            </c:spPr>
            <c:extLst>
              <c:ext xmlns:c16="http://schemas.microsoft.com/office/drawing/2014/chart" uri="{C3380CC4-5D6E-409C-BE32-E72D297353CC}">
                <c16:uniqueId val="{000001F9-86F4-458F-B5E5-D296EB1009DF}"/>
              </c:ext>
            </c:extLst>
          </c:dPt>
          <c:dPt>
            <c:idx val="252"/>
            <c:invertIfNegative val="1"/>
            <c:bubble3D val="0"/>
            <c:spPr>
              <a:solidFill>
                <a:srgbClr val="7ECAC4"/>
              </a:solidFill>
            </c:spPr>
            <c:extLst>
              <c:ext xmlns:c16="http://schemas.microsoft.com/office/drawing/2014/chart" uri="{C3380CC4-5D6E-409C-BE32-E72D297353CC}">
                <c16:uniqueId val="{000001FB-86F4-458F-B5E5-D296EB1009DF}"/>
              </c:ext>
            </c:extLst>
          </c:dPt>
          <c:dPt>
            <c:idx val="253"/>
            <c:invertIfNegative val="1"/>
            <c:bubble3D val="0"/>
            <c:spPr>
              <a:solidFill>
                <a:srgbClr val="7ECAC4"/>
              </a:solidFill>
            </c:spPr>
            <c:extLst>
              <c:ext xmlns:c16="http://schemas.microsoft.com/office/drawing/2014/chart" uri="{C3380CC4-5D6E-409C-BE32-E72D297353CC}">
                <c16:uniqueId val="{000001FD-86F4-458F-B5E5-D296EB1009DF}"/>
              </c:ext>
            </c:extLst>
          </c:dPt>
          <c:dPt>
            <c:idx val="254"/>
            <c:invertIfNegative val="1"/>
            <c:bubble3D val="0"/>
            <c:spPr>
              <a:solidFill>
                <a:srgbClr val="7ECAC4"/>
              </a:solidFill>
            </c:spPr>
            <c:extLst>
              <c:ext xmlns:c16="http://schemas.microsoft.com/office/drawing/2014/chart" uri="{C3380CC4-5D6E-409C-BE32-E72D297353CC}">
                <c16:uniqueId val="{000001FF-86F4-458F-B5E5-D296EB1009DF}"/>
              </c:ext>
            </c:extLst>
          </c:dPt>
          <c:dPt>
            <c:idx val="255"/>
            <c:invertIfNegative val="1"/>
            <c:bubble3D val="0"/>
            <c:spPr>
              <a:solidFill>
                <a:srgbClr val="7ECAC4"/>
              </a:solidFill>
            </c:spPr>
            <c:extLst>
              <c:ext xmlns:c16="http://schemas.microsoft.com/office/drawing/2014/chart" uri="{C3380CC4-5D6E-409C-BE32-E72D297353CC}">
                <c16:uniqueId val="{00000201-86F4-458F-B5E5-D296EB1009DF}"/>
              </c:ext>
            </c:extLst>
          </c:dPt>
          <c:dPt>
            <c:idx val="256"/>
            <c:invertIfNegative val="1"/>
            <c:bubble3D val="0"/>
            <c:spPr>
              <a:solidFill>
                <a:srgbClr val="7ECAC4"/>
              </a:solidFill>
            </c:spPr>
            <c:extLst>
              <c:ext xmlns:c16="http://schemas.microsoft.com/office/drawing/2014/chart" uri="{C3380CC4-5D6E-409C-BE32-E72D297353CC}">
                <c16:uniqueId val="{00000203-86F4-458F-B5E5-D296EB1009DF}"/>
              </c:ext>
            </c:extLst>
          </c:dPt>
          <c:dPt>
            <c:idx val="257"/>
            <c:invertIfNegative val="1"/>
            <c:bubble3D val="0"/>
            <c:spPr>
              <a:solidFill>
                <a:srgbClr val="7ECAC4"/>
              </a:solidFill>
            </c:spPr>
            <c:extLst>
              <c:ext xmlns:c16="http://schemas.microsoft.com/office/drawing/2014/chart" uri="{C3380CC4-5D6E-409C-BE32-E72D297353CC}">
                <c16:uniqueId val="{00000205-86F4-458F-B5E5-D296EB1009DF}"/>
              </c:ext>
            </c:extLst>
          </c:dPt>
          <c:dPt>
            <c:idx val="258"/>
            <c:invertIfNegative val="1"/>
            <c:bubble3D val="0"/>
            <c:spPr>
              <a:solidFill>
                <a:srgbClr val="7ECAC4"/>
              </a:solidFill>
            </c:spPr>
            <c:extLst>
              <c:ext xmlns:c16="http://schemas.microsoft.com/office/drawing/2014/chart" uri="{C3380CC4-5D6E-409C-BE32-E72D297353CC}">
                <c16:uniqueId val="{00000207-86F4-458F-B5E5-D296EB1009DF}"/>
              </c:ext>
            </c:extLst>
          </c:dPt>
          <c:dPt>
            <c:idx val="259"/>
            <c:invertIfNegative val="1"/>
            <c:bubble3D val="0"/>
            <c:spPr>
              <a:solidFill>
                <a:srgbClr val="7ECAC4"/>
              </a:solidFill>
            </c:spPr>
            <c:extLst>
              <c:ext xmlns:c16="http://schemas.microsoft.com/office/drawing/2014/chart" uri="{C3380CC4-5D6E-409C-BE32-E72D297353CC}">
                <c16:uniqueId val="{00000209-86F4-458F-B5E5-D296EB1009DF}"/>
              </c:ext>
            </c:extLst>
          </c:dPt>
          <c:dPt>
            <c:idx val="260"/>
            <c:invertIfNegative val="1"/>
            <c:bubble3D val="0"/>
            <c:spPr>
              <a:solidFill>
                <a:srgbClr val="7ECAC4"/>
              </a:solidFill>
            </c:spPr>
            <c:extLst>
              <c:ext xmlns:c16="http://schemas.microsoft.com/office/drawing/2014/chart" uri="{C3380CC4-5D6E-409C-BE32-E72D297353CC}">
                <c16:uniqueId val="{0000020B-86F4-458F-B5E5-D296EB1009DF}"/>
              </c:ext>
            </c:extLst>
          </c:dPt>
          <c:dPt>
            <c:idx val="261"/>
            <c:invertIfNegative val="1"/>
            <c:bubble3D val="0"/>
            <c:spPr>
              <a:solidFill>
                <a:srgbClr val="7ECAC4"/>
              </a:solidFill>
            </c:spPr>
            <c:extLst>
              <c:ext xmlns:c16="http://schemas.microsoft.com/office/drawing/2014/chart" uri="{C3380CC4-5D6E-409C-BE32-E72D297353CC}">
                <c16:uniqueId val="{0000020D-86F4-458F-B5E5-D296EB1009DF}"/>
              </c:ext>
            </c:extLst>
          </c:dPt>
          <c:dPt>
            <c:idx val="262"/>
            <c:invertIfNegative val="1"/>
            <c:bubble3D val="0"/>
            <c:spPr>
              <a:solidFill>
                <a:srgbClr val="7ECAC4"/>
              </a:solidFill>
            </c:spPr>
            <c:extLst>
              <c:ext xmlns:c16="http://schemas.microsoft.com/office/drawing/2014/chart" uri="{C3380CC4-5D6E-409C-BE32-E72D297353CC}">
                <c16:uniqueId val="{0000020F-86F4-458F-B5E5-D296EB1009DF}"/>
              </c:ext>
            </c:extLst>
          </c:dPt>
          <c:dPt>
            <c:idx val="263"/>
            <c:invertIfNegative val="1"/>
            <c:bubble3D val="0"/>
            <c:spPr>
              <a:solidFill>
                <a:srgbClr val="7ECAC4"/>
              </a:solidFill>
            </c:spPr>
            <c:extLst>
              <c:ext xmlns:c16="http://schemas.microsoft.com/office/drawing/2014/chart" uri="{C3380CC4-5D6E-409C-BE32-E72D297353CC}">
                <c16:uniqueId val="{00000211-86F4-458F-B5E5-D296EB1009DF}"/>
              </c:ext>
            </c:extLst>
          </c:dPt>
          <c:dPt>
            <c:idx val="264"/>
            <c:invertIfNegative val="1"/>
            <c:bubble3D val="0"/>
            <c:spPr>
              <a:solidFill>
                <a:srgbClr val="7ECAC4"/>
              </a:solidFill>
            </c:spPr>
            <c:extLst>
              <c:ext xmlns:c16="http://schemas.microsoft.com/office/drawing/2014/chart" uri="{C3380CC4-5D6E-409C-BE32-E72D297353CC}">
                <c16:uniqueId val="{00000213-86F4-458F-B5E5-D296EB1009DF}"/>
              </c:ext>
            </c:extLst>
          </c:dPt>
          <c:dPt>
            <c:idx val="265"/>
            <c:invertIfNegative val="1"/>
            <c:bubble3D val="0"/>
            <c:spPr>
              <a:solidFill>
                <a:srgbClr val="7ECAC4"/>
              </a:solidFill>
            </c:spPr>
            <c:extLst>
              <c:ext xmlns:c16="http://schemas.microsoft.com/office/drawing/2014/chart" uri="{C3380CC4-5D6E-409C-BE32-E72D297353CC}">
                <c16:uniqueId val="{00000215-86F4-458F-B5E5-D296EB1009DF}"/>
              </c:ext>
            </c:extLst>
          </c:dPt>
          <c:dPt>
            <c:idx val="266"/>
            <c:invertIfNegative val="1"/>
            <c:bubble3D val="0"/>
            <c:spPr>
              <a:solidFill>
                <a:srgbClr val="7ECAC4"/>
              </a:solidFill>
            </c:spPr>
            <c:extLst>
              <c:ext xmlns:c16="http://schemas.microsoft.com/office/drawing/2014/chart" uri="{C3380CC4-5D6E-409C-BE32-E72D297353CC}">
                <c16:uniqueId val="{00000217-86F4-458F-B5E5-D296EB1009DF}"/>
              </c:ext>
            </c:extLst>
          </c:dPt>
          <c:dPt>
            <c:idx val="267"/>
            <c:invertIfNegative val="1"/>
            <c:bubble3D val="0"/>
            <c:spPr>
              <a:solidFill>
                <a:srgbClr val="7ECAC4"/>
              </a:solidFill>
            </c:spPr>
            <c:extLst>
              <c:ext xmlns:c16="http://schemas.microsoft.com/office/drawing/2014/chart" uri="{C3380CC4-5D6E-409C-BE32-E72D297353CC}">
                <c16:uniqueId val="{00000219-86F4-458F-B5E5-D296EB1009DF}"/>
              </c:ext>
            </c:extLst>
          </c:dPt>
          <c:dPt>
            <c:idx val="268"/>
            <c:invertIfNegative val="1"/>
            <c:bubble3D val="0"/>
            <c:spPr>
              <a:solidFill>
                <a:srgbClr val="7ECAC4"/>
              </a:solidFill>
            </c:spPr>
            <c:extLst>
              <c:ext xmlns:c16="http://schemas.microsoft.com/office/drawing/2014/chart" uri="{C3380CC4-5D6E-409C-BE32-E72D297353CC}">
                <c16:uniqueId val="{0000021B-86F4-458F-B5E5-D296EB1009DF}"/>
              </c:ext>
            </c:extLst>
          </c:dPt>
          <c:dPt>
            <c:idx val="269"/>
            <c:invertIfNegative val="1"/>
            <c:bubble3D val="0"/>
            <c:spPr>
              <a:solidFill>
                <a:srgbClr val="7ECAC4"/>
              </a:solidFill>
            </c:spPr>
            <c:extLst>
              <c:ext xmlns:c16="http://schemas.microsoft.com/office/drawing/2014/chart" uri="{C3380CC4-5D6E-409C-BE32-E72D297353CC}">
                <c16:uniqueId val="{0000021D-86F4-458F-B5E5-D296EB1009DF}"/>
              </c:ext>
            </c:extLst>
          </c:dPt>
          <c:dPt>
            <c:idx val="270"/>
            <c:invertIfNegative val="1"/>
            <c:bubble3D val="0"/>
            <c:spPr>
              <a:solidFill>
                <a:srgbClr val="7ECAC4"/>
              </a:solidFill>
            </c:spPr>
            <c:extLst>
              <c:ext xmlns:c16="http://schemas.microsoft.com/office/drawing/2014/chart" uri="{C3380CC4-5D6E-409C-BE32-E72D297353CC}">
                <c16:uniqueId val="{0000021F-86F4-458F-B5E5-D296EB1009DF}"/>
              </c:ext>
            </c:extLst>
          </c:dPt>
          <c:dPt>
            <c:idx val="271"/>
            <c:invertIfNegative val="1"/>
            <c:bubble3D val="0"/>
            <c:spPr>
              <a:solidFill>
                <a:srgbClr val="7ECAC4"/>
              </a:solidFill>
            </c:spPr>
            <c:extLst>
              <c:ext xmlns:c16="http://schemas.microsoft.com/office/drawing/2014/chart" uri="{C3380CC4-5D6E-409C-BE32-E72D297353CC}">
                <c16:uniqueId val="{00000221-86F4-458F-B5E5-D296EB1009DF}"/>
              </c:ext>
            </c:extLst>
          </c:dPt>
          <c:dPt>
            <c:idx val="272"/>
            <c:invertIfNegative val="1"/>
            <c:bubble3D val="0"/>
            <c:spPr>
              <a:solidFill>
                <a:srgbClr val="7ECAC4"/>
              </a:solidFill>
            </c:spPr>
            <c:extLst>
              <c:ext xmlns:c16="http://schemas.microsoft.com/office/drawing/2014/chart" uri="{C3380CC4-5D6E-409C-BE32-E72D297353CC}">
                <c16:uniqueId val="{00000223-86F4-458F-B5E5-D296EB1009DF}"/>
              </c:ext>
            </c:extLst>
          </c:dPt>
          <c:dPt>
            <c:idx val="273"/>
            <c:invertIfNegative val="1"/>
            <c:bubble3D val="0"/>
            <c:spPr>
              <a:solidFill>
                <a:srgbClr val="7ECAC4"/>
              </a:solidFill>
            </c:spPr>
            <c:extLst>
              <c:ext xmlns:c16="http://schemas.microsoft.com/office/drawing/2014/chart" uri="{C3380CC4-5D6E-409C-BE32-E72D297353CC}">
                <c16:uniqueId val="{00000225-86F4-458F-B5E5-D296EB1009DF}"/>
              </c:ext>
            </c:extLst>
          </c:dPt>
          <c:dPt>
            <c:idx val="274"/>
            <c:invertIfNegative val="1"/>
            <c:bubble3D val="0"/>
            <c:spPr>
              <a:solidFill>
                <a:srgbClr val="7ECAC4"/>
              </a:solidFill>
            </c:spPr>
            <c:extLst>
              <c:ext xmlns:c16="http://schemas.microsoft.com/office/drawing/2014/chart" uri="{C3380CC4-5D6E-409C-BE32-E72D297353CC}">
                <c16:uniqueId val="{00000227-86F4-458F-B5E5-D296EB1009DF}"/>
              </c:ext>
            </c:extLst>
          </c:dPt>
          <c:dPt>
            <c:idx val="275"/>
            <c:invertIfNegative val="1"/>
            <c:bubble3D val="0"/>
            <c:spPr>
              <a:solidFill>
                <a:srgbClr val="7ECAC4"/>
              </a:solidFill>
            </c:spPr>
            <c:extLst>
              <c:ext xmlns:c16="http://schemas.microsoft.com/office/drawing/2014/chart" uri="{C3380CC4-5D6E-409C-BE32-E72D297353CC}">
                <c16:uniqueId val="{00000229-86F4-458F-B5E5-D296EB1009DF}"/>
              </c:ext>
            </c:extLst>
          </c:dPt>
          <c:dPt>
            <c:idx val="276"/>
            <c:invertIfNegative val="1"/>
            <c:bubble3D val="0"/>
            <c:spPr>
              <a:solidFill>
                <a:srgbClr val="7ECAC4"/>
              </a:solidFill>
            </c:spPr>
            <c:extLst>
              <c:ext xmlns:c16="http://schemas.microsoft.com/office/drawing/2014/chart" uri="{C3380CC4-5D6E-409C-BE32-E72D297353CC}">
                <c16:uniqueId val="{0000022B-86F4-458F-B5E5-D296EB1009DF}"/>
              </c:ext>
            </c:extLst>
          </c:dPt>
          <c:dPt>
            <c:idx val="277"/>
            <c:invertIfNegative val="1"/>
            <c:bubble3D val="0"/>
            <c:spPr>
              <a:solidFill>
                <a:srgbClr val="7ECAC4"/>
              </a:solidFill>
            </c:spPr>
            <c:extLst>
              <c:ext xmlns:c16="http://schemas.microsoft.com/office/drawing/2014/chart" uri="{C3380CC4-5D6E-409C-BE32-E72D297353CC}">
                <c16:uniqueId val="{0000022D-86F4-458F-B5E5-D296EB1009DF}"/>
              </c:ext>
            </c:extLst>
          </c:dPt>
          <c:dPt>
            <c:idx val="278"/>
            <c:invertIfNegative val="1"/>
            <c:bubble3D val="0"/>
            <c:spPr>
              <a:solidFill>
                <a:srgbClr val="7ECAC4"/>
              </a:solidFill>
            </c:spPr>
            <c:extLst>
              <c:ext xmlns:c16="http://schemas.microsoft.com/office/drawing/2014/chart" uri="{C3380CC4-5D6E-409C-BE32-E72D297353CC}">
                <c16:uniqueId val="{0000022F-86F4-458F-B5E5-D296EB1009DF}"/>
              </c:ext>
            </c:extLst>
          </c:dPt>
          <c:dPt>
            <c:idx val="279"/>
            <c:invertIfNegative val="1"/>
            <c:bubble3D val="0"/>
            <c:spPr>
              <a:solidFill>
                <a:srgbClr val="7ECAC4"/>
              </a:solidFill>
            </c:spPr>
            <c:extLst>
              <c:ext xmlns:c16="http://schemas.microsoft.com/office/drawing/2014/chart" uri="{C3380CC4-5D6E-409C-BE32-E72D297353CC}">
                <c16:uniqueId val="{00000231-86F4-458F-B5E5-D296EB1009DF}"/>
              </c:ext>
            </c:extLst>
          </c:dPt>
          <c:dPt>
            <c:idx val="280"/>
            <c:invertIfNegative val="1"/>
            <c:bubble3D val="0"/>
            <c:spPr>
              <a:solidFill>
                <a:srgbClr val="7ECAC4"/>
              </a:solidFill>
            </c:spPr>
            <c:extLst>
              <c:ext xmlns:c16="http://schemas.microsoft.com/office/drawing/2014/chart" uri="{C3380CC4-5D6E-409C-BE32-E72D297353CC}">
                <c16:uniqueId val="{00000233-86F4-458F-B5E5-D296EB1009DF}"/>
              </c:ext>
            </c:extLst>
          </c:dPt>
          <c:dPt>
            <c:idx val="281"/>
            <c:invertIfNegative val="1"/>
            <c:bubble3D val="0"/>
            <c:spPr>
              <a:solidFill>
                <a:srgbClr val="7ECAC4"/>
              </a:solidFill>
            </c:spPr>
            <c:extLst>
              <c:ext xmlns:c16="http://schemas.microsoft.com/office/drawing/2014/chart" uri="{C3380CC4-5D6E-409C-BE32-E72D297353CC}">
                <c16:uniqueId val="{00000235-86F4-458F-B5E5-D296EB1009DF}"/>
              </c:ext>
            </c:extLst>
          </c:dPt>
          <c:dPt>
            <c:idx val="282"/>
            <c:invertIfNegative val="1"/>
            <c:bubble3D val="0"/>
            <c:spPr>
              <a:solidFill>
                <a:srgbClr val="7ECAC4"/>
              </a:solidFill>
            </c:spPr>
            <c:extLst>
              <c:ext xmlns:c16="http://schemas.microsoft.com/office/drawing/2014/chart" uri="{C3380CC4-5D6E-409C-BE32-E72D297353CC}">
                <c16:uniqueId val="{00000237-86F4-458F-B5E5-D296EB1009DF}"/>
              </c:ext>
            </c:extLst>
          </c:dPt>
          <c:dPt>
            <c:idx val="283"/>
            <c:invertIfNegative val="1"/>
            <c:bubble3D val="0"/>
            <c:spPr>
              <a:solidFill>
                <a:srgbClr val="7ECAC4"/>
              </a:solidFill>
            </c:spPr>
            <c:extLst>
              <c:ext xmlns:c16="http://schemas.microsoft.com/office/drawing/2014/chart" uri="{C3380CC4-5D6E-409C-BE32-E72D297353CC}">
                <c16:uniqueId val="{00000239-86F4-458F-B5E5-D296EB1009DF}"/>
              </c:ext>
            </c:extLst>
          </c:dPt>
          <c:dPt>
            <c:idx val="284"/>
            <c:invertIfNegative val="1"/>
            <c:bubble3D val="0"/>
            <c:spPr>
              <a:solidFill>
                <a:srgbClr val="7ECAC4"/>
              </a:solidFill>
            </c:spPr>
            <c:extLst>
              <c:ext xmlns:c16="http://schemas.microsoft.com/office/drawing/2014/chart" uri="{C3380CC4-5D6E-409C-BE32-E72D297353CC}">
                <c16:uniqueId val="{0000023B-86F4-458F-B5E5-D296EB1009DF}"/>
              </c:ext>
            </c:extLst>
          </c:dPt>
          <c:dPt>
            <c:idx val="285"/>
            <c:invertIfNegative val="1"/>
            <c:bubble3D val="0"/>
            <c:spPr>
              <a:solidFill>
                <a:srgbClr val="7ECAC4"/>
              </a:solidFill>
            </c:spPr>
            <c:extLst>
              <c:ext xmlns:c16="http://schemas.microsoft.com/office/drawing/2014/chart" uri="{C3380CC4-5D6E-409C-BE32-E72D297353CC}">
                <c16:uniqueId val="{0000023D-86F4-458F-B5E5-D296EB1009DF}"/>
              </c:ext>
            </c:extLst>
          </c:dPt>
          <c:dPt>
            <c:idx val="286"/>
            <c:invertIfNegative val="1"/>
            <c:bubble3D val="0"/>
            <c:spPr>
              <a:solidFill>
                <a:srgbClr val="7ECAC4"/>
              </a:solidFill>
            </c:spPr>
            <c:extLst>
              <c:ext xmlns:c16="http://schemas.microsoft.com/office/drawing/2014/chart" uri="{C3380CC4-5D6E-409C-BE32-E72D297353CC}">
                <c16:uniqueId val="{0000023F-86F4-458F-B5E5-D296EB1009DF}"/>
              </c:ext>
            </c:extLst>
          </c:dPt>
          <c:dPt>
            <c:idx val="287"/>
            <c:invertIfNegative val="1"/>
            <c:bubble3D val="0"/>
            <c:spPr>
              <a:solidFill>
                <a:srgbClr val="7ECAC4"/>
              </a:solidFill>
            </c:spPr>
            <c:extLst>
              <c:ext xmlns:c16="http://schemas.microsoft.com/office/drawing/2014/chart" uri="{C3380CC4-5D6E-409C-BE32-E72D297353CC}">
                <c16:uniqueId val="{00000241-86F4-458F-B5E5-D296EB1009DF}"/>
              </c:ext>
            </c:extLst>
          </c:dPt>
          <c:dPt>
            <c:idx val="288"/>
            <c:invertIfNegative val="1"/>
            <c:bubble3D val="0"/>
            <c:spPr>
              <a:solidFill>
                <a:srgbClr val="7ECAC4"/>
              </a:solidFill>
            </c:spPr>
            <c:extLst>
              <c:ext xmlns:c16="http://schemas.microsoft.com/office/drawing/2014/chart" uri="{C3380CC4-5D6E-409C-BE32-E72D297353CC}">
                <c16:uniqueId val="{00000243-86F4-458F-B5E5-D296EB1009DF}"/>
              </c:ext>
            </c:extLst>
          </c:dPt>
          <c:dPt>
            <c:idx val="289"/>
            <c:invertIfNegative val="1"/>
            <c:bubble3D val="0"/>
            <c:spPr>
              <a:solidFill>
                <a:srgbClr val="7ECAC4"/>
              </a:solidFill>
            </c:spPr>
            <c:extLst>
              <c:ext xmlns:c16="http://schemas.microsoft.com/office/drawing/2014/chart" uri="{C3380CC4-5D6E-409C-BE32-E72D297353CC}">
                <c16:uniqueId val="{00000245-86F4-458F-B5E5-D296EB1009DF}"/>
              </c:ext>
            </c:extLst>
          </c:dPt>
          <c:dPt>
            <c:idx val="290"/>
            <c:invertIfNegative val="1"/>
            <c:bubble3D val="0"/>
            <c:spPr>
              <a:solidFill>
                <a:srgbClr val="7ECAC4"/>
              </a:solidFill>
            </c:spPr>
            <c:extLst>
              <c:ext xmlns:c16="http://schemas.microsoft.com/office/drawing/2014/chart" uri="{C3380CC4-5D6E-409C-BE32-E72D297353CC}">
                <c16:uniqueId val="{00000247-86F4-458F-B5E5-D296EB1009DF}"/>
              </c:ext>
            </c:extLst>
          </c:dPt>
          <c:dPt>
            <c:idx val="291"/>
            <c:invertIfNegative val="1"/>
            <c:bubble3D val="0"/>
            <c:spPr>
              <a:solidFill>
                <a:srgbClr val="7ECAC4"/>
              </a:solidFill>
            </c:spPr>
            <c:extLst>
              <c:ext xmlns:c16="http://schemas.microsoft.com/office/drawing/2014/chart" uri="{C3380CC4-5D6E-409C-BE32-E72D297353CC}">
                <c16:uniqueId val="{00000249-86F4-458F-B5E5-D296EB1009DF}"/>
              </c:ext>
            </c:extLst>
          </c:dPt>
          <c:dPt>
            <c:idx val="292"/>
            <c:invertIfNegative val="1"/>
            <c:bubble3D val="0"/>
            <c:spPr>
              <a:solidFill>
                <a:srgbClr val="7ECAC4"/>
              </a:solidFill>
            </c:spPr>
            <c:extLst>
              <c:ext xmlns:c16="http://schemas.microsoft.com/office/drawing/2014/chart" uri="{C3380CC4-5D6E-409C-BE32-E72D297353CC}">
                <c16:uniqueId val="{0000024B-86F4-458F-B5E5-D296EB1009DF}"/>
              </c:ext>
            </c:extLst>
          </c:dPt>
          <c:dPt>
            <c:idx val="293"/>
            <c:invertIfNegative val="1"/>
            <c:bubble3D val="0"/>
            <c:spPr>
              <a:solidFill>
                <a:srgbClr val="7ECAC4"/>
              </a:solidFill>
            </c:spPr>
            <c:extLst>
              <c:ext xmlns:c16="http://schemas.microsoft.com/office/drawing/2014/chart" uri="{C3380CC4-5D6E-409C-BE32-E72D297353CC}">
                <c16:uniqueId val="{0000024D-86F4-458F-B5E5-D296EB1009DF}"/>
              </c:ext>
            </c:extLst>
          </c:dPt>
          <c:dPt>
            <c:idx val="294"/>
            <c:invertIfNegative val="1"/>
            <c:bubble3D val="0"/>
            <c:spPr>
              <a:solidFill>
                <a:srgbClr val="7ECAC4"/>
              </a:solidFill>
            </c:spPr>
            <c:extLst>
              <c:ext xmlns:c16="http://schemas.microsoft.com/office/drawing/2014/chart" uri="{C3380CC4-5D6E-409C-BE32-E72D297353CC}">
                <c16:uniqueId val="{0000024F-86F4-458F-B5E5-D296EB1009DF}"/>
              </c:ext>
            </c:extLst>
          </c:dPt>
          <c:dPt>
            <c:idx val="295"/>
            <c:invertIfNegative val="1"/>
            <c:bubble3D val="0"/>
            <c:spPr>
              <a:solidFill>
                <a:srgbClr val="7ECAC4"/>
              </a:solidFill>
            </c:spPr>
            <c:extLst>
              <c:ext xmlns:c16="http://schemas.microsoft.com/office/drawing/2014/chart" uri="{C3380CC4-5D6E-409C-BE32-E72D297353CC}">
                <c16:uniqueId val="{00000251-86F4-458F-B5E5-D296EB1009DF}"/>
              </c:ext>
            </c:extLst>
          </c:dPt>
          <c:dPt>
            <c:idx val="296"/>
            <c:invertIfNegative val="1"/>
            <c:bubble3D val="0"/>
            <c:spPr>
              <a:solidFill>
                <a:srgbClr val="7ECAC4"/>
              </a:solidFill>
            </c:spPr>
            <c:extLst>
              <c:ext xmlns:c16="http://schemas.microsoft.com/office/drawing/2014/chart" uri="{C3380CC4-5D6E-409C-BE32-E72D297353CC}">
                <c16:uniqueId val="{00000253-86F4-458F-B5E5-D296EB1009DF}"/>
              </c:ext>
            </c:extLst>
          </c:dPt>
          <c:dPt>
            <c:idx val="297"/>
            <c:invertIfNegative val="1"/>
            <c:bubble3D val="0"/>
            <c:spPr>
              <a:solidFill>
                <a:srgbClr val="7ECAC4"/>
              </a:solidFill>
            </c:spPr>
            <c:extLst>
              <c:ext xmlns:c16="http://schemas.microsoft.com/office/drawing/2014/chart" uri="{C3380CC4-5D6E-409C-BE32-E72D297353CC}">
                <c16:uniqueId val="{00000255-86F4-458F-B5E5-D296EB1009DF}"/>
              </c:ext>
            </c:extLst>
          </c:dPt>
          <c:dPt>
            <c:idx val="298"/>
            <c:invertIfNegative val="1"/>
            <c:bubble3D val="0"/>
            <c:spPr>
              <a:solidFill>
                <a:srgbClr val="7ECAC4"/>
              </a:solidFill>
            </c:spPr>
            <c:extLst>
              <c:ext xmlns:c16="http://schemas.microsoft.com/office/drawing/2014/chart" uri="{C3380CC4-5D6E-409C-BE32-E72D297353CC}">
                <c16:uniqueId val="{00000257-86F4-458F-B5E5-D296EB1009DF}"/>
              </c:ext>
            </c:extLst>
          </c:dPt>
          <c:dPt>
            <c:idx val="299"/>
            <c:invertIfNegative val="1"/>
            <c:bubble3D val="0"/>
            <c:spPr>
              <a:solidFill>
                <a:srgbClr val="7ECAC4"/>
              </a:solidFill>
            </c:spPr>
            <c:extLst>
              <c:ext xmlns:c16="http://schemas.microsoft.com/office/drawing/2014/chart" uri="{C3380CC4-5D6E-409C-BE32-E72D297353CC}">
                <c16:uniqueId val="{00000259-86F4-458F-B5E5-D296EB1009DF}"/>
              </c:ext>
            </c:extLst>
          </c:dPt>
          <c:dPt>
            <c:idx val="300"/>
            <c:invertIfNegative val="1"/>
            <c:bubble3D val="0"/>
            <c:spPr>
              <a:solidFill>
                <a:srgbClr val="7ECAC4"/>
              </a:solidFill>
            </c:spPr>
            <c:extLst>
              <c:ext xmlns:c16="http://schemas.microsoft.com/office/drawing/2014/chart" uri="{C3380CC4-5D6E-409C-BE32-E72D297353CC}">
                <c16:uniqueId val="{0000025B-86F4-458F-B5E5-D296EB1009DF}"/>
              </c:ext>
            </c:extLst>
          </c:dPt>
          <c:dPt>
            <c:idx val="301"/>
            <c:invertIfNegative val="1"/>
            <c:bubble3D val="0"/>
            <c:spPr>
              <a:solidFill>
                <a:srgbClr val="7ECAC4"/>
              </a:solidFill>
            </c:spPr>
            <c:extLst>
              <c:ext xmlns:c16="http://schemas.microsoft.com/office/drawing/2014/chart" uri="{C3380CC4-5D6E-409C-BE32-E72D297353CC}">
                <c16:uniqueId val="{0000025D-86F4-458F-B5E5-D296EB1009DF}"/>
              </c:ext>
            </c:extLst>
          </c:dPt>
          <c:dPt>
            <c:idx val="302"/>
            <c:invertIfNegative val="1"/>
            <c:bubble3D val="0"/>
            <c:spPr>
              <a:solidFill>
                <a:srgbClr val="7ECAC4"/>
              </a:solidFill>
            </c:spPr>
            <c:extLst>
              <c:ext xmlns:c16="http://schemas.microsoft.com/office/drawing/2014/chart" uri="{C3380CC4-5D6E-409C-BE32-E72D297353CC}">
                <c16:uniqueId val="{0000025F-86F4-458F-B5E5-D296EB1009DF}"/>
              </c:ext>
            </c:extLst>
          </c:dPt>
          <c:dPt>
            <c:idx val="303"/>
            <c:invertIfNegative val="1"/>
            <c:bubble3D val="0"/>
            <c:spPr>
              <a:solidFill>
                <a:srgbClr val="7ECAC4"/>
              </a:solidFill>
            </c:spPr>
            <c:extLst>
              <c:ext xmlns:c16="http://schemas.microsoft.com/office/drawing/2014/chart" uri="{C3380CC4-5D6E-409C-BE32-E72D297353CC}">
                <c16:uniqueId val="{00000261-86F4-458F-B5E5-D296EB1009DF}"/>
              </c:ext>
            </c:extLst>
          </c:dPt>
          <c:dPt>
            <c:idx val="304"/>
            <c:invertIfNegative val="1"/>
            <c:bubble3D val="0"/>
            <c:spPr>
              <a:solidFill>
                <a:srgbClr val="7ECAC4"/>
              </a:solidFill>
            </c:spPr>
            <c:extLst>
              <c:ext xmlns:c16="http://schemas.microsoft.com/office/drawing/2014/chart" uri="{C3380CC4-5D6E-409C-BE32-E72D297353CC}">
                <c16:uniqueId val="{00000263-86F4-458F-B5E5-D296EB1009DF}"/>
              </c:ext>
            </c:extLst>
          </c:dPt>
          <c:dPt>
            <c:idx val="305"/>
            <c:invertIfNegative val="1"/>
            <c:bubble3D val="0"/>
            <c:spPr>
              <a:solidFill>
                <a:srgbClr val="7ECAC4"/>
              </a:solidFill>
            </c:spPr>
            <c:extLst>
              <c:ext xmlns:c16="http://schemas.microsoft.com/office/drawing/2014/chart" uri="{C3380CC4-5D6E-409C-BE32-E72D297353CC}">
                <c16:uniqueId val="{00000265-86F4-458F-B5E5-D296EB1009DF}"/>
              </c:ext>
            </c:extLst>
          </c:dPt>
          <c:dPt>
            <c:idx val="306"/>
            <c:invertIfNegative val="1"/>
            <c:bubble3D val="0"/>
            <c:spPr>
              <a:solidFill>
                <a:srgbClr val="7ECAC4"/>
              </a:solidFill>
            </c:spPr>
            <c:extLst>
              <c:ext xmlns:c16="http://schemas.microsoft.com/office/drawing/2014/chart" uri="{C3380CC4-5D6E-409C-BE32-E72D297353CC}">
                <c16:uniqueId val="{00000267-86F4-458F-B5E5-D296EB1009DF}"/>
              </c:ext>
            </c:extLst>
          </c:dPt>
          <c:dPt>
            <c:idx val="307"/>
            <c:invertIfNegative val="1"/>
            <c:bubble3D val="0"/>
            <c:spPr>
              <a:solidFill>
                <a:srgbClr val="7ECAC4"/>
              </a:solidFill>
            </c:spPr>
            <c:extLst>
              <c:ext xmlns:c16="http://schemas.microsoft.com/office/drawing/2014/chart" uri="{C3380CC4-5D6E-409C-BE32-E72D297353CC}">
                <c16:uniqueId val="{00000269-86F4-458F-B5E5-D296EB1009DF}"/>
              </c:ext>
            </c:extLst>
          </c:dPt>
          <c:dPt>
            <c:idx val="308"/>
            <c:invertIfNegative val="1"/>
            <c:bubble3D val="0"/>
            <c:spPr>
              <a:solidFill>
                <a:srgbClr val="AEABAB"/>
              </a:solidFill>
            </c:spPr>
            <c:extLst>
              <c:ext xmlns:c16="http://schemas.microsoft.com/office/drawing/2014/chart" uri="{C3380CC4-5D6E-409C-BE32-E72D297353CC}">
                <c16:uniqueId val="{0000026B-86F4-458F-B5E5-D296EB1009DF}"/>
              </c:ext>
            </c:extLst>
          </c:dPt>
          <c:dPt>
            <c:idx val="309"/>
            <c:invertIfNegative val="1"/>
            <c:bubble3D val="0"/>
            <c:spPr>
              <a:solidFill>
                <a:srgbClr val="AEABAB"/>
              </a:solidFill>
            </c:spPr>
            <c:extLst>
              <c:ext xmlns:c16="http://schemas.microsoft.com/office/drawing/2014/chart" uri="{C3380CC4-5D6E-409C-BE32-E72D297353CC}">
                <c16:uniqueId val="{0000026D-86F4-458F-B5E5-D296EB1009DF}"/>
              </c:ext>
            </c:extLst>
          </c:dPt>
          <c:dPt>
            <c:idx val="310"/>
            <c:invertIfNegative val="1"/>
            <c:bubble3D val="0"/>
            <c:spPr>
              <a:solidFill>
                <a:srgbClr val="AEABAB"/>
              </a:solidFill>
            </c:spPr>
            <c:extLst>
              <c:ext xmlns:c16="http://schemas.microsoft.com/office/drawing/2014/chart" uri="{C3380CC4-5D6E-409C-BE32-E72D297353CC}">
                <c16:uniqueId val="{0000026F-86F4-458F-B5E5-D296EB1009DF}"/>
              </c:ext>
            </c:extLst>
          </c:dPt>
          <c:dPt>
            <c:idx val="311"/>
            <c:invertIfNegative val="1"/>
            <c:bubble3D val="0"/>
            <c:spPr>
              <a:solidFill>
                <a:srgbClr val="AEABAB"/>
              </a:solidFill>
            </c:spPr>
            <c:extLst>
              <c:ext xmlns:c16="http://schemas.microsoft.com/office/drawing/2014/chart" uri="{C3380CC4-5D6E-409C-BE32-E72D297353CC}">
                <c16:uniqueId val="{00000271-86F4-458F-B5E5-D296EB1009DF}"/>
              </c:ext>
            </c:extLst>
          </c:dPt>
          <c:dPt>
            <c:idx val="312"/>
            <c:invertIfNegative val="1"/>
            <c:bubble3D val="0"/>
            <c:spPr>
              <a:solidFill>
                <a:srgbClr val="AEABAB"/>
              </a:solidFill>
            </c:spPr>
            <c:extLst>
              <c:ext xmlns:c16="http://schemas.microsoft.com/office/drawing/2014/chart" uri="{C3380CC4-5D6E-409C-BE32-E72D297353CC}">
                <c16:uniqueId val="{00000273-86F4-458F-B5E5-D296EB1009DF}"/>
              </c:ext>
            </c:extLst>
          </c:dPt>
          <c:dPt>
            <c:idx val="313"/>
            <c:invertIfNegative val="1"/>
            <c:bubble3D val="0"/>
            <c:spPr>
              <a:solidFill>
                <a:srgbClr val="AEABAB"/>
              </a:solidFill>
            </c:spPr>
            <c:extLst>
              <c:ext xmlns:c16="http://schemas.microsoft.com/office/drawing/2014/chart" uri="{C3380CC4-5D6E-409C-BE32-E72D297353CC}">
                <c16:uniqueId val="{00000275-86F4-458F-B5E5-D296EB1009DF}"/>
              </c:ext>
            </c:extLst>
          </c:dPt>
          <c:dPt>
            <c:idx val="314"/>
            <c:invertIfNegative val="1"/>
            <c:bubble3D val="0"/>
            <c:spPr>
              <a:solidFill>
                <a:srgbClr val="AEABAB"/>
              </a:solidFill>
            </c:spPr>
            <c:extLst>
              <c:ext xmlns:c16="http://schemas.microsoft.com/office/drawing/2014/chart" uri="{C3380CC4-5D6E-409C-BE32-E72D297353CC}">
                <c16:uniqueId val="{00000277-86F4-458F-B5E5-D296EB1009DF}"/>
              </c:ext>
            </c:extLst>
          </c:dPt>
          <c:dPt>
            <c:idx val="315"/>
            <c:invertIfNegative val="1"/>
            <c:bubble3D val="0"/>
            <c:spPr>
              <a:solidFill>
                <a:srgbClr val="AEABAB"/>
              </a:solidFill>
            </c:spPr>
            <c:extLst>
              <c:ext xmlns:c16="http://schemas.microsoft.com/office/drawing/2014/chart" uri="{C3380CC4-5D6E-409C-BE32-E72D297353CC}">
                <c16:uniqueId val="{00000279-86F4-458F-B5E5-D296EB1009DF}"/>
              </c:ext>
            </c:extLst>
          </c:dPt>
          <c:dPt>
            <c:idx val="316"/>
            <c:invertIfNegative val="1"/>
            <c:bubble3D val="0"/>
            <c:spPr>
              <a:solidFill>
                <a:srgbClr val="AEABAB"/>
              </a:solidFill>
            </c:spPr>
            <c:extLst>
              <c:ext xmlns:c16="http://schemas.microsoft.com/office/drawing/2014/chart" uri="{C3380CC4-5D6E-409C-BE32-E72D297353CC}">
                <c16:uniqueId val="{0000027B-86F4-458F-B5E5-D296EB1009DF}"/>
              </c:ext>
            </c:extLst>
          </c:dPt>
          <c:dPt>
            <c:idx val="317"/>
            <c:invertIfNegative val="1"/>
            <c:bubble3D val="0"/>
            <c:spPr>
              <a:solidFill>
                <a:srgbClr val="AEABAB"/>
              </a:solidFill>
            </c:spPr>
            <c:extLst>
              <c:ext xmlns:c16="http://schemas.microsoft.com/office/drawing/2014/chart" uri="{C3380CC4-5D6E-409C-BE32-E72D297353CC}">
                <c16:uniqueId val="{0000027D-86F4-458F-B5E5-D296EB1009DF}"/>
              </c:ext>
            </c:extLst>
          </c:dPt>
          <c:dPt>
            <c:idx val="318"/>
            <c:invertIfNegative val="1"/>
            <c:bubble3D val="0"/>
            <c:spPr>
              <a:solidFill>
                <a:srgbClr val="AEABAB"/>
              </a:solidFill>
            </c:spPr>
            <c:extLst>
              <c:ext xmlns:c16="http://schemas.microsoft.com/office/drawing/2014/chart" uri="{C3380CC4-5D6E-409C-BE32-E72D297353CC}">
                <c16:uniqueId val="{0000027F-86F4-458F-B5E5-D296EB1009DF}"/>
              </c:ext>
            </c:extLst>
          </c:dPt>
          <c:dPt>
            <c:idx val="319"/>
            <c:invertIfNegative val="1"/>
            <c:bubble3D val="0"/>
            <c:spPr>
              <a:solidFill>
                <a:srgbClr val="AEABAB"/>
              </a:solidFill>
            </c:spPr>
            <c:extLst>
              <c:ext xmlns:c16="http://schemas.microsoft.com/office/drawing/2014/chart" uri="{C3380CC4-5D6E-409C-BE32-E72D297353CC}">
                <c16:uniqueId val="{00000281-86F4-458F-B5E5-D296EB1009DF}"/>
              </c:ext>
            </c:extLst>
          </c:dPt>
          <c:dPt>
            <c:idx val="320"/>
            <c:invertIfNegative val="1"/>
            <c:bubble3D val="0"/>
            <c:spPr>
              <a:solidFill>
                <a:srgbClr val="AEABAB"/>
              </a:solidFill>
            </c:spPr>
            <c:extLst>
              <c:ext xmlns:c16="http://schemas.microsoft.com/office/drawing/2014/chart" uri="{C3380CC4-5D6E-409C-BE32-E72D297353CC}">
                <c16:uniqueId val="{00000283-86F4-458F-B5E5-D296EB1009DF}"/>
              </c:ext>
            </c:extLst>
          </c:dPt>
          <c:dPt>
            <c:idx val="321"/>
            <c:invertIfNegative val="1"/>
            <c:bubble3D val="0"/>
            <c:spPr>
              <a:solidFill>
                <a:srgbClr val="AEABAB"/>
              </a:solidFill>
            </c:spPr>
            <c:extLst>
              <c:ext xmlns:c16="http://schemas.microsoft.com/office/drawing/2014/chart" uri="{C3380CC4-5D6E-409C-BE32-E72D297353CC}">
                <c16:uniqueId val="{00000285-86F4-458F-B5E5-D296EB1009DF}"/>
              </c:ext>
            </c:extLst>
          </c:dPt>
          <c:dPt>
            <c:idx val="322"/>
            <c:invertIfNegative val="1"/>
            <c:bubble3D val="0"/>
            <c:spPr>
              <a:solidFill>
                <a:srgbClr val="AEABAB"/>
              </a:solidFill>
            </c:spPr>
            <c:extLst>
              <c:ext xmlns:c16="http://schemas.microsoft.com/office/drawing/2014/chart" uri="{C3380CC4-5D6E-409C-BE32-E72D297353CC}">
                <c16:uniqueId val="{00000287-86F4-458F-B5E5-D296EB1009DF}"/>
              </c:ext>
            </c:extLst>
          </c:dPt>
          <c:dPt>
            <c:idx val="323"/>
            <c:invertIfNegative val="1"/>
            <c:bubble3D val="0"/>
            <c:spPr>
              <a:solidFill>
                <a:srgbClr val="AEABAB"/>
              </a:solidFill>
            </c:spPr>
            <c:extLst>
              <c:ext xmlns:c16="http://schemas.microsoft.com/office/drawing/2014/chart" uri="{C3380CC4-5D6E-409C-BE32-E72D297353CC}">
                <c16:uniqueId val="{00000289-86F4-458F-B5E5-D296EB1009DF}"/>
              </c:ext>
            </c:extLst>
          </c:dPt>
          <c:dPt>
            <c:idx val="324"/>
            <c:invertIfNegative val="1"/>
            <c:bubble3D val="0"/>
            <c:spPr>
              <a:solidFill>
                <a:srgbClr val="AEABAB"/>
              </a:solidFill>
            </c:spPr>
            <c:extLst>
              <c:ext xmlns:c16="http://schemas.microsoft.com/office/drawing/2014/chart" uri="{C3380CC4-5D6E-409C-BE32-E72D297353CC}">
                <c16:uniqueId val="{0000028B-86F4-458F-B5E5-D296EB1009DF}"/>
              </c:ext>
            </c:extLst>
          </c:dPt>
          <c:dPt>
            <c:idx val="325"/>
            <c:invertIfNegative val="1"/>
            <c:bubble3D val="0"/>
            <c:spPr>
              <a:solidFill>
                <a:srgbClr val="AEABAB"/>
              </a:solidFill>
            </c:spPr>
            <c:extLst>
              <c:ext xmlns:c16="http://schemas.microsoft.com/office/drawing/2014/chart" uri="{C3380CC4-5D6E-409C-BE32-E72D297353CC}">
                <c16:uniqueId val="{0000028D-86F4-458F-B5E5-D296EB1009DF}"/>
              </c:ext>
            </c:extLst>
          </c:dPt>
          <c:dPt>
            <c:idx val="326"/>
            <c:invertIfNegative val="1"/>
            <c:bubble3D val="0"/>
            <c:spPr>
              <a:solidFill>
                <a:srgbClr val="AEABAB"/>
              </a:solidFill>
            </c:spPr>
            <c:extLst>
              <c:ext xmlns:c16="http://schemas.microsoft.com/office/drawing/2014/chart" uri="{C3380CC4-5D6E-409C-BE32-E72D297353CC}">
                <c16:uniqueId val="{0000028F-86F4-458F-B5E5-D296EB1009DF}"/>
              </c:ext>
            </c:extLst>
          </c:dPt>
          <c:dPt>
            <c:idx val="327"/>
            <c:invertIfNegative val="1"/>
            <c:bubble3D val="0"/>
            <c:spPr>
              <a:solidFill>
                <a:srgbClr val="AEABAB"/>
              </a:solidFill>
            </c:spPr>
            <c:extLst>
              <c:ext xmlns:c16="http://schemas.microsoft.com/office/drawing/2014/chart" uri="{C3380CC4-5D6E-409C-BE32-E72D297353CC}">
                <c16:uniqueId val="{00000291-86F4-458F-B5E5-D296EB1009DF}"/>
              </c:ext>
            </c:extLst>
          </c:dPt>
          <c:dPt>
            <c:idx val="328"/>
            <c:invertIfNegative val="1"/>
            <c:bubble3D val="0"/>
            <c:spPr>
              <a:solidFill>
                <a:srgbClr val="AEABAB"/>
              </a:solidFill>
            </c:spPr>
            <c:extLst>
              <c:ext xmlns:c16="http://schemas.microsoft.com/office/drawing/2014/chart" uri="{C3380CC4-5D6E-409C-BE32-E72D297353CC}">
                <c16:uniqueId val="{00000293-86F4-458F-B5E5-D296EB1009DF}"/>
              </c:ext>
            </c:extLst>
          </c:dPt>
          <c:dPt>
            <c:idx val="329"/>
            <c:invertIfNegative val="1"/>
            <c:bubble3D val="0"/>
            <c:spPr>
              <a:solidFill>
                <a:srgbClr val="AEABAB"/>
              </a:solidFill>
            </c:spPr>
            <c:extLst>
              <c:ext xmlns:c16="http://schemas.microsoft.com/office/drawing/2014/chart" uri="{C3380CC4-5D6E-409C-BE32-E72D297353CC}">
                <c16:uniqueId val="{00000295-86F4-458F-B5E5-D296EB1009DF}"/>
              </c:ext>
            </c:extLst>
          </c:dPt>
          <c:dPt>
            <c:idx val="330"/>
            <c:invertIfNegative val="1"/>
            <c:bubble3D val="0"/>
            <c:spPr>
              <a:solidFill>
                <a:srgbClr val="AEABAB"/>
              </a:solidFill>
            </c:spPr>
            <c:extLst>
              <c:ext xmlns:c16="http://schemas.microsoft.com/office/drawing/2014/chart" uri="{C3380CC4-5D6E-409C-BE32-E72D297353CC}">
                <c16:uniqueId val="{00000297-86F4-458F-B5E5-D296EB1009DF}"/>
              </c:ext>
            </c:extLst>
          </c:dPt>
          <c:dPt>
            <c:idx val="331"/>
            <c:invertIfNegative val="1"/>
            <c:bubble3D val="0"/>
            <c:spPr>
              <a:solidFill>
                <a:srgbClr val="AEABAB"/>
              </a:solidFill>
            </c:spPr>
            <c:extLst>
              <c:ext xmlns:c16="http://schemas.microsoft.com/office/drawing/2014/chart" uri="{C3380CC4-5D6E-409C-BE32-E72D297353CC}">
                <c16:uniqueId val="{00000299-86F4-458F-B5E5-D296EB1009DF}"/>
              </c:ext>
            </c:extLst>
          </c:dPt>
          <c:dPt>
            <c:idx val="332"/>
            <c:invertIfNegative val="1"/>
            <c:bubble3D val="0"/>
            <c:spPr>
              <a:solidFill>
                <a:srgbClr val="AEABAB"/>
              </a:solidFill>
            </c:spPr>
            <c:extLst>
              <c:ext xmlns:c16="http://schemas.microsoft.com/office/drawing/2014/chart" uri="{C3380CC4-5D6E-409C-BE32-E72D297353CC}">
                <c16:uniqueId val="{0000029B-86F4-458F-B5E5-D296EB1009DF}"/>
              </c:ext>
            </c:extLst>
          </c:dPt>
          <c:dPt>
            <c:idx val="333"/>
            <c:invertIfNegative val="1"/>
            <c:bubble3D val="0"/>
            <c:spPr>
              <a:solidFill>
                <a:srgbClr val="AEABAB"/>
              </a:solidFill>
            </c:spPr>
            <c:extLst>
              <c:ext xmlns:c16="http://schemas.microsoft.com/office/drawing/2014/chart" uri="{C3380CC4-5D6E-409C-BE32-E72D297353CC}">
                <c16:uniqueId val="{0000029D-86F4-458F-B5E5-D296EB1009DF}"/>
              </c:ext>
            </c:extLst>
          </c:dPt>
          <c:dPt>
            <c:idx val="334"/>
            <c:invertIfNegative val="1"/>
            <c:bubble3D val="0"/>
            <c:spPr>
              <a:solidFill>
                <a:srgbClr val="AEABAB"/>
              </a:solidFill>
            </c:spPr>
            <c:extLst>
              <c:ext xmlns:c16="http://schemas.microsoft.com/office/drawing/2014/chart" uri="{C3380CC4-5D6E-409C-BE32-E72D297353CC}">
                <c16:uniqueId val="{0000029F-86F4-458F-B5E5-D296EB1009DF}"/>
              </c:ext>
            </c:extLst>
          </c:dPt>
          <c:dPt>
            <c:idx val="335"/>
            <c:invertIfNegative val="1"/>
            <c:bubble3D val="0"/>
            <c:spPr>
              <a:solidFill>
                <a:srgbClr val="AEABAB"/>
              </a:solidFill>
            </c:spPr>
            <c:extLst>
              <c:ext xmlns:c16="http://schemas.microsoft.com/office/drawing/2014/chart" uri="{C3380CC4-5D6E-409C-BE32-E72D297353CC}">
                <c16:uniqueId val="{000002A1-86F4-458F-B5E5-D296EB1009DF}"/>
              </c:ext>
            </c:extLst>
          </c:dPt>
          <c:dPt>
            <c:idx val="336"/>
            <c:invertIfNegative val="1"/>
            <c:bubble3D val="0"/>
            <c:spPr>
              <a:solidFill>
                <a:srgbClr val="AEABAB"/>
              </a:solidFill>
            </c:spPr>
            <c:extLst>
              <c:ext xmlns:c16="http://schemas.microsoft.com/office/drawing/2014/chart" uri="{C3380CC4-5D6E-409C-BE32-E72D297353CC}">
                <c16:uniqueId val="{000002A3-86F4-458F-B5E5-D296EB1009DF}"/>
              </c:ext>
            </c:extLst>
          </c:dPt>
          <c:dPt>
            <c:idx val="337"/>
            <c:invertIfNegative val="1"/>
            <c:bubble3D val="0"/>
            <c:spPr>
              <a:solidFill>
                <a:srgbClr val="AEABAB"/>
              </a:solidFill>
            </c:spPr>
            <c:extLst>
              <c:ext xmlns:c16="http://schemas.microsoft.com/office/drawing/2014/chart" uri="{C3380CC4-5D6E-409C-BE32-E72D297353CC}">
                <c16:uniqueId val="{000002A5-86F4-458F-B5E5-D296EB1009DF}"/>
              </c:ext>
            </c:extLst>
          </c:dPt>
          <c:dPt>
            <c:idx val="338"/>
            <c:invertIfNegative val="1"/>
            <c:bubble3D val="0"/>
            <c:spPr>
              <a:solidFill>
                <a:srgbClr val="AEABAB"/>
              </a:solidFill>
            </c:spPr>
            <c:extLst>
              <c:ext xmlns:c16="http://schemas.microsoft.com/office/drawing/2014/chart" uri="{C3380CC4-5D6E-409C-BE32-E72D297353CC}">
                <c16:uniqueId val="{000002A7-86F4-458F-B5E5-D296EB1009DF}"/>
              </c:ext>
            </c:extLst>
          </c:dPt>
          <c:dPt>
            <c:idx val="339"/>
            <c:invertIfNegative val="1"/>
            <c:bubble3D val="0"/>
            <c:spPr>
              <a:solidFill>
                <a:srgbClr val="AEABAB"/>
              </a:solidFill>
            </c:spPr>
            <c:extLst>
              <c:ext xmlns:c16="http://schemas.microsoft.com/office/drawing/2014/chart" uri="{C3380CC4-5D6E-409C-BE32-E72D297353CC}">
                <c16:uniqueId val="{000002A9-86F4-458F-B5E5-D296EB1009DF}"/>
              </c:ext>
            </c:extLst>
          </c:dPt>
          <c:dPt>
            <c:idx val="340"/>
            <c:invertIfNegative val="1"/>
            <c:bubble3D val="0"/>
            <c:spPr>
              <a:solidFill>
                <a:srgbClr val="AEABAB"/>
              </a:solidFill>
            </c:spPr>
            <c:extLst>
              <c:ext xmlns:c16="http://schemas.microsoft.com/office/drawing/2014/chart" uri="{C3380CC4-5D6E-409C-BE32-E72D297353CC}">
                <c16:uniqueId val="{000002AB-86F4-458F-B5E5-D296EB1009DF}"/>
              </c:ext>
            </c:extLst>
          </c:dPt>
          <c:dPt>
            <c:idx val="341"/>
            <c:invertIfNegative val="1"/>
            <c:bubble3D val="0"/>
            <c:spPr>
              <a:solidFill>
                <a:srgbClr val="AEABAB"/>
              </a:solidFill>
            </c:spPr>
            <c:extLst>
              <c:ext xmlns:c16="http://schemas.microsoft.com/office/drawing/2014/chart" uri="{C3380CC4-5D6E-409C-BE32-E72D297353CC}">
                <c16:uniqueId val="{000002AD-86F4-458F-B5E5-D296EB1009DF}"/>
              </c:ext>
            </c:extLst>
          </c:dPt>
          <c:dPt>
            <c:idx val="342"/>
            <c:invertIfNegative val="1"/>
            <c:bubble3D val="0"/>
            <c:spPr>
              <a:solidFill>
                <a:srgbClr val="AEABAB"/>
              </a:solidFill>
            </c:spPr>
            <c:extLst>
              <c:ext xmlns:c16="http://schemas.microsoft.com/office/drawing/2014/chart" uri="{C3380CC4-5D6E-409C-BE32-E72D297353CC}">
                <c16:uniqueId val="{000002AF-86F4-458F-B5E5-D296EB1009DF}"/>
              </c:ext>
            </c:extLst>
          </c:dPt>
          <c:dPt>
            <c:idx val="343"/>
            <c:invertIfNegative val="1"/>
            <c:bubble3D val="0"/>
            <c:spPr>
              <a:solidFill>
                <a:srgbClr val="AEABAB"/>
              </a:solidFill>
            </c:spPr>
            <c:extLst>
              <c:ext xmlns:c16="http://schemas.microsoft.com/office/drawing/2014/chart" uri="{C3380CC4-5D6E-409C-BE32-E72D297353CC}">
                <c16:uniqueId val="{000002B1-86F4-458F-B5E5-D296EB1009DF}"/>
              </c:ext>
            </c:extLst>
          </c:dPt>
          <c:dPt>
            <c:idx val="344"/>
            <c:invertIfNegative val="1"/>
            <c:bubble3D val="0"/>
            <c:spPr>
              <a:solidFill>
                <a:srgbClr val="AEABAB"/>
              </a:solidFill>
            </c:spPr>
            <c:extLst>
              <c:ext xmlns:c16="http://schemas.microsoft.com/office/drawing/2014/chart" uri="{C3380CC4-5D6E-409C-BE32-E72D297353CC}">
                <c16:uniqueId val="{000002B3-86F4-458F-B5E5-D296EB1009DF}"/>
              </c:ext>
            </c:extLst>
          </c:dPt>
          <c:dPt>
            <c:idx val="345"/>
            <c:invertIfNegative val="1"/>
            <c:bubble3D val="0"/>
            <c:spPr>
              <a:solidFill>
                <a:srgbClr val="AEABAB"/>
              </a:solidFill>
            </c:spPr>
            <c:extLst>
              <c:ext xmlns:c16="http://schemas.microsoft.com/office/drawing/2014/chart" uri="{C3380CC4-5D6E-409C-BE32-E72D297353CC}">
                <c16:uniqueId val="{000002B5-86F4-458F-B5E5-D296EB1009DF}"/>
              </c:ext>
            </c:extLst>
          </c:dPt>
          <c:dPt>
            <c:idx val="346"/>
            <c:invertIfNegative val="1"/>
            <c:bubble3D val="0"/>
            <c:spPr>
              <a:solidFill>
                <a:srgbClr val="AEABAB"/>
              </a:solidFill>
            </c:spPr>
            <c:extLst>
              <c:ext xmlns:c16="http://schemas.microsoft.com/office/drawing/2014/chart" uri="{C3380CC4-5D6E-409C-BE32-E72D297353CC}">
                <c16:uniqueId val="{000002B7-86F4-458F-B5E5-D296EB1009DF}"/>
              </c:ext>
            </c:extLst>
          </c:dPt>
          <c:dPt>
            <c:idx val="347"/>
            <c:invertIfNegative val="1"/>
            <c:bubble3D val="0"/>
            <c:spPr>
              <a:solidFill>
                <a:srgbClr val="AEABAB"/>
              </a:solidFill>
            </c:spPr>
            <c:extLst>
              <c:ext xmlns:c16="http://schemas.microsoft.com/office/drawing/2014/chart" uri="{C3380CC4-5D6E-409C-BE32-E72D297353CC}">
                <c16:uniqueId val="{000002B9-86F4-458F-B5E5-D296EB1009DF}"/>
              </c:ext>
            </c:extLst>
          </c:dPt>
          <c:dPt>
            <c:idx val="348"/>
            <c:invertIfNegative val="1"/>
            <c:bubble3D val="0"/>
            <c:spPr>
              <a:solidFill>
                <a:srgbClr val="AEABAB"/>
              </a:solidFill>
            </c:spPr>
            <c:extLst>
              <c:ext xmlns:c16="http://schemas.microsoft.com/office/drawing/2014/chart" uri="{C3380CC4-5D6E-409C-BE32-E72D297353CC}">
                <c16:uniqueId val="{000002BB-86F4-458F-B5E5-D296EB1009DF}"/>
              </c:ext>
            </c:extLst>
          </c:dPt>
          <c:dPt>
            <c:idx val="349"/>
            <c:invertIfNegative val="1"/>
            <c:bubble3D val="0"/>
            <c:spPr>
              <a:solidFill>
                <a:srgbClr val="AEABAB"/>
              </a:solidFill>
            </c:spPr>
            <c:extLst>
              <c:ext xmlns:c16="http://schemas.microsoft.com/office/drawing/2014/chart" uri="{C3380CC4-5D6E-409C-BE32-E72D297353CC}">
                <c16:uniqueId val="{000002BD-86F4-458F-B5E5-D296EB1009DF}"/>
              </c:ext>
            </c:extLst>
          </c:dPt>
          <c:dPt>
            <c:idx val="350"/>
            <c:invertIfNegative val="1"/>
            <c:bubble3D val="0"/>
            <c:spPr>
              <a:solidFill>
                <a:srgbClr val="AEABAB"/>
              </a:solidFill>
            </c:spPr>
            <c:extLst>
              <c:ext xmlns:c16="http://schemas.microsoft.com/office/drawing/2014/chart" uri="{C3380CC4-5D6E-409C-BE32-E72D297353CC}">
                <c16:uniqueId val="{000002BF-86F4-458F-B5E5-D296EB1009DF}"/>
              </c:ext>
            </c:extLst>
          </c:dPt>
          <c:dPt>
            <c:idx val="351"/>
            <c:invertIfNegative val="1"/>
            <c:bubble3D val="0"/>
            <c:spPr>
              <a:solidFill>
                <a:srgbClr val="AEABAB"/>
              </a:solidFill>
            </c:spPr>
            <c:extLst>
              <c:ext xmlns:c16="http://schemas.microsoft.com/office/drawing/2014/chart" uri="{C3380CC4-5D6E-409C-BE32-E72D297353CC}">
                <c16:uniqueId val="{000002C1-86F4-458F-B5E5-D296EB1009DF}"/>
              </c:ext>
            </c:extLst>
          </c:dPt>
          <c:dPt>
            <c:idx val="352"/>
            <c:invertIfNegative val="1"/>
            <c:bubble3D val="0"/>
            <c:spPr>
              <a:solidFill>
                <a:srgbClr val="AEABAB"/>
              </a:solidFill>
            </c:spPr>
            <c:extLst>
              <c:ext xmlns:c16="http://schemas.microsoft.com/office/drawing/2014/chart" uri="{C3380CC4-5D6E-409C-BE32-E72D297353CC}">
                <c16:uniqueId val="{000002C3-86F4-458F-B5E5-D296EB1009DF}"/>
              </c:ext>
            </c:extLst>
          </c:dPt>
          <c:dPt>
            <c:idx val="353"/>
            <c:invertIfNegative val="1"/>
            <c:bubble3D val="0"/>
            <c:spPr>
              <a:solidFill>
                <a:srgbClr val="AEABAB"/>
              </a:solidFill>
            </c:spPr>
            <c:extLst>
              <c:ext xmlns:c16="http://schemas.microsoft.com/office/drawing/2014/chart" uri="{C3380CC4-5D6E-409C-BE32-E72D297353CC}">
                <c16:uniqueId val="{000002C5-86F4-458F-B5E5-D296EB1009DF}"/>
              </c:ext>
            </c:extLst>
          </c:dPt>
          <c:dPt>
            <c:idx val="354"/>
            <c:invertIfNegative val="1"/>
            <c:bubble3D val="0"/>
            <c:spPr>
              <a:solidFill>
                <a:srgbClr val="AEABAB"/>
              </a:solidFill>
            </c:spPr>
            <c:extLst>
              <c:ext xmlns:c16="http://schemas.microsoft.com/office/drawing/2014/chart" uri="{C3380CC4-5D6E-409C-BE32-E72D297353CC}">
                <c16:uniqueId val="{000002C7-86F4-458F-B5E5-D296EB1009DF}"/>
              </c:ext>
            </c:extLst>
          </c:dPt>
          <c:dPt>
            <c:idx val="355"/>
            <c:invertIfNegative val="1"/>
            <c:bubble3D val="0"/>
            <c:spPr>
              <a:solidFill>
                <a:srgbClr val="AEABAB"/>
              </a:solidFill>
            </c:spPr>
            <c:extLst>
              <c:ext xmlns:c16="http://schemas.microsoft.com/office/drawing/2014/chart" uri="{C3380CC4-5D6E-409C-BE32-E72D297353CC}">
                <c16:uniqueId val="{000002C9-86F4-458F-B5E5-D296EB1009DF}"/>
              </c:ext>
            </c:extLst>
          </c:dPt>
          <c:dPt>
            <c:idx val="356"/>
            <c:invertIfNegative val="1"/>
            <c:bubble3D val="0"/>
            <c:spPr>
              <a:solidFill>
                <a:srgbClr val="AEABAB"/>
              </a:solidFill>
            </c:spPr>
            <c:extLst>
              <c:ext xmlns:c16="http://schemas.microsoft.com/office/drawing/2014/chart" uri="{C3380CC4-5D6E-409C-BE32-E72D297353CC}">
                <c16:uniqueId val="{000002CB-86F4-458F-B5E5-D296EB1009DF}"/>
              </c:ext>
            </c:extLst>
          </c:dPt>
          <c:dPt>
            <c:idx val="357"/>
            <c:invertIfNegative val="1"/>
            <c:bubble3D val="0"/>
            <c:spPr>
              <a:solidFill>
                <a:srgbClr val="AEABAB"/>
              </a:solidFill>
            </c:spPr>
            <c:extLst>
              <c:ext xmlns:c16="http://schemas.microsoft.com/office/drawing/2014/chart" uri="{C3380CC4-5D6E-409C-BE32-E72D297353CC}">
                <c16:uniqueId val="{000002CD-86F4-458F-B5E5-D296EB1009DF}"/>
              </c:ext>
            </c:extLst>
          </c:dPt>
          <c:dPt>
            <c:idx val="358"/>
            <c:invertIfNegative val="1"/>
            <c:bubble3D val="0"/>
            <c:spPr>
              <a:solidFill>
                <a:srgbClr val="AEABAB"/>
              </a:solidFill>
            </c:spPr>
            <c:extLst>
              <c:ext xmlns:c16="http://schemas.microsoft.com/office/drawing/2014/chart" uri="{C3380CC4-5D6E-409C-BE32-E72D297353CC}">
                <c16:uniqueId val="{000002CF-86F4-458F-B5E5-D296EB1009DF}"/>
              </c:ext>
            </c:extLst>
          </c:dPt>
          <c:dPt>
            <c:idx val="359"/>
            <c:invertIfNegative val="1"/>
            <c:bubble3D val="0"/>
            <c:spPr>
              <a:solidFill>
                <a:srgbClr val="AEABAB"/>
              </a:solidFill>
            </c:spPr>
            <c:extLst>
              <c:ext xmlns:c16="http://schemas.microsoft.com/office/drawing/2014/chart" uri="{C3380CC4-5D6E-409C-BE32-E72D297353CC}">
                <c16:uniqueId val="{000002D1-86F4-458F-B5E5-D296EB1009DF}"/>
              </c:ext>
            </c:extLst>
          </c:dPt>
          <c:dPt>
            <c:idx val="360"/>
            <c:invertIfNegative val="1"/>
            <c:bubble3D val="0"/>
            <c:spPr>
              <a:solidFill>
                <a:srgbClr val="AEABAB"/>
              </a:solidFill>
            </c:spPr>
            <c:extLst>
              <c:ext xmlns:c16="http://schemas.microsoft.com/office/drawing/2014/chart" uri="{C3380CC4-5D6E-409C-BE32-E72D297353CC}">
                <c16:uniqueId val="{000002D3-86F4-458F-B5E5-D296EB1009DF}"/>
              </c:ext>
            </c:extLst>
          </c:dPt>
          <c:dPt>
            <c:idx val="361"/>
            <c:invertIfNegative val="1"/>
            <c:bubble3D val="0"/>
            <c:spPr>
              <a:solidFill>
                <a:srgbClr val="AEABAB"/>
              </a:solidFill>
            </c:spPr>
            <c:extLst>
              <c:ext xmlns:c16="http://schemas.microsoft.com/office/drawing/2014/chart" uri="{C3380CC4-5D6E-409C-BE32-E72D297353CC}">
                <c16:uniqueId val="{000002D5-86F4-458F-B5E5-D296EB1009DF}"/>
              </c:ext>
            </c:extLst>
          </c:dPt>
          <c:dPt>
            <c:idx val="362"/>
            <c:invertIfNegative val="1"/>
            <c:bubble3D val="0"/>
            <c:spPr>
              <a:solidFill>
                <a:srgbClr val="AEABAB"/>
              </a:solidFill>
            </c:spPr>
            <c:extLst>
              <c:ext xmlns:c16="http://schemas.microsoft.com/office/drawing/2014/chart" uri="{C3380CC4-5D6E-409C-BE32-E72D297353CC}">
                <c16:uniqueId val="{000002D7-86F4-458F-B5E5-D296EB1009DF}"/>
              </c:ext>
            </c:extLst>
          </c:dPt>
          <c:dPt>
            <c:idx val="363"/>
            <c:invertIfNegative val="1"/>
            <c:bubble3D val="0"/>
            <c:spPr>
              <a:solidFill>
                <a:srgbClr val="AEABAB"/>
              </a:solidFill>
            </c:spPr>
            <c:extLst>
              <c:ext xmlns:c16="http://schemas.microsoft.com/office/drawing/2014/chart" uri="{C3380CC4-5D6E-409C-BE32-E72D297353CC}">
                <c16:uniqueId val="{000002D9-86F4-458F-B5E5-D296EB1009DF}"/>
              </c:ext>
            </c:extLst>
          </c:dPt>
          <c:dPt>
            <c:idx val="364"/>
            <c:invertIfNegative val="1"/>
            <c:bubble3D val="0"/>
            <c:spPr>
              <a:solidFill>
                <a:srgbClr val="AEABAB"/>
              </a:solidFill>
            </c:spPr>
            <c:extLst>
              <c:ext xmlns:c16="http://schemas.microsoft.com/office/drawing/2014/chart" uri="{C3380CC4-5D6E-409C-BE32-E72D297353CC}">
                <c16:uniqueId val="{000002DB-86F4-458F-B5E5-D296EB1009DF}"/>
              </c:ext>
            </c:extLst>
          </c:dPt>
          <c:dPt>
            <c:idx val="365"/>
            <c:invertIfNegative val="1"/>
            <c:bubble3D val="0"/>
            <c:spPr>
              <a:solidFill>
                <a:srgbClr val="AEABAB"/>
              </a:solidFill>
            </c:spPr>
            <c:extLst>
              <c:ext xmlns:c16="http://schemas.microsoft.com/office/drawing/2014/chart" uri="{C3380CC4-5D6E-409C-BE32-E72D297353CC}">
                <c16:uniqueId val="{000002DD-86F4-458F-B5E5-D296EB1009DF}"/>
              </c:ext>
            </c:extLst>
          </c:dPt>
          <c:dPt>
            <c:idx val="366"/>
            <c:invertIfNegative val="1"/>
            <c:bubble3D val="0"/>
            <c:spPr>
              <a:solidFill>
                <a:srgbClr val="AEABAB"/>
              </a:solidFill>
            </c:spPr>
            <c:extLst>
              <c:ext xmlns:c16="http://schemas.microsoft.com/office/drawing/2014/chart" uri="{C3380CC4-5D6E-409C-BE32-E72D297353CC}">
                <c16:uniqueId val="{000002DF-86F4-458F-B5E5-D296EB1009DF}"/>
              </c:ext>
            </c:extLst>
          </c:dPt>
          <c:dPt>
            <c:idx val="367"/>
            <c:invertIfNegative val="1"/>
            <c:bubble3D val="0"/>
            <c:spPr>
              <a:solidFill>
                <a:srgbClr val="AEABAB"/>
              </a:solidFill>
            </c:spPr>
            <c:extLst>
              <c:ext xmlns:c16="http://schemas.microsoft.com/office/drawing/2014/chart" uri="{C3380CC4-5D6E-409C-BE32-E72D297353CC}">
                <c16:uniqueId val="{000002E1-86F4-458F-B5E5-D296EB1009DF}"/>
              </c:ext>
            </c:extLst>
          </c:dPt>
          <c:dPt>
            <c:idx val="368"/>
            <c:invertIfNegative val="1"/>
            <c:bubble3D val="0"/>
            <c:spPr>
              <a:solidFill>
                <a:srgbClr val="AEABAB"/>
              </a:solidFill>
            </c:spPr>
            <c:extLst>
              <c:ext xmlns:c16="http://schemas.microsoft.com/office/drawing/2014/chart" uri="{C3380CC4-5D6E-409C-BE32-E72D297353CC}">
                <c16:uniqueId val="{000002E3-86F4-458F-B5E5-D296EB1009DF}"/>
              </c:ext>
            </c:extLst>
          </c:dPt>
          <c:dPt>
            <c:idx val="369"/>
            <c:invertIfNegative val="1"/>
            <c:bubble3D val="0"/>
            <c:spPr>
              <a:solidFill>
                <a:srgbClr val="AEABAB"/>
              </a:solidFill>
            </c:spPr>
            <c:extLst>
              <c:ext xmlns:c16="http://schemas.microsoft.com/office/drawing/2014/chart" uri="{C3380CC4-5D6E-409C-BE32-E72D297353CC}">
                <c16:uniqueId val="{000002E5-86F4-458F-B5E5-D296EB1009DF}"/>
              </c:ext>
            </c:extLst>
          </c:dPt>
          <c:dPt>
            <c:idx val="370"/>
            <c:invertIfNegative val="1"/>
            <c:bubble3D val="0"/>
            <c:spPr>
              <a:solidFill>
                <a:srgbClr val="AEABAB"/>
              </a:solidFill>
            </c:spPr>
            <c:extLst>
              <c:ext xmlns:c16="http://schemas.microsoft.com/office/drawing/2014/chart" uri="{C3380CC4-5D6E-409C-BE32-E72D297353CC}">
                <c16:uniqueId val="{000002E7-86F4-458F-B5E5-D296EB1009DF}"/>
              </c:ext>
            </c:extLst>
          </c:dPt>
          <c:dPt>
            <c:idx val="371"/>
            <c:invertIfNegative val="1"/>
            <c:bubble3D val="0"/>
            <c:spPr>
              <a:solidFill>
                <a:srgbClr val="AEABAB"/>
              </a:solidFill>
            </c:spPr>
            <c:extLst>
              <c:ext xmlns:c16="http://schemas.microsoft.com/office/drawing/2014/chart" uri="{C3380CC4-5D6E-409C-BE32-E72D297353CC}">
                <c16:uniqueId val="{000002E9-86F4-458F-B5E5-D296EB1009DF}"/>
              </c:ext>
            </c:extLst>
          </c:dPt>
          <c:dPt>
            <c:idx val="372"/>
            <c:invertIfNegative val="1"/>
            <c:bubble3D val="0"/>
            <c:spPr>
              <a:solidFill>
                <a:srgbClr val="AEABAB"/>
              </a:solidFill>
            </c:spPr>
            <c:extLst>
              <c:ext xmlns:c16="http://schemas.microsoft.com/office/drawing/2014/chart" uri="{C3380CC4-5D6E-409C-BE32-E72D297353CC}">
                <c16:uniqueId val="{000002EB-86F4-458F-B5E5-D296EB1009DF}"/>
              </c:ext>
            </c:extLst>
          </c:dPt>
          <c:dPt>
            <c:idx val="373"/>
            <c:invertIfNegative val="1"/>
            <c:bubble3D val="0"/>
            <c:spPr>
              <a:solidFill>
                <a:srgbClr val="AEABAB"/>
              </a:solidFill>
            </c:spPr>
            <c:extLst>
              <c:ext xmlns:c16="http://schemas.microsoft.com/office/drawing/2014/chart" uri="{C3380CC4-5D6E-409C-BE32-E72D297353CC}">
                <c16:uniqueId val="{000002ED-86F4-458F-B5E5-D296EB1009DF}"/>
              </c:ext>
            </c:extLst>
          </c:dPt>
          <c:dPt>
            <c:idx val="374"/>
            <c:invertIfNegative val="1"/>
            <c:bubble3D val="0"/>
            <c:spPr>
              <a:solidFill>
                <a:srgbClr val="AEABAB"/>
              </a:solidFill>
            </c:spPr>
            <c:extLst>
              <c:ext xmlns:c16="http://schemas.microsoft.com/office/drawing/2014/chart" uri="{C3380CC4-5D6E-409C-BE32-E72D297353CC}">
                <c16:uniqueId val="{000002EF-86F4-458F-B5E5-D296EB1009DF}"/>
              </c:ext>
            </c:extLst>
          </c:dPt>
          <c:dPt>
            <c:idx val="375"/>
            <c:invertIfNegative val="1"/>
            <c:bubble3D val="0"/>
            <c:spPr>
              <a:solidFill>
                <a:srgbClr val="AEABAB"/>
              </a:solidFill>
            </c:spPr>
            <c:extLst>
              <c:ext xmlns:c16="http://schemas.microsoft.com/office/drawing/2014/chart" uri="{C3380CC4-5D6E-409C-BE32-E72D297353CC}">
                <c16:uniqueId val="{000002F1-86F4-458F-B5E5-D296EB1009DF}"/>
              </c:ext>
            </c:extLst>
          </c:dPt>
          <c:dPt>
            <c:idx val="376"/>
            <c:invertIfNegative val="1"/>
            <c:bubble3D val="0"/>
            <c:spPr>
              <a:solidFill>
                <a:srgbClr val="AEABAB"/>
              </a:solidFill>
            </c:spPr>
            <c:extLst>
              <c:ext xmlns:c16="http://schemas.microsoft.com/office/drawing/2014/chart" uri="{C3380CC4-5D6E-409C-BE32-E72D297353CC}">
                <c16:uniqueId val="{000002F3-86F4-458F-B5E5-D296EB1009DF}"/>
              </c:ext>
            </c:extLst>
          </c:dPt>
          <c:dPt>
            <c:idx val="377"/>
            <c:invertIfNegative val="1"/>
            <c:bubble3D val="0"/>
            <c:spPr>
              <a:solidFill>
                <a:srgbClr val="AEABAB"/>
              </a:solidFill>
            </c:spPr>
            <c:extLst>
              <c:ext xmlns:c16="http://schemas.microsoft.com/office/drawing/2014/chart" uri="{C3380CC4-5D6E-409C-BE32-E72D297353CC}">
                <c16:uniqueId val="{000002F5-86F4-458F-B5E5-D296EB1009DF}"/>
              </c:ext>
            </c:extLst>
          </c:dPt>
          <c:dPt>
            <c:idx val="378"/>
            <c:invertIfNegative val="1"/>
            <c:bubble3D val="0"/>
            <c:spPr>
              <a:solidFill>
                <a:srgbClr val="AEABAB"/>
              </a:solidFill>
            </c:spPr>
            <c:extLst>
              <c:ext xmlns:c16="http://schemas.microsoft.com/office/drawing/2014/chart" uri="{C3380CC4-5D6E-409C-BE32-E72D297353CC}">
                <c16:uniqueId val="{000002F7-86F4-458F-B5E5-D296EB1009DF}"/>
              </c:ext>
            </c:extLst>
          </c:dPt>
          <c:dPt>
            <c:idx val="379"/>
            <c:invertIfNegative val="1"/>
            <c:bubble3D val="0"/>
            <c:spPr>
              <a:solidFill>
                <a:srgbClr val="AEABAB"/>
              </a:solidFill>
            </c:spPr>
            <c:extLst>
              <c:ext xmlns:c16="http://schemas.microsoft.com/office/drawing/2014/chart" uri="{C3380CC4-5D6E-409C-BE32-E72D297353CC}">
                <c16:uniqueId val="{000002F9-86F4-458F-B5E5-D296EB1009DF}"/>
              </c:ext>
            </c:extLst>
          </c:dPt>
          <c:dPt>
            <c:idx val="380"/>
            <c:invertIfNegative val="1"/>
            <c:bubble3D val="0"/>
            <c:spPr>
              <a:solidFill>
                <a:srgbClr val="AEABAB"/>
              </a:solidFill>
            </c:spPr>
            <c:extLst>
              <c:ext xmlns:c16="http://schemas.microsoft.com/office/drawing/2014/chart" uri="{C3380CC4-5D6E-409C-BE32-E72D297353CC}">
                <c16:uniqueId val="{000002FB-86F4-458F-B5E5-D296EB1009DF}"/>
              </c:ext>
            </c:extLst>
          </c:dPt>
          <c:dPt>
            <c:idx val="381"/>
            <c:invertIfNegative val="1"/>
            <c:bubble3D val="0"/>
            <c:spPr>
              <a:solidFill>
                <a:srgbClr val="AEABAB"/>
              </a:solidFill>
            </c:spPr>
            <c:extLst>
              <c:ext xmlns:c16="http://schemas.microsoft.com/office/drawing/2014/chart" uri="{C3380CC4-5D6E-409C-BE32-E72D297353CC}">
                <c16:uniqueId val="{000002FD-86F4-458F-B5E5-D296EB1009DF}"/>
              </c:ext>
            </c:extLst>
          </c:dPt>
          <c:dPt>
            <c:idx val="382"/>
            <c:invertIfNegative val="1"/>
            <c:bubble3D val="0"/>
            <c:spPr>
              <a:solidFill>
                <a:srgbClr val="AEABAB"/>
              </a:solidFill>
            </c:spPr>
            <c:extLst>
              <c:ext xmlns:c16="http://schemas.microsoft.com/office/drawing/2014/chart" uri="{C3380CC4-5D6E-409C-BE32-E72D297353CC}">
                <c16:uniqueId val="{000002FF-86F4-458F-B5E5-D296EB1009DF}"/>
              </c:ext>
            </c:extLst>
          </c:dPt>
          <c:dPt>
            <c:idx val="383"/>
            <c:invertIfNegative val="1"/>
            <c:bubble3D val="0"/>
            <c:spPr>
              <a:solidFill>
                <a:srgbClr val="AEABAB"/>
              </a:solidFill>
            </c:spPr>
            <c:extLst>
              <c:ext xmlns:c16="http://schemas.microsoft.com/office/drawing/2014/chart" uri="{C3380CC4-5D6E-409C-BE32-E72D297353CC}">
                <c16:uniqueId val="{00000301-86F4-458F-B5E5-D296EB1009DF}"/>
              </c:ext>
            </c:extLst>
          </c:dPt>
          <c:dPt>
            <c:idx val="384"/>
            <c:invertIfNegative val="1"/>
            <c:bubble3D val="0"/>
            <c:spPr>
              <a:solidFill>
                <a:srgbClr val="AEABAB"/>
              </a:solidFill>
            </c:spPr>
            <c:extLst>
              <c:ext xmlns:c16="http://schemas.microsoft.com/office/drawing/2014/chart" uri="{C3380CC4-5D6E-409C-BE32-E72D297353CC}">
                <c16:uniqueId val="{00000303-86F4-458F-B5E5-D296EB1009DF}"/>
              </c:ext>
            </c:extLst>
          </c:dPt>
          <c:dPt>
            <c:idx val="385"/>
            <c:invertIfNegative val="1"/>
            <c:bubble3D val="0"/>
            <c:spPr>
              <a:solidFill>
                <a:srgbClr val="AEABAB"/>
              </a:solidFill>
            </c:spPr>
            <c:extLst>
              <c:ext xmlns:c16="http://schemas.microsoft.com/office/drawing/2014/chart" uri="{C3380CC4-5D6E-409C-BE32-E72D297353CC}">
                <c16:uniqueId val="{00000305-86F4-458F-B5E5-D296EB1009DF}"/>
              </c:ext>
            </c:extLst>
          </c:dPt>
          <c:dPt>
            <c:idx val="386"/>
            <c:invertIfNegative val="1"/>
            <c:bubble3D val="0"/>
            <c:spPr>
              <a:solidFill>
                <a:srgbClr val="AEABAB"/>
              </a:solidFill>
            </c:spPr>
            <c:extLst>
              <c:ext xmlns:c16="http://schemas.microsoft.com/office/drawing/2014/chart" uri="{C3380CC4-5D6E-409C-BE32-E72D297353CC}">
                <c16:uniqueId val="{00000307-86F4-458F-B5E5-D296EB1009DF}"/>
              </c:ext>
            </c:extLst>
          </c:dPt>
          <c:dPt>
            <c:idx val="387"/>
            <c:invertIfNegative val="1"/>
            <c:bubble3D val="0"/>
            <c:spPr>
              <a:solidFill>
                <a:srgbClr val="AEABAB"/>
              </a:solidFill>
            </c:spPr>
            <c:extLst>
              <c:ext xmlns:c16="http://schemas.microsoft.com/office/drawing/2014/chart" uri="{C3380CC4-5D6E-409C-BE32-E72D297353CC}">
                <c16:uniqueId val="{00000309-86F4-458F-B5E5-D296EB1009DF}"/>
              </c:ext>
            </c:extLst>
          </c:dPt>
          <c:dPt>
            <c:idx val="388"/>
            <c:invertIfNegative val="1"/>
            <c:bubble3D val="0"/>
            <c:spPr>
              <a:solidFill>
                <a:srgbClr val="AEABAB"/>
              </a:solidFill>
            </c:spPr>
            <c:extLst>
              <c:ext xmlns:c16="http://schemas.microsoft.com/office/drawing/2014/chart" uri="{C3380CC4-5D6E-409C-BE32-E72D297353CC}">
                <c16:uniqueId val="{0000030B-86F4-458F-B5E5-D296EB1009DF}"/>
              </c:ext>
            </c:extLst>
          </c:dPt>
          <c:dPt>
            <c:idx val="389"/>
            <c:invertIfNegative val="1"/>
            <c:bubble3D val="0"/>
            <c:spPr>
              <a:solidFill>
                <a:srgbClr val="AEABAB"/>
              </a:solidFill>
            </c:spPr>
            <c:extLst>
              <c:ext xmlns:c16="http://schemas.microsoft.com/office/drawing/2014/chart" uri="{C3380CC4-5D6E-409C-BE32-E72D297353CC}">
                <c16:uniqueId val="{0000030D-86F4-458F-B5E5-D296EB1009DF}"/>
              </c:ext>
            </c:extLst>
          </c:dPt>
          <c:dPt>
            <c:idx val="390"/>
            <c:invertIfNegative val="1"/>
            <c:bubble3D val="0"/>
            <c:spPr>
              <a:solidFill>
                <a:srgbClr val="AEABAB"/>
              </a:solidFill>
            </c:spPr>
            <c:extLst>
              <c:ext xmlns:c16="http://schemas.microsoft.com/office/drawing/2014/chart" uri="{C3380CC4-5D6E-409C-BE32-E72D297353CC}">
                <c16:uniqueId val="{0000030F-86F4-458F-B5E5-D296EB1009DF}"/>
              </c:ext>
            </c:extLst>
          </c:dPt>
          <c:dPt>
            <c:idx val="391"/>
            <c:invertIfNegative val="1"/>
            <c:bubble3D val="0"/>
            <c:spPr>
              <a:solidFill>
                <a:srgbClr val="AEABAB"/>
              </a:solidFill>
            </c:spPr>
            <c:extLst>
              <c:ext xmlns:c16="http://schemas.microsoft.com/office/drawing/2014/chart" uri="{C3380CC4-5D6E-409C-BE32-E72D297353CC}">
                <c16:uniqueId val="{00000311-86F4-458F-B5E5-D296EB1009DF}"/>
              </c:ext>
            </c:extLst>
          </c:dPt>
          <c:dPt>
            <c:idx val="392"/>
            <c:invertIfNegative val="1"/>
            <c:bubble3D val="0"/>
            <c:spPr>
              <a:solidFill>
                <a:srgbClr val="AEABAB"/>
              </a:solidFill>
            </c:spPr>
            <c:extLst>
              <c:ext xmlns:c16="http://schemas.microsoft.com/office/drawing/2014/chart" uri="{C3380CC4-5D6E-409C-BE32-E72D297353CC}">
                <c16:uniqueId val="{00000313-86F4-458F-B5E5-D296EB1009DF}"/>
              </c:ext>
            </c:extLst>
          </c:dPt>
          <c:dPt>
            <c:idx val="393"/>
            <c:invertIfNegative val="1"/>
            <c:bubble3D val="0"/>
            <c:spPr>
              <a:solidFill>
                <a:srgbClr val="AEABAB"/>
              </a:solidFill>
            </c:spPr>
            <c:extLst>
              <c:ext xmlns:c16="http://schemas.microsoft.com/office/drawing/2014/chart" uri="{C3380CC4-5D6E-409C-BE32-E72D297353CC}">
                <c16:uniqueId val="{00000315-86F4-458F-B5E5-D296EB1009DF}"/>
              </c:ext>
            </c:extLst>
          </c:dPt>
          <c:dPt>
            <c:idx val="394"/>
            <c:invertIfNegative val="1"/>
            <c:bubble3D val="0"/>
            <c:spPr>
              <a:solidFill>
                <a:srgbClr val="AEABAB"/>
              </a:solidFill>
            </c:spPr>
            <c:extLst>
              <c:ext xmlns:c16="http://schemas.microsoft.com/office/drawing/2014/chart" uri="{C3380CC4-5D6E-409C-BE32-E72D297353CC}">
                <c16:uniqueId val="{00000317-86F4-458F-B5E5-D296EB1009DF}"/>
              </c:ext>
            </c:extLst>
          </c:dPt>
          <c:dPt>
            <c:idx val="395"/>
            <c:invertIfNegative val="1"/>
            <c:bubble3D val="0"/>
            <c:spPr>
              <a:solidFill>
                <a:srgbClr val="AEABAB"/>
              </a:solidFill>
            </c:spPr>
            <c:extLst>
              <c:ext xmlns:c16="http://schemas.microsoft.com/office/drawing/2014/chart" uri="{C3380CC4-5D6E-409C-BE32-E72D297353CC}">
                <c16:uniqueId val="{00000319-86F4-458F-B5E5-D296EB1009DF}"/>
              </c:ext>
            </c:extLst>
          </c:dPt>
          <c:dPt>
            <c:idx val="396"/>
            <c:invertIfNegative val="1"/>
            <c:bubble3D val="0"/>
            <c:spPr>
              <a:solidFill>
                <a:srgbClr val="AEABAB"/>
              </a:solidFill>
            </c:spPr>
            <c:extLst>
              <c:ext xmlns:c16="http://schemas.microsoft.com/office/drawing/2014/chart" uri="{C3380CC4-5D6E-409C-BE32-E72D297353CC}">
                <c16:uniqueId val="{0000031B-86F4-458F-B5E5-D296EB1009DF}"/>
              </c:ext>
            </c:extLst>
          </c:dPt>
          <c:dPt>
            <c:idx val="397"/>
            <c:invertIfNegative val="1"/>
            <c:bubble3D val="0"/>
            <c:spPr>
              <a:solidFill>
                <a:srgbClr val="AEABAB"/>
              </a:solidFill>
            </c:spPr>
            <c:extLst>
              <c:ext xmlns:c16="http://schemas.microsoft.com/office/drawing/2014/chart" uri="{C3380CC4-5D6E-409C-BE32-E72D297353CC}">
                <c16:uniqueId val="{0000031D-86F4-458F-B5E5-D296EB1009DF}"/>
              </c:ext>
            </c:extLst>
          </c:dPt>
          <c:dPt>
            <c:idx val="398"/>
            <c:invertIfNegative val="1"/>
            <c:bubble3D val="0"/>
            <c:spPr>
              <a:solidFill>
                <a:srgbClr val="AEABAB"/>
              </a:solidFill>
            </c:spPr>
            <c:extLst>
              <c:ext xmlns:c16="http://schemas.microsoft.com/office/drawing/2014/chart" uri="{C3380CC4-5D6E-409C-BE32-E72D297353CC}">
                <c16:uniqueId val="{0000031F-86F4-458F-B5E5-D296EB1009DF}"/>
              </c:ext>
            </c:extLst>
          </c:dPt>
          <c:dPt>
            <c:idx val="399"/>
            <c:invertIfNegative val="1"/>
            <c:bubble3D val="0"/>
            <c:spPr>
              <a:solidFill>
                <a:srgbClr val="AEABAB"/>
              </a:solidFill>
            </c:spPr>
            <c:extLst>
              <c:ext xmlns:c16="http://schemas.microsoft.com/office/drawing/2014/chart" uri="{C3380CC4-5D6E-409C-BE32-E72D297353CC}">
                <c16:uniqueId val="{00000321-86F4-458F-B5E5-D296EB1009DF}"/>
              </c:ext>
            </c:extLst>
          </c:dPt>
          <c:dPt>
            <c:idx val="400"/>
            <c:invertIfNegative val="1"/>
            <c:bubble3D val="0"/>
            <c:spPr>
              <a:solidFill>
                <a:srgbClr val="AEABAB"/>
              </a:solidFill>
            </c:spPr>
            <c:extLst>
              <c:ext xmlns:c16="http://schemas.microsoft.com/office/drawing/2014/chart" uri="{C3380CC4-5D6E-409C-BE32-E72D297353CC}">
                <c16:uniqueId val="{00000323-86F4-458F-B5E5-D296EB1009DF}"/>
              </c:ext>
            </c:extLst>
          </c:dPt>
          <c:dPt>
            <c:idx val="401"/>
            <c:invertIfNegative val="1"/>
            <c:bubble3D val="0"/>
            <c:spPr>
              <a:solidFill>
                <a:srgbClr val="AEABAB"/>
              </a:solidFill>
            </c:spPr>
            <c:extLst>
              <c:ext xmlns:c16="http://schemas.microsoft.com/office/drawing/2014/chart" uri="{C3380CC4-5D6E-409C-BE32-E72D297353CC}">
                <c16:uniqueId val="{00000325-86F4-458F-B5E5-D296EB1009DF}"/>
              </c:ext>
            </c:extLst>
          </c:dPt>
          <c:dPt>
            <c:idx val="402"/>
            <c:invertIfNegative val="1"/>
            <c:bubble3D val="0"/>
            <c:spPr>
              <a:solidFill>
                <a:srgbClr val="AEABAB"/>
              </a:solidFill>
            </c:spPr>
            <c:extLst>
              <c:ext xmlns:c16="http://schemas.microsoft.com/office/drawing/2014/chart" uri="{C3380CC4-5D6E-409C-BE32-E72D297353CC}">
                <c16:uniqueId val="{00000327-86F4-458F-B5E5-D296EB1009DF}"/>
              </c:ext>
            </c:extLst>
          </c:dPt>
          <c:dPt>
            <c:idx val="403"/>
            <c:invertIfNegative val="1"/>
            <c:bubble3D val="0"/>
            <c:spPr>
              <a:solidFill>
                <a:srgbClr val="AEABAB"/>
              </a:solidFill>
            </c:spPr>
            <c:extLst>
              <c:ext xmlns:c16="http://schemas.microsoft.com/office/drawing/2014/chart" uri="{C3380CC4-5D6E-409C-BE32-E72D297353CC}">
                <c16:uniqueId val="{00000329-86F4-458F-B5E5-D296EB1009DF}"/>
              </c:ext>
            </c:extLst>
          </c:dPt>
          <c:dPt>
            <c:idx val="404"/>
            <c:invertIfNegative val="1"/>
            <c:bubble3D val="0"/>
            <c:spPr>
              <a:solidFill>
                <a:srgbClr val="AEABAB"/>
              </a:solidFill>
            </c:spPr>
            <c:extLst>
              <c:ext xmlns:c16="http://schemas.microsoft.com/office/drawing/2014/chart" uri="{C3380CC4-5D6E-409C-BE32-E72D297353CC}">
                <c16:uniqueId val="{0000032B-86F4-458F-B5E5-D296EB1009DF}"/>
              </c:ext>
            </c:extLst>
          </c:dPt>
          <c:dPt>
            <c:idx val="405"/>
            <c:invertIfNegative val="1"/>
            <c:bubble3D val="0"/>
            <c:spPr>
              <a:solidFill>
                <a:srgbClr val="AEABAB"/>
              </a:solidFill>
            </c:spPr>
            <c:extLst>
              <c:ext xmlns:c16="http://schemas.microsoft.com/office/drawing/2014/chart" uri="{C3380CC4-5D6E-409C-BE32-E72D297353CC}">
                <c16:uniqueId val="{0000032D-86F4-458F-B5E5-D296EB1009DF}"/>
              </c:ext>
            </c:extLst>
          </c:dPt>
          <c:dPt>
            <c:idx val="406"/>
            <c:invertIfNegative val="1"/>
            <c:bubble3D val="0"/>
            <c:spPr>
              <a:solidFill>
                <a:srgbClr val="AEABAB"/>
              </a:solidFill>
            </c:spPr>
            <c:extLst>
              <c:ext xmlns:c16="http://schemas.microsoft.com/office/drawing/2014/chart" uri="{C3380CC4-5D6E-409C-BE32-E72D297353CC}">
                <c16:uniqueId val="{0000032F-86F4-458F-B5E5-D296EB1009DF}"/>
              </c:ext>
            </c:extLst>
          </c:dPt>
          <c:dPt>
            <c:idx val="407"/>
            <c:invertIfNegative val="1"/>
            <c:bubble3D val="0"/>
            <c:spPr>
              <a:solidFill>
                <a:srgbClr val="AEABAB"/>
              </a:solidFill>
            </c:spPr>
            <c:extLst>
              <c:ext xmlns:c16="http://schemas.microsoft.com/office/drawing/2014/chart" uri="{C3380CC4-5D6E-409C-BE32-E72D297353CC}">
                <c16:uniqueId val="{00000331-86F4-458F-B5E5-D296EB1009DF}"/>
              </c:ext>
            </c:extLst>
          </c:dPt>
          <c:dPt>
            <c:idx val="408"/>
            <c:invertIfNegative val="1"/>
            <c:bubble3D val="0"/>
            <c:spPr>
              <a:solidFill>
                <a:srgbClr val="AEABAB"/>
              </a:solidFill>
            </c:spPr>
            <c:extLst>
              <c:ext xmlns:c16="http://schemas.microsoft.com/office/drawing/2014/chart" uri="{C3380CC4-5D6E-409C-BE32-E72D297353CC}">
                <c16:uniqueId val="{00000333-86F4-458F-B5E5-D296EB1009DF}"/>
              </c:ext>
            </c:extLst>
          </c:dPt>
          <c:dPt>
            <c:idx val="409"/>
            <c:invertIfNegative val="1"/>
            <c:bubble3D val="0"/>
            <c:spPr>
              <a:solidFill>
                <a:srgbClr val="AEABAB"/>
              </a:solidFill>
            </c:spPr>
            <c:extLst>
              <c:ext xmlns:c16="http://schemas.microsoft.com/office/drawing/2014/chart" uri="{C3380CC4-5D6E-409C-BE32-E72D297353CC}">
                <c16:uniqueId val="{00000335-86F4-458F-B5E5-D296EB1009DF}"/>
              </c:ext>
            </c:extLst>
          </c:dPt>
          <c:dPt>
            <c:idx val="410"/>
            <c:invertIfNegative val="1"/>
            <c:bubble3D val="0"/>
            <c:spPr>
              <a:solidFill>
                <a:srgbClr val="AEABAB"/>
              </a:solidFill>
            </c:spPr>
            <c:extLst>
              <c:ext xmlns:c16="http://schemas.microsoft.com/office/drawing/2014/chart" uri="{C3380CC4-5D6E-409C-BE32-E72D297353CC}">
                <c16:uniqueId val="{00000337-86F4-458F-B5E5-D296EB1009DF}"/>
              </c:ext>
            </c:extLst>
          </c:dPt>
          <c:dPt>
            <c:idx val="411"/>
            <c:invertIfNegative val="1"/>
            <c:bubble3D val="0"/>
            <c:spPr>
              <a:solidFill>
                <a:srgbClr val="AEABAB"/>
              </a:solidFill>
            </c:spPr>
            <c:extLst>
              <c:ext xmlns:c16="http://schemas.microsoft.com/office/drawing/2014/chart" uri="{C3380CC4-5D6E-409C-BE32-E72D297353CC}">
                <c16:uniqueId val="{00000339-86F4-458F-B5E5-D296EB1009DF}"/>
              </c:ext>
            </c:extLst>
          </c:dPt>
          <c:dPt>
            <c:idx val="412"/>
            <c:invertIfNegative val="1"/>
            <c:bubble3D val="0"/>
            <c:spPr>
              <a:solidFill>
                <a:srgbClr val="AEABAB"/>
              </a:solidFill>
            </c:spPr>
            <c:extLst>
              <c:ext xmlns:c16="http://schemas.microsoft.com/office/drawing/2014/chart" uri="{C3380CC4-5D6E-409C-BE32-E72D297353CC}">
                <c16:uniqueId val="{0000033B-86F4-458F-B5E5-D296EB1009DF}"/>
              </c:ext>
            </c:extLst>
          </c:dPt>
          <c:dPt>
            <c:idx val="413"/>
            <c:invertIfNegative val="1"/>
            <c:bubble3D val="0"/>
            <c:spPr>
              <a:solidFill>
                <a:srgbClr val="AEABAB"/>
              </a:solidFill>
            </c:spPr>
            <c:extLst>
              <c:ext xmlns:c16="http://schemas.microsoft.com/office/drawing/2014/chart" uri="{C3380CC4-5D6E-409C-BE32-E72D297353CC}">
                <c16:uniqueId val="{0000033D-86F4-458F-B5E5-D296EB1009DF}"/>
              </c:ext>
            </c:extLst>
          </c:dPt>
          <c:dPt>
            <c:idx val="414"/>
            <c:invertIfNegative val="1"/>
            <c:bubble3D val="0"/>
            <c:spPr>
              <a:solidFill>
                <a:srgbClr val="AEABAB"/>
              </a:solidFill>
            </c:spPr>
            <c:extLst>
              <c:ext xmlns:c16="http://schemas.microsoft.com/office/drawing/2014/chart" uri="{C3380CC4-5D6E-409C-BE32-E72D297353CC}">
                <c16:uniqueId val="{0000033F-86F4-458F-B5E5-D296EB1009DF}"/>
              </c:ext>
            </c:extLst>
          </c:dPt>
          <c:dPt>
            <c:idx val="415"/>
            <c:invertIfNegative val="1"/>
            <c:bubble3D val="0"/>
            <c:spPr>
              <a:solidFill>
                <a:srgbClr val="AEABAB"/>
              </a:solidFill>
            </c:spPr>
            <c:extLst>
              <c:ext xmlns:c16="http://schemas.microsoft.com/office/drawing/2014/chart" uri="{C3380CC4-5D6E-409C-BE32-E72D297353CC}">
                <c16:uniqueId val="{00000341-86F4-458F-B5E5-D296EB1009DF}"/>
              </c:ext>
            </c:extLst>
          </c:dPt>
          <c:dPt>
            <c:idx val="416"/>
            <c:invertIfNegative val="1"/>
            <c:bubble3D val="0"/>
            <c:spPr>
              <a:solidFill>
                <a:srgbClr val="AEABAB"/>
              </a:solidFill>
            </c:spPr>
            <c:extLst>
              <c:ext xmlns:c16="http://schemas.microsoft.com/office/drawing/2014/chart" uri="{C3380CC4-5D6E-409C-BE32-E72D297353CC}">
                <c16:uniqueId val="{00000343-86F4-458F-B5E5-D296EB1009DF}"/>
              </c:ext>
            </c:extLst>
          </c:dPt>
          <c:dPt>
            <c:idx val="417"/>
            <c:invertIfNegative val="1"/>
            <c:bubble3D val="0"/>
            <c:spPr>
              <a:solidFill>
                <a:srgbClr val="AEABAB"/>
              </a:solidFill>
            </c:spPr>
            <c:extLst>
              <c:ext xmlns:c16="http://schemas.microsoft.com/office/drawing/2014/chart" uri="{C3380CC4-5D6E-409C-BE32-E72D297353CC}">
                <c16:uniqueId val="{00000345-86F4-458F-B5E5-D296EB1009DF}"/>
              </c:ext>
            </c:extLst>
          </c:dPt>
          <c:dPt>
            <c:idx val="418"/>
            <c:invertIfNegative val="1"/>
            <c:bubble3D val="0"/>
            <c:spPr>
              <a:solidFill>
                <a:srgbClr val="AEABAB"/>
              </a:solidFill>
            </c:spPr>
            <c:extLst>
              <c:ext xmlns:c16="http://schemas.microsoft.com/office/drawing/2014/chart" uri="{C3380CC4-5D6E-409C-BE32-E72D297353CC}">
                <c16:uniqueId val="{00000347-86F4-458F-B5E5-D296EB1009DF}"/>
              </c:ext>
            </c:extLst>
          </c:dPt>
          <c:dPt>
            <c:idx val="419"/>
            <c:invertIfNegative val="1"/>
            <c:bubble3D val="0"/>
            <c:spPr>
              <a:solidFill>
                <a:srgbClr val="AEABAB"/>
              </a:solidFill>
            </c:spPr>
            <c:extLst>
              <c:ext xmlns:c16="http://schemas.microsoft.com/office/drawing/2014/chart" uri="{C3380CC4-5D6E-409C-BE32-E72D297353CC}">
                <c16:uniqueId val="{00000349-86F4-458F-B5E5-D296EB1009DF}"/>
              </c:ext>
            </c:extLst>
          </c:dPt>
          <c:dPt>
            <c:idx val="420"/>
            <c:invertIfNegative val="1"/>
            <c:bubble3D val="0"/>
            <c:spPr>
              <a:solidFill>
                <a:srgbClr val="AEABAB"/>
              </a:solidFill>
            </c:spPr>
            <c:extLst>
              <c:ext xmlns:c16="http://schemas.microsoft.com/office/drawing/2014/chart" uri="{C3380CC4-5D6E-409C-BE32-E72D297353CC}">
                <c16:uniqueId val="{0000034B-86F4-458F-B5E5-D296EB1009DF}"/>
              </c:ext>
            </c:extLst>
          </c:dPt>
          <c:dPt>
            <c:idx val="421"/>
            <c:invertIfNegative val="1"/>
            <c:bubble3D val="0"/>
            <c:spPr>
              <a:solidFill>
                <a:srgbClr val="AEABAB"/>
              </a:solidFill>
            </c:spPr>
            <c:extLst>
              <c:ext xmlns:c16="http://schemas.microsoft.com/office/drawing/2014/chart" uri="{C3380CC4-5D6E-409C-BE32-E72D297353CC}">
                <c16:uniqueId val="{0000034D-86F4-458F-B5E5-D296EB1009DF}"/>
              </c:ext>
            </c:extLst>
          </c:dPt>
          <c:dPt>
            <c:idx val="422"/>
            <c:invertIfNegative val="1"/>
            <c:bubble3D val="0"/>
            <c:spPr>
              <a:solidFill>
                <a:srgbClr val="AEABAB"/>
              </a:solidFill>
            </c:spPr>
            <c:extLst>
              <c:ext xmlns:c16="http://schemas.microsoft.com/office/drawing/2014/chart" uri="{C3380CC4-5D6E-409C-BE32-E72D297353CC}">
                <c16:uniqueId val="{0000034F-86F4-458F-B5E5-D296EB1009DF}"/>
              </c:ext>
            </c:extLst>
          </c:dPt>
          <c:dPt>
            <c:idx val="423"/>
            <c:invertIfNegative val="1"/>
            <c:bubble3D val="0"/>
            <c:spPr>
              <a:solidFill>
                <a:srgbClr val="AEABAB"/>
              </a:solidFill>
            </c:spPr>
            <c:extLst>
              <c:ext xmlns:c16="http://schemas.microsoft.com/office/drawing/2014/chart" uri="{C3380CC4-5D6E-409C-BE32-E72D297353CC}">
                <c16:uniqueId val="{00000351-86F4-458F-B5E5-D296EB1009DF}"/>
              </c:ext>
            </c:extLst>
          </c:dPt>
          <c:dPt>
            <c:idx val="424"/>
            <c:invertIfNegative val="1"/>
            <c:bubble3D val="0"/>
            <c:spPr>
              <a:solidFill>
                <a:srgbClr val="AEABAB"/>
              </a:solidFill>
            </c:spPr>
            <c:extLst>
              <c:ext xmlns:c16="http://schemas.microsoft.com/office/drawing/2014/chart" uri="{C3380CC4-5D6E-409C-BE32-E72D297353CC}">
                <c16:uniqueId val="{00000353-86F4-458F-B5E5-D296EB1009DF}"/>
              </c:ext>
            </c:extLst>
          </c:dPt>
          <c:dPt>
            <c:idx val="425"/>
            <c:invertIfNegative val="1"/>
            <c:bubble3D val="0"/>
            <c:spPr>
              <a:solidFill>
                <a:srgbClr val="AEABAB"/>
              </a:solidFill>
            </c:spPr>
            <c:extLst>
              <c:ext xmlns:c16="http://schemas.microsoft.com/office/drawing/2014/chart" uri="{C3380CC4-5D6E-409C-BE32-E72D297353CC}">
                <c16:uniqueId val="{00000355-86F4-458F-B5E5-D296EB1009DF}"/>
              </c:ext>
            </c:extLst>
          </c:dPt>
          <c:dPt>
            <c:idx val="426"/>
            <c:invertIfNegative val="1"/>
            <c:bubble3D val="0"/>
            <c:spPr>
              <a:solidFill>
                <a:srgbClr val="AEABAB"/>
              </a:solidFill>
            </c:spPr>
            <c:extLst>
              <c:ext xmlns:c16="http://schemas.microsoft.com/office/drawing/2014/chart" uri="{C3380CC4-5D6E-409C-BE32-E72D297353CC}">
                <c16:uniqueId val="{00000357-86F4-458F-B5E5-D296EB1009DF}"/>
              </c:ext>
            </c:extLst>
          </c:dPt>
          <c:dPt>
            <c:idx val="427"/>
            <c:invertIfNegative val="1"/>
            <c:bubble3D val="0"/>
            <c:spPr>
              <a:solidFill>
                <a:srgbClr val="AEABAB"/>
              </a:solidFill>
            </c:spPr>
            <c:extLst>
              <c:ext xmlns:c16="http://schemas.microsoft.com/office/drawing/2014/chart" uri="{C3380CC4-5D6E-409C-BE32-E72D297353CC}">
                <c16:uniqueId val="{00000359-86F4-458F-B5E5-D296EB1009DF}"/>
              </c:ext>
            </c:extLst>
          </c:dPt>
          <c:dPt>
            <c:idx val="428"/>
            <c:invertIfNegative val="1"/>
            <c:bubble3D val="0"/>
            <c:spPr>
              <a:solidFill>
                <a:srgbClr val="AEABAB"/>
              </a:solidFill>
            </c:spPr>
            <c:extLst>
              <c:ext xmlns:c16="http://schemas.microsoft.com/office/drawing/2014/chart" uri="{C3380CC4-5D6E-409C-BE32-E72D297353CC}">
                <c16:uniqueId val="{0000035B-86F4-458F-B5E5-D296EB1009DF}"/>
              </c:ext>
            </c:extLst>
          </c:dPt>
          <c:dPt>
            <c:idx val="429"/>
            <c:invertIfNegative val="1"/>
            <c:bubble3D val="0"/>
            <c:spPr>
              <a:solidFill>
                <a:srgbClr val="AEABAB"/>
              </a:solidFill>
            </c:spPr>
            <c:extLst>
              <c:ext xmlns:c16="http://schemas.microsoft.com/office/drawing/2014/chart" uri="{C3380CC4-5D6E-409C-BE32-E72D297353CC}">
                <c16:uniqueId val="{0000035D-86F4-458F-B5E5-D296EB1009DF}"/>
              </c:ext>
            </c:extLst>
          </c:dPt>
          <c:dPt>
            <c:idx val="430"/>
            <c:invertIfNegative val="1"/>
            <c:bubble3D val="0"/>
            <c:spPr>
              <a:solidFill>
                <a:srgbClr val="AEABAB"/>
              </a:solidFill>
            </c:spPr>
            <c:extLst>
              <c:ext xmlns:c16="http://schemas.microsoft.com/office/drawing/2014/chart" uri="{C3380CC4-5D6E-409C-BE32-E72D297353CC}">
                <c16:uniqueId val="{0000035F-86F4-458F-B5E5-D296EB1009DF}"/>
              </c:ext>
            </c:extLst>
          </c:dPt>
          <c:dPt>
            <c:idx val="431"/>
            <c:invertIfNegative val="1"/>
            <c:bubble3D val="0"/>
            <c:spPr>
              <a:solidFill>
                <a:srgbClr val="AEABAB"/>
              </a:solidFill>
            </c:spPr>
            <c:extLst>
              <c:ext xmlns:c16="http://schemas.microsoft.com/office/drawing/2014/chart" uri="{C3380CC4-5D6E-409C-BE32-E72D297353CC}">
                <c16:uniqueId val="{00000361-86F4-458F-B5E5-D296EB1009DF}"/>
              </c:ext>
            </c:extLst>
          </c:dPt>
          <c:dPt>
            <c:idx val="432"/>
            <c:invertIfNegative val="1"/>
            <c:bubble3D val="0"/>
            <c:spPr>
              <a:solidFill>
                <a:srgbClr val="AEABAB"/>
              </a:solidFill>
            </c:spPr>
            <c:extLst>
              <c:ext xmlns:c16="http://schemas.microsoft.com/office/drawing/2014/chart" uri="{C3380CC4-5D6E-409C-BE32-E72D297353CC}">
                <c16:uniqueId val="{00000363-86F4-458F-B5E5-D296EB1009DF}"/>
              </c:ext>
            </c:extLst>
          </c:dPt>
          <c:dPt>
            <c:idx val="433"/>
            <c:invertIfNegative val="1"/>
            <c:bubble3D val="0"/>
            <c:spPr>
              <a:solidFill>
                <a:srgbClr val="AEABAB"/>
              </a:solidFill>
            </c:spPr>
            <c:extLst>
              <c:ext xmlns:c16="http://schemas.microsoft.com/office/drawing/2014/chart" uri="{C3380CC4-5D6E-409C-BE32-E72D297353CC}">
                <c16:uniqueId val="{00000365-86F4-458F-B5E5-D296EB1009DF}"/>
              </c:ext>
            </c:extLst>
          </c:dPt>
          <c:dPt>
            <c:idx val="434"/>
            <c:invertIfNegative val="1"/>
            <c:bubble3D val="0"/>
            <c:spPr>
              <a:solidFill>
                <a:srgbClr val="AEABAB"/>
              </a:solidFill>
            </c:spPr>
            <c:extLst>
              <c:ext xmlns:c16="http://schemas.microsoft.com/office/drawing/2014/chart" uri="{C3380CC4-5D6E-409C-BE32-E72D297353CC}">
                <c16:uniqueId val="{00000367-86F4-458F-B5E5-D296EB1009DF}"/>
              </c:ext>
            </c:extLst>
          </c:dPt>
          <c:dPt>
            <c:idx val="435"/>
            <c:invertIfNegative val="1"/>
            <c:bubble3D val="0"/>
            <c:spPr>
              <a:solidFill>
                <a:srgbClr val="AEABAB"/>
              </a:solidFill>
            </c:spPr>
            <c:extLst>
              <c:ext xmlns:c16="http://schemas.microsoft.com/office/drawing/2014/chart" uri="{C3380CC4-5D6E-409C-BE32-E72D297353CC}">
                <c16:uniqueId val="{00000369-86F4-458F-B5E5-D296EB1009DF}"/>
              </c:ext>
            </c:extLst>
          </c:dPt>
          <c:dPt>
            <c:idx val="436"/>
            <c:invertIfNegative val="1"/>
            <c:bubble3D val="0"/>
            <c:spPr>
              <a:solidFill>
                <a:srgbClr val="AEABAB"/>
              </a:solidFill>
            </c:spPr>
            <c:extLst>
              <c:ext xmlns:c16="http://schemas.microsoft.com/office/drawing/2014/chart" uri="{C3380CC4-5D6E-409C-BE32-E72D297353CC}">
                <c16:uniqueId val="{0000036B-86F4-458F-B5E5-D296EB1009DF}"/>
              </c:ext>
            </c:extLst>
          </c:dPt>
          <c:dPt>
            <c:idx val="437"/>
            <c:invertIfNegative val="1"/>
            <c:bubble3D val="0"/>
            <c:spPr>
              <a:solidFill>
                <a:srgbClr val="AEABAB"/>
              </a:solidFill>
            </c:spPr>
            <c:extLst>
              <c:ext xmlns:c16="http://schemas.microsoft.com/office/drawing/2014/chart" uri="{C3380CC4-5D6E-409C-BE32-E72D297353CC}">
                <c16:uniqueId val="{0000036D-86F4-458F-B5E5-D296EB1009DF}"/>
              </c:ext>
            </c:extLst>
          </c:dPt>
          <c:dPt>
            <c:idx val="438"/>
            <c:invertIfNegative val="1"/>
            <c:bubble3D val="0"/>
            <c:spPr>
              <a:solidFill>
                <a:srgbClr val="AEABAB"/>
              </a:solidFill>
            </c:spPr>
            <c:extLst>
              <c:ext xmlns:c16="http://schemas.microsoft.com/office/drawing/2014/chart" uri="{C3380CC4-5D6E-409C-BE32-E72D297353CC}">
                <c16:uniqueId val="{0000036F-86F4-458F-B5E5-D296EB1009DF}"/>
              </c:ext>
            </c:extLst>
          </c:dPt>
          <c:dPt>
            <c:idx val="439"/>
            <c:invertIfNegative val="1"/>
            <c:bubble3D val="0"/>
            <c:spPr>
              <a:solidFill>
                <a:srgbClr val="AEABAB"/>
              </a:solidFill>
            </c:spPr>
            <c:extLst>
              <c:ext xmlns:c16="http://schemas.microsoft.com/office/drawing/2014/chart" uri="{C3380CC4-5D6E-409C-BE32-E72D297353CC}">
                <c16:uniqueId val="{00000371-86F4-458F-B5E5-D296EB1009DF}"/>
              </c:ext>
            </c:extLst>
          </c:dPt>
          <c:dPt>
            <c:idx val="440"/>
            <c:invertIfNegative val="1"/>
            <c:bubble3D val="0"/>
            <c:spPr>
              <a:solidFill>
                <a:srgbClr val="AEABAB"/>
              </a:solidFill>
            </c:spPr>
            <c:extLst>
              <c:ext xmlns:c16="http://schemas.microsoft.com/office/drawing/2014/chart" uri="{C3380CC4-5D6E-409C-BE32-E72D297353CC}">
                <c16:uniqueId val="{00000373-86F4-458F-B5E5-D296EB1009DF}"/>
              </c:ext>
            </c:extLst>
          </c:dPt>
          <c:dPt>
            <c:idx val="441"/>
            <c:invertIfNegative val="1"/>
            <c:bubble3D val="0"/>
            <c:spPr>
              <a:solidFill>
                <a:srgbClr val="AEABAB"/>
              </a:solidFill>
            </c:spPr>
            <c:extLst>
              <c:ext xmlns:c16="http://schemas.microsoft.com/office/drawing/2014/chart" uri="{C3380CC4-5D6E-409C-BE32-E72D297353CC}">
                <c16:uniqueId val="{00000375-86F4-458F-B5E5-D296EB1009DF}"/>
              </c:ext>
            </c:extLst>
          </c:dPt>
          <c:dPt>
            <c:idx val="442"/>
            <c:invertIfNegative val="1"/>
            <c:bubble3D val="0"/>
            <c:spPr>
              <a:solidFill>
                <a:srgbClr val="AEABAB"/>
              </a:solidFill>
            </c:spPr>
            <c:extLst>
              <c:ext xmlns:c16="http://schemas.microsoft.com/office/drawing/2014/chart" uri="{C3380CC4-5D6E-409C-BE32-E72D297353CC}">
                <c16:uniqueId val="{00000377-86F4-458F-B5E5-D296EB1009DF}"/>
              </c:ext>
            </c:extLst>
          </c:dPt>
          <c:dPt>
            <c:idx val="443"/>
            <c:invertIfNegative val="1"/>
            <c:bubble3D val="0"/>
            <c:spPr>
              <a:solidFill>
                <a:srgbClr val="AEABAB"/>
              </a:solidFill>
            </c:spPr>
            <c:extLst>
              <c:ext xmlns:c16="http://schemas.microsoft.com/office/drawing/2014/chart" uri="{C3380CC4-5D6E-409C-BE32-E72D297353CC}">
                <c16:uniqueId val="{00000379-86F4-458F-B5E5-D296EB1009DF}"/>
              </c:ext>
            </c:extLst>
          </c:dPt>
          <c:dPt>
            <c:idx val="444"/>
            <c:invertIfNegative val="1"/>
            <c:bubble3D val="0"/>
            <c:spPr>
              <a:solidFill>
                <a:srgbClr val="AEABAB"/>
              </a:solidFill>
            </c:spPr>
            <c:extLst>
              <c:ext xmlns:c16="http://schemas.microsoft.com/office/drawing/2014/chart" uri="{C3380CC4-5D6E-409C-BE32-E72D297353CC}">
                <c16:uniqueId val="{0000037B-86F4-458F-B5E5-D296EB1009DF}"/>
              </c:ext>
            </c:extLst>
          </c:dPt>
          <c:dPt>
            <c:idx val="445"/>
            <c:invertIfNegative val="1"/>
            <c:bubble3D val="0"/>
            <c:spPr>
              <a:solidFill>
                <a:srgbClr val="AEABAB"/>
              </a:solidFill>
            </c:spPr>
            <c:extLst>
              <c:ext xmlns:c16="http://schemas.microsoft.com/office/drawing/2014/chart" uri="{C3380CC4-5D6E-409C-BE32-E72D297353CC}">
                <c16:uniqueId val="{0000037D-86F4-458F-B5E5-D296EB1009DF}"/>
              </c:ext>
            </c:extLst>
          </c:dPt>
          <c:dPt>
            <c:idx val="446"/>
            <c:invertIfNegative val="1"/>
            <c:bubble3D val="0"/>
            <c:spPr>
              <a:solidFill>
                <a:srgbClr val="AEABAB"/>
              </a:solidFill>
            </c:spPr>
            <c:extLst>
              <c:ext xmlns:c16="http://schemas.microsoft.com/office/drawing/2014/chart" uri="{C3380CC4-5D6E-409C-BE32-E72D297353CC}">
                <c16:uniqueId val="{0000037F-86F4-458F-B5E5-D296EB1009DF}"/>
              </c:ext>
            </c:extLst>
          </c:dPt>
          <c:dPt>
            <c:idx val="447"/>
            <c:invertIfNegative val="1"/>
            <c:bubble3D val="0"/>
            <c:spPr>
              <a:solidFill>
                <a:srgbClr val="AEABAB"/>
              </a:solidFill>
            </c:spPr>
            <c:extLst>
              <c:ext xmlns:c16="http://schemas.microsoft.com/office/drawing/2014/chart" uri="{C3380CC4-5D6E-409C-BE32-E72D297353CC}">
                <c16:uniqueId val="{00000381-86F4-458F-B5E5-D296EB1009DF}"/>
              </c:ext>
            </c:extLst>
          </c:dPt>
          <c:dPt>
            <c:idx val="448"/>
            <c:invertIfNegative val="1"/>
            <c:bubble3D val="0"/>
            <c:spPr>
              <a:solidFill>
                <a:srgbClr val="AEABAB"/>
              </a:solidFill>
            </c:spPr>
            <c:extLst>
              <c:ext xmlns:c16="http://schemas.microsoft.com/office/drawing/2014/chart" uri="{C3380CC4-5D6E-409C-BE32-E72D297353CC}">
                <c16:uniqueId val="{00000383-86F4-458F-B5E5-D296EB1009DF}"/>
              </c:ext>
            </c:extLst>
          </c:dPt>
          <c:dPt>
            <c:idx val="449"/>
            <c:invertIfNegative val="1"/>
            <c:bubble3D val="0"/>
            <c:spPr>
              <a:solidFill>
                <a:srgbClr val="AEABAB"/>
              </a:solidFill>
            </c:spPr>
            <c:extLst>
              <c:ext xmlns:c16="http://schemas.microsoft.com/office/drawing/2014/chart" uri="{C3380CC4-5D6E-409C-BE32-E72D297353CC}">
                <c16:uniqueId val="{00000385-86F4-458F-B5E5-D296EB1009DF}"/>
              </c:ext>
            </c:extLst>
          </c:dPt>
          <c:dPt>
            <c:idx val="450"/>
            <c:invertIfNegative val="1"/>
            <c:bubble3D val="0"/>
            <c:spPr>
              <a:solidFill>
                <a:srgbClr val="AEABAB"/>
              </a:solidFill>
            </c:spPr>
            <c:extLst>
              <c:ext xmlns:c16="http://schemas.microsoft.com/office/drawing/2014/chart" uri="{C3380CC4-5D6E-409C-BE32-E72D297353CC}">
                <c16:uniqueId val="{00000387-86F4-458F-B5E5-D296EB1009DF}"/>
              </c:ext>
            </c:extLst>
          </c:dPt>
          <c:dPt>
            <c:idx val="451"/>
            <c:invertIfNegative val="1"/>
            <c:bubble3D val="0"/>
            <c:spPr>
              <a:solidFill>
                <a:srgbClr val="AEABAB"/>
              </a:solidFill>
            </c:spPr>
            <c:extLst>
              <c:ext xmlns:c16="http://schemas.microsoft.com/office/drawing/2014/chart" uri="{C3380CC4-5D6E-409C-BE32-E72D297353CC}">
                <c16:uniqueId val="{00000389-86F4-458F-B5E5-D296EB1009DF}"/>
              </c:ext>
            </c:extLst>
          </c:dPt>
          <c:dPt>
            <c:idx val="452"/>
            <c:invertIfNegative val="1"/>
            <c:bubble3D val="0"/>
            <c:spPr>
              <a:solidFill>
                <a:srgbClr val="AEABAB"/>
              </a:solidFill>
            </c:spPr>
            <c:extLst>
              <c:ext xmlns:c16="http://schemas.microsoft.com/office/drawing/2014/chart" uri="{C3380CC4-5D6E-409C-BE32-E72D297353CC}">
                <c16:uniqueId val="{0000038B-86F4-458F-B5E5-D296EB1009DF}"/>
              </c:ext>
            </c:extLst>
          </c:dPt>
          <c:dPt>
            <c:idx val="453"/>
            <c:invertIfNegative val="1"/>
            <c:bubble3D val="0"/>
            <c:spPr>
              <a:solidFill>
                <a:srgbClr val="AEABAB"/>
              </a:solidFill>
            </c:spPr>
            <c:extLst>
              <c:ext xmlns:c16="http://schemas.microsoft.com/office/drawing/2014/chart" uri="{C3380CC4-5D6E-409C-BE32-E72D297353CC}">
                <c16:uniqueId val="{0000038D-86F4-458F-B5E5-D296EB1009DF}"/>
              </c:ext>
            </c:extLst>
          </c:dPt>
          <c:dPt>
            <c:idx val="454"/>
            <c:invertIfNegative val="1"/>
            <c:bubble3D val="0"/>
            <c:spPr>
              <a:solidFill>
                <a:srgbClr val="AEABAB"/>
              </a:solidFill>
            </c:spPr>
            <c:extLst>
              <c:ext xmlns:c16="http://schemas.microsoft.com/office/drawing/2014/chart" uri="{C3380CC4-5D6E-409C-BE32-E72D297353CC}">
                <c16:uniqueId val="{0000038F-86F4-458F-B5E5-D296EB1009DF}"/>
              </c:ext>
            </c:extLst>
          </c:dPt>
          <c:dPt>
            <c:idx val="455"/>
            <c:invertIfNegative val="1"/>
            <c:bubble3D val="0"/>
            <c:spPr>
              <a:solidFill>
                <a:srgbClr val="AEABAB"/>
              </a:solidFill>
            </c:spPr>
            <c:extLst>
              <c:ext xmlns:c16="http://schemas.microsoft.com/office/drawing/2014/chart" uri="{C3380CC4-5D6E-409C-BE32-E72D297353CC}">
                <c16:uniqueId val="{00000391-86F4-458F-B5E5-D296EB1009DF}"/>
              </c:ext>
            </c:extLst>
          </c:dPt>
          <c:dPt>
            <c:idx val="456"/>
            <c:invertIfNegative val="1"/>
            <c:bubble3D val="0"/>
            <c:spPr>
              <a:solidFill>
                <a:srgbClr val="AEABAB"/>
              </a:solidFill>
            </c:spPr>
            <c:extLst>
              <c:ext xmlns:c16="http://schemas.microsoft.com/office/drawing/2014/chart" uri="{C3380CC4-5D6E-409C-BE32-E72D297353CC}">
                <c16:uniqueId val="{00000393-86F4-458F-B5E5-D296EB1009DF}"/>
              </c:ext>
            </c:extLst>
          </c:dPt>
          <c:dPt>
            <c:idx val="457"/>
            <c:invertIfNegative val="1"/>
            <c:bubble3D val="0"/>
            <c:spPr>
              <a:solidFill>
                <a:srgbClr val="AEABAB"/>
              </a:solidFill>
            </c:spPr>
            <c:extLst>
              <c:ext xmlns:c16="http://schemas.microsoft.com/office/drawing/2014/chart" uri="{C3380CC4-5D6E-409C-BE32-E72D297353CC}">
                <c16:uniqueId val="{00000395-86F4-458F-B5E5-D296EB1009DF}"/>
              </c:ext>
            </c:extLst>
          </c:dPt>
          <c:dPt>
            <c:idx val="458"/>
            <c:invertIfNegative val="1"/>
            <c:bubble3D val="0"/>
            <c:spPr>
              <a:solidFill>
                <a:srgbClr val="AEABAB"/>
              </a:solidFill>
            </c:spPr>
            <c:extLst>
              <c:ext xmlns:c16="http://schemas.microsoft.com/office/drawing/2014/chart" uri="{C3380CC4-5D6E-409C-BE32-E72D297353CC}">
                <c16:uniqueId val="{00000397-86F4-458F-B5E5-D296EB1009DF}"/>
              </c:ext>
            </c:extLst>
          </c:dPt>
          <c:dPt>
            <c:idx val="459"/>
            <c:invertIfNegative val="1"/>
            <c:bubble3D val="0"/>
            <c:spPr>
              <a:solidFill>
                <a:srgbClr val="AEABAB"/>
              </a:solidFill>
            </c:spPr>
            <c:extLst>
              <c:ext xmlns:c16="http://schemas.microsoft.com/office/drawing/2014/chart" uri="{C3380CC4-5D6E-409C-BE32-E72D297353CC}">
                <c16:uniqueId val="{00000399-86F4-458F-B5E5-D296EB1009DF}"/>
              </c:ext>
            </c:extLst>
          </c:dPt>
          <c:dPt>
            <c:idx val="460"/>
            <c:invertIfNegative val="1"/>
            <c:bubble3D val="0"/>
            <c:spPr>
              <a:solidFill>
                <a:srgbClr val="AEABAB"/>
              </a:solidFill>
            </c:spPr>
            <c:extLst>
              <c:ext xmlns:c16="http://schemas.microsoft.com/office/drawing/2014/chart" uri="{C3380CC4-5D6E-409C-BE32-E72D297353CC}">
                <c16:uniqueId val="{0000039B-86F4-458F-B5E5-D296EB1009DF}"/>
              </c:ext>
            </c:extLst>
          </c:dPt>
          <c:dPt>
            <c:idx val="461"/>
            <c:invertIfNegative val="1"/>
            <c:bubble3D val="0"/>
            <c:spPr>
              <a:solidFill>
                <a:srgbClr val="AEABAB"/>
              </a:solidFill>
            </c:spPr>
            <c:extLst>
              <c:ext xmlns:c16="http://schemas.microsoft.com/office/drawing/2014/chart" uri="{C3380CC4-5D6E-409C-BE32-E72D297353CC}">
                <c16:uniqueId val="{0000039D-86F4-458F-B5E5-D296EB1009DF}"/>
              </c:ext>
            </c:extLst>
          </c:dPt>
          <c:dPt>
            <c:idx val="462"/>
            <c:invertIfNegative val="1"/>
            <c:bubble3D val="0"/>
            <c:spPr>
              <a:solidFill>
                <a:srgbClr val="AEABAB"/>
              </a:solidFill>
            </c:spPr>
            <c:extLst>
              <c:ext xmlns:c16="http://schemas.microsoft.com/office/drawing/2014/chart" uri="{C3380CC4-5D6E-409C-BE32-E72D297353CC}">
                <c16:uniqueId val="{0000039F-86F4-458F-B5E5-D296EB1009DF}"/>
              </c:ext>
            </c:extLst>
          </c:dPt>
          <c:dPt>
            <c:idx val="463"/>
            <c:invertIfNegative val="1"/>
            <c:bubble3D val="0"/>
            <c:spPr>
              <a:solidFill>
                <a:srgbClr val="AEABAB"/>
              </a:solidFill>
            </c:spPr>
            <c:extLst>
              <c:ext xmlns:c16="http://schemas.microsoft.com/office/drawing/2014/chart" uri="{C3380CC4-5D6E-409C-BE32-E72D297353CC}">
                <c16:uniqueId val="{000003A1-86F4-458F-B5E5-D296EB1009DF}"/>
              </c:ext>
            </c:extLst>
          </c:dPt>
          <c:dPt>
            <c:idx val="464"/>
            <c:invertIfNegative val="1"/>
            <c:bubble3D val="0"/>
            <c:spPr>
              <a:solidFill>
                <a:srgbClr val="AEABAB"/>
              </a:solidFill>
            </c:spPr>
            <c:extLst>
              <c:ext xmlns:c16="http://schemas.microsoft.com/office/drawing/2014/chart" uri="{C3380CC4-5D6E-409C-BE32-E72D297353CC}">
                <c16:uniqueId val="{000003A3-86F4-458F-B5E5-D296EB1009DF}"/>
              </c:ext>
            </c:extLst>
          </c:dPt>
          <c:dPt>
            <c:idx val="465"/>
            <c:invertIfNegative val="1"/>
            <c:bubble3D val="0"/>
            <c:spPr>
              <a:solidFill>
                <a:srgbClr val="AEABAB"/>
              </a:solidFill>
            </c:spPr>
            <c:extLst>
              <c:ext xmlns:c16="http://schemas.microsoft.com/office/drawing/2014/chart" uri="{C3380CC4-5D6E-409C-BE32-E72D297353CC}">
                <c16:uniqueId val="{000003A5-86F4-458F-B5E5-D296EB1009DF}"/>
              </c:ext>
            </c:extLst>
          </c:dPt>
          <c:dPt>
            <c:idx val="466"/>
            <c:invertIfNegative val="1"/>
            <c:bubble3D val="0"/>
            <c:spPr>
              <a:solidFill>
                <a:srgbClr val="AEABAB"/>
              </a:solidFill>
            </c:spPr>
            <c:extLst>
              <c:ext xmlns:c16="http://schemas.microsoft.com/office/drawing/2014/chart" uri="{C3380CC4-5D6E-409C-BE32-E72D297353CC}">
                <c16:uniqueId val="{000003A7-86F4-458F-B5E5-D296EB1009DF}"/>
              </c:ext>
            </c:extLst>
          </c:dPt>
          <c:dPt>
            <c:idx val="467"/>
            <c:invertIfNegative val="1"/>
            <c:bubble3D val="0"/>
            <c:spPr>
              <a:solidFill>
                <a:srgbClr val="AEABAB"/>
              </a:solidFill>
            </c:spPr>
            <c:extLst>
              <c:ext xmlns:c16="http://schemas.microsoft.com/office/drawing/2014/chart" uri="{C3380CC4-5D6E-409C-BE32-E72D297353CC}">
                <c16:uniqueId val="{000003A9-86F4-458F-B5E5-D296EB1009DF}"/>
              </c:ext>
            </c:extLst>
          </c:dPt>
          <c:dPt>
            <c:idx val="468"/>
            <c:invertIfNegative val="1"/>
            <c:bubble3D val="0"/>
            <c:spPr>
              <a:solidFill>
                <a:srgbClr val="AEABAB"/>
              </a:solidFill>
            </c:spPr>
            <c:extLst>
              <c:ext xmlns:c16="http://schemas.microsoft.com/office/drawing/2014/chart" uri="{C3380CC4-5D6E-409C-BE32-E72D297353CC}">
                <c16:uniqueId val="{000003AB-86F4-458F-B5E5-D296EB1009DF}"/>
              </c:ext>
            </c:extLst>
          </c:dPt>
          <c:dPt>
            <c:idx val="469"/>
            <c:invertIfNegative val="1"/>
            <c:bubble3D val="0"/>
            <c:spPr>
              <a:solidFill>
                <a:srgbClr val="AEABAB"/>
              </a:solidFill>
            </c:spPr>
            <c:extLst>
              <c:ext xmlns:c16="http://schemas.microsoft.com/office/drawing/2014/chart" uri="{C3380CC4-5D6E-409C-BE32-E72D297353CC}">
                <c16:uniqueId val="{000003AD-86F4-458F-B5E5-D296EB1009DF}"/>
              </c:ext>
            </c:extLst>
          </c:dPt>
          <c:dPt>
            <c:idx val="470"/>
            <c:invertIfNegative val="1"/>
            <c:bubble3D val="0"/>
            <c:spPr>
              <a:solidFill>
                <a:srgbClr val="AEABAB"/>
              </a:solidFill>
            </c:spPr>
            <c:extLst>
              <c:ext xmlns:c16="http://schemas.microsoft.com/office/drawing/2014/chart" uri="{C3380CC4-5D6E-409C-BE32-E72D297353CC}">
                <c16:uniqueId val="{000003AF-86F4-458F-B5E5-D296EB1009DF}"/>
              </c:ext>
            </c:extLst>
          </c:dPt>
          <c:dPt>
            <c:idx val="471"/>
            <c:invertIfNegative val="1"/>
            <c:bubble3D val="0"/>
            <c:spPr>
              <a:solidFill>
                <a:srgbClr val="AEABAB"/>
              </a:solidFill>
            </c:spPr>
            <c:extLst>
              <c:ext xmlns:c16="http://schemas.microsoft.com/office/drawing/2014/chart" uri="{C3380CC4-5D6E-409C-BE32-E72D297353CC}">
                <c16:uniqueId val="{000003B1-86F4-458F-B5E5-D296EB1009DF}"/>
              </c:ext>
            </c:extLst>
          </c:dPt>
          <c:dPt>
            <c:idx val="472"/>
            <c:invertIfNegative val="1"/>
            <c:bubble3D val="0"/>
            <c:spPr>
              <a:solidFill>
                <a:srgbClr val="AEABAB"/>
              </a:solidFill>
            </c:spPr>
            <c:extLst>
              <c:ext xmlns:c16="http://schemas.microsoft.com/office/drawing/2014/chart" uri="{C3380CC4-5D6E-409C-BE32-E72D297353CC}">
                <c16:uniqueId val="{000003B3-86F4-458F-B5E5-D296EB1009DF}"/>
              </c:ext>
            </c:extLst>
          </c:dPt>
          <c:dPt>
            <c:idx val="473"/>
            <c:invertIfNegative val="1"/>
            <c:bubble3D val="0"/>
            <c:spPr>
              <a:solidFill>
                <a:srgbClr val="AEABAB"/>
              </a:solidFill>
            </c:spPr>
            <c:extLst>
              <c:ext xmlns:c16="http://schemas.microsoft.com/office/drawing/2014/chart" uri="{C3380CC4-5D6E-409C-BE32-E72D297353CC}">
                <c16:uniqueId val="{000003B5-86F4-458F-B5E5-D296EB1009DF}"/>
              </c:ext>
            </c:extLst>
          </c:dPt>
          <c:dPt>
            <c:idx val="474"/>
            <c:invertIfNegative val="1"/>
            <c:bubble3D val="0"/>
            <c:spPr>
              <a:solidFill>
                <a:srgbClr val="AEABAB"/>
              </a:solidFill>
            </c:spPr>
            <c:extLst>
              <c:ext xmlns:c16="http://schemas.microsoft.com/office/drawing/2014/chart" uri="{C3380CC4-5D6E-409C-BE32-E72D297353CC}">
                <c16:uniqueId val="{000003B7-86F4-458F-B5E5-D296EB1009DF}"/>
              </c:ext>
            </c:extLst>
          </c:dPt>
          <c:dPt>
            <c:idx val="475"/>
            <c:invertIfNegative val="1"/>
            <c:bubble3D val="0"/>
            <c:spPr>
              <a:solidFill>
                <a:srgbClr val="AEABAB"/>
              </a:solidFill>
            </c:spPr>
            <c:extLst>
              <c:ext xmlns:c16="http://schemas.microsoft.com/office/drawing/2014/chart" uri="{C3380CC4-5D6E-409C-BE32-E72D297353CC}">
                <c16:uniqueId val="{000003B9-86F4-458F-B5E5-D296EB1009DF}"/>
              </c:ext>
            </c:extLst>
          </c:dPt>
          <c:dPt>
            <c:idx val="476"/>
            <c:invertIfNegative val="1"/>
            <c:bubble3D val="0"/>
            <c:spPr>
              <a:solidFill>
                <a:srgbClr val="AEABAB"/>
              </a:solidFill>
            </c:spPr>
            <c:extLst>
              <c:ext xmlns:c16="http://schemas.microsoft.com/office/drawing/2014/chart" uri="{C3380CC4-5D6E-409C-BE32-E72D297353CC}">
                <c16:uniqueId val="{000003BB-86F4-458F-B5E5-D296EB1009DF}"/>
              </c:ext>
            </c:extLst>
          </c:dPt>
          <c:dPt>
            <c:idx val="477"/>
            <c:invertIfNegative val="1"/>
            <c:bubble3D val="0"/>
            <c:spPr>
              <a:solidFill>
                <a:srgbClr val="AEABAB"/>
              </a:solidFill>
            </c:spPr>
            <c:extLst>
              <c:ext xmlns:c16="http://schemas.microsoft.com/office/drawing/2014/chart" uri="{C3380CC4-5D6E-409C-BE32-E72D297353CC}">
                <c16:uniqueId val="{000003BD-86F4-458F-B5E5-D296EB1009DF}"/>
              </c:ext>
            </c:extLst>
          </c:dPt>
          <c:dPt>
            <c:idx val="478"/>
            <c:invertIfNegative val="1"/>
            <c:bubble3D val="0"/>
            <c:spPr>
              <a:solidFill>
                <a:srgbClr val="AEABAB"/>
              </a:solidFill>
            </c:spPr>
            <c:extLst>
              <c:ext xmlns:c16="http://schemas.microsoft.com/office/drawing/2014/chart" uri="{C3380CC4-5D6E-409C-BE32-E72D297353CC}">
                <c16:uniqueId val="{000003BF-86F4-458F-B5E5-D296EB1009DF}"/>
              </c:ext>
            </c:extLst>
          </c:dPt>
          <c:dPt>
            <c:idx val="479"/>
            <c:invertIfNegative val="1"/>
            <c:bubble3D val="0"/>
            <c:spPr>
              <a:solidFill>
                <a:srgbClr val="AEABAB"/>
              </a:solidFill>
            </c:spPr>
            <c:extLst>
              <c:ext xmlns:c16="http://schemas.microsoft.com/office/drawing/2014/chart" uri="{C3380CC4-5D6E-409C-BE32-E72D297353CC}">
                <c16:uniqueId val="{000003C1-86F4-458F-B5E5-D296EB1009DF}"/>
              </c:ext>
            </c:extLst>
          </c:dPt>
          <c:dPt>
            <c:idx val="480"/>
            <c:invertIfNegative val="1"/>
            <c:bubble3D val="0"/>
            <c:spPr>
              <a:solidFill>
                <a:srgbClr val="AEABAB"/>
              </a:solidFill>
            </c:spPr>
            <c:extLst>
              <c:ext xmlns:c16="http://schemas.microsoft.com/office/drawing/2014/chart" uri="{C3380CC4-5D6E-409C-BE32-E72D297353CC}">
                <c16:uniqueId val="{000003C3-86F4-458F-B5E5-D296EB1009DF}"/>
              </c:ext>
            </c:extLst>
          </c:dPt>
          <c:dPt>
            <c:idx val="481"/>
            <c:invertIfNegative val="1"/>
            <c:bubble3D val="0"/>
            <c:spPr>
              <a:solidFill>
                <a:srgbClr val="AEABAB"/>
              </a:solidFill>
            </c:spPr>
            <c:extLst>
              <c:ext xmlns:c16="http://schemas.microsoft.com/office/drawing/2014/chart" uri="{C3380CC4-5D6E-409C-BE32-E72D297353CC}">
                <c16:uniqueId val="{000003C5-86F4-458F-B5E5-D296EB1009DF}"/>
              </c:ext>
            </c:extLst>
          </c:dPt>
          <c:dPt>
            <c:idx val="482"/>
            <c:invertIfNegative val="1"/>
            <c:bubble3D val="0"/>
            <c:spPr>
              <a:solidFill>
                <a:srgbClr val="AEABAB"/>
              </a:solidFill>
            </c:spPr>
            <c:extLst>
              <c:ext xmlns:c16="http://schemas.microsoft.com/office/drawing/2014/chart" uri="{C3380CC4-5D6E-409C-BE32-E72D297353CC}">
                <c16:uniqueId val="{000003C7-86F4-458F-B5E5-D296EB1009DF}"/>
              </c:ext>
            </c:extLst>
          </c:dPt>
          <c:dPt>
            <c:idx val="483"/>
            <c:invertIfNegative val="1"/>
            <c:bubble3D val="0"/>
            <c:spPr>
              <a:solidFill>
                <a:srgbClr val="AEABAB"/>
              </a:solidFill>
            </c:spPr>
            <c:extLst>
              <c:ext xmlns:c16="http://schemas.microsoft.com/office/drawing/2014/chart" uri="{C3380CC4-5D6E-409C-BE32-E72D297353CC}">
                <c16:uniqueId val="{000003C9-86F4-458F-B5E5-D296EB1009DF}"/>
              </c:ext>
            </c:extLst>
          </c:dPt>
          <c:dPt>
            <c:idx val="484"/>
            <c:invertIfNegative val="1"/>
            <c:bubble3D val="0"/>
            <c:spPr>
              <a:solidFill>
                <a:srgbClr val="AEABAB"/>
              </a:solidFill>
            </c:spPr>
            <c:extLst>
              <c:ext xmlns:c16="http://schemas.microsoft.com/office/drawing/2014/chart" uri="{C3380CC4-5D6E-409C-BE32-E72D297353CC}">
                <c16:uniqueId val="{000003CB-86F4-458F-B5E5-D296EB1009DF}"/>
              </c:ext>
            </c:extLst>
          </c:dPt>
          <c:dPt>
            <c:idx val="485"/>
            <c:invertIfNegative val="1"/>
            <c:bubble3D val="0"/>
            <c:spPr>
              <a:solidFill>
                <a:srgbClr val="AEABAB"/>
              </a:solidFill>
            </c:spPr>
            <c:extLst>
              <c:ext xmlns:c16="http://schemas.microsoft.com/office/drawing/2014/chart" uri="{C3380CC4-5D6E-409C-BE32-E72D297353CC}">
                <c16:uniqueId val="{000003CD-86F4-458F-B5E5-D296EB1009DF}"/>
              </c:ext>
            </c:extLst>
          </c:dPt>
          <c:dPt>
            <c:idx val="486"/>
            <c:invertIfNegative val="1"/>
            <c:bubble3D val="0"/>
            <c:spPr>
              <a:solidFill>
                <a:srgbClr val="AEABAB"/>
              </a:solidFill>
            </c:spPr>
            <c:extLst>
              <c:ext xmlns:c16="http://schemas.microsoft.com/office/drawing/2014/chart" uri="{C3380CC4-5D6E-409C-BE32-E72D297353CC}">
                <c16:uniqueId val="{000003CF-86F4-458F-B5E5-D296EB1009DF}"/>
              </c:ext>
            </c:extLst>
          </c:dPt>
          <c:dPt>
            <c:idx val="487"/>
            <c:invertIfNegative val="1"/>
            <c:bubble3D val="0"/>
            <c:spPr>
              <a:solidFill>
                <a:srgbClr val="AEABAB"/>
              </a:solidFill>
            </c:spPr>
            <c:extLst>
              <c:ext xmlns:c16="http://schemas.microsoft.com/office/drawing/2014/chart" uri="{C3380CC4-5D6E-409C-BE32-E72D297353CC}">
                <c16:uniqueId val="{000003D1-86F4-458F-B5E5-D296EB1009DF}"/>
              </c:ext>
            </c:extLst>
          </c:dPt>
          <c:dPt>
            <c:idx val="488"/>
            <c:invertIfNegative val="1"/>
            <c:bubble3D val="0"/>
            <c:spPr>
              <a:solidFill>
                <a:srgbClr val="AEABAB"/>
              </a:solidFill>
            </c:spPr>
            <c:extLst>
              <c:ext xmlns:c16="http://schemas.microsoft.com/office/drawing/2014/chart" uri="{C3380CC4-5D6E-409C-BE32-E72D297353CC}">
                <c16:uniqueId val="{000003D3-86F4-458F-B5E5-D296EB1009DF}"/>
              </c:ext>
            </c:extLst>
          </c:dPt>
          <c:dPt>
            <c:idx val="489"/>
            <c:invertIfNegative val="1"/>
            <c:bubble3D val="0"/>
            <c:spPr>
              <a:solidFill>
                <a:srgbClr val="AEABAB"/>
              </a:solidFill>
            </c:spPr>
            <c:extLst>
              <c:ext xmlns:c16="http://schemas.microsoft.com/office/drawing/2014/chart" uri="{C3380CC4-5D6E-409C-BE32-E72D297353CC}">
                <c16:uniqueId val="{000003D5-86F4-458F-B5E5-D296EB1009DF}"/>
              </c:ext>
            </c:extLst>
          </c:dPt>
          <c:dPt>
            <c:idx val="490"/>
            <c:invertIfNegative val="1"/>
            <c:bubble3D val="0"/>
            <c:spPr>
              <a:solidFill>
                <a:srgbClr val="AEABAB"/>
              </a:solidFill>
            </c:spPr>
            <c:extLst>
              <c:ext xmlns:c16="http://schemas.microsoft.com/office/drawing/2014/chart" uri="{C3380CC4-5D6E-409C-BE32-E72D297353CC}">
                <c16:uniqueId val="{000003D7-86F4-458F-B5E5-D296EB1009DF}"/>
              </c:ext>
            </c:extLst>
          </c:dPt>
          <c:dPt>
            <c:idx val="491"/>
            <c:invertIfNegative val="1"/>
            <c:bubble3D val="0"/>
            <c:spPr>
              <a:solidFill>
                <a:srgbClr val="AEABAB"/>
              </a:solidFill>
            </c:spPr>
            <c:extLst>
              <c:ext xmlns:c16="http://schemas.microsoft.com/office/drawing/2014/chart" uri="{C3380CC4-5D6E-409C-BE32-E72D297353CC}">
                <c16:uniqueId val="{000003D9-86F4-458F-B5E5-D296EB1009DF}"/>
              </c:ext>
            </c:extLst>
          </c:dPt>
          <c:dPt>
            <c:idx val="492"/>
            <c:invertIfNegative val="1"/>
            <c:bubble3D val="0"/>
            <c:spPr>
              <a:solidFill>
                <a:srgbClr val="AEABAB"/>
              </a:solidFill>
            </c:spPr>
            <c:extLst>
              <c:ext xmlns:c16="http://schemas.microsoft.com/office/drawing/2014/chart" uri="{C3380CC4-5D6E-409C-BE32-E72D297353CC}">
                <c16:uniqueId val="{000003DB-86F4-458F-B5E5-D296EB1009DF}"/>
              </c:ext>
            </c:extLst>
          </c:dPt>
          <c:dPt>
            <c:idx val="493"/>
            <c:invertIfNegative val="1"/>
            <c:bubble3D val="0"/>
            <c:spPr>
              <a:solidFill>
                <a:srgbClr val="AEABAB"/>
              </a:solidFill>
            </c:spPr>
            <c:extLst>
              <c:ext xmlns:c16="http://schemas.microsoft.com/office/drawing/2014/chart" uri="{C3380CC4-5D6E-409C-BE32-E72D297353CC}">
                <c16:uniqueId val="{000003DD-86F4-458F-B5E5-D296EB1009DF}"/>
              </c:ext>
            </c:extLst>
          </c:dPt>
          <c:dPt>
            <c:idx val="494"/>
            <c:invertIfNegative val="1"/>
            <c:bubble3D val="0"/>
            <c:spPr>
              <a:solidFill>
                <a:srgbClr val="AEABAB"/>
              </a:solidFill>
            </c:spPr>
            <c:extLst>
              <c:ext xmlns:c16="http://schemas.microsoft.com/office/drawing/2014/chart" uri="{C3380CC4-5D6E-409C-BE32-E72D297353CC}">
                <c16:uniqueId val="{000003DF-86F4-458F-B5E5-D296EB1009DF}"/>
              </c:ext>
            </c:extLst>
          </c:dPt>
          <c:dPt>
            <c:idx val="495"/>
            <c:invertIfNegative val="1"/>
            <c:bubble3D val="0"/>
            <c:spPr>
              <a:solidFill>
                <a:srgbClr val="AEABAB"/>
              </a:solidFill>
            </c:spPr>
            <c:extLst>
              <c:ext xmlns:c16="http://schemas.microsoft.com/office/drawing/2014/chart" uri="{C3380CC4-5D6E-409C-BE32-E72D297353CC}">
                <c16:uniqueId val="{000003E1-86F4-458F-B5E5-D296EB1009DF}"/>
              </c:ext>
            </c:extLst>
          </c:dPt>
          <c:dPt>
            <c:idx val="496"/>
            <c:invertIfNegative val="1"/>
            <c:bubble3D val="0"/>
            <c:spPr>
              <a:solidFill>
                <a:srgbClr val="AEABAB"/>
              </a:solidFill>
            </c:spPr>
            <c:extLst>
              <c:ext xmlns:c16="http://schemas.microsoft.com/office/drawing/2014/chart" uri="{C3380CC4-5D6E-409C-BE32-E72D297353CC}">
                <c16:uniqueId val="{000003E3-86F4-458F-B5E5-D296EB1009DF}"/>
              </c:ext>
            </c:extLst>
          </c:dPt>
          <c:dPt>
            <c:idx val="497"/>
            <c:invertIfNegative val="1"/>
            <c:bubble3D val="0"/>
            <c:spPr>
              <a:solidFill>
                <a:srgbClr val="AEABAB"/>
              </a:solidFill>
            </c:spPr>
            <c:extLst>
              <c:ext xmlns:c16="http://schemas.microsoft.com/office/drawing/2014/chart" uri="{C3380CC4-5D6E-409C-BE32-E72D297353CC}">
                <c16:uniqueId val="{000003E5-86F4-458F-B5E5-D296EB1009DF}"/>
              </c:ext>
            </c:extLst>
          </c:dPt>
          <c:dPt>
            <c:idx val="498"/>
            <c:invertIfNegative val="1"/>
            <c:bubble3D val="0"/>
            <c:spPr>
              <a:solidFill>
                <a:srgbClr val="AEABAB"/>
              </a:solidFill>
            </c:spPr>
            <c:extLst>
              <c:ext xmlns:c16="http://schemas.microsoft.com/office/drawing/2014/chart" uri="{C3380CC4-5D6E-409C-BE32-E72D297353CC}">
                <c16:uniqueId val="{000003E7-86F4-458F-B5E5-D296EB1009DF}"/>
              </c:ext>
            </c:extLst>
          </c:dPt>
          <c:dPt>
            <c:idx val="499"/>
            <c:invertIfNegative val="1"/>
            <c:bubble3D val="0"/>
            <c:spPr>
              <a:solidFill>
                <a:srgbClr val="AEABAB"/>
              </a:solidFill>
            </c:spPr>
            <c:extLst>
              <c:ext xmlns:c16="http://schemas.microsoft.com/office/drawing/2014/chart" uri="{C3380CC4-5D6E-409C-BE32-E72D297353CC}">
                <c16:uniqueId val="{000003E9-86F4-458F-B5E5-D296EB1009DF}"/>
              </c:ext>
            </c:extLst>
          </c:dPt>
          <c:dPt>
            <c:idx val="500"/>
            <c:invertIfNegative val="1"/>
            <c:bubble3D val="0"/>
            <c:spPr>
              <a:solidFill>
                <a:srgbClr val="AEABAB"/>
              </a:solidFill>
            </c:spPr>
            <c:extLst>
              <c:ext xmlns:c16="http://schemas.microsoft.com/office/drawing/2014/chart" uri="{C3380CC4-5D6E-409C-BE32-E72D297353CC}">
                <c16:uniqueId val="{000003EB-86F4-458F-B5E5-D296EB1009DF}"/>
              </c:ext>
            </c:extLst>
          </c:dPt>
          <c:dPt>
            <c:idx val="501"/>
            <c:invertIfNegative val="1"/>
            <c:bubble3D val="0"/>
            <c:spPr>
              <a:solidFill>
                <a:srgbClr val="AEABAB"/>
              </a:solidFill>
            </c:spPr>
            <c:extLst>
              <c:ext xmlns:c16="http://schemas.microsoft.com/office/drawing/2014/chart" uri="{C3380CC4-5D6E-409C-BE32-E72D297353CC}">
                <c16:uniqueId val="{000003ED-86F4-458F-B5E5-D296EB1009DF}"/>
              </c:ext>
            </c:extLst>
          </c:dPt>
          <c:dPt>
            <c:idx val="502"/>
            <c:invertIfNegative val="1"/>
            <c:bubble3D val="0"/>
            <c:spPr>
              <a:solidFill>
                <a:srgbClr val="AEABAB"/>
              </a:solidFill>
            </c:spPr>
            <c:extLst>
              <c:ext xmlns:c16="http://schemas.microsoft.com/office/drawing/2014/chart" uri="{C3380CC4-5D6E-409C-BE32-E72D297353CC}">
                <c16:uniqueId val="{000003EF-86F4-458F-B5E5-D296EB1009DF}"/>
              </c:ext>
            </c:extLst>
          </c:dPt>
          <c:dPt>
            <c:idx val="503"/>
            <c:invertIfNegative val="1"/>
            <c:bubble3D val="0"/>
            <c:spPr>
              <a:solidFill>
                <a:srgbClr val="AEABAB"/>
              </a:solidFill>
            </c:spPr>
            <c:extLst>
              <c:ext xmlns:c16="http://schemas.microsoft.com/office/drawing/2014/chart" uri="{C3380CC4-5D6E-409C-BE32-E72D297353CC}">
                <c16:uniqueId val="{000003F1-86F4-458F-B5E5-D296EB1009DF}"/>
              </c:ext>
            </c:extLst>
          </c:dPt>
          <c:dPt>
            <c:idx val="504"/>
            <c:invertIfNegative val="1"/>
            <c:bubble3D val="0"/>
            <c:spPr>
              <a:solidFill>
                <a:srgbClr val="AEABAB"/>
              </a:solidFill>
            </c:spPr>
            <c:extLst>
              <c:ext xmlns:c16="http://schemas.microsoft.com/office/drawing/2014/chart" uri="{C3380CC4-5D6E-409C-BE32-E72D297353CC}">
                <c16:uniqueId val="{000003F3-86F4-458F-B5E5-D296EB1009DF}"/>
              </c:ext>
            </c:extLst>
          </c:dPt>
          <c:dPt>
            <c:idx val="505"/>
            <c:invertIfNegative val="1"/>
            <c:bubble3D val="0"/>
            <c:spPr>
              <a:solidFill>
                <a:srgbClr val="AEABAB"/>
              </a:solidFill>
            </c:spPr>
            <c:extLst>
              <c:ext xmlns:c16="http://schemas.microsoft.com/office/drawing/2014/chart" uri="{C3380CC4-5D6E-409C-BE32-E72D297353CC}">
                <c16:uniqueId val="{000003F5-86F4-458F-B5E5-D296EB1009DF}"/>
              </c:ext>
            </c:extLst>
          </c:dPt>
          <c:dPt>
            <c:idx val="506"/>
            <c:invertIfNegative val="1"/>
            <c:bubble3D val="0"/>
            <c:spPr>
              <a:solidFill>
                <a:srgbClr val="AEABAB"/>
              </a:solidFill>
            </c:spPr>
            <c:extLst>
              <c:ext xmlns:c16="http://schemas.microsoft.com/office/drawing/2014/chart" uri="{C3380CC4-5D6E-409C-BE32-E72D297353CC}">
                <c16:uniqueId val="{000003F7-86F4-458F-B5E5-D296EB1009DF}"/>
              </c:ext>
            </c:extLst>
          </c:dPt>
          <c:dPt>
            <c:idx val="507"/>
            <c:invertIfNegative val="1"/>
            <c:bubble3D val="0"/>
            <c:spPr>
              <a:solidFill>
                <a:srgbClr val="AEABAB"/>
              </a:solidFill>
            </c:spPr>
            <c:extLst>
              <c:ext xmlns:c16="http://schemas.microsoft.com/office/drawing/2014/chart" uri="{C3380CC4-5D6E-409C-BE32-E72D297353CC}">
                <c16:uniqueId val="{000003F9-86F4-458F-B5E5-D296EB1009DF}"/>
              </c:ext>
            </c:extLst>
          </c:dPt>
          <c:dPt>
            <c:idx val="508"/>
            <c:invertIfNegative val="1"/>
            <c:bubble3D val="0"/>
            <c:spPr>
              <a:solidFill>
                <a:srgbClr val="AEABAB"/>
              </a:solidFill>
            </c:spPr>
            <c:extLst>
              <c:ext xmlns:c16="http://schemas.microsoft.com/office/drawing/2014/chart" uri="{C3380CC4-5D6E-409C-BE32-E72D297353CC}">
                <c16:uniqueId val="{000003FB-86F4-458F-B5E5-D296EB1009DF}"/>
              </c:ext>
            </c:extLst>
          </c:dPt>
          <c:dPt>
            <c:idx val="509"/>
            <c:invertIfNegative val="1"/>
            <c:bubble3D val="0"/>
            <c:spPr>
              <a:solidFill>
                <a:srgbClr val="AEABAB"/>
              </a:solidFill>
            </c:spPr>
            <c:extLst>
              <c:ext xmlns:c16="http://schemas.microsoft.com/office/drawing/2014/chart" uri="{C3380CC4-5D6E-409C-BE32-E72D297353CC}">
                <c16:uniqueId val="{000003FD-86F4-458F-B5E5-D296EB1009DF}"/>
              </c:ext>
            </c:extLst>
          </c:dPt>
          <c:dPt>
            <c:idx val="510"/>
            <c:invertIfNegative val="1"/>
            <c:bubble3D val="0"/>
            <c:spPr>
              <a:solidFill>
                <a:srgbClr val="AEABAB"/>
              </a:solidFill>
            </c:spPr>
            <c:extLst>
              <c:ext xmlns:c16="http://schemas.microsoft.com/office/drawing/2014/chart" uri="{C3380CC4-5D6E-409C-BE32-E72D297353CC}">
                <c16:uniqueId val="{000003FF-86F4-458F-B5E5-D296EB1009DF}"/>
              </c:ext>
            </c:extLst>
          </c:dPt>
          <c:dPt>
            <c:idx val="511"/>
            <c:invertIfNegative val="1"/>
            <c:bubble3D val="0"/>
            <c:spPr>
              <a:solidFill>
                <a:srgbClr val="AEABAB"/>
              </a:solidFill>
            </c:spPr>
            <c:extLst>
              <c:ext xmlns:c16="http://schemas.microsoft.com/office/drawing/2014/chart" uri="{C3380CC4-5D6E-409C-BE32-E72D297353CC}">
                <c16:uniqueId val="{00000401-86F4-458F-B5E5-D296EB1009DF}"/>
              </c:ext>
            </c:extLst>
          </c:dPt>
          <c:dPt>
            <c:idx val="512"/>
            <c:invertIfNegative val="1"/>
            <c:bubble3D val="0"/>
            <c:spPr>
              <a:solidFill>
                <a:srgbClr val="AEABAB"/>
              </a:solidFill>
            </c:spPr>
            <c:extLst>
              <c:ext xmlns:c16="http://schemas.microsoft.com/office/drawing/2014/chart" uri="{C3380CC4-5D6E-409C-BE32-E72D297353CC}">
                <c16:uniqueId val="{00000403-86F4-458F-B5E5-D296EB1009DF}"/>
              </c:ext>
            </c:extLst>
          </c:dPt>
          <c:dPt>
            <c:idx val="513"/>
            <c:invertIfNegative val="1"/>
            <c:bubble3D val="0"/>
            <c:spPr>
              <a:solidFill>
                <a:srgbClr val="AEABAB"/>
              </a:solidFill>
            </c:spPr>
            <c:extLst>
              <c:ext xmlns:c16="http://schemas.microsoft.com/office/drawing/2014/chart" uri="{C3380CC4-5D6E-409C-BE32-E72D297353CC}">
                <c16:uniqueId val="{00000405-86F4-458F-B5E5-D296EB1009DF}"/>
              </c:ext>
            </c:extLst>
          </c:dPt>
          <c:dPt>
            <c:idx val="514"/>
            <c:invertIfNegative val="1"/>
            <c:bubble3D val="0"/>
            <c:spPr>
              <a:solidFill>
                <a:srgbClr val="AEABAB"/>
              </a:solidFill>
            </c:spPr>
            <c:extLst>
              <c:ext xmlns:c16="http://schemas.microsoft.com/office/drawing/2014/chart" uri="{C3380CC4-5D6E-409C-BE32-E72D297353CC}">
                <c16:uniqueId val="{00000407-86F4-458F-B5E5-D296EB1009DF}"/>
              </c:ext>
            </c:extLst>
          </c:dPt>
          <c:dPt>
            <c:idx val="515"/>
            <c:invertIfNegative val="1"/>
            <c:bubble3D val="0"/>
            <c:spPr>
              <a:solidFill>
                <a:srgbClr val="AEABAB"/>
              </a:solidFill>
            </c:spPr>
            <c:extLst>
              <c:ext xmlns:c16="http://schemas.microsoft.com/office/drawing/2014/chart" uri="{C3380CC4-5D6E-409C-BE32-E72D297353CC}">
                <c16:uniqueId val="{00000409-86F4-458F-B5E5-D296EB1009DF}"/>
              </c:ext>
            </c:extLst>
          </c:dPt>
          <c:dPt>
            <c:idx val="516"/>
            <c:invertIfNegative val="1"/>
            <c:bubble3D val="0"/>
            <c:spPr>
              <a:solidFill>
                <a:srgbClr val="AEABAB"/>
              </a:solidFill>
            </c:spPr>
            <c:extLst>
              <c:ext xmlns:c16="http://schemas.microsoft.com/office/drawing/2014/chart" uri="{C3380CC4-5D6E-409C-BE32-E72D297353CC}">
                <c16:uniqueId val="{0000040B-86F4-458F-B5E5-D296EB1009DF}"/>
              </c:ext>
            </c:extLst>
          </c:dPt>
          <c:dPt>
            <c:idx val="517"/>
            <c:invertIfNegative val="1"/>
            <c:bubble3D val="0"/>
            <c:spPr>
              <a:solidFill>
                <a:srgbClr val="AEABAB"/>
              </a:solidFill>
            </c:spPr>
            <c:extLst>
              <c:ext xmlns:c16="http://schemas.microsoft.com/office/drawing/2014/chart" uri="{C3380CC4-5D6E-409C-BE32-E72D297353CC}">
                <c16:uniqueId val="{0000040D-86F4-458F-B5E5-D296EB1009DF}"/>
              </c:ext>
            </c:extLst>
          </c:dPt>
          <c:dPt>
            <c:idx val="518"/>
            <c:invertIfNegative val="1"/>
            <c:bubble3D val="0"/>
            <c:spPr>
              <a:solidFill>
                <a:srgbClr val="AEABAB"/>
              </a:solidFill>
            </c:spPr>
            <c:extLst>
              <c:ext xmlns:c16="http://schemas.microsoft.com/office/drawing/2014/chart" uri="{C3380CC4-5D6E-409C-BE32-E72D297353CC}">
                <c16:uniqueId val="{0000040F-86F4-458F-B5E5-D296EB1009DF}"/>
              </c:ext>
            </c:extLst>
          </c:dPt>
          <c:dPt>
            <c:idx val="519"/>
            <c:invertIfNegative val="1"/>
            <c:bubble3D val="0"/>
            <c:spPr>
              <a:solidFill>
                <a:srgbClr val="AEABAB"/>
              </a:solidFill>
            </c:spPr>
            <c:extLst>
              <c:ext xmlns:c16="http://schemas.microsoft.com/office/drawing/2014/chart" uri="{C3380CC4-5D6E-409C-BE32-E72D297353CC}">
                <c16:uniqueId val="{00000411-86F4-458F-B5E5-D296EB1009DF}"/>
              </c:ext>
            </c:extLst>
          </c:dPt>
          <c:dPt>
            <c:idx val="520"/>
            <c:invertIfNegative val="1"/>
            <c:bubble3D val="0"/>
            <c:spPr>
              <a:solidFill>
                <a:srgbClr val="AEABAB"/>
              </a:solidFill>
            </c:spPr>
            <c:extLst>
              <c:ext xmlns:c16="http://schemas.microsoft.com/office/drawing/2014/chart" uri="{C3380CC4-5D6E-409C-BE32-E72D297353CC}">
                <c16:uniqueId val="{00000413-86F4-458F-B5E5-D296EB1009DF}"/>
              </c:ext>
            </c:extLst>
          </c:dPt>
          <c:dPt>
            <c:idx val="521"/>
            <c:invertIfNegative val="1"/>
            <c:bubble3D val="0"/>
            <c:spPr>
              <a:solidFill>
                <a:srgbClr val="AEABAB"/>
              </a:solidFill>
            </c:spPr>
            <c:extLst>
              <c:ext xmlns:c16="http://schemas.microsoft.com/office/drawing/2014/chart" uri="{C3380CC4-5D6E-409C-BE32-E72D297353CC}">
                <c16:uniqueId val="{00000415-86F4-458F-B5E5-D296EB1009DF}"/>
              </c:ext>
            </c:extLst>
          </c:dPt>
          <c:dPt>
            <c:idx val="522"/>
            <c:invertIfNegative val="1"/>
            <c:bubble3D val="0"/>
            <c:spPr>
              <a:solidFill>
                <a:srgbClr val="AEABAB"/>
              </a:solidFill>
            </c:spPr>
            <c:extLst>
              <c:ext xmlns:c16="http://schemas.microsoft.com/office/drawing/2014/chart" uri="{C3380CC4-5D6E-409C-BE32-E72D297353CC}">
                <c16:uniqueId val="{00000417-86F4-458F-B5E5-D296EB1009DF}"/>
              </c:ext>
            </c:extLst>
          </c:dPt>
          <c:dPt>
            <c:idx val="523"/>
            <c:invertIfNegative val="1"/>
            <c:bubble3D val="0"/>
            <c:spPr>
              <a:solidFill>
                <a:srgbClr val="AEABAB"/>
              </a:solidFill>
            </c:spPr>
            <c:extLst>
              <c:ext xmlns:c16="http://schemas.microsoft.com/office/drawing/2014/chart" uri="{C3380CC4-5D6E-409C-BE32-E72D297353CC}">
                <c16:uniqueId val="{00000419-86F4-458F-B5E5-D296EB1009DF}"/>
              </c:ext>
            </c:extLst>
          </c:dPt>
          <c:dPt>
            <c:idx val="524"/>
            <c:invertIfNegative val="1"/>
            <c:bubble3D val="0"/>
            <c:spPr>
              <a:solidFill>
                <a:srgbClr val="AEABAB"/>
              </a:solidFill>
            </c:spPr>
            <c:extLst>
              <c:ext xmlns:c16="http://schemas.microsoft.com/office/drawing/2014/chart" uri="{C3380CC4-5D6E-409C-BE32-E72D297353CC}">
                <c16:uniqueId val="{0000041B-86F4-458F-B5E5-D296EB1009DF}"/>
              </c:ext>
            </c:extLst>
          </c:dPt>
          <c:dPt>
            <c:idx val="525"/>
            <c:invertIfNegative val="1"/>
            <c:bubble3D val="0"/>
            <c:spPr>
              <a:solidFill>
                <a:srgbClr val="AEABAB"/>
              </a:solidFill>
            </c:spPr>
            <c:extLst>
              <c:ext xmlns:c16="http://schemas.microsoft.com/office/drawing/2014/chart" uri="{C3380CC4-5D6E-409C-BE32-E72D297353CC}">
                <c16:uniqueId val="{0000041D-86F4-458F-B5E5-D296EB1009DF}"/>
              </c:ext>
            </c:extLst>
          </c:dPt>
          <c:dPt>
            <c:idx val="526"/>
            <c:invertIfNegative val="1"/>
            <c:bubble3D val="0"/>
            <c:spPr>
              <a:solidFill>
                <a:srgbClr val="AEABAB"/>
              </a:solidFill>
            </c:spPr>
            <c:extLst>
              <c:ext xmlns:c16="http://schemas.microsoft.com/office/drawing/2014/chart" uri="{C3380CC4-5D6E-409C-BE32-E72D297353CC}">
                <c16:uniqueId val="{0000041F-86F4-458F-B5E5-D296EB1009DF}"/>
              </c:ext>
            </c:extLst>
          </c:dPt>
          <c:dPt>
            <c:idx val="527"/>
            <c:invertIfNegative val="1"/>
            <c:bubble3D val="0"/>
            <c:spPr>
              <a:solidFill>
                <a:srgbClr val="AEABAB"/>
              </a:solidFill>
            </c:spPr>
            <c:extLst>
              <c:ext xmlns:c16="http://schemas.microsoft.com/office/drawing/2014/chart" uri="{C3380CC4-5D6E-409C-BE32-E72D297353CC}">
                <c16:uniqueId val="{00000421-86F4-458F-B5E5-D296EB1009DF}"/>
              </c:ext>
            </c:extLst>
          </c:dPt>
          <c:dPt>
            <c:idx val="528"/>
            <c:invertIfNegative val="1"/>
            <c:bubble3D val="0"/>
            <c:spPr>
              <a:solidFill>
                <a:srgbClr val="AEABAB"/>
              </a:solidFill>
            </c:spPr>
            <c:extLst>
              <c:ext xmlns:c16="http://schemas.microsoft.com/office/drawing/2014/chart" uri="{C3380CC4-5D6E-409C-BE32-E72D297353CC}">
                <c16:uniqueId val="{00000423-86F4-458F-B5E5-D296EB1009DF}"/>
              </c:ext>
            </c:extLst>
          </c:dPt>
          <c:dPt>
            <c:idx val="529"/>
            <c:invertIfNegative val="1"/>
            <c:bubble3D val="0"/>
            <c:spPr>
              <a:solidFill>
                <a:srgbClr val="AEABAB"/>
              </a:solidFill>
            </c:spPr>
            <c:extLst>
              <c:ext xmlns:c16="http://schemas.microsoft.com/office/drawing/2014/chart" uri="{C3380CC4-5D6E-409C-BE32-E72D297353CC}">
                <c16:uniqueId val="{00000425-86F4-458F-B5E5-D296EB1009DF}"/>
              </c:ext>
            </c:extLst>
          </c:dPt>
          <c:dPt>
            <c:idx val="530"/>
            <c:invertIfNegative val="1"/>
            <c:bubble3D val="0"/>
            <c:spPr>
              <a:solidFill>
                <a:srgbClr val="AEABAB"/>
              </a:solidFill>
            </c:spPr>
            <c:extLst>
              <c:ext xmlns:c16="http://schemas.microsoft.com/office/drawing/2014/chart" uri="{C3380CC4-5D6E-409C-BE32-E72D297353CC}">
                <c16:uniqueId val="{00000427-86F4-458F-B5E5-D296EB1009DF}"/>
              </c:ext>
            </c:extLst>
          </c:dPt>
          <c:dPt>
            <c:idx val="531"/>
            <c:invertIfNegative val="1"/>
            <c:bubble3D val="0"/>
            <c:spPr>
              <a:solidFill>
                <a:srgbClr val="AEABAB"/>
              </a:solidFill>
            </c:spPr>
            <c:extLst>
              <c:ext xmlns:c16="http://schemas.microsoft.com/office/drawing/2014/chart" uri="{C3380CC4-5D6E-409C-BE32-E72D297353CC}">
                <c16:uniqueId val="{00000429-86F4-458F-B5E5-D296EB1009DF}"/>
              </c:ext>
            </c:extLst>
          </c:dPt>
          <c:dPt>
            <c:idx val="532"/>
            <c:invertIfNegative val="1"/>
            <c:bubble3D val="0"/>
            <c:spPr>
              <a:solidFill>
                <a:srgbClr val="AEABAB"/>
              </a:solidFill>
            </c:spPr>
            <c:extLst>
              <c:ext xmlns:c16="http://schemas.microsoft.com/office/drawing/2014/chart" uri="{C3380CC4-5D6E-409C-BE32-E72D297353CC}">
                <c16:uniqueId val="{0000042B-86F4-458F-B5E5-D296EB1009DF}"/>
              </c:ext>
            </c:extLst>
          </c:dPt>
          <c:dPt>
            <c:idx val="533"/>
            <c:invertIfNegative val="1"/>
            <c:bubble3D val="0"/>
            <c:spPr>
              <a:solidFill>
                <a:srgbClr val="AEABAB"/>
              </a:solidFill>
            </c:spPr>
            <c:extLst>
              <c:ext xmlns:c16="http://schemas.microsoft.com/office/drawing/2014/chart" uri="{C3380CC4-5D6E-409C-BE32-E72D297353CC}">
                <c16:uniqueId val="{0000042D-86F4-458F-B5E5-D296EB1009DF}"/>
              </c:ext>
            </c:extLst>
          </c:dPt>
          <c:dPt>
            <c:idx val="534"/>
            <c:invertIfNegative val="1"/>
            <c:bubble3D val="0"/>
            <c:spPr>
              <a:solidFill>
                <a:srgbClr val="AEABAB"/>
              </a:solidFill>
            </c:spPr>
            <c:extLst>
              <c:ext xmlns:c16="http://schemas.microsoft.com/office/drawing/2014/chart" uri="{C3380CC4-5D6E-409C-BE32-E72D297353CC}">
                <c16:uniqueId val="{0000042F-86F4-458F-B5E5-D296EB1009DF}"/>
              </c:ext>
            </c:extLst>
          </c:dPt>
          <c:dPt>
            <c:idx val="535"/>
            <c:invertIfNegative val="1"/>
            <c:bubble3D val="0"/>
            <c:spPr>
              <a:solidFill>
                <a:srgbClr val="AEABAB"/>
              </a:solidFill>
            </c:spPr>
            <c:extLst>
              <c:ext xmlns:c16="http://schemas.microsoft.com/office/drawing/2014/chart" uri="{C3380CC4-5D6E-409C-BE32-E72D297353CC}">
                <c16:uniqueId val="{00000431-86F4-458F-B5E5-D296EB1009DF}"/>
              </c:ext>
            </c:extLst>
          </c:dPt>
          <c:dPt>
            <c:idx val="536"/>
            <c:invertIfNegative val="1"/>
            <c:bubble3D val="0"/>
            <c:spPr>
              <a:solidFill>
                <a:srgbClr val="AEABAB"/>
              </a:solidFill>
            </c:spPr>
            <c:extLst>
              <c:ext xmlns:c16="http://schemas.microsoft.com/office/drawing/2014/chart" uri="{C3380CC4-5D6E-409C-BE32-E72D297353CC}">
                <c16:uniqueId val="{00000433-86F4-458F-B5E5-D296EB1009DF}"/>
              </c:ext>
            </c:extLst>
          </c:dPt>
          <c:dPt>
            <c:idx val="537"/>
            <c:invertIfNegative val="1"/>
            <c:bubble3D val="0"/>
            <c:spPr>
              <a:solidFill>
                <a:srgbClr val="AEABAB"/>
              </a:solidFill>
            </c:spPr>
            <c:extLst>
              <c:ext xmlns:c16="http://schemas.microsoft.com/office/drawing/2014/chart" uri="{C3380CC4-5D6E-409C-BE32-E72D297353CC}">
                <c16:uniqueId val="{00000435-86F4-458F-B5E5-D296EB1009DF}"/>
              </c:ext>
            </c:extLst>
          </c:dPt>
          <c:dPt>
            <c:idx val="538"/>
            <c:invertIfNegative val="1"/>
            <c:bubble3D val="0"/>
            <c:spPr>
              <a:solidFill>
                <a:srgbClr val="AEABAB"/>
              </a:solidFill>
            </c:spPr>
            <c:extLst>
              <c:ext xmlns:c16="http://schemas.microsoft.com/office/drawing/2014/chart" uri="{C3380CC4-5D6E-409C-BE32-E72D297353CC}">
                <c16:uniqueId val="{00000437-86F4-458F-B5E5-D296EB1009DF}"/>
              </c:ext>
            </c:extLst>
          </c:dPt>
          <c:dPt>
            <c:idx val="539"/>
            <c:invertIfNegative val="1"/>
            <c:bubble3D val="0"/>
            <c:spPr>
              <a:solidFill>
                <a:srgbClr val="AEABAB"/>
              </a:solidFill>
            </c:spPr>
            <c:extLst>
              <c:ext xmlns:c16="http://schemas.microsoft.com/office/drawing/2014/chart" uri="{C3380CC4-5D6E-409C-BE32-E72D297353CC}">
                <c16:uniqueId val="{00000439-86F4-458F-B5E5-D296EB1009DF}"/>
              </c:ext>
            </c:extLst>
          </c:dPt>
          <c:dPt>
            <c:idx val="540"/>
            <c:invertIfNegative val="1"/>
            <c:bubble3D val="0"/>
            <c:spPr>
              <a:solidFill>
                <a:srgbClr val="AEABAB"/>
              </a:solidFill>
            </c:spPr>
            <c:extLst>
              <c:ext xmlns:c16="http://schemas.microsoft.com/office/drawing/2014/chart" uri="{C3380CC4-5D6E-409C-BE32-E72D297353CC}">
                <c16:uniqueId val="{0000043B-86F4-458F-B5E5-D296EB1009DF}"/>
              </c:ext>
            </c:extLst>
          </c:dPt>
          <c:dPt>
            <c:idx val="541"/>
            <c:invertIfNegative val="1"/>
            <c:bubble3D val="0"/>
            <c:spPr>
              <a:solidFill>
                <a:srgbClr val="AEABAB"/>
              </a:solidFill>
            </c:spPr>
            <c:extLst>
              <c:ext xmlns:c16="http://schemas.microsoft.com/office/drawing/2014/chart" uri="{C3380CC4-5D6E-409C-BE32-E72D297353CC}">
                <c16:uniqueId val="{0000043D-86F4-458F-B5E5-D296EB1009DF}"/>
              </c:ext>
            </c:extLst>
          </c:dPt>
          <c:dPt>
            <c:idx val="542"/>
            <c:invertIfNegative val="1"/>
            <c:bubble3D val="0"/>
            <c:spPr>
              <a:solidFill>
                <a:srgbClr val="AEABAB"/>
              </a:solidFill>
            </c:spPr>
            <c:extLst>
              <c:ext xmlns:c16="http://schemas.microsoft.com/office/drawing/2014/chart" uri="{C3380CC4-5D6E-409C-BE32-E72D297353CC}">
                <c16:uniqueId val="{0000043F-86F4-458F-B5E5-D296EB1009DF}"/>
              </c:ext>
            </c:extLst>
          </c:dPt>
          <c:dPt>
            <c:idx val="543"/>
            <c:invertIfNegative val="1"/>
            <c:bubble3D val="0"/>
            <c:spPr>
              <a:solidFill>
                <a:srgbClr val="AEABAB"/>
              </a:solidFill>
            </c:spPr>
            <c:extLst>
              <c:ext xmlns:c16="http://schemas.microsoft.com/office/drawing/2014/chart" uri="{C3380CC4-5D6E-409C-BE32-E72D297353CC}">
                <c16:uniqueId val="{00000441-86F4-458F-B5E5-D296EB1009DF}"/>
              </c:ext>
            </c:extLst>
          </c:dPt>
          <c:dPt>
            <c:idx val="544"/>
            <c:invertIfNegative val="1"/>
            <c:bubble3D val="0"/>
            <c:spPr>
              <a:solidFill>
                <a:srgbClr val="AEABAB"/>
              </a:solidFill>
            </c:spPr>
            <c:extLst>
              <c:ext xmlns:c16="http://schemas.microsoft.com/office/drawing/2014/chart" uri="{C3380CC4-5D6E-409C-BE32-E72D297353CC}">
                <c16:uniqueId val="{00000443-86F4-458F-B5E5-D296EB1009DF}"/>
              </c:ext>
            </c:extLst>
          </c:dPt>
          <c:dPt>
            <c:idx val="545"/>
            <c:invertIfNegative val="1"/>
            <c:bubble3D val="0"/>
            <c:spPr>
              <a:solidFill>
                <a:srgbClr val="AEABAB"/>
              </a:solidFill>
            </c:spPr>
            <c:extLst>
              <c:ext xmlns:c16="http://schemas.microsoft.com/office/drawing/2014/chart" uri="{C3380CC4-5D6E-409C-BE32-E72D297353CC}">
                <c16:uniqueId val="{00000445-86F4-458F-B5E5-D296EB1009DF}"/>
              </c:ext>
            </c:extLst>
          </c:dPt>
          <c:dPt>
            <c:idx val="546"/>
            <c:invertIfNegative val="1"/>
            <c:bubble3D val="0"/>
            <c:spPr>
              <a:solidFill>
                <a:srgbClr val="AEABAB"/>
              </a:solidFill>
            </c:spPr>
            <c:extLst>
              <c:ext xmlns:c16="http://schemas.microsoft.com/office/drawing/2014/chart" uri="{C3380CC4-5D6E-409C-BE32-E72D297353CC}">
                <c16:uniqueId val="{00000447-86F4-458F-B5E5-D296EB1009DF}"/>
              </c:ext>
            </c:extLst>
          </c:dPt>
          <c:dPt>
            <c:idx val="547"/>
            <c:invertIfNegative val="1"/>
            <c:bubble3D val="0"/>
            <c:spPr>
              <a:solidFill>
                <a:srgbClr val="AEABAB"/>
              </a:solidFill>
            </c:spPr>
            <c:extLst>
              <c:ext xmlns:c16="http://schemas.microsoft.com/office/drawing/2014/chart" uri="{C3380CC4-5D6E-409C-BE32-E72D297353CC}">
                <c16:uniqueId val="{00000449-86F4-458F-B5E5-D296EB1009DF}"/>
              </c:ext>
            </c:extLst>
          </c:dPt>
          <c:dPt>
            <c:idx val="548"/>
            <c:invertIfNegative val="1"/>
            <c:bubble3D val="0"/>
            <c:spPr>
              <a:solidFill>
                <a:srgbClr val="AEABAB"/>
              </a:solidFill>
            </c:spPr>
            <c:extLst>
              <c:ext xmlns:c16="http://schemas.microsoft.com/office/drawing/2014/chart" uri="{C3380CC4-5D6E-409C-BE32-E72D297353CC}">
                <c16:uniqueId val="{0000044B-86F4-458F-B5E5-D296EB1009DF}"/>
              </c:ext>
            </c:extLst>
          </c:dPt>
          <c:dPt>
            <c:idx val="549"/>
            <c:invertIfNegative val="1"/>
            <c:bubble3D val="0"/>
            <c:spPr>
              <a:solidFill>
                <a:srgbClr val="AEABAB"/>
              </a:solidFill>
            </c:spPr>
            <c:extLst>
              <c:ext xmlns:c16="http://schemas.microsoft.com/office/drawing/2014/chart" uri="{C3380CC4-5D6E-409C-BE32-E72D297353CC}">
                <c16:uniqueId val="{0000044D-86F4-458F-B5E5-D296EB1009DF}"/>
              </c:ext>
            </c:extLst>
          </c:dPt>
          <c:dPt>
            <c:idx val="550"/>
            <c:invertIfNegative val="1"/>
            <c:bubble3D val="0"/>
            <c:spPr>
              <a:solidFill>
                <a:srgbClr val="AEABAB"/>
              </a:solidFill>
            </c:spPr>
            <c:extLst>
              <c:ext xmlns:c16="http://schemas.microsoft.com/office/drawing/2014/chart" uri="{C3380CC4-5D6E-409C-BE32-E72D297353CC}">
                <c16:uniqueId val="{0000044F-86F4-458F-B5E5-D296EB1009DF}"/>
              </c:ext>
            </c:extLst>
          </c:dPt>
          <c:dPt>
            <c:idx val="551"/>
            <c:invertIfNegative val="1"/>
            <c:bubble3D val="0"/>
            <c:spPr>
              <a:solidFill>
                <a:srgbClr val="AEABAB"/>
              </a:solidFill>
            </c:spPr>
            <c:extLst>
              <c:ext xmlns:c16="http://schemas.microsoft.com/office/drawing/2014/chart" uri="{C3380CC4-5D6E-409C-BE32-E72D297353CC}">
                <c16:uniqueId val="{00000451-86F4-458F-B5E5-D296EB1009DF}"/>
              </c:ext>
            </c:extLst>
          </c:dPt>
          <c:dPt>
            <c:idx val="552"/>
            <c:invertIfNegative val="1"/>
            <c:bubble3D val="0"/>
            <c:spPr>
              <a:solidFill>
                <a:srgbClr val="AEABAB"/>
              </a:solidFill>
            </c:spPr>
            <c:extLst>
              <c:ext xmlns:c16="http://schemas.microsoft.com/office/drawing/2014/chart" uri="{C3380CC4-5D6E-409C-BE32-E72D297353CC}">
                <c16:uniqueId val="{00000453-86F4-458F-B5E5-D296EB1009DF}"/>
              </c:ext>
            </c:extLst>
          </c:dPt>
          <c:dPt>
            <c:idx val="553"/>
            <c:invertIfNegative val="1"/>
            <c:bubble3D val="0"/>
            <c:spPr>
              <a:solidFill>
                <a:srgbClr val="AEABAB"/>
              </a:solidFill>
            </c:spPr>
            <c:extLst>
              <c:ext xmlns:c16="http://schemas.microsoft.com/office/drawing/2014/chart" uri="{C3380CC4-5D6E-409C-BE32-E72D297353CC}">
                <c16:uniqueId val="{00000455-86F4-458F-B5E5-D296EB1009DF}"/>
              </c:ext>
            </c:extLst>
          </c:dPt>
          <c:dPt>
            <c:idx val="554"/>
            <c:invertIfNegative val="1"/>
            <c:bubble3D val="0"/>
            <c:spPr>
              <a:solidFill>
                <a:srgbClr val="AEABAB"/>
              </a:solidFill>
            </c:spPr>
            <c:extLst>
              <c:ext xmlns:c16="http://schemas.microsoft.com/office/drawing/2014/chart" uri="{C3380CC4-5D6E-409C-BE32-E72D297353CC}">
                <c16:uniqueId val="{00000457-86F4-458F-B5E5-D296EB1009DF}"/>
              </c:ext>
            </c:extLst>
          </c:dPt>
          <c:dPt>
            <c:idx val="555"/>
            <c:invertIfNegative val="1"/>
            <c:bubble3D val="0"/>
            <c:spPr>
              <a:solidFill>
                <a:srgbClr val="AEABAB"/>
              </a:solidFill>
            </c:spPr>
            <c:extLst>
              <c:ext xmlns:c16="http://schemas.microsoft.com/office/drawing/2014/chart" uri="{C3380CC4-5D6E-409C-BE32-E72D297353CC}">
                <c16:uniqueId val="{00000459-86F4-458F-B5E5-D296EB1009DF}"/>
              </c:ext>
            </c:extLst>
          </c:dPt>
          <c:dPt>
            <c:idx val="556"/>
            <c:invertIfNegative val="1"/>
            <c:bubble3D val="0"/>
            <c:spPr>
              <a:solidFill>
                <a:srgbClr val="AEABAB"/>
              </a:solidFill>
            </c:spPr>
            <c:extLst>
              <c:ext xmlns:c16="http://schemas.microsoft.com/office/drawing/2014/chart" uri="{C3380CC4-5D6E-409C-BE32-E72D297353CC}">
                <c16:uniqueId val="{0000045B-86F4-458F-B5E5-D296EB1009DF}"/>
              </c:ext>
            </c:extLst>
          </c:dPt>
          <c:dPt>
            <c:idx val="557"/>
            <c:invertIfNegative val="1"/>
            <c:bubble3D val="0"/>
            <c:spPr>
              <a:solidFill>
                <a:srgbClr val="AEABAB"/>
              </a:solidFill>
            </c:spPr>
            <c:extLst>
              <c:ext xmlns:c16="http://schemas.microsoft.com/office/drawing/2014/chart" uri="{C3380CC4-5D6E-409C-BE32-E72D297353CC}">
                <c16:uniqueId val="{0000045D-86F4-458F-B5E5-D296EB1009DF}"/>
              </c:ext>
            </c:extLst>
          </c:dPt>
          <c:dPt>
            <c:idx val="558"/>
            <c:invertIfNegative val="1"/>
            <c:bubble3D val="0"/>
            <c:spPr>
              <a:solidFill>
                <a:srgbClr val="AEABAB"/>
              </a:solidFill>
            </c:spPr>
            <c:extLst>
              <c:ext xmlns:c16="http://schemas.microsoft.com/office/drawing/2014/chart" uri="{C3380CC4-5D6E-409C-BE32-E72D297353CC}">
                <c16:uniqueId val="{0000045F-86F4-458F-B5E5-D296EB1009DF}"/>
              </c:ext>
            </c:extLst>
          </c:dPt>
          <c:dPt>
            <c:idx val="559"/>
            <c:invertIfNegative val="1"/>
            <c:bubble3D val="0"/>
            <c:spPr>
              <a:solidFill>
                <a:srgbClr val="AEABAB"/>
              </a:solidFill>
            </c:spPr>
            <c:extLst>
              <c:ext xmlns:c16="http://schemas.microsoft.com/office/drawing/2014/chart" uri="{C3380CC4-5D6E-409C-BE32-E72D297353CC}">
                <c16:uniqueId val="{00000461-86F4-458F-B5E5-D296EB1009DF}"/>
              </c:ext>
            </c:extLst>
          </c:dPt>
          <c:dPt>
            <c:idx val="560"/>
            <c:invertIfNegative val="1"/>
            <c:bubble3D val="0"/>
            <c:spPr>
              <a:solidFill>
                <a:srgbClr val="AEABAB"/>
              </a:solidFill>
            </c:spPr>
            <c:extLst>
              <c:ext xmlns:c16="http://schemas.microsoft.com/office/drawing/2014/chart" uri="{C3380CC4-5D6E-409C-BE32-E72D297353CC}">
                <c16:uniqueId val="{00000463-86F4-458F-B5E5-D296EB1009DF}"/>
              </c:ext>
            </c:extLst>
          </c:dPt>
          <c:dPt>
            <c:idx val="561"/>
            <c:invertIfNegative val="1"/>
            <c:bubble3D val="0"/>
            <c:spPr>
              <a:solidFill>
                <a:srgbClr val="AEABAB"/>
              </a:solidFill>
            </c:spPr>
            <c:extLst>
              <c:ext xmlns:c16="http://schemas.microsoft.com/office/drawing/2014/chart" uri="{C3380CC4-5D6E-409C-BE32-E72D297353CC}">
                <c16:uniqueId val="{00000465-86F4-458F-B5E5-D296EB1009DF}"/>
              </c:ext>
            </c:extLst>
          </c:dPt>
          <c:dPt>
            <c:idx val="562"/>
            <c:invertIfNegative val="1"/>
            <c:bubble3D val="0"/>
            <c:spPr>
              <a:solidFill>
                <a:srgbClr val="AEABAB"/>
              </a:solidFill>
            </c:spPr>
            <c:extLst>
              <c:ext xmlns:c16="http://schemas.microsoft.com/office/drawing/2014/chart" uri="{C3380CC4-5D6E-409C-BE32-E72D297353CC}">
                <c16:uniqueId val="{00000467-86F4-458F-B5E5-D296EB1009DF}"/>
              </c:ext>
            </c:extLst>
          </c:dPt>
          <c:dPt>
            <c:idx val="563"/>
            <c:invertIfNegative val="1"/>
            <c:bubble3D val="0"/>
            <c:spPr>
              <a:solidFill>
                <a:srgbClr val="AEABAB"/>
              </a:solidFill>
            </c:spPr>
            <c:extLst>
              <c:ext xmlns:c16="http://schemas.microsoft.com/office/drawing/2014/chart" uri="{C3380CC4-5D6E-409C-BE32-E72D297353CC}">
                <c16:uniqueId val="{00000469-86F4-458F-B5E5-D296EB1009DF}"/>
              </c:ext>
            </c:extLst>
          </c:dPt>
          <c:dPt>
            <c:idx val="564"/>
            <c:invertIfNegative val="1"/>
            <c:bubble3D val="0"/>
            <c:spPr>
              <a:solidFill>
                <a:srgbClr val="AEABAB"/>
              </a:solidFill>
            </c:spPr>
            <c:extLst>
              <c:ext xmlns:c16="http://schemas.microsoft.com/office/drawing/2014/chart" uri="{C3380CC4-5D6E-409C-BE32-E72D297353CC}">
                <c16:uniqueId val="{0000046B-86F4-458F-B5E5-D296EB1009DF}"/>
              </c:ext>
            </c:extLst>
          </c:dPt>
          <c:dPt>
            <c:idx val="565"/>
            <c:invertIfNegative val="1"/>
            <c:bubble3D val="0"/>
            <c:spPr>
              <a:solidFill>
                <a:srgbClr val="AEABAB"/>
              </a:solidFill>
            </c:spPr>
            <c:extLst>
              <c:ext xmlns:c16="http://schemas.microsoft.com/office/drawing/2014/chart" uri="{C3380CC4-5D6E-409C-BE32-E72D297353CC}">
                <c16:uniqueId val="{0000046D-86F4-458F-B5E5-D296EB1009DF}"/>
              </c:ext>
            </c:extLst>
          </c:dPt>
          <c:dPt>
            <c:idx val="566"/>
            <c:invertIfNegative val="1"/>
            <c:bubble3D val="0"/>
            <c:spPr>
              <a:solidFill>
                <a:srgbClr val="AEABAB"/>
              </a:solidFill>
            </c:spPr>
            <c:extLst>
              <c:ext xmlns:c16="http://schemas.microsoft.com/office/drawing/2014/chart" uri="{C3380CC4-5D6E-409C-BE32-E72D297353CC}">
                <c16:uniqueId val="{0000046F-86F4-458F-B5E5-D296EB1009DF}"/>
              </c:ext>
            </c:extLst>
          </c:dPt>
          <c:dPt>
            <c:idx val="567"/>
            <c:invertIfNegative val="1"/>
            <c:bubble3D val="0"/>
            <c:spPr>
              <a:solidFill>
                <a:srgbClr val="AEABAB"/>
              </a:solidFill>
            </c:spPr>
            <c:extLst>
              <c:ext xmlns:c16="http://schemas.microsoft.com/office/drawing/2014/chart" uri="{C3380CC4-5D6E-409C-BE32-E72D297353CC}">
                <c16:uniqueId val="{00000471-86F4-458F-B5E5-D296EB1009DF}"/>
              </c:ext>
            </c:extLst>
          </c:dPt>
          <c:dPt>
            <c:idx val="568"/>
            <c:invertIfNegative val="1"/>
            <c:bubble3D val="0"/>
            <c:spPr>
              <a:solidFill>
                <a:srgbClr val="AEABAB"/>
              </a:solidFill>
            </c:spPr>
            <c:extLst>
              <c:ext xmlns:c16="http://schemas.microsoft.com/office/drawing/2014/chart" uri="{C3380CC4-5D6E-409C-BE32-E72D297353CC}">
                <c16:uniqueId val="{00000473-86F4-458F-B5E5-D296EB1009DF}"/>
              </c:ext>
            </c:extLst>
          </c:dPt>
          <c:dPt>
            <c:idx val="569"/>
            <c:invertIfNegative val="1"/>
            <c:bubble3D val="0"/>
            <c:spPr>
              <a:solidFill>
                <a:srgbClr val="AEABAB"/>
              </a:solidFill>
            </c:spPr>
            <c:extLst>
              <c:ext xmlns:c16="http://schemas.microsoft.com/office/drawing/2014/chart" uri="{C3380CC4-5D6E-409C-BE32-E72D297353CC}">
                <c16:uniqueId val="{00000475-86F4-458F-B5E5-D296EB1009DF}"/>
              </c:ext>
            </c:extLst>
          </c:dPt>
          <c:dPt>
            <c:idx val="570"/>
            <c:invertIfNegative val="1"/>
            <c:bubble3D val="0"/>
            <c:spPr>
              <a:solidFill>
                <a:srgbClr val="AEABAB"/>
              </a:solidFill>
            </c:spPr>
            <c:extLst>
              <c:ext xmlns:c16="http://schemas.microsoft.com/office/drawing/2014/chart" uri="{C3380CC4-5D6E-409C-BE32-E72D297353CC}">
                <c16:uniqueId val="{00000477-86F4-458F-B5E5-D296EB1009DF}"/>
              </c:ext>
            </c:extLst>
          </c:dPt>
          <c:dPt>
            <c:idx val="571"/>
            <c:invertIfNegative val="1"/>
            <c:bubble3D val="0"/>
            <c:spPr>
              <a:solidFill>
                <a:srgbClr val="AEABAB"/>
              </a:solidFill>
            </c:spPr>
            <c:extLst>
              <c:ext xmlns:c16="http://schemas.microsoft.com/office/drawing/2014/chart" uri="{C3380CC4-5D6E-409C-BE32-E72D297353CC}">
                <c16:uniqueId val="{00000479-86F4-458F-B5E5-D296EB1009DF}"/>
              </c:ext>
            </c:extLst>
          </c:dPt>
          <c:dPt>
            <c:idx val="572"/>
            <c:invertIfNegative val="1"/>
            <c:bubble3D val="0"/>
            <c:spPr>
              <a:solidFill>
                <a:srgbClr val="AEABAB"/>
              </a:solidFill>
            </c:spPr>
            <c:extLst>
              <c:ext xmlns:c16="http://schemas.microsoft.com/office/drawing/2014/chart" uri="{C3380CC4-5D6E-409C-BE32-E72D297353CC}">
                <c16:uniqueId val="{0000047B-86F4-458F-B5E5-D296EB1009DF}"/>
              </c:ext>
            </c:extLst>
          </c:dPt>
          <c:dPt>
            <c:idx val="573"/>
            <c:invertIfNegative val="1"/>
            <c:bubble3D val="0"/>
            <c:spPr>
              <a:solidFill>
                <a:srgbClr val="AEABAB"/>
              </a:solidFill>
            </c:spPr>
            <c:extLst>
              <c:ext xmlns:c16="http://schemas.microsoft.com/office/drawing/2014/chart" uri="{C3380CC4-5D6E-409C-BE32-E72D297353CC}">
                <c16:uniqueId val="{0000047D-86F4-458F-B5E5-D296EB1009DF}"/>
              </c:ext>
            </c:extLst>
          </c:dPt>
          <c:dPt>
            <c:idx val="574"/>
            <c:invertIfNegative val="1"/>
            <c:bubble3D val="0"/>
            <c:spPr>
              <a:solidFill>
                <a:srgbClr val="AEABAB"/>
              </a:solidFill>
            </c:spPr>
            <c:extLst>
              <c:ext xmlns:c16="http://schemas.microsoft.com/office/drawing/2014/chart" uri="{C3380CC4-5D6E-409C-BE32-E72D297353CC}">
                <c16:uniqueId val="{0000047F-86F4-458F-B5E5-D296EB1009DF}"/>
              </c:ext>
            </c:extLst>
          </c:dPt>
          <c:dPt>
            <c:idx val="575"/>
            <c:invertIfNegative val="1"/>
            <c:bubble3D val="0"/>
            <c:spPr>
              <a:solidFill>
                <a:srgbClr val="AEABAB"/>
              </a:solidFill>
            </c:spPr>
            <c:extLst>
              <c:ext xmlns:c16="http://schemas.microsoft.com/office/drawing/2014/chart" uri="{C3380CC4-5D6E-409C-BE32-E72D297353CC}">
                <c16:uniqueId val="{00000481-86F4-458F-B5E5-D296EB1009DF}"/>
              </c:ext>
            </c:extLst>
          </c:dPt>
          <c:dPt>
            <c:idx val="576"/>
            <c:invertIfNegative val="1"/>
            <c:bubble3D val="0"/>
            <c:spPr>
              <a:solidFill>
                <a:srgbClr val="AEABAB"/>
              </a:solidFill>
            </c:spPr>
            <c:extLst>
              <c:ext xmlns:c16="http://schemas.microsoft.com/office/drawing/2014/chart" uri="{C3380CC4-5D6E-409C-BE32-E72D297353CC}">
                <c16:uniqueId val="{00000483-86F4-458F-B5E5-D296EB1009DF}"/>
              </c:ext>
            </c:extLst>
          </c:dPt>
          <c:dPt>
            <c:idx val="577"/>
            <c:invertIfNegative val="1"/>
            <c:bubble3D val="0"/>
            <c:spPr>
              <a:solidFill>
                <a:srgbClr val="AEABAB"/>
              </a:solidFill>
            </c:spPr>
            <c:extLst>
              <c:ext xmlns:c16="http://schemas.microsoft.com/office/drawing/2014/chart" uri="{C3380CC4-5D6E-409C-BE32-E72D297353CC}">
                <c16:uniqueId val="{00000485-86F4-458F-B5E5-D296EB1009DF}"/>
              </c:ext>
            </c:extLst>
          </c:dPt>
          <c:dPt>
            <c:idx val="578"/>
            <c:invertIfNegative val="1"/>
            <c:bubble3D val="0"/>
            <c:spPr>
              <a:solidFill>
                <a:srgbClr val="AEABAB"/>
              </a:solidFill>
            </c:spPr>
            <c:extLst>
              <c:ext xmlns:c16="http://schemas.microsoft.com/office/drawing/2014/chart" uri="{C3380CC4-5D6E-409C-BE32-E72D297353CC}">
                <c16:uniqueId val="{00000487-86F4-458F-B5E5-D296EB1009DF}"/>
              </c:ext>
            </c:extLst>
          </c:dPt>
          <c:dPt>
            <c:idx val="579"/>
            <c:invertIfNegative val="1"/>
            <c:bubble3D val="0"/>
            <c:spPr>
              <a:solidFill>
                <a:srgbClr val="AEABAB"/>
              </a:solidFill>
            </c:spPr>
            <c:extLst>
              <c:ext xmlns:c16="http://schemas.microsoft.com/office/drawing/2014/chart" uri="{C3380CC4-5D6E-409C-BE32-E72D297353CC}">
                <c16:uniqueId val="{00000489-86F4-458F-B5E5-D296EB1009DF}"/>
              </c:ext>
            </c:extLst>
          </c:dPt>
          <c:dPt>
            <c:idx val="580"/>
            <c:invertIfNegative val="1"/>
            <c:bubble3D val="0"/>
            <c:spPr>
              <a:solidFill>
                <a:srgbClr val="AEABAB"/>
              </a:solidFill>
            </c:spPr>
            <c:extLst>
              <c:ext xmlns:c16="http://schemas.microsoft.com/office/drawing/2014/chart" uri="{C3380CC4-5D6E-409C-BE32-E72D297353CC}">
                <c16:uniqueId val="{0000048B-86F4-458F-B5E5-D296EB1009DF}"/>
              </c:ext>
            </c:extLst>
          </c:dPt>
          <c:dPt>
            <c:idx val="581"/>
            <c:invertIfNegative val="1"/>
            <c:bubble3D val="0"/>
            <c:spPr>
              <a:solidFill>
                <a:srgbClr val="AEABAB"/>
              </a:solidFill>
            </c:spPr>
            <c:extLst>
              <c:ext xmlns:c16="http://schemas.microsoft.com/office/drawing/2014/chart" uri="{C3380CC4-5D6E-409C-BE32-E72D297353CC}">
                <c16:uniqueId val="{0000048D-86F4-458F-B5E5-D296EB1009DF}"/>
              </c:ext>
            </c:extLst>
          </c:dPt>
          <c:dPt>
            <c:idx val="582"/>
            <c:invertIfNegative val="1"/>
            <c:bubble3D val="0"/>
            <c:spPr>
              <a:solidFill>
                <a:srgbClr val="AEABAB"/>
              </a:solidFill>
            </c:spPr>
            <c:extLst>
              <c:ext xmlns:c16="http://schemas.microsoft.com/office/drawing/2014/chart" uri="{C3380CC4-5D6E-409C-BE32-E72D297353CC}">
                <c16:uniqueId val="{0000048F-86F4-458F-B5E5-D296EB1009DF}"/>
              </c:ext>
            </c:extLst>
          </c:dPt>
          <c:dPt>
            <c:idx val="583"/>
            <c:invertIfNegative val="1"/>
            <c:bubble3D val="0"/>
            <c:spPr>
              <a:solidFill>
                <a:srgbClr val="AEABAB"/>
              </a:solidFill>
            </c:spPr>
            <c:extLst>
              <c:ext xmlns:c16="http://schemas.microsoft.com/office/drawing/2014/chart" uri="{C3380CC4-5D6E-409C-BE32-E72D297353CC}">
                <c16:uniqueId val="{00000491-86F4-458F-B5E5-D296EB1009DF}"/>
              </c:ext>
            </c:extLst>
          </c:dPt>
          <c:dPt>
            <c:idx val="584"/>
            <c:invertIfNegative val="1"/>
            <c:bubble3D val="0"/>
            <c:spPr>
              <a:solidFill>
                <a:srgbClr val="AEABAB"/>
              </a:solidFill>
            </c:spPr>
            <c:extLst>
              <c:ext xmlns:c16="http://schemas.microsoft.com/office/drawing/2014/chart" uri="{C3380CC4-5D6E-409C-BE32-E72D297353CC}">
                <c16:uniqueId val="{00000493-86F4-458F-B5E5-D296EB1009DF}"/>
              </c:ext>
            </c:extLst>
          </c:dPt>
          <c:dPt>
            <c:idx val="585"/>
            <c:invertIfNegative val="1"/>
            <c:bubble3D val="0"/>
            <c:spPr>
              <a:solidFill>
                <a:srgbClr val="AEABAB"/>
              </a:solidFill>
            </c:spPr>
            <c:extLst>
              <c:ext xmlns:c16="http://schemas.microsoft.com/office/drawing/2014/chart" uri="{C3380CC4-5D6E-409C-BE32-E72D297353CC}">
                <c16:uniqueId val="{00000495-86F4-458F-B5E5-D296EB1009DF}"/>
              </c:ext>
            </c:extLst>
          </c:dPt>
          <c:dPt>
            <c:idx val="586"/>
            <c:invertIfNegative val="1"/>
            <c:bubble3D val="0"/>
            <c:spPr>
              <a:solidFill>
                <a:srgbClr val="AEABAB"/>
              </a:solidFill>
            </c:spPr>
            <c:extLst>
              <c:ext xmlns:c16="http://schemas.microsoft.com/office/drawing/2014/chart" uri="{C3380CC4-5D6E-409C-BE32-E72D297353CC}">
                <c16:uniqueId val="{00000497-86F4-458F-B5E5-D296EB1009DF}"/>
              </c:ext>
            </c:extLst>
          </c:dPt>
          <c:dPt>
            <c:idx val="587"/>
            <c:invertIfNegative val="1"/>
            <c:bubble3D val="0"/>
            <c:spPr>
              <a:solidFill>
                <a:srgbClr val="AEABAB"/>
              </a:solidFill>
            </c:spPr>
            <c:extLst>
              <c:ext xmlns:c16="http://schemas.microsoft.com/office/drawing/2014/chart" uri="{C3380CC4-5D6E-409C-BE32-E72D297353CC}">
                <c16:uniqueId val="{00000499-86F4-458F-B5E5-D296EB1009DF}"/>
              </c:ext>
            </c:extLst>
          </c:dPt>
          <c:dPt>
            <c:idx val="588"/>
            <c:invertIfNegative val="1"/>
            <c:bubble3D val="0"/>
            <c:spPr>
              <a:solidFill>
                <a:srgbClr val="AEABAB"/>
              </a:solidFill>
            </c:spPr>
            <c:extLst>
              <c:ext xmlns:c16="http://schemas.microsoft.com/office/drawing/2014/chart" uri="{C3380CC4-5D6E-409C-BE32-E72D297353CC}">
                <c16:uniqueId val="{0000049B-86F4-458F-B5E5-D296EB1009DF}"/>
              </c:ext>
            </c:extLst>
          </c:dPt>
          <c:dPt>
            <c:idx val="589"/>
            <c:invertIfNegative val="1"/>
            <c:bubble3D val="0"/>
            <c:spPr>
              <a:solidFill>
                <a:srgbClr val="AEABAB"/>
              </a:solidFill>
            </c:spPr>
            <c:extLst>
              <c:ext xmlns:c16="http://schemas.microsoft.com/office/drawing/2014/chart" uri="{C3380CC4-5D6E-409C-BE32-E72D297353CC}">
                <c16:uniqueId val="{0000049D-86F4-458F-B5E5-D296EB1009DF}"/>
              </c:ext>
            </c:extLst>
          </c:dPt>
          <c:dPt>
            <c:idx val="590"/>
            <c:invertIfNegative val="1"/>
            <c:bubble3D val="0"/>
            <c:spPr>
              <a:solidFill>
                <a:srgbClr val="AEABAB"/>
              </a:solidFill>
            </c:spPr>
            <c:extLst>
              <c:ext xmlns:c16="http://schemas.microsoft.com/office/drawing/2014/chart" uri="{C3380CC4-5D6E-409C-BE32-E72D297353CC}">
                <c16:uniqueId val="{0000049F-86F4-458F-B5E5-D296EB1009DF}"/>
              </c:ext>
            </c:extLst>
          </c:dPt>
          <c:dPt>
            <c:idx val="591"/>
            <c:invertIfNegative val="1"/>
            <c:bubble3D val="0"/>
            <c:spPr>
              <a:solidFill>
                <a:srgbClr val="AEABAB"/>
              </a:solidFill>
            </c:spPr>
            <c:extLst>
              <c:ext xmlns:c16="http://schemas.microsoft.com/office/drawing/2014/chart" uri="{C3380CC4-5D6E-409C-BE32-E72D297353CC}">
                <c16:uniqueId val="{000004A1-86F4-458F-B5E5-D296EB1009DF}"/>
              </c:ext>
            </c:extLst>
          </c:dPt>
          <c:dPt>
            <c:idx val="592"/>
            <c:invertIfNegative val="1"/>
            <c:bubble3D val="0"/>
            <c:spPr>
              <a:solidFill>
                <a:srgbClr val="AEABAB"/>
              </a:solidFill>
            </c:spPr>
            <c:extLst>
              <c:ext xmlns:c16="http://schemas.microsoft.com/office/drawing/2014/chart" uri="{C3380CC4-5D6E-409C-BE32-E72D297353CC}">
                <c16:uniqueId val="{000004A3-86F4-458F-B5E5-D296EB1009DF}"/>
              </c:ext>
            </c:extLst>
          </c:dPt>
          <c:dPt>
            <c:idx val="593"/>
            <c:invertIfNegative val="1"/>
            <c:bubble3D val="0"/>
            <c:spPr>
              <a:solidFill>
                <a:srgbClr val="AEABAB"/>
              </a:solidFill>
            </c:spPr>
            <c:extLst>
              <c:ext xmlns:c16="http://schemas.microsoft.com/office/drawing/2014/chart" uri="{C3380CC4-5D6E-409C-BE32-E72D297353CC}">
                <c16:uniqueId val="{000004A5-86F4-458F-B5E5-D296EB1009DF}"/>
              </c:ext>
            </c:extLst>
          </c:dPt>
          <c:dPt>
            <c:idx val="594"/>
            <c:invertIfNegative val="1"/>
            <c:bubble3D val="0"/>
            <c:spPr>
              <a:solidFill>
                <a:srgbClr val="AEABAB"/>
              </a:solidFill>
            </c:spPr>
            <c:extLst>
              <c:ext xmlns:c16="http://schemas.microsoft.com/office/drawing/2014/chart" uri="{C3380CC4-5D6E-409C-BE32-E72D297353CC}">
                <c16:uniqueId val="{000004A7-86F4-458F-B5E5-D296EB1009DF}"/>
              </c:ext>
            </c:extLst>
          </c:dPt>
          <c:dPt>
            <c:idx val="595"/>
            <c:invertIfNegative val="1"/>
            <c:bubble3D val="0"/>
            <c:spPr>
              <a:solidFill>
                <a:srgbClr val="AEABAB"/>
              </a:solidFill>
            </c:spPr>
            <c:extLst>
              <c:ext xmlns:c16="http://schemas.microsoft.com/office/drawing/2014/chart" uri="{C3380CC4-5D6E-409C-BE32-E72D297353CC}">
                <c16:uniqueId val="{000004A9-86F4-458F-B5E5-D296EB1009DF}"/>
              </c:ext>
            </c:extLst>
          </c:dPt>
          <c:dPt>
            <c:idx val="596"/>
            <c:invertIfNegative val="1"/>
            <c:bubble3D val="0"/>
            <c:spPr>
              <a:solidFill>
                <a:srgbClr val="AEABAB"/>
              </a:solidFill>
            </c:spPr>
            <c:extLst>
              <c:ext xmlns:c16="http://schemas.microsoft.com/office/drawing/2014/chart" uri="{C3380CC4-5D6E-409C-BE32-E72D297353CC}">
                <c16:uniqueId val="{000004AB-86F4-458F-B5E5-D296EB1009DF}"/>
              </c:ext>
            </c:extLst>
          </c:dPt>
          <c:dPt>
            <c:idx val="597"/>
            <c:invertIfNegative val="1"/>
            <c:bubble3D val="0"/>
            <c:spPr>
              <a:solidFill>
                <a:srgbClr val="AEABAB"/>
              </a:solidFill>
            </c:spPr>
            <c:extLst>
              <c:ext xmlns:c16="http://schemas.microsoft.com/office/drawing/2014/chart" uri="{C3380CC4-5D6E-409C-BE32-E72D297353CC}">
                <c16:uniqueId val="{000004AD-86F4-458F-B5E5-D296EB1009DF}"/>
              </c:ext>
            </c:extLst>
          </c:dPt>
          <c:dPt>
            <c:idx val="598"/>
            <c:invertIfNegative val="1"/>
            <c:bubble3D val="0"/>
            <c:spPr>
              <a:solidFill>
                <a:srgbClr val="AEABAB"/>
              </a:solidFill>
            </c:spPr>
            <c:extLst>
              <c:ext xmlns:c16="http://schemas.microsoft.com/office/drawing/2014/chart" uri="{C3380CC4-5D6E-409C-BE32-E72D297353CC}">
                <c16:uniqueId val="{000004AF-86F4-458F-B5E5-D296EB1009DF}"/>
              </c:ext>
            </c:extLst>
          </c:dPt>
          <c:dPt>
            <c:idx val="599"/>
            <c:invertIfNegative val="1"/>
            <c:bubble3D val="0"/>
            <c:spPr>
              <a:solidFill>
                <a:srgbClr val="AEABAB"/>
              </a:solidFill>
            </c:spPr>
            <c:extLst>
              <c:ext xmlns:c16="http://schemas.microsoft.com/office/drawing/2014/chart" uri="{C3380CC4-5D6E-409C-BE32-E72D297353CC}">
                <c16:uniqueId val="{000004B1-86F4-458F-B5E5-D296EB1009DF}"/>
              </c:ext>
            </c:extLst>
          </c:dPt>
          <c:dPt>
            <c:idx val="600"/>
            <c:invertIfNegative val="1"/>
            <c:bubble3D val="0"/>
            <c:spPr>
              <a:solidFill>
                <a:srgbClr val="AEABAB"/>
              </a:solidFill>
            </c:spPr>
            <c:extLst>
              <c:ext xmlns:c16="http://schemas.microsoft.com/office/drawing/2014/chart" uri="{C3380CC4-5D6E-409C-BE32-E72D297353CC}">
                <c16:uniqueId val="{000004B3-86F4-458F-B5E5-D296EB1009DF}"/>
              </c:ext>
            </c:extLst>
          </c:dPt>
          <c:dPt>
            <c:idx val="601"/>
            <c:invertIfNegative val="1"/>
            <c:bubble3D val="0"/>
            <c:spPr>
              <a:solidFill>
                <a:srgbClr val="AEABAB"/>
              </a:solidFill>
            </c:spPr>
            <c:extLst>
              <c:ext xmlns:c16="http://schemas.microsoft.com/office/drawing/2014/chart" uri="{C3380CC4-5D6E-409C-BE32-E72D297353CC}">
                <c16:uniqueId val="{000004B5-86F4-458F-B5E5-D296EB1009DF}"/>
              </c:ext>
            </c:extLst>
          </c:dPt>
          <c:dPt>
            <c:idx val="602"/>
            <c:invertIfNegative val="1"/>
            <c:bubble3D val="0"/>
            <c:spPr>
              <a:solidFill>
                <a:srgbClr val="AEABAB"/>
              </a:solidFill>
            </c:spPr>
            <c:extLst>
              <c:ext xmlns:c16="http://schemas.microsoft.com/office/drawing/2014/chart" uri="{C3380CC4-5D6E-409C-BE32-E72D297353CC}">
                <c16:uniqueId val="{000004B7-86F4-458F-B5E5-D296EB1009DF}"/>
              </c:ext>
            </c:extLst>
          </c:dPt>
          <c:dPt>
            <c:idx val="603"/>
            <c:invertIfNegative val="1"/>
            <c:bubble3D val="0"/>
            <c:spPr>
              <a:solidFill>
                <a:srgbClr val="AEABAB"/>
              </a:solidFill>
            </c:spPr>
            <c:extLst>
              <c:ext xmlns:c16="http://schemas.microsoft.com/office/drawing/2014/chart" uri="{C3380CC4-5D6E-409C-BE32-E72D297353CC}">
                <c16:uniqueId val="{000004B9-86F4-458F-B5E5-D296EB1009DF}"/>
              </c:ext>
            </c:extLst>
          </c:dPt>
          <c:dPt>
            <c:idx val="604"/>
            <c:invertIfNegative val="1"/>
            <c:bubble3D val="0"/>
            <c:spPr>
              <a:solidFill>
                <a:srgbClr val="AEABAB"/>
              </a:solidFill>
            </c:spPr>
            <c:extLst>
              <c:ext xmlns:c16="http://schemas.microsoft.com/office/drawing/2014/chart" uri="{C3380CC4-5D6E-409C-BE32-E72D297353CC}">
                <c16:uniqueId val="{000004BB-86F4-458F-B5E5-D296EB1009DF}"/>
              </c:ext>
            </c:extLst>
          </c:dPt>
          <c:dPt>
            <c:idx val="605"/>
            <c:invertIfNegative val="1"/>
            <c:bubble3D val="0"/>
            <c:spPr>
              <a:solidFill>
                <a:srgbClr val="AEABAB"/>
              </a:solidFill>
            </c:spPr>
            <c:extLst>
              <c:ext xmlns:c16="http://schemas.microsoft.com/office/drawing/2014/chart" uri="{C3380CC4-5D6E-409C-BE32-E72D297353CC}">
                <c16:uniqueId val="{000004BD-86F4-458F-B5E5-D296EB1009DF}"/>
              </c:ext>
            </c:extLst>
          </c:dPt>
          <c:dPt>
            <c:idx val="606"/>
            <c:invertIfNegative val="1"/>
            <c:bubble3D val="0"/>
            <c:spPr>
              <a:solidFill>
                <a:srgbClr val="AEABAB"/>
              </a:solidFill>
            </c:spPr>
            <c:extLst>
              <c:ext xmlns:c16="http://schemas.microsoft.com/office/drawing/2014/chart" uri="{C3380CC4-5D6E-409C-BE32-E72D297353CC}">
                <c16:uniqueId val="{000004BF-86F4-458F-B5E5-D296EB1009DF}"/>
              </c:ext>
            </c:extLst>
          </c:dPt>
          <c:dPt>
            <c:idx val="607"/>
            <c:invertIfNegative val="1"/>
            <c:bubble3D val="0"/>
            <c:spPr>
              <a:solidFill>
                <a:srgbClr val="AEABAB"/>
              </a:solidFill>
            </c:spPr>
            <c:extLst>
              <c:ext xmlns:c16="http://schemas.microsoft.com/office/drawing/2014/chart" uri="{C3380CC4-5D6E-409C-BE32-E72D297353CC}">
                <c16:uniqueId val="{000004C1-86F4-458F-B5E5-D296EB1009DF}"/>
              </c:ext>
            </c:extLst>
          </c:dPt>
          <c:dPt>
            <c:idx val="608"/>
            <c:invertIfNegative val="1"/>
            <c:bubble3D val="0"/>
            <c:spPr>
              <a:solidFill>
                <a:srgbClr val="AEABAB"/>
              </a:solidFill>
            </c:spPr>
            <c:extLst>
              <c:ext xmlns:c16="http://schemas.microsoft.com/office/drawing/2014/chart" uri="{C3380CC4-5D6E-409C-BE32-E72D297353CC}">
                <c16:uniqueId val="{000004C3-86F4-458F-B5E5-D296EB1009DF}"/>
              </c:ext>
            </c:extLst>
          </c:dPt>
          <c:dPt>
            <c:idx val="609"/>
            <c:invertIfNegative val="1"/>
            <c:bubble3D val="0"/>
            <c:spPr>
              <a:solidFill>
                <a:srgbClr val="AEABAB"/>
              </a:solidFill>
            </c:spPr>
            <c:extLst>
              <c:ext xmlns:c16="http://schemas.microsoft.com/office/drawing/2014/chart" uri="{C3380CC4-5D6E-409C-BE32-E72D297353CC}">
                <c16:uniqueId val="{000004C5-86F4-458F-B5E5-D296EB1009DF}"/>
              </c:ext>
            </c:extLst>
          </c:dPt>
          <c:dPt>
            <c:idx val="610"/>
            <c:invertIfNegative val="1"/>
            <c:bubble3D val="0"/>
            <c:spPr>
              <a:solidFill>
                <a:srgbClr val="AEABAB"/>
              </a:solidFill>
            </c:spPr>
            <c:extLst>
              <c:ext xmlns:c16="http://schemas.microsoft.com/office/drawing/2014/chart" uri="{C3380CC4-5D6E-409C-BE32-E72D297353CC}">
                <c16:uniqueId val="{000004C7-86F4-458F-B5E5-D296EB1009DF}"/>
              </c:ext>
            </c:extLst>
          </c:dPt>
          <c:dPt>
            <c:idx val="611"/>
            <c:invertIfNegative val="1"/>
            <c:bubble3D val="0"/>
            <c:spPr>
              <a:solidFill>
                <a:srgbClr val="AEABAB"/>
              </a:solidFill>
            </c:spPr>
            <c:extLst>
              <c:ext xmlns:c16="http://schemas.microsoft.com/office/drawing/2014/chart" uri="{C3380CC4-5D6E-409C-BE32-E72D297353CC}">
                <c16:uniqueId val="{000004C9-86F4-458F-B5E5-D296EB1009DF}"/>
              </c:ext>
            </c:extLst>
          </c:dPt>
          <c:dPt>
            <c:idx val="612"/>
            <c:invertIfNegative val="1"/>
            <c:bubble3D val="0"/>
            <c:spPr>
              <a:solidFill>
                <a:srgbClr val="AEABAB"/>
              </a:solidFill>
            </c:spPr>
            <c:extLst>
              <c:ext xmlns:c16="http://schemas.microsoft.com/office/drawing/2014/chart" uri="{C3380CC4-5D6E-409C-BE32-E72D297353CC}">
                <c16:uniqueId val="{000004CB-86F4-458F-B5E5-D296EB1009DF}"/>
              </c:ext>
            </c:extLst>
          </c:dPt>
          <c:dPt>
            <c:idx val="613"/>
            <c:invertIfNegative val="1"/>
            <c:bubble3D val="0"/>
            <c:spPr>
              <a:solidFill>
                <a:srgbClr val="AEABAB"/>
              </a:solidFill>
            </c:spPr>
            <c:extLst>
              <c:ext xmlns:c16="http://schemas.microsoft.com/office/drawing/2014/chart" uri="{C3380CC4-5D6E-409C-BE32-E72D297353CC}">
                <c16:uniqueId val="{000004CD-86F4-458F-B5E5-D296EB1009DF}"/>
              </c:ext>
            </c:extLst>
          </c:dPt>
          <c:dPt>
            <c:idx val="614"/>
            <c:invertIfNegative val="1"/>
            <c:bubble3D val="0"/>
            <c:spPr>
              <a:solidFill>
                <a:srgbClr val="AEABAB"/>
              </a:solidFill>
            </c:spPr>
            <c:extLst>
              <c:ext xmlns:c16="http://schemas.microsoft.com/office/drawing/2014/chart" uri="{C3380CC4-5D6E-409C-BE32-E72D297353CC}">
                <c16:uniqueId val="{000004CF-86F4-458F-B5E5-D296EB1009DF}"/>
              </c:ext>
            </c:extLst>
          </c:dPt>
          <c:dPt>
            <c:idx val="615"/>
            <c:invertIfNegative val="1"/>
            <c:bubble3D val="0"/>
            <c:spPr>
              <a:solidFill>
                <a:srgbClr val="AEABAB"/>
              </a:solidFill>
            </c:spPr>
            <c:extLst>
              <c:ext xmlns:c16="http://schemas.microsoft.com/office/drawing/2014/chart" uri="{C3380CC4-5D6E-409C-BE32-E72D297353CC}">
                <c16:uniqueId val="{000004D1-86F4-458F-B5E5-D296EB1009DF}"/>
              </c:ext>
            </c:extLst>
          </c:dPt>
          <c:dPt>
            <c:idx val="616"/>
            <c:invertIfNegative val="1"/>
            <c:bubble3D val="0"/>
            <c:spPr>
              <a:solidFill>
                <a:srgbClr val="AEABAB"/>
              </a:solidFill>
            </c:spPr>
            <c:extLst>
              <c:ext xmlns:c16="http://schemas.microsoft.com/office/drawing/2014/chart" uri="{C3380CC4-5D6E-409C-BE32-E72D297353CC}">
                <c16:uniqueId val="{000004D3-86F4-458F-B5E5-D296EB1009DF}"/>
              </c:ext>
            </c:extLst>
          </c:dPt>
          <c:dPt>
            <c:idx val="617"/>
            <c:invertIfNegative val="1"/>
            <c:bubble3D val="0"/>
            <c:spPr>
              <a:solidFill>
                <a:srgbClr val="AEABAB"/>
              </a:solidFill>
            </c:spPr>
            <c:extLst>
              <c:ext xmlns:c16="http://schemas.microsoft.com/office/drawing/2014/chart" uri="{C3380CC4-5D6E-409C-BE32-E72D297353CC}">
                <c16:uniqueId val="{000004D5-86F4-458F-B5E5-D296EB1009DF}"/>
              </c:ext>
            </c:extLst>
          </c:dPt>
          <c:dPt>
            <c:idx val="618"/>
            <c:invertIfNegative val="1"/>
            <c:bubble3D val="0"/>
            <c:spPr>
              <a:solidFill>
                <a:srgbClr val="AEABAB"/>
              </a:solidFill>
            </c:spPr>
            <c:extLst>
              <c:ext xmlns:c16="http://schemas.microsoft.com/office/drawing/2014/chart" uri="{C3380CC4-5D6E-409C-BE32-E72D297353CC}">
                <c16:uniqueId val="{000004D7-86F4-458F-B5E5-D296EB1009DF}"/>
              </c:ext>
            </c:extLst>
          </c:dPt>
          <c:dPt>
            <c:idx val="619"/>
            <c:invertIfNegative val="1"/>
            <c:bubble3D val="0"/>
            <c:spPr>
              <a:solidFill>
                <a:srgbClr val="AEABAB"/>
              </a:solidFill>
            </c:spPr>
            <c:extLst>
              <c:ext xmlns:c16="http://schemas.microsoft.com/office/drawing/2014/chart" uri="{C3380CC4-5D6E-409C-BE32-E72D297353CC}">
                <c16:uniqueId val="{000004D9-86F4-458F-B5E5-D296EB1009DF}"/>
              </c:ext>
            </c:extLst>
          </c:dPt>
          <c:dPt>
            <c:idx val="620"/>
            <c:invertIfNegative val="1"/>
            <c:bubble3D val="0"/>
            <c:spPr>
              <a:solidFill>
                <a:srgbClr val="AEABAB"/>
              </a:solidFill>
            </c:spPr>
            <c:extLst>
              <c:ext xmlns:c16="http://schemas.microsoft.com/office/drawing/2014/chart" uri="{C3380CC4-5D6E-409C-BE32-E72D297353CC}">
                <c16:uniqueId val="{000004DB-86F4-458F-B5E5-D296EB1009DF}"/>
              </c:ext>
            </c:extLst>
          </c:dPt>
          <c:dPt>
            <c:idx val="621"/>
            <c:invertIfNegative val="1"/>
            <c:bubble3D val="0"/>
            <c:spPr>
              <a:solidFill>
                <a:srgbClr val="AEABAB"/>
              </a:solidFill>
            </c:spPr>
            <c:extLst>
              <c:ext xmlns:c16="http://schemas.microsoft.com/office/drawing/2014/chart" uri="{C3380CC4-5D6E-409C-BE32-E72D297353CC}">
                <c16:uniqueId val="{000004DD-86F4-458F-B5E5-D296EB1009DF}"/>
              </c:ext>
            </c:extLst>
          </c:dPt>
          <c:dPt>
            <c:idx val="622"/>
            <c:invertIfNegative val="1"/>
            <c:bubble3D val="0"/>
            <c:spPr>
              <a:solidFill>
                <a:srgbClr val="AEABAB"/>
              </a:solidFill>
            </c:spPr>
            <c:extLst>
              <c:ext xmlns:c16="http://schemas.microsoft.com/office/drawing/2014/chart" uri="{C3380CC4-5D6E-409C-BE32-E72D297353CC}">
                <c16:uniqueId val="{000004DF-86F4-458F-B5E5-D296EB1009DF}"/>
              </c:ext>
            </c:extLst>
          </c:dPt>
          <c:dPt>
            <c:idx val="623"/>
            <c:invertIfNegative val="1"/>
            <c:bubble3D val="0"/>
            <c:spPr>
              <a:solidFill>
                <a:srgbClr val="AEABAB"/>
              </a:solidFill>
            </c:spPr>
            <c:extLst>
              <c:ext xmlns:c16="http://schemas.microsoft.com/office/drawing/2014/chart" uri="{C3380CC4-5D6E-409C-BE32-E72D297353CC}">
                <c16:uniqueId val="{000004E1-86F4-458F-B5E5-D296EB1009DF}"/>
              </c:ext>
            </c:extLst>
          </c:dPt>
          <c:dPt>
            <c:idx val="624"/>
            <c:invertIfNegative val="1"/>
            <c:bubble3D val="0"/>
            <c:spPr>
              <a:solidFill>
                <a:srgbClr val="AEABAB"/>
              </a:solidFill>
            </c:spPr>
            <c:extLst>
              <c:ext xmlns:c16="http://schemas.microsoft.com/office/drawing/2014/chart" uri="{C3380CC4-5D6E-409C-BE32-E72D297353CC}">
                <c16:uniqueId val="{000004E3-86F4-458F-B5E5-D296EB1009DF}"/>
              </c:ext>
            </c:extLst>
          </c:dPt>
          <c:dPt>
            <c:idx val="625"/>
            <c:invertIfNegative val="1"/>
            <c:bubble3D val="0"/>
            <c:spPr>
              <a:solidFill>
                <a:srgbClr val="AEABAB"/>
              </a:solidFill>
            </c:spPr>
            <c:extLst>
              <c:ext xmlns:c16="http://schemas.microsoft.com/office/drawing/2014/chart" uri="{C3380CC4-5D6E-409C-BE32-E72D297353CC}">
                <c16:uniqueId val="{000004E5-86F4-458F-B5E5-D296EB1009DF}"/>
              </c:ext>
            </c:extLst>
          </c:dPt>
          <c:dPt>
            <c:idx val="626"/>
            <c:invertIfNegative val="1"/>
            <c:bubble3D val="0"/>
            <c:spPr>
              <a:solidFill>
                <a:srgbClr val="AEABAB"/>
              </a:solidFill>
            </c:spPr>
            <c:extLst>
              <c:ext xmlns:c16="http://schemas.microsoft.com/office/drawing/2014/chart" uri="{C3380CC4-5D6E-409C-BE32-E72D297353CC}">
                <c16:uniqueId val="{000004E7-86F4-458F-B5E5-D296EB1009DF}"/>
              </c:ext>
            </c:extLst>
          </c:dPt>
          <c:dPt>
            <c:idx val="627"/>
            <c:invertIfNegative val="1"/>
            <c:bubble3D val="0"/>
            <c:spPr>
              <a:solidFill>
                <a:srgbClr val="AEABAB"/>
              </a:solidFill>
            </c:spPr>
            <c:extLst>
              <c:ext xmlns:c16="http://schemas.microsoft.com/office/drawing/2014/chart" uri="{C3380CC4-5D6E-409C-BE32-E72D297353CC}">
                <c16:uniqueId val="{000004E9-86F4-458F-B5E5-D296EB1009DF}"/>
              </c:ext>
            </c:extLst>
          </c:dPt>
          <c:dPt>
            <c:idx val="628"/>
            <c:invertIfNegative val="1"/>
            <c:bubble3D val="0"/>
            <c:spPr>
              <a:solidFill>
                <a:srgbClr val="AEABAB"/>
              </a:solidFill>
            </c:spPr>
            <c:extLst>
              <c:ext xmlns:c16="http://schemas.microsoft.com/office/drawing/2014/chart" uri="{C3380CC4-5D6E-409C-BE32-E72D297353CC}">
                <c16:uniqueId val="{000004EB-86F4-458F-B5E5-D296EB1009DF}"/>
              </c:ext>
            </c:extLst>
          </c:dPt>
          <c:dPt>
            <c:idx val="629"/>
            <c:invertIfNegative val="1"/>
            <c:bubble3D val="0"/>
            <c:spPr>
              <a:solidFill>
                <a:srgbClr val="AEABAB"/>
              </a:solidFill>
            </c:spPr>
            <c:extLst>
              <c:ext xmlns:c16="http://schemas.microsoft.com/office/drawing/2014/chart" uri="{C3380CC4-5D6E-409C-BE32-E72D297353CC}">
                <c16:uniqueId val="{000004ED-86F4-458F-B5E5-D296EB1009DF}"/>
              </c:ext>
            </c:extLst>
          </c:dPt>
          <c:dPt>
            <c:idx val="630"/>
            <c:invertIfNegative val="1"/>
            <c:bubble3D val="0"/>
            <c:spPr>
              <a:solidFill>
                <a:srgbClr val="AEABAB"/>
              </a:solidFill>
            </c:spPr>
            <c:extLst>
              <c:ext xmlns:c16="http://schemas.microsoft.com/office/drawing/2014/chart" uri="{C3380CC4-5D6E-409C-BE32-E72D297353CC}">
                <c16:uniqueId val="{000004EF-86F4-458F-B5E5-D296EB1009DF}"/>
              </c:ext>
            </c:extLst>
          </c:dPt>
          <c:dPt>
            <c:idx val="631"/>
            <c:invertIfNegative val="1"/>
            <c:bubble3D val="0"/>
            <c:spPr>
              <a:solidFill>
                <a:srgbClr val="AEABAB"/>
              </a:solidFill>
            </c:spPr>
            <c:extLst>
              <c:ext xmlns:c16="http://schemas.microsoft.com/office/drawing/2014/chart" uri="{C3380CC4-5D6E-409C-BE32-E72D297353CC}">
                <c16:uniqueId val="{000004F1-86F4-458F-B5E5-D296EB1009DF}"/>
              </c:ext>
            </c:extLst>
          </c:dPt>
          <c:dPt>
            <c:idx val="632"/>
            <c:invertIfNegative val="1"/>
            <c:bubble3D val="0"/>
            <c:spPr>
              <a:solidFill>
                <a:srgbClr val="AEABAB"/>
              </a:solidFill>
            </c:spPr>
            <c:extLst>
              <c:ext xmlns:c16="http://schemas.microsoft.com/office/drawing/2014/chart" uri="{C3380CC4-5D6E-409C-BE32-E72D297353CC}">
                <c16:uniqueId val="{000004F3-86F4-458F-B5E5-D296EB1009DF}"/>
              </c:ext>
            </c:extLst>
          </c:dPt>
          <c:dPt>
            <c:idx val="633"/>
            <c:invertIfNegative val="1"/>
            <c:bubble3D val="0"/>
            <c:spPr>
              <a:solidFill>
                <a:srgbClr val="AEABAB"/>
              </a:solidFill>
            </c:spPr>
            <c:extLst>
              <c:ext xmlns:c16="http://schemas.microsoft.com/office/drawing/2014/chart" uri="{C3380CC4-5D6E-409C-BE32-E72D297353CC}">
                <c16:uniqueId val="{000004F5-86F4-458F-B5E5-D296EB1009DF}"/>
              </c:ext>
            </c:extLst>
          </c:dPt>
          <c:dPt>
            <c:idx val="634"/>
            <c:invertIfNegative val="1"/>
            <c:bubble3D val="0"/>
            <c:spPr>
              <a:solidFill>
                <a:srgbClr val="AEABAB"/>
              </a:solidFill>
            </c:spPr>
            <c:extLst>
              <c:ext xmlns:c16="http://schemas.microsoft.com/office/drawing/2014/chart" uri="{C3380CC4-5D6E-409C-BE32-E72D297353CC}">
                <c16:uniqueId val="{000004F7-86F4-458F-B5E5-D296EB1009DF}"/>
              </c:ext>
            </c:extLst>
          </c:dPt>
          <c:dPt>
            <c:idx val="635"/>
            <c:invertIfNegative val="1"/>
            <c:bubble3D val="0"/>
            <c:spPr>
              <a:solidFill>
                <a:srgbClr val="AEABAB"/>
              </a:solidFill>
            </c:spPr>
            <c:extLst>
              <c:ext xmlns:c16="http://schemas.microsoft.com/office/drawing/2014/chart" uri="{C3380CC4-5D6E-409C-BE32-E72D297353CC}">
                <c16:uniqueId val="{000004F9-86F4-458F-B5E5-D296EB1009DF}"/>
              </c:ext>
            </c:extLst>
          </c:dPt>
          <c:dPt>
            <c:idx val="636"/>
            <c:invertIfNegative val="1"/>
            <c:bubble3D val="0"/>
            <c:spPr>
              <a:solidFill>
                <a:srgbClr val="AEABAB"/>
              </a:solidFill>
            </c:spPr>
            <c:extLst>
              <c:ext xmlns:c16="http://schemas.microsoft.com/office/drawing/2014/chart" uri="{C3380CC4-5D6E-409C-BE32-E72D297353CC}">
                <c16:uniqueId val="{000004FB-86F4-458F-B5E5-D296EB1009DF}"/>
              </c:ext>
            </c:extLst>
          </c:dPt>
          <c:dPt>
            <c:idx val="637"/>
            <c:invertIfNegative val="1"/>
            <c:bubble3D val="0"/>
            <c:spPr>
              <a:solidFill>
                <a:srgbClr val="AEABAB"/>
              </a:solidFill>
            </c:spPr>
            <c:extLst>
              <c:ext xmlns:c16="http://schemas.microsoft.com/office/drawing/2014/chart" uri="{C3380CC4-5D6E-409C-BE32-E72D297353CC}">
                <c16:uniqueId val="{000004FD-86F4-458F-B5E5-D296EB1009DF}"/>
              </c:ext>
            </c:extLst>
          </c:dPt>
          <c:dPt>
            <c:idx val="638"/>
            <c:invertIfNegative val="1"/>
            <c:bubble3D val="0"/>
            <c:spPr>
              <a:solidFill>
                <a:srgbClr val="AEABAB"/>
              </a:solidFill>
            </c:spPr>
            <c:extLst>
              <c:ext xmlns:c16="http://schemas.microsoft.com/office/drawing/2014/chart" uri="{C3380CC4-5D6E-409C-BE32-E72D297353CC}">
                <c16:uniqueId val="{000004FF-86F4-458F-B5E5-D296EB1009DF}"/>
              </c:ext>
            </c:extLst>
          </c:dPt>
          <c:dPt>
            <c:idx val="639"/>
            <c:invertIfNegative val="1"/>
            <c:bubble3D val="0"/>
            <c:spPr>
              <a:solidFill>
                <a:srgbClr val="AEABAB"/>
              </a:solidFill>
            </c:spPr>
            <c:extLst>
              <c:ext xmlns:c16="http://schemas.microsoft.com/office/drawing/2014/chart" uri="{C3380CC4-5D6E-409C-BE32-E72D297353CC}">
                <c16:uniqueId val="{00000501-86F4-458F-B5E5-D296EB1009DF}"/>
              </c:ext>
            </c:extLst>
          </c:dPt>
          <c:dPt>
            <c:idx val="640"/>
            <c:invertIfNegative val="1"/>
            <c:bubble3D val="0"/>
            <c:spPr>
              <a:solidFill>
                <a:srgbClr val="AEABAB"/>
              </a:solidFill>
            </c:spPr>
            <c:extLst>
              <c:ext xmlns:c16="http://schemas.microsoft.com/office/drawing/2014/chart" uri="{C3380CC4-5D6E-409C-BE32-E72D297353CC}">
                <c16:uniqueId val="{00000503-86F4-458F-B5E5-D296EB1009DF}"/>
              </c:ext>
            </c:extLst>
          </c:dPt>
          <c:dPt>
            <c:idx val="641"/>
            <c:invertIfNegative val="1"/>
            <c:bubble3D val="0"/>
            <c:spPr>
              <a:solidFill>
                <a:srgbClr val="AEABAB"/>
              </a:solidFill>
            </c:spPr>
            <c:extLst>
              <c:ext xmlns:c16="http://schemas.microsoft.com/office/drawing/2014/chart" uri="{C3380CC4-5D6E-409C-BE32-E72D297353CC}">
                <c16:uniqueId val="{00000505-86F4-458F-B5E5-D296EB1009DF}"/>
              </c:ext>
            </c:extLst>
          </c:dPt>
          <c:dPt>
            <c:idx val="642"/>
            <c:invertIfNegative val="1"/>
            <c:bubble3D val="0"/>
            <c:spPr>
              <a:solidFill>
                <a:srgbClr val="AEABAB"/>
              </a:solidFill>
            </c:spPr>
            <c:extLst>
              <c:ext xmlns:c16="http://schemas.microsoft.com/office/drawing/2014/chart" uri="{C3380CC4-5D6E-409C-BE32-E72D297353CC}">
                <c16:uniqueId val="{00000507-86F4-458F-B5E5-D296EB1009DF}"/>
              </c:ext>
            </c:extLst>
          </c:dPt>
          <c:dPt>
            <c:idx val="643"/>
            <c:invertIfNegative val="1"/>
            <c:bubble3D val="0"/>
            <c:spPr>
              <a:solidFill>
                <a:srgbClr val="AEABAB"/>
              </a:solidFill>
            </c:spPr>
            <c:extLst>
              <c:ext xmlns:c16="http://schemas.microsoft.com/office/drawing/2014/chart" uri="{C3380CC4-5D6E-409C-BE32-E72D297353CC}">
                <c16:uniqueId val="{00000509-86F4-458F-B5E5-D296EB1009DF}"/>
              </c:ext>
            </c:extLst>
          </c:dPt>
          <c:dPt>
            <c:idx val="644"/>
            <c:invertIfNegative val="1"/>
            <c:bubble3D val="0"/>
            <c:spPr>
              <a:solidFill>
                <a:srgbClr val="AEABAB"/>
              </a:solidFill>
            </c:spPr>
            <c:extLst>
              <c:ext xmlns:c16="http://schemas.microsoft.com/office/drawing/2014/chart" uri="{C3380CC4-5D6E-409C-BE32-E72D297353CC}">
                <c16:uniqueId val="{0000050B-86F4-458F-B5E5-D296EB1009DF}"/>
              </c:ext>
            </c:extLst>
          </c:dPt>
          <c:dPt>
            <c:idx val="645"/>
            <c:invertIfNegative val="1"/>
            <c:bubble3D val="0"/>
            <c:spPr>
              <a:solidFill>
                <a:srgbClr val="AEABAB"/>
              </a:solidFill>
            </c:spPr>
            <c:extLst>
              <c:ext xmlns:c16="http://schemas.microsoft.com/office/drawing/2014/chart" uri="{C3380CC4-5D6E-409C-BE32-E72D297353CC}">
                <c16:uniqueId val="{0000050D-86F4-458F-B5E5-D296EB1009DF}"/>
              </c:ext>
            </c:extLst>
          </c:dPt>
          <c:dPt>
            <c:idx val="646"/>
            <c:invertIfNegative val="1"/>
            <c:bubble3D val="0"/>
            <c:spPr>
              <a:solidFill>
                <a:srgbClr val="AEABAB"/>
              </a:solidFill>
            </c:spPr>
            <c:extLst>
              <c:ext xmlns:c16="http://schemas.microsoft.com/office/drawing/2014/chart" uri="{C3380CC4-5D6E-409C-BE32-E72D297353CC}">
                <c16:uniqueId val="{0000050F-86F4-458F-B5E5-D296EB1009DF}"/>
              </c:ext>
            </c:extLst>
          </c:dPt>
          <c:dPt>
            <c:idx val="647"/>
            <c:invertIfNegative val="1"/>
            <c:bubble3D val="0"/>
            <c:spPr>
              <a:solidFill>
                <a:srgbClr val="AEABAB"/>
              </a:solidFill>
            </c:spPr>
            <c:extLst>
              <c:ext xmlns:c16="http://schemas.microsoft.com/office/drawing/2014/chart" uri="{C3380CC4-5D6E-409C-BE32-E72D297353CC}">
                <c16:uniqueId val="{00000511-86F4-458F-B5E5-D296EB1009DF}"/>
              </c:ext>
            </c:extLst>
          </c:dPt>
          <c:dPt>
            <c:idx val="648"/>
            <c:invertIfNegative val="1"/>
            <c:bubble3D val="0"/>
            <c:spPr>
              <a:solidFill>
                <a:srgbClr val="AEABAB"/>
              </a:solidFill>
            </c:spPr>
            <c:extLst>
              <c:ext xmlns:c16="http://schemas.microsoft.com/office/drawing/2014/chart" uri="{C3380CC4-5D6E-409C-BE32-E72D297353CC}">
                <c16:uniqueId val="{00000513-86F4-458F-B5E5-D296EB1009DF}"/>
              </c:ext>
            </c:extLst>
          </c:dPt>
          <c:dPt>
            <c:idx val="649"/>
            <c:invertIfNegative val="1"/>
            <c:bubble3D val="0"/>
            <c:spPr>
              <a:solidFill>
                <a:srgbClr val="AEABAB"/>
              </a:solidFill>
            </c:spPr>
            <c:extLst>
              <c:ext xmlns:c16="http://schemas.microsoft.com/office/drawing/2014/chart" uri="{C3380CC4-5D6E-409C-BE32-E72D297353CC}">
                <c16:uniqueId val="{00000515-86F4-458F-B5E5-D296EB1009DF}"/>
              </c:ext>
            </c:extLst>
          </c:dPt>
          <c:dPt>
            <c:idx val="650"/>
            <c:invertIfNegative val="1"/>
            <c:bubble3D val="0"/>
            <c:spPr>
              <a:solidFill>
                <a:srgbClr val="AEABAB"/>
              </a:solidFill>
            </c:spPr>
            <c:extLst>
              <c:ext xmlns:c16="http://schemas.microsoft.com/office/drawing/2014/chart" uri="{C3380CC4-5D6E-409C-BE32-E72D297353CC}">
                <c16:uniqueId val="{00000517-86F4-458F-B5E5-D296EB1009DF}"/>
              </c:ext>
            </c:extLst>
          </c:dPt>
          <c:dPt>
            <c:idx val="651"/>
            <c:invertIfNegative val="1"/>
            <c:bubble3D val="0"/>
            <c:spPr>
              <a:solidFill>
                <a:srgbClr val="AEABAB"/>
              </a:solidFill>
            </c:spPr>
            <c:extLst>
              <c:ext xmlns:c16="http://schemas.microsoft.com/office/drawing/2014/chart" uri="{C3380CC4-5D6E-409C-BE32-E72D297353CC}">
                <c16:uniqueId val="{00000519-86F4-458F-B5E5-D296EB1009DF}"/>
              </c:ext>
            </c:extLst>
          </c:dPt>
          <c:dPt>
            <c:idx val="652"/>
            <c:invertIfNegative val="1"/>
            <c:bubble3D val="0"/>
            <c:spPr>
              <a:solidFill>
                <a:srgbClr val="AEABAB"/>
              </a:solidFill>
            </c:spPr>
            <c:extLst>
              <c:ext xmlns:c16="http://schemas.microsoft.com/office/drawing/2014/chart" uri="{C3380CC4-5D6E-409C-BE32-E72D297353CC}">
                <c16:uniqueId val="{0000051B-86F4-458F-B5E5-D296EB1009DF}"/>
              </c:ext>
            </c:extLst>
          </c:dPt>
          <c:dPt>
            <c:idx val="653"/>
            <c:invertIfNegative val="1"/>
            <c:bubble3D val="0"/>
            <c:spPr>
              <a:solidFill>
                <a:srgbClr val="AEABAB"/>
              </a:solidFill>
            </c:spPr>
            <c:extLst>
              <c:ext xmlns:c16="http://schemas.microsoft.com/office/drawing/2014/chart" uri="{C3380CC4-5D6E-409C-BE32-E72D297353CC}">
                <c16:uniqueId val="{0000051D-86F4-458F-B5E5-D296EB1009DF}"/>
              </c:ext>
            </c:extLst>
          </c:dPt>
          <c:dPt>
            <c:idx val="654"/>
            <c:invertIfNegative val="1"/>
            <c:bubble3D val="0"/>
            <c:spPr>
              <a:solidFill>
                <a:srgbClr val="AEABAB"/>
              </a:solidFill>
            </c:spPr>
            <c:extLst>
              <c:ext xmlns:c16="http://schemas.microsoft.com/office/drawing/2014/chart" uri="{C3380CC4-5D6E-409C-BE32-E72D297353CC}">
                <c16:uniqueId val="{0000051F-86F4-458F-B5E5-D296EB1009DF}"/>
              </c:ext>
            </c:extLst>
          </c:dPt>
          <c:dPt>
            <c:idx val="655"/>
            <c:invertIfNegative val="1"/>
            <c:bubble3D val="0"/>
            <c:spPr>
              <a:solidFill>
                <a:srgbClr val="AEABAB"/>
              </a:solidFill>
            </c:spPr>
            <c:extLst>
              <c:ext xmlns:c16="http://schemas.microsoft.com/office/drawing/2014/chart" uri="{C3380CC4-5D6E-409C-BE32-E72D297353CC}">
                <c16:uniqueId val="{00000521-86F4-458F-B5E5-D296EB1009DF}"/>
              </c:ext>
            </c:extLst>
          </c:dPt>
          <c:dPt>
            <c:idx val="656"/>
            <c:invertIfNegative val="1"/>
            <c:bubble3D val="0"/>
            <c:spPr>
              <a:solidFill>
                <a:srgbClr val="AEABAB"/>
              </a:solidFill>
            </c:spPr>
            <c:extLst>
              <c:ext xmlns:c16="http://schemas.microsoft.com/office/drawing/2014/chart" uri="{C3380CC4-5D6E-409C-BE32-E72D297353CC}">
                <c16:uniqueId val="{00000523-86F4-458F-B5E5-D296EB1009DF}"/>
              </c:ext>
            </c:extLst>
          </c:dPt>
          <c:dPt>
            <c:idx val="657"/>
            <c:invertIfNegative val="1"/>
            <c:bubble3D val="0"/>
            <c:spPr>
              <a:solidFill>
                <a:srgbClr val="AEABAB"/>
              </a:solidFill>
            </c:spPr>
            <c:extLst>
              <c:ext xmlns:c16="http://schemas.microsoft.com/office/drawing/2014/chart" uri="{C3380CC4-5D6E-409C-BE32-E72D297353CC}">
                <c16:uniqueId val="{00000525-86F4-458F-B5E5-D296EB1009DF}"/>
              </c:ext>
            </c:extLst>
          </c:dPt>
          <c:dPt>
            <c:idx val="658"/>
            <c:invertIfNegative val="1"/>
            <c:bubble3D val="0"/>
            <c:spPr>
              <a:solidFill>
                <a:srgbClr val="AEABAB"/>
              </a:solidFill>
            </c:spPr>
            <c:extLst>
              <c:ext xmlns:c16="http://schemas.microsoft.com/office/drawing/2014/chart" uri="{C3380CC4-5D6E-409C-BE32-E72D297353CC}">
                <c16:uniqueId val="{00000527-86F4-458F-B5E5-D296EB1009DF}"/>
              </c:ext>
            </c:extLst>
          </c:dPt>
          <c:dPt>
            <c:idx val="659"/>
            <c:invertIfNegative val="1"/>
            <c:bubble3D val="0"/>
            <c:spPr>
              <a:solidFill>
                <a:srgbClr val="AEABAB"/>
              </a:solidFill>
            </c:spPr>
            <c:extLst>
              <c:ext xmlns:c16="http://schemas.microsoft.com/office/drawing/2014/chart" uri="{C3380CC4-5D6E-409C-BE32-E72D297353CC}">
                <c16:uniqueId val="{00000529-86F4-458F-B5E5-D296EB1009DF}"/>
              </c:ext>
            </c:extLst>
          </c:dPt>
          <c:dPt>
            <c:idx val="660"/>
            <c:invertIfNegative val="1"/>
            <c:bubble3D val="0"/>
            <c:spPr>
              <a:solidFill>
                <a:srgbClr val="AEABAB"/>
              </a:solidFill>
            </c:spPr>
            <c:extLst>
              <c:ext xmlns:c16="http://schemas.microsoft.com/office/drawing/2014/chart" uri="{C3380CC4-5D6E-409C-BE32-E72D297353CC}">
                <c16:uniqueId val="{0000052B-86F4-458F-B5E5-D296EB1009DF}"/>
              </c:ext>
            </c:extLst>
          </c:dPt>
          <c:dPt>
            <c:idx val="661"/>
            <c:invertIfNegative val="1"/>
            <c:bubble3D val="0"/>
            <c:spPr>
              <a:solidFill>
                <a:srgbClr val="AEABAB"/>
              </a:solidFill>
            </c:spPr>
            <c:extLst>
              <c:ext xmlns:c16="http://schemas.microsoft.com/office/drawing/2014/chart" uri="{C3380CC4-5D6E-409C-BE32-E72D297353CC}">
                <c16:uniqueId val="{0000052D-86F4-458F-B5E5-D296EB1009DF}"/>
              </c:ext>
            </c:extLst>
          </c:dPt>
          <c:dPt>
            <c:idx val="662"/>
            <c:invertIfNegative val="1"/>
            <c:bubble3D val="0"/>
            <c:spPr>
              <a:solidFill>
                <a:srgbClr val="AEABAB"/>
              </a:solidFill>
            </c:spPr>
            <c:extLst>
              <c:ext xmlns:c16="http://schemas.microsoft.com/office/drawing/2014/chart" uri="{C3380CC4-5D6E-409C-BE32-E72D297353CC}">
                <c16:uniqueId val="{0000052F-86F4-458F-B5E5-D296EB1009DF}"/>
              </c:ext>
            </c:extLst>
          </c:dPt>
          <c:dPt>
            <c:idx val="663"/>
            <c:invertIfNegative val="1"/>
            <c:bubble3D val="0"/>
            <c:spPr>
              <a:solidFill>
                <a:srgbClr val="AEABAB"/>
              </a:solidFill>
            </c:spPr>
            <c:extLst>
              <c:ext xmlns:c16="http://schemas.microsoft.com/office/drawing/2014/chart" uri="{C3380CC4-5D6E-409C-BE32-E72D297353CC}">
                <c16:uniqueId val="{00000531-86F4-458F-B5E5-D296EB1009DF}"/>
              </c:ext>
            </c:extLst>
          </c:dPt>
          <c:dPt>
            <c:idx val="664"/>
            <c:invertIfNegative val="1"/>
            <c:bubble3D val="0"/>
            <c:spPr>
              <a:solidFill>
                <a:srgbClr val="AEABAB"/>
              </a:solidFill>
            </c:spPr>
            <c:extLst>
              <c:ext xmlns:c16="http://schemas.microsoft.com/office/drawing/2014/chart" uri="{C3380CC4-5D6E-409C-BE32-E72D297353CC}">
                <c16:uniqueId val="{00000533-86F4-458F-B5E5-D296EB1009DF}"/>
              </c:ext>
            </c:extLst>
          </c:dPt>
          <c:dPt>
            <c:idx val="665"/>
            <c:invertIfNegative val="1"/>
            <c:bubble3D val="0"/>
            <c:spPr>
              <a:solidFill>
                <a:srgbClr val="AEABAB"/>
              </a:solidFill>
            </c:spPr>
            <c:extLst>
              <c:ext xmlns:c16="http://schemas.microsoft.com/office/drawing/2014/chart" uri="{C3380CC4-5D6E-409C-BE32-E72D297353CC}">
                <c16:uniqueId val="{00000535-86F4-458F-B5E5-D296EB1009DF}"/>
              </c:ext>
            </c:extLst>
          </c:dPt>
          <c:dPt>
            <c:idx val="666"/>
            <c:invertIfNegative val="1"/>
            <c:bubble3D val="0"/>
            <c:spPr>
              <a:solidFill>
                <a:srgbClr val="AEABAB"/>
              </a:solidFill>
            </c:spPr>
            <c:extLst>
              <c:ext xmlns:c16="http://schemas.microsoft.com/office/drawing/2014/chart" uri="{C3380CC4-5D6E-409C-BE32-E72D297353CC}">
                <c16:uniqueId val="{00000537-86F4-458F-B5E5-D296EB1009DF}"/>
              </c:ext>
            </c:extLst>
          </c:dPt>
          <c:dPt>
            <c:idx val="667"/>
            <c:invertIfNegative val="1"/>
            <c:bubble3D val="0"/>
            <c:spPr>
              <a:solidFill>
                <a:srgbClr val="AEABAB"/>
              </a:solidFill>
            </c:spPr>
            <c:extLst>
              <c:ext xmlns:c16="http://schemas.microsoft.com/office/drawing/2014/chart" uri="{C3380CC4-5D6E-409C-BE32-E72D297353CC}">
                <c16:uniqueId val="{00000539-86F4-458F-B5E5-D296EB1009DF}"/>
              </c:ext>
            </c:extLst>
          </c:dPt>
          <c:dPt>
            <c:idx val="668"/>
            <c:invertIfNegative val="1"/>
            <c:bubble3D val="0"/>
            <c:spPr>
              <a:solidFill>
                <a:srgbClr val="AEABAB"/>
              </a:solidFill>
            </c:spPr>
            <c:extLst>
              <c:ext xmlns:c16="http://schemas.microsoft.com/office/drawing/2014/chart" uri="{C3380CC4-5D6E-409C-BE32-E72D297353CC}">
                <c16:uniqueId val="{0000053B-86F4-458F-B5E5-D296EB1009DF}"/>
              </c:ext>
            </c:extLst>
          </c:dPt>
          <c:dPt>
            <c:idx val="669"/>
            <c:invertIfNegative val="1"/>
            <c:bubble3D val="0"/>
            <c:spPr>
              <a:solidFill>
                <a:srgbClr val="AEABAB"/>
              </a:solidFill>
            </c:spPr>
            <c:extLst>
              <c:ext xmlns:c16="http://schemas.microsoft.com/office/drawing/2014/chart" uri="{C3380CC4-5D6E-409C-BE32-E72D297353CC}">
                <c16:uniqueId val="{0000053D-86F4-458F-B5E5-D296EB1009DF}"/>
              </c:ext>
            </c:extLst>
          </c:dPt>
          <c:dPt>
            <c:idx val="670"/>
            <c:invertIfNegative val="1"/>
            <c:bubble3D val="0"/>
            <c:spPr>
              <a:solidFill>
                <a:srgbClr val="AEABAB"/>
              </a:solidFill>
            </c:spPr>
            <c:extLst>
              <c:ext xmlns:c16="http://schemas.microsoft.com/office/drawing/2014/chart" uri="{C3380CC4-5D6E-409C-BE32-E72D297353CC}">
                <c16:uniqueId val="{0000053F-86F4-458F-B5E5-D296EB1009DF}"/>
              </c:ext>
            </c:extLst>
          </c:dPt>
          <c:dPt>
            <c:idx val="671"/>
            <c:invertIfNegative val="1"/>
            <c:bubble3D val="0"/>
            <c:spPr>
              <a:solidFill>
                <a:srgbClr val="AEABAB"/>
              </a:solidFill>
            </c:spPr>
            <c:extLst>
              <c:ext xmlns:c16="http://schemas.microsoft.com/office/drawing/2014/chart" uri="{C3380CC4-5D6E-409C-BE32-E72D297353CC}">
                <c16:uniqueId val="{00000541-86F4-458F-B5E5-D296EB1009DF}"/>
              </c:ext>
            </c:extLst>
          </c:dPt>
          <c:dPt>
            <c:idx val="672"/>
            <c:invertIfNegative val="1"/>
            <c:bubble3D val="0"/>
            <c:spPr>
              <a:solidFill>
                <a:srgbClr val="AEABAB"/>
              </a:solidFill>
            </c:spPr>
            <c:extLst>
              <c:ext xmlns:c16="http://schemas.microsoft.com/office/drawing/2014/chart" uri="{C3380CC4-5D6E-409C-BE32-E72D297353CC}">
                <c16:uniqueId val="{00000543-86F4-458F-B5E5-D296EB1009DF}"/>
              </c:ext>
            </c:extLst>
          </c:dPt>
          <c:dPt>
            <c:idx val="673"/>
            <c:invertIfNegative val="1"/>
            <c:bubble3D val="0"/>
            <c:spPr>
              <a:solidFill>
                <a:srgbClr val="AEABAB"/>
              </a:solidFill>
            </c:spPr>
            <c:extLst>
              <c:ext xmlns:c16="http://schemas.microsoft.com/office/drawing/2014/chart" uri="{C3380CC4-5D6E-409C-BE32-E72D297353CC}">
                <c16:uniqueId val="{00000545-86F4-458F-B5E5-D296EB1009DF}"/>
              </c:ext>
            </c:extLst>
          </c:dPt>
          <c:dPt>
            <c:idx val="674"/>
            <c:invertIfNegative val="1"/>
            <c:bubble3D val="0"/>
            <c:spPr>
              <a:solidFill>
                <a:srgbClr val="AEABAB"/>
              </a:solidFill>
            </c:spPr>
            <c:extLst>
              <c:ext xmlns:c16="http://schemas.microsoft.com/office/drawing/2014/chart" uri="{C3380CC4-5D6E-409C-BE32-E72D297353CC}">
                <c16:uniqueId val="{00000547-86F4-458F-B5E5-D296EB1009DF}"/>
              </c:ext>
            </c:extLst>
          </c:dPt>
          <c:dPt>
            <c:idx val="675"/>
            <c:invertIfNegative val="1"/>
            <c:bubble3D val="0"/>
            <c:spPr>
              <a:solidFill>
                <a:srgbClr val="AEABAB"/>
              </a:solidFill>
            </c:spPr>
            <c:extLst>
              <c:ext xmlns:c16="http://schemas.microsoft.com/office/drawing/2014/chart" uri="{C3380CC4-5D6E-409C-BE32-E72D297353CC}">
                <c16:uniqueId val="{00000549-86F4-458F-B5E5-D296EB1009DF}"/>
              </c:ext>
            </c:extLst>
          </c:dPt>
          <c:dPt>
            <c:idx val="676"/>
            <c:invertIfNegative val="1"/>
            <c:bubble3D val="0"/>
            <c:spPr>
              <a:solidFill>
                <a:srgbClr val="AEABAB"/>
              </a:solidFill>
            </c:spPr>
            <c:extLst>
              <c:ext xmlns:c16="http://schemas.microsoft.com/office/drawing/2014/chart" uri="{C3380CC4-5D6E-409C-BE32-E72D297353CC}">
                <c16:uniqueId val="{0000054B-86F4-458F-B5E5-D296EB1009DF}"/>
              </c:ext>
            </c:extLst>
          </c:dPt>
          <c:dPt>
            <c:idx val="677"/>
            <c:invertIfNegative val="1"/>
            <c:bubble3D val="0"/>
            <c:spPr>
              <a:solidFill>
                <a:srgbClr val="AEABAB"/>
              </a:solidFill>
            </c:spPr>
            <c:extLst>
              <c:ext xmlns:c16="http://schemas.microsoft.com/office/drawing/2014/chart" uri="{C3380CC4-5D6E-409C-BE32-E72D297353CC}">
                <c16:uniqueId val="{0000054D-86F4-458F-B5E5-D296EB1009DF}"/>
              </c:ext>
            </c:extLst>
          </c:dPt>
          <c:dPt>
            <c:idx val="678"/>
            <c:invertIfNegative val="1"/>
            <c:bubble3D val="0"/>
            <c:spPr>
              <a:solidFill>
                <a:srgbClr val="AEABAB"/>
              </a:solidFill>
            </c:spPr>
            <c:extLst>
              <c:ext xmlns:c16="http://schemas.microsoft.com/office/drawing/2014/chart" uri="{C3380CC4-5D6E-409C-BE32-E72D297353CC}">
                <c16:uniqueId val="{0000054F-86F4-458F-B5E5-D296EB1009DF}"/>
              </c:ext>
            </c:extLst>
          </c:dPt>
          <c:dPt>
            <c:idx val="679"/>
            <c:invertIfNegative val="1"/>
            <c:bubble3D val="0"/>
            <c:spPr>
              <a:solidFill>
                <a:srgbClr val="AEABAB"/>
              </a:solidFill>
            </c:spPr>
            <c:extLst>
              <c:ext xmlns:c16="http://schemas.microsoft.com/office/drawing/2014/chart" uri="{C3380CC4-5D6E-409C-BE32-E72D297353CC}">
                <c16:uniqueId val="{00000551-86F4-458F-B5E5-D296EB1009DF}"/>
              </c:ext>
            </c:extLst>
          </c:dPt>
          <c:dPt>
            <c:idx val="680"/>
            <c:invertIfNegative val="1"/>
            <c:bubble3D val="0"/>
            <c:spPr>
              <a:solidFill>
                <a:srgbClr val="AEABAB"/>
              </a:solidFill>
            </c:spPr>
            <c:extLst>
              <c:ext xmlns:c16="http://schemas.microsoft.com/office/drawing/2014/chart" uri="{C3380CC4-5D6E-409C-BE32-E72D297353CC}">
                <c16:uniqueId val="{00000553-86F4-458F-B5E5-D296EB1009DF}"/>
              </c:ext>
            </c:extLst>
          </c:dPt>
          <c:dPt>
            <c:idx val="681"/>
            <c:invertIfNegative val="1"/>
            <c:bubble3D val="0"/>
            <c:spPr>
              <a:solidFill>
                <a:srgbClr val="AEABAB"/>
              </a:solidFill>
            </c:spPr>
            <c:extLst>
              <c:ext xmlns:c16="http://schemas.microsoft.com/office/drawing/2014/chart" uri="{C3380CC4-5D6E-409C-BE32-E72D297353CC}">
                <c16:uniqueId val="{00000555-86F4-458F-B5E5-D296EB1009DF}"/>
              </c:ext>
            </c:extLst>
          </c:dPt>
          <c:dPt>
            <c:idx val="682"/>
            <c:invertIfNegative val="1"/>
            <c:bubble3D val="0"/>
            <c:spPr>
              <a:solidFill>
                <a:srgbClr val="AEABAB"/>
              </a:solidFill>
            </c:spPr>
            <c:extLst>
              <c:ext xmlns:c16="http://schemas.microsoft.com/office/drawing/2014/chart" uri="{C3380CC4-5D6E-409C-BE32-E72D297353CC}">
                <c16:uniqueId val="{00000557-86F4-458F-B5E5-D296EB1009DF}"/>
              </c:ext>
            </c:extLst>
          </c:dPt>
          <c:dPt>
            <c:idx val="683"/>
            <c:invertIfNegative val="1"/>
            <c:bubble3D val="0"/>
            <c:spPr>
              <a:solidFill>
                <a:srgbClr val="AEABAB"/>
              </a:solidFill>
            </c:spPr>
            <c:extLst>
              <c:ext xmlns:c16="http://schemas.microsoft.com/office/drawing/2014/chart" uri="{C3380CC4-5D6E-409C-BE32-E72D297353CC}">
                <c16:uniqueId val="{00000559-86F4-458F-B5E5-D296EB1009DF}"/>
              </c:ext>
            </c:extLst>
          </c:dPt>
          <c:dPt>
            <c:idx val="684"/>
            <c:invertIfNegative val="1"/>
            <c:bubble3D val="0"/>
            <c:spPr>
              <a:solidFill>
                <a:srgbClr val="AEABAB"/>
              </a:solidFill>
            </c:spPr>
            <c:extLst>
              <c:ext xmlns:c16="http://schemas.microsoft.com/office/drawing/2014/chart" uri="{C3380CC4-5D6E-409C-BE32-E72D297353CC}">
                <c16:uniqueId val="{0000055B-86F4-458F-B5E5-D296EB1009DF}"/>
              </c:ext>
            </c:extLst>
          </c:dPt>
          <c:dPt>
            <c:idx val="685"/>
            <c:invertIfNegative val="1"/>
            <c:bubble3D val="0"/>
            <c:spPr>
              <a:solidFill>
                <a:srgbClr val="AEABAB"/>
              </a:solidFill>
            </c:spPr>
            <c:extLst>
              <c:ext xmlns:c16="http://schemas.microsoft.com/office/drawing/2014/chart" uri="{C3380CC4-5D6E-409C-BE32-E72D297353CC}">
                <c16:uniqueId val="{0000055D-86F4-458F-B5E5-D296EB1009DF}"/>
              </c:ext>
            </c:extLst>
          </c:dPt>
          <c:dPt>
            <c:idx val="686"/>
            <c:invertIfNegative val="1"/>
            <c:bubble3D val="0"/>
            <c:spPr>
              <a:solidFill>
                <a:srgbClr val="AEABAB"/>
              </a:solidFill>
            </c:spPr>
            <c:extLst>
              <c:ext xmlns:c16="http://schemas.microsoft.com/office/drawing/2014/chart" uri="{C3380CC4-5D6E-409C-BE32-E72D297353CC}">
                <c16:uniqueId val="{0000055F-86F4-458F-B5E5-D296EB1009DF}"/>
              </c:ext>
            </c:extLst>
          </c:dPt>
          <c:dPt>
            <c:idx val="687"/>
            <c:invertIfNegative val="1"/>
            <c:bubble3D val="0"/>
            <c:spPr>
              <a:solidFill>
                <a:srgbClr val="AEABAB"/>
              </a:solidFill>
            </c:spPr>
            <c:extLst>
              <c:ext xmlns:c16="http://schemas.microsoft.com/office/drawing/2014/chart" uri="{C3380CC4-5D6E-409C-BE32-E72D297353CC}">
                <c16:uniqueId val="{00000561-86F4-458F-B5E5-D296EB1009DF}"/>
              </c:ext>
            </c:extLst>
          </c:dPt>
          <c:dPt>
            <c:idx val="688"/>
            <c:invertIfNegative val="1"/>
            <c:bubble3D val="0"/>
            <c:spPr>
              <a:solidFill>
                <a:srgbClr val="AEABAB"/>
              </a:solidFill>
            </c:spPr>
            <c:extLst>
              <c:ext xmlns:c16="http://schemas.microsoft.com/office/drawing/2014/chart" uri="{C3380CC4-5D6E-409C-BE32-E72D297353CC}">
                <c16:uniqueId val="{00000563-86F4-458F-B5E5-D296EB1009DF}"/>
              </c:ext>
            </c:extLst>
          </c:dPt>
          <c:dPt>
            <c:idx val="689"/>
            <c:invertIfNegative val="1"/>
            <c:bubble3D val="0"/>
            <c:spPr>
              <a:solidFill>
                <a:srgbClr val="AEABAB"/>
              </a:solidFill>
            </c:spPr>
            <c:extLst>
              <c:ext xmlns:c16="http://schemas.microsoft.com/office/drawing/2014/chart" uri="{C3380CC4-5D6E-409C-BE32-E72D297353CC}">
                <c16:uniqueId val="{00000565-86F4-458F-B5E5-D296EB1009DF}"/>
              </c:ext>
            </c:extLst>
          </c:dPt>
          <c:dPt>
            <c:idx val="690"/>
            <c:invertIfNegative val="1"/>
            <c:bubble3D val="0"/>
            <c:spPr>
              <a:solidFill>
                <a:srgbClr val="AEABAB"/>
              </a:solidFill>
            </c:spPr>
            <c:extLst>
              <c:ext xmlns:c16="http://schemas.microsoft.com/office/drawing/2014/chart" uri="{C3380CC4-5D6E-409C-BE32-E72D297353CC}">
                <c16:uniqueId val="{00000567-86F4-458F-B5E5-D296EB1009DF}"/>
              </c:ext>
            </c:extLst>
          </c:dPt>
          <c:dPt>
            <c:idx val="691"/>
            <c:invertIfNegative val="1"/>
            <c:bubble3D val="0"/>
            <c:spPr>
              <a:solidFill>
                <a:srgbClr val="AEABAB"/>
              </a:solidFill>
            </c:spPr>
            <c:extLst>
              <c:ext xmlns:c16="http://schemas.microsoft.com/office/drawing/2014/chart" uri="{C3380CC4-5D6E-409C-BE32-E72D297353CC}">
                <c16:uniqueId val="{00000569-86F4-458F-B5E5-D296EB1009DF}"/>
              </c:ext>
            </c:extLst>
          </c:dPt>
          <c:dPt>
            <c:idx val="692"/>
            <c:invertIfNegative val="1"/>
            <c:bubble3D val="0"/>
            <c:spPr>
              <a:solidFill>
                <a:srgbClr val="AEABAB"/>
              </a:solidFill>
            </c:spPr>
            <c:extLst>
              <c:ext xmlns:c16="http://schemas.microsoft.com/office/drawing/2014/chart" uri="{C3380CC4-5D6E-409C-BE32-E72D297353CC}">
                <c16:uniqueId val="{0000056B-86F4-458F-B5E5-D296EB1009DF}"/>
              </c:ext>
            </c:extLst>
          </c:dPt>
          <c:dPt>
            <c:idx val="693"/>
            <c:invertIfNegative val="1"/>
            <c:bubble3D val="0"/>
            <c:spPr>
              <a:solidFill>
                <a:srgbClr val="AEABAB"/>
              </a:solidFill>
            </c:spPr>
            <c:extLst>
              <c:ext xmlns:c16="http://schemas.microsoft.com/office/drawing/2014/chart" uri="{C3380CC4-5D6E-409C-BE32-E72D297353CC}">
                <c16:uniqueId val="{0000056D-86F4-458F-B5E5-D296EB1009DF}"/>
              </c:ext>
            </c:extLst>
          </c:dPt>
          <c:dPt>
            <c:idx val="694"/>
            <c:invertIfNegative val="1"/>
            <c:bubble3D val="0"/>
            <c:spPr>
              <a:solidFill>
                <a:srgbClr val="AEABAB"/>
              </a:solidFill>
            </c:spPr>
            <c:extLst>
              <c:ext xmlns:c16="http://schemas.microsoft.com/office/drawing/2014/chart" uri="{C3380CC4-5D6E-409C-BE32-E72D297353CC}">
                <c16:uniqueId val="{0000056F-86F4-458F-B5E5-D296EB1009DF}"/>
              </c:ext>
            </c:extLst>
          </c:dPt>
          <c:dPt>
            <c:idx val="695"/>
            <c:invertIfNegative val="1"/>
            <c:bubble3D val="0"/>
            <c:spPr>
              <a:solidFill>
                <a:srgbClr val="AEABAB"/>
              </a:solidFill>
            </c:spPr>
            <c:extLst>
              <c:ext xmlns:c16="http://schemas.microsoft.com/office/drawing/2014/chart" uri="{C3380CC4-5D6E-409C-BE32-E72D297353CC}">
                <c16:uniqueId val="{00000571-86F4-458F-B5E5-D296EB1009DF}"/>
              </c:ext>
            </c:extLst>
          </c:dPt>
          <c:dPt>
            <c:idx val="696"/>
            <c:invertIfNegative val="1"/>
            <c:bubble3D val="0"/>
            <c:spPr>
              <a:solidFill>
                <a:srgbClr val="AEABAB"/>
              </a:solidFill>
            </c:spPr>
            <c:extLst>
              <c:ext xmlns:c16="http://schemas.microsoft.com/office/drawing/2014/chart" uri="{C3380CC4-5D6E-409C-BE32-E72D297353CC}">
                <c16:uniqueId val="{00000573-86F4-458F-B5E5-D296EB1009DF}"/>
              </c:ext>
            </c:extLst>
          </c:dPt>
          <c:dPt>
            <c:idx val="697"/>
            <c:invertIfNegative val="1"/>
            <c:bubble3D val="0"/>
            <c:spPr>
              <a:solidFill>
                <a:srgbClr val="AEABAB"/>
              </a:solidFill>
            </c:spPr>
            <c:extLst>
              <c:ext xmlns:c16="http://schemas.microsoft.com/office/drawing/2014/chart" uri="{C3380CC4-5D6E-409C-BE32-E72D297353CC}">
                <c16:uniqueId val="{00000575-86F4-458F-B5E5-D296EB1009DF}"/>
              </c:ext>
            </c:extLst>
          </c:dPt>
          <c:dPt>
            <c:idx val="698"/>
            <c:invertIfNegative val="1"/>
            <c:bubble3D val="0"/>
            <c:spPr>
              <a:solidFill>
                <a:srgbClr val="AEABAB"/>
              </a:solidFill>
            </c:spPr>
            <c:extLst>
              <c:ext xmlns:c16="http://schemas.microsoft.com/office/drawing/2014/chart" uri="{C3380CC4-5D6E-409C-BE32-E72D297353CC}">
                <c16:uniqueId val="{00000577-86F4-458F-B5E5-D296EB1009DF}"/>
              </c:ext>
            </c:extLst>
          </c:dPt>
          <c:dPt>
            <c:idx val="699"/>
            <c:invertIfNegative val="1"/>
            <c:bubble3D val="0"/>
            <c:spPr>
              <a:solidFill>
                <a:srgbClr val="AEABAB"/>
              </a:solidFill>
            </c:spPr>
            <c:extLst>
              <c:ext xmlns:c16="http://schemas.microsoft.com/office/drawing/2014/chart" uri="{C3380CC4-5D6E-409C-BE32-E72D297353CC}">
                <c16:uniqueId val="{00000579-86F4-458F-B5E5-D296EB1009DF}"/>
              </c:ext>
            </c:extLst>
          </c:dPt>
          <c:dPt>
            <c:idx val="700"/>
            <c:invertIfNegative val="1"/>
            <c:bubble3D val="0"/>
            <c:spPr>
              <a:solidFill>
                <a:srgbClr val="AEABAB"/>
              </a:solidFill>
            </c:spPr>
            <c:extLst>
              <c:ext xmlns:c16="http://schemas.microsoft.com/office/drawing/2014/chart" uri="{C3380CC4-5D6E-409C-BE32-E72D297353CC}">
                <c16:uniqueId val="{0000057B-86F4-458F-B5E5-D296EB1009DF}"/>
              </c:ext>
            </c:extLst>
          </c:dPt>
          <c:dPt>
            <c:idx val="701"/>
            <c:invertIfNegative val="1"/>
            <c:bubble3D val="0"/>
            <c:spPr>
              <a:solidFill>
                <a:srgbClr val="AEABAB"/>
              </a:solidFill>
            </c:spPr>
            <c:extLst>
              <c:ext xmlns:c16="http://schemas.microsoft.com/office/drawing/2014/chart" uri="{C3380CC4-5D6E-409C-BE32-E72D297353CC}">
                <c16:uniqueId val="{0000057D-86F4-458F-B5E5-D296EB1009DF}"/>
              </c:ext>
            </c:extLst>
          </c:dPt>
          <c:dPt>
            <c:idx val="702"/>
            <c:invertIfNegative val="1"/>
            <c:bubble3D val="0"/>
            <c:spPr>
              <a:solidFill>
                <a:srgbClr val="AEABAB"/>
              </a:solidFill>
            </c:spPr>
            <c:extLst>
              <c:ext xmlns:c16="http://schemas.microsoft.com/office/drawing/2014/chart" uri="{C3380CC4-5D6E-409C-BE32-E72D297353CC}">
                <c16:uniqueId val="{0000057F-86F4-458F-B5E5-D296EB1009DF}"/>
              </c:ext>
            </c:extLst>
          </c:dPt>
          <c:dPt>
            <c:idx val="703"/>
            <c:invertIfNegative val="1"/>
            <c:bubble3D val="0"/>
            <c:spPr>
              <a:solidFill>
                <a:srgbClr val="AEABAB"/>
              </a:solidFill>
            </c:spPr>
            <c:extLst>
              <c:ext xmlns:c16="http://schemas.microsoft.com/office/drawing/2014/chart" uri="{C3380CC4-5D6E-409C-BE32-E72D297353CC}">
                <c16:uniqueId val="{00000581-86F4-458F-B5E5-D296EB1009DF}"/>
              </c:ext>
            </c:extLst>
          </c:dPt>
          <c:dPt>
            <c:idx val="704"/>
            <c:invertIfNegative val="1"/>
            <c:bubble3D val="0"/>
            <c:spPr>
              <a:solidFill>
                <a:srgbClr val="AEABAB"/>
              </a:solidFill>
            </c:spPr>
            <c:extLst>
              <c:ext xmlns:c16="http://schemas.microsoft.com/office/drawing/2014/chart" uri="{C3380CC4-5D6E-409C-BE32-E72D297353CC}">
                <c16:uniqueId val="{00000583-86F4-458F-B5E5-D296EB1009DF}"/>
              </c:ext>
            </c:extLst>
          </c:dPt>
          <c:dPt>
            <c:idx val="705"/>
            <c:invertIfNegative val="1"/>
            <c:bubble3D val="0"/>
            <c:spPr>
              <a:solidFill>
                <a:srgbClr val="AEABAB"/>
              </a:solidFill>
            </c:spPr>
            <c:extLst>
              <c:ext xmlns:c16="http://schemas.microsoft.com/office/drawing/2014/chart" uri="{C3380CC4-5D6E-409C-BE32-E72D297353CC}">
                <c16:uniqueId val="{00000585-86F4-458F-B5E5-D296EB1009DF}"/>
              </c:ext>
            </c:extLst>
          </c:dPt>
          <c:dPt>
            <c:idx val="706"/>
            <c:invertIfNegative val="1"/>
            <c:bubble3D val="0"/>
            <c:spPr>
              <a:solidFill>
                <a:srgbClr val="AEABAB"/>
              </a:solidFill>
            </c:spPr>
            <c:extLst>
              <c:ext xmlns:c16="http://schemas.microsoft.com/office/drawing/2014/chart" uri="{C3380CC4-5D6E-409C-BE32-E72D297353CC}">
                <c16:uniqueId val="{00000587-86F4-458F-B5E5-D296EB1009DF}"/>
              </c:ext>
            </c:extLst>
          </c:dPt>
          <c:dPt>
            <c:idx val="707"/>
            <c:invertIfNegative val="1"/>
            <c:bubble3D val="0"/>
            <c:spPr>
              <a:solidFill>
                <a:srgbClr val="AEABAB"/>
              </a:solidFill>
            </c:spPr>
            <c:extLst>
              <c:ext xmlns:c16="http://schemas.microsoft.com/office/drawing/2014/chart" uri="{C3380CC4-5D6E-409C-BE32-E72D297353CC}">
                <c16:uniqueId val="{00000589-86F4-458F-B5E5-D296EB1009DF}"/>
              </c:ext>
            </c:extLst>
          </c:dPt>
          <c:dPt>
            <c:idx val="708"/>
            <c:invertIfNegative val="1"/>
            <c:bubble3D val="0"/>
            <c:spPr>
              <a:solidFill>
                <a:srgbClr val="AEABAB"/>
              </a:solidFill>
            </c:spPr>
            <c:extLst>
              <c:ext xmlns:c16="http://schemas.microsoft.com/office/drawing/2014/chart" uri="{C3380CC4-5D6E-409C-BE32-E72D297353CC}">
                <c16:uniqueId val="{0000058B-86F4-458F-B5E5-D296EB1009DF}"/>
              </c:ext>
            </c:extLst>
          </c:dPt>
          <c:dPt>
            <c:idx val="709"/>
            <c:invertIfNegative val="1"/>
            <c:bubble3D val="0"/>
            <c:spPr>
              <a:solidFill>
                <a:srgbClr val="AEABAB"/>
              </a:solidFill>
            </c:spPr>
            <c:extLst>
              <c:ext xmlns:c16="http://schemas.microsoft.com/office/drawing/2014/chart" uri="{C3380CC4-5D6E-409C-BE32-E72D297353CC}">
                <c16:uniqueId val="{0000058D-86F4-458F-B5E5-D296EB1009DF}"/>
              </c:ext>
            </c:extLst>
          </c:dPt>
          <c:dPt>
            <c:idx val="710"/>
            <c:invertIfNegative val="1"/>
            <c:bubble3D val="0"/>
            <c:spPr>
              <a:solidFill>
                <a:srgbClr val="AEABAB"/>
              </a:solidFill>
            </c:spPr>
            <c:extLst>
              <c:ext xmlns:c16="http://schemas.microsoft.com/office/drawing/2014/chart" uri="{C3380CC4-5D6E-409C-BE32-E72D297353CC}">
                <c16:uniqueId val="{0000058F-86F4-458F-B5E5-D296EB1009DF}"/>
              </c:ext>
            </c:extLst>
          </c:dPt>
          <c:dPt>
            <c:idx val="711"/>
            <c:invertIfNegative val="1"/>
            <c:bubble3D val="0"/>
            <c:spPr>
              <a:solidFill>
                <a:srgbClr val="AEABAB"/>
              </a:solidFill>
            </c:spPr>
            <c:extLst>
              <c:ext xmlns:c16="http://schemas.microsoft.com/office/drawing/2014/chart" uri="{C3380CC4-5D6E-409C-BE32-E72D297353CC}">
                <c16:uniqueId val="{00000591-86F4-458F-B5E5-D296EB1009DF}"/>
              </c:ext>
            </c:extLst>
          </c:dPt>
          <c:dPt>
            <c:idx val="712"/>
            <c:invertIfNegative val="1"/>
            <c:bubble3D val="0"/>
            <c:spPr>
              <a:solidFill>
                <a:srgbClr val="AEABAB"/>
              </a:solidFill>
            </c:spPr>
            <c:extLst>
              <c:ext xmlns:c16="http://schemas.microsoft.com/office/drawing/2014/chart" uri="{C3380CC4-5D6E-409C-BE32-E72D297353CC}">
                <c16:uniqueId val="{00000593-86F4-458F-B5E5-D296EB1009DF}"/>
              </c:ext>
            </c:extLst>
          </c:dPt>
          <c:dPt>
            <c:idx val="713"/>
            <c:invertIfNegative val="1"/>
            <c:bubble3D val="0"/>
            <c:spPr>
              <a:solidFill>
                <a:srgbClr val="AEABAB"/>
              </a:solidFill>
            </c:spPr>
            <c:extLst>
              <c:ext xmlns:c16="http://schemas.microsoft.com/office/drawing/2014/chart" uri="{C3380CC4-5D6E-409C-BE32-E72D297353CC}">
                <c16:uniqueId val="{00000595-86F4-458F-B5E5-D296EB1009DF}"/>
              </c:ext>
            </c:extLst>
          </c:dPt>
          <c:dPt>
            <c:idx val="714"/>
            <c:invertIfNegative val="1"/>
            <c:bubble3D val="0"/>
            <c:spPr>
              <a:solidFill>
                <a:srgbClr val="AEABAB"/>
              </a:solidFill>
            </c:spPr>
            <c:extLst>
              <c:ext xmlns:c16="http://schemas.microsoft.com/office/drawing/2014/chart" uri="{C3380CC4-5D6E-409C-BE32-E72D297353CC}">
                <c16:uniqueId val="{00000597-86F4-458F-B5E5-D296EB1009DF}"/>
              </c:ext>
            </c:extLst>
          </c:dPt>
          <c:dPt>
            <c:idx val="715"/>
            <c:invertIfNegative val="1"/>
            <c:bubble3D val="0"/>
            <c:spPr>
              <a:solidFill>
                <a:srgbClr val="AEABAB"/>
              </a:solidFill>
            </c:spPr>
            <c:extLst>
              <c:ext xmlns:c16="http://schemas.microsoft.com/office/drawing/2014/chart" uri="{C3380CC4-5D6E-409C-BE32-E72D297353CC}">
                <c16:uniqueId val="{00000599-86F4-458F-B5E5-D296EB1009DF}"/>
              </c:ext>
            </c:extLst>
          </c:dPt>
          <c:dPt>
            <c:idx val="716"/>
            <c:invertIfNegative val="1"/>
            <c:bubble3D val="0"/>
            <c:spPr>
              <a:solidFill>
                <a:srgbClr val="AEABAB"/>
              </a:solidFill>
            </c:spPr>
            <c:extLst>
              <c:ext xmlns:c16="http://schemas.microsoft.com/office/drawing/2014/chart" uri="{C3380CC4-5D6E-409C-BE32-E72D297353CC}">
                <c16:uniqueId val="{0000059B-86F4-458F-B5E5-D296EB1009DF}"/>
              </c:ext>
            </c:extLst>
          </c:dPt>
          <c:dPt>
            <c:idx val="717"/>
            <c:invertIfNegative val="1"/>
            <c:bubble3D val="0"/>
            <c:spPr>
              <a:solidFill>
                <a:srgbClr val="AEABAB"/>
              </a:solidFill>
            </c:spPr>
            <c:extLst>
              <c:ext xmlns:c16="http://schemas.microsoft.com/office/drawing/2014/chart" uri="{C3380CC4-5D6E-409C-BE32-E72D297353CC}">
                <c16:uniqueId val="{0000059D-86F4-458F-B5E5-D296EB1009DF}"/>
              </c:ext>
            </c:extLst>
          </c:dPt>
          <c:dPt>
            <c:idx val="718"/>
            <c:invertIfNegative val="1"/>
            <c:bubble3D val="0"/>
            <c:spPr>
              <a:solidFill>
                <a:srgbClr val="AEABAB"/>
              </a:solidFill>
            </c:spPr>
            <c:extLst>
              <c:ext xmlns:c16="http://schemas.microsoft.com/office/drawing/2014/chart" uri="{C3380CC4-5D6E-409C-BE32-E72D297353CC}">
                <c16:uniqueId val="{0000059F-86F4-458F-B5E5-D296EB1009DF}"/>
              </c:ext>
            </c:extLst>
          </c:dPt>
          <c:dPt>
            <c:idx val="719"/>
            <c:invertIfNegative val="1"/>
            <c:bubble3D val="0"/>
            <c:spPr>
              <a:solidFill>
                <a:srgbClr val="AEABAB"/>
              </a:solidFill>
            </c:spPr>
            <c:extLst>
              <c:ext xmlns:c16="http://schemas.microsoft.com/office/drawing/2014/chart" uri="{C3380CC4-5D6E-409C-BE32-E72D297353CC}">
                <c16:uniqueId val="{000005A1-86F4-458F-B5E5-D296EB1009DF}"/>
              </c:ext>
            </c:extLst>
          </c:dPt>
          <c:dPt>
            <c:idx val="720"/>
            <c:invertIfNegative val="1"/>
            <c:bubble3D val="0"/>
            <c:spPr>
              <a:solidFill>
                <a:srgbClr val="AEABAB"/>
              </a:solidFill>
            </c:spPr>
            <c:extLst>
              <c:ext xmlns:c16="http://schemas.microsoft.com/office/drawing/2014/chart" uri="{C3380CC4-5D6E-409C-BE32-E72D297353CC}">
                <c16:uniqueId val="{000005A3-86F4-458F-B5E5-D296EB1009DF}"/>
              </c:ext>
            </c:extLst>
          </c:dPt>
          <c:dPt>
            <c:idx val="721"/>
            <c:invertIfNegative val="1"/>
            <c:bubble3D val="0"/>
            <c:spPr>
              <a:solidFill>
                <a:srgbClr val="AEABAB"/>
              </a:solidFill>
            </c:spPr>
            <c:extLst>
              <c:ext xmlns:c16="http://schemas.microsoft.com/office/drawing/2014/chart" uri="{C3380CC4-5D6E-409C-BE32-E72D297353CC}">
                <c16:uniqueId val="{000005A5-86F4-458F-B5E5-D296EB1009DF}"/>
              </c:ext>
            </c:extLst>
          </c:dPt>
          <c:dPt>
            <c:idx val="722"/>
            <c:invertIfNegative val="1"/>
            <c:bubble3D val="0"/>
            <c:spPr>
              <a:solidFill>
                <a:srgbClr val="AEABAB"/>
              </a:solidFill>
            </c:spPr>
            <c:extLst>
              <c:ext xmlns:c16="http://schemas.microsoft.com/office/drawing/2014/chart" uri="{C3380CC4-5D6E-409C-BE32-E72D297353CC}">
                <c16:uniqueId val="{000005A7-86F4-458F-B5E5-D296EB1009DF}"/>
              </c:ext>
            </c:extLst>
          </c:dPt>
          <c:dPt>
            <c:idx val="723"/>
            <c:invertIfNegative val="1"/>
            <c:bubble3D val="0"/>
            <c:spPr>
              <a:solidFill>
                <a:srgbClr val="AEABAB"/>
              </a:solidFill>
            </c:spPr>
            <c:extLst>
              <c:ext xmlns:c16="http://schemas.microsoft.com/office/drawing/2014/chart" uri="{C3380CC4-5D6E-409C-BE32-E72D297353CC}">
                <c16:uniqueId val="{000005A9-86F4-458F-B5E5-D296EB1009DF}"/>
              </c:ext>
            </c:extLst>
          </c:dPt>
          <c:dPt>
            <c:idx val="724"/>
            <c:invertIfNegative val="1"/>
            <c:bubble3D val="0"/>
            <c:spPr>
              <a:solidFill>
                <a:srgbClr val="AEABAB"/>
              </a:solidFill>
            </c:spPr>
            <c:extLst>
              <c:ext xmlns:c16="http://schemas.microsoft.com/office/drawing/2014/chart" uri="{C3380CC4-5D6E-409C-BE32-E72D297353CC}">
                <c16:uniqueId val="{000005AB-86F4-458F-B5E5-D296EB1009DF}"/>
              </c:ext>
            </c:extLst>
          </c:dPt>
          <c:dPt>
            <c:idx val="725"/>
            <c:invertIfNegative val="1"/>
            <c:bubble3D val="0"/>
            <c:spPr>
              <a:solidFill>
                <a:srgbClr val="AEABAB"/>
              </a:solidFill>
            </c:spPr>
            <c:extLst>
              <c:ext xmlns:c16="http://schemas.microsoft.com/office/drawing/2014/chart" uri="{C3380CC4-5D6E-409C-BE32-E72D297353CC}">
                <c16:uniqueId val="{000005AD-86F4-458F-B5E5-D296EB1009DF}"/>
              </c:ext>
            </c:extLst>
          </c:dPt>
          <c:dPt>
            <c:idx val="726"/>
            <c:invertIfNegative val="1"/>
            <c:bubble3D val="0"/>
            <c:spPr>
              <a:solidFill>
                <a:srgbClr val="AEABAB"/>
              </a:solidFill>
            </c:spPr>
            <c:extLst>
              <c:ext xmlns:c16="http://schemas.microsoft.com/office/drawing/2014/chart" uri="{C3380CC4-5D6E-409C-BE32-E72D297353CC}">
                <c16:uniqueId val="{000005AF-86F4-458F-B5E5-D296EB1009DF}"/>
              </c:ext>
            </c:extLst>
          </c:dPt>
          <c:dPt>
            <c:idx val="727"/>
            <c:invertIfNegative val="1"/>
            <c:bubble3D val="0"/>
            <c:spPr>
              <a:solidFill>
                <a:srgbClr val="AEABAB"/>
              </a:solidFill>
            </c:spPr>
            <c:extLst>
              <c:ext xmlns:c16="http://schemas.microsoft.com/office/drawing/2014/chart" uri="{C3380CC4-5D6E-409C-BE32-E72D297353CC}">
                <c16:uniqueId val="{000005B1-86F4-458F-B5E5-D296EB1009DF}"/>
              </c:ext>
            </c:extLst>
          </c:dPt>
          <c:dPt>
            <c:idx val="728"/>
            <c:invertIfNegative val="1"/>
            <c:bubble3D val="0"/>
            <c:spPr>
              <a:solidFill>
                <a:srgbClr val="AEABAB"/>
              </a:solidFill>
            </c:spPr>
            <c:extLst>
              <c:ext xmlns:c16="http://schemas.microsoft.com/office/drawing/2014/chart" uri="{C3380CC4-5D6E-409C-BE32-E72D297353CC}">
                <c16:uniqueId val="{000005B3-86F4-458F-B5E5-D296EB1009DF}"/>
              </c:ext>
            </c:extLst>
          </c:dPt>
          <c:dPt>
            <c:idx val="729"/>
            <c:invertIfNegative val="1"/>
            <c:bubble3D val="0"/>
            <c:spPr>
              <a:solidFill>
                <a:srgbClr val="AEABAB"/>
              </a:solidFill>
            </c:spPr>
            <c:extLst>
              <c:ext xmlns:c16="http://schemas.microsoft.com/office/drawing/2014/chart" uri="{C3380CC4-5D6E-409C-BE32-E72D297353CC}">
                <c16:uniqueId val="{000005B5-86F4-458F-B5E5-D296EB1009DF}"/>
              </c:ext>
            </c:extLst>
          </c:dPt>
          <c:dPt>
            <c:idx val="730"/>
            <c:invertIfNegative val="1"/>
            <c:bubble3D val="0"/>
            <c:spPr>
              <a:solidFill>
                <a:srgbClr val="AEABAB"/>
              </a:solidFill>
            </c:spPr>
            <c:extLst>
              <c:ext xmlns:c16="http://schemas.microsoft.com/office/drawing/2014/chart" uri="{C3380CC4-5D6E-409C-BE32-E72D297353CC}">
                <c16:uniqueId val="{000005B7-86F4-458F-B5E5-D296EB1009DF}"/>
              </c:ext>
            </c:extLst>
          </c:dPt>
          <c:dPt>
            <c:idx val="731"/>
            <c:invertIfNegative val="1"/>
            <c:bubble3D val="0"/>
            <c:spPr>
              <a:solidFill>
                <a:srgbClr val="AEABAB"/>
              </a:solidFill>
            </c:spPr>
            <c:extLst>
              <c:ext xmlns:c16="http://schemas.microsoft.com/office/drawing/2014/chart" uri="{C3380CC4-5D6E-409C-BE32-E72D297353CC}">
                <c16:uniqueId val="{000005B9-86F4-458F-B5E5-D296EB1009DF}"/>
              </c:ext>
            </c:extLst>
          </c:dPt>
          <c:dPt>
            <c:idx val="732"/>
            <c:invertIfNegative val="1"/>
            <c:bubble3D val="0"/>
            <c:spPr>
              <a:solidFill>
                <a:srgbClr val="AEABAB"/>
              </a:solidFill>
            </c:spPr>
            <c:extLst>
              <c:ext xmlns:c16="http://schemas.microsoft.com/office/drawing/2014/chart" uri="{C3380CC4-5D6E-409C-BE32-E72D297353CC}">
                <c16:uniqueId val="{000005BB-86F4-458F-B5E5-D296EB1009DF}"/>
              </c:ext>
            </c:extLst>
          </c:dPt>
          <c:dPt>
            <c:idx val="733"/>
            <c:invertIfNegative val="1"/>
            <c:bubble3D val="0"/>
            <c:spPr>
              <a:solidFill>
                <a:srgbClr val="AEABAB"/>
              </a:solidFill>
            </c:spPr>
            <c:extLst>
              <c:ext xmlns:c16="http://schemas.microsoft.com/office/drawing/2014/chart" uri="{C3380CC4-5D6E-409C-BE32-E72D297353CC}">
                <c16:uniqueId val="{000005BD-86F4-458F-B5E5-D296EB1009DF}"/>
              </c:ext>
            </c:extLst>
          </c:dPt>
          <c:dPt>
            <c:idx val="734"/>
            <c:invertIfNegative val="1"/>
            <c:bubble3D val="0"/>
            <c:spPr>
              <a:solidFill>
                <a:srgbClr val="AEABAB"/>
              </a:solidFill>
            </c:spPr>
            <c:extLst>
              <c:ext xmlns:c16="http://schemas.microsoft.com/office/drawing/2014/chart" uri="{C3380CC4-5D6E-409C-BE32-E72D297353CC}">
                <c16:uniqueId val="{000005BF-86F4-458F-B5E5-D296EB1009DF}"/>
              </c:ext>
            </c:extLst>
          </c:dPt>
          <c:dPt>
            <c:idx val="735"/>
            <c:invertIfNegative val="1"/>
            <c:bubble3D val="0"/>
            <c:spPr>
              <a:solidFill>
                <a:srgbClr val="AEABAB"/>
              </a:solidFill>
            </c:spPr>
            <c:extLst>
              <c:ext xmlns:c16="http://schemas.microsoft.com/office/drawing/2014/chart" uri="{C3380CC4-5D6E-409C-BE32-E72D297353CC}">
                <c16:uniqueId val="{000005C1-86F4-458F-B5E5-D296EB1009DF}"/>
              </c:ext>
            </c:extLst>
          </c:dPt>
          <c:dPt>
            <c:idx val="736"/>
            <c:invertIfNegative val="1"/>
            <c:bubble3D val="0"/>
            <c:spPr>
              <a:solidFill>
                <a:srgbClr val="AEABAB"/>
              </a:solidFill>
            </c:spPr>
            <c:extLst>
              <c:ext xmlns:c16="http://schemas.microsoft.com/office/drawing/2014/chart" uri="{C3380CC4-5D6E-409C-BE32-E72D297353CC}">
                <c16:uniqueId val="{000005C3-86F4-458F-B5E5-D296EB1009DF}"/>
              </c:ext>
            </c:extLst>
          </c:dPt>
          <c:dPt>
            <c:idx val="737"/>
            <c:invertIfNegative val="1"/>
            <c:bubble3D val="0"/>
            <c:spPr>
              <a:solidFill>
                <a:srgbClr val="AEABAB"/>
              </a:solidFill>
            </c:spPr>
            <c:extLst>
              <c:ext xmlns:c16="http://schemas.microsoft.com/office/drawing/2014/chart" uri="{C3380CC4-5D6E-409C-BE32-E72D297353CC}">
                <c16:uniqueId val="{000005C5-86F4-458F-B5E5-D296EB1009DF}"/>
              </c:ext>
            </c:extLst>
          </c:dPt>
          <c:dPt>
            <c:idx val="738"/>
            <c:invertIfNegative val="1"/>
            <c:bubble3D val="0"/>
            <c:spPr>
              <a:solidFill>
                <a:srgbClr val="AEABAB"/>
              </a:solidFill>
            </c:spPr>
            <c:extLst>
              <c:ext xmlns:c16="http://schemas.microsoft.com/office/drawing/2014/chart" uri="{C3380CC4-5D6E-409C-BE32-E72D297353CC}">
                <c16:uniqueId val="{000005C7-86F4-458F-B5E5-D296EB1009DF}"/>
              </c:ext>
            </c:extLst>
          </c:dPt>
          <c:dPt>
            <c:idx val="739"/>
            <c:invertIfNegative val="1"/>
            <c:bubble3D val="0"/>
            <c:spPr>
              <a:solidFill>
                <a:srgbClr val="AEABAB"/>
              </a:solidFill>
            </c:spPr>
            <c:extLst>
              <c:ext xmlns:c16="http://schemas.microsoft.com/office/drawing/2014/chart" uri="{C3380CC4-5D6E-409C-BE32-E72D297353CC}">
                <c16:uniqueId val="{000005C9-86F4-458F-B5E5-D296EB1009DF}"/>
              </c:ext>
            </c:extLst>
          </c:dPt>
          <c:dPt>
            <c:idx val="740"/>
            <c:invertIfNegative val="1"/>
            <c:bubble3D val="0"/>
            <c:spPr>
              <a:solidFill>
                <a:srgbClr val="AEABAB"/>
              </a:solidFill>
            </c:spPr>
            <c:extLst>
              <c:ext xmlns:c16="http://schemas.microsoft.com/office/drawing/2014/chart" uri="{C3380CC4-5D6E-409C-BE32-E72D297353CC}">
                <c16:uniqueId val="{000005CB-86F4-458F-B5E5-D296EB1009DF}"/>
              </c:ext>
            </c:extLst>
          </c:dPt>
          <c:dPt>
            <c:idx val="741"/>
            <c:invertIfNegative val="1"/>
            <c:bubble3D val="0"/>
            <c:spPr>
              <a:solidFill>
                <a:srgbClr val="AEABAB"/>
              </a:solidFill>
            </c:spPr>
            <c:extLst>
              <c:ext xmlns:c16="http://schemas.microsoft.com/office/drawing/2014/chart" uri="{C3380CC4-5D6E-409C-BE32-E72D297353CC}">
                <c16:uniqueId val="{000005CD-86F4-458F-B5E5-D296EB1009DF}"/>
              </c:ext>
            </c:extLst>
          </c:dPt>
          <c:dPt>
            <c:idx val="742"/>
            <c:invertIfNegative val="1"/>
            <c:bubble3D val="0"/>
            <c:spPr>
              <a:solidFill>
                <a:srgbClr val="AEABAB"/>
              </a:solidFill>
            </c:spPr>
            <c:extLst>
              <c:ext xmlns:c16="http://schemas.microsoft.com/office/drawing/2014/chart" uri="{C3380CC4-5D6E-409C-BE32-E72D297353CC}">
                <c16:uniqueId val="{000005CF-86F4-458F-B5E5-D296EB1009DF}"/>
              </c:ext>
            </c:extLst>
          </c:dPt>
          <c:dPt>
            <c:idx val="743"/>
            <c:invertIfNegative val="1"/>
            <c:bubble3D val="0"/>
            <c:spPr>
              <a:solidFill>
                <a:srgbClr val="AEABAB"/>
              </a:solidFill>
            </c:spPr>
            <c:extLst>
              <c:ext xmlns:c16="http://schemas.microsoft.com/office/drawing/2014/chart" uri="{C3380CC4-5D6E-409C-BE32-E72D297353CC}">
                <c16:uniqueId val="{000005D1-86F4-458F-B5E5-D296EB1009DF}"/>
              </c:ext>
            </c:extLst>
          </c:dPt>
          <c:dPt>
            <c:idx val="744"/>
            <c:invertIfNegative val="1"/>
            <c:bubble3D val="0"/>
            <c:spPr>
              <a:solidFill>
                <a:srgbClr val="AEABAB"/>
              </a:solidFill>
            </c:spPr>
            <c:extLst>
              <c:ext xmlns:c16="http://schemas.microsoft.com/office/drawing/2014/chart" uri="{C3380CC4-5D6E-409C-BE32-E72D297353CC}">
                <c16:uniqueId val="{000005D3-86F4-458F-B5E5-D296EB1009DF}"/>
              </c:ext>
            </c:extLst>
          </c:dPt>
          <c:dPt>
            <c:idx val="745"/>
            <c:invertIfNegative val="1"/>
            <c:bubble3D val="0"/>
            <c:spPr>
              <a:solidFill>
                <a:srgbClr val="AEABAB"/>
              </a:solidFill>
            </c:spPr>
            <c:extLst>
              <c:ext xmlns:c16="http://schemas.microsoft.com/office/drawing/2014/chart" uri="{C3380CC4-5D6E-409C-BE32-E72D297353CC}">
                <c16:uniqueId val="{000005D5-86F4-458F-B5E5-D296EB1009DF}"/>
              </c:ext>
            </c:extLst>
          </c:dPt>
          <c:dPt>
            <c:idx val="746"/>
            <c:invertIfNegative val="1"/>
            <c:bubble3D val="0"/>
            <c:spPr>
              <a:solidFill>
                <a:srgbClr val="AEABAB"/>
              </a:solidFill>
            </c:spPr>
            <c:extLst>
              <c:ext xmlns:c16="http://schemas.microsoft.com/office/drawing/2014/chart" uri="{C3380CC4-5D6E-409C-BE32-E72D297353CC}">
                <c16:uniqueId val="{000005D7-86F4-458F-B5E5-D296EB1009DF}"/>
              </c:ext>
            </c:extLst>
          </c:dPt>
          <c:dPt>
            <c:idx val="747"/>
            <c:invertIfNegative val="1"/>
            <c:bubble3D val="0"/>
            <c:spPr>
              <a:solidFill>
                <a:srgbClr val="AEABAB"/>
              </a:solidFill>
            </c:spPr>
            <c:extLst>
              <c:ext xmlns:c16="http://schemas.microsoft.com/office/drawing/2014/chart" uri="{C3380CC4-5D6E-409C-BE32-E72D297353CC}">
                <c16:uniqueId val="{000005D9-86F4-458F-B5E5-D296EB1009DF}"/>
              </c:ext>
            </c:extLst>
          </c:dPt>
          <c:dPt>
            <c:idx val="748"/>
            <c:invertIfNegative val="1"/>
            <c:bubble3D val="0"/>
            <c:spPr>
              <a:solidFill>
                <a:srgbClr val="AEABAB"/>
              </a:solidFill>
            </c:spPr>
            <c:extLst>
              <c:ext xmlns:c16="http://schemas.microsoft.com/office/drawing/2014/chart" uri="{C3380CC4-5D6E-409C-BE32-E72D297353CC}">
                <c16:uniqueId val="{000005DB-86F4-458F-B5E5-D296EB1009DF}"/>
              </c:ext>
            </c:extLst>
          </c:dPt>
          <c:dPt>
            <c:idx val="749"/>
            <c:invertIfNegative val="1"/>
            <c:bubble3D val="0"/>
            <c:spPr>
              <a:solidFill>
                <a:srgbClr val="AEABAB"/>
              </a:solidFill>
            </c:spPr>
            <c:extLst>
              <c:ext xmlns:c16="http://schemas.microsoft.com/office/drawing/2014/chart" uri="{C3380CC4-5D6E-409C-BE32-E72D297353CC}">
                <c16:uniqueId val="{000005DD-86F4-458F-B5E5-D296EB1009DF}"/>
              </c:ext>
            </c:extLst>
          </c:dPt>
          <c:dPt>
            <c:idx val="750"/>
            <c:invertIfNegative val="1"/>
            <c:bubble3D val="0"/>
            <c:spPr>
              <a:solidFill>
                <a:srgbClr val="AEABAB"/>
              </a:solidFill>
            </c:spPr>
            <c:extLst>
              <c:ext xmlns:c16="http://schemas.microsoft.com/office/drawing/2014/chart" uri="{C3380CC4-5D6E-409C-BE32-E72D297353CC}">
                <c16:uniqueId val="{000005DF-86F4-458F-B5E5-D296EB1009DF}"/>
              </c:ext>
            </c:extLst>
          </c:dPt>
          <c:dPt>
            <c:idx val="751"/>
            <c:invertIfNegative val="1"/>
            <c:bubble3D val="0"/>
            <c:spPr>
              <a:solidFill>
                <a:srgbClr val="AEABAB"/>
              </a:solidFill>
            </c:spPr>
            <c:extLst>
              <c:ext xmlns:c16="http://schemas.microsoft.com/office/drawing/2014/chart" uri="{C3380CC4-5D6E-409C-BE32-E72D297353CC}">
                <c16:uniqueId val="{000005E1-86F4-458F-B5E5-D296EB1009DF}"/>
              </c:ext>
            </c:extLst>
          </c:dPt>
          <c:dPt>
            <c:idx val="752"/>
            <c:invertIfNegative val="1"/>
            <c:bubble3D val="0"/>
            <c:spPr>
              <a:solidFill>
                <a:srgbClr val="AEABAB"/>
              </a:solidFill>
            </c:spPr>
            <c:extLst>
              <c:ext xmlns:c16="http://schemas.microsoft.com/office/drawing/2014/chart" uri="{C3380CC4-5D6E-409C-BE32-E72D297353CC}">
                <c16:uniqueId val="{000005E3-86F4-458F-B5E5-D296EB1009DF}"/>
              </c:ext>
            </c:extLst>
          </c:dPt>
          <c:dPt>
            <c:idx val="753"/>
            <c:invertIfNegative val="1"/>
            <c:bubble3D val="0"/>
            <c:spPr>
              <a:solidFill>
                <a:srgbClr val="AEABAB"/>
              </a:solidFill>
            </c:spPr>
            <c:extLst>
              <c:ext xmlns:c16="http://schemas.microsoft.com/office/drawing/2014/chart" uri="{C3380CC4-5D6E-409C-BE32-E72D297353CC}">
                <c16:uniqueId val="{000005E5-86F4-458F-B5E5-D296EB1009DF}"/>
              </c:ext>
            </c:extLst>
          </c:dPt>
          <c:dPt>
            <c:idx val="754"/>
            <c:invertIfNegative val="1"/>
            <c:bubble3D val="0"/>
            <c:spPr>
              <a:solidFill>
                <a:srgbClr val="AEABAB"/>
              </a:solidFill>
            </c:spPr>
            <c:extLst>
              <c:ext xmlns:c16="http://schemas.microsoft.com/office/drawing/2014/chart" uri="{C3380CC4-5D6E-409C-BE32-E72D297353CC}">
                <c16:uniqueId val="{000005E7-86F4-458F-B5E5-D296EB1009DF}"/>
              </c:ext>
            </c:extLst>
          </c:dPt>
          <c:dPt>
            <c:idx val="755"/>
            <c:invertIfNegative val="1"/>
            <c:bubble3D val="0"/>
            <c:spPr>
              <a:solidFill>
                <a:srgbClr val="AEABAB"/>
              </a:solidFill>
            </c:spPr>
            <c:extLst>
              <c:ext xmlns:c16="http://schemas.microsoft.com/office/drawing/2014/chart" uri="{C3380CC4-5D6E-409C-BE32-E72D297353CC}">
                <c16:uniqueId val="{000005E9-86F4-458F-B5E5-D296EB1009DF}"/>
              </c:ext>
            </c:extLst>
          </c:dPt>
          <c:dPt>
            <c:idx val="756"/>
            <c:invertIfNegative val="1"/>
            <c:bubble3D val="0"/>
            <c:spPr>
              <a:solidFill>
                <a:srgbClr val="AEABAB"/>
              </a:solidFill>
            </c:spPr>
            <c:extLst>
              <c:ext xmlns:c16="http://schemas.microsoft.com/office/drawing/2014/chart" uri="{C3380CC4-5D6E-409C-BE32-E72D297353CC}">
                <c16:uniqueId val="{000005EB-86F4-458F-B5E5-D296EB1009DF}"/>
              </c:ext>
            </c:extLst>
          </c:dPt>
          <c:dPt>
            <c:idx val="757"/>
            <c:invertIfNegative val="1"/>
            <c:bubble3D val="0"/>
            <c:spPr>
              <a:solidFill>
                <a:srgbClr val="AEABAB"/>
              </a:solidFill>
            </c:spPr>
            <c:extLst>
              <c:ext xmlns:c16="http://schemas.microsoft.com/office/drawing/2014/chart" uri="{C3380CC4-5D6E-409C-BE32-E72D297353CC}">
                <c16:uniqueId val="{000005ED-86F4-458F-B5E5-D296EB1009DF}"/>
              </c:ext>
            </c:extLst>
          </c:dPt>
          <c:dPt>
            <c:idx val="758"/>
            <c:invertIfNegative val="1"/>
            <c:bubble3D val="0"/>
            <c:spPr>
              <a:solidFill>
                <a:srgbClr val="AEABAB"/>
              </a:solidFill>
            </c:spPr>
            <c:extLst>
              <c:ext xmlns:c16="http://schemas.microsoft.com/office/drawing/2014/chart" uri="{C3380CC4-5D6E-409C-BE32-E72D297353CC}">
                <c16:uniqueId val="{000005EF-86F4-458F-B5E5-D296EB1009DF}"/>
              </c:ext>
            </c:extLst>
          </c:dPt>
          <c:dPt>
            <c:idx val="759"/>
            <c:invertIfNegative val="1"/>
            <c:bubble3D val="0"/>
            <c:spPr>
              <a:solidFill>
                <a:srgbClr val="AEABAB"/>
              </a:solidFill>
            </c:spPr>
            <c:extLst>
              <c:ext xmlns:c16="http://schemas.microsoft.com/office/drawing/2014/chart" uri="{C3380CC4-5D6E-409C-BE32-E72D297353CC}">
                <c16:uniqueId val="{000005F1-86F4-458F-B5E5-D296EB1009DF}"/>
              </c:ext>
            </c:extLst>
          </c:dPt>
          <c:dPt>
            <c:idx val="760"/>
            <c:invertIfNegative val="1"/>
            <c:bubble3D val="0"/>
            <c:spPr>
              <a:solidFill>
                <a:srgbClr val="AEABAB"/>
              </a:solidFill>
            </c:spPr>
            <c:extLst>
              <c:ext xmlns:c16="http://schemas.microsoft.com/office/drawing/2014/chart" uri="{C3380CC4-5D6E-409C-BE32-E72D297353CC}">
                <c16:uniqueId val="{000005F3-86F4-458F-B5E5-D296EB1009DF}"/>
              </c:ext>
            </c:extLst>
          </c:dPt>
          <c:dPt>
            <c:idx val="761"/>
            <c:invertIfNegative val="1"/>
            <c:bubble3D val="0"/>
            <c:spPr>
              <a:solidFill>
                <a:srgbClr val="AEABAB"/>
              </a:solidFill>
            </c:spPr>
            <c:extLst>
              <c:ext xmlns:c16="http://schemas.microsoft.com/office/drawing/2014/chart" uri="{C3380CC4-5D6E-409C-BE32-E72D297353CC}">
                <c16:uniqueId val="{000005F5-86F4-458F-B5E5-D296EB1009DF}"/>
              </c:ext>
            </c:extLst>
          </c:dPt>
          <c:dPt>
            <c:idx val="762"/>
            <c:invertIfNegative val="1"/>
            <c:bubble3D val="0"/>
            <c:spPr>
              <a:solidFill>
                <a:srgbClr val="AEABAB"/>
              </a:solidFill>
            </c:spPr>
            <c:extLst>
              <c:ext xmlns:c16="http://schemas.microsoft.com/office/drawing/2014/chart" uri="{C3380CC4-5D6E-409C-BE32-E72D297353CC}">
                <c16:uniqueId val="{000005F7-86F4-458F-B5E5-D296EB1009DF}"/>
              </c:ext>
            </c:extLst>
          </c:dPt>
          <c:dPt>
            <c:idx val="763"/>
            <c:invertIfNegative val="1"/>
            <c:bubble3D val="0"/>
            <c:spPr>
              <a:solidFill>
                <a:srgbClr val="AEABAB"/>
              </a:solidFill>
            </c:spPr>
            <c:extLst>
              <c:ext xmlns:c16="http://schemas.microsoft.com/office/drawing/2014/chart" uri="{C3380CC4-5D6E-409C-BE32-E72D297353CC}">
                <c16:uniqueId val="{000005F9-86F4-458F-B5E5-D296EB1009DF}"/>
              </c:ext>
            </c:extLst>
          </c:dPt>
          <c:dPt>
            <c:idx val="764"/>
            <c:invertIfNegative val="1"/>
            <c:bubble3D val="0"/>
            <c:spPr>
              <a:solidFill>
                <a:srgbClr val="AEABAB"/>
              </a:solidFill>
            </c:spPr>
            <c:extLst>
              <c:ext xmlns:c16="http://schemas.microsoft.com/office/drawing/2014/chart" uri="{C3380CC4-5D6E-409C-BE32-E72D297353CC}">
                <c16:uniqueId val="{000005FB-86F4-458F-B5E5-D296EB1009DF}"/>
              </c:ext>
            </c:extLst>
          </c:dPt>
          <c:dPt>
            <c:idx val="765"/>
            <c:invertIfNegative val="1"/>
            <c:bubble3D val="0"/>
            <c:spPr>
              <a:solidFill>
                <a:srgbClr val="AEABAB"/>
              </a:solidFill>
            </c:spPr>
            <c:extLst>
              <c:ext xmlns:c16="http://schemas.microsoft.com/office/drawing/2014/chart" uri="{C3380CC4-5D6E-409C-BE32-E72D297353CC}">
                <c16:uniqueId val="{000005FD-86F4-458F-B5E5-D296EB1009DF}"/>
              </c:ext>
            </c:extLst>
          </c:dPt>
          <c:dPt>
            <c:idx val="766"/>
            <c:invertIfNegative val="1"/>
            <c:bubble3D val="0"/>
            <c:spPr>
              <a:solidFill>
                <a:srgbClr val="AEABAB"/>
              </a:solidFill>
            </c:spPr>
            <c:extLst>
              <c:ext xmlns:c16="http://schemas.microsoft.com/office/drawing/2014/chart" uri="{C3380CC4-5D6E-409C-BE32-E72D297353CC}">
                <c16:uniqueId val="{000005FF-86F4-458F-B5E5-D296EB1009DF}"/>
              </c:ext>
            </c:extLst>
          </c:dPt>
          <c:dPt>
            <c:idx val="767"/>
            <c:invertIfNegative val="1"/>
            <c:bubble3D val="0"/>
            <c:spPr>
              <a:solidFill>
                <a:srgbClr val="AEABAB"/>
              </a:solidFill>
            </c:spPr>
            <c:extLst>
              <c:ext xmlns:c16="http://schemas.microsoft.com/office/drawing/2014/chart" uri="{C3380CC4-5D6E-409C-BE32-E72D297353CC}">
                <c16:uniqueId val="{00000601-86F4-458F-B5E5-D296EB1009DF}"/>
              </c:ext>
            </c:extLst>
          </c:dPt>
          <c:dPt>
            <c:idx val="768"/>
            <c:invertIfNegative val="1"/>
            <c:bubble3D val="0"/>
            <c:spPr>
              <a:solidFill>
                <a:srgbClr val="AEABAB"/>
              </a:solidFill>
            </c:spPr>
            <c:extLst>
              <c:ext xmlns:c16="http://schemas.microsoft.com/office/drawing/2014/chart" uri="{C3380CC4-5D6E-409C-BE32-E72D297353CC}">
                <c16:uniqueId val="{00000603-86F4-458F-B5E5-D296EB1009DF}"/>
              </c:ext>
            </c:extLst>
          </c:dPt>
          <c:dPt>
            <c:idx val="769"/>
            <c:invertIfNegative val="1"/>
            <c:bubble3D val="0"/>
            <c:spPr>
              <a:solidFill>
                <a:srgbClr val="AEABAB"/>
              </a:solidFill>
            </c:spPr>
            <c:extLst>
              <c:ext xmlns:c16="http://schemas.microsoft.com/office/drawing/2014/chart" uri="{C3380CC4-5D6E-409C-BE32-E72D297353CC}">
                <c16:uniqueId val="{00000605-86F4-458F-B5E5-D296EB1009DF}"/>
              </c:ext>
            </c:extLst>
          </c:dPt>
          <c:dPt>
            <c:idx val="770"/>
            <c:invertIfNegative val="1"/>
            <c:bubble3D val="0"/>
            <c:spPr>
              <a:solidFill>
                <a:srgbClr val="AEABAB"/>
              </a:solidFill>
            </c:spPr>
            <c:extLst>
              <c:ext xmlns:c16="http://schemas.microsoft.com/office/drawing/2014/chart" uri="{C3380CC4-5D6E-409C-BE32-E72D297353CC}">
                <c16:uniqueId val="{00000607-86F4-458F-B5E5-D296EB1009DF}"/>
              </c:ext>
            </c:extLst>
          </c:dPt>
          <c:dPt>
            <c:idx val="771"/>
            <c:invertIfNegative val="1"/>
            <c:bubble3D val="0"/>
            <c:spPr>
              <a:solidFill>
                <a:srgbClr val="AEABAB"/>
              </a:solidFill>
            </c:spPr>
            <c:extLst>
              <c:ext xmlns:c16="http://schemas.microsoft.com/office/drawing/2014/chart" uri="{C3380CC4-5D6E-409C-BE32-E72D297353CC}">
                <c16:uniqueId val="{00000609-86F4-458F-B5E5-D296EB1009DF}"/>
              </c:ext>
            </c:extLst>
          </c:dPt>
          <c:dPt>
            <c:idx val="772"/>
            <c:invertIfNegative val="1"/>
            <c:bubble3D val="0"/>
            <c:spPr>
              <a:solidFill>
                <a:srgbClr val="AEABAB"/>
              </a:solidFill>
            </c:spPr>
            <c:extLst>
              <c:ext xmlns:c16="http://schemas.microsoft.com/office/drawing/2014/chart" uri="{C3380CC4-5D6E-409C-BE32-E72D297353CC}">
                <c16:uniqueId val="{0000060B-86F4-458F-B5E5-D296EB1009DF}"/>
              </c:ext>
            </c:extLst>
          </c:dPt>
          <c:dPt>
            <c:idx val="773"/>
            <c:invertIfNegative val="1"/>
            <c:bubble3D val="0"/>
            <c:spPr>
              <a:solidFill>
                <a:srgbClr val="AEABAB"/>
              </a:solidFill>
            </c:spPr>
            <c:extLst>
              <c:ext xmlns:c16="http://schemas.microsoft.com/office/drawing/2014/chart" uri="{C3380CC4-5D6E-409C-BE32-E72D297353CC}">
                <c16:uniqueId val="{0000060D-86F4-458F-B5E5-D296EB1009DF}"/>
              </c:ext>
            </c:extLst>
          </c:dPt>
          <c:dPt>
            <c:idx val="774"/>
            <c:invertIfNegative val="1"/>
            <c:bubble3D val="0"/>
            <c:spPr>
              <a:solidFill>
                <a:srgbClr val="AEABAB"/>
              </a:solidFill>
            </c:spPr>
            <c:extLst>
              <c:ext xmlns:c16="http://schemas.microsoft.com/office/drawing/2014/chart" uri="{C3380CC4-5D6E-409C-BE32-E72D297353CC}">
                <c16:uniqueId val="{0000060F-86F4-458F-B5E5-D296EB1009DF}"/>
              </c:ext>
            </c:extLst>
          </c:dPt>
          <c:dPt>
            <c:idx val="775"/>
            <c:invertIfNegative val="1"/>
            <c:bubble3D val="0"/>
            <c:spPr>
              <a:solidFill>
                <a:srgbClr val="AEABAB"/>
              </a:solidFill>
            </c:spPr>
            <c:extLst>
              <c:ext xmlns:c16="http://schemas.microsoft.com/office/drawing/2014/chart" uri="{C3380CC4-5D6E-409C-BE32-E72D297353CC}">
                <c16:uniqueId val="{00000611-86F4-458F-B5E5-D296EB1009DF}"/>
              </c:ext>
            </c:extLst>
          </c:dPt>
          <c:dPt>
            <c:idx val="776"/>
            <c:invertIfNegative val="1"/>
            <c:bubble3D val="0"/>
            <c:spPr>
              <a:solidFill>
                <a:srgbClr val="AEABAB"/>
              </a:solidFill>
            </c:spPr>
            <c:extLst>
              <c:ext xmlns:c16="http://schemas.microsoft.com/office/drawing/2014/chart" uri="{C3380CC4-5D6E-409C-BE32-E72D297353CC}">
                <c16:uniqueId val="{00000613-86F4-458F-B5E5-D296EB1009DF}"/>
              </c:ext>
            </c:extLst>
          </c:dPt>
          <c:dPt>
            <c:idx val="777"/>
            <c:invertIfNegative val="1"/>
            <c:bubble3D val="0"/>
            <c:spPr>
              <a:solidFill>
                <a:srgbClr val="AEABAB"/>
              </a:solidFill>
            </c:spPr>
            <c:extLst>
              <c:ext xmlns:c16="http://schemas.microsoft.com/office/drawing/2014/chart" uri="{C3380CC4-5D6E-409C-BE32-E72D297353CC}">
                <c16:uniqueId val="{00000615-86F4-458F-B5E5-D296EB1009DF}"/>
              </c:ext>
            </c:extLst>
          </c:dPt>
          <c:dPt>
            <c:idx val="778"/>
            <c:invertIfNegative val="1"/>
            <c:bubble3D val="0"/>
            <c:spPr>
              <a:solidFill>
                <a:srgbClr val="AEABAB"/>
              </a:solidFill>
            </c:spPr>
            <c:extLst>
              <c:ext xmlns:c16="http://schemas.microsoft.com/office/drawing/2014/chart" uri="{C3380CC4-5D6E-409C-BE32-E72D297353CC}">
                <c16:uniqueId val="{00000617-86F4-458F-B5E5-D296EB1009DF}"/>
              </c:ext>
            </c:extLst>
          </c:dPt>
          <c:dPt>
            <c:idx val="779"/>
            <c:invertIfNegative val="1"/>
            <c:bubble3D val="0"/>
            <c:spPr>
              <a:solidFill>
                <a:srgbClr val="AEABAB"/>
              </a:solidFill>
            </c:spPr>
            <c:extLst>
              <c:ext xmlns:c16="http://schemas.microsoft.com/office/drawing/2014/chart" uri="{C3380CC4-5D6E-409C-BE32-E72D297353CC}">
                <c16:uniqueId val="{00000619-86F4-458F-B5E5-D296EB1009DF}"/>
              </c:ext>
            </c:extLst>
          </c:dPt>
          <c:dPt>
            <c:idx val="780"/>
            <c:invertIfNegative val="1"/>
            <c:bubble3D val="0"/>
            <c:spPr>
              <a:solidFill>
                <a:srgbClr val="AEABAB"/>
              </a:solidFill>
            </c:spPr>
            <c:extLst>
              <c:ext xmlns:c16="http://schemas.microsoft.com/office/drawing/2014/chart" uri="{C3380CC4-5D6E-409C-BE32-E72D297353CC}">
                <c16:uniqueId val="{0000061B-86F4-458F-B5E5-D296EB1009DF}"/>
              </c:ext>
            </c:extLst>
          </c:dPt>
          <c:dPt>
            <c:idx val="781"/>
            <c:invertIfNegative val="1"/>
            <c:bubble3D val="0"/>
            <c:spPr>
              <a:solidFill>
                <a:srgbClr val="AEABAB"/>
              </a:solidFill>
            </c:spPr>
            <c:extLst>
              <c:ext xmlns:c16="http://schemas.microsoft.com/office/drawing/2014/chart" uri="{C3380CC4-5D6E-409C-BE32-E72D297353CC}">
                <c16:uniqueId val="{0000061D-86F4-458F-B5E5-D296EB1009DF}"/>
              </c:ext>
            </c:extLst>
          </c:dPt>
          <c:dPt>
            <c:idx val="782"/>
            <c:invertIfNegative val="1"/>
            <c:bubble3D val="0"/>
            <c:spPr>
              <a:solidFill>
                <a:srgbClr val="AEABAB"/>
              </a:solidFill>
            </c:spPr>
            <c:extLst>
              <c:ext xmlns:c16="http://schemas.microsoft.com/office/drawing/2014/chart" uri="{C3380CC4-5D6E-409C-BE32-E72D297353CC}">
                <c16:uniqueId val="{0000061F-86F4-458F-B5E5-D296EB1009DF}"/>
              </c:ext>
            </c:extLst>
          </c:dPt>
          <c:dPt>
            <c:idx val="783"/>
            <c:invertIfNegative val="1"/>
            <c:bubble3D val="0"/>
            <c:spPr>
              <a:solidFill>
                <a:srgbClr val="AEABAB"/>
              </a:solidFill>
            </c:spPr>
            <c:extLst>
              <c:ext xmlns:c16="http://schemas.microsoft.com/office/drawing/2014/chart" uri="{C3380CC4-5D6E-409C-BE32-E72D297353CC}">
                <c16:uniqueId val="{00000621-86F4-458F-B5E5-D296EB1009DF}"/>
              </c:ext>
            </c:extLst>
          </c:dPt>
          <c:dPt>
            <c:idx val="784"/>
            <c:invertIfNegative val="1"/>
            <c:bubble3D val="0"/>
            <c:spPr>
              <a:solidFill>
                <a:srgbClr val="AEABAB"/>
              </a:solidFill>
            </c:spPr>
            <c:extLst>
              <c:ext xmlns:c16="http://schemas.microsoft.com/office/drawing/2014/chart" uri="{C3380CC4-5D6E-409C-BE32-E72D297353CC}">
                <c16:uniqueId val="{00000623-86F4-458F-B5E5-D296EB1009DF}"/>
              </c:ext>
            </c:extLst>
          </c:dPt>
          <c:dPt>
            <c:idx val="785"/>
            <c:invertIfNegative val="1"/>
            <c:bubble3D val="0"/>
            <c:spPr>
              <a:solidFill>
                <a:srgbClr val="AEABAB"/>
              </a:solidFill>
            </c:spPr>
            <c:extLst>
              <c:ext xmlns:c16="http://schemas.microsoft.com/office/drawing/2014/chart" uri="{C3380CC4-5D6E-409C-BE32-E72D297353CC}">
                <c16:uniqueId val="{00000625-86F4-458F-B5E5-D296EB1009DF}"/>
              </c:ext>
            </c:extLst>
          </c:dPt>
          <c:dPt>
            <c:idx val="786"/>
            <c:invertIfNegative val="1"/>
            <c:bubble3D val="0"/>
            <c:spPr>
              <a:solidFill>
                <a:srgbClr val="AEABAB"/>
              </a:solidFill>
            </c:spPr>
            <c:extLst>
              <c:ext xmlns:c16="http://schemas.microsoft.com/office/drawing/2014/chart" uri="{C3380CC4-5D6E-409C-BE32-E72D297353CC}">
                <c16:uniqueId val="{00000627-86F4-458F-B5E5-D296EB1009DF}"/>
              </c:ext>
            </c:extLst>
          </c:dPt>
          <c:dPt>
            <c:idx val="787"/>
            <c:invertIfNegative val="1"/>
            <c:bubble3D val="0"/>
            <c:spPr>
              <a:solidFill>
                <a:srgbClr val="AEABAB"/>
              </a:solidFill>
            </c:spPr>
            <c:extLst>
              <c:ext xmlns:c16="http://schemas.microsoft.com/office/drawing/2014/chart" uri="{C3380CC4-5D6E-409C-BE32-E72D297353CC}">
                <c16:uniqueId val="{00000629-86F4-458F-B5E5-D296EB1009DF}"/>
              </c:ext>
            </c:extLst>
          </c:dPt>
          <c:dPt>
            <c:idx val="788"/>
            <c:invertIfNegative val="1"/>
            <c:bubble3D val="0"/>
            <c:spPr>
              <a:solidFill>
                <a:srgbClr val="AEABAB"/>
              </a:solidFill>
            </c:spPr>
            <c:extLst>
              <c:ext xmlns:c16="http://schemas.microsoft.com/office/drawing/2014/chart" uri="{C3380CC4-5D6E-409C-BE32-E72D297353CC}">
                <c16:uniqueId val="{0000062B-86F4-458F-B5E5-D296EB1009DF}"/>
              </c:ext>
            </c:extLst>
          </c:dPt>
          <c:dPt>
            <c:idx val="789"/>
            <c:invertIfNegative val="1"/>
            <c:bubble3D val="0"/>
            <c:spPr>
              <a:solidFill>
                <a:srgbClr val="AEABAB"/>
              </a:solidFill>
            </c:spPr>
            <c:extLst>
              <c:ext xmlns:c16="http://schemas.microsoft.com/office/drawing/2014/chart" uri="{C3380CC4-5D6E-409C-BE32-E72D297353CC}">
                <c16:uniqueId val="{0000062D-86F4-458F-B5E5-D296EB1009DF}"/>
              </c:ext>
            </c:extLst>
          </c:dPt>
          <c:dPt>
            <c:idx val="790"/>
            <c:invertIfNegative val="1"/>
            <c:bubble3D val="0"/>
            <c:spPr>
              <a:solidFill>
                <a:srgbClr val="AEABAB"/>
              </a:solidFill>
            </c:spPr>
            <c:extLst>
              <c:ext xmlns:c16="http://schemas.microsoft.com/office/drawing/2014/chart" uri="{C3380CC4-5D6E-409C-BE32-E72D297353CC}">
                <c16:uniqueId val="{0000062F-86F4-458F-B5E5-D296EB1009DF}"/>
              </c:ext>
            </c:extLst>
          </c:dPt>
          <c:dPt>
            <c:idx val="791"/>
            <c:invertIfNegative val="1"/>
            <c:bubble3D val="0"/>
            <c:spPr>
              <a:solidFill>
                <a:srgbClr val="AEABAB"/>
              </a:solidFill>
            </c:spPr>
            <c:extLst>
              <c:ext xmlns:c16="http://schemas.microsoft.com/office/drawing/2014/chart" uri="{C3380CC4-5D6E-409C-BE32-E72D297353CC}">
                <c16:uniqueId val="{00000631-86F4-458F-B5E5-D296EB1009DF}"/>
              </c:ext>
            </c:extLst>
          </c:dPt>
          <c:dPt>
            <c:idx val="792"/>
            <c:invertIfNegative val="1"/>
            <c:bubble3D val="0"/>
            <c:spPr>
              <a:solidFill>
                <a:srgbClr val="AEABAB"/>
              </a:solidFill>
            </c:spPr>
            <c:extLst>
              <c:ext xmlns:c16="http://schemas.microsoft.com/office/drawing/2014/chart" uri="{C3380CC4-5D6E-409C-BE32-E72D297353CC}">
                <c16:uniqueId val="{00000633-86F4-458F-B5E5-D296EB1009DF}"/>
              </c:ext>
            </c:extLst>
          </c:dPt>
          <c:dPt>
            <c:idx val="793"/>
            <c:invertIfNegative val="1"/>
            <c:bubble3D val="0"/>
            <c:spPr>
              <a:solidFill>
                <a:srgbClr val="AEABAB"/>
              </a:solidFill>
            </c:spPr>
            <c:extLst>
              <c:ext xmlns:c16="http://schemas.microsoft.com/office/drawing/2014/chart" uri="{C3380CC4-5D6E-409C-BE32-E72D297353CC}">
                <c16:uniqueId val="{00000635-86F4-458F-B5E5-D296EB1009DF}"/>
              </c:ext>
            </c:extLst>
          </c:dPt>
          <c:dPt>
            <c:idx val="794"/>
            <c:invertIfNegative val="1"/>
            <c:bubble3D val="0"/>
            <c:spPr>
              <a:solidFill>
                <a:srgbClr val="AEABAB"/>
              </a:solidFill>
            </c:spPr>
            <c:extLst>
              <c:ext xmlns:c16="http://schemas.microsoft.com/office/drawing/2014/chart" uri="{C3380CC4-5D6E-409C-BE32-E72D297353CC}">
                <c16:uniqueId val="{00000637-86F4-458F-B5E5-D296EB1009DF}"/>
              </c:ext>
            </c:extLst>
          </c:dPt>
          <c:dPt>
            <c:idx val="795"/>
            <c:invertIfNegative val="1"/>
            <c:bubble3D val="0"/>
            <c:spPr>
              <a:solidFill>
                <a:srgbClr val="AEABAB"/>
              </a:solidFill>
            </c:spPr>
            <c:extLst>
              <c:ext xmlns:c16="http://schemas.microsoft.com/office/drawing/2014/chart" uri="{C3380CC4-5D6E-409C-BE32-E72D297353CC}">
                <c16:uniqueId val="{00000639-86F4-458F-B5E5-D296EB1009DF}"/>
              </c:ext>
            </c:extLst>
          </c:dPt>
          <c:dPt>
            <c:idx val="796"/>
            <c:invertIfNegative val="1"/>
            <c:bubble3D val="0"/>
            <c:spPr>
              <a:solidFill>
                <a:srgbClr val="AEABAB"/>
              </a:solidFill>
            </c:spPr>
            <c:extLst>
              <c:ext xmlns:c16="http://schemas.microsoft.com/office/drawing/2014/chart" uri="{C3380CC4-5D6E-409C-BE32-E72D297353CC}">
                <c16:uniqueId val="{0000063B-86F4-458F-B5E5-D296EB1009DF}"/>
              </c:ext>
            </c:extLst>
          </c:dPt>
          <c:dPt>
            <c:idx val="797"/>
            <c:invertIfNegative val="1"/>
            <c:bubble3D val="0"/>
            <c:spPr>
              <a:solidFill>
                <a:srgbClr val="AEABAB"/>
              </a:solidFill>
            </c:spPr>
            <c:extLst>
              <c:ext xmlns:c16="http://schemas.microsoft.com/office/drawing/2014/chart" uri="{C3380CC4-5D6E-409C-BE32-E72D297353CC}">
                <c16:uniqueId val="{0000063D-86F4-458F-B5E5-D296EB1009DF}"/>
              </c:ext>
            </c:extLst>
          </c:dPt>
          <c:dPt>
            <c:idx val="798"/>
            <c:invertIfNegative val="1"/>
            <c:bubble3D val="0"/>
            <c:spPr>
              <a:solidFill>
                <a:srgbClr val="AEABAB"/>
              </a:solidFill>
            </c:spPr>
            <c:extLst>
              <c:ext xmlns:c16="http://schemas.microsoft.com/office/drawing/2014/chart" uri="{C3380CC4-5D6E-409C-BE32-E72D297353CC}">
                <c16:uniqueId val="{0000063F-86F4-458F-B5E5-D296EB1009DF}"/>
              </c:ext>
            </c:extLst>
          </c:dPt>
          <c:dPt>
            <c:idx val="799"/>
            <c:invertIfNegative val="1"/>
            <c:bubble3D val="0"/>
            <c:spPr>
              <a:solidFill>
                <a:srgbClr val="AEABAB"/>
              </a:solidFill>
            </c:spPr>
            <c:extLst>
              <c:ext xmlns:c16="http://schemas.microsoft.com/office/drawing/2014/chart" uri="{C3380CC4-5D6E-409C-BE32-E72D297353CC}">
                <c16:uniqueId val="{00000641-86F4-458F-B5E5-D296EB1009DF}"/>
              </c:ext>
            </c:extLst>
          </c:dPt>
          <c:dPt>
            <c:idx val="800"/>
            <c:invertIfNegative val="1"/>
            <c:bubble3D val="0"/>
            <c:spPr>
              <a:solidFill>
                <a:srgbClr val="AEABAB"/>
              </a:solidFill>
            </c:spPr>
            <c:extLst>
              <c:ext xmlns:c16="http://schemas.microsoft.com/office/drawing/2014/chart" uri="{C3380CC4-5D6E-409C-BE32-E72D297353CC}">
                <c16:uniqueId val="{00000643-86F4-458F-B5E5-D296EB1009DF}"/>
              </c:ext>
            </c:extLst>
          </c:dPt>
          <c:dPt>
            <c:idx val="801"/>
            <c:invertIfNegative val="1"/>
            <c:bubble3D val="0"/>
            <c:spPr>
              <a:solidFill>
                <a:srgbClr val="AEABAB"/>
              </a:solidFill>
            </c:spPr>
            <c:extLst>
              <c:ext xmlns:c16="http://schemas.microsoft.com/office/drawing/2014/chart" uri="{C3380CC4-5D6E-409C-BE32-E72D297353CC}">
                <c16:uniqueId val="{00000645-86F4-458F-B5E5-D296EB1009DF}"/>
              </c:ext>
            </c:extLst>
          </c:dPt>
          <c:dPt>
            <c:idx val="802"/>
            <c:invertIfNegative val="1"/>
            <c:bubble3D val="0"/>
            <c:spPr>
              <a:solidFill>
                <a:srgbClr val="AEABAB"/>
              </a:solidFill>
            </c:spPr>
            <c:extLst>
              <c:ext xmlns:c16="http://schemas.microsoft.com/office/drawing/2014/chart" uri="{C3380CC4-5D6E-409C-BE32-E72D297353CC}">
                <c16:uniqueId val="{00000647-86F4-458F-B5E5-D296EB1009DF}"/>
              </c:ext>
            </c:extLst>
          </c:dPt>
          <c:dPt>
            <c:idx val="803"/>
            <c:invertIfNegative val="1"/>
            <c:bubble3D val="0"/>
            <c:spPr>
              <a:solidFill>
                <a:srgbClr val="AEABAB"/>
              </a:solidFill>
            </c:spPr>
            <c:extLst>
              <c:ext xmlns:c16="http://schemas.microsoft.com/office/drawing/2014/chart" uri="{C3380CC4-5D6E-409C-BE32-E72D297353CC}">
                <c16:uniqueId val="{00000649-86F4-458F-B5E5-D296EB1009DF}"/>
              </c:ext>
            </c:extLst>
          </c:dPt>
          <c:dPt>
            <c:idx val="804"/>
            <c:invertIfNegative val="1"/>
            <c:bubble3D val="0"/>
            <c:spPr>
              <a:solidFill>
                <a:srgbClr val="AEABAB"/>
              </a:solidFill>
            </c:spPr>
            <c:extLst>
              <c:ext xmlns:c16="http://schemas.microsoft.com/office/drawing/2014/chart" uri="{C3380CC4-5D6E-409C-BE32-E72D297353CC}">
                <c16:uniqueId val="{0000064B-86F4-458F-B5E5-D296EB1009DF}"/>
              </c:ext>
            </c:extLst>
          </c:dPt>
          <c:dPt>
            <c:idx val="805"/>
            <c:invertIfNegative val="1"/>
            <c:bubble3D val="0"/>
            <c:spPr>
              <a:solidFill>
                <a:srgbClr val="AEABAB"/>
              </a:solidFill>
            </c:spPr>
            <c:extLst>
              <c:ext xmlns:c16="http://schemas.microsoft.com/office/drawing/2014/chart" uri="{C3380CC4-5D6E-409C-BE32-E72D297353CC}">
                <c16:uniqueId val="{0000064D-86F4-458F-B5E5-D296EB1009DF}"/>
              </c:ext>
            </c:extLst>
          </c:dPt>
          <c:dPt>
            <c:idx val="806"/>
            <c:invertIfNegative val="1"/>
            <c:bubble3D val="0"/>
            <c:spPr>
              <a:solidFill>
                <a:srgbClr val="AEABAB"/>
              </a:solidFill>
            </c:spPr>
            <c:extLst>
              <c:ext xmlns:c16="http://schemas.microsoft.com/office/drawing/2014/chart" uri="{C3380CC4-5D6E-409C-BE32-E72D297353CC}">
                <c16:uniqueId val="{0000064F-86F4-458F-B5E5-D296EB1009DF}"/>
              </c:ext>
            </c:extLst>
          </c:dPt>
          <c:dPt>
            <c:idx val="807"/>
            <c:invertIfNegative val="1"/>
            <c:bubble3D val="0"/>
            <c:spPr>
              <a:solidFill>
                <a:srgbClr val="AEABAB"/>
              </a:solidFill>
            </c:spPr>
            <c:extLst>
              <c:ext xmlns:c16="http://schemas.microsoft.com/office/drawing/2014/chart" uri="{C3380CC4-5D6E-409C-BE32-E72D297353CC}">
                <c16:uniqueId val="{00000651-86F4-458F-B5E5-D296EB1009DF}"/>
              </c:ext>
            </c:extLst>
          </c:dPt>
          <c:dPt>
            <c:idx val="808"/>
            <c:invertIfNegative val="1"/>
            <c:bubble3D val="0"/>
            <c:spPr>
              <a:solidFill>
                <a:srgbClr val="AEABAB"/>
              </a:solidFill>
            </c:spPr>
            <c:extLst>
              <c:ext xmlns:c16="http://schemas.microsoft.com/office/drawing/2014/chart" uri="{C3380CC4-5D6E-409C-BE32-E72D297353CC}">
                <c16:uniqueId val="{00000653-86F4-458F-B5E5-D296EB1009DF}"/>
              </c:ext>
            </c:extLst>
          </c:dPt>
          <c:dPt>
            <c:idx val="809"/>
            <c:invertIfNegative val="1"/>
            <c:bubble3D val="0"/>
            <c:spPr>
              <a:solidFill>
                <a:srgbClr val="AEABAB"/>
              </a:solidFill>
            </c:spPr>
            <c:extLst>
              <c:ext xmlns:c16="http://schemas.microsoft.com/office/drawing/2014/chart" uri="{C3380CC4-5D6E-409C-BE32-E72D297353CC}">
                <c16:uniqueId val="{00000655-86F4-458F-B5E5-D296EB1009DF}"/>
              </c:ext>
            </c:extLst>
          </c:dPt>
          <c:dPt>
            <c:idx val="810"/>
            <c:invertIfNegative val="1"/>
            <c:bubble3D val="0"/>
            <c:spPr>
              <a:solidFill>
                <a:srgbClr val="AEABAB"/>
              </a:solidFill>
            </c:spPr>
            <c:extLst>
              <c:ext xmlns:c16="http://schemas.microsoft.com/office/drawing/2014/chart" uri="{C3380CC4-5D6E-409C-BE32-E72D297353CC}">
                <c16:uniqueId val="{00000657-86F4-458F-B5E5-D296EB1009DF}"/>
              </c:ext>
            </c:extLst>
          </c:dPt>
          <c:dPt>
            <c:idx val="811"/>
            <c:invertIfNegative val="1"/>
            <c:bubble3D val="0"/>
            <c:spPr>
              <a:solidFill>
                <a:srgbClr val="AEABAB"/>
              </a:solidFill>
            </c:spPr>
            <c:extLst>
              <c:ext xmlns:c16="http://schemas.microsoft.com/office/drawing/2014/chart" uri="{C3380CC4-5D6E-409C-BE32-E72D297353CC}">
                <c16:uniqueId val="{00000659-86F4-458F-B5E5-D296EB1009DF}"/>
              </c:ext>
            </c:extLst>
          </c:dPt>
          <c:dPt>
            <c:idx val="812"/>
            <c:invertIfNegative val="1"/>
            <c:bubble3D val="0"/>
            <c:spPr>
              <a:solidFill>
                <a:srgbClr val="AEABAB"/>
              </a:solidFill>
            </c:spPr>
            <c:extLst>
              <c:ext xmlns:c16="http://schemas.microsoft.com/office/drawing/2014/chart" uri="{C3380CC4-5D6E-409C-BE32-E72D297353CC}">
                <c16:uniqueId val="{0000065B-86F4-458F-B5E5-D296EB1009DF}"/>
              </c:ext>
            </c:extLst>
          </c:dPt>
          <c:dPt>
            <c:idx val="813"/>
            <c:invertIfNegative val="1"/>
            <c:bubble3D val="0"/>
            <c:spPr>
              <a:solidFill>
                <a:srgbClr val="AEABAB"/>
              </a:solidFill>
            </c:spPr>
            <c:extLst>
              <c:ext xmlns:c16="http://schemas.microsoft.com/office/drawing/2014/chart" uri="{C3380CC4-5D6E-409C-BE32-E72D297353CC}">
                <c16:uniqueId val="{0000065D-86F4-458F-B5E5-D296EB1009DF}"/>
              </c:ext>
            </c:extLst>
          </c:dPt>
          <c:dPt>
            <c:idx val="814"/>
            <c:invertIfNegative val="1"/>
            <c:bubble3D val="0"/>
            <c:spPr>
              <a:solidFill>
                <a:srgbClr val="AEABAB"/>
              </a:solidFill>
            </c:spPr>
            <c:extLst>
              <c:ext xmlns:c16="http://schemas.microsoft.com/office/drawing/2014/chart" uri="{C3380CC4-5D6E-409C-BE32-E72D297353CC}">
                <c16:uniqueId val="{0000065F-86F4-458F-B5E5-D296EB1009DF}"/>
              </c:ext>
            </c:extLst>
          </c:dPt>
          <c:dPt>
            <c:idx val="815"/>
            <c:invertIfNegative val="1"/>
            <c:bubble3D val="0"/>
            <c:spPr>
              <a:solidFill>
                <a:srgbClr val="AEABAB"/>
              </a:solidFill>
            </c:spPr>
            <c:extLst>
              <c:ext xmlns:c16="http://schemas.microsoft.com/office/drawing/2014/chart" uri="{C3380CC4-5D6E-409C-BE32-E72D297353CC}">
                <c16:uniqueId val="{00000661-86F4-458F-B5E5-D296EB1009DF}"/>
              </c:ext>
            </c:extLst>
          </c:dPt>
          <c:dPt>
            <c:idx val="816"/>
            <c:invertIfNegative val="1"/>
            <c:bubble3D val="0"/>
            <c:spPr>
              <a:solidFill>
                <a:srgbClr val="AEABAB"/>
              </a:solidFill>
            </c:spPr>
            <c:extLst>
              <c:ext xmlns:c16="http://schemas.microsoft.com/office/drawing/2014/chart" uri="{C3380CC4-5D6E-409C-BE32-E72D297353CC}">
                <c16:uniqueId val="{00000663-86F4-458F-B5E5-D296EB1009DF}"/>
              </c:ext>
            </c:extLst>
          </c:dPt>
          <c:dPt>
            <c:idx val="817"/>
            <c:invertIfNegative val="1"/>
            <c:bubble3D val="0"/>
            <c:spPr>
              <a:solidFill>
                <a:srgbClr val="AEABAB"/>
              </a:solidFill>
            </c:spPr>
            <c:extLst>
              <c:ext xmlns:c16="http://schemas.microsoft.com/office/drawing/2014/chart" uri="{C3380CC4-5D6E-409C-BE32-E72D297353CC}">
                <c16:uniqueId val="{00000665-86F4-458F-B5E5-D296EB1009DF}"/>
              </c:ext>
            </c:extLst>
          </c:dPt>
          <c:dPt>
            <c:idx val="818"/>
            <c:invertIfNegative val="1"/>
            <c:bubble3D val="0"/>
            <c:spPr>
              <a:solidFill>
                <a:srgbClr val="AEABAB"/>
              </a:solidFill>
            </c:spPr>
            <c:extLst>
              <c:ext xmlns:c16="http://schemas.microsoft.com/office/drawing/2014/chart" uri="{C3380CC4-5D6E-409C-BE32-E72D297353CC}">
                <c16:uniqueId val="{00000667-86F4-458F-B5E5-D296EB1009DF}"/>
              </c:ext>
            </c:extLst>
          </c:dPt>
          <c:dPt>
            <c:idx val="819"/>
            <c:invertIfNegative val="1"/>
            <c:bubble3D val="0"/>
            <c:spPr>
              <a:solidFill>
                <a:srgbClr val="AEABAB"/>
              </a:solidFill>
            </c:spPr>
            <c:extLst>
              <c:ext xmlns:c16="http://schemas.microsoft.com/office/drawing/2014/chart" uri="{C3380CC4-5D6E-409C-BE32-E72D297353CC}">
                <c16:uniqueId val="{00000669-86F4-458F-B5E5-D296EB1009DF}"/>
              </c:ext>
            </c:extLst>
          </c:dPt>
          <c:dPt>
            <c:idx val="820"/>
            <c:invertIfNegative val="1"/>
            <c:bubble3D val="0"/>
            <c:spPr>
              <a:solidFill>
                <a:srgbClr val="AEABAB"/>
              </a:solidFill>
            </c:spPr>
            <c:extLst>
              <c:ext xmlns:c16="http://schemas.microsoft.com/office/drawing/2014/chart" uri="{C3380CC4-5D6E-409C-BE32-E72D297353CC}">
                <c16:uniqueId val="{0000066B-86F4-458F-B5E5-D296EB1009DF}"/>
              </c:ext>
            </c:extLst>
          </c:dPt>
          <c:dPt>
            <c:idx val="821"/>
            <c:invertIfNegative val="1"/>
            <c:bubble3D val="0"/>
            <c:spPr>
              <a:solidFill>
                <a:srgbClr val="AEABAB"/>
              </a:solidFill>
            </c:spPr>
            <c:extLst>
              <c:ext xmlns:c16="http://schemas.microsoft.com/office/drawing/2014/chart" uri="{C3380CC4-5D6E-409C-BE32-E72D297353CC}">
                <c16:uniqueId val="{0000066D-86F4-458F-B5E5-D296EB1009DF}"/>
              </c:ext>
            </c:extLst>
          </c:dPt>
          <c:dPt>
            <c:idx val="822"/>
            <c:invertIfNegative val="1"/>
            <c:bubble3D val="0"/>
            <c:spPr>
              <a:solidFill>
                <a:srgbClr val="AEABAB"/>
              </a:solidFill>
            </c:spPr>
            <c:extLst>
              <c:ext xmlns:c16="http://schemas.microsoft.com/office/drawing/2014/chart" uri="{C3380CC4-5D6E-409C-BE32-E72D297353CC}">
                <c16:uniqueId val="{0000066F-86F4-458F-B5E5-D296EB1009DF}"/>
              </c:ext>
            </c:extLst>
          </c:dPt>
          <c:dPt>
            <c:idx val="823"/>
            <c:invertIfNegative val="1"/>
            <c:bubble3D val="0"/>
            <c:spPr>
              <a:solidFill>
                <a:srgbClr val="AEABAB"/>
              </a:solidFill>
            </c:spPr>
            <c:extLst>
              <c:ext xmlns:c16="http://schemas.microsoft.com/office/drawing/2014/chart" uri="{C3380CC4-5D6E-409C-BE32-E72D297353CC}">
                <c16:uniqueId val="{00000671-86F4-458F-B5E5-D296EB1009DF}"/>
              </c:ext>
            </c:extLst>
          </c:dPt>
          <c:dPt>
            <c:idx val="824"/>
            <c:invertIfNegative val="1"/>
            <c:bubble3D val="0"/>
            <c:spPr>
              <a:solidFill>
                <a:srgbClr val="AEABAB"/>
              </a:solidFill>
            </c:spPr>
            <c:extLst>
              <c:ext xmlns:c16="http://schemas.microsoft.com/office/drawing/2014/chart" uri="{C3380CC4-5D6E-409C-BE32-E72D297353CC}">
                <c16:uniqueId val="{00000673-86F4-458F-B5E5-D296EB1009DF}"/>
              </c:ext>
            </c:extLst>
          </c:dPt>
          <c:dPt>
            <c:idx val="825"/>
            <c:invertIfNegative val="1"/>
            <c:bubble3D val="0"/>
            <c:spPr>
              <a:solidFill>
                <a:srgbClr val="AEABAB"/>
              </a:solidFill>
            </c:spPr>
            <c:extLst>
              <c:ext xmlns:c16="http://schemas.microsoft.com/office/drawing/2014/chart" uri="{C3380CC4-5D6E-409C-BE32-E72D297353CC}">
                <c16:uniqueId val="{00000675-86F4-458F-B5E5-D296EB1009DF}"/>
              </c:ext>
            </c:extLst>
          </c:dPt>
          <c:dPt>
            <c:idx val="826"/>
            <c:invertIfNegative val="1"/>
            <c:bubble3D val="0"/>
            <c:spPr>
              <a:solidFill>
                <a:srgbClr val="AEABAB"/>
              </a:solidFill>
            </c:spPr>
            <c:extLst>
              <c:ext xmlns:c16="http://schemas.microsoft.com/office/drawing/2014/chart" uri="{C3380CC4-5D6E-409C-BE32-E72D297353CC}">
                <c16:uniqueId val="{00000677-86F4-458F-B5E5-D296EB1009DF}"/>
              </c:ext>
            </c:extLst>
          </c:dPt>
          <c:dPt>
            <c:idx val="827"/>
            <c:invertIfNegative val="1"/>
            <c:bubble3D val="0"/>
            <c:spPr>
              <a:solidFill>
                <a:srgbClr val="AEABAB"/>
              </a:solidFill>
            </c:spPr>
            <c:extLst>
              <c:ext xmlns:c16="http://schemas.microsoft.com/office/drawing/2014/chart" uri="{C3380CC4-5D6E-409C-BE32-E72D297353CC}">
                <c16:uniqueId val="{00000679-86F4-458F-B5E5-D296EB1009DF}"/>
              </c:ext>
            </c:extLst>
          </c:dPt>
          <c:dPt>
            <c:idx val="828"/>
            <c:invertIfNegative val="1"/>
            <c:bubble3D val="0"/>
            <c:spPr>
              <a:solidFill>
                <a:srgbClr val="AEABAB"/>
              </a:solidFill>
            </c:spPr>
            <c:extLst>
              <c:ext xmlns:c16="http://schemas.microsoft.com/office/drawing/2014/chart" uri="{C3380CC4-5D6E-409C-BE32-E72D297353CC}">
                <c16:uniqueId val="{0000067B-86F4-458F-B5E5-D296EB1009DF}"/>
              </c:ext>
            </c:extLst>
          </c:dPt>
          <c:dPt>
            <c:idx val="829"/>
            <c:invertIfNegative val="1"/>
            <c:bubble3D val="0"/>
            <c:spPr>
              <a:solidFill>
                <a:srgbClr val="AEABAB"/>
              </a:solidFill>
            </c:spPr>
            <c:extLst>
              <c:ext xmlns:c16="http://schemas.microsoft.com/office/drawing/2014/chart" uri="{C3380CC4-5D6E-409C-BE32-E72D297353CC}">
                <c16:uniqueId val="{0000067D-86F4-458F-B5E5-D296EB1009DF}"/>
              </c:ext>
            </c:extLst>
          </c:dPt>
          <c:dPt>
            <c:idx val="830"/>
            <c:invertIfNegative val="1"/>
            <c:bubble3D val="0"/>
            <c:spPr>
              <a:solidFill>
                <a:srgbClr val="AEABAB"/>
              </a:solidFill>
            </c:spPr>
            <c:extLst>
              <c:ext xmlns:c16="http://schemas.microsoft.com/office/drawing/2014/chart" uri="{C3380CC4-5D6E-409C-BE32-E72D297353CC}">
                <c16:uniqueId val="{0000067F-86F4-458F-B5E5-D296EB1009DF}"/>
              </c:ext>
            </c:extLst>
          </c:dPt>
          <c:dPt>
            <c:idx val="831"/>
            <c:invertIfNegative val="1"/>
            <c:bubble3D val="0"/>
            <c:spPr>
              <a:solidFill>
                <a:srgbClr val="AEABAB"/>
              </a:solidFill>
            </c:spPr>
            <c:extLst>
              <c:ext xmlns:c16="http://schemas.microsoft.com/office/drawing/2014/chart" uri="{C3380CC4-5D6E-409C-BE32-E72D297353CC}">
                <c16:uniqueId val="{00000681-86F4-458F-B5E5-D296EB1009DF}"/>
              </c:ext>
            </c:extLst>
          </c:dPt>
          <c:dPt>
            <c:idx val="832"/>
            <c:invertIfNegative val="1"/>
            <c:bubble3D val="0"/>
            <c:spPr>
              <a:solidFill>
                <a:srgbClr val="AEABAB"/>
              </a:solidFill>
            </c:spPr>
            <c:extLst>
              <c:ext xmlns:c16="http://schemas.microsoft.com/office/drawing/2014/chart" uri="{C3380CC4-5D6E-409C-BE32-E72D297353CC}">
                <c16:uniqueId val="{00000683-86F4-458F-B5E5-D296EB1009DF}"/>
              </c:ext>
            </c:extLst>
          </c:dPt>
          <c:dPt>
            <c:idx val="833"/>
            <c:invertIfNegative val="1"/>
            <c:bubble3D val="0"/>
            <c:spPr>
              <a:solidFill>
                <a:srgbClr val="AEABAB"/>
              </a:solidFill>
            </c:spPr>
            <c:extLst>
              <c:ext xmlns:c16="http://schemas.microsoft.com/office/drawing/2014/chart" uri="{C3380CC4-5D6E-409C-BE32-E72D297353CC}">
                <c16:uniqueId val="{00000685-86F4-458F-B5E5-D296EB1009DF}"/>
              </c:ext>
            </c:extLst>
          </c:dPt>
          <c:dPt>
            <c:idx val="834"/>
            <c:invertIfNegative val="1"/>
            <c:bubble3D val="0"/>
            <c:spPr>
              <a:solidFill>
                <a:srgbClr val="AEABAB"/>
              </a:solidFill>
            </c:spPr>
            <c:extLst>
              <c:ext xmlns:c16="http://schemas.microsoft.com/office/drawing/2014/chart" uri="{C3380CC4-5D6E-409C-BE32-E72D297353CC}">
                <c16:uniqueId val="{00000687-86F4-458F-B5E5-D296EB1009DF}"/>
              </c:ext>
            </c:extLst>
          </c:dPt>
          <c:dPt>
            <c:idx val="835"/>
            <c:invertIfNegative val="1"/>
            <c:bubble3D val="0"/>
            <c:spPr>
              <a:solidFill>
                <a:srgbClr val="AEABAB"/>
              </a:solidFill>
            </c:spPr>
            <c:extLst>
              <c:ext xmlns:c16="http://schemas.microsoft.com/office/drawing/2014/chart" uri="{C3380CC4-5D6E-409C-BE32-E72D297353CC}">
                <c16:uniqueId val="{00000689-86F4-458F-B5E5-D296EB1009DF}"/>
              </c:ext>
            </c:extLst>
          </c:dPt>
          <c:dPt>
            <c:idx val="836"/>
            <c:invertIfNegative val="1"/>
            <c:bubble3D val="0"/>
            <c:spPr>
              <a:solidFill>
                <a:srgbClr val="AEABAB"/>
              </a:solidFill>
            </c:spPr>
            <c:extLst>
              <c:ext xmlns:c16="http://schemas.microsoft.com/office/drawing/2014/chart" uri="{C3380CC4-5D6E-409C-BE32-E72D297353CC}">
                <c16:uniqueId val="{0000068B-86F4-458F-B5E5-D296EB1009DF}"/>
              </c:ext>
            </c:extLst>
          </c:dPt>
          <c:dPt>
            <c:idx val="837"/>
            <c:invertIfNegative val="1"/>
            <c:bubble3D val="0"/>
            <c:spPr>
              <a:solidFill>
                <a:srgbClr val="AEABAB"/>
              </a:solidFill>
            </c:spPr>
            <c:extLst>
              <c:ext xmlns:c16="http://schemas.microsoft.com/office/drawing/2014/chart" uri="{C3380CC4-5D6E-409C-BE32-E72D297353CC}">
                <c16:uniqueId val="{0000068D-86F4-458F-B5E5-D296EB1009DF}"/>
              </c:ext>
            </c:extLst>
          </c:dPt>
          <c:dPt>
            <c:idx val="838"/>
            <c:invertIfNegative val="1"/>
            <c:bubble3D val="0"/>
            <c:spPr>
              <a:solidFill>
                <a:srgbClr val="AEABAB"/>
              </a:solidFill>
            </c:spPr>
            <c:extLst>
              <c:ext xmlns:c16="http://schemas.microsoft.com/office/drawing/2014/chart" uri="{C3380CC4-5D6E-409C-BE32-E72D297353CC}">
                <c16:uniqueId val="{0000068F-86F4-458F-B5E5-D296EB1009DF}"/>
              </c:ext>
            </c:extLst>
          </c:dPt>
          <c:dPt>
            <c:idx val="839"/>
            <c:invertIfNegative val="1"/>
            <c:bubble3D val="0"/>
            <c:spPr>
              <a:solidFill>
                <a:srgbClr val="AEABAB"/>
              </a:solidFill>
            </c:spPr>
            <c:extLst>
              <c:ext xmlns:c16="http://schemas.microsoft.com/office/drawing/2014/chart" uri="{C3380CC4-5D6E-409C-BE32-E72D297353CC}">
                <c16:uniqueId val="{00000691-86F4-458F-B5E5-D296EB1009DF}"/>
              </c:ext>
            </c:extLst>
          </c:dPt>
          <c:dPt>
            <c:idx val="840"/>
            <c:invertIfNegative val="1"/>
            <c:bubble3D val="0"/>
            <c:spPr>
              <a:solidFill>
                <a:srgbClr val="AEABAB"/>
              </a:solidFill>
            </c:spPr>
            <c:extLst>
              <c:ext xmlns:c16="http://schemas.microsoft.com/office/drawing/2014/chart" uri="{C3380CC4-5D6E-409C-BE32-E72D297353CC}">
                <c16:uniqueId val="{00000693-86F4-458F-B5E5-D296EB1009DF}"/>
              </c:ext>
            </c:extLst>
          </c:dPt>
          <c:dPt>
            <c:idx val="841"/>
            <c:invertIfNegative val="1"/>
            <c:bubble3D val="0"/>
            <c:spPr>
              <a:solidFill>
                <a:srgbClr val="AEABAB"/>
              </a:solidFill>
            </c:spPr>
            <c:extLst>
              <c:ext xmlns:c16="http://schemas.microsoft.com/office/drawing/2014/chart" uri="{C3380CC4-5D6E-409C-BE32-E72D297353CC}">
                <c16:uniqueId val="{00000695-86F4-458F-B5E5-D296EB1009DF}"/>
              </c:ext>
            </c:extLst>
          </c:dPt>
          <c:dPt>
            <c:idx val="842"/>
            <c:invertIfNegative val="1"/>
            <c:bubble3D val="0"/>
            <c:spPr>
              <a:solidFill>
                <a:srgbClr val="AEABAB"/>
              </a:solidFill>
            </c:spPr>
            <c:extLst>
              <c:ext xmlns:c16="http://schemas.microsoft.com/office/drawing/2014/chart" uri="{C3380CC4-5D6E-409C-BE32-E72D297353CC}">
                <c16:uniqueId val="{00000697-86F4-458F-B5E5-D296EB1009DF}"/>
              </c:ext>
            </c:extLst>
          </c:dPt>
          <c:dPt>
            <c:idx val="843"/>
            <c:invertIfNegative val="1"/>
            <c:bubble3D val="0"/>
            <c:spPr>
              <a:solidFill>
                <a:srgbClr val="AEABAB"/>
              </a:solidFill>
            </c:spPr>
            <c:extLst>
              <c:ext xmlns:c16="http://schemas.microsoft.com/office/drawing/2014/chart" uri="{C3380CC4-5D6E-409C-BE32-E72D297353CC}">
                <c16:uniqueId val="{00000699-86F4-458F-B5E5-D296EB1009DF}"/>
              </c:ext>
            </c:extLst>
          </c:dPt>
          <c:dPt>
            <c:idx val="844"/>
            <c:invertIfNegative val="1"/>
            <c:bubble3D val="0"/>
            <c:spPr>
              <a:solidFill>
                <a:srgbClr val="AEABAB"/>
              </a:solidFill>
            </c:spPr>
            <c:extLst>
              <c:ext xmlns:c16="http://schemas.microsoft.com/office/drawing/2014/chart" uri="{C3380CC4-5D6E-409C-BE32-E72D297353CC}">
                <c16:uniqueId val="{0000069B-86F4-458F-B5E5-D296EB1009DF}"/>
              </c:ext>
            </c:extLst>
          </c:dPt>
          <c:dPt>
            <c:idx val="845"/>
            <c:invertIfNegative val="1"/>
            <c:bubble3D val="0"/>
            <c:spPr>
              <a:solidFill>
                <a:srgbClr val="AEABAB"/>
              </a:solidFill>
            </c:spPr>
            <c:extLst>
              <c:ext xmlns:c16="http://schemas.microsoft.com/office/drawing/2014/chart" uri="{C3380CC4-5D6E-409C-BE32-E72D297353CC}">
                <c16:uniqueId val="{0000069D-86F4-458F-B5E5-D296EB1009DF}"/>
              </c:ext>
            </c:extLst>
          </c:dPt>
          <c:dPt>
            <c:idx val="846"/>
            <c:invertIfNegative val="1"/>
            <c:bubble3D val="0"/>
            <c:spPr>
              <a:solidFill>
                <a:srgbClr val="AEABAB"/>
              </a:solidFill>
            </c:spPr>
            <c:extLst>
              <c:ext xmlns:c16="http://schemas.microsoft.com/office/drawing/2014/chart" uri="{C3380CC4-5D6E-409C-BE32-E72D297353CC}">
                <c16:uniqueId val="{0000069F-86F4-458F-B5E5-D296EB1009DF}"/>
              </c:ext>
            </c:extLst>
          </c:dPt>
          <c:dPt>
            <c:idx val="847"/>
            <c:invertIfNegative val="1"/>
            <c:bubble3D val="0"/>
            <c:spPr>
              <a:solidFill>
                <a:srgbClr val="AEABAB"/>
              </a:solidFill>
            </c:spPr>
            <c:extLst>
              <c:ext xmlns:c16="http://schemas.microsoft.com/office/drawing/2014/chart" uri="{C3380CC4-5D6E-409C-BE32-E72D297353CC}">
                <c16:uniqueId val="{000006A1-86F4-458F-B5E5-D296EB1009DF}"/>
              </c:ext>
            </c:extLst>
          </c:dPt>
          <c:dPt>
            <c:idx val="848"/>
            <c:invertIfNegative val="1"/>
            <c:bubble3D val="0"/>
            <c:spPr>
              <a:solidFill>
                <a:srgbClr val="AEABAB"/>
              </a:solidFill>
            </c:spPr>
            <c:extLst>
              <c:ext xmlns:c16="http://schemas.microsoft.com/office/drawing/2014/chart" uri="{C3380CC4-5D6E-409C-BE32-E72D297353CC}">
                <c16:uniqueId val="{000006A3-86F4-458F-B5E5-D296EB1009DF}"/>
              </c:ext>
            </c:extLst>
          </c:dPt>
          <c:dPt>
            <c:idx val="849"/>
            <c:invertIfNegative val="1"/>
            <c:bubble3D val="0"/>
            <c:spPr>
              <a:solidFill>
                <a:srgbClr val="AEABAB"/>
              </a:solidFill>
            </c:spPr>
            <c:extLst>
              <c:ext xmlns:c16="http://schemas.microsoft.com/office/drawing/2014/chart" uri="{C3380CC4-5D6E-409C-BE32-E72D297353CC}">
                <c16:uniqueId val="{000006A5-86F4-458F-B5E5-D296EB1009DF}"/>
              </c:ext>
            </c:extLst>
          </c:dPt>
          <c:dPt>
            <c:idx val="850"/>
            <c:invertIfNegative val="1"/>
            <c:bubble3D val="0"/>
            <c:spPr>
              <a:solidFill>
                <a:srgbClr val="AEABAB"/>
              </a:solidFill>
            </c:spPr>
            <c:extLst>
              <c:ext xmlns:c16="http://schemas.microsoft.com/office/drawing/2014/chart" uri="{C3380CC4-5D6E-409C-BE32-E72D297353CC}">
                <c16:uniqueId val="{000006A7-86F4-458F-B5E5-D296EB1009DF}"/>
              </c:ext>
            </c:extLst>
          </c:dPt>
          <c:dPt>
            <c:idx val="851"/>
            <c:invertIfNegative val="1"/>
            <c:bubble3D val="0"/>
            <c:spPr>
              <a:solidFill>
                <a:srgbClr val="AEABAB"/>
              </a:solidFill>
            </c:spPr>
            <c:extLst>
              <c:ext xmlns:c16="http://schemas.microsoft.com/office/drawing/2014/chart" uri="{C3380CC4-5D6E-409C-BE32-E72D297353CC}">
                <c16:uniqueId val="{000006A9-86F4-458F-B5E5-D296EB1009DF}"/>
              </c:ext>
            </c:extLst>
          </c:dPt>
          <c:dPt>
            <c:idx val="852"/>
            <c:invertIfNegative val="1"/>
            <c:bubble3D val="0"/>
            <c:spPr>
              <a:solidFill>
                <a:srgbClr val="AEABAB"/>
              </a:solidFill>
            </c:spPr>
            <c:extLst>
              <c:ext xmlns:c16="http://schemas.microsoft.com/office/drawing/2014/chart" uri="{C3380CC4-5D6E-409C-BE32-E72D297353CC}">
                <c16:uniqueId val="{000006AB-86F4-458F-B5E5-D296EB1009DF}"/>
              </c:ext>
            </c:extLst>
          </c:dPt>
          <c:dPt>
            <c:idx val="853"/>
            <c:invertIfNegative val="1"/>
            <c:bubble3D val="0"/>
            <c:spPr>
              <a:solidFill>
                <a:srgbClr val="AEABAB"/>
              </a:solidFill>
            </c:spPr>
            <c:extLst>
              <c:ext xmlns:c16="http://schemas.microsoft.com/office/drawing/2014/chart" uri="{C3380CC4-5D6E-409C-BE32-E72D297353CC}">
                <c16:uniqueId val="{000006AD-86F4-458F-B5E5-D296EB1009DF}"/>
              </c:ext>
            </c:extLst>
          </c:dPt>
          <c:dPt>
            <c:idx val="854"/>
            <c:invertIfNegative val="1"/>
            <c:bubble3D val="0"/>
            <c:spPr>
              <a:solidFill>
                <a:srgbClr val="AEABAB"/>
              </a:solidFill>
            </c:spPr>
            <c:extLst>
              <c:ext xmlns:c16="http://schemas.microsoft.com/office/drawing/2014/chart" uri="{C3380CC4-5D6E-409C-BE32-E72D297353CC}">
                <c16:uniqueId val="{000006AF-86F4-458F-B5E5-D296EB1009DF}"/>
              </c:ext>
            </c:extLst>
          </c:dPt>
          <c:dPt>
            <c:idx val="855"/>
            <c:invertIfNegative val="1"/>
            <c:bubble3D val="0"/>
            <c:spPr>
              <a:solidFill>
                <a:srgbClr val="AEABAB"/>
              </a:solidFill>
            </c:spPr>
            <c:extLst>
              <c:ext xmlns:c16="http://schemas.microsoft.com/office/drawing/2014/chart" uri="{C3380CC4-5D6E-409C-BE32-E72D297353CC}">
                <c16:uniqueId val="{000006B1-86F4-458F-B5E5-D296EB1009DF}"/>
              </c:ext>
            </c:extLst>
          </c:dPt>
          <c:dPt>
            <c:idx val="856"/>
            <c:invertIfNegative val="1"/>
            <c:bubble3D val="0"/>
            <c:spPr>
              <a:solidFill>
                <a:srgbClr val="AEABAB"/>
              </a:solidFill>
            </c:spPr>
            <c:extLst>
              <c:ext xmlns:c16="http://schemas.microsoft.com/office/drawing/2014/chart" uri="{C3380CC4-5D6E-409C-BE32-E72D297353CC}">
                <c16:uniqueId val="{000006B3-86F4-458F-B5E5-D296EB1009DF}"/>
              </c:ext>
            </c:extLst>
          </c:dPt>
          <c:dPt>
            <c:idx val="857"/>
            <c:invertIfNegative val="1"/>
            <c:bubble3D val="0"/>
            <c:spPr>
              <a:solidFill>
                <a:srgbClr val="AEABAB"/>
              </a:solidFill>
            </c:spPr>
            <c:extLst>
              <c:ext xmlns:c16="http://schemas.microsoft.com/office/drawing/2014/chart" uri="{C3380CC4-5D6E-409C-BE32-E72D297353CC}">
                <c16:uniqueId val="{000006B5-86F4-458F-B5E5-D296EB1009DF}"/>
              </c:ext>
            </c:extLst>
          </c:dPt>
          <c:dPt>
            <c:idx val="858"/>
            <c:invertIfNegative val="1"/>
            <c:bubble3D val="0"/>
            <c:spPr>
              <a:solidFill>
                <a:srgbClr val="AEABAB"/>
              </a:solidFill>
            </c:spPr>
            <c:extLst>
              <c:ext xmlns:c16="http://schemas.microsoft.com/office/drawing/2014/chart" uri="{C3380CC4-5D6E-409C-BE32-E72D297353CC}">
                <c16:uniqueId val="{000006B7-86F4-458F-B5E5-D296EB1009DF}"/>
              </c:ext>
            </c:extLst>
          </c:dPt>
          <c:dPt>
            <c:idx val="859"/>
            <c:invertIfNegative val="1"/>
            <c:bubble3D val="0"/>
            <c:spPr>
              <a:solidFill>
                <a:srgbClr val="AEABAB"/>
              </a:solidFill>
            </c:spPr>
            <c:extLst>
              <c:ext xmlns:c16="http://schemas.microsoft.com/office/drawing/2014/chart" uri="{C3380CC4-5D6E-409C-BE32-E72D297353CC}">
                <c16:uniqueId val="{000006B9-86F4-458F-B5E5-D296EB1009DF}"/>
              </c:ext>
            </c:extLst>
          </c:dPt>
          <c:dPt>
            <c:idx val="860"/>
            <c:invertIfNegative val="1"/>
            <c:bubble3D val="0"/>
            <c:spPr>
              <a:solidFill>
                <a:srgbClr val="AEABAB"/>
              </a:solidFill>
            </c:spPr>
            <c:extLst>
              <c:ext xmlns:c16="http://schemas.microsoft.com/office/drawing/2014/chart" uri="{C3380CC4-5D6E-409C-BE32-E72D297353CC}">
                <c16:uniqueId val="{000006BB-86F4-458F-B5E5-D296EB1009DF}"/>
              </c:ext>
            </c:extLst>
          </c:dPt>
          <c:dPt>
            <c:idx val="861"/>
            <c:invertIfNegative val="1"/>
            <c:bubble3D val="0"/>
            <c:spPr>
              <a:solidFill>
                <a:srgbClr val="AEABAB"/>
              </a:solidFill>
            </c:spPr>
            <c:extLst>
              <c:ext xmlns:c16="http://schemas.microsoft.com/office/drawing/2014/chart" uri="{C3380CC4-5D6E-409C-BE32-E72D297353CC}">
                <c16:uniqueId val="{000006BD-86F4-458F-B5E5-D296EB1009DF}"/>
              </c:ext>
            </c:extLst>
          </c:dPt>
          <c:dPt>
            <c:idx val="862"/>
            <c:invertIfNegative val="1"/>
            <c:bubble3D val="0"/>
            <c:spPr>
              <a:solidFill>
                <a:srgbClr val="AEABAB"/>
              </a:solidFill>
            </c:spPr>
            <c:extLst>
              <c:ext xmlns:c16="http://schemas.microsoft.com/office/drawing/2014/chart" uri="{C3380CC4-5D6E-409C-BE32-E72D297353CC}">
                <c16:uniqueId val="{000006BF-86F4-458F-B5E5-D296EB1009DF}"/>
              </c:ext>
            </c:extLst>
          </c:dPt>
          <c:dPt>
            <c:idx val="863"/>
            <c:invertIfNegative val="1"/>
            <c:bubble3D val="0"/>
            <c:spPr>
              <a:solidFill>
                <a:srgbClr val="AEABAB"/>
              </a:solidFill>
            </c:spPr>
            <c:extLst>
              <c:ext xmlns:c16="http://schemas.microsoft.com/office/drawing/2014/chart" uri="{C3380CC4-5D6E-409C-BE32-E72D297353CC}">
                <c16:uniqueId val="{000006C1-86F4-458F-B5E5-D296EB1009DF}"/>
              </c:ext>
            </c:extLst>
          </c:dPt>
          <c:dPt>
            <c:idx val="864"/>
            <c:invertIfNegative val="1"/>
            <c:bubble3D val="0"/>
            <c:spPr>
              <a:solidFill>
                <a:srgbClr val="AEABAB"/>
              </a:solidFill>
            </c:spPr>
            <c:extLst>
              <c:ext xmlns:c16="http://schemas.microsoft.com/office/drawing/2014/chart" uri="{C3380CC4-5D6E-409C-BE32-E72D297353CC}">
                <c16:uniqueId val="{000006C3-86F4-458F-B5E5-D296EB1009DF}"/>
              </c:ext>
            </c:extLst>
          </c:dPt>
          <c:dPt>
            <c:idx val="865"/>
            <c:invertIfNegative val="1"/>
            <c:bubble3D val="0"/>
            <c:spPr>
              <a:solidFill>
                <a:srgbClr val="AEABAB"/>
              </a:solidFill>
            </c:spPr>
            <c:extLst>
              <c:ext xmlns:c16="http://schemas.microsoft.com/office/drawing/2014/chart" uri="{C3380CC4-5D6E-409C-BE32-E72D297353CC}">
                <c16:uniqueId val="{000006C5-86F4-458F-B5E5-D296EB1009DF}"/>
              </c:ext>
            </c:extLst>
          </c:dPt>
          <c:dPt>
            <c:idx val="866"/>
            <c:invertIfNegative val="1"/>
            <c:bubble3D val="0"/>
            <c:spPr>
              <a:solidFill>
                <a:srgbClr val="AEABAB"/>
              </a:solidFill>
            </c:spPr>
            <c:extLst>
              <c:ext xmlns:c16="http://schemas.microsoft.com/office/drawing/2014/chart" uri="{C3380CC4-5D6E-409C-BE32-E72D297353CC}">
                <c16:uniqueId val="{000006C7-86F4-458F-B5E5-D296EB1009DF}"/>
              </c:ext>
            </c:extLst>
          </c:dPt>
          <c:dPt>
            <c:idx val="867"/>
            <c:invertIfNegative val="1"/>
            <c:bubble3D val="0"/>
            <c:spPr>
              <a:solidFill>
                <a:srgbClr val="AEABAB"/>
              </a:solidFill>
            </c:spPr>
            <c:extLst>
              <c:ext xmlns:c16="http://schemas.microsoft.com/office/drawing/2014/chart" uri="{C3380CC4-5D6E-409C-BE32-E72D297353CC}">
                <c16:uniqueId val="{000006C9-86F4-458F-B5E5-D296EB1009DF}"/>
              </c:ext>
            </c:extLst>
          </c:dPt>
          <c:dPt>
            <c:idx val="868"/>
            <c:invertIfNegative val="1"/>
            <c:bubble3D val="0"/>
            <c:spPr>
              <a:solidFill>
                <a:srgbClr val="AEABAB"/>
              </a:solidFill>
            </c:spPr>
            <c:extLst>
              <c:ext xmlns:c16="http://schemas.microsoft.com/office/drawing/2014/chart" uri="{C3380CC4-5D6E-409C-BE32-E72D297353CC}">
                <c16:uniqueId val="{000006CB-86F4-458F-B5E5-D296EB1009DF}"/>
              </c:ext>
            </c:extLst>
          </c:dPt>
          <c:dPt>
            <c:idx val="869"/>
            <c:invertIfNegative val="1"/>
            <c:bubble3D val="0"/>
            <c:spPr>
              <a:solidFill>
                <a:srgbClr val="AEABAB"/>
              </a:solidFill>
            </c:spPr>
            <c:extLst>
              <c:ext xmlns:c16="http://schemas.microsoft.com/office/drawing/2014/chart" uri="{C3380CC4-5D6E-409C-BE32-E72D297353CC}">
                <c16:uniqueId val="{000006CD-86F4-458F-B5E5-D296EB1009DF}"/>
              </c:ext>
            </c:extLst>
          </c:dPt>
          <c:dPt>
            <c:idx val="870"/>
            <c:invertIfNegative val="1"/>
            <c:bubble3D val="0"/>
            <c:spPr>
              <a:solidFill>
                <a:srgbClr val="AEABAB"/>
              </a:solidFill>
            </c:spPr>
            <c:extLst>
              <c:ext xmlns:c16="http://schemas.microsoft.com/office/drawing/2014/chart" uri="{C3380CC4-5D6E-409C-BE32-E72D297353CC}">
                <c16:uniqueId val="{000006CF-86F4-458F-B5E5-D296EB1009DF}"/>
              </c:ext>
            </c:extLst>
          </c:dPt>
          <c:dPt>
            <c:idx val="871"/>
            <c:invertIfNegative val="1"/>
            <c:bubble3D val="0"/>
            <c:spPr>
              <a:solidFill>
                <a:srgbClr val="AEABAB"/>
              </a:solidFill>
            </c:spPr>
            <c:extLst>
              <c:ext xmlns:c16="http://schemas.microsoft.com/office/drawing/2014/chart" uri="{C3380CC4-5D6E-409C-BE32-E72D297353CC}">
                <c16:uniqueId val="{000006D1-86F4-458F-B5E5-D296EB1009DF}"/>
              </c:ext>
            </c:extLst>
          </c:dPt>
          <c:dPt>
            <c:idx val="872"/>
            <c:invertIfNegative val="1"/>
            <c:bubble3D val="0"/>
            <c:spPr>
              <a:solidFill>
                <a:srgbClr val="AEABAB"/>
              </a:solidFill>
            </c:spPr>
            <c:extLst>
              <c:ext xmlns:c16="http://schemas.microsoft.com/office/drawing/2014/chart" uri="{C3380CC4-5D6E-409C-BE32-E72D297353CC}">
                <c16:uniqueId val="{000006D3-86F4-458F-B5E5-D296EB1009DF}"/>
              </c:ext>
            </c:extLst>
          </c:dPt>
          <c:dPt>
            <c:idx val="873"/>
            <c:invertIfNegative val="1"/>
            <c:bubble3D val="0"/>
            <c:spPr>
              <a:solidFill>
                <a:srgbClr val="AEABAB"/>
              </a:solidFill>
            </c:spPr>
            <c:extLst>
              <c:ext xmlns:c16="http://schemas.microsoft.com/office/drawing/2014/chart" uri="{C3380CC4-5D6E-409C-BE32-E72D297353CC}">
                <c16:uniqueId val="{000006D5-86F4-458F-B5E5-D296EB1009DF}"/>
              </c:ext>
            </c:extLst>
          </c:dPt>
          <c:dPt>
            <c:idx val="874"/>
            <c:invertIfNegative val="1"/>
            <c:bubble3D val="0"/>
            <c:spPr>
              <a:solidFill>
                <a:srgbClr val="AEABAB"/>
              </a:solidFill>
            </c:spPr>
            <c:extLst>
              <c:ext xmlns:c16="http://schemas.microsoft.com/office/drawing/2014/chart" uri="{C3380CC4-5D6E-409C-BE32-E72D297353CC}">
                <c16:uniqueId val="{000006D7-86F4-458F-B5E5-D296EB1009DF}"/>
              </c:ext>
            </c:extLst>
          </c:dPt>
          <c:dPt>
            <c:idx val="875"/>
            <c:invertIfNegative val="1"/>
            <c:bubble3D val="0"/>
            <c:spPr>
              <a:solidFill>
                <a:srgbClr val="AEABAB"/>
              </a:solidFill>
            </c:spPr>
            <c:extLst>
              <c:ext xmlns:c16="http://schemas.microsoft.com/office/drawing/2014/chart" uri="{C3380CC4-5D6E-409C-BE32-E72D297353CC}">
                <c16:uniqueId val="{000006D9-86F4-458F-B5E5-D296EB1009DF}"/>
              </c:ext>
            </c:extLst>
          </c:dPt>
          <c:dPt>
            <c:idx val="876"/>
            <c:invertIfNegative val="1"/>
            <c:bubble3D val="0"/>
            <c:spPr>
              <a:solidFill>
                <a:srgbClr val="AEABAB"/>
              </a:solidFill>
            </c:spPr>
            <c:extLst>
              <c:ext xmlns:c16="http://schemas.microsoft.com/office/drawing/2014/chart" uri="{C3380CC4-5D6E-409C-BE32-E72D297353CC}">
                <c16:uniqueId val="{000006DB-86F4-458F-B5E5-D296EB1009DF}"/>
              </c:ext>
            </c:extLst>
          </c:dPt>
          <c:dPt>
            <c:idx val="877"/>
            <c:invertIfNegative val="1"/>
            <c:bubble3D val="0"/>
            <c:spPr>
              <a:solidFill>
                <a:srgbClr val="AEABAB"/>
              </a:solidFill>
            </c:spPr>
            <c:extLst>
              <c:ext xmlns:c16="http://schemas.microsoft.com/office/drawing/2014/chart" uri="{C3380CC4-5D6E-409C-BE32-E72D297353CC}">
                <c16:uniqueId val="{000006DD-86F4-458F-B5E5-D296EB1009DF}"/>
              </c:ext>
            </c:extLst>
          </c:dPt>
          <c:dPt>
            <c:idx val="878"/>
            <c:invertIfNegative val="1"/>
            <c:bubble3D val="0"/>
            <c:spPr>
              <a:solidFill>
                <a:srgbClr val="AEABAB"/>
              </a:solidFill>
            </c:spPr>
            <c:extLst>
              <c:ext xmlns:c16="http://schemas.microsoft.com/office/drawing/2014/chart" uri="{C3380CC4-5D6E-409C-BE32-E72D297353CC}">
                <c16:uniqueId val="{000006DF-86F4-458F-B5E5-D296EB1009DF}"/>
              </c:ext>
            </c:extLst>
          </c:dPt>
          <c:dPt>
            <c:idx val="879"/>
            <c:invertIfNegative val="1"/>
            <c:bubble3D val="0"/>
            <c:spPr>
              <a:solidFill>
                <a:srgbClr val="AEABAB"/>
              </a:solidFill>
            </c:spPr>
            <c:extLst>
              <c:ext xmlns:c16="http://schemas.microsoft.com/office/drawing/2014/chart" uri="{C3380CC4-5D6E-409C-BE32-E72D297353CC}">
                <c16:uniqueId val="{000006E1-86F4-458F-B5E5-D296EB1009DF}"/>
              </c:ext>
            </c:extLst>
          </c:dPt>
          <c:dPt>
            <c:idx val="880"/>
            <c:invertIfNegative val="1"/>
            <c:bubble3D val="0"/>
            <c:spPr>
              <a:solidFill>
                <a:srgbClr val="AEABAB"/>
              </a:solidFill>
            </c:spPr>
            <c:extLst>
              <c:ext xmlns:c16="http://schemas.microsoft.com/office/drawing/2014/chart" uri="{C3380CC4-5D6E-409C-BE32-E72D297353CC}">
                <c16:uniqueId val="{000006E3-86F4-458F-B5E5-D296EB1009DF}"/>
              </c:ext>
            </c:extLst>
          </c:dPt>
          <c:dPt>
            <c:idx val="881"/>
            <c:invertIfNegative val="1"/>
            <c:bubble3D val="0"/>
            <c:spPr>
              <a:solidFill>
                <a:srgbClr val="AEABAB"/>
              </a:solidFill>
            </c:spPr>
            <c:extLst>
              <c:ext xmlns:c16="http://schemas.microsoft.com/office/drawing/2014/chart" uri="{C3380CC4-5D6E-409C-BE32-E72D297353CC}">
                <c16:uniqueId val="{000006E5-86F4-458F-B5E5-D296EB1009DF}"/>
              </c:ext>
            </c:extLst>
          </c:dPt>
          <c:dPt>
            <c:idx val="882"/>
            <c:invertIfNegative val="1"/>
            <c:bubble3D val="0"/>
            <c:spPr>
              <a:solidFill>
                <a:srgbClr val="AEABAB"/>
              </a:solidFill>
            </c:spPr>
            <c:extLst>
              <c:ext xmlns:c16="http://schemas.microsoft.com/office/drawing/2014/chart" uri="{C3380CC4-5D6E-409C-BE32-E72D297353CC}">
                <c16:uniqueId val="{000006E7-86F4-458F-B5E5-D296EB1009DF}"/>
              </c:ext>
            </c:extLst>
          </c:dPt>
          <c:dPt>
            <c:idx val="883"/>
            <c:invertIfNegative val="1"/>
            <c:bubble3D val="0"/>
            <c:spPr>
              <a:solidFill>
                <a:srgbClr val="AEABAB"/>
              </a:solidFill>
            </c:spPr>
            <c:extLst>
              <c:ext xmlns:c16="http://schemas.microsoft.com/office/drawing/2014/chart" uri="{C3380CC4-5D6E-409C-BE32-E72D297353CC}">
                <c16:uniqueId val="{000006E9-86F4-458F-B5E5-D296EB1009DF}"/>
              </c:ext>
            </c:extLst>
          </c:dPt>
          <c:dPt>
            <c:idx val="884"/>
            <c:invertIfNegative val="1"/>
            <c:bubble3D val="0"/>
            <c:spPr>
              <a:solidFill>
                <a:srgbClr val="AEABAB"/>
              </a:solidFill>
            </c:spPr>
            <c:extLst>
              <c:ext xmlns:c16="http://schemas.microsoft.com/office/drawing/2014/chart" uri="{C3380CC4-5D6E-409C-BE32-E72D297353CC}">
                <c16:uniqueId val="{000006EB-86F4-458F-B5E5-D296EB1009DF}"/>
              </c:ext>
            </c:extLst>
          </c:dPt>
          <c:dPt>
            <c:idx val="885"/>
            <c:invertIfNegative val="1"/>
            <c:bubble3D val="0"/>
            <c:spPr>
              <a:solidFill>
                <a:srgbClr val="AEABAB"/>
              </a:solidFill>
            </c:spPr>
            <c:extLst>
              <c:ext xmlns:c16="http://schemas.microsoft.com/office/drawing/2014/chart" uri="{C3380CC4-5D6E-409C-BE32-E72D297353CC}">
                <c16:uniqueId val="{000006ED-86F4-458F-B5E5-D296EB1009DF}"/>
              </c:ext>
            </c:extLst>
          </c:dPt>
          <c:dPt>
            <c:idx val="886"/>
            <c:invertIfNegative val="1"/>
            <c:bubble3D val="0"/>
            <c:spPr>
              <a:solidFill>
                <a:srgbClr val="AEABAB"/>
              </a:solidFill>
            </c:spPr>
            <c:extLst>
              <c:ext xmlns:c16="http://schemas.microsoft.com/office/drawing/2014/chart" uri="{C3380CC4-5D6E-409C-BE32-E72D297353CC}">
                <c16:uniqueId val="{000006EF-86F4-458F-B5E5-D296EB1009DF}"/>
              </c:ext>
            </c:extLst>
          </c:dPt>
          <c:dPt>
            <c:idx val="887"/>
            <c:invertIfNegative val="1"/>
            <c:bubble3D val="0"/>
            <c:spPr>
              <a:solidFill>
                <a:srgbClr val="AEABAB"/>
              </a:solidFill>
            </c:spPr>
            <c:extLst>
              <c:ext xmlns:c16="http://schemas.microsoft.com/office/drawing/2014/chart" uri="{C3380CC4-5D6E-409C-BE32-E72D297353CC}">
                <c16:uniqueId val="{000006F1-86F4-458F-B5E5-D296EB1009DF}"/>
              </c:ext>
            </c:extLst>
          </c:dPt>
          <c:dPt>
            <c:idx val="888"/>
            <c:invertIfNegative val="1"/>
            <c:bubble3D val="0"/>
            <c:spPr>
              <a:solidFill>
                <a:srgbClr val="AEABAB"/>
              </a:solidFill>
            </c:spPr>
            <c:extLst>
              <c:ext xmlns:c16="http://schemas.microsoft.com/office/drawing/2014/chart" uri="{C3380CC4-5D6E-409C-BE32-E72D297353CC}">
                <c16:uniqueId val="{000006F3-86F4-458F-B5E5-D296EB1009DF}"/>
              </c:ext>
            </c:extLst>
          </c:dPt>
          <c:dPt>
            <c:idx val="889"/>
            <c:invertIfNegative val="1"/>
            <c:bubble3D val="0"/>
            <c:spPr>
              <a:solidFill>
                <a:srgbClr val="AEABAB"/>
              </a:solidFill>
            </c:spPr>
            <c:extLst>
              <c:ext xmlns:c16="http://schemas.microsoft.com/office/drawing/2014/chart" uri="{C3380CC4-5D6E-409C-BE32-E72D297353CC}">
                <c16:uniqueId val="{000006F5-86F4-458F-B5E5-D296EB1009DF}"/>
              </c:ext>
            </c:extLst>
          </c:dPt>
          <c:dPt>
            <c:idx val="890"/>
            <c:invertIfNegative val="1"/>
            <c:bubble3D val="0"/>
            <c:spPr>
              <a:solidFill>
                <a:srgbClr val="AEABAB"/>
              </a:solidFill>
            </c:spPr>
            <c:extLst>
              <c:ext xmlns:c16="http://schemas.microsoft.com/office/drawing/2014/chart" uri="{C3380CC4-5D6E-409C-BE32-E72D297353CC}">
                <c16:uniqueId val="{000006F7-86F4-458F-B5E5-D296EB1009DF}"/>
              </c:ext>
            </c:extLst>
          </c:dPt>
          <c:dPt>
            <c:idx val="891"/>
            <c:invertIfNegative val="1"/>
            <c:bubble3D val="0"/>
            <c:spPr>
              <a:solidFill>
                <a:srgbClr val="AEABAB"/>
              </a:solidFill>
            </c:spPr>
            <c:extLst>
              <c:ext xmlns:c16="http://schemas.microsoft.com/office/drawing/2014/chart" uri="{C3380CC4-5D6E-409C-BE32-E72D297353CC}">
                <c16:uniqueId val="{000006F9-86F4-458F-B5E5-D296EB1009DF}"/>
              </c:ext>
            </c:extLst>
          </c:dPt>
          <c:dPt>
            <c:idx val="892"/>
            <c:invertIfNegative val="1"/>
            <c:bubble3D val="0"/>
            <c:spPr>
              <a:solidFill>
                <a:srgbClr val="AEABAB"/>
              </a:solidFill>
            </c:spPr>
            <c:extLst>
              <c:ext xmlns:c16="http://schemas.microsoft.com/office/drawing/2014/chart" uri="{C3380CC4-5D6E-409C-BE32-E72D297353CC}">
                <c16:uniqueId val="{000006FB-86F4-458F-B5E5-D296EB1009DF}"/>
              </c:ext>
            </c:extLst>
          </c:dPt>
          <c:dPt>
            <c:idx val="893"/>
            <c:invertIfNegative val="1"/>
            <c:bubble3D val="0"/>
            <c:spPr>
              <a:solidFill>
                <a:srgbClr val="AEABAB"/>
              </a:solidFill>
            </c:spPr>
            <c:extLst>
              <c:ext xmlns:c16="http://schemas.microsoft.com/office/drawing/2014/chart" uri="{C3380CC4-5D6E-409C-BE32-E72D297353CC}">
                <c16:uniqueId val="{000006FD-86F4-458F-B5E5-D296EB1009DF}"/>
              </c:ext>
            </c:extLst>
          </c:dPt>
          <c:dPt>
            <c:idx val="894"/>
            <c:invertIfNegative val="1"/>
            <c:bubble3D val="0"/>
            <c:spPr>
              <a:solidFill>
                <a:srgbClr val="AEABAB"/>
              </a:solidFill>
            </c:spPr>
            <c:extLst>
              <c:ext xmlns:c16="http://schemas.microsoft.com/office/drawing/2014/chart" uri="{C3380CC4-5D6E-409C-BE32-E72D297353CC}">
                <c16:uniqueId val="{000006FF-86F4-458F-B5E5-D296EB1009DF}"/>
              </c:ext>
            </c:extLst>
          </c:dPt>
          <c:dPt>
            <c:idx val="895"/>
            <c:invertIfNegative val="1"/>
            <c:bubble3D val="0"/>
            <c:spPr>
              <a:solidFill>
                <a:srgbClr val="AEABAB"/>
              </a:solidFill>
            </c:spPr>
            <c:extLst>
              <c:ext xmlns:c16="http://schemas.microsoft.com/office/drawing/2014/chart" uri="{C3380CC4-5D6E-409C-BE32-E72D297353CC}">
                <c16:uniqueId val="{00000701-86F4-458F-B5E5-D296EB1009DF}"/>
              </c:ext>
            </c:extLst>
          </c:dPt>
          <c:dPt>
            <c:idx val="896"/>
            <c:invertIfNegative val="1"/>
            <c:bubble3D val="0"/>
            <c:spPr>
              <a:solidFill>
                <a:srgbClr val="AEABAB"/>
              </a:solidFill>
            </c:spPr>
            <c:extLst>
              <c:ext xmlns:c16="http://schemas.microsoft.com/office/drawing/2014/chart" uri="{C3380CC4-5D6E-409C-BE32-E72D297353CC}">
                <c16:uniqueId val="{00000703-86F4-458F-B5E5-D296EB1009DF}"/>
              </c:ext>
            </c:extLst>
          </c:dPt>
          <c:dPt>
            <c:idx val="897"/>
            <c:invertIfNegative val="1"/>
            <c:bubble3D val="0"/>
            <c:spPr>
              <a:solidFill>
                <a:srgbClr val="AEABAB"/>
              </a:solidFill>
            </c:spPr>
            <c:extLst>
              <c:ext xmlns:c16="http://schemas.microsoft.com/office/drawing/2014/chart" uri="{C3380CC4-5D6E-409C-BE32-E72D297353CC}">
                <c16:uniqueId val="{00000705-86F4-458F-B5E5-D296EB1009DF}"/>
              </c:ext>
            </c:extLst>
          </c:dPt>
          <c:dPt>
            <c:idx val="898"/>
            <c:invertIfNegative val="1"/>
            <c:bubble3D val="0"/>
            <c:spPr>
              <a:solidFill>
                <a:srgbClr val="AEABAB"/>
              </a:solidFill>
            </c:spPr>
            <c:extLst>
              <c:ext xmlns:c16="http://schemas.microsoft.com/office/drawing/2014/chart" uri="{C3380CC4-5D6E-409C-BE32-E72D297353CC}">
                <c16:uniqueId val="{00000707-86F4-458F-B5E5-D296EB1009DF}"/>
              </c:ext>
            </c:extLst>
          </c:dPt>
          <c:dPt>
            <c:idx val="899"/>
            <c:invertIfNegative val="1"/>
            <c:bubble3D val="0"/>
            <c:spPr>
              <a:solidFill>
                <a:srgbClr val="AEABAB"/>
              </a:solidFill>
            </c:spPr>
            <c:extLst>
              <c:ext xmlns:c16="http://schemas.microsoft.com/office/drawing/2014/chart" uri="{C3380CC4-5D6E-409C-BE32-E72D297353CC}">
                <c16:uniqueId val="{00000709-86F4-458F-B5E5-D296EB1009DF}"/>
              </c:ext>
            </c:extLst>
          </c:dPt>
          <c:dPt>
            <c:idx val="900"/>
            <c:invertIfNegative val="1"/>
            <c:bubble3D val="0"/>
            <c:spPr>
              <a:solidFill>
                <a:srgbClr val="AEABAB"/>
              </a:solidFill>
            </c:spPr>
            <c:extLst>
              <c:ext xmlns:c16="http://schemas.microsoft.com/office/drawing/2014/chart" uri="{C3380CC4-5D6E-409C-BE32-E72D297353CC}">
                <c16:uniqueId val="{0000070B-86F4-458F-B5E5-D296EB1009DF}"/>
              </c:ext>
            </c:extLst>
          </c:dPt>
          <c:dPt>
            <c:idx val="901"/>
            <c:invertIfNegative val="1"/>
            <c:bubble3D val="0"/>
            <c:spPr>
              <a:solidFill>
                <a:srgbClr val="AEABAB"/>
              </a:solidFill>
            </c:spPr>
            <c:extLst>
              <c:ext xmlns:c16="http://schemas.microsoft.com/office/drawing/2014/chart" uri="{C3380CC4-5D6E-409C-BE32-E72D297353CC}">
                <c16:uniqueId val="{0000070D-86F4-458F-B5E5-D296EB1009DF}"/>
              </c:ext>
            </c:extLst>
          </c:dPt>
          <c:dPt>
            <c:idx val="902"/>
            <c:invertIfNegative val="1"/>
            <c:bubble3D val="0"/>
            <c:spPr>
              <a:solidFill>
                <a:srgbClr val="AEABAB"/>
              </a:solidFill>
            </c:spPr>
            <c:extLst>
              <c:ext xmlns:c16="http://schemas.microsoft.com/office/drawing/2014/chart" uri="{C3380CC4-5D6E-409C-BE32-E72D297353CC}">
                <c16:uniqueId val="{0000070F-86F4-458F-B5E5-D296EB1009DF}"/>
              </c:ext>
            </c:extLst>
          </c:dPt>
          <c:dPt>
            <c:idx val="903"/>
            <c:invertIfNegative val="1"/>
            <c:bubble3D val="0"/>
            <c:spPr>
              <a:solidFill>
                <a:srgbClr val="AEABAB"/>
              </a:solidFill>
            </c:spPr>
            <c:extLst>
              <c:ext xmlns:c16="http://schemas.microsoft.com/office/drawing/2014/chart" uri="{C3380CC4-5D6E-409C-BE32-E72D297353CC}">
                <c16:uniqueId val="{00000711-86F4-458F-B5E5-D296EB1009DF}"/>
              </c:ext>
            </c:extLst>
          </c:dPt>
          <c:dPt>
            <c:idx val="904"/>
            <c:invertIfNegative val="1"/>
            <c:bubble3D val="0"/>
            <c:spPr>
              <a:solidFill>
                <a:srgbClr val="AEABAB"/>
              </a:solidFill>
            </c:spPr>
            <c:extLst>
              <c:ext xmlns:c16="http://schemas.microsoft.com/office/drawing/2014/chart" uri="{C3380CC4-5D6E-409C-BE32-E72D297353CC}">
                <c16:uniqueId val="{00000713-86F4-458F-B5E5-D296EB1009DF}"/>
              </c:ext>
            </c:extLst>
          </c:dPt>
          <c:dPt>
            <c:idx val="905"/>
            <c:invertIfNegative val="1"/>
            <c:bubble3D val="0"/>
            <c:spPr>
              <a:solidFill>
                <a:srgbClr val="AEABAB"/>
              </a:solidFill>
            </c:spPr>
            <c:extLst>
              <c:ext xmlns:c16="http://schemas.microsoft.com/office/drawing/2014/chart" uri="{C3380CC4-5D6E-409C-BE32-E72D297353CC}">
                <c16:uniqueId val="{00000715-86F4-458F-B5E5-D296EB1009DF}"/>
              </c:ext>
            </c:extLst>
          </c:dPt>
          <c:dPt>
            <c:idx val="906"/>
            <c:invertIfNegative val="1"/>
            <c:bubble3D val="0"/>
            <c:spPr>
              <a:solidFill>
                <a:srgbClr val="AEABAB"/>
              </a:solidFill>
            </c:spPr>
            <c:extLst>
              <c:ext xmlns:c16="http://schemas.microsoft.com/office/drawing/2014/chart" uri="{C3380CC4-5D6E-409C-BE32-E72D297353CC}">
                <c16:uniqueId val="{00000717-86F4-458F-B5E5-D296EB1009DF}"/>
              </c:ext>
            </c:extLst>
          </c:dPt>
          <c:dPt>
            <c:idx val="907"/>
            <c:invertIfNegative val="1"/>
            <c:bubble3D val="0"/>
            <c:spPr>
              <a:solidFill>
                <a:srgbClr val="AEABAB"/>
              </a:solidFill>
            </c:spPr>
            <c:extLst>
              <c:ext xmlns:c16="http://schemas.microsoft.com/office/drawing/2014/chart" uri="{C3380CC4-5D6E-409C-BE32-E72D297353CC}">
                <c16:uniqueId val="{00000719-86F4-458F-B5E5-D296EB1009DF}"/>
              </c:ext>
            </c:extLst>
          </c:dPt>
          <c:dPt>
            <c:idx val="908"/>
            <c:invertIfNegative val="1"/>
            <c:bubble3D val="0"/>
            <c:spPr>
              <a:solidFill>
                <a:srgbClr val="AEABAB"/>
              </a:solidFill>
            </c:spPr>
            <c:extLst>
              <c:ext xmlns:c16="http://schemas.microsoft.com/office/drawing/2014/chart" uri="{C3380CC4-5D6E-409C-BE32-E72D297353CC}">
                <c16:uniqueId val="{0000071B-86F4-458F-B5E5-D296EB1009DF}"/>
              </c:ext>
            </c:extLst>
          </c:dPt>
          <c:dPt>
            <c:idx val="909"/>
            <c:invertIfNegative val="1"/>
            <c:bubble3D val="0"/>
            <c:spPr>
              <a:solidFill>
                <a:srgbClr val="AEABAB"/>
              </a:solidFill>
            </c:spPr>
            <c:extLst>
              <c:ext xmlns:c16="http://schemas.microsoft.com/office/drawing/2014/chart" uri="{C3380CC4-5D6E-409C-BE32-E72D297353CC}">
                <c16:uniqueId val="{0000071D-86F4-458F-B5E5-D296EB1009DF}"/>
              </c:ext>
            </c:extLst>
          </c:dPt>
          <c:dPt>
            <c:idx val="910"/>
            <c:invertIfNegative val="1"/>
            <c:bubble3D val="0"/>
            <c:spPr>
              <a:solidFill>
                <a:srgbClr val="AEABAB"/>
              </a:solidFill>
            </c:spPr>
            <c:extLst>
              <c:ext xmlns:c16="http://schemas.microsoft.com/office/drawing/2014/chart" uri="{C3380CC4-5D6E-409C-BE32-E72D297353CC}">
                <c16:uniqueId val="{0000071F-86F4-458F-B5E5-D296EB1009DF}"/>
              </c:ext>
            </c:extLst>
          </c:dPt>
          <c:dPt>
            <c:idx val="911"/>
            <c:invertIfNegative val="1"/>
            <c:bubble3D val="0"/>
            <c:spPr>
              <a:solidFill>
                <a:srgbClr val="AEABAB"/>
              </a:solidFill>
            </c:spPr>
            <c:extLst>
              <c:ext xmlns:c16="http://schemas.microsoft.com/office/drawing/2014/chart" uri="{C3380CC4-5D6E-409C-BE32-E72D297353CC}">
                <c16:uniqueId val="{00000721-86F4-458F-B5E5-D296EB1009DF}"/>
              </c:ext>
            </c:extLst>
          </c:dPt>
          <c:dPt>
            <c:idx val="912"/>
            <c:invertIfNegative val="1"/>
            <c:bubble3D val="0"/>
            <c:spPr>
              <a:solidFill>
                <a:srgbClr val="AEABAB"/>
              </a:solidFill>
            </c:spPr>
            <c:extLst>
              <c:ext xmlns:c16="http://schemas.microsoft.com/office/drawing/2014/chart" uri="{C3380CC4-5D6E-409C-BE32-E72D297353CC}">
                <c16:uniqueId val="{00000723-86F4-458F-B5E5-D296EB1009DF}"/>
              </c:ext>
            </c:extLst>
          </c:dPt>
          <c:dPt>
            <c:idx val="913"/>
            <c:invertIfNegative val="1"/>
            <c:bubble3D val="0"/>
            <c:spPr>
              <a:solidFill>
                <a:srgbClr val="AEABAB"/>
              </a:solidFill>
            </c:spPr>
            <c:extLst>
              <c:ext xmlns:c16="http://schemas.microsoft.com/office/drawing/2014/chart" uri="{C3380CC4-5D6E-409C-BE32-E72D297353CC}">
                <c16:uniqueId val="{00000725-86F4-458F-B5E5-D296EB1009DF}"/>
              </c:ext>
            </c:extLst>
          </c:dPt>
          <c:dPt>
            <c:idx val="914"/>
            <c:invertIfNegative val="1"/>
            <c:bubble3D val="0"/>
            <c:spPr>
              <a:solidFill>
                <a:srgbClr val="AEABAB"/>
              </a:solidFill>
            </c:spPr>
            <c:extLst>
              <c:ext xmlns:c16="http://schemas.microsoft.com/office/drawing/2014/chart" uri="{C3380CC4-5D6E-409C-BE32-E72D297353CC}">
                <c16:uniqueId val="{00000727-86F4-458F-B5E5-D296EB1009DF}"/>
              </c:ext>
            </c:extLst>
          </c:dPt>
          <c:dPt>
            <c:idx val="915"/>
            <c:invertIfNegative val="1"/>
            <c:bubble3D val="0"/>
            <c:spPr>
              <a:solidFill>
                <a:srgbClr val="AEABAB"/>
              </a:solidFill>
            </c:spPr>
            <c:extLst>
              <c:ext xmlns:c16="http://schemas.microsoft.com/office/drawing/2014/chart" uri="{C3380CC4-5D6E-409C-BE32-E72D297353CC}">
                <c16:uniqueId val="{00000729-86F4-458F-B5E5-D296EB1009DF}"/>
              </c:ext>
            </c:extLst>
          </c:dPt>
          <c:dPt>
            <c:idx val="916"/>
            <c:invertIfNegative val="1"/>
            <c:bubble3D val="0"/>
            <c:spPr>
              <a:solidFill>
                <a:srgbClr val="AEABAB"/>
              </a:solidFill>
            </c:spPr>
            <c:extLst>
              <c:ext xmlns:c16="http://schemas.microsoft.com/office/drawing/2014/chart" uri="{C3380CC4-5D6E-409C-BE32-E72D297353CC}">
                <c16:uniqueId val="{0000072B-86F4-458F-B5E5-D296EB1009DF}"/>
              </c:ext>
            </c:extLst>
          </c:dPt>
          <c:dPt>
            <c:idx val="917"/>
            <c:invertIfNegative val="1"/>
            <c:bubble3D val="0"/>
            <c:spPr>
              <a:solidFill>
                <a:srgbClr val="AEABAB"/>
              </a:solidFill>
            </c:spPr>
            <c:extLst>
              <c:ext xmlns:c16="http://schemas.microsoft.com/office/drawing/2014/chart" uri="{C3380CC4-5D6E-409C-BE32-E72D297353CC}">
                <c16:uniqueId val="{0000072D-86F4-458F-B5E5-D296EB1009DF}"/>
              </c:ext>
            </c:extLst>
          </c:dPt>
          <c:dPt>
            <c:idx val="918"/>
            <c:invertIfNegative val="1"/>
            <c:bubble3D val="0"/>
            <c:spPr>
              <a:solidFill>
                <a:srgbClr val="AEABAB"/>
              </a:solidFill>
            </c:spPr>
            <c:extLst>
              <c:ext xmlns:c16="http://schemas.microsoft.com/office/drawing/2014/chart" uri="{C3380CC4-5D6E-409C-BE32-E72D297353CC}">
                <c16:uniqueId val="{0000072F-86F4-458F-B5E5-D296EB1009DF}"/>
              </c:ext>
            </c:extLst>
          </c:dPt>
          <c:dPt>
            <c:idx val="919"/>
            <c:invertIfNegative val="1"/>
            <c:bubble3D val="0"/>
            <c:spPr>
              <a:solidFill>
                <a:srgbClr val="AEABAB"/>
              </a:solidFill>
            </c:spPr>
            <c:extLst>
              <c:ext xmlns:c16="http://schemas.microsoft.com/office/drawing/2014/chart" uri="{C3380CC4-5D6E-409C-BE32-E72D297353CC}">
                <c16:uniqueId val="{00000731-86F4-458F-B5E5-D296EB1009DF}"/>
              </c:ext>
            </c:extLst>
          </c:dPt>
          <c:dPt>
            <c:idx val="920"/>
            <c:invertIfNegative val="1"/>
            <c:bubble3D val="0"/>
            <c:spPr>
              <a:solidFill>
                <a:srgbClr val="AEABAB"/>
              </a:solidFill>
            </c:spPr>
            <c:extLst>
              <c:ext xmlns:c16="http://schemas.microsoft.com/office/drawing/2014/chart" uri="{C3380CC4-5D6E-409C-BE32-E72D297353CC}">
                <c16:uniqueId val="{00000733-86F4-458F-B5E5-D296EB1009DF}"/>
              </c:ext>
            </c:extLst>
          </c:dPt>
          <c:dPt>
            <c:idx val="921"/>
            <c:invertIfNegative val="1"/>
            <c:bubble3D val="0"/>
            <c:spPr>
              <a:solidFill>
                <a:srgbClr val="AEABAB"/>
              </a:solidFill>
            </c:spPr>
            <c:extLst>
              <c:ext xmlns:c16="http://schemas.microsoft.com/office/drawing/2014/chart" uri="{C3380CC4-5D6E-409C-BE32-E72D297353CC}">
                <c16:uniqueId val="{00000735-86F4-458F-B5E5-D296EB1009DF}"/>
              </c:ext>
            </c:extLst>
          </c:dPt>
          <c:dPt>
            <c:idx val="922"/>
            <c:invertIfNegative val="1"/>
            <c:bubble3D val="0"/>
            <c:spPr>
              <a:solidFill>
                <a:srgbClr val="AEABAB"/>
              </a:solidFill>
            </c:spPr>
            <c:extLst>
              <c:ext xmlns:c16="http://schemas.microsoft.com/office/drawing/2014/chart" uri="{C3380CC4-5D6E-409C-BE32-E72D297353CC}">
                <c16:uniqueId val="{00000737-86F4-458F-B5E5-D296EB1009DF}"/>
              </c:ext>
            </c:extLst>
          </c:dPt>
          <c:dPt>
            <c:idx val="923"/>
            <c:invertIfNegative val="1"/>
            <c:bubble3D val="0"/>
            <c:spPr>
              <a:solidFill>
                <a:srgbClr val="AEABAB"/>
              </a:solidFill>
            </c:spPr>
            <c:extLst>
              <c:ext xmlns:c16="http://schemas.microsoft.com/office/drawing/2014/chart" uri="{C3380CC4-5D6E-409C-BE32-E72D297353CC}">
                <c16:uniqueId val="{00000739-86F4-458F-B5E5-D296EB1009DF}"/>
              </c:ext>
            </c:extLst>
          </c:dPt>
          <c:dPt>
            <c:idx val="924"/>
            <c:invertIfNegative val="1"/>
            <c:bubble3D val="0"/>
            <c:spPr>
              <a:solidFill>
                <a:srgbClr val="AEABAB"/>
              </a:solidFill>
            </c:spPr>
            <c:extLst>
              <c:ext xmlns:c16="http://schemas.microsoft.com/office/drawing/2014/chart" uri="{C3380CC4-5D6E-409C-BE32-E72D297353CC}">
                <c16:uniqueId val="{0000073B-86F4-458F-B5E5-D296EB1009DF}"/>
              </c:ext>
            </c:extLst>
          </c:dPt>
          <c:dPt>
            <c:idx val="925"/>
            <c:invertIfNegative val="1"/>
            <c:bubble3D val="0"/>
            <c:spPr>
              <a:solidFill>
                <a:srgbClr val="AEABAB"/>
              </a:solidFill>
            </c:spPr>
            <c:extLst>
              <c:ext xmlns:c16="http://schemas.microsoft.com/office/drawing/2014/chart" uri="{C3380CC4-5D6E-409C-BE32-E72D297353CC}">
                <c16:uniqueId val="{0000073D-86F4-458F-B5E5-D296EB1009DF}"/>
              </c:ext>
            </c:extLst>
          </c:dPt>
          <c:dPt>
            <c:idx val="926"/>
            <c:invertIfNegative val="1"/>
            <c:bubble3D val="0"/>
            <c:spPr>
              <a:solidFill>
                <a:srgbClr val="AEABAB"/>
              </a:solidFill>
            </c:spPr>
            <c:extLst>
              <c:ext xmlns:c16="http://schemas.microsoft.com/office/drawing/2014/chart" uri="{C3380CC4-5D6E-409C-BE32-E72D297353CC}">
                <c16:uniqueId val="{0000073F-86F4-458F-B5E5-D296EB1009DF}"/>
              </c:ext>
            </c:extLst>
          </c:dPt>
          <c:dPt>
            <c:idx val="927"/>
            <c:invertIfNegative val="1"/>
            <c:bubble3D val="0"/>
            <c:spPr>
              <a:solidFill>
                <a:srgbClr val="AEABAB"/>
              </a:solidFill>
            </c:spPr>
            <c:extLst>
              <c:ext xmlns:c16="http://schemas.microsoft.com/office/drawing/2014/chart" uri="{C3380CC4-5D6E-409C-BE32-E72D297353CC}">
                <c16:uniqueId val="{00000741-86F4-458F-B5E5-D296EB1009DF}"/>
              </c:ext>
            </c:extLst>
          </c:dPt>
          <c:dPt>
            <c:idx val="928"/>
            <c:invertIfNegative val="1"/>
            <c:bubble3D val="0"/>
            <c:spPr>
              <a:solidFill>
                <a:srgbClr val="AEABAB"/>
              </a:solidFill>
            </c:spPr>
            <c:extLst>
              <c:ext xmlns:c16="http://schemas.microsoft.com/office/drawing/2014/chart" uri="{C3380CC4-5D6E-409C-BE32-E72D297353CC}">
                <c16:uniqueId val="{00000743-86F4-458F-B5E5-D296EB1009DF}"/>
              </c:ext>
            </c:extLst>
          </c:dPt>
          <c:dPt>
            <c:idx val="929"/>
            <c:invertIfNegative val="1"/>
            <c:bubble3D val="0"/>
            <c:spPr>
              <a:solidFill>
                <a:srgbClr val="AEABAB"/>
              </a:solidFill>
            </c:spPr>
            <c:extLst>
              <c:ext xmlns:c16="http://schemas.microsoft.com/office/drawing/2014/chart" uri="{C3380CC4-5D6E-409C-BE32-E72D297353CC}">
                <c16:uniqueId val="{00000745-86F4-458F-B5E5-D296EB1009DF}"/>
              </c:ext>
            </c:extLst>
          </c:dPt>
          <c:dPt>
            <c:idx val="930"/>
            <c:invertIfNegative val="1"/>
            <c:bubble3D val="0"/>
            <c:spPr>
              <a:solidFill>
                <a:srgbClr val="AEABAB"/>
              </a:solidFill>
            </c:spPr>
            <c:extLst>
              <c:ext xmlns:c16="http://schemas.microsoft.com/office/drawing/2014/chart" uri="{C3380CC4-5D6E-409C-BE32-E72D297353CC}">
                <c16:uniqueId val="{00000747-86F4-458F-B5E5-D296EB1009DF}"/>
              </c:ext>
            </c:extLst>
          </c:dPt>
          <c:dPt>
            <c:idx val="931"/>
            <c:invertIfNegative val="1"/>
            <c:bubble3D val="0"/>
            <c:spPr>
              <a:solidFill>
                <a:srgbClr val="AEABAB"/>
              </a:solidFill>
            </c:spPr>
            <c:extLst>
              <c:ext xmlns:c16="http://schemas.microsoft.com/office/drawing/2014/chart" uri="{C3380CC4-5D6E-409C-BE32-E72D297353CC}">
                <c16:uniqueId val="{00000749-86F4-458F-B5E5-D296EB1009DF}"/>
              </c:ext>
            </c:extLst>
          </c:dPt>
          <c:dPt>
            <c:idx val="932"/>
            <c:invertIfNegative val="1"/>
            <c:bubble3D val="0"/>
            <c:spPr>
              <a:solidFill>
                <a:srgbClr val="AEABAB"/>
              </a:solidFill>
            </c:spPr>
            <c:extLst>
              <c:ext xmlns:c16="http://schemas.microsoft.com/office/drawing/2014/chart" uri="{C3380CC4-5D6E-409C-BE32-E72D297353CC}">
                <c16:uniqueId val="{0000074B-86F4-458F-B5E5-D296EB1009DF}"/>
              </c:ext>
            </c:extLst>
          </c:dPt>
          <c:dPt>
            <c:idx val="933"/>
            <c:invertIfNegative val="1"/>
            <c:bubble3D val="0"/>
            <c:spPr>
              <a:solidFill>
                <a:srgbClr val="AEABAB"/>
              </a:solidFill>
            </c:spPr>
            <c:extLst>
              <c:ext xmlns:c16="http://schemas.microsoft.com/office/drawing/2014/chart" uri="{C3380CC4-5D6E-409C-BE32-E72D297353CC}">
                <c16:uniqueId val="{0000074D-86F4-458F-B5E5-D296EB1009DF}"/>
              </c:ext>
            </c:extLst>
          </c:dPt>
          <c:dPt>
            <c:idx val="934"/>
            <c:invertIfNegative val="1"/>
            <c:bubble3D val="0"/>
            <c:spPr>
              <a:solidFill>
                <a:srgbClr val="AEABAB"/>
              </a:solidFill>
            </c:spPr>
            <c:extLst>
              <c:ext xmlns:c16="http://schemas.microsoft.com/office/drawing/2014/chart" uri="{C3380CC4-5D6E-409C-BE32-E72D297353CC}">
                <c16:uniqueId val="{0000074F-86F4-458F-B5E5-D296EB1009DF}"/>
              </c:ext>
            </c:extLst>
          </c:dPt>
          <c:dPt>
            <c:idx val="935"/>
            <c:invertIfNegative val="1"/>
            <c:bubble3D val="0"/>
            <c:spPr>
              <a:solidFill>
                <a:srgbClr val="AEABAB"/>
              </a:solidFill>
            </c:spPr>
            <c:extLst>
              <c:ext xmlns:c16="http://schemas.microsoft.com/office/drawing/2014/chart" uri="{C3380CC4-5D6E-409C-BE32-E72D297353CC}">
                <c16:uniqueId val="{00000751-86F4-458F-B5E5-D296EB1009DF}"/>
              </c:ext>
            </c:extLst>
          </c:dPt>
          <c:dPt>
            <c:idx val="936"/>
            <c:invertIfNegative val="1"/>
            <c:bubble3D val="0"/>
            <c:spPr>
              <a:solidFill>
                <a:srgbClr val="AEABAB"/>
              </a:solidFill>
            </c:spPr>
            <c:extLst>
              <c:ext xmlns:c16="http://schemas.microsoft.com/office/drawing/2014/chart" uri="{C3380CC4-5D6E-409C-BE32-E72D297353CC}">
                <c16:uniqueId val="{00000753-86F4-458F-B5E5-D296EB1009DF}"/>
              </c:ext>
            </c:extLst>
          </c:dPt>
          <c:dPt>
            <c:idx val="937"/>
            <c:invertIfNegative val="1"/>
            <c:bubble3D val="0"/>
            <c:spPr>
              <a:solidFill>
                <a:srgbClr val="AEABAB"/>
              </a:solidFill>
            </c:spPr>
            <c:extLst>
              <c:ext xmlns:c16="http://schemas.microsoft.com/office/drawing/2014/chart" uri="{C3380CC4-5D6E-409C-BE32-E72D297353CC}">
                <c16:uniqueId val="{00000755-86F4-458F-B5E5-D296EB1009DF}"/>
              </c:ext>
            </c:extLst>
          </c:dPt>
          <c:dPt>
            <c:idx val="938"/>
            <c:invertIfNegative val="1"/>
            <c:bubble3D val="0"/>
            <c:spPr>
              <a:solidFill>
                <a:srgbClr val="AEABAB"/>
              </a:solidFill>
            </c:spPr>
            <c:extLst>
              <c:ext xmlns:c16="http://schemas.microsoft.com/office/drawing/2014/chart" uri="{C3380CC4-5D6E-409C-BE32-E72D297353CC}">
                <c16:uniqueId val="{00000757-86F4-458F-B5E5-D296EB1009DF}"/>
              </c:ext>
            </c:extLst>
          </c:dPt>
          <c:dPt>
            <c:idx val="939"/>
            <c:invertIfNegative val="1"/>
            <c:bubble3D val="0"/>
            <c:spPr>
              <a:solidFill>
                <a:srgbClr val="AEABAB"/>
              </a:solidFill>
            </c:spPr>
            <c:extLst>
              <c:ext xmlns:c16="http://schemas.microsoft.com/office/drawing/2014/chart" uri="{C3380CC4-5D6E-409C-BE32-E72D297353CC}">
                <c16:uniqueId val="{00000759-86F4-458F-B5E5-D296EB1009DF}"/>
              </c:ext>
            </c:extLst>
          </c:dPt>
          <c:dPt>
            <c:idx val="940"/>
            <c:invertIfNegative val="1"/>
            <c:bubble3D val="0"/>
            <c:spPr>
              <a:solidFill>
                <a:srgbClr val="AEABAB"/>
              </a:solidFill>
            </c:spPr>
            <c:extLst>
              <c:ext xmlns:c16="http://schemas.microsoft.com/office/drawing/2014/chart" uri="{C3380CC4-5D6E-409C-BE32-E72D297353CC}">
                <c16:uniqueId val="{0000075B-86F4-458F-B5E5-D296EB1009DF}"/>
              </c:ext>
            </c:extLst>
          </c:dPt>
          <c:dPt>
            <c:idx val="941"/>
            <c:invertIfNegative val="1"/>
            <c:bubble3D val="0"/>
            <c:spPr>
              <a:solidFill>
                <a:srgbClr val="AEABAB"/>
              </a:solidFill>
            </c:spPr>
            <c:extLst>
              <c:ext xmlns:c16="http://schemas.microsoft.com/office/drawing/2014/chart" uri="{C3380CC4-5D6E-409C-BE32-E72D297353CC}">
                <c16:uniqueId val="{0000075D-86F4-458F-B5E5-D296EB1009DF}"/>
              </c:ext>
            </c:extLst>
          </c:dPt>
          <c:dPt>
            <c:idx val="942"/>
            <c:invertIfNegative val="1"/>
            <c:bubble3D val="0"/>
            <c:spPr>
              <a:solidFill>
                <a:srgbClr val="AEABAB"/>
              </a:solidFill>
            </c:spPr>
            <c:extLst>
              <c:ext xmlns:c16="http://schemas.microsoft.com/office/drawing/2014/chart" uri="{C3380CC4-5D6E-409C-BE32-E72D297353CC}">
                <c16:uniqueId val="{0000075F-86F4-458F-B5E5-D296EB1009DF}"/>
              </c:ext>
            </c:extLst>
          </c:dPt>
          <c:dPt>
            <c:idx val="943"/>
            <c:invertIfNegative val="1"/>
            <c:bubble3D val="0"/>
            <c:spPr>
              <a:solidFill>
                <a:srgbClr val="AEABAB"/>
              </a:solidFill>
            </c:spPr>
            <c:extLst>
              <c:ext xmlns:c16="http://schemas.microsoft.com/office/drawing/2014/chart" uri="{C3380CC4-5D6E-409C-BE32-E72D297353CC}">
                <c16:uniqueId val="{00000761-86F4-458F-B5E5-D296EB1009DF}"/>
              </c:ext>
            </c:extLst>
          </c:dPt>
          <c:dPt>
            <c:idx val="944"/>
            <c:invertIfNegative val="1"/>
            <c:bubble3D val="0"/>
            <c:spPr>
              <a:solidFill>
                <a:srgbClr val="AEABAB"/>
              </a:solidFill>
            </c:spPr>
            <c:extLst>
              <c:ext xmlns:c16="http://schemas.microsoft.com/office/drawing/2014/chart" uri="{C3380CC4-5D6E-409C-BE32-E72D297353CC}">
                <c16:uniqueId val="{00000763-86F4-458F-B5E5-D296EB1009DF}"/>
              </c:ext>
            </c:extLst>
          </c:dPt>
          <c:dPt>
            <c:idx val="945"/>
            <c:invertIfNegative val="1"/>
            <c:bubble3D val="0"/>
            <c:spPr>
              <a:solidFill>
                <a:srgbClr val="AEABAB"/>
              </a:solidFill>
            </c:spPr>
            <c:extLst>
              <c:ext xmlns:c16="http://schemas.microsoft.com/office/drawing/2014/chart" uri="{C3380CC4-5D6E-409C-BE32-E72D297353CC}">
                <c16:uniqueId val="{00000765-86F4-458F-B5E5-D296EB1009DF}"/>
              </c:ext>
            </c:extLst>
          </c:dPt>
          <c:dPt>
            <c:idx val="946"/>
            <c:invertIfNegative val="1"/>
            <c:bubble3D val="0"/>
            <c:spPr>
              <a:solidFill>
                <a:srgbClr val="AEABAB"/>
              </a:solidFill>
            </c:spPr>
            <c:extLst>
              <c:ext xmlns:c16="http://schemas.microsoft.com/office/drawing/2014/chart" uri="{C3380CC4-5D6E-409C-BE32-E72D297353CC}">
                <c16:uniqueId val="{00000767-86F4-458F-B5E5-D296EB1009DF}"/>
              </c:ext>
            </c:extLst>
          </c:dPt>
          <c:dPt>
            <c:idx val="947"/>
            <c:invertIfNegative val="1"/>
            <c:bubble3D val="0"/>
            <c:spPr>
              <a:solidFill>
                <a:srgbClr val="AEABAB"/>
              </a:solidFill>
            </c:spPr>
            <c:extLst>
              <c:ext xmlns:c16="http://schemas.microsoft.com/office/drawing/2014/chart" uri="{C3380CC4-5D6E-409C-BE32-E72D297353CC}">
                <c16:uniqueId val="{00000769-86F4-458F-B5E5-D296EB1009DF}"/>
              </c:ext>
            </c:extLst>
          </c:dPt>
          <c:dPt>
            <c:idx val="948"/>
            <c:invertIfNegative val="1"/>
            <c:bubble3D val="0"/>
            <c:spPr>
              <a:solidFill>
                <a:srgbClr val="AEABAB"/>
              </a:solidFill>
            </c:spPr>
            <c:extLst>
              <c:ext xmlns:c16="http://schemas.microsoft.com/office/drawing/2014/chart" uri="{C3380CC4-5D6E-409C-BE32-E72D297353CC}">
                <c16:uniqueId val="{0000076B-86F4-458F-B5E5-D296EB1009DF}"/>
              </c:ext>
            </c:extLst>
          </c:dPt>
          <c:dPt>
            <c:idx val="949"/>
            <c:invertIfNegative val="1"/>
            <c:bubble3D val="0"/>
            <c:spPr>
              <a:solidFill>
                <a:srgbClr val="AEABAB"/>
              </a:solidFill>
            </c:spPr>
            <c:extLst>
              <c:ext xmlns:c16="http://schemas.microsoft.com/office/drawing/2014/chart" uri="{C3380CC4-5D6E-409C-BE32-E72D297353CC}">
                <c16:uniqueId val="{0000076D-86F4-458F-B5E5-D296EB1009DF}"/>
              </c:ext>
            </c:extLst>
          </c:dPt>
          <c:dPt>
            <c:idx val="950"/>
            <c:invertIfNegative val="1"/>
            <c:bubble3D val="0"/>
            <c:spPr>
              <a:solidFill>
                <a:srgbClr val="AEABAB"/>
              </a:solidFill>
            </c:spPr>
            <c:extLst>
              <c:ext xmlns:c16="http://schemas.microsoft.com/office/drawing/2014/chart" uri="{C3380CC4-5D6E-409C-BE32-E72D297353CC}">
                <c16:uniqueId val="{0000076F-86F4-458F-B5E5-D296EB1009DF}"/>
              </c:ext>
            </c:extLst>
          </c:dPt>
          <c:dPt>
            <c:idx val="951"/>
            <c:invertIfNegative val="1"/>
            <c:bubble3D val="0"/>
            <c:spPr>
              <a:solidFill>
                <a:srgbClr val="AEABAB"/>
              </a:solidFill>
            </c:spPr>
            <c:extLst>
              <c:ext xmlns:c16="http://schemas.microsoft.com/office/drawing/2014/chart" uri="{C3380CC4-5D6E-409C-BE32-E72D297353CC}">
                <c16:uniqueId val="{00000771-86F4-458F-B5E5-D296EB1009DF}"/>
              </c:ext>
            </c:extLst>
          </c:dPt>
          <c:dPt>
            <c:idx val="952"/>
            <c:invertIfNegative val="1"/>
            <c:bubble3D val="0"/>
            <c:spPr>
              <a:solidFill>
                <a:srgbClr val="AEABAB"/>
              </a:solidFill>
            </c:spPr>
            <c:extLst>
              <c:ext xmlns:c16="http://schemas.microsoft.com/office/drawing/2014/chart" uri="{C3380CC4-5D6E-409C-BE32-E72D297353CC}">
                <c16:uniqueId val="{00000773-86F4-458F-B5E5-D296EB1009DF}"/>
              </c:ext>
            </c:extLst>
          </c:dPt>
          <c:dPt>
            <c:idx val="953"/>
            <c:invertIfNegative val="1"/>
            <c:bubble3D val="0"/>
            <c:spPr>
              <a:solidFill>
                <a:srgbClr val="AEABAB"/>
              </a:solidFill>
            </c:spPr>
            <c:extLst>
              <c:ext xmlns:c16="http://schemas.microsoft.com/office/drawing/2014/chart" uri="{C3380CC4-5D6E-409C-BE32-E72D297353CC}">
                <c16:uniqueId val="{00000775-86F4-458F-B5E5-D296EB1009DF}"/>
              </c:ext>
            </c:extLst>
          </c:dPt>
          <c:dPt>
            <c:idx val="954"/>
            <c:invertIfNegative val="1"/>
            <c:bubble3D val="0"/>
            <c:spPr>
              <a:solidFill>
                <a:srgbClr val="AEABAB"/>
              </a:solidFill>
            </c:spPr>
            <c:extLst>
              <c:ext xmlns:c16="http://schemas.microsoft.com/office/drawing/2014/chart" uri="{C3380CC4-5D6E-409C-BE32-E72D297353CC}">
                <c16:uniqueId val="{00000777-86F4-458F-B5E5-D296EB1009DF}"/>
              </c:ext>
            </c:extLst>
          </c:dPt>
          <c:dPt>
            <c:idx val="955"/>
            <c:invertIfNegative val="1"/>
            <c:bubble3D val="0"/>
            <c:spPr>
              <a:solidFill>
                <a:srgbClr val="AEABAB"/>
              </a:solidFill>
            </c:spPr>
            <c:extLst>
              <c:ext xmlns:c16="http://schemas.microsoft.com/office/drawing/2014/chart" uri="{C3380CC4-5D6E-409C-BE32-E72D297353CC}">
                <c16:uniqueId val="{00000779-86F4-458F-B5E5-D296EB1009DF}"/>
              </c:ext>
            </c:extLst>
          </c:dPt>
          <c:dPt>
            <c:idx val="956"/>
            <c:invertIfNegative val="1"/>
            <c:bubble3D val="0"/>
            <c:spPr>
              <a:solidFill>
                <a:srgbClr val="AEABAB"/>
              </a:solidFill>
            </c:spPr>
            <c:extLst>
              <c:ext xmlns:c16="http://schemas.microsoft.com/office/drawing/2014/chart" uri="{C3380CC4-5D6E-409C-BE32-E72D297353CC}">
                <c16:uniqueId val="{0000077B-86F4-458F-B5E5-D296EB1009DF}"/>
              </c:ext>
            </c:extLst>
          </c:dPt>
          <c:dPt>
            <c:idx val="957"/>
            <c:invertIfNegative val="1"/>
            <c:bubble3D val="0"/>
            <c:spPr>
              <a:solidFill>
                <a:srgbClr val="AEABAB"/>
              </a:solidFill>
            </c:spPr>
            <c:extLst>
              <c:ext xmlns:c16="http://schemas.microsoft.com/office/drawing/2014/chart" uri="{C3380CC4-5D6E-409C-BE32-E72D297353CC}">
                <c16:uniqueId val="{0000077D-86F4-458F-B5E5-D296EB1009DF}"/>
              </c:ext>
            </c:extLst>
          </c:dPt>
          <c:dPt>
            <c:idx val="958"/>
            <c:invertIfNegative val="1"/>
            <c:bubble3D val="0"/>
            <c:spPr>
              <a:solidFill>
                <a:srgbClr val="AEABAB"/>
              </a:solidFill>
            </c:spPr>
            <c:extLst>
              <c:ext xmlns:c16="http://schemas.microsoft.com/office/drawing/2014/chart" uri="{C3380CC4-5D6E-409C-BE32-E72D297353CC}">
                <c16:uniqueId val="{0000077F-86F4-458F-B5E5-D296EB1009DF}"/>
              </c:ext>
            </c:extLst>
          </c:dPt>
          <c:dPt>
            <c:idx val="959"/>
            <c:invertIfNegative val="1"/>
            <c:bubble3D val="0"/>
            <c:spPr>
              <a:solidFill>
                <a:srgbClr val="AEABAB"/>
              </a:solidFill>
            </c:spPr>
            <c:extLst>
              <c:ext xmlns:c16="http://schemas.microsoft.com/office/drawing/2014/chart" uri="{C3380CC4-5D6E-409C-BE32-E72D297353CC}">
                <c16:uniqueId val="{00000781-86F4-458F-B5E5-D296EB1009DF}"/>
              </c:ext>
            </c:extLst>
          </c:dPt>
          <c:dPt>
            <c:idx val="960"/>
            <c:invertIfNegative val="1"/>
            <c:bubble3D val="0"/>
            <c:spPr>
              <a:solidFill>
                <a:srgbClr val="AEABAB"/>
              </a:solidFill>
            </c:spPr>
            <c:extLst>
              <c:ext xmlns:c16="http://schemas.microsoft.com/office/drawing/2014/chart" uri="{C3380CC4-5D6E-409C-BE32-E72D297353CC}">
                <c16:uniqueId val="{00000783-86F4-458F-B5E5-D296EB1009DF}"/>
              </c:ext>
            </c:extLst>
          </c:dPt>
          <c:dPt>
            <c:idx val="961"/>
            <c:invertIfNegative val="1"/>
            <c:bubble3D val="0"/>
            <c:spPr>
              <a:solidFill>
                <a:srgbClr val="AEABAB"/>
              </a:solidFill>
            </c:spPr>
            <c:extLst>
              <c:ext xmlns:c16="http://schemas.microsoft.com/office/drawing/2014/chart" uri="{C3380CC4-5D6E-409C-BE32-E72D297353CC}">
                <c16:uniqueId val="{00000785-86F4-458F-B5E5-D296EB1009DF}"/>
              </c:ext>
            </c:extLst>
          </c:dPt>
          <c:dPt>
            <c:idx val="962"/>
            <c:invertIfNegative val="1"/>
            <c:bubble3D val="0"/>
            <c:spPr>
              <a:solidFill>
                <a:srgbClr val="AEABAB"/>
              </a:solidFill>
            </c:spPr>
            <c:extLst>
              <c:ext xmlns:c16="http://schemas.microsoft.com/office/drawing/2014/chart" uri="{C3380CC4-5D6E-409C-BE32-E72D297353CC}">
                <c16:uniqueId val="{00000787-86F4-458F-B5E5-D296EB1009DF}"/>
              </c:ext>
            </c:extLst>
          </c:dPt>
          <c:dPt>
            <c:idx val="963"/>
            <c:invertIfNegative val="1"/>
            <c:bubble3D val="0"/>
            <c:spPr>
              <a:solidFill>
                <a:srgbClr val="AEABAB"/>
              </a:solidFill>
            </c:spPr>
            <c:extLst>
              <c:ext xmlns:c16="http://schemas.microsoft.com/office/drawing/2014/chart" uri="{C3380CC4-5D6E-409C-BE32-E72D297353CC}">
                <c16:uniqueId val="{00000789-86F4-458F-B5E5-D296EB1009DF}"/>
              </c:ext>
            </c:extLst>
          </c:dPt>
          <c:dPt>
            <c:idx val="964"/>
            <c:invertIfNegative val="1"/>
            <c:bubble3D val="0"/>
            <c:spPr>
              <a:solidFill>
                <a:srgbClr val="AEABAB"/>
              </a:solidFill>
            </c:spPr>
            <c:extLst>
              <c:ext xmlns:c16="http://schemas.microsoft.com/office/drawing/2014/chart" uri="{C3380CC4-5D6E-409C-BE32-E72D297353CC}">
                <c16:uniqueId val="{0000078B-86F4-458F-B5E5-D296EB1009DF}"/>
              </c:ext>
            </c:extLst>
          </c:dPt>
          <c:dPt>
            <c:idx val="965"/>
            <c:invertIfNegative val="1"/>
            <c:bubble3D val="0"/>
            <c:spPr>
              <a:solidFill>
                <a:srgbClr val="AEABAB"/>
              </a:solidFill>
            </c:spPr>
            <c:extLst>
              <c:ext xmlns:c16="http://schemas.microsoft.com/office/drawing/2014/chart" uri="{C3380CC4-5D6E-409C-BE32-E72D297353CC}">
                <c16:uniqueId val="{0000078D-86F4-458F-B5E5-D296EB1009DF}"/>
              </c:ext>
            </c:extLst>
          </c:dPt>
          <c:dPt>
            <c:idx val="966"/>
            <c:invertIfNegative val="1"/>
            <c:bubble3D val="0"/>
            <c:spPr>
              <a:solidFill>
                <a:srgbClr val="AEABAB"/>
              </a:solidFill>
            </c:spPr>
            <c:extLst>
              <c:ext xmlns:c16="http://schemas.microsoft.com/office/drawing/2014/chart" uri="{C3380CC4-5D6E-409C-BE32-E72D297353CC}">
                <c16:uniqueId val="{0000078F-86F4-458F-B5E5-D296EB1009DF}"/>
              </c:ext>
            </c:extLst>
          </c:dPt>
          <c:dPt>
            <c:idx val="967"/>
            <c:invertIfNegative val="1"/>
            <c:bubble3D val="0"/>
            <c:spPr>
              <a:solidFill>
                <a:srgbClr val="AEABAB"/>
              </a:solidFill>
            </c:spPr>
            <c:extLst>
              <c:ext xmlns:c16="http://schemas.microsoft.com/office/drawing/2014/chart" uri="{C3380CC4-5D6E-409C-BE32-E72D297353CC}">
                <c16:uniqueId val="{00000791-86F4-458F-B5E5-D296EB1009DF}"/>
              </c:ext>
            </c:extLst>
          </c:dPt>
          <c:dPt>
            <c:idx val="968"/>
            <c:invertIfNegative val="1"/>
            <c:bubble3D val="0"/>
            <c:spPr>
              <a:solidFill>
                <a:srgbClr val="AEABAB"/>
              </a:solidFill>
            </c:spPr>
            <c:extLst>
              <c:ext xmlns:c16="http://schemas.microsoft.com/office/drawing/2014/chart" uri="{C3380CC4-5D6E-409C-BE32-E72D297353CC}">
                <c16:uniqueId val="{00000793-86F4-458F-B5E5-D296EB1009DF}"/>
              </c:ext>
            </c:extLst>
          </c:dPt>
          <c:dPt>
            <c:idx val="969"/>
            <c:invertIfNegative val="1"/>
            <c:bubble3D val="0"/>
            <c:spPr>
              <a:solidFill>
                <a:srgbClr val="AEABAB"/>
              </a:solidFill>
            </c:spPr>
            <c:extLst>
              <c:ext xmlns:c16="http://schemas.microsoft.com/office/drawing/2014/chart" uri="{C3380CC4-5D6E-409C-BE32-E72D297353CC}">
                <c16:uniqueId val="{00000795-86F4-458F-B5E5-D296EB1009DF}"/>
              </c:ext>
            </c:extLst>
          </c:dPt>
          <c:dPt>
            <c:idx val="970"/>
            <c:invertIfNegative val="1"/>
            <c:bubble3D val="0"/>
            <c:spPr>
              <a:solidFill>
                <a:srgbClr val="AEABAB"/>
              </a:solidFill>
            </c:spPr>
            <c:extLst>
              <c:ext xmlns:c16="http://schemas.microsoft.com/office/drawing/2014/chart" uri="{C3380CC4-5D6E-409C-BE32-E72D297353CC}">
                <c16:uniqueId val="{00000797-86F4-458F-B5E5-D296EB1009DF}"/>
              </c:ext>
            </c:extLst>
          </c:dPt>
          <c:dPt>
            <c:idx val="971"/>
            <c:invertIfNegative val="1"/>
            <c:bubble3D val="0"/>
            <c:spPr>
              <a:solidFill>
                <a:srgbClr val="AEABAB"/>
              </a:solidFill>
            </c:spPr>
            <c:extLst>
              <c:ext xmlns:c16="http://schemas.microsoft.com/office/drawing/2014/chart" uri="{C3380CC4-5D6E-409C-BE32-E72D297353CC}">
                <c16:uniqueId val="{00000799-86F4-458F-B5E5-D296EB1009DF}"/>
              </c:ext>
            </c:extLst>
          </c:dPt>
          <c:dPt>
            <c:idx val="972"/>
            <c:invertIfNegative val="1"/>
            <c:bubble3D val="0"/>
            <c:spPr>
              <a:solidFill>
                <a:srgbClr val="AEABAB"/>
              </a:solidFill>
            </c:spPr>
            <c:extLst>
              <c:ext xmlns:c16="http://schemas.microsoft.com/office/drawing/2014/chart" uri="{C3380CC4-5D6E-409C-BE32-E72D297353CC}">
                <c16:uniqueId val="{0000079B-86F4-458F-B5E5-D296EB1009DF}"/>
              </c:ext>
            </c:extLst>
          </c:dPt>
          <c:dPt>
            <c:idx val="973"/>
            <c:invertIfNegative val="1"/>
            <c:bubble3D val="0"/>
            <c:spPr>
              <a:solidFill>
                <a:srgbClr val="AEABAB"/>
              </a:solidFill>
            </c:spPr>
            <c:extLst>
              <c:ext xmlns:c16="http://schemas.microsoft.com/office/drawing/2014/chart" uri="{C3380CC4-5D6E-409C-BE32-E72D297353CC}">
                <c16:uniqueId val="{0000079D-86F4-458F-B5E5-D296EB1009DF}"/>
              </c:ext>
            </c:extLst>
          </c:dPt>
          <c:dPt>
            <c:idx val="974"/>
            <c:invertIfNegative val="1"/>
            <c:bubble3D val="0"/>
            <c:spPr>
              <a:solidFill>
                <a:srgbClr val="AEABAB"/>
              </a:solidFill>
            </c:spPr>
            <c:extLst>
              <c:ext xmlns:c16="http://schemas.microsoft.com/office/drawing/2014/chart" uri="{C3380CC4-5D6E-409C-BE32-E72D297353CC}">
                <c16:uniqueId val="{0000079F-86F4-458F-B5E5-D296EB1009DF}"/>
              </c:ext>
            </c:extLst>
          </c:dPt>
          <c:dPt>
            <c:idx val="975"/>
            <c:invertIfNegative val="1"/>
            <c:bubble3D val="0"/>
            <c:spPr>
              <a:solidFill>
                <a:srgbClr val="AEABAB"/>
              </a:solidFill>
            </c:spPr>
            <c:extLst>
              <c:ext xmlns:c16="http://schemas.microsoft.com/office/drawing/2014/chart" uri="{C3380CC4-5D6E-409C-BE32-E72D297353CC}">
                <c16:uniqueId val="{000007A1-86F4-458F-B5E5-D296EB1009DF}"/>
              </c:ext>
            </c:extLst>
          </c:dPt>
          <c:dPt>
            <c:idx val="976"/>
            <c:invertIfNegative val="1"/>
            <c:bubble3D val="0"/>
            <c:spPr>
              <a:solidFill>
                <a:srgbClr val="AEABAB"/>
              </a:solidFill>
            </c:spPr>
            <c:extLst>
              <c:ext xmlns:c16="http://schemas.microsoft.com/office/drawing/2014/chart" uri="{C3380CC4-5D6E-409C-BE32-E72D297353CC}">
                <c16:uniqueId val="{000007A3-86F4-458F-B5E5-D296EB1009DF}"/>
              </c:ext>
            </c:extLst>
          </c:dPt>
          <c:dPt>
            <c:idx val="977"/>
            <c:invertIfNegative val="1"/>
            <c:bubble3D val="0"/>
            <c:spPr>
              <a:solidFill>
                <a:srgbClr val="AEABAB"/>
              </a:solidFill>
            </c:spPr>
            <c:extLst>
              <c:ext xmlns:c16="http://schemas.microsoft.com/office/drawing/2014/chart" uri="{C3380CC4-5D6E-409C-BE32-E72D297353CC}">
                <c16:uniqueId val="{000007A5-86F4-458F-B5E5-D296EB1009DF}"/>
              </c:ext>
            </c:extLst>
          </c:dPt>
          <c:dPt>
            <c:idx val="978"/>
            <c:invertIfNegative val="1"/>
            <c:bubble3D val="0"/>
            <c:spPr>
              <a:solidFill>
                <a:srgbClr val="AEABAB"/>
              </a:solidFill>
            </c:spPr>
            <c:extLst>
              <c:ext xmlns:c16="http://schemas.microsoft.com/office/drawing/2014/chart" uri="{C3380CC4-5D6E-409C-BE32-E72D297353CC}">
                <c16:uniqueId val="{000007A7-86F4-458F-B5E5-D296EB1009DF}"/>
              </c:ext>
            </c:extLst>
          </c:dPt>
          <c:dPt>
            <c:idx val="979"/>
            <c:invertIfNegative val="1"/>
            <c:bubble3D val="0"/>
            <c:spPr>
              <a:solidFill>
                <a:srgbClr val="AEABAB"/>
              </a:solidFill>
            </c:spPr>
            <c:extLst>
              <c:ext xmlns:c16="http://schemas.microsoft.com/office/drawing/2014/chart" uri="{C3380CC4-5D6E-409C-BE32-E72D297353CC}">
                <c16:uniqueId val="{000007A9-86F4-458F-B5E5-D296EB1009DF}"/>
              </c:ext>
            </c:extLst>
          </c:dPt>
          <c:dPt>
            <c:idx val="980"/>
            <c:invertIfNegative val="1"/>
            <c:bubble3D val="0"/>
            <c:spPr>
              <a:solidFill>
                <a:srgbClr val="AEABAB"/>
              </a:solidFill>
            </c:spPr>
            <c:extLst>
              <c:ext xmlns:c16="http://schemas.microsoft.com/office/drawing/2014/chart" uri="{C3380CC4-5D6E-409C-BE32-E72D297353CC}">
                <c16:uniqueId val="{000007AB-86F4-458F-B5E5-D296EB1009DF}"/>
              </c:ext>
            </c:extLst>
          </c:dPt>
          <c:dPt>
            <c:idx val="981"/>
            <c:invertIfNegative val="1"/>
            <c:bubble3D val="0"/>
            <c:spPr>
              <a:solidFill>
                <a:srgbClr val="AEABAB"/>
              </a:solidFill>
            </c:spPr>
            <c:extLst>
              <c:ext xmlns:c16="http://schemas.microsoft.com/office/drawing/2014/chart" uri="{C3380CC4-5D6E-409C-BE32-E72D297353CC}">
                <c16:uniqueId val="{000007AD-86F4-458F-B5E5-D296EB1009DF}"/>
              </c:ext>
            </c:extLst>
          </c:dPt>
          <c:dPt>
            <c:idx val="982"/>
            <c:invertIfNegative val="1"/>
            <c:bubble3D val="0"/>
            <c:spPr>
              <a:solidFill>
                <a:srgbClr val="AEABAB"/>
              </a:solidFill>
            </c:spPr>
            <c:extLst>
              <c:ext xmlns:c16="http://schemas.microsoft.com/office/drawing/2014/chart" uri="{C3380CC4-5D6E-409C-BE32-E72D297353CC}">
                <c16:uniqueId val="{000007AF-86F4-458F-B5E5-D296EB1009DF}"/>
              </c:ext>
            </c:extLst>
          </c:dPt>
          <c:dPt>
            <c:idx val="983"/>
            <c:invertIfNegative val="1"/>
            <c:bubble3D val="0"/>
            <c:spPr>
              <a:solidFill>
                <a:srgbClr val="AEABAB"/>
              </a:solidFill>
            </c:spPr>
            <c:extLst>
              <c:ext xmlns:c16="http://schemas.microsoft.com/office/drawing/2014/chart" uri="{C3380CC4-5D6E-409C-BE32-E72D297353CC}">
                <c16:uniqueId val="{000007B1-86F4-458F-B5E5-D296EB1009DF}"/>
              </c:ext>
            </c:extLst>
          </c:dPt>
          <c:dPt>
            <c:idx val="984"/>
            <c:invertIfNegative val="1"/>
            <c:bubble3D val="0"/>
            <c:spPr>
              <a:solidFill>
                <a:srgbClr val="AEABAB"/>
              </a:solidFill>
            </c:spPr>
            <c:extLst>
              <c:ext xmlns:c16="http://schemas.microsoft.com/office/drawing/2014/chart" uri="{C3380CC4-5D6E-409C-BE32-E72D297353CC}">
                <c16:uniqueId val="{000007B3-86F4-458F-B5E5-D296EB1009DF}"/>
              </c:ext>
            </c:extLst>
          </c:dPt>
          <c:dPt>
            <c:idx val="985"/>
            <c:invertIfNegative val="1"/>
            <c:bubble3D val="0"/>
            <c:spPr>
              <a:solidFill>
                <a:srgbClr val="AEABAB"/>
              </a:solidFill>
            </c:spPr>
            <c:extLst>
              <c:ext xmlns:c16="http://schemas.microsoft.com/office/drawing/2014/chart" uri="{C3380CC4-5D6E-409C-BE32-E72D297353CC}">
                <c16:uniqueId val="{000007B5-86F4-458F-B5E5-D296EB1009DF}"/>
              </c:ext>
            </c:extLst>
          </c:dPt>
          <c:dPt>
            <c:idx val="986"/>
            <c:invertIfNegative val="1"/>
            <c:bubble3D val="0"/>
            <c:spPr>
              <a:solidFill>
                <a:srgbClr val="AEABAB"/>
              </a:solidFill>
            </c:spPr>
            <c:extLst>
              <c:ext xmlns:c16="http://schemas.microsoft.com/office/drawing/2014/chart" uri="{C3380CC4-5D6E-409C-BE32-E72D297353CC}">
                <c16:uniqueId val="{000007B7-86F4-458F-B5E5-D296EB1009DF}"/>
              </c:ext>
            </c:extLst>
          </c:dPt>
          <c:dPt>
            <c:idx val="987"/>
            <c:invertIfNegative val="1"/>
            <c:bubble3D val="0"/>
            <c:spPr>
              <a:solidFill>
                <a:srgbClr val="AEABAB"/>
              </a:solidFill>
            </c:spPr>
            <c:extLst>
              <c:ext xmlns:c16="http://schemas.microsoft.com/office/drawing/2014/chart" uri="{C3380CC4-5D6E-409C-BE32-E72D297353CC}">
                <c16:uniqueId val="{000007B9-86F4-458F-B5E5-D296EB1009DF}"/>
              </c:ext>
            </c:extLst>
          </c:dPt>
          <c:dPt>
            <c:idx val="988"/>
            <c:invertIfNegative val="1"/>
            <c:bubble3D val="0"/>
            <c:spPr>
              <a:solidFill>
                <a:srgbClr val="AEABAB"/>
              </a:solidFill>
            </c:spPr>
            <c:extLst>
              <c:ext xmlns:c16="http://schemas.microsoft.com/office/drawing/2014/chart" uri="{C3380CC4-5D6E-409C-BE32-E72D297353CC}">
                <c16:uniqueId val="{000007BB-86F4-458F-B5E5-D296EB1009DF}"/>
              </c:ext>
            </c:extLst>
          </c:dPt>
          <c:dPt>
            <c:idx val="989"/>
            <c:invertIfNegative val="1"/>
            <c:bubble3D val="0"/>
            <c:spPr>
              <a:solidFill>
                <a:srgbClr val="AEABAB"/>
              </a:solidFill>
            </c:spPr>
            <c:extLst>
              <c:ext xmlns:c16="http://schemas.microsoft.com/office/drawing/2014/chart" uri="{C3380CC4-5D6E-409C-BE32-E72D297353CC}">
                <c16:uniqueId val="{000007BD-86F4-458F-B5E5-D296EB1009DF}"/>
              </c:ext>
            </c:extLst>
          </c:dPt>
          <c:dPt>
            <c:idx val="990"/>
            <c:invertIfNegative val="1"/>
            <c:bubble3D val="0"/>
            <c:spPr>
              <a:solidFill>
                <a:srgbClr val="AEABAB"/>
              </a:solidFill>
            </c:spPr>
            <c:extLst>
              <c:ext xmlns:c16="http://schemas.microsoft.com/office/drawing/2014/chart" uri="{C3380CC4-5D6E-409C-BE32-E72D297353CC}">
                <c16:uniqueId val="{000007BF-86F4-458F-B5E5-D296EB1009DF}"/>
              </c:ext>
            </c:extLst>
          </c:dPt>
          <c:dPt>
            <c:idx val="991"/>
            <c:invertIfNegative val="1"/>
            <c:bubble3D val="0"/>
            <c:spPr>
              <a:solidFill>
                <a:srgbClr val="AEABAB"/>
              </a:solidFill>
            </c:spPr>
            <c:extLst>
              <c:ext xmlns:c16="http://schemas.microsoft.com/office/drawing/2014/chart" uri="{C3380CC4-5D6E-409C-BE32-E72D297353CC}">
                <c16:uniqueId val="{000007C1-86F4-458F-B5E5-D296EB1009DF}"/>
              </c:ext>
            </c:extLst>
          </c:dPt>
          <c:dPt>
            <c:idx val="992"/>
            <c:invertIfNegative val="1"/>
            <c:bubble3D val="0"/>
            <c:spPr>
              <a:solidFill>
                <a:srgbClr val="AEABAB"/>
              </a:solidFill>
            </c:spPr>
            <c:extLst>
              <c:ext xmlns:c16="http://schemas.microsoft.com/office/drawing/2014/chart" uri="{C3380CC4-5D6E-409C-BE32-E72D297353CC}">
                <c16:uniqueId val="{000007C3-86F4-458F-B5E5-D296EB1009DF}"/>
              </c:ext>
            </c:extLst>
          </c:dPt>
          <c:dPt>
            <c:idx val="993"/>
            <c:invertIfNegative val="1"/>
            <c:bubble3D val="0"/>
            <c:spPr>
              <a:solidFill>
                <a:srgbClr val="AEABAB"/>
              </a:solidFill>
            </c:spPr>
            <c:extLst>
              <c:ext xmlns:c16="http://schemas.microsoft.com/office/drawing/2014/chart" uri="{C3380CC4-5D6E-409C-BE32-E72D297353CC}">
                <c16:uniqueId val="{000007C5-86F4-458F-B5E5-D296EB1009DF}"/>
              </c:ext>
            </c:extLst>
          </c:dPt>
          <c:dPt>
            <c:idx val="994"/>
            <c:invertIfNegative val="1"/>
            <c:bubble3D val="0"/>
            <c:spPr>
              <a:solidFill>
                <a:srgbClr val="AEABAB"/>
              </a:solidFill>
            </c:spPr>
            <c:extLst>
              <c:ext xmlns:c16="http://schemas.microsoft.com/office/drawing/2014/chart" uri="{C3380CC4-5D6E-409C-BE32-E72D297353CC}">
                <c16:uniqueId val="{000007C7-86F4-458F-B5E5-D296EB1009DF}"/>
              </c:ext>
            </c:extLst>
          </c:dPt>
          <c:dPt>
            <c:idx val="995"/>
            <c:invertIfNegative val="1"/>
            <c:bubble3D val="0"/>
            <c:spPr>
              <a:solidFill>
                <a:srgbClr val="AEABAB"/>
              </a:solidFill>
            </c:spPr>
            <c:extLst>
              <c:ext xmlns:c16="http://schemas.microsoft.com/office/drawing/2014/chart" uri="{C3380CC4-5D6E-409C-BE32-E72D297353CC}">
                <c16:uniqueId val="{000007C9-86F4-458F-B5E5-D296EB1009DF}"/>
              </c:ext>
            </c:extLst>
          </c:dPt>
          <c:dPt>
            <c:idx val="996"/>
            <c:invertIfNegative val="1"/>
            <c:bubble3D val="0"/>
            <c:spPr>
              <a:solidFill>
                <a:srgbClr val="AEABAB"/>
              </a:solidFill>
            </c:spPr>
            <c:extLst>
              <c:ext xmlns:c16="http://schemas.microsoft.com/office/drawing/2014/chart" uri="{C3380CC4-5D6E-409C-BE32-E72D297353CC}">
                <c16:uniqueId val="{000007CB-86F4-458F-B5E5-D296EB1009DF}"/>
              </c:ext>
            </c:extLst>
          </c:dPt>
          <c:dPt>
            <c:idx val="997"/>
            <c:invertIfNegative val="1"/>
            <c:bubble3D val="0"/>
            <c:spPr>
              <a:solidFill>
                <a:srgbClr val="AEABAB"/>
              </a:solidFill>
            </c:spPr>
            <c:extLst>
              <c:ext xmlns:c16="http://schemas.microsoft.com/office/drawing/2014/chart" uri="{C3380CC4-5D6E-409C-BE32-E72D297353CC}">
                <c16:uniqueId val="{000007CD-86F4-458F-B5E5-D296EB1009DF}"/>
              </c:ext>
            </c:extLst>
          </c:dPt>
          <c:dPt>
            <c:idx val="998"/>
            <c:invertIfNegative val="1"/>
            <c:bubble3D val="0"/>
            <c:spPr>
              <a:solidFill>
                <a:srgbClr val="AEABAB"/>
              </a:solidFill>
            </c:spPr>
            <c:extLst>
              <c:ext xmlns:c16="http://schemas.microsoft.com/office/drawing/2014/chart" uri="{C3380CC4-5D6E-409C-BE32-E72D297353CC}">
                <c16:uniqueId val="{000007CF-86F4-458F-B5E5-D296EB1009DF}"/>
              </c:ext>
            </c:extLst>
          </c:dPt>
          <c:dPt>
            <c:idx val="999"/>
            <c:invertIfNegative val="1"/>
            <c:bubble3D val="0"/>
            <c:spPr>
              <a:solidFill>
                <a:srgbClr val="AEABAB"/>
              </a:solidFill>
            </c:spPr>
            <c:extLst>
              <c:ext xmlns:c16="http://schemas.microsoft.com/office/drawing/2014/chart" uri="{C3380CC4-5D6E-409C-BE32-E72D297353CC}">
                <c16:uniqueId val="{000007D1-86F4-458F-B5E5-D296EB1009DF}"/>
              </c:ext>
            </c:extLst>
          </c:dPt>
          <c:dPt>
            <c:idx val="1000"/>
            <c:invertIfNegative val="1"/>
            <c:bubble3D val="0"/>
            <c:spPr>
              <a:solidFill>
                <a:srgbClr val="AEABAB"/>
              </a:solidFill>
            </c:spPr>
            <c:extLst>
              <c:ext xmlns:c16="http://schemas.microsoft.com/office/drawing/2014/chart" uri="{C3380CC4-5D6E-409C-BE32-E72D297353CC}">
                <c16:uniqueId val="{000007D3-86F4-458F-B5E5-D296EB1009DF}"/>
              </c:ext>
            </c:extLst>
          </c:dPt>
          <c:dPt>
            <c:idx val="1001"/>
            <c:invertIfNegative val="1"/>
            <c:bubble3D val="0"/>
            <c:spPr>
              <a:solidFill>
                <a:srgbClr val="AEABAB"/>
              </a:solidFill>
            </c:spPr>
            <c:extLst>
              <c:ext xmlns:c16="http://schemas.microsoft.com/office/drawing/2014/chart" uri="{C3380CC4-5D6E-409C-BE32-E72D297353CC}">
                <c16:uniqueId val="{000007D5-86F4-458F-B5E5-D296EB1009DF}"/>
              </c:ext>
            </c:extLst>
          </c:dPt>
          <c:dPt>
            <c:idx val="1002"/>
            <c:invertIfNegative val="1"/>
            <c:bubble3D val="0"/>
            <c:spPr>
              <a:solidFill>
                <a:srgbClr val="AEABAB"/>
              </a:solidFill>
            </c:spPr>
            <c:extLst>
              <c:ext xmlns:c16="http://schemas.microsoft.com/office/drawing/2014/chart" uri="{C3380CC4-5D6E-409C-BE32-E72D297353CC}">
                <c16:uniqueId val="{000007D7-86F4-458F-B5E5-D296EB1009DF}"/>
              </c:ext>
            </c:extLst>
          </c:dPt>
          <c:dPt>
            <c:idx val="1003"/>
            <c:invertIfNegative val="1"/>
            <c:bubble3D val="0"/>
            <c:spPr>
              <a:solidFill>
                <a:srgbClr val="AEABAB"/>
              </a:solidFill>
            </c:spPr>
            <c:extLst>
              <c:ext xmlns:c16="http://schemas.microsoft.com/office/drawing/2014/chart" uri="{C3380CC4-5D6E-409C-BE32-E72D297353CC}">
                <c16:uniqueId val="{000007D9-86F4-458F-B5E5-D296EB1009DF}"/>
              </c:ext>
            </c:extLst>
          </c:dPt>
          <c:dPt>
            <c:idx val="1004"/>
            <c:invertIfNegative val="1"/>
            <c:bubble3D val="0"/>
            <c:spPr>
              <a:solidFill>
                <a:srgbClr val="AEABAB"/>
              </a:solidFill>
            </c:spPr>
            <c:extLst>
              <c:ext xmlns:c16="http://schemas.microsoft.com/office/drawing/2014/chart" uri="{C3380CC4-5D6E-409C-BE32-E72D297353CC}">
                <c16:uniqueId val="{000007DB-86F4-458F-B5E5-D296EB1009DF}"/>
              </c:ext>
            </c:extLst>
          </c:dPt>
          <c:dPt>
            <c:idx val="1005"/>
            <c:invertIfNegative val="1"/>
            <c:bubble3D val="0"/>
            <c:spPr>
              <a:solidFill>
                <a:srgbClr val="AEABAB"/>
              </a:solidFill>
            </c:spPr>
            <c:extLst>
              <c:ext xmlns:c16="http://schemas.microsoft.com/office/drawing/2014/chart" uri="{C3380CC4-5D6E-409C-BE32-E72D297353CC}">
                <c16:uniqueId val="{000007DD-86F4-458F-B5E5-D296EB1009DF}"/>
              </c:ext>
            </c:extLst>
          </c:dPt>
          <c:dPt>
            <c:idx val="1006"/>
            <c:invertIfNegative val="1"/>
            <c:bubble3D val="0"/>
            <c:spPr>
              <a:solidFill>
                <a:srgbClr val="AEABAB"/>
              </a:solidFill>
            </c:spPr>
            <c:extLst>
              <c:ext xmlns:c16="http://schemas.microsoft.com/office/drawing/2014/chart" uri="{C3380CC4-5D6E-409C-BE32-E72D297353CC}">
                <c16:uniqueId val="{000007DF-86F4-458F-B5E5-D296EB1009DF}"/>
              </c:ext>
            </c:extLst>
          </c:dPt>
          <c:dPt>
            <c:idx val="1007"/>
            <c:invertIfNegative val="1"/>
            <c:bubble3D val="0"/>
            <c:spPr>
              <a:solidFill>
                <a:srgbClr val="AEABAB"/>
              </a:solidFill>
            </c:spPr>
            <c:extLst>
              <c:ext xmlns:c16="http://schemas.microsoft.com/office/drawing/2014/chart" uri="{C3380CC4-5D6E-409C-BE32-E72D297353CC}">
                <c16:uniqueId val="{000007E1-86F4-458F-B5E5-D296EB1009DF}"/>
              </c:ext>
            </c:extLst>
          </c:dPt>
          <c:dPt>
            <c:idx val="1008"/>
            <c:invertIfNegative val="1"/>
            <c:bubble3D val="0"/>
            <c:spPr>
              <a:solidFill>
                <a:srgbClr val="AEABAB"/>
              </a:solidFill>
            </c:spPr>
            <c:extLst>
              <c:ext xmlns:c16="http://schemas.microsoft.com/office/drawing/2014/chart" uri="{C3380CC4-5D6E-409C-BE32-E72D297353CC}">
                <c16:uniqueId val="{000007E3-86F4-458F-B5E5-D296EB1009DF}"/>
              </c:ext>
            </c:extLst>
          </c:dPt>
          <c:dPt>
            <c:idx val="1009"/>
            <c:invertIfNegative val="1"/>
            <c:bubble3D val="0"/>
            <c:spPr>
              <a:solidFill>
                <a:srgbClr val="AEABAB"/>
              </a:solidFill>
            </c:spPr>
            <c:extLst>
              <c:ext xmlns:c16="http://schemas.microsoft.com/office/drawing/2014/chart" uri="{C3380CC4-5D6E-409C-BE32-E72D297353CC}">
                <c16:uniqueId val="{000007E5-86F4-458F-B5E5-D296EB1009DF}"/>
              </c:ext>
            </c:extLst>
          </c:dPt>
          <c:dPt>
            <c:idx val="1010"/>
            <c:invertIfNegative val="1"/>
            <c:bubble3D val="0"/>
            <c:spPr>
              <a:solidFill>
                <a:srgbClr val="AEABAB"/>
              </a:solidFill>
            </c:spPr>
            <c:extLst>
              <c:ext xmlns:c16="http://schemas.microsoft.com/office/drawing/2014/chart" uri="{C3380CC4-5D6E-409C-BE32-E72D297353CC}">
                <c16:uniqueId val="{000007E7-86F4-458F-B5E5-D296EB1009DF}"/>
              </c:ext>
            </c:extLst>
          </c:dPt>
          <c:dPt>
            <c:idx val="1011"/>
            <c:invertIfNegative val="1"/>
            <c:bubble3D val="0"/>
            <c:spPr>
              <a:solidFill>
                <a:srgbClr val="AEABAB"/>
              </a:solidFill>
            </c:spPr>
            <c:extLst>
              <c:ext xmlns:c16="http://schemas.microsoft.com/office/drawing/2014/chart" uri="{C3380CC4-5D6E-409C-BE32-E72D297353CC}">
                <c16:uniqueId val="{000007E9-86F4-458F-B5E5-D296EB1009DF}"/>
              </c:ext>
            </c:extLst>
          </c:dPt>
          <c:dPt>
            <c:idx val="1012"/>
            <c:invertIfNegative val="1"/>
            <c:bubble3D val="0"/>
            <c:spPr>
              <a:solidFill>
                <a:srgbClr val="AEABAB"/>
              </a:solidFill>
            </c:spPr>
            <c:extLst>
              <c:ext xmlns:c16="http://schemas.microsoft.com/office/drawing/2014/chart" uri="{C3380CC4-5D6E-409C-BE32-E72D297353CC}">
                <c16:uniqueId val="{000007EB-86F4-458F-B5E5-D296EB1009DF}"/>
              </c:ext>
            </c:extLst>
          </c:dPt>
          <c:dPt>
            <c:idx val="1013"/>
            <c:invertIfNegative val="1"/>
            <c:bubble3D val="0"/>
            <c:spPr>
              <a:solidFill>
                <a:srgbClr val="AEABAB"/>
              </a:solidFill>
            </c:spPr>
            <c:extLst>
              <c:ext xmlns:c16="http://schemas.microsoft.com/office/drawing/2014/chart" uri="{C3380CC4-5D6E-409C-BE32-E72D297353CC}">
                <c16:uniqueId val="{000007ED-86F4-458F-B5E5-D296EB1009DF}"/>
              </c:ext>
            </c:extLst>
          </c:dPt>
          <c:dPt>
            <c:idx val="1014"/>
            <c:invertIfNegative val="1"/>
            <c:bubble3D val="0"/>
            <c:spPr>
              <a:solidFill>
                <a:srgbClr val="AEABAB"/>
              </a:solidFill>
            </c:spPr>
            <c:extLst>
              <c:ext xmlns:c16="http://schemas.microsoft.com/office/drawing/2014/chart" uri="{C3380CC4-5D6E-409C-BE32-E72D297353CC}">
                <c16:uniqueId val="{000007EF-86F4-458F-B5E5-D296EB1009DF}"/>
              </c:ext>
            </c:extLst>
          </c:dPt>
          <c:dPt>
            <c:idx val="1015"/>
            <c:invertIfNegative val="1"/>
            <c:bubble3D val="0"/>
            <c:spPr>
              <a:solidFill>
                <a:srgbClr val="AEABAB"/>
              </a:solidFill>
            </c:spPr>
            <c:extLst>
              <c:ext xmlns:c16="http://schemas.microsoft.com/office/drawing/2014/chart" uri="{C3380CC4-5D6E-409C-BE32-E72D297353CC}">
                <c16:uniqueId val="{000007F1-86F4-458F-B5E5-D296EB1009DF}"/>
              </c:ext>
            </c:extLst>
          </c:dPt>
          <c:dPt>
            <c:idx val="1016"/>
            <c:invertIfNegative val="1"/>
            <c:bubble3D val="0"/>
            <c:spPr>
              <a:solidFill>
                <a:srgbClr val="AEABAB"/>
              </a:solidFill>
            </c:spPr>
            <c:extLst>
              <c:ext xmlns:c16="http://schemas.microsoft.com/office/drawing/2014/chart" uri="{C3380CC4-5D6E-409C-BE32-E72D297353CC}">
                <c16:uniqueId val="{000007F3-86F4-458F-B5E5-D296EB1009DF}"/>
              </c:ext>
            </c:extLst>
          </c:dPt>
          <c:dPt>
            <c:idx val="1017"/>
            <c:invertIfNegative val="1"/>
            <c:bubble3D val="0"/>
            <c:spPr>
              <a:solidFill>
                <a:srgbClr val="AEABAB"/>
              </a:solidFill>
            </c:spPr>
            <c:extLst>
              <c:ext xmlns:c16="http://schemas.microsoft.com/office/drawing/2014/chart" uri="{C3380CC4-5D6E-409C-BE32-E72D297353CC}">
                <c16:uniqueId val="{000007F5-86F4-458F-B5E5-D296EB1009DF}"/>
              </c:ext>
            </c:extLst>
          </c:dPt>
          <c:dPt>
            <c:idx val="1018"/>
            <c:invertIfNegative val="1"/>
            <c:bubble3D val="0"/>
            <c:spPr>
              <a:solidFill>
                <a:srgbClr val="AEABAB"/>
              </a:solidFill>
            </c:spPr>
            <c:extLst>
              <c:ext xmlns:c16="http://schemas.microsoft.com/office/drawing/2014/chart" uri="{C3380CC4-5D6E-409C-BE32-E72D297353CC}">
                <c16:uniqueId val="{000007F7-86F4-458F-B5E5-D296EB1009DF}"/>
              </c:ext>
            </c:extLst>
          </c:dPt>
          <c:dPt>
            <c:idx val="1019"/>
            <c:invertIfNegative val="1"/>
            <c:bubble3D val="0"/>
            <c:spPr>
              <a:solidFill>
                <a:srgbClr val="AEABAB"/>
              </a:solidFill>
            </c:spPr>
            <c:extLst>
              <c:ext xmlns:c16="http://schemas.microsoft.com/office/drawing/2014/chart" uri="{C3380CC4-5D6E-409C-BE32-E72D297353CC}">
                <c16:uniqueId val="{000007F9-86F4-458F-B5E5-D296EB1009DF}"/>
              </c:ext>
            </c:extLst>
          </c:dPt>
          <c:dPt>
            <c:idx val="1020"/>
            <c:invertIfNegative val="1"/>
            <c:bubble3D val="0"/>
            <c:spPr>
              <a:solidFill>
                <a:srgbClr val="AEABAB"/>
              </a:solidFill>
            </c:spPr>
            <c:extLst>
              <c:ext xmlns:c16="http://schemas.microsoft.com/office/drawing/2014/chart" uri="{C3380CC4-5D6E-409C-BE32-E72D297353CC}">
                <c16:uniqueId val="{000007FB-86F4-458F-B5E5-D296EB1009DF}"/>
              </c:ext>
            </c:extLst>
          </c:dPt>
          <c:dPt>
            <c:idx val="1021"/>
            <c:invertIfNegative val="1"/>
            <c:bubble3D val="0"/>
            <c:spPr>
              <a:solidFill>
                <a:srgbClr val="AEABAB"/>
              </a:solidFill>
            </c:spPr>
            <c:extLst>
              <c:ext xmlns:c16="http://schemas.microsoft.com/office/drawing/2014/chart" uri="{C3380CC4-5D6E-409C-BE32-E72D297353CC}">
                <c16:uniqueId val="{000007FD-86F4-458F-B5E5-D296EB1009DF}"/>
              </c:ext>
            </c:extLst>
          </c:dPt>
          <c:dPt>
            <c:idx val="1022"/>
            <c:invertIfNegative val="1"/>
            <c:bubble3D val="0"/>
            <c:spPr>
              <a:solidFill>
                <a:srgbClr val="AEABAB"/>
              </a:solidFill>
            </c:spPr>
            <c:extLst>
              <c:ext xmlns:c16="http://schemas.microsoft.com/office/drawing/2014/chart" uri="{C3380CC4-5D6E-409C-BE32-E72D297353CC}">
                <c16:uniqueId val="{000007FF-86F4-458F-B5E5-D296EB1009DF}"/>
              </c:ext>
            </c:extLst>
          </c:dPt>
          <c:cat>
            <c:strRef>
              <c:f>Sheet1!$A$2:$A$1024</c:f>
              <c:strCache>
                <c:ptCount val="1023"/>
                <c:pt idx="0">
                  <c:v>Caprice Des</c:v>
                </c:pt>
                <c:pt idx="1">
                  <c:v>President</c:v>
                </c:pt>
                <c:pt idx="2">
                  <c:v>Caprice Des</c:v>
                </c:pt>
                <c:pt idx="3">
                  <c:v>La Vache Qu</c:v>
                </c:pt>
                <c:pt idx="4">
                  <c:v>La Vache Qu</c:v>
                </c:pt>
                <c:pt idx="5">
                  <c:v>Kiri</c:v>
                </c:pt>
                <c:pt idx="6">
                  <c:v>Coeur De Li</c:v>
                </c:pt>
                <c:pt idx="7">
                  <c:v>Mini Babybe</c:v>
                </c:pt>
                <c:pt idx="8">
                  <c:v>Galbani</c:v>
                </c:pt>
                <c:pt idx="9">
                  <c:v>Soignon</c:v>
                </c:pt>
                <c:pt idx="10">
                  <c:v>Mini Babybe</c:v>
                </c:pt>
                <c:pt idx="11">
                  <c:v>Salakis</c:v>
                </c:pt>
                <c:pt idx="12">
                  <c:v>Coeur De Li</c:v>
                </c:pt>
                <c:pt idx="13">
                  <c:v>Soignon</c:v>
                </c:pt>
                <c:pt idx="14">
                  <c:v>Le Rustique</c:v>
                </c:pt>
                <c:pt idx="15">
                  <c:v>Islos</c:v>
                </c:pt>
                <c:pt idx="16">
                  <c:v>Salakis</c:v>
                </c:pt>
                <c:pt idx="17">
                  <c:v>Ficello</c:v>
                </c:pt>
                <c:pt idx="18">
                  <c:v>Tartare</c:v>
                </c:pt>
                <c:pt idx="19">
                  <c:v>Soignon</c:v>
                </c:pt>
                <c:pt idx="20">
                  <c:v>Mini Babybe</c:v>
                </c:pt>
                <c:pt idx="21">
                  <c:v>St Moret</c:v>
                </c:pt>
                <c:pt idx="22">
                  <c:v>All Others</c:v>
                </c:pt>
                <c:pt idx="23">
                  <c:v>St Moret</c:v>
                </c:pt>
                <c:pt idx="24">
                  <c:v>Galbani</c:v>
                </c:pt>
                <c:pt idx="25">
                  <c:v>Kiri</c:v>
                </c:pt>
                <c:pt idx="26">
                  <c:v>St Moret</c:v>
                </c:pt>
                <c:pt idx="27">
                  <c:v>Coeur De Li</c:v>
                </c:pt>
                <c:pt idx="28">
                  <c:v>Galbani</c:v>
                </c:pt>
                <c:pt idx="29">
                  <c:v>All Others</c:v>
                </c:pt>
                <c:pt idx="30">
                  <c:v>Mini Babybe</c:v>
                </c:pt>
                <c:pt idx="31">
                  <c:v>Paysan Bret</c:v>
                </c:pt>
                <c:pt idx="32">
                  <c:v>St Moret</c:v>
                </c:pt>
                <c:pt idx="33">
                  <c:v>St Moret</c:v>
                </c:pt>
                <c:pt idx="34">
                  <c:v>All Others</c:v>
                </c:pt>
                <c:pt idx="35">
                  <c:v>Carre Frais</c:v>
                </c:pt>
                <c:pt idx="36">
                  <c:v>President</c:v>
                </c:pt>
                <c:pt idx="37">
                  <c:v>Salakis</c:v>
                </c:pt>
                <c:pt idx="38">
                  <c:v>President</c:v>
                </c:pt>
                <c:pt idx="39">
                  <c:v>Casa Azzurr</c:v>
                </c:pt>
                <c:pt idx="40">
                  <c:v>Carre Frais</c:v>
                </c:pt>
                <c:pt idx="41">
                  <c:v>Kiri</c:v>
                </c:pt>
                <c:pt idx="42">
                  <c:v>President</c:v>
                </c:pt>
                <c:pt idx="43">
                  <c:v>President</c:v>
                </c:pt>
                <c:pt idx="44">
                  <c:v>La Vache Qu</c:v>
                </c:pt>
                <c:pt idx="45">
                  <c:v>Paysan Bret</c:v>
                </c:pt>
                <c:pt idx="46">
                  <c:v>Paysan Bret</c:v>
                </c:pt>
                <c:pt idx="47">
                  <c:v>Apericube</c:v>
                </c:pt>
                <c:pt idx="48">
                  <c:v>St Moret</c:v>
                </c:pt>
                <c:pt idx="49">
                  <c:v>Philadelphi</c:v>
                </c:pt>
                <c:pt idx="50">
                  <c:v>Coeur De Li</c:v>
                </c:pt>
                <c:pt idx="51">
                  <c:v>All Others</c:v>
                </c:pt>
                <c:pt idx="52">
                  <c:v>St Moret</c:v>
                </c:pt>
                <c:pt idx="53">
                  <c:v>Casa Azzurr</c:v>
                </c:pt>
                <c:pt idx="54">
                  <c:v>Salakis</c:v>
                </c:pt>
                <c:pt idx="55">
                  <c:v>Apericube</c:v>
                </c:pt>
                <c:pt idx="56">
                  <c:v>Boursin</c:v>
                </c:pt>
                <c:pt idx="57">
                  <c:v>Galbani</c:v>
                </c:pt>
                <c:pt idx="58">
                  <c:v>All Others</c:v>
                </c:pt>
                <c:pt idx="59">
                  <c:v>La Vache Qu</c:v>
                </c:pt>
                <c:pt idx="60">
                  <c:v>Kiri</c:v>
                </c:pt>
                <c:pt idx="61">
                  <c:v>Casa Azzurr</c:v>
                </c:pt>
                <c:pt idx="62">
                  <c:v>Casa Azzurr</c:v>
                </c:pt>
                <c:pt idx="63">
                  <c:v>Galbani</c:v>
                </c:pt>
                <c:pt idx="64">
                  <c:v>Petit Billy</c:v>
                </c:pt>
                <c:pt idx="65">
                  <c:v>Apericube</c:v>
                </c:pt>
                <c:pt idx="66">
                  <c:v>All Others</c:v>
                </c:pt>
                <c:pt idx="67">
                  <c:v>Tartare</c:v>
                </c:pt>
                <c:pt idx="68">
                  <c:v>Kiri</c:v>
                </c:pt>
                <c:pt idx="69">
                  <c:v>Casa Azzurr</c:v>
                </c:pt>
                <c:pt idx="70">
                  <c:v>Carre Frais</c:v>
                </c:pt>
                <c:pt idx="71">
                  <c:v>St Moret</c:v>
                </c:pt>
                <c:pt idx="72">
                  <c:v>Kiri</c:v>
                </c:pt>
                <c:pt idx="73">
                  <c:v>Boursin</c:v>
                </c:pt>
                <c:pt idx="74">
                  <c:v>Casa Azzurr</c:v>
                </c:pt>
                <c:pt idx="75">
                  <c:v>Salakis</c:v>
                </c:pt>
                <c:pt idx="76">
                  <c:v>Istara</c:v>
                </c:pt>
                <c:pt idx="77">
                  <c:v>La Vache Qu</c:v>
                </c:pt>
                <c:pt idx="78">
                  <c:v>All Others</c:v>
                </c:pt>
                <c:pt idx="79">
                  <c:v>All Others</c:v>
                </c:pt>
                <c:pt idx="80">
                  <c:v>Lepetit</c:v>
                </c:pt>
                <c:pt idx="81">
                  <c:v>Galbani</c:v>
                </c:pt>
                <c:pt idx="82">
                  <c:v>President</c:v>
                </c:pt>
                <c:pt idx="83">
                  <c:v>Ficello</c:v>
                </c:pt>
                <c:pt idx="84">
                  <c:v>Etorki</c:v>
                </c:pt>
                <c:pt idx="85">
                  <c:v>Lou Perac</c:v>
                </c:pt>
                <c:pt idx="86">
                  <c:v>Boursin</c:v>
                </c:pt>
                <c:pt idx="87">
                  <c:v>All Others</c:v>
                </c:pt>
                <c:pt idx="88">
                  <c:v>Philadelphi</c:v>
                </c:pt>
                <c:pt idx="89">
                  <c:v>Boursin</c:v>
                </c:pt>
                <c:pt idx="90">
                  <c:v>Philadelphi</c:v>
                </c:pt>
                <c:pt idx="91">
                  <c:v>Casa Azzurr</c:v>
                </c:pt>
                <c:pt idx="92">
                  <c:v>Apericube</c:v>
                </c:pt>
                <c:pt idx="93">
                  <c:v>Coeur De Li</c:v>
                </c:pt>
                <c:pt idx="94">
                  <c:v>Salakis</c:v>
                </c:pt>
                <c:pt idx="95">
                  <c:v>Boursin</c:v>
                </c:pt>
                <c:pt idx="96">
                  <c:v>All Others</c:v>
                </c:pt>
                <c:pt idx="97">
                  <c:v>Caprice Des</c:v>
                </c:pt>
                <c:pt idx="98">
                  <c:v>Apericube</c:v>
                </c:pt>
                <c:pt idx="99">
                  <c:v>Mini Babybe</c:v>
                </c:pt>
                <c:pt idx="100">
                  <c:v>Galbani</c:v>
                </c:pt>
                <c:pt idx="101">
                  <c:v>All Others</c:v>
                </c:pt>
                <c:pt idx="102">
                  <c:v>Caprice Des</c:v>
                </c:pt>
                <c:pt idx="103">
                  <c:v>Apericube</c:v>
                </c:pt>
                <c:pt idx="104">
                  <c:v>Casa Azzurr</c:v>
                </c:pt>
                <c:pt idx="105">
                  <c:v>Salakis</c:v>
                </c:pt>
                <c:pt idx="106">
                  <c:v>Istara</c:v>
                </c:pt>
                <c:pt idx="107">
                  <c:v>Casa Azzurr</c:v>
                </c:pt>
                <c:pt idx="108">
                  <c:v>St Moret</c:v>
                </c:pt>
                <c:pt idx="109">
                  <c:v>Lactalis: A</c:v>
                </c:pt>
                <c:pt idx="110">
                  <c:v>All Others</c:v>
                </c:pt>
                <c:pt idx="111">
                  <c:v>La Vache Qu</c:v>
                </c:pt>
                <c:pt idx="112">
                  <c:v>President</c:v>
                </c:pt>
                <c:pt idx="113">
                  <c:v>Apericube</c:v>
                </c:pt>
                <c:pt idx="114">
                  <c:v>Casa Azzurr</c:v>
                </c:pt>
                <c:pt idx="115">
                  <c:v>Le Rustique</c:v>
                </c:pt>
                <c:pt idx="116">
                  <c:v>All Others</c:v>
                </c:pt>
                <c:pt idx="117">
                  <c:v>Apericube</c:v>
                </c:pt>
                <c:pt idx="118">
                  <c:v>Paysan Bret</c:v>
                </c:pt>
                <c:pt idx="119">
                  <c:v>Paysan Bret</c:v>
                </c:pt>
                <c:pt idx="120">
                  <c:v>Soignon</c:v>
                </c:pt>
                <c:pt idx="121">
                  <c:v>Paysan Bret</c:v>
                </c:pt>
                <c:pt idx="122">
                  <c:v>Casa Azzurr</c:v>
                </c:pt>
                <c:pt idx="123">
                  <c:v>Casa Azzurr</c:v>
                </c:pt>
                <c:pt idx="124">
                  <c:v>Tartare</c:v>
                </c:pt>
                <c:pt idx="125">
                  <c:v>President</c:v>
                </c:pt>
                <c:pt idx="126">
                  <c:v>Soignon</c:v>
                </c:pt>
                <c:pt idx="127">
                  <c:v>President</c:v>
                </c:pt>
                <c:pt idx="128">
                  <c:v>All Others</c:v>
                </c:pt>
                <c:pt idx="129">
                  <c:v>President</c:v>
                </c:pt>
                <c:pt idx="130">
                  <c:v>Caprice Des</c:v>
                </c:pt>
                <c:pt idx="131">
                  <c:v>Galbani</c:v>
                </c:pt>
                <c:pt idx="132">
                  <c:v>Aperivrais</c:v>
                </c:pt>
                <c:pt idx="133">
                  <c:v>Soignon</c:v>
                </c:pt>
                <c:pt idx="134">
                  <c:v>All Others</c:v>
                </c:pt>
                <c:pt idx="135">
                  <c:v>Le Brebiou</c:v>
                </c:pt>
                <c:pt idx="136">
                  <c:v>Soignon</c:v>
                </c:pt>
                <c:pt idx="137">
                  <c:v>All Others</c:v>
                </c:pt>
                <c:pt idx="138">
                  <c:v>Apericube</c:v>
                </c:pt>
                <c:pt idx="139">
                  <c:v>Aperivrais</c:v>
                </c:pt>
                <c:pt idx="140">
                  <c:v>Paysan Bret</c:v>
                </c:pt>
                <c:pt idx="141">
                  <c:v>Galbani</c:v>
                </c:pt>
                <c:pt idx="142">
                  <c:v>Lactalis: A</c:v>
                </c:pt>
                <c:pt idx="143">
                  <c:v>Lactalis: A</c:v>
                </c:pt>
                <c:pt idx="144">
                  <c:v>Laita: All </c:v>
                </c:pt>
                <c:pt idx="145">
                  <c:v>Le Rustique</c:v>
                </c:pt>
                <c:pt idx="146">
                  <c:v>Savencia: A</c:v>
                </c:pt>
                <c:pt idx="147">
                  <c:v>Apericube</c:v>
                </c:pt>
                <c:pt idx="148">
                  <c:v>All Others</c:v>
                </c:pt>
                <c:pt idx="149">
                  <c:v>All Others</c:v>
                </c:pt>
                <c:pt idx="150">
                  <c:v>Apericube</c:v>
                </c:pt>
                <c:pt idx="151">
                  <c:v>Coeur De Li</c:v>
                </c:pt>
                <c:pt idx="152">
                  <c:v>All Others</c:v>
                </c:pt>
                <c:pt idx="153">
                  <c:v>All Others</c:v>
                </c:pt>
                <c:pt idx="154">
                  <c:v>Lactalis: A</c:v>
                </c:pt>
                <c:pt idx="155">
                  <c:v>All Others</c:v>
                </c:pt>
                <c:pt idx="156">
                  <c:v>Mini Babybe</c:v>
                </c:pt>
                <c:pt idx="157">
                  <c:v>Chavroux</c:v>
                </c:pt>
                <c:pt idx="158">
                  <c:v>Rondele</c:v>
                </c:pt>
                <c:pt idx="159">
                  <c:v>All Others</c:v>
                </c:pt>
                <c:pt idx="160">
                  <c:v>Galbani</c:v>
                </c:pt>
                <c:pt idx="161">
                  <c:v>Ficello</c:v>
                </c:pt>
                <c:pt idx="162">
                  <c:v>Galbani</c:v>
                </c:pt>
                <c:pt idx="163">
                  <c:v>All Others</c:v>
                </c:pt>
                <c:pt idx="164">
                  <c:v>All Others</c:v>
                </c:pt>
                <c:pt idx="165">
                  <c:v>All Others</c:v>
                </c:pt>
                <c:pt idx="166">
                  <c:v>President</c:v>
                </c:pt>
                <c:pt idx="167">
                  <c:v>La Vache Qu</c:v>
                </c:pt>
                <c:pt idx="168">
                  <c:v>Lou Perac</c:v>
                </c:pt>
                <c:pt idx="169">
                  <c:v>Chavroux</c:v>
                </c:pt>
                <c:pt idx="170">
                  <c:v>Etorki</c:v>
                </c:pt>
                <c:pt idx="171">
                  <c:v>All Others</c:v>
                </c:pt>
                <c:pt idx="172">
                  <c:v>Islos</c:v>
                </c:pt>
                <c:pt idx="173">
                  <c:v>President</c:v>
                </c:pt>
                <c:pt idx="174">
                  <c:v>Le Rustique</c:v>
                </c:pt>
                <c:pt idx="175">
                  <c:v>Boursin</c:v>
                </c:pt>
                <c:pt idx="176">
                  <c:v>All Others</c:v>
                </c:pt>
                <c:pt idx="177">
                  <c:v>President</c:v>
                </c:pt>
                <c:pt idx="178">
                  <c:v>Boursin</c:v>
                </c:pt>
                <c:pt idx="179">
                  <c:v>Boursin</c:v>
                </c:pt>
                <c:pt idx="180">
                  <c:v>All Others</c:v>
                </c:pt>
                <c:pt idx="181">
                  <c:v>All Others</c:v>
                </c:pt>
                <c:pt idx="182">
                  <c:v>Caprice Des</c:v>
                </c:pt>
                <c:pt idx="183">
                  <c:v>All Others</c:v>
                </c:pt>
                <c:pt idx="184">
                  <c:v>Casa Azzurr</c:v>
                </c:pt>
                <c:pt idx="185">
                  <c:v>Soignon</c:v>
                </c:pt>
                <c:pt idx="186">
                  <c:v>Kiri</c:v>
                </c:pt>
                <c:pt idx="187">
                  <c:v>Soignon</c:v>
                </c:pt>
                <c:pt idx="188">
                  <c:v>Lactalis: A</c:v>
                </c:pt>
                <c:pt idx="189">
                  <c:v>Chavroux</c:v>
                </c:pt>
                <c:pt idx="190">
                  <c:v>All Others</c:v>
                </c:pt>
                <c:pt idx="191">
                  <c:v>Apericube</c:v>
                </c:pt>
                <c:pt idx="192">
                  <c:v>All Others</c:v>
                </c:pt>
                <c:pt idx="193">
                  <c:v>Soignon</c:v>
                </c:pt>
                <c:pt idx="194">
                  <c:v>All Others</c:v>
                </c:pt>
                <c:pt idx="195">
                  <c:v>Casa Azzurr</c:v>
                </c:pt>
                <c:pt idx="196">
                  <c:v>Casa Azzurr</c:v>
                </c:pt>
                <c:pt idx="197">
                  <c:v>All Others</c:v>
                </c:pt>
                <c:pt idx="198">
                  <c:v>P'Tit Louis</c:v>
                </c:pt>
                <c:pt idx="199">
                  <c:v>Soignon</c:v>
                </c:pt>
                <c:pt idx="200">
                  <c:v>Aperivrais</c:v>
                </c:pt>
                <c:pt idx="201">
                  <c:v>St Moret</c:v>
                </c:pt>
                <c:pt idx="202">
                  <c:v>All Others</c:v>
                </c:pt>
                <c:pt idx="203">
                  <c:v>Mini Babybe</c:v>
                </c:pt>
                <c:pt idx="204">
                  <c:v>Lactalis: A</c:v>
                </c:pt>
                <c:pt idx="205">
                  <c:v>Apericube</c:v>
                </c:pt>
                <c:pt idx="206">
                  <c:v>All Others</c:v>
                </c:pt>
                <c:pt idx="207">
                  <c:v>Paysan Bret</c:v>
                </c:pt>
                <c:pt idx="208">
                  <c:v>Caprice Des</c:v>
                </c:pt>
                <c:pt idx="209">
                  <c:v>All Others</c:v>
                </c:pt>
                <c:pt idx="210">
                  <c:v>All Others</c:v>
                </c:pt>
                <c:pt idx="211">
                  <c:v>Soignon</c:v>
                </c:pt>
                <c:pt idx="212">
                  <c:v>All Others</c:v>
                </c:pt>
                <c:pt idx="213">
                  <c:v>All Others</c:v>
                </c:pt>
                <c:pt idx="214">
                  <c:v>Boursin</c:v>
                </c:pt>
                <c:pt idx="215">
                  <c:v>Galbani</c:v>
                </c:pt>
                <c:pt idx="216">
                  <c:v>All Others</c:v>
                </c:pt>
                <c:pt idx="217">
                  <c:v>P'Tit Louis</c:v>
                </c:pt>
                <c:pt idx="218">
                  <c:v>Boursin</c:v>
                </c:pt>
                <c:pt idx="219">
                  <c:v>Boursin</c:v>
                </c:pt>
                <c:pt idx="220">
                  <c:v>All Others</c:v>
                </c:pt>
                <c:pt idx="221">
                  <c:v>Mini Babybe</c:v>
                </c:pt>
                <c:pt idx="222">
                  <c:v>All Others</c:v>
                </c:pt>
                <c:pt idx="223">
                  <c:v>Boursin</c:v>
                </c:pt>
                <c:pt idx="224">
                  <c:v>St Moret</c:v>
                </c:pt>
                <c:pt idx="225">
                  <c:v>President</c:v>
                </c:pt>
                <c:pt idx="226">
                  <c:v>Aperivrais</c:v>
                </c:pt>
                <c:pt idx="227">
                  <c:v>Pave D'Affi</c:v>
                </c:pt>
                <c:pt idx="228">
                  <c:v>P'Tit Louis</c:v>
                </c:pt>
                <c:pt idx="229">
                  <c:v>St Moret</c:v>
                </c:pt>
                <c:pt idx="230">
                  <c:v>La Vache Qu</c:v>
                </c:pt>
                <c:pt idx="231">
                  <c:v>Tartare</c:v>
                </c:pt>
                <c:pt idx="232">
                  <c:v>Galbani</c:v>
                </c:pt>
                <c:pt idx="233">
                  <c:v>All Others</c:v>
                </c:pt>
                <c:pt idx="234">
                  <c:v>All Others</c:v>
                </c:pt>
                <c:pt idx="235">
                  <c:v>Caprice Des</c:v>
                </c:pt>
                <c:pt idx="236">
                  <c:v>Lou Perac</c:v>
                </c:pt>
                <c:pt idx="237">
                  <c:v>Rondele</c:v>
                </c:pt>
                <c:pt idx="238">
                  <c:v>Tartare</c:v>
                </c:pt>
                <c:pt idx="239">
                  <c:v>All Others</c:v>
                </c:pt>
                <c:pt idx="240">
                  <c:v>Lactalis: A</c:v>
                </c:pt>
                <c:pt idx="241">
                  <c:v>All Others</c:v>
                </c:pt>
                <c:pt idx="242">
                  <c:v>Islos</c:v>
                </c:pt>
                <c:pt idx="243">
                  <c:v>Savencia: A</c:v>
                </c:pt>
                <c:pt idx="244">
                  <c:v>All Others</c:v>
                </c:pt>
                <c:pt idx="245">
                  <c:v>Tartare</c:v>
                </c:pt>
                <c:pt idx="246">
                  <c:v>All Others</c:v>
                </c:pt>
                <c:pt idx="247">
                  <c:v>All Others</c:v>
                </c:pt>
                <c:pt idx="248">
                  <c:v>Philadelphi</c:v>
                </c:pt>
                <c:pt idx="249">
                  <c:v>All Others</c:v>
                </c:pt>
                <c:pt idx="250">
                  <c:v>All Others</c:v>
                </c:pt>
                <c:pt idx="251">
                  <c:v>All Others</c:v>
                </c:pt>
                <c:pt idx="252">
                  <c:v>Ficello</c:v>
                </c:pt>
                <c:pt idx="253">
                  <c:v>All Others</c:v>
                </c:pt>
                <c:pt idx="254">
                  <c:v>Paysan Bret</c:v>
                </c:pt>
                <c:pt idx="255">
                  <c:v>Boursin</c:v>
                </c:pt>
                <c:pt idx="256">
                  <c:v>All Others</c:v>
                </c:pt>
                <c:pt idx="257">
                  <c:v>All Others</c:v>
                </c:pt>
                <c:pt idx="258">
                  <c:v>Soignon</c:v>
                </c:pt>
                <c:pt idx="259">
                  <c:v>Kiri</c:v>
                </c:pt>
                <c:pt idx="260">
                  <c:v>Salakis</c:v>
                </c:pt>
                <c:pt idx="261">
                  <c:v>All Others</c:v>
                </c:pt>
                <c:pt idx="262">
                  <c:v>All Others</c:v>
                </c:pt>
                <c:pt idx="263">
                  <c:v>Corsica</c:v>
                </c:pt>
                <c:pt idx="264">
                  <c:v>Tartare</c:v>
                </c:pt>
                <c:pt idx="265">
                  <c:v>Lou Perac</c:v>
                </c:pt>
                <c:pt idx="266">
                  <c:v>All Others</c:v>
                </c:pt>
                <c:pt idx="267">
                  <c:v>All Others</c:v>
                </c:pt>
                <c:pt idx="268">
                  <c:v>All Others</c:v>
                </c:pt>
                <c:pt idx="269">
                  <c:v>All Others</c:v>
                </c:pt>
                <c:pt idx="270">
                  <c:v>All Others</c:v>
                </c:pt>
                <c:pt idx="271">
                  <c:v>Leerdammer</c:v>
                </c:pt>
                <c:pt idx="272">
                  <c:v>Boursin</c:v>
                </c:pt>
                <c:pt idx="273">
                  <c:v>Apericube</c:v>
                </c:pt>
                <c:pt idx="274">
                  <c:v>All Others</c:v>
                </c:pt>
                <c:pt idx="275">
                  <c:v>All Others</c:v>
                </c:pt>
                <c:pt idx="276">
                  <c:v>Triballat N</c:v>
                </c:pt>
                <c:pt idx="277">
                  <c:v>All Others</c:v>
                </c:pt>
                <c:pt idx="278">
                  <c:v>Corsica</c:v>
                </c:pt>
                <c:pt idx="279">
                  <c:v>President</c:v>
                </c:pt>
                <c:pt idx="280">
                  <c:v>All Others</c:v>
                </c:pt>
                <c:pt idx="281">
                  <c:v>All Others</c:v>
                </c:pt>
                <c:pt idx="282">
                  <c:v>Boursin</c:v>
                </c:pt>
                <c:pt idx="283">
                  <c:v>All Others</c:v>
                </c:pt>
                <c:pt idx="284">
                  <c:v>All Others</c:v>
                </c:pt>
                <c:pt idx="285">
                  <c:v>Chavroux</c:v>
                </c:pt>
                <c:pt idx="286">
                  <c:v>Apericube</c:v>
                </c:pt>
                <c:pt idx="287">
                  <c:v>Aperivrais</c:v>
                </c:pt>
                <c:pt idx="288">
                  <c:v>All Others</c:v>
                </c:pt>
                <c:pt idx="289">
                  <c:v>All Others</c:v>
                </c:pt>
                <c:pt idx="290">
                  <c:v>All Others</c:v>
                </c:pt>
                <c:pt idx="291">
                  <c:v>All Others</c:v>
                </c:pt>
                <c:pt idx="292">
                  <c:v>All Others</c:v>
                </c:pt>
                <c:pt idx="293">
                  <c:v>Coeur De Li</c:v>
                </c:pt>
                <c:pt idx="294">
                  <c:v>All Others</c:v>
                </c:pt>
                <c:pt idx="295">
                  <c:v>Savencia: A</c:v>
                </c:pt>
                <c:pt idx="296">
                  <c:v>All Others</c:v>
                </c:pt>
                <c:pt idx="297">
                  <c:v>Aperivrais</c:v>
                </c:pt>
                <c:pt idx="298">
                  <c:v>All Others</c:v>
                </c:pt>
                <c:pt idx="299">
                  <c:v>All Others</c:v>
                </c:pt>
                <c:pt idx="300">
                  <c:v>All Others</c:v>
                </c:pt>
                <c:pt idx="301">
                  <c:v>Paysan Bret</c:v>
                </c:pt>
                <c:pt idx="302">
                  <c:v>St Moret</c:v>
                </c:pt>
                <c:pt idx="303">
                  <c:v>All Others</c:v>
                </c:pt>
                <c:pt idx="304">
                  <c:v>All Others</c:v>
                </c:pt>
                <c:pt idx="305">
                  <c:v>All Others</c:v>
                </c:pt>
                <c:pt idx="306">
                  <c:v>Lou Perac</c:v>
                </c:pt>
                <c:pt idx="307">
                  <c:v>Etoile Du Q</c:v>
                </c:pt>
                <c:pt idx="308">
                  <c:v>Violife</c:v>
                </c:pt>
                <c:pt idx="309">
                  <c:v>President</c:v>
                </c:pt>
                <c:pt idx="310">
                  <c:v>All Others</c:v>
                </c:pt>
                <c:pt idx="311">
                  <c:v>All Others</c:v>
                </c:pt>
                <c:pt idx="312">
                  <c:v>All Others</c:v>
                </c:pt>
                <c:pt idx="313">
                  <c:v>Boursin</c:v>
                </c:pt>
                <c:pt idx="314">
                  <c:v>Istara</c:v>
                </c:pt>
                <c:pt idx="315">
                  <c:v>All Others</c:v>
                </c:pt>
                <c:pt idx="316">
                  <c:v>All Others</c:v>
                </c:pt>
                <c:pt idx="317">
                  <c:v>Etoile Du V</c:v>
                </c:pt>
                <c:pt idx="318">
                  <c:v>All Others</c:v>
                </c:pt>
                <c:pt idx="319">
                  <c:v>All Others</c:v>
                </c:pt>
                <c:pt idx="320">
                  <c:v>Eurial Autr</c:v>
                </c:pt>
                <c:pt idx="321">
                  <c:v>Casa Azzurr</c:v>
                </c:pt>
                <c:pt idx="322">
                  <c:v>Aperivrais</c:v>
                </c:pt>
                <c:pt idx="323">
                  <c:v>All Others</c:v>
                </c:pt>
                <c:pt idx="324">
                  <c:v>All Others</c:v>
                </c:pt>
                <c:pt idx="325">
                  <c:v>Violife</c:v>
                </c:pt>
                <c:pt idx="326">
                  <c:v>Boursin</c:v>
                </c:pt>
                <c:pt idx="327">
                  <c:v>Saint Agur</c:v>
                </c:pt>
                <c:pt idx="328">
                  <c:v>Salakis</c:v>
                </c:pt>
                <c:pt idx="329">
                  <c:v>All Others</c:v>
                </c:pt>
                <c:pt idx="330">
                  <c:v>Kiri</c:v>
                </c:pt>
                <c:pt idx="331">
                  <c:v>All Others</c:v>
                </c:pt>
                <c:pt idx="332">
                  <c:v>All Others</c:v>
                </c:pt>
                <c:pt idx="333">
                  <c:v>O'Tapas Ape</c:v>
                </c:pt>
                <c:pt idx="334">
                  <c:v>All Others</c:v>
                </c:pt>
                <c:pt idx="335">
                  <c:v>Boursin</c:v>
                </c:pt>
                <c:pt idx="336">
                  <c:v>All Others</c:v>
                </c:pt>
                <c:pt idx="337">
                  <c:v>Violife</c:v>
                </c:pt>
                <c:pt idx="338">
                  <c:v>Milleret: A</c:v>
                </c:pt>
                <c:pt idx="339">
                  <c:v>Triballat R</c:v>
                </c:pt>
                <c:pt idx="340">
                  <c:v>All Others</c:v>
                </c:pt>
                <c:pt idx="341">
                  <c:v>All Others</c:v>
                </c:pt>
                <c:pt idx="342">
                  <c:v>All Others</c:v>
                </c:pt>
                <c:pt idx="343">
                  <c:v>All Others</c:v>
                </c:pt>
                <c:pt idx="344">
                  <c:v>All Others</c:v>
                </c:pt>
                <c:pt idx="345">
                  <c:v>All Others</c:v>
                </c:pt>
                <c:pt idx="346">
                  <c:v>Boursin</c:v>
                </c:pt>
                <c:pt idx="347">
                  <c:v>St Moret</c:v>
                </c:pt>
                <c:pt idx="348">
                  <c:v>Savencia: A</c:v>
                </c:pt>
                <c:pt idx="349">
                  <c:v>Violife</c:v>
                </c:pt>
                <c:pt idx="350">
                  <c:v>Mini Babybe</c:v>
                </c:pt>
                <c:pt idx="351">
                  <c:v>All Others</c:v>
                </c:pt>
                <c:pt idx="352">
                  <c:v>Tartare</c:v>
                </c:pt>
                <c:pt idx="353">
                  <c:v>All Others</c:v>
                </c:pt>
                <c:pt idx="354">
                  <c:v>All Others</c:v>
                </c:pt>
                <c:pt idx="355">
                  <c:v>All Others</c:v>
                </c:pt>
                <c:pt idx="356">
                  <c:v>O'Tapas Ape</c:v>
                </c:pt>
                <c:pt idx="357">
                  <c:v>Apericube</c:v>
                </c:pt>
                <c:pt idx="358">
                  <c:v>All Others</c:v>
                </c:pt>
                <c:pt idx="359">
                  <c:v>Triballat R</c:v>
                </c:pt>
                <c:pt idx="360">
                  <c:v>All Others</c:v>
                </c:pt>
                <c:pt idx="361">
                  <c:v>All Others</c:v>
                </c:pt>
                <c:pt idx="362">
                  <c:v>Etoile Du Q</c:v>
                </c:pt>
                <c:pt idx="363">
                  <c:v>All Others</c:v>
                </c:pt>
                <c:pt idx="364">
                  <c:v>Richesmonts</c:v>
                </c:pt>
                <c:pt idx="365">
                  <c:v>All Others</c:v>
                </c:pt>
                <c:pt idx="366">
                  <c:v>All Others</c:v>
                </c:pt>
                <c:pt idx="367">
                  <c:v>Boursin</c:v>
                </c:pt>
                <c:pt idx="368">
                  <c:v>All Others</c:v>
                </c:pt>
                <c:pt idx="369">
                  <c:v>Nurishh</c:v>
                </c:pt>
                <c:pt idx="370">
                  <c:v>Nurishh</c:v>
                </c:pt>
                <c:pt idx="371">
                  <c:v>All Others</c:v>
                </c:pt>
                <c:pt idx="372">
                  <c:v>All Others</c:v>
                </c:pt>
                <c:pt idx="373">
                  <c:v>Nurishh</c:v>
                </c:pt>
                <c:pt idx="374">
                  <c:v>All Others</c:v>
                </c:pt>
                <c:pt idx="375">
                  <c:v>All Others</c:v>
                </c:pt>
                <c:pt idx="376">
                  <c:v>All Others</c:v>
                </c:pt>
                <c:pt idx="377">
                  <c:v>Saint Agur</c:v>
                </c:pt>
                <c:pt idx="378">
                  <c:v>All Others</c:v>
                </c:pt>
                <c:pt idx="379">
                  <c:v>Lactalis: A</c:v>
                </c:pt>
                <c:pt idx="380">
                  <c:v>Savencia: A</c:v>
                </c:pt>
                <c:pt idx="381">
                  <c:v>Nurishh</c:v>
                </c:pt>
                <c:pt idx="382">
                  <c:v>Savencia: A</c:v>
                </c:pt>
                <c:pt idx="383">
                  <c:v>Etoile Du V</c:v>
                </c:pt>
                <c:pt idx="384">
                  <c:v>All Others</c:v>
                </c:pt>
                <c:pt idx="385">
                  <c:v>All Others</c:v>
                </c:pt>
                <c:pt idx="386">
                  <c:v>All Others</c:v>
                </c:pt>
                <c:pt idx="387">
                  <c:v>All Others</c:v>
                </c:pt>
                <c:pt idx="388">
                  <c:v>Triballat N</c:v>
                </c:pt>
                <c:pt idx="389">
                  <c:v>Lactalis: A</c:v>
                </c:pt>
                <c:pt idx="390">
                  <c:v>Soignon</c:v>
                </c:pt>
                <c:pt idx="391">
                  <c:v>All Others</c:v>
                </c:pt>
                <c:pt idx="392">
                  <c:v>Entremont</c:v>
                </c:pt>
                <c:pt idx="393">
                  <c:v>All Others</c:v>
                </c:pt>
                <c:pt idx="394">
                  <c:v>All Others</c:v>
                </c:pt>
                <c:pt idx="395">
                  <c:v>Nurishh</c:v>
                </c:pt>
                <c:pt idx="396">
                  <c:v>All Others</c:v>
                </c:pt>
                <c:pt idx="397">
                  <c:v>All Others</c:v>
                </c:pt>
                <c:pt idx="398">
                  <c:v>All Others</c:v>
                </c:pt>
                <c:pt idx="399">
                  <c:v>Violife</c:v>
                </c:pt>
                <c:pt idx="400">
                  <c:v>Etoile Du Q</c:v>
                </c:pt>
                <c:pt idx="401">
                  <c:v>All Others</c:v>
                </c:pt>
                <c:pt idx="402">
                  <c:v>All Others</c:v>
                </c:pt>
                <c:pt idx="403">
                  <c:v>All Others</c:v>
                </c:pt>
                <c:pt idx="404">
                  <c:v>All Others</c:v>
                </c:pt>
                <c:pt idx="405">
                  <c:v>All Others</c:v>
                </c:pt>
                <c:pt idx="406">
                  <c:v>All Others</c:v>
                </c:pt>
                <c:pt idx="407">
                  <c:v>All Others</c:v>
                </c:pt>
                <c:pt idx="408">
                  <c:v>Triballat N</c:v>
                </c:pt>
                <c:pt idx="409">
                  <c:v>All Others</c:v>
                </c:pt>
                <c:pt idx="410">
                  <c:v>Casa Azzurr</c:v>
                </c:pt>
                <c:pt idx="411">
                  <c:v>Tartare</c:v>
                </c:pt>
                <c:pt idx="412">
                  <c:v>All Others</c:v>
                </c:pt>
                <c:pt idx="413">
                  <c:v>All Others</c:v>
                </c:pt>
                <c:pt idx="414">
                  <c:v>Violife</c:v>
                </c:pt>
                <c:pt idx="415">
                  <c:v>Aperivrais</c:v>
                </c:pt>
                <c:pt idx="416">
                  <c:v>Violife</c:v>
                </c:pt>
                <c:pt idx="417">
                  <c:v>All Others</c:v>
                </c:pt>
                <c:pt idx="418">
                  <c:v>All Others</c:v>
                </c:pt>
                <c:pt idx="419">
                  <c:v>Eurial Autr</c:v>
                </c:pt>
                <c:pt idx="420">
                  <c:v>All Others</c:v>
                </c:pt>
                <c:pt idx="421">
                  <c:v>Nurishh</c:v>
                </c:pt>
                <c:pt idx="422">
                  <c:v>All Others</c:v>
                </c:pt>
                <c:pt idx="423">
                  <c:v>All Others</c:v>
                </c:pt>
                <c:pt idx="424">
                  <c:v>All Others</c:v>
                </c:pt>
                <c:pt idx="425">
                  <c:v>All Others</c:v>
                </c:pt>
                <c:pt idx="426">
                  <c:v>Lactalis: A</c:v>
                </c:pt>
                <c:pt idx="427">
                  <c:v>Private Lab</c:v>
                </c:pt>
                <c:pt idx="428">
                  <c:v>All Others</c:v>
                </c:pt>
                <c:pt idx="429">
                  <c:v>All Others</c:v>
                </c:pt>
                <c:pt idx="430">
                  <c:v>All Others</c:v>
                </c:pt>
                <c:pt idx="431">
                  <c:v>Paysan Bret</c:v>
                </c:pt>
                <c:pt idx="432">
                  <c:v>Nurishh</c:v>
                </c:pt>
                <c:pt idx="433">
                  <c:v>Philadelphi</c:v>
                </c:pt>
                <c:pt idx="434">
                  <c:v>All Others</c:v>
                </c:pt>
                <c:pt idx="435">
                  <c:v>Boursin</c:v>
                </c:pt>
                <c:pt idx="436">
                  <c:v>All Others</c:v>
                </c:pt>
                <c:pt idx="437">
                  <c:v>Violife</c:v>
                </c:pt>
                <c:pt idx="438">
                  <c:v>All Others</c:v>
                </c:pt>
                <c:pt idx="439">
                  <c:v>All Others</c:v>
                </c:pt>
                <c:pt idx="440">
                  <c:v>Tartare</c:v>
                </c:pt>
                <c:pt idx="441">
                  <c:v>All Others</c:v>
                </c:pt>
                <c:pt idx="442">
                  <c:v>All Others</c:v>
                </c:pt>
                <c:pt idx="443">
                  <c:v>Boursin</c:v>
                </c:pt>
                <c:pt idx="444">
                  <c:v>All Others</c:v>
                </c:pt>
                <c:pt idx="445">
                  <c:v>Savencia: A</c:v>
                </c:pt>
                <c:pt idx="446">
                  <c:v>All Others</c:v>
                </c:pt>
                <c:pt idx="447">
                  <c:v>All Others</c:v>
                </c:pt>
                <c:pt idx="448">
                  <c:v>O'Tapas Ape</c:v>
                </c:pt>
                <c:pt idx="449">
                  <c:v>Entremont</c:v>
                </c:pt>
                <c:pt idx="450">
                  <c:v>All Others</c:v>
                </c:pt>
                <c:pt idx="451">
                  <c:v>Apericube</c:v>
                </c:pt>
                <c:pt idx="452">
                  <c:v>Apericube</c:v>
                </c:pt>
                <c:pt idx="453">
                  <c:v>All Others</c:v>
                </c:pt>
                <c:pt idx="454">
                  <c:v>All Others</c:v>
                </c:pt>
                <c:pt idx="455">
                  <c:v>All Others</c:v>
                </c:pt>
                <c:pt idx="456">
                  <c:v>Etoile Du V</c:v>
                </c:pt>
                <c:pt idx="457">
                  <c:v>All Others</c:v>
                </c:pt>
                <c:pt idx="458">
                  <c:v>All Others</c:v>
                </c:pt>
                <c:pt idx="459">
                  <c:v>Etoile Du V</c:v>
                </c:pt>
                <c:pt idx="460">
                  <c:v>St Moret</c:v>
                </c:pt>
                <c:pt idx="461">
                  <c:v>Salakis</c:v>
                </c:pt>
                <c:pt idx="462">
                  <c:v>Soignon</c:v>
                </c:pt>
                <c:pt idx="463">
                  <c:v>Violife</c:v>
                </c:pt>
                <c:pt idx="464">
                  <c:v>Violife</c:v>
                </c:pt>
                <c:pt idx="465">
                  <c:v>All Others</c:v>
                </c:pt>
                <c:pt idx="466">
                  <c:v>All Others</c:v>
                </c:pt>
                <c:pt idx="467">
                  <c:v>Lactalis: A</c:v>
                </c:pt>
                <c:pt idx="468">
                  <c:v>All Others</c:v>
                </c:pt>
                <c:pt idx="469">
                  <c:v>All Others</c:v>
                </c:pt>
                <c:pt idx="470">
                  <c:v>All Others</c:v>
                </c:pt>
                <c:pt idx="471">
                  <c:v>All Others</c:v>
                </c:pt>
                <c:pt idx="472">
                  <c:v>Etoile Du V</c:v>
                </c:pt>
                <c:pt idx="473">
                  <c:v>Etoile Du V</c:v>
                </c:pt>
                <c:pt idx="474">
                  <c:v>All Others</c:v>
                </c:pt>
                <c:pt idx="475">
                  <c:v>Nurishh</c:v>
                </c:pt>
                <c:pt idx="476">
                  <c:v>Etoile Du Q</c:v>
                </c:pt>
                <c:pt idx="477">
                  <c:v>All Others</c:v>
                </c:pt>
                <c:pt idx="478">
                  <c:v>Triballat R</c:v>
                </c:pt>
                <c:pt idx="479">
                  <c:v>O'Tapas Ape</c:v>
                </c:pt>
                <c:pt idx="480">
                  <c:v>All Others</c:v>
                </c:pt>
                <c:pt idx="481">
                  <c:v>All Others</c:v>
                </c:pt>
                <c:pt idx="482">
                  <c:v>All Others</c:v>
                </c:pt>
                <c:pt idx="483">
                  <c:v>All Others</c:v>
                </c:pt>
                <c:pt idx="484">
                  <c:v>Nurishh</c:v>
                </c:pt>
                <c:pt idx="485">
                  <c:v>All Others</c:v>
                </c:pt>
                <c:pt idx="486">
                  <c:v>All Others</c:v>
                </c:pt>
                <c:pt idx="487">
                  <c:v>All Others</c:v>
                </c:pt>
                <c:pt idx="488">
                  <c:v>All Others</c:v>
                </c:pt>
                <c:pt idx="489">
                  <c:v>All Others</c:v>
                </c:pt>
                <c:pt idx="490">
                  <c:v>All Others</c:v>
                </c:pt>
                <c:pt idx="491">
                  <c:v>All Others</c:v>
                </c:pt>
                <c:pt idx="492">
                  <c:v>All Others</c:v>
                </c:pt>
                <c:pt idx="493">
                  <c:v>All Others</c:v>
                </c:pt>
                <c:pt idx="494">
                  <c:v>Milleret: A</c:v>
                </c:pt>
                <c:pt idx="495">
                  <c:v>Lactalis: A</c:v>
                </c:pt>
                <c:pt idx="496">
                  <c:v>Lactalis: A</c:v>
                </c:pt>
                <c:pt idx="497">
                  <c:v>Salakis</c:v>
                </c:pt>
                <c:pt idx="498">
                  <c:v>All Others</c:v>
                </c:pt>
                <c:pt idx="499">
                  <c:v>All Others</c:v>
                </c:pt>
                <c:pt idx="500">
                  <c:v>Triballat N</c:v>
                </c:pt>
                <c:pt idx="501">
                  <c:v>All Others</c:v>
                </c:pt>
                <c:pt idx="502">
                  <c:v>Richesmonts</c:v>
                </c:pt>
                <c:pt idx="503">
                  <c:v>Boursin</c:v>
                </c:pt>
                <c:pt idx="504">
                  <c:v>All Others</c:v>
                </c:pt>
                <c:pt idx="505">
                  <c:v>All Others</c:v>
                </c:pt>
                <c:pt idx="506">
                  <c:v>All Others</c:v>
                </c:pt>
                <c:pt idx="507">
                  <c:v>All Others</c:v>
                </c:pt>
                <c:pt idx="508">
                  <c:v>All Others</c:v>
                </c:pt>
                <c:pt idx="509">
                  <c:v>Tartare</c:v>
                </c:pt>
                <c:pt idx="510">
                  <c:v>All Others</c:v>
                </c:pt>
                <c:pt idx="511">
                  <c:v>La Vache Qu</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Tartare</c:v>
                </c:pt>
                <c:pt idx="522">
                  <c:v>All Others</c:v>
                </c:pt>
                <c:pt idx="523">
                  <c:v>All Others</c:v>
                </c:pt>
                <c:pt idx="524">
                  <c:v>All Others</c:v>
                </c:pt>
                <c:pt idx="525">
                  <c:v>All Others</c:v>
                </c:pt>
                <c:pt idx="526">
                  <c:v>Islos</c:v>
                </c:pt>
                <c:pt idx="527">
                  <c:v>All Others</c:v>
                </c:pt>
                <c:pt idx="528">
                  <c:v>All Others</c:v>
                </c:pt>
                <c:pt idx="529">
                  <c:v>All Others</c:v>
                </c:pt>
                <c:pt idx="530">
                  <c:v>All Others</c:v>
                </c:pt>
                <c:pt idx="531">
                  <c:v>Triballat N</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All Others</c:v>
                </c:pt>
                <c:pt idx="542">
                  <c:v>All Others</c:v>
                </c:pt>
                <c:pt idx="543">
                  <c:v>All Others</c:v>
                </c:pt>
                <c:pt idx="544">
                  <c:v>All Others</c:v>
                </c:pt>
                <c:pt idx="545">
                  <c:v>All Others</c:v>
                </c:pt>
                <c:pt idx="546">
                  <c:v>All Others</c:v>
                </c:pt>
                <c:pt idx="547">
                  <c:v>All Others</c:v>
                </c:pt>
                <c:pt idx="548">
                  <c:v>All Others</c:v>
                </c:pt>
                <c:pt idx="549">
                  <c:v>All Others</c:v>
                </c:pt>
                <c:pt idx="550">
                  <c:v>All Others</c:v>
                </c:pt>
                <c:pt idx="551">
                  <c:v>All Others</c:v>
                </c:pt>
                <c:pt idx="552">
                  <c:v>All Others</c:v>
                </c:pt>
                <c:pt idx="553">
                  <c:v>Casa Azzurr</c:v>
                </c:pt>
                <c:pt idx="554">
                  <c:v>All Others</c:v>
                </c:pt>
                <c:pt idx="555">
                  <c:v>All Others</c:v>
                </c:pt>
                <c:pt idx="556">
                  <c:v>All Others</c:v>
                </c:pt>
                <c:pt idx="557">
                  <c:v>All Others</c:v>
                </c:pt>
                <c:pt idx="558">
                  <c:v>All Others</c:v>
                </c:pt>
                <c:pt idx="559">
                  <c:v>All Others</c:v>
                </c:pt>
                <c:pt idx="560">
                  <c:v>All Others</c:v>
                </c:pt>
                <c:pt idx="561">
                  <c:v>Eurial Autr</c:v>
                </c:pt>
                <c:pt idx="562">
                  <c:v>O'Tapas Ape</c:v>
                </c:pt>
                <c:pt idx="563">
                  <c:v>All Others</c:v>
                </c:pt>
                <c:pt idx="564">
                  <c:v>All Others</c:v>
                </c:pt>
                <c:pt idx="565">
                  <c:v>All Others</c:v>
                </c:pt>
                <c:pt idx="566">
                  <c:v>All Others</c:v>
                </c:pt>
                <c:pt idx="567">
                  <c:v>All Others</c:v>
                </c:pt>
                <c:pt idx="568">
                  <c:v>All Others</c:v>
                </c:pt>
                <c:pt idx="569">
                  <c:v>All Others</c:v>
                </c:pt>
                <c:pt idx="570">
                  <c:v>All Others</c:v>
                </c:pt>
                <c:pt idx="571">
                  <c:v>All Others</c:v>
                </c:pt>
                <c:pt idx="572">
                  <c:v>All Others</c:v>
                </c:pt>
                <c:pt idx="573">
                  <c:v>All Others</c:v>
                </c:pt>
                <c:pt idx="574">
                  <c:v>Apericube</c:v>
                </c:pt>
                <c:pt idx="575">
                  <c:v>All Others</c:v>
                </c:pt>
                <c:pt idx="576">
                  <c:v>All Others</c:v>
                </c:pt>
                <c:pt idx="577">
                  <c:v>All Others</c:v>
                </c:pt>
                <c:pt idx="578">
                  <c:v>All Others</c:v>
                </c:pt>
                <c:pt idx="579">
                  <c:v>All Others</c:v>
                </c:pt>
                <c:pt idx="580">
                  <c:v>All Others</c:v>
                </c:pt>
                <c:pt idx="581">
                  <c:v>All Others</c:v>
                </c:pt>
                <c:pt idx="582">
                  <c:v>All Others</c:v>
                </c:pt>
                <c:pt idx="583">
                  <c:v>All Others</c:v>
                </c:pt>
                <c:pt idx="584">
                  <c:v>All Others</c:v>
                </c:pt>
                <c:pt idx="585">
                  <c:v>All Others</c:v>
                </c:pt>
                <c:pt idx="586">
                  <c:v>All Others</c:v>
                </c:pt>
                <c:pt idx="587">
                  <c:v>All Others</c:v>
                </c:pt>
                <c:pt idx="588">
                  <c:v>All Others</c:v>
                </c:pt>
                <c:pt idx="589">
                  <c:v>All Others</c:v>
                </c:pt>
                <c:pt idx="590">
                  <c:v>All Others</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All Others</c:v>
                </c:pt>
                <c:pt idx="601">
                  <c:v>All Others</c:v>
                </c:pt>
                <c:pt idx="602">
                  <c:v>All Others</c:v>
                </c:pt>
                <c:pt idx="603">
                  <c:v>All Others</c:v>
                </c:pt>
                <c:pt idx="604">
                  <c:v>All Others</c:v>
                </c:pt>
                <c:pt idx="605">
                  <c:v>All Others</c:v>
                </c:pt>
                <c:pt idx="606">
                  <c:v>All Others</c:v>
                </c:pt>
                <c:pt idx="607">
                  <c:v>All Others</c:v>
                </c:pt>
                <c:pt idx="608">
                  <c:v>Triballat R</c:v>
                </c:pt>
                <c:pt idx="609">
                  <c:v>All Others</c:v>
                </c:pt>
                <c:pt idx="610">
                  <c:v>All Others</c:v>
                </c:pt>
                <c:pt idx="611">
                  <c:v>All Others</c:v>
                </c:pt>
                <c:pt idx="612">
                  <c:v>All Others</c:v>
                </c:pt>
                <c:pt idx="613">
                  <c:v>All Others</c:v>
                </c:pt>
                <c:pt idx="614">
                  <c:v>All Others</c:v>
                </c:pt>
                <c:pt idx="615">
                  <c:v>All Others</c:v>
                </c:pt>
                <c:pt idx="616">
                  <c:v>All Others</c:v>
                </c:pt>
                <c:pt idx="617">
                  <c:v>All Others</c:v>
                </c:pt>
                <c:pt idx="618">
                  <c:v>All Others</c:v>
                </c:pt>
                <c:pt idx="619">
                  <c:v>All Others</c:v>
                </c:pt>
                <c:pt idx="620">
                  <c:v>All Others</c:v>
                </c:pt>
                <c:pt idx="621">
                  <c:v>All Others</c:v>
                </c:pt>
                <c:pt idx="622">
                  <c:v>Kiri</c:v>
                </c:pt>
                <c:pt idx="623">
                  <c:v>All Others</c:v>
                </c:pt>
                <c:pt idx="624">
                  <c:v>All Others</c:v>
                </c:pt>
                <c:pt idx="625">
                  <c:v>All Others</c:v>
                </c:pt>
                <c:pt idx="626">
                  <c:v>All Others</c:v>
                </c:pt>
                <c:pt idx="627">
                  <c:v>All Others</c:v>
                </c:pt>
                <c:pt idx="628">
                  <c:v>All Others</c:v>
                </c:pt>
                <c:pt idx="629">
                  <c:v>All Others</c:v>
                </c:pt>
                <c:pt idx="630">
                  <c:v>All Others</c:v>
                </c:pt>
                <c:pt idx="631">
                  <c:v>All Others</c:v>
                </c:pt>
                <c:pt idx="632">
                  <c:v>Triballat N</c:v>
                </c:pt>
                <c:pt idx="633">
                  <c:v>Mini Babybe</c:v>
                </c:pt>
                <c:pt idx="634">
                  <c:v>Lactalis: A</c:v>
                </c:pt>
                <c:pt idx="635">
                  <c:v>All Others</c:v>
                </c:pt>
                <c:pt idx="636">
                  <c:v>All Others</c:v>
                </c:pt>
                <c:pt idx="637">
                  <c:v>All Others</c:v>
                </c:pt>
                <c:pt idx="638">
                  <c:v>All Others</c:v>
                </c:pt>
                <c:pt idx="639">
                  <c:v>All Others</c:v>
                </c:pt>
                <c:pt idx="640">
                  <c:v>Triballat R</c:v>
                </c:pt>
                <c:pt idx="641">
                  <c:v>Lactalis: A</c:v>
                </c:pt>
                <c:pt idx="642">
                  <c:v>Tartare</c:v>
                </c:pt>
                <c:pt idx="643">
                  <c:v>All Others</c:v>
                </c:pt>
                <c:pt idx="644">
                  <c:v>All Others</c:v>
                </c:pt>
                <c:pt idx="645">
                  <c:v>All Others</c:v>
                </c:pt>
                <c:pt idx="646">
                  <c:v>All Others</c:v>
                </c:pt>
                <c:pt idx="647">
                  <c:v>All Others</c:v>
                </c:pt>
                <c:pt idx="648">
                  <c:v>All Others</c:v>
                </c:pt>
                <c:pt idx="649">
                  <c:v>All Others</c:v>
                </c:pt>
                <c:pt idx="650">
                  <c:v>All Others</c:v>
                </c:pt>
                <c:pt idx="651">
                  <c:v>All Others</c:v>
                </c:pt>
                <c:pt idx="652">
                  <c:v>All Others</c:v>
                </c:pt>
                <c:pt idx="653">
                  <c:v>All Others</c:v>
                </c:pt>
                <c:pt idx="654">
                  <c:v>All Others</c:v>
                </c:pt>
                <c:pt idx="655">
                  <c:v>Soignon</c:v>
                </c:pt>
                <c:pt idx="656">
                  <c:v>Eurial Autr</c:v>
                </c:pt>
                <c:pt idx="657">
                  <c:v>All Others</c:v>
                </c:pt>
                <c:pt idx="658">
                  <c:v>All Others</c:v>
                </c:pt>
                <c:pt idx="659">
                  <c:v>All Others</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All Others</c:v>
                </c:pt>
                <c:pt idx="672">
                  <c:v>All Others</c:v>
                </c:pt>
                <c:pt idx="673">
                  <c:v>All Others</c:v>
                </c:pt>
                <c:pt idx="674">
                  <c:v>All Others</c:v>
                </c:pt>
                <c:pt idx="675">
                  <c:v>All Others</c:v>
                </c:pt>
                <c:pt idx="676">
                  <c:v>All Others</c:v>
                </c:pt>
                <c:pt idx="677">
                  <c:v>President</c:v>
                </c:pt>
                <c:pt idx="678">
                  <c:v>Lou Perac</c:v>
                </c:pt>
                <c:pt idx="679">
                  <c:v>All Others</c:v>
                </c:pt>
                <c:pt idx="680">
                  <c:v>All Others</c:v>
                </c:pt>
                <c:pt idx="681">
                  <c:v>All Others</c:v>
                </c:pt>
                <c:pt idx="682">
                  <c:v>All Others</c:v>
                </c:pt>
                <c:pt idx="683">
                  <c:v>All Others</c:v>
                </c:pt>
                <c:pt idx="684">
                  <c:v>All Others</c:v>
                </c:pt>
                <c:pt idx="685">
                  <c:v>All Others</c:v>
                </c:pt>
                <c:pt idx="686">
                  <c:v>Lactalis: A</c:v>
                </c:pt>
                <c:pt idx="687">
                  <c:v>All Others</c:v>
                </c:pt>
                <c:pt idx="688">
                  <c:v>All Others</c:v>
                </c:pt>
                <c:pt idx="689">
                  <c:v>All Others</c:v>
                </c:pt>
                <c:pt idx="690">
                  <c:v>All Others</c:v>
                </c:pt>
                <c:pt idx="691">
                  <c:v>All Others</c:v>
                </c:pt>
                <c:pt idx="692">
                  <c:v>All Others</c:v>
                </c:pt>
                <c:pt idx="693">
                  <c:v>All Others</c:v>
                </c:pt>
                <c:pt idx="694">
                  <c:v>All Others</c:v>
                </c:pt>
                <c:pt idx="695">
                  <c:v>All Others</c:v>
                </c:pt>
                <c:pt idx="696">
                  <c:v>All Others</c:v>
                </c:pt>
                <c:pt idx="697">
                  <c:v>All Others</c:v>
                </c:pt>
                <c:pt idx="698">
                  <c:v>All Others</c:v>
                </c:pt>
                <c:pt idx="699">
                  <c:v>All Others</c:v>
                </c:pt>
                <c:pt idx="700">
                  <c:v>All Others</c:v>
                </c:pt>
                <c:pt idx="701">
                  <c:v>All Others</c:v>
                </c:pt>
                <c:pt idx="702">
                  <c:v>Eurial Autr</c:v>
                </c:pt>
                <c:pt idx="703">
                  <c:v>All Others</c:v>
                </c:pt>
                <c:pt idx="704">
                  <c:v>Eurial Autr</c:v>
                </c:pt>
                <c:pt idx="705">
                  <c:v>All Others</c:v>
                </c:pt>
                <c:pt idx="706">
                  <c:v>All Others</c:v>
                </c:pt>
                <c:pt idx="707">
                  <c:v>All Others</c:v>
                </c:pt>
                <c:pt idx="708">
                  <c:v>All Others</c:v>
                </c:pt>
                <c:pt idx="709">
                  <c:v>Apericube</c:v>
                </c:pt>
                <c:pt idx="710">
                  <c:v>All Others</c:v>
                </c:pt>
                <c:pt idx="711">
                  <c:v>All Others</c:v>
                </c:pt>
                <c:pt idx="712">
                  <c:v>Savencia: A</c:v>
                </c:pt>
                <c:pt idx="713">
                  <c:v>All Others</c:v>
                </c:pt>
                <c:pt idx="714">
                  <c:v>All Others</c:v>
                </c:pt>
                <c:pt idx="715">
                  <c:v>Milleret: A</c:v>
                </c:pt>
                <c:pt idx="716">
                  <c:v>All Others</c:v>
                </c:pt>
                <c:pt idx="717">
                  <c:v>All Others</c:v>
                </c:pt>
                <c:pt idx="718">
                  <c:v>All Others</c:v>
                </c:pt>
                <c:pt idx="719">
                  <c:v>All Others</c:v>
                </c:pt>
                <c:pt idx="720">
                  <c:v>Lactalis: A</c:v>
                </c:pt>
                <c:pt idx="721">
                  <c:v>All Others</c:v>
                </c:pt>
                <c:pt idx="722">
                  <c:v>All Others</c:v>
                </c:pt>
                <c:pt idx="723">
                  <c:v>All Others</c:v>
                </c:pt>
                <c:pt idx="724">
                  <c:v>All Others</c:v>
                </c:pt>
                <c:pt idx="725">
                  <c:v>All Others</c:v>
                </c:pt>
                <c:pt idx="726">
                  <c:v>All Others</c:v>
                </c:pt>
                <c:pt idx="727">
                  <c:v>Lactalis: A</c:v>
                </c:pt>
                <c:pt idx="728">
                  <c:v>All Others</c:v>
                </c:pt>
                <c:pt idx="729">
                  <c:v>All Others</c:v>
                </c:pt>
                <c:pt idx="730">
                  <c:v>All Others</c:v>
                </c:pt>
                <c:pt idx="731">
                  <c:v>All Others</c:v>
                </c:pt>
                <c:pt idx="732">
                  <c:v>Violife</c:v>
                </c:pt>
                <c:pt idx="733">
                  <c:v>All Others</c:v>
                </c:pt>
                <c:pt idx="734">
                  <c:v>All Others</c:v>
                </c:pt>
                <c:pt idx="735">
                  <c:v>All Others</c:v>
                </c:pt>
                <c:pt idx="736">
                  <c:v>All Others</c:v>
                </c:pt>
                <c:pt idx="737">
                  <c:v>All Others</c:v>
                </c:pt>
                <c:pt idx="738">
                  <c:v>All Others</c:v>
                </c:pt>
                <c:pt idx="739">
                  <c:v>All Others</c:v>
                </c:pt>
                <c:pt idx="740">
                  <c:v>All Others</c:v>
                </c:pt>
                <c:pt idx="741">
                  <c:v>All Others</c:v>
                </c:pt>
                <c:pt idx="742">
                  <c:v>Corsica</c:v>
                </c:pt>
                <c:pt idx="743">
                  <c:v>All Others</c:v>
                </c:pt>
                <c:pt idx="744">
                  <c:v>All Others</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All Others</c:v>
                </c:pt>
                <c:pt idx="756">
                  <c:v>Savencia: A</c:v>
                </c:pt>
                <c:pt idx="757">
                  <c:v>All Others</c:v>
                </c:pt>
                <c:pt idx="758">
                  <c:v>All Others</c:v>
                </c:pt>
                <c:pt idx="759">
                  <c:v>All Others</c:v>
                </c:pt>
                <c:pt idx="760">
                  <c:v>All Others</c:v>
                </c:pt>
                <c:pt idx="761">
                  <c:v>All Others</c:v>
                </c:pt>
                <c:pt idx="762">
                  <c:v>All Others</c:v>
                </c:pt>
                <c:pt idx="763">
                  <c:v>Kiri</c:v>
                </c:pt>
                <c:pt idx="764">
                  <c:v>All Others</c:v>
                </c:pt>
                <c:pt idx="765">
                  <c:v>All Others</c:v>
                </c:pt>
                <c:pt idx="766">
                  <c:v>All Others</c:v>
                </c:pt>
                <c:pt idx="767">
                  <c:v>All Others</c:v>
                </c:pt>
                <c:pt idx="768">
                  <c:v>Apericube</c:v>
                </c:pt>
                <c:pt idx="769">
                  <c:v>All Others</c:v>
                </c:pt>
                <c:pt idx="770">
                  <c:v>All Others</c:v>
                </c:pt>
                <c:pt idx="771">
                  <c:v>All Others</c:v>
                </c:pt>
                <c:pt idx="772">
                  <c:v>Savencia: A</c:v>
                </c:pt>
                <c:pt idx="773">
                  <c:v>All Others</c:v>
                </c:pt>
                <c:pt idx="774">
                  <c:v>All Others</c:v>
                </c:pt>
                <c:pt idx="775">
                  <c:v>All Others</c:v>
                </c:pt>
                <c:pt idx="776">
                  <c:v>All Others</c:v>
                </c:pt>
                <c:pt idx="777">
                  <c:v>Etorki</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All Others</c:v>
                </c:pt>
                <c:pt idx="788">
                  <c:v>All Others</c:v>
                </c:pt>
                <c:pt idx="789">
                  <c:v>All Others</c:v>
                </c:pt>
                <c:pt idx="790">
                  <c:v>All Others</c:v>
                </c:pt>
                <c:pt idx="791">
                  <c:v>All Others</c:v>
                </c:pt>
                <c:pt idx="792">
                  <c:v>Caprice Des</c:v>
                </c:pt>
                <c:pt idx="793">
                  <c:v>All Others</c:v>
                </c:pt>
                <c:pt idx="794">
                  <c:v>All Others</c:v>
                </c:pt>
                <c:pt idx="795">
                  <c:v>All Others</c:v>
                </c:pt>
                <c:pt idx="796">
                  <c:v>All Others</c:v>
                </c:pt>
                <c:pt idx="797">
                  <c:v>All Others</c:v>
                </c:pt>
                <c:pt idx="798">
                  <c:v>All Others</c:v>
                </c:pt>
                <c:pt idx="799">
                  <c:v>Nurishh</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All Others</c:v>
                </c:pt>
                <c:pt idx="810">
                  <c:v>All Others</c:v>
                </c:pt>
                <c:pt idx="811">
                  <c:v>All Others</c:v>
                </c:pt>
                <c:pt idx="812">
                  <c:v>Petit Billy</c:v>
                </c:pt>
                <c:pt idx="813">
                  <c:v>Mini Babybe</c:v>
                </c:pt>
                <c:pt idx="814">
                  <c:v>All Others</c:v>
                </c:pt>
                <c:pt idx="815">
                  <c:v>All Others</c:v>
                </c:pt>
                <c:pt idx="816">
                  <c:v>All Others</c:v>
                </c:pt>
                <c:pt idx="817">
                  <c:v>All Others</c:v>
                </c:pt>
                <c:pt idx="818">
                  <c:v>All Others</c:v>
                </c:pt>
                <c:pt idx="819">
                  <c:v>All Others</c:v>
                </c:pt>
                <c:pt idx="820">
                  <c:v>Soignon</c:v>
                </c:pt>
                <c:pt idx="821">
                  <c:v>All Others</c:v>
                </c:pt>
                <c:pt idx="822">
                  <c:v>Soignon</c:v>
                </c:pt>
                <c:pt idx="823">
                  <c:v>All Others</c:v>
                </c:pt>
                <c:pt idx="824">
                  <c:v>Mini Babybe</c:v>
                </c:pt>
                <c:pt idx="825">
                  <c:v>All Others</c:v>
                </c:pt>
                <c:pt idx="826">
                  <c:v>All Others</c:v>
                </c:pt>
                <c:pt idx="827">
                  <c:v>All Others</c:v>
                </c:pt>
                <c:pt idx="828">
                  <c:v>All Others</c:v>
                </c:pt>
                <c:pt idx="829">
                  <c:v>La Vache Qu</c:v>
                </c:pt>
                <c:pt idx="830">
                  <c:v>All Others</c:v>
                </c:pt>
                <c:pt idx="831">
                  <c:v>All Others</c:v>
                </c:pt>
                <c:pt idx="832">
                  <c:v>All Others</c:v>
                </c:pt>
                <c:pt idx="833">
                  <c:v>All Others</c:v>
                </c:pt>
                <c:pt idx="834">
                  <c:v>All Others</c:v>
                </c:pt>
                <c:pt idx="835">
                  <c:v>All Others</c:v>
                </c:pt>
                <c:pt idx="836">
                  <c:v>All Others</c:v>
                </c:pt>
                <c:pt idx="837">
                  <c:v>All Others</c:v>
                </c:pt>
                <c:pt idx="838">
                  <c:v>All Others</c:v>
                </c:pt>
                <c:pt idx="839">
                  <c:v>Eurial Autr</c:v>
                </c:pt>
                <c:pt idx="840">
                  <c:v>All Others</c:v>
                </c:pt>
                <c:pt idx="841">
                  <c:v>All Others</c:v>
                </c:pt>
                <c:pt idx="842">
                  <c:v>All Others</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President</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Triballat R</c:v>
                </c:pt>
                <c:pt idx="868">
                  <c:v>All Others</c:v>
                </c:pt>
                <c:pt idx="869">
                  <c:v>All Others</c:v>
                </c:pt>
                <c:pt idx="870">
                  <c:v>All Others</c:v>
                </c:pt>
                <c:pt idx="871">
                  <c:v>Triballat R</c:v>
                </c:pt>
                <c:pt idx="872">
                  <c:v>All Others</c:v>
                </c:pt>
                <c:pt idx="873">
                  <c:v>Eurial Autr</c:v>
                </c:pt>
                <c:pt idx="874">
                  <c:v>Apericube</c:v>
                </c:pt>
                <c:pt idx="875">
                  <c:v>All Others</c:v>
                </c:pt>
                <c:pt idx="876">
                  <c:v>Lactalis: A</c:v>
                </c:pt>
                <c:pt idx="877">
                  <c:v>All Others</c:v>
                </c:pt>
                <c:pt idx="878">
                  <c:v>All Others</c:v>
                </c:pt>
                <c:pt idx="879">
                  <c:v>All Others</c:v>
                </c:pt>
                <c:pt idx="880">
                  <c:v>All Others</c:v>
                </c:pt>
                <c:pt idx="881">
                  <c:v>Lactalis: A</c:v>
                </c:pt>
                <c:pt idx="882">
                  <c:v>All Others</c:v>
                </c:pt>
                <c:pt idx="883">
                  <c:v>All Others</c:v>
                </c:pt>
                <c:pt idx="884">
                  <c:v>All Others</c:v>
                </c:pt>
                <c:pt idx="885">
                  <c:v>All Others</c:v>
                </c:pt>
                <c:pt idx="886">
                  <c:v>Soignon</c:v>
                </c:pt>
                <c:pt idx="887">
                  <c:v>All Others</c:v>
                </c:pt>
                <c:pt idx="888">
                  <c:v>Triballat R</c:v>
                </c:pt>
                <c:pt idx="889">
                  <c:v>All Others</c:v>
                </c:pt>
                <c:pt idx="890">
                  <c:v>All Others</c:v>
                </c:pt>
                <c:pt idx="891">
                  <c:v>All Others</c:v>
                </c:pt>
                <c:pt idx="892">
                  <c:v>All Others</c:v>
                </c:pt>
                <c:pt idx="893">
                  <c:v>All Others</c:v>
                </c:pt>
                <c:pt idx="894">
                  <c:v>All Others</c:v>
                </c:pt>
                <c:pt idx="895">
                  <c:v>All Others</c:v>
                </c:pt>
                <c:pt idx="896">
                  <c:v>All Others</c:v>
                </c:pt>
                <c:pt idx="897">
                  <c:v>All Others</c:v>
                </c:pt>
                <c:pt idx="898">
                  <c:v>All Others</c:v>
                </c:pt>
                <c:pt idx="899">
                  <c:v>All Others</c:v>
                </c:pt>
                <c:pt idx="900">
                  <c:v>All Others</c:v>
                </c:pt>
                <c:pt idx="901">
                  <c:v>Salakis</c:v>
                </c:pt>
                <c:pt idx="902">
                  <c:v>Societe</c:v>
                </c:pt>
                <c:pt idx="903">
                  <c:v>All Others</c:v>
                </c:pt>
                <c:pt idx="904">
                  <c:v>All Others</c:v>
                </c:pt>
                <c:pt idx="905">
                  <c:v>Lactalis: A</c:v>
                </c:pt>
                <c:pt idx="906">
                  <c:v>All Others</c:v>
                </c:pt>
                <c:pt idx="907">
                  <c:v>All Others</c:v>
                </c:pt>
                <c:pt idx="908">
                  <c:v>Lactalis: A</c:v>
                </c:pt>
                <c:pt idx="909">
                  <c:v>All Others</c:v>
                </c:pt>
                <c:pt idx="910">
                  <c:v>All Others</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All Others</c:v>
                </c:pt>
                <c:pt idx="922">
                  <c:v>All Others</c:v>
                </c:pt>
                <c:pt idx="923">
                  <c:v>All Others</c:v>
                </c:pt>
                <c:pt idx="924">
                  <c:v>All Others</c:v>
                </c:pt>
                <c:pt idx="925">
                  <c:v>All Others</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All Others</c:v>
                </c:pt>
                <c:pt idx="936">
                  <c:v>All Others</c:v>
                </c:pt>
                <c:pt idx="937">
                  <c:v>All Others</c:v>
                </c:pt>
                <c:pt idx="938">
                  <c:v>All Others</c:v>
                </c:pt>
                <c:pt idx="939">
                  <c:v>All Others</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All Others</c:v>
                </c:pt>
                <c:pt idx="950">
                  <c:v>All Others</c:v>
                </c:pt>
                <c:pt idx="951">
                  <c:v>All Others</c:v>
                </c:pt>
                <c:pt idx="952">
                  <c:v>All Others</c:v>
                </c:pt>
                <c:pt idx="953">
                  <c:v>All Others</c:v>
                </c:pt>
                <c:pt idx="954">
                  <c:v>All Others</c:v>
                </c:pt>
                <c:pt idx="955">
                  <c:v>All Others</c:v>
                </c:pt>
                <c:pt idx="956">
                  <c:v>All Others</c:v>
                </c:pt>
                <c:pt idx="957">
                  <c:v>All Others</c:v>
                </c:pt>
                <c:pt idx="958">
                  <c:v>All Others</c:v>
                </c:pt>
                <c:pt idx="959">
                  <c:v>All Others</c:v>
                </c:pt>
                <c:pt idx="960">
                  <c:v>All Others</c:v>
                </c:pt>
                <c:pt idx="961">
                  <c:v>All Others</c:v>
                </c:pt>
                <c:pt idx="962">
                  <c:v>All Others</c:v>
                </c:pt>
                <c:pt idx="963">
                  <c:v>All Others</c:v>
                </c:pt>
                <c:pt idx="964">
                  <c:v>All Others</c:v>
                </c:pt>
                <c:pt idx="965">
                  <c:v>All Others</c:v>
                </c:pt>
                <c:pt idx="966">
                  <c:v>All Others</c:v>
                </c:pt>
                <c:pt idx="967">
                  <c:v>All Others</c:v>
                </c:pt>
                <c:pt idx="968">
                  <c:v>All Others</c:v>
                </c:pt>
                <c:pt idx="969">
                  <c:v>Limiano</c:v>
                </c:pt>
                <c:pt idx="970">
                  <c:v>All Others</c:v>
                </c:pt>
                <c:pt idx="971">
                  <c:v>Petit Billy</c:v>
                </c:pt>
                <c:pt idx="972">
                  <c:v>Mini Babybe</c:v>
                </c:pt>
                <c:pt idx="973">
                  <c:v>Petit Billy</c:v>
                </c:pt>
                <c:pt idx="974">
                  <c:v>All Others</c:v>
                </c:pt>
                <c:pt idx="975">
                  <c:v>All Others</c:v>
                </c:pt>
                <c:pt idx="976">
                  <c:v>All Others</c:v>
                </c:pt>
                <c:pt idx="977">
                  <c:v>All Others</c:v>
                </c:pt>
                <c:pt idx="978">
                  <c:v>Savencia: A</c:v>
                </c:pt>
                <c:pt idx="979">
                  <c:v>All Others</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All Others</c:v>
                </c:pt>
                <c:pt idx="991">
                  <c:v>Mini Babybe</c:v>
                </c:pt>
                <c:pt idx="992">
                  <c:v>All Others</c:v>
                </c:pt>
                <c:pt idx="993">
                  <c:v>All Others</c:v>
                </c:pt>
                <c:pt idx="994">
                  <c:v>All Others</c:v>
                </c:pt>
                <c:pt idx="995">
                  <c:v>All Others</c:v>
                </c:pt>
                <c:pt idx="996">
                  <c:v>All Others</c:v>
                </c:pt>
                <c:pt idx="997">
                  <c:v>All Others</c:v>
                </c:pt>
                <c:pt idx="998">
                  <c:v>President</c:v>
                </c:pt>
                <c:pt idx="999">
                  <c:v>All Others</c:v>
                </c:pt>
                <c:pt idx="1000">
                  <c:v>All Others</c:v>
                </c:pt>
                <c:pt idx="1001">
                  <c:v>All Others</c:v>
                </c:pt>
                <c:pt idx="1002">
                  <c:v>All Others</c:v>
                </c:pt>
                <c:pt idx="1003">
                  <c:v>All Others</c:v>
                </c:pt>
                <c:pt idx="1004">
                  <c:v>All Others</c:v>
                </c:pt>
                <c:pt idx="1005">
                  <c:v>All Others</c:v>
                </c:pt>
                <c:pt idx="1006">
                  <c:v>All Others</c:v>
                </c:pt>
                <c:pt idx="1007">
                  <c:v>All Others</c:v>
                </c:pt>
                <c:pt idx="1008">
                  <c:v>Le Brebiou</c:v>
                </c:pt>
                <c:pt idx="1009">
                  <c:v>All Others</c:v>
                </c:pt>
                <c:pt idx="1010">
                  <c:v>All Others</c:v>
                </c:pt>
                <c:pt idx="1011">
                  <c:v>All Others</c:v>
                </c:pt>
                <c:pt idx="1012">
                  <c:v>All Others</c:v>
                </c:pt>
                <c:pt idx="1013">
                  <c:v>All Others</c:v>
                </c:pt>
                <c:pt idx="1014">
                  <c:v>Boursin</c:v>
                </c:pt>
                <c:pt idx="1015">
                  <c:v>Lactalis: A</c:v>
                </c:pt>
                <c:pt idx="1016">
                  <c:v>All Others</c:v>
                </c:pt>
                <c:pt idx="1017">
                  <c:v>All Others</c:v>
                </c:pt>
                <c:pt idx="1018">
                  <c:v>All Others</c:v>
                </c:pt>
                <c:pt idx="1019">
                  <c:v>All Others</c:v>
                </c:pt>
                <c:pt idx="1020">
                  <c:v>All Others</c:v>
                </c:pt>
                <c:pt idx="1021">
                  <c:v>All Others</c:v>
                </c:pt>
                <c:pt idx="1022">
                  <c:v>Boursin</c:v>
                </c:pt>
              </c:strCache>
            </c:strRef>
          </c:cat>
          <c:val>
            <c:numRef>
              <c:f>Sheet1!$C$2:$C$1024</c:f>
              <c:numCache>
                <c:formatCode>General</c:formatCode>
                <c:ptCount val="1023"/>
                <c:pt idx="0">
                  <c:v>0.14411733348458727</c:v>
                </c:pt>
                <c:pt idx="1">
                  <c:v>0.17947194247921414</c:v>
                </c:pt>
                <c:pt idx="2">
                  <c:v>0.19042166442468875</c:v>
                </c:pt>
                <c:pt idx="3">
                  <c:v>0.20126771906271601</c:v>
                </c:pt>
                <c:pt idx="4">
                  <c:v>0.21209149931976196</c:v>
                </c:pt>
                <c:pt idx="5">
                  <c:v>0.22209316605103332</c:v>
                </c:pt>
                <c:pt idx="6">
                  <c:v>0.23208046285863887</c:v>
                </c:pt>
                <c:pt idx="7">
                  <c:v>0.24095601922975587</c:v>
                </c:pt>
                <c:pt idx="8">
                  <c:v>0.24977500526855562</c:v>
                </c:pt>
                <c:pt idx="9">
                  <c:v>0.25850281524092489</c:v>
                </c:pt>
                <c:pt idx="10">
                  <c:v>0.27529689906140914</c:v>
                </c:pt>
                <c:pt idx="11">
                  <c:v>0.29127767318278752</c:v>
                </c:pt>
                <c:pt idx="12">
                  <c:v>0.32042076775344369</c:v>
                </c:pt>
                <c:pt idx="13">
                  <c:v>0.32735214740072122</c:v>
                </c:pt>
                <c:pt idx="14">
                  <c:v>0.34108070080179081</c:v>
                </c:pt>
                <c:pt idx="15">
                  <c:v>0.34762131445808886</c:v>
                </c:pt>
                <c:pt idx="16">
                  <c:v>0.36056802609442234</c:v>
                </c:pt>
                <c:pt idx="17">
                  <c:v>0.36698743474088535</c:v>
                </c:pt>
                <c:pt idx="18">
                  <c:v>0.37313896122899665</c:v>
                </c:pt>
                <c:pt idx="19">
                  <c:v>0.37909530458147445</c:v>
                </c:pt>
                <c:pt idx="20">
                  <c:v>0.40823758971971269</c:v>
                </c:pt>
                <c:pt idx="21">
                  <c:v>0.41392817942130805</c:v>
                </c:pt>
                <c:pt idx="22">
                  <c:v>0.41953044105942477</c:v>
                </c:pt>
                <c:pt idx="23">
                  <c:v>0.42508036939417715</c:v>
                </c:pt>
                <c:pt idx="24">
                  <c:v>0.43600542863338804</c:v>
                </c:pt>
                <c:pt idx="25">
                  <c:v>0.44134835212200857</c:v>
                </c:pt>
                <c:pt idx="26">
                  <c:v>0.44659302450528671</c:v>
                </c:pt>
                <c:pt idx="27">
                  <c:v>0.45173147137495723</c:v>
                </c:pt>
                <c:pt idx="28">
                  <c:v>0.45683258442347646</c:v>
                </c:pt>
                <c:pt idx="29">
                  <c:v>0.46193167888744741</c:v>
                </c:pt>
                <c:pt idx="30">
                  <c:v>0.46702670620334324</c:v>
                </c:pt>
                <c:pt idx="31">
                  <c:v>0.49111574472863889</c:v>
                </c:pt>
                <c:pt idx="32">
                  <c:v>0.49572941957370081</c:v>
                </c:pt>
                <c:pt idx="33">
                  <c:v>0.50027039539604445</c:v>
                </c:pt>
                <c:pt idx="34">
                  <c:v>0.50479890995634957</c:v>
                </c:pt>
                <c:pt idx="35">
                  <c:v>0.50928771236321391</c:v>
                </c:pt>
                <c:pt idx="36">
                  <c:v>0.51368003242446381</c:v>
                </c:pt>
                <c:pt idx="37">
                  <c:v>0.51805568417370074</c:v>
                </c:pt>
                <c:pt idx="38">
                  <c:v>0.5223687697949323</c:v>
                </c:pt>
                <c:pt idx="39">
                  <c:v>0.53074435674960385</c:v>
                </c:pt>
                <c:pt idx="40">
                  <c:v>0.53894387716389414</c:v>
                </c:pt>
                <c:pt idx="41">
                  <c:v>0.54711699609117115</c:v>
                </c:pt>
                <c:pt idx="42">
                  <c:v>0.55115610382843472</c:v>
                </c:pt>
                <c:pt idx="43">
                  <c:v>0.55509317311607953</c:v>
                </c:pt>
                <c:pt idx="44">
                  <c:v>0.55900526991468336</c:v>
                </c:pt>
                <c:pt idx="45">
                  <c:v>0.56289749065058114</c:v>
                </c:pt>
                <c:pt idx="46">
                  <c:v>0.5667605818124275</c:v>
                </c:pt>
                <c:pt idx="47">
                  <c:v>0.57051115187519374</c:v>
                </c:pt>
                <c:pt idx="48">
                  <c:v>0.5741762818494045</c:v>
                </c:pt>
                <c:pt idx="49">
                  <c:v>0.57768585090448743</c:v>
                </c:pt>
                <c:pt idx="50">
                  <c:v>0.58111053947861235</c:v>
                </c:pt>
                <c:pt idx="51">
                  <c:v>0.58450262091718685</c:v>
                </c:pt>
                <c:pt idx="52">
                  <c:v>0.58788742745699307</c:v>
                </c:pt>
                <c:pt idx="53">
                  <c:v>0.59446527500451418</c:v>
                </c:pt>
                <c:pt idx="54">
                  <c:v>0.5977272276906711</c:v>
                </c:pt>
                <c:pt idx="55">
                  <c:v>0.600956713143177</c:v>
                </c:pt>
                <c:pt idx="56">
                  <c:v>0.60413258618923837</c:v>
                </c:pt>
                <c:pt idx="57">
                  <c:v>0.60727666153216719</c:v>
                </c:pt>
                <c:pt idx="58">
                  <c:v>0.61037123158869788</c:v>
                </c:pt>
                <c:pt idx="59">
                  <c:v>0.61344437666863638</c:v>
                </c:pt>
                <c:pt idx="60">
                  <c:v>0.61649555715037074</c:v>
                </c:pt>
                <c:pt idx="61">
                  <c:v>0.61943234784336887</c:v>
                </c:pt>
                <c:pt idx="62">
                  <c:v>0.62526596725110395</c:v>
                </c:pt>
                <c:pt idx="63">
                  <c:v>0.6281724991618628</c:v>
                </c:pt>
                <c:pt idx="64">
                  <c:v>0.63103628104936549</c:v>
                </c:pt>
                <c:pt idx="65">
                  <c:v>0.6338901798669756</c:v>
                </c:pt>
                <c:pt idx="66">
                  <c:v>0.6367353548018595</c:v>
                </c:pt>
                <c:pt idx="67">
                  <c:v>0.6394590349301168</c:v>
                </c:pt>
                <c:pt idx="68">
                  <c:v>0.64214363246348038</c:v>
                </c:pt>
                <c:pt idx="69">
                  <c:v>0.64481829696198734</c:v>
                </c:pt>
                <c:pt idx="70">
                  <c:v>0.65000538972067401</c:v>
                </c:pt>
                <c:pt idx="71">
                  <c:v>0.65252191510790725</c:v>
                </c:pt>
                <c:pt idx="72">
                  <c:v>0.655022821447373</c:v>
                </c:pt>
                <c:pt idx="73">
                  <c:v>0.65750625004240792</c:v>
                </c:pt>
                <c:pt idx="74">
                  <c:v>0.65998274350043018</c:v>
                </c:pt>
                <c:pt idx="75">
                  <c:v>0.66244653586458646</c:v>
                </c:pt>
                <c:pt idx="76">
                  <c:v>0.66490316325289556</c:v>
                </c:pt>
                <c:pt idx="77">
                  <c:v>0.66974022145931067</c:v>
                </c:pt>
                <c:pt idx="78">
                  <c:v>0.67214146768144722</c:v>
                </c:pt>
                <c:pt idx="79">
                  <c:v>0.67454261397365567</c:v>
                </c:pt>
                <c:pt idx="80">
                  <c:v>0.67692807126714694</c:v>
                </c:pt>
                <c:pt idx="81">
                  <c:v>0.67928164092057031</c:v>
                </c:pt>
                <c:pt idx="82">
                  <c:v>0.68161270635417759</c:v>
                </c:pt>
                <c:pt idx="83">
                  <c:v>0.68388971968965662</c:v>
                </c:pt>
                <c:pt idx="84">
                  <c:v>0.686145817691177</c:v>
                </c:pt>
                <c:pt idx="85">
                  <c:v>0.6905947080847441</c:v>
                </c:pt>
                <c:pt idx="86">
                  <c:v>0.69500847310857172</c:v>
                </c:pt>
                <c:pt idx="87">
                  <c:v>0.69720404355262067</c:v>
                </c:pt>
                <c:pt idx="88">
                  <c:v>0.70156011902893589</c:v>
                </c:pt>
                <c:pt idx="89">
                  <c:v>0.70373240579972929</c:v>
                </c:pt>
                <c:pt idx="90">
                  <c:v>0.70588602565994707</c:v>
                </c:pt>
                <c:pt idx="91">
                  <c:v>0.7080374070897747</c:v>
                </c:pt>
                <c:pt idx="92">
                  <c:v>0.71017009163004818</c:v>
                </c:pt>
                <c:pt idx="93">
                  <c:v>0.71230160699016254</c:v>
                </c:pt>
                <c:pt idx="94">
                  <c:v>0.71442724647050249</c:v>
                </c:pt>
                <c:pt idx="95">
                  <c:v>0.71654499148651984</c:v>
                </c:pt>
                <c:pt idx="96">
                  <c:v>0.71865193407730577</c:v>
                </c:pt>
                <c:pt idx="97">
                  <c:v>0.72073783142522641</c:v>
                </c:pt>
                <c:pt idx="98">
                  <c:v>0.72282053101544674</c:v>
                </c:pt>
                <c:pt idx="99">
                  <c:v>0.72489976303716075</c:v>
                </c:pt>
                <c:pt idx="100">
                  <c:v>0.72902967710012068</c:v>
                </c:pt>
                <c:pt idx="101">
                  <c:v>0.73103354197003523</c:v>
                </c:pt>
                <c:pt idx="102">
                  <c:v>0.73301931952295729</c:v>
                </c:pt>
                <c:pt idx="103">
                  <c:v>0.73499251589792725</c:v>
                </c:pt>
                <c:pt idx="104">
                  <c:v>0.73888264809832693</c:v>
                </c:pt>
                <c:pt idx="105">
                  <c:v>0.74080879746313089</c:v>
                </c:pt>
                <c:pt idx="106">
                  <c:v>0.74272834145968503</c:v>
                </c:pt>
                <c:pt idx="107">
                  <c:v>0.74463154691298916</c:v>
                </c:pt>
                <c:pt idx="108">
                  <c:v>0.74841744220535122</c:v>
                </c:pt>
                <c:pt idx="109">
                  <c:v>0.75030562819045665</c:v>
                </c:pt>
                <c:pt idx="110">
                  <c:v>0.75215401208518584</c:v>
                </c:pt>
                <c:pt idx="111">
                  <c:v>0.75400120681377025</c:v>
                </c:pt>
                <c:pt idx="112">
                  <c:v>0.75583136348960756</c:v>
                </c:pt>
                <c:pt idx="113">
                  <c:v>0.75765968145476725</c:v>
                </c:pt>
                <c:pt idx="114">
                  <c:v>0.76306262285822579</c:v>
                </c:pt>
                <c:pt idx="115">
                  <c:v>0.76482428756131937</c:v>
                </c:pt>
                <c:pt idx="116">
                  <c:v>0.7682981816320581</c:v>
                </c:pt>
                <c:pt idx="117">
                  <c:v>0.77001318905170535</c:v>
                </c:pt>
                <c:pt idx="118">
                  <c:v>0.77170250448682909</c:v>
                </c:pt>
                <c:pt idx="119">
                  <c:v>0.77338363566083856</c:v>
                </c:pt>
                <c:pt idx="120">
                  <c:v>0.77505882100412404</c:v>
                </c:pt>
                <c:pt idx="121">
                  <c:v>0.77671566920559665</c:v>
                </c:pt>
                <c:pt idx="122">
                  <c:v>0.77837080860529817</c:v>
                </c:pt>
                <c:pt idx="123">
                  <c:v>0.7800127672474787</c:v>
                </c:pt>
                <c:pt idx="124">
                  <c:v>0.78164105547549034</c:v>
                </c:pt>
                <c:pt idx="125">
                  <c:v>0.78326869415896905</c:v>
                </c:pt>
                <c:pt idx="126">
                  <c:v>0.78649914893177786</c:v>
                </c:pt>
                <c:pt idx="127">
                  <c:v>0.78810199500008626</c:v>
                </c:pt>
                <c:pt idx="128">
                  <c:v>0.78970430144678283</c:v>
                </c:pt>
                <c:pt idx="129">
                  <c:v>0.79130087191560439</c:v>
                </c:pt>
                <c:pt idx="130">
                  <c:v>0.79447975285250261</c:v>
                </c:pt>
                <c:pt idx="131">
                  <c:v>0.79605309960602555</c:v>
                </c:pt>
                <c:pt idx="132">
                  <c:v>0.79761830207040552</c:v>
                </c:pt>
                <c:pt idx="133">
                  <c:v>0.79916325873134531</c:v>
                </c:pt>
                <c:pt idx="134">
                  <c:v>0.80070551728422545</c:v>
                </c:pt>
                <c:pt idx="135">
                  <c:v>0.80224600707737759</c:v>
                </c:pt>
                <c:pt idx="136">
                  <c:v>0.80377024826421495</c:v>
                </c:pt>
                <c:pt idx="137">
                  <c:v>0.80527409375271997</c:v>
                </c:pt>
                <c:pt idx="138">
                  <c:v>0.80677629039741072</c:v>
                </c:pt>
                <c:pt idx="139">
                  <c:v>0.80827395022336412</c:v>
                </c:pt>
                <c:pt idx="140">
                  <c:v>0.80973991227611308</c:v>
                </c:pt>
                <c:pt idx="141">
                  <c:v>0.8111890261429785</c:v>
                </c:pt>
                <c:pt idx="142">
                  <c:v>0.81263300361153779</c:v>
                </c:pt>
                <c:pt idx="143">
                  <c:v>0.81404712201757035</c:v>
                </c:pt>
                <c:pt idx="144">
                  <c:v>0.81545361577008613</c:v>
                </c:pt>
                <c:pt idx="145">
                  <c:v>0.81682444453125047</c:v>
                </c:pt>
                <c:pt idx="146">
                  <c:v>0.81818374137870808</c:v>
                </c:pt>
                <c:pt idx="147">
                  <c:v>0.81951494792336688</c:v>
                </c:pt>
                <c:pt idx="148">
                  <c:v>0.82211568426103954</c:v>
                </c:pt>
                <c:pt idx="149">
                  <c:v>0.82341118584237571</c:v>
                </c:pt>
                <c:pt idx="150">
                  <c:v>0.82469179786441971</c:v>
                </c:pt>
                <c:pt idx="151">
                  <c:v>0.82596082800779291</c:v>
                </c:pt>
                <c:pt idx="152">
                  <c:v>0.82721973524944603</c:v>
                </c:pt>
                <c:pt idx="153">
                  <c:v>0.8284610648167402</c:v>
                </c:pt>
                <c:pt idx="154">
                  <c:v>0.8296968882449941</c:v>
                </c:pt>
                <c:pt idx="155">
                  <c:v>0.83093179231790915</c:v>
                </c:pt>
                <c:pt idx="156">
                  <c:v>0.83215675336297479</c:v>
                </c:pt>
                <c:pt idx="157">
                  <c:v>0.83579156459698944</c:v>
                </c:pt>
                <c:pt idx="158">
                  <c:v>0.83699455105085818</c:v>
                </c:pt>
                <c:pt idx="159">
                  <c:v>0.83818547596240101</c:v>
                </c:pt>
                <c:pt idx="160">
                  <c:v>0.83936890612933368</c:v>
                </c:pt>
                <c:pt idx="161">
                  <c:v>0.8405407744035811</c:v>
                </c:pt>
                <c:pt idx="162">
                  <c:v>0.84169889231971717</c:v>
                </c:pt>
                <c:pt idx="163">
                  <c:v>0.84285203372543205</c:v>
                </c:pt>
                <c:pt idx="164">
                  <c:v>0.84400275682688608</c:v>
                </c:pt>
                <c:pt idx="165">
                  <c:v>0.84515284037680005</c:v>
                </c:pt>
                <c:pt idx="166">
                  <c:v>0.84629777753541502</c:v>
                </c:pt>
                <c:pt idx="167">
                  <c:v>0.84744019645984103</c:v>
                </c:pt>
                <c:pt idx="168">
                  <c:v>0.84856776579694615</c:v>
                </c:pt>
                <c:pt idx="169">
                  <c:v>0.84969506532324535</c:v>
                </c:pt>
                <c:pt idx="170">
                  <c:v>0.85080465726627896</c:v>
                </c:pt>
                <c:pt idx="171">
                  <c:v>0.85301619651284388</c:v>
                </c:pt>
                <c:pt idx="172">
                  <c:v>0.8541052728416314</c:v>
                </c:pt>
                <c:pt idx="173">
                  <c:v>0.8551851056520664</c:v>
                </c:pt>
                <c:pt idx="174">
                  <c:v>0.85625883274389236</c:v>
                </c:pt>
                <c:pt idx="175">
                  <c:v>0.85733125075365968</c:v>
                </c:pt>
                <c:pt idx="176">
                  <c:v>0.85838334301604435</c:v>
                </c:pt>
                <c:pt idx="177">
                  <c:v>0.85943350663081608</c:v>
                </c:pt>
                <c:pt idx="178">
                  <c:v>0.86047657522069021</c:v>
                </c:pt>
                <c:pt idx="179">
                  <c:v>0.86151033034126212</c:v>
                </c:pt>
                <c:pt idx="180">
                  <c:v>0.86254196694735752</c:v>
                </c:pt>
                <c:pt idx="181">
                  <c:v>0.86357039580275985</c:v>
                </c:pt>
                <c:pt idx="182">
                  <c:v>0.86456723680787861</c:v>
                </c:pt>
                <c:pt idx="183">
                  <c:v>0.86555413478514798</c:v>
                </c:pt>
                <c:pt idx="184">
                  <c:v>0.86653945386955278</c:v>
                </c:pt>
                <c:pt idx="185">
                  <c:v>0.86749249558717001</c:v>
                </c:pt>
                <c:pt idx="186">
                  <c:v>0.86844235953307247</c:v>
                </c:pt>
                <c:pt idx="187">
                  <c:v>0.86938443893757322</c:v>
                </c:pt>
                <c:pt idx="188">
                  <c:v>0.87031829410898842</c:v>
                </c:pt>
                <c:pt idx="189">
                  <c:v>0.87124731267188193</c:v>
                </c:pt>
                <c:pt idx="190">
                  <c:v>0.87216891643410788</c:v>
                </c:pt>
                <c:pt idx="191">
                  <c:v>0.87308551370693421</c:v>
                </c:pt>
                <c:pt idx="192">
                  <c:v>0.87400090182763013</c:v>
                </c:pt>
                <c:pt idx="193">
                  <c:v>0.87491155326973236</c:v>
                </c:pt>
                <c:pt idx="194">
                  <c:v>0.87581428026853347</c:v>
                </c:pt>
                <c:pt idx="195">
                  <c:v>0.87671341978291462</c:v>
                </c:pt>
                <c:pt idx="196">
                  <c:v>0.87761208962663351</c:v>
                </c:pt>
                <c:pt idx="197">
                  <c:v>0.8784951104436064</c:v>
                </c:pt>
                <c:pt idx="198">
                  <c:v>0.87937627256391604</c:v>
                </c:pt>
                <c:pt idx="199">
                  <c:v>0.88025520624682829</c:v>
                </c:pt>
                <c:pt idx="200">
                  <c:v>0.88112902351741995</c:v>
                </c:pt>
                <c:pt idx="201">
                  <c:v>0.88371982682023598</c:v>
                </c:pt>
                <c:pt idx="202">
                  <c:v>0.88457345824534439</c:v>
                </c:pt>
                <c:pt idx="203">
                  <c:v>0.8854176662782296</c:v>
                </c:pt>
                <c:pt idx="204">
                  <c:v>0.8862578771139894</c:v>
                </c:pt>
                <c:pt idx="205">
                  <c:v>0.88790408277811561</c:v>
                </c:pt>
                <c:pt idx="206">
                  <c:v>0.88872492719380292</c:v>
                </c:pt>
                <c:pt idx="207">
                  <c:v>0.88953493920528037</c:v>
                </c:pt>
                <c:pt idx="208">
                  <c:v>0.89034179343102871</c:v>
                </c:pt>
                <c:pt idx="209">
                  <c:v>0.89114463047366599</c:v>
                </c:pt>
                <c:pt idx="210">
                  <c:v>0.89194605850431663</c:v>
                </c:pt>
                <c:pt idx="211">
                  <c:v>0.89274317955506466</c:v>
                </c:pt>
                <c:pt idx="212">
                  <c:v>0.89353791228053026</c:v>
                </c:pt>
                <c:pt idx="213">
                  <c:v>0.89432797827835198</c:v>
                </c:pt>
                <c:pt idx="214">
                  <c:v>0.89511016979783664</c:v>
                </c:pt>
                <c:pt idx="215">
                  <c:v>0.89589024280284479</c:v>
                </c:pt>
                <c:pt idx="216">
                  <c:v>0.8966557959892949</c:v>
                </c:pt>
                <c:pt idx="217">
                  <c:v>0.89741242543316257</c:v>
                </c:pt>
                <c:pt idx="218">
                  <c:v>0.89816860519235364</c:v>
                </c:pt>
                <c:pt idx="219">
                  <c:v>0.89965807076420001</c:v>
                </c:pt>
                <c:pt idx="220">
                  <c:v>0.90039537375996637</c:v>
                </c:pt>
                <c:pt idx="221">
                  <c:v>0.90112749039246254</c:v>
                </c:pt>
                <c:pt idx="222">
                  <c:v>0.90185559983484043</c:v>
                </c:pt>
                <c:pt idx="223">
                  <c:v>0.90257949223425105</c:v>
                </c:pt>
                <c:pt idx="224">
                  <c:v>0.90328733588720311</c:v>
                </c:pt>
                <c:pt idx="225">
                  <c:v>0.90399394040904635</c:v>
                </c:pt>
                <c:pt idx="226">
                  <c:v>0.904699185883867</c:v>
                </c:pt>
                <c:pt idx="227">
                  <c:v>0.90539990453294306</c:v>
                </c:pt>
                <c:pt idx="228">
                  <c:v>0.90609919418404683</c:v>
                </c:pt>
                <c:pt idx="229">
                  <c:v>0.90679548593730652</c:v>
                </c:pt>
                <c:pt idx="230">
                  <c:v>0.90747250120742895</c:v>
                </c:pt>
                <c:pt idx="231">
                  <c:v>0.908149056799882</c:v>
                </c:pt>
                <c:pt idx="232">
                  <c:v>0.9088159291822987</c:v>
                </c:pt>
                <c:pt idx="233">
                  <c:v>0.90948265166982323</c:v>
                </c:pt>
                <c:pt idx="234">
                  <c:v>0.91014420778006322</c:v>
                </c:pt>
                <c:pt idx="235">
                  <c:v>0.91079746970626796</c:v>
                </c:pt>
                <c:pt idx="236">
                  <c:v>0.91145058173758053</c:v>
                </c:pt>
                <c:pt idx="237">
                  <c:v>0.9120996965717677</c:v>
                </c:pt>
                <c:pt idx="238">
                  <c:v>0.91274818184740758</c:v>
                </c:pt>
                <c:pt idx="239">
                  <c:v>0.91339460856652788</c:v>
                </c:pt>
                <c:pt idx="240">
                  <c:v>0.91404081543980631</c:v>
                </c:pt>
                <c:pt idx="241">
                  <c:v>0.91468677248826435</c:v>
                </c:pt>
                <c:pt idx="242">
                  <c:v>0.91533218991511045</c:v>
                </c:pt>
                <c:pt idx="243">
                  <c:v>0.9159774474540715</c:v>
                </c:pt>
                <c:pt idx="244">
                  <c:v>0.9166219954905428</c:v>
                </c:pt>
                <c:pt idx="245">
                  <c:v>0.91726577406656751</c:v>
                </c:pt>
                <c:pt idx="246">
                  <c:v>0.9179070543943888</c:v>
                </c:pt>
                <c:pt idx="247">
                  <c:v>0.91854302844302615</c:v>
                </c:pt>
                <c:pt idx="248">
                  <c:v>0.91979912765369864</c:v>
                </c:pt>
                <c:pt idx="249">
                  <c:v>0.92041494583583117</c:v>
                </c:pt>
                <c:pt idx="250">
                  <c:v>0.92102240987597161</c:v>
                </c:pt>
                <c:pt idx="251">
                  <c:v>0.92162205939573183</c:v>
                </c:pt>
                <c:pt idx="252">
                  <c:v>0.92221182584559946</c:v>
                </c:pt>
                <c:pt idx="253">
                  <c:v>0.92279370782413728</c:v>
                </c:pt>
                <c:pt idx="254">
                  <c:v>0.92336297864574446</c:v>
                </c:pt>
                <c:pt idx="255">
                  <c:v>0.92392744283780837</c:v>
                </c:pt>
                <c:pt idx="256">
                  <c:v>0.92448945874663291</c:v>
                </c:pt>
                <c:pt idx="257">
                  <c:v>0.9250445395184449</c:v>
                </c:pt>
                <c:pt idx="258">
                  <c:v>0.9255898771222637</c:v>
                </c:pt>
                <c:pt idx="259">
                  <c:v>0.92612543158611815</c:v>
                </c:pt>
                <c:pt idx="260">
                  <c:v>0.92665965698192831</c:v>
                </c:pt>
                <c:pt idx="261">
                  <c:v>0.92718776666613667</c:v>
                </c:pt>
                <c:pt idx="262">
                  <c:v>0.92771477712113548</c:v>
                </c:pt>
                <c:pt idx="263">
                  <c:v>0.92824073831188891</c:v>
                </c:pt>
                <c:pt idx="264">
                  <c:v>0.92928243786174758</c:v>
                </c:pt>
                <c:pt idx="265">
                  <c:v>0.9297967871948517</c:v>
                </c:pt>
                <c:pt idx="266">
                  <c:v>0.93030657972323283</c:v>
                </c:pt>
                <c:pt idx="267">
                  <c:v>0.93081112593038695</c:v>
                </c:pt>
                <c:pt idx="268">
                  <c:v>0.9313142031675975</c:v>
                </c:pt>
                <c:pt idx="269">
                  <c:v>0.93181583142085</c:v>
                </c:pt>
                <c:pt idx="270">
                  <c:v>0.93231620055700803</c:v>
                </c:pt>
                <c:pt idx="271">
                  <c:v>0.93281461106657459</c:v>
                </c:pt>
                <c:pt idx="272">
                  <c:v>0.93379047677977778</c:v>
                </c:pt>
                <c:pt idx="273">
                  <c:v>0.93426482416264944</c:v>
                </c:pt>
                <c:pt idx="274">
                  <c:v>0.93473564401905795</c:v>
                </c:pt>
                <c:pt idx="275">
                  <c:v>0.93519977856327419</c:v>
                </c:pt>
                <c:pt idx="276">
                  <c:v>0.93565526916870678</c:v>
                </c:pt>
                <c:pt idx="277">
                  <c:v>0.93611019017354902</c:v>
                </c:pt>
                <c:pt idx="278">
                  <c:v>0.93656409189312428</c:v>
                </c:pt>
                <c:pt idx="279">
                  <c:v>0.93701744399809472</c:v>
                </c:pt>
                <c:pt idx="280">
                  <c:v>0.93746840777778273</c:v>
                </c:pt>
                <c:pt idx="281">
                  <c:v>0.93791474480179815</c:v>
                </c:pt>
                <c:pt idx="282">
                  <c:v>0.9383582538088473</c:v>
                </c:pt>
                <c:pt idx="283">
                  <c:v>0.93879965429441281</c:v>
                </c:pt>
                <c:pt idx="284">
                  <c:v>0.93923907616740121</c:v>
                </c:pt>
                <c:pt idx="285">
                  <c:v>0.93967124312760708</c:v>
                </c:pt>
                <c:pt idx="286">
                  <c:v>0.94009846355637028</c:v>
                </c:pt>
                <c:pt idx="287">
                  <c:v>0.94052275603823909</c:v>
                </c:pt>
                <c:pt idx="288">
                  <c:v>0.94094074294164254</c:v>
                </c:pt>
                <c:pt idx="289">
                  <c:v>0.94135613166691445</c:v>
                </c:pt>
                <c:pt idx="290">
                  <c:v>0.94177073094575414</c:v>
                </c:pt>
                <c:pt idx="291">
                  <c:v>0.94259636200499908</c:v>
                </c:pt>
                <c:pt idx="292">
                  <c:v>0.94300691412174931</c:v>
                </c:pt>
                <c:pt idx="293">
                  <c:v>0.94341276953187714</c:v>
                </c:pt>
                <c:pt idx="294">
                  <c:v>0.94420624314024815</c:v>
                </c:pt>
                <c:pt idx="295">
                  <c:v>0.94459771863371733</c:v>
                </c:pt>
                <c:pt idx="296">
                  <c:v>0.94498307841558471</c:v>
                </c:pt>
                <c:pt idx="297">
                  <c:v>0.94574911126568995</c:v>
                </c:pt>
                <c:pt idx="298">
                  <c:v>0.94612845526588352</c:v>
                </c:pt>
                <c:pt idx="299">
                  <c:v>0.94650555084269405</c:v>
                </c:pt>
                <c:pt idx="300">
                  <c:v>0.94687699038557216</c:v>
                </c:pt>
                <c:pt idx="301">
                  <c:v>0.94724627144200257</c:v>
                </c:pt>
                <c:pt idx="302">
                  <c:v>0.94761237472671833</c:v>
                </c:pt>
                <c:pt idx="303">
                  <c:v>0.94797636948995045</c:v>
                </c:pt>
                <c:pt idx="304">
                  <c:v>0.94833908515010235</c:v>
                </c:pt>
                <c:pt idx="305">
                  <c:v>0.94869952240789279</c:v>
                </c:pt>
                <c:pt idx="306">
                  <c:v>0.9494140613660299</c:v>
                </c:pt>
                <c:pt idx="307">
                  <c:v>0.94976598459394324</c:v>
                </c:pt>
                <c:pt idx="308">
                  <c:v>0.95011698846651771</c:v>
                </c:pt>
                <c:pt idx="309">
                  <c:v>0.95046009787476959</c:v>
                </c:pt>
                <c:pt idx="310">
                  <c:v>0.95080303740214356</c:v>
                </c:pt>
                <c:pt idx="311">
                  <c:v>0.95113866205877806</c:v>
                </c:pt>
                <c:pt idx="312">
                  <c:v>0.95147380705175755</c:v>
                </c:pt>
                <c:pt idx="313">
                  <c:v>0.95180871221290952</c:v>
                </c:pt>
                <c:pt idx="314">
                  <c:v>0.95214155881754192</c:v>
                </c:pt>
                <c:pt idx="315">
                  <c:v>0.95247325622800072</c:v>
                </c:pt>
                <c:pt idx="316">
                  <c:v>0.95280445398881886</c:v>
                </c:pt>
                <c:pt idx="317">
                  <c:v>0.9531348822891903</c:v>
                </c:pt>
                <c:pt idx="318">
                  <c:v>0.95346490087685642</c:v>
                </c:pt>
                <c:pt idx="319">
                  <c:v>0.95378921346562606</c:v>
                </c:pt>
                <c:pt idx="320">
                  <c:v>0.95411259670606408</c:v>
                </c:pt>
                <c:pt idx="321">
                  <c:v>0.95443590000255951</c:v>
                </c:pt>
                <c:pt idx="322">
                  <c:v>0.95475649519800254</c:v>
                </c:pt>
                <c:pt idx="323">
                  <c:v>0.95507681058964677</c:v>
                </c:pt>
                <c:pt idx="324">
                  <c:v>0.95539576693426831</c:v>
                </c:pt>
                <c:pt idx="325">
                  <c:v>0.95571419365027077</c:v>
                </c:pt>
                <c:pt idx="326">
                  <c:v>0.95602698431832644</c:v>
                </c:pt>
                <c:pt idx="327">
                  <c:v>0.95633422887537056</c:v>
                </c:pt>
                <c:pt idx="328">
                  <c:v>0.95663811578682934</c:v>
                </c:pt>
                <c:pt idx="329">
                  <c:v>0.95693857510175306</c:v>
                </c:pt>
                <c:pt idx="330">
                  <c:v>0.95752252562980322</c:v>
                </c:pt>
                <c:pt idx="331">
                  <c:v>0.95781341165761169</c:v>
                </c:pt>
                <c:pt idx="332">
                  <c:v>0.95810356819694475</c:v>
                </c:pt>
                <c:pt idx="333">
                  <c:v>0.95839078679639067</c:v>
                </c:pt>
                <c:pt idx="334">
                  <c:v>0.95867744578823899</c:v>
                </c:pt>
                <c:pt idx="335">
                  <c:v>0.95896074713450197</c:v>
                </c:pt>
                <c:pt idx="336">
                  <c:v>0.95923927183020008</c:v>
                </c:pt>
                <c:pt idx="337">
                  <c:v>0.95951412909753564</c:v>
                </c:pt>
                <c:pt idx="338">
                  <c:v>0.95978666799053847</c:v>
                </c:pt>
                <c:pt idx="339">
                  <c:v>0.96005536957430093</c:v>
                </c:pt>
                <c:pt idx="340">
                  <c:v>0.96032353153645145</c:v>
                </c:pt>
                <c:pt idx="341">
                  <c:v>0.96059100398209785</c:v>
                </c:pt>
                <c:pt idx="342">
                  <c:v>0.96085755707240539</c:v>
                </c:pt>
                <c:pt idx="343">
                  <c:v>0.96112303091948903</c:v>
                </c:pt>
                <c:pt idx="344">
                  <c:v>0.96138582664449868</c:v>
                </c:pt>
                <c:pt idx="345">
                  <c:v>0.96164839253067358</c:v>
                </c:pt>
                <c:pt idx="346">
                  <c:v>0.96190879993040079</c:v>
                </c:pt>
                <c:pt idx="347">
                  <c:v>0.96216820803084668</c:v>
                </c:pt>
                <c:pt idx="348">
                  <c:v>0.96242751620136446</c:v>
                </c:pt>
                <c:pt idx="349">
                  <c:v>0.96268113835897129</c:v>
                </c:pt>
                <c:pt idx="350">
                  <c:v>0.96293277191100823</c:v>
                </c:pt>
                <c:pt idx="351">
                  <c:v>0.96343130233648855</c:v>
                </c:pt>
                <c:pt idx="352">
                  <c:v>0.96367807929401816</c:v>
                </c:pt>
                <c:pt idx="353">
                  <c:v>0.96392005961499727</c:v>
                </c:pt>
                <c:pt idx="354">
                  <c:v>0.9641601212813562</c:v>
                </c:pt>
                <c:pt idx="355">
                  <c:v>0.96439945345923972</c:v>
                </c:pt>
                <c:pt idx="356">
                  <c:v>0.96463633735388399</c:v>
                </c:pt>
                <c:pt idx="357">
                  <c:v>0.96510745700007694</c:v>
                </c:pt>
                <c:pt idx="358">
                  <c:v>0.9653402737466461</c:v>
                </c:pt>
                <c:pt idx="359">
                  <c:v>0.96557066219596155</c:v>
                </c:pt>
                <c:pt idx="360">
                  <c:v>0.96579645386858282</c:v>
                </c:pt>
                <c:pt idx="361">
                  <c:v>0.96602048677446883</c:v>
                </c:pt>
                <c:pt idx="362">
                  <c:v>0.96624300074544722</c:v>
                </c:pt>
                <c:pt idx="363">
                  <c:v>0.96646387586560423</c:v>
                </c:pt>
                <c:pt idx="364">
                  <c:v>0.96668428131509898</c:v>
                </c:pt>
                <c:pt idx="365">
                  <c:v>0.96690409717801773</c:v>
                </c:pt>
                <c:pt idx="366">
                  <c:v>0.96712223421814381</c:v>
                </c:pt>
                <c:pt idx="367">
                  <c:v>0.96733835267372159</c:v>
                </c:pt>
                <c:pt idx="368">
                  <c:v>0.96755376162680962</c:v>
                </c:pt>
                <c:pt idx="369">
                  <c:v>0.96776534326365005</c:v>
                </c:pt>
                <c:pt idx="370">
                  <c:v>0.96797643524384258</c:v>
                </c:pt>
                <c:pt idx="371">
                  <c:v>0.96818658788271073</c:v>
                </c:pt>
                <c:pt idx="372">
                  <c:v>0.96839539146754905</c:v>
                </c:pt>
                <c:pt idx="373">
                  <c:v>0.96860267611747963</c:v>
                </c:pt>
                <c:pt idx="374">
                  <c:v>0.9688094111528055</c:v>
                </c:pt>
                <c:pt idx="375">
                  <c:v>0.96901575646141169</c:v>
                </c:pt>
                <c:pt idx="376">
                  <c:v>0.9692217120432981</c:v>
                </c:pt>
                <c:pt idx="377">
                  <c:v>0.96942667831889595</c:v>
                </c:pt>
                <c:pt idx="378">
                  <c:v>0.9696278572502175</c:v>
                </c:pt>
                <c:pt idx="379">
                  <c:v>0.96982774708546615</c:v>
                </c:pt>
                <c:pt idx="380">
                  <c:v>0.97002656767048379</c:v>
                </c:pt>
                <c:pt idx="381">
                  <c:v>0.97022428902629188</c:v>
                </c:pt>
                <c:pt idx="382">
                  <c:v>0.97042178054326522</c:v>
                </c:pt>
                <c:pt idx="383">
                  <c:v>0.97061923208826739</c:v>
                </c:pt>
                <c:pt idx="384">
                  <c:v>0.97081481494361344</c:v>
                </c:pt>
                <c:pt idx="385">
                  <c:v>0.97100849913032483</c:v>
                </c:pt>
                <c:pt idx="386">
                  <c:v>0.97120081427702076</c:v>
                </c:pt>
                <c:pt idx="387">
                  <c:v>0.97139000161696609</c:v>
                </c:pt>
                <c:pt idx="388">
                  <c:v>0.97157794982580259</c:v>
                </c:pt>
                <c:pt idx="389">
                  <c:v>0.97176327987052191</c:v>
                </c:pt>
                <c:pt idx="390">
                  <c:v>0.97194635149886544</c:v>
                </c:pt>
                <c:pt idx="391">
                  <c:v>0.97212767435346659</c:v>
                </c:pt>
                <c:pt idx="392">
                  <c:v>0.97230895723609645</c:v>
                </c:pt>
                <c:pt idx="393">
                  <c:v>0.97248966052514318</c:v>
                </c:pt>
                <c:pt idx="394">
                  <c:v>0.97266946444483671</c:v>
                </c:pt>
                <c:pt idx="395">
                  <c:v>0.97284860882700452</c:v>
                </c:pt>
                <c:pt idx="396">
                  <c:v>0.97302629423222153</c:v>
                </c:pt>
                <c:pt idx="397">
                  <c:v>0.97320366985466134</c:v>
                </c:pt>
                <c:pt idx="398">
                  <c:v>0.97337994624789159</c:v>
                </c:pt>
                <c:pt idx="399">
                  <c:v>0.97355569301250278</c:v>
                </c:pt>
                <c:pt idx="400">
                  <c:v>0.9737307302746242</c:v>
                </c:pt>
                <c:pt idx="401">
                  <c:v>0.97406720433564786</c:v>
                </c:pt>
                <c:pt idx="402">
                  <c:v>0.97423442707738916</c:v>
                </c:pt>
                <c:pt idx="403">
                  <c:v>0.97440139000131731</c:v>
                </c:pt>
                <c:pt idx="404">
                  <c:v>0.97473401676010785</c:v>
                </c:pt>
                <c:pt idx="405">
                  <c:v>0.97489672266909744</c:v>
                </c:pt>
                <c:pt idx="406">
                  <c:v>0.97505815946799967</c:v>
                </c:pt>
                <c:pt idx="407">
                  <c:v>0.97538030357732874</c:v>
                </c:pt>
                <c:pt idx="408">
                  <c:v>0.97553906225415699</c:v>
                </c:pt>
                <c:pt idx="409">
                  <c:v>0.97569777096602117</c:v>
                </c:pt>
                <c:pt idx="410">
                  <c:v>0.97585537045568305</c:v>
                </c:pt>
                <c:pt idx="411">
                  <c:v>0.97601253025366108</c:v>
                </c:pt>
                <c:pt idx="412">
                  <c:v>0.97616657223788128</c:v>
                </c:pt>
                <c:pt idx="413">
                  <c:v>0.97631930514004295</c:v>
                </c:pt>
                <c:pt idx="414">
                  <c:v>0.97647074894613173</c:v>
                </c:pt>
                <c:pt idx="415">
                  <c:v>0.97662215278024922</c:v>
                </c:pt>
                <c:pt idx="416">
                  <c:v>0.97677234746223629</c:v>
                </c:pt>
                <c:pt idx="417">
                  <c:v>0.9769218326417336</c:v>
                </c:pt>
                <c:pt idx="418">
                  <c:v>0.97707118791232428</c:v>
                </c:pt>
                <c:pt idx="419">
                  <c:v>0.97722019342816646</c:v>
                </c:pt>
                <c:pt idx="420">
                  <c:v>0.97736545157170363</c:v>
                </c:pt>
                <c:pt idx="421">
                  <c:v>0.97751039993246358</c:v>
                </c:pt>
                <c:pt idx="422">
                  <c:v>0.97765285004502012</c:v>
                </c:pt>
                <c:pt idx="423">
                  <c:v>0.97779443076720196</c:v>
                </c:pt>
                <c:pt idx="424">
                  <c:v>0.97793585160149876</c:v>
                </c:pt>
                <c:pt idx="425">
                  <c:v>0.97807702261097518</c:v>
                </c:pt>
                <c:pt idx="426">
                  <c:v>0.97821714435620621</c:v>
                </c:pt>
                <c:pt idx="427">
                  <c:v>0.97835697630464569</c:v>
                </c:pt>
                <c:pt idx="428">
                  <c:v>0.97849566905190433</c:v>
                </c:pt>
                <c:pt idx="429">
                  <c:v>0.97863370226163737</c:v>
                </c:pt>
                <c:pt idx="430">
                  <c:v>0.97877172547837754</c:v>
                </c:pt>
                <c:pt idx="431">
                  <c:v>0.97890777008254071</c:v>
                </c:pt>
                <c:pt idx="432">
                  <c:v>0.97917082562536351</c:v>
                </c:pt>
                <c:pt idx="433">
                  <c:v>0.97930180378217013</c:v>
                </c:pt>
                <c:pt idx="434">
                  <c:v>0.97943250213517807</c:v>
                </c:pt>
                <c:pt idx="435">
                  <c:v>0.97956218120291894</c:v>
                </c:pt>
                <c:pt idx="436">
                  <c:v>0.97969035132874505</c:v>
                </c:pt>
                <c:pt idx="437">
                  <c:v>0.9798170424916347</c:v>
                </c:pt>
                <c:pt idx="438">
                  <c:v>0.97994326398386211</c:v>
                </c:pt>
                <c:pt idx="439">
                  <c:v>0.98006836626089444</c:v>
                </c:pt>
                <c:pt idx="440">
                  <c:v>0.98019176972914845</c:v>
                </c:pt>
                <c:pt idx="441">
                  <c:v>0.98031434377899895</c:v>
                </c:pt>
                <c:pt idx="442">
                  <c:v>0.9804361683543884</c:v>
                </c:pt>
                <c:pt idx="443">
                  <c:v>0.9805577331119647</c:v>
                </c:pt>
                <c:pt idx="444">
                  <c:v>0.98067848843712313</c:v>
                </c:pt>
                <c:pt idx="445">
                  <c:v>0.98079851427380615</c:v>
                </c:pt>
                <c:pt idx="446">
                  <c:v>0.98091718106346659</c:v>
                </c:pt>
                <c:pt idx="447">
                  <c:v>0.98103531822450785</c:v>
                </c:pt>
                <c:pt idx="448">
                  <c:v>0.98115290577094438</c:v>
                </c:pt>
                <c:pt idx="449">
                  <c:v>0.98126871456466014</c:v>
                </c:pt>
                <c:pt idx="450">
                  <c:v>0.98138316431135331</c:v>
                </c:pt>
                <c:pt idx="451">
                  <c:v>0.98149713439439135</c:v>
                </c:pt>
                <c:pt idx="452">
                  <c:v>0.98172391537330117</c:v>
                </c:pt>
                <c:pt idx="453">
                  <c:v>0.9818368461850866</c:v>
                </c:pt>
                <c:pt idx="454">
                  <c:v>0.98194855785174884</c:v>
                </c:pt>
                <c:pt idx="455">
                  <c:v>0.98205798112305676</c:v>
                </c:pt>
                <c:pt idx="456">
                  <c:v>0.98216644506705464</c:v>
                </c:pt>
                <c:pt idx="457">
                  <c:v>0.98227394968374238</c:v>
                </c:pt>
                <c:pt idx="458">
                  <c:v>0.98238131439853071</c:v>
                </c:pt>
                <c:pt idx="459">
                  <c:v>0.9824856712224822</c:v>
                </c:pt>
                <c:pt idx="460">
                  <c:v>0.98258903874014514</c:v>
                </c:pt>
                <c:pt idx="461">
                  <c:v>0.98269127704962012</c:v>
                </c:pt>
                <c:pt idx="462">
                  <c:v>0.98279199642418746</c:v>
                </c:pt>
                <c:pt idx="463">
                  <c:v>0.98289239602298484</c:v>
                </c:pt>
                <c:pt idx="464">
                  <c:v>0.98299201616834275</c:v>
                </c:pt>
                <c:pt idx="465">
                  <c:v>0.98309110668508148</c:v>
                </c:pt>
                <c:pt idx="466">
                  <c:v>0.98318997735597835</c:v>
                </c:pt>
                <c:pt idx="467">
                  <c:v>0.98328869813198305</c:v>
                </c:pt>
                <c:pt idx="468">
                  <c:v>0.98338702918126797</c:v>
                </c:pt>
                <c:pt idx="469">
                  <c:v>0.98348504045478291</c:v>
                </c:pt>
                <c:pt idx="470">
                  <c:v>0.98358281189647023</c:v>
                </c:pt>
                <c:pt idx="471">
                  <c:v>0.98367994378661749</c:v>
                </c:pt>
                <c:pt idx="472">
                  <c:v>0.98377630621631817</c:v>
                </c:pt>
                <c:pt idx="473">
                  <c:v>0.9838711197321327</c:v>
                </c:pt>
                <c:pt idx="474">
                  <c:v>0.98396475407479533</c:v>
                </c:pt>
                <c:pt idx="475">
                  <c:v>0.9840572991812413</c:v>
                </c:pt>
                <c:pt idx="476">
                  <c:v>0.98414954449790282</c:v>
                </c:pt>
                <c:pt idx="477">
                  <c:v>0.98424118024200269</c:v>
                </c:pt>
                <c:pt idx="478">
                  <c:v>0.98433099726141049</c:v>
                </c:pt>
                <c:pt idx="479">
                  <c:v>0.98442009478533576</c:v>
                </c:pt>
                <c:pt idx="480">
                  <c:v>0.98450893249144789</c:v>
                </c:pt>
                <c:pt idx="481">
                  <c:v>0.98459768026062466</c:v>
                </c:pt>
                <c:pt idx="482">
                  <c:v>0.98468587841519672</c:v>
                </c:pt>
                <c:pt idx="483">
                  <c:v>0.9847740365977975</c:v>
                </c:pt>
                <c:pt idx="484">
                  <c:v>0.98486217479441263</c:v>
                </c:pt>
                <c:pt idx="485">
                  <c:v>0.9849497034184661</c:v>
                </c:pt>
                <c:pt idx="486">
                  <c:v>0.98503664245594369</c:v>
                </c:pt>
                <c:pt idx="487">
                  <c:v>0.98512333166860089</c:v>
                </c:pt>
                <c:pt idx="488">
                  <c:v>0.98520964114753118</c:v>
                </c:pt>
                <c:pt idx="489">
                  <c:v>0.98529533106090705</c:v>
                </c:pt>
                <c:pt idx="490">
                  <c:v>0.98537985179412368</c:v>
                </c:pt>
                <c:pt idx="491">
                  <c:v>0.98546374296879313</c:v>
                </c:pt>
                <c:pt idx="492">
                  <c:v>0.98554750423455595</c:v>
                </c:pt>
                <c:pt idx="493">
                  <c:v>0.98563123552134035</c:v>
                </c:pt>
                <c:pt idx="494">
                  <c:v>0.98571415737570689</c:v>
                </c:pt>
                <c:pt idx="495">
                  <c:v>0.98579681941226027</c:v>
                </c:pt>
                <c:pt idx="496">
                  <c:v>0.98587867201639567</c:v>
                </c:pt>
                <c:pt idx="497">
                  <c:v>0.98596044467658861</c:v>
                </c:pt>
                <c:pt idx="498">
                  <c:v>0.98604052852099611</c:v>
                </c:pt>
                <c:pt idx="499">
                  <c:v>0.98612055240744667</c:v>
                </c:pt>
                <c:pt idx="500">
                  <c:v>0.98619983681242906</c:v>
                </c:pt>
                <c:pt idx="501">
                  <c:v>0.98627732247870503</c:v>
                </c:pt>
                <c:pt idx="502">
                  <c:v>0.98635447837621815</c:v>
                </c:pt>
                <c:pt idx="503">
                  <c:v>0.98643116460306901</c:v>
                </c:pt>
                <c:pt idx="504">
                  <c:v>0.9865072512503511</c:v>
                </c:pt>
                <c:pt idx="505">
                  <c:v>0.98658118940417827</c:v>
                </c:pt>
                <c:pt idx="506">
                  <c:v>0.98665421819565935</c:v>
                </c:pt>
                <c:pt idx="507">
                  <c:v>0.98672706711326985</c:v>
                </c:pt>
                <c:pt idx="508">
                  <c:v>0.98679985607292342</c:v>
                </c:pt>
                <c:pt idx="509">
                  <c:v>0.9868717756422023</c:v>
                </c:pt>
                <c:pt idx="510">
                  <c:v>0.98701516509608334</c:v>
                </c:pt>
                <c:pt idx="511">
                  <c:v>0.98708658501572144</c:v>
                </c:pt>
                <c:pt idx="512">
                  <c:v>0.98715719550294168</c:v>
                </c:pt>
                <c:pt idx="513">
                  <c:v>0.98722771605322657</c:v>
                </c:pt>
                <c:pt idx="514">
                  <c:v>0.98729789684175584</c:v>
                </c:pt>
                <c:pt idx="515">
                  <c:v>0.98736768790356544</c:v>
                </c:pt>
                <c:pt idx="516">
                  <c:v>0.98743746897238216</c:v>
                </c:pt>
                <c:pt idx="517">
                  <c:v>0.98750706017433543</c:v>
                </c:pt>
                <c:pt idx="518">
                  <c:v>0.98757601182474863</c:v>
                </c:pt>
                <c:pt idx="519">
                  <c:v>0.98764490351720502</c:v>
                </c:pt>
                <c:pt idx="520">
                  <c:v>0.98778214728050573</c:v>
                </c:pt>
                <c:pt idx="521">
                  <c:v>0.98785048935835729</c:v>
                </c:pt>
                <c:pt idx="522">
                  <c:v>0.98791851166043887</c:v>
                </c:pt>
                <c:pt idx="523">
                  <c:v>0.98805346702838526</c:v>
                </c:pt>
                <c:pt idx="524">
                  <c:v>0.98812065991206333</c:v>
                </c:pt>
                <c:pt idx="525">
                  <c:v>0.988187712893842</c:v>
                </c:pt>
                <c:pt idx="526">
                  <c:v>0.98825451605080028</c:v>
                </c:pt>
                <c:pt idx="527">
                  <c:v>0.98832125924980174</c:v>
                </c:pt>
                <c:pt idx="528">
                  <c:v>0.9883872030093781</c:v>
                </c:pt>
                <c:pt idx="529">
                  <c:v>0.98845307681800476</c:v>
                </c:pt>
                <c:pt idx="530">
                  <c:v>0.98851880073173926</c:v>
                </c:pt>
                <c:pt idx="531">
                  <c:v>0.98858450465948811</c:v>
                </c:pt>
                <c:pt idx="532">
                  <c:v>0.98864946910576867</c:v>
                </c:pt>
                <c:pt idx="533">
                  <c:v>0.98871384396547335</c:v>
                </c:pt>
                <c:pt idx="534">
                  <c:v>0.98877819883919238</c:v>
                </c:pt>
                <c:pt idx="535">
                  <c:v>0.98884204407027787</c:v>
                </c:pt>
                <c:pt idx="536">
                  <c:v>0.98890539964471547</c:v>
                </c:pt>
                <c:pt idx="537">
                  <c:v>0.98896794578673519</c:v>
                </c:pt>
                <c:pt idx="538">
                  <c:v>0.98903039199882681</c:v>
                </c:pt>
                <c:pt idx="539">
                  <c:v>0.98909262835806933</c:v>
                </c:pt>
                <c:pt idx="540">
                  <c:v>0.9891547048294268</c:v>
                </c:pt>
                <c:pt idx="541">
                  <c:v>0.9892166014269137</c:v>
                </c:pt>
                <c:pt idx="542">
                  <c:v>0.98933888567997263</c:v>
                </c:pt>
                <c:pt idx="543">
                  <c:v>0.98939945320941536</c:v>
                </c:pt>
                <c:pt idx="544">
                  <c:v>0.98945922129943298</c:v>
                </c:pt>
                <c:pt idx="545">
                  <c:v>0.98957787809610065</c:v>
                </c:pt>
                <c:pt idx="546">
                  <c:v>0.98963684674669317</c:v>
                </c:pt>
                <c:pt idx="547">
                  <c:v>0.98969532574063779</c:v>
                </c:pt>
                <c:pt idx="548">
                  <c:v>0.9897534949518052</c:v>
                </c:pt>
                <c:pt idx="549">
                  <c:v>0.98981160420501579</c:v>
                </c:pt>
                <c:pt idx="550">
                  <c:v>0.98986914385763602</c:v>
                </c:pt>
                <c:pt idx="551">
                  <c:v>0.98992633375550776</c:v>
                </c:pt>
                <c:pt idx="552">
                  <c:v>0.98998286411585379</c:v>
                </c:pt>
                <c:pt idx="553">
                  <c:v>0.99003874493166688</c:v>
                </c:pt>
                <c:pt idx="554">
                  <c:v>0.99009413609083219</c:v>
                </c:pt>
                <c:pt idx="555">
                  <c:v>0.99014915750926336</c:v>
                </c:pt>
                <c:pt idx="556">
                  <c:v>0.99020367927805386</c:v>
                </c:pt>
                <c:pt idx="557">
                  <c:v>0.99025793123603845</c:v>
                </c:pt>
                <c:pt idx="558">
                  <c:v>0.99031207327110204</c:v>
                </c:pt>
                <c:pt idx="559">
                  <c:v>0.99036430664453823</c:v>
                </c:pt>
                <c:pt idx="560">
                  <c:v>0.99041652003198877</c:v>
                </c:pt>
                <c:pt idx="561">
                  <c:v>0.99041652003198877</c:v>
                </c:pt>
                <c:pt idx="562">
                  <c:v>0.99046845361564062</c:v>
                </c:pt>
                <c:pt idx="563">
                  <c:v>0.99051999747257269</c:v>
                </c:pt>
                <c:pt idx="564">
                  <c:v>0.99057130149767725</c:v>
                </c:pt>
                <c:pt idx="565">
                  <c:v>0.99062220580306926</c:v>
                </c:pt>
                <c:pt idx="566">
                  <c:v>0.99067253051487814</c:v>
                </c:pt>
                <c:pt idx="567">
                  <c:v>0.99072275529675879</c:v>
                </c:pt>
                <c:pt idx="568">
                  <c:v>0.9907725803589269</c:v>
                </c:pt>
                <c:pt idx="569">
                  <c:v>0.99082175587656218</c:v>
                </c:pt>
                <c:pt idx="570">
                  <c:v>0.99087088142923341</c:v>
                </c:pt>
                <c:pt idx="571">
                  <c:v>0.99091868790685322</c:v>
                </c:pt>
                <c:pt idx="572">
                  <c:v>0.99096582485395457</c:v>
                </c:pt>
                <c:pt idx="573">
                  <c:v>0.99101270198324276</c:v>
                </c:pt>
                <c:pt idx="574">
                  <c:v>0.99105908945588306</c:v>
                </c:pt>
                <c:pt idx="575">
                  <c:v>0.99110536700560237</c:v>
                </c:pt>
                <c:pt idx="576">
                  <c:v>0.9911515346324008</c:v>
                </c:pt>
                <c:pt idx="577">
                  <c:v>0.9911974324483932</c:v>
                </c:pt>
                <c:pt idx="578">
                  <c:v>0.99124285060073059</c:v>
                </c:pt>
                <c:pt idx="579">
                  <c:v>0.99128823877408956</c:v>
                </c:pt>
                <c:pt idx="580">
                  <c:v>0.99133351702452754</c:v>
                </c:pt>
                <c:pt idx="581">
                  <c:v>0.99137857542912367</c:v>
                </c:pt>
                <c:pt idx="582">
                  <c:v>0.99142357387576285</c:v>
                </c:pt>
                <c:pt idx="583">
                  <c:v>0.99146825254663207</c:v>
                </c:pt>
                <c:pt idx="584">
                  <c:v>0.99151273135764495</c:v>
                </c:pt>
                <c:pt idx="585">
                  <c:v>0.99155574119871426</c:v>
                </c:pt>
                <c:pt idx="586">
                  <c:v>0.99159852120094893</c:v>
                </c:pt>
                <c:pt idx="587">
                  <c:v>0.99164129121019073</c:v>
                </c:pt>
                <c:pt idx="588">
                  <c:v>0.99172595184530687</c:v>
                </c:pt>
                <c:pt idx="589">
                  <c:v>0.99176804233103732</c:v>
                </c:pt>
                <c:pt idx="590">
                  <c:v>0.99181008285180372</c:v>
                </c:pt>
                <c:pt idx="591">
                  <c:v>0.99185207340760606</c:v>
                </c:pt>
                <c:pt idx="592">
                  <c:v>0.99189374418763843</c:v>
                </c:pt>
                <c:pt idx="593">
                  <c:v>0.99193514515686476</c:v>
                </c:pt>
                <c:pt idx="594">
                  <c:v>0.99197613641338578</c:v>
                </c:pt>
                <c:pt idx="595">
                  <c:v>0.99205648007560632</c:v>
                </c:pt>
                <c:pt idx="596">
                  <c:v>0.99209654198379571</c:v>
                </c:pt>
                <c:pt idx="597">
                  <c:v>0.99213649396906411</c:v>
                </c:pt>
                <c:pt idx="598">
                  <c:v>0.99217586636074939</c:v>
                </c:pt>
                <c:pt idx="599">
                  <c:v>0.99221506887155675</c:v>
                </c:pt>
                <c:pt idx="600">
                  <c:v>0.99225397159257978</c:v>
                </c:pt>
                <c:pt idx="601">
                  <c:v>0.99229262448878242</c:v>
                </c:pt>
                <c:pt idx="602">
                  <c:v>0.99233078772833716</c:v>
                </c:pt>
                <c:pt idx="603">
                  <c:v>0.99236895096789191</c:v>
                </c:pt>
                <c:pt idx="604">
                  <c:v>0.99240680442466944</c:v>
                </c:pt>
                <c:pt idx="605">
                  <c:v>0.99244457793750451</c:v>
                </c:pt>
                <c:pt idx="606">
                  <c:v>0.9924821715764689</c:v>
                </c:pt>
                <c:pt idx="607">
                  <c:v>0.99251955536258418</c:v>
                </c:pt>
                <c:pt idx="608">
                  <c:v>0.99255657940095821</c:v>
                </c:pt>
                <c:pt idx="609">
                  <c:v>0.99259321371261255</c:v>
                </c:pt>
                <c:pt idx="610">
                  <c:v>0.99266611259518711</c:v>
                </c:pt>
                <c:pt idx="611">
                  <c:v>0.99277496626590467</c:v>
                </c:pt>
                <c:pt idx="612">
                  <c:v>0.99281118087186082</c:v>
                </c:pt>
                <c:pt idx="613">
                  <c:v>0.99284711567401818</c:v>
                </c:pt>
                <c:pt idx="614">
                  <c:v>0.99288259079850616</c:v>
                </c:pt>
                <c:pt idx="615">
                  <c:v>0.99291803594401573</c:v>
                </c:pt>
                <c:pt idx="616">
                  <c:v>0.99295311134879116</c:v>
                </c:pt>
                <c:pt idx="617">
                  <c:v>0.99298787697078938</c:v>
                </c:pt>
                <c:pt idx="618">
                  <c:v>0.99302258263483068</c:v>
                </c:pt>
                <c:pt idx="619">
                  <c:v>0.99305719836193662</c:v>
                </c:pt>
                <c:pt idx="620">
                  <c:v>0.99309171415911446</c:v>
                </c:pt>
                <c:pt idx="621">
                  <c:v>0.99315955658732535</c:v>
                </c:pt>
                <c:pt idx="622">
                  <c:v>0.99319316302215721</c:v>
                </c:pt>
                <c:pt idx="623">
                  <c:v>0.99322659957611126</c:v>
                </c:pt>
                <c:pt idx="624">
                  <c:v>0.99325989622816591</c:v>
                </c:pt>
                <c:pt idx="625">
                  <c:v>0.99329318288722768</c:v>
                </c:pt>
                <c:pt idx="626">
                  <c:v>0.99332646954628945</c:v>
                </c:pt>
                <c:pt idx="627">
                  <c:v>0.99335960631045905</c:v>
                </c:pt>
                <c:pt idx="628">
                  <c:v>0.99339258318674362</c:v>
                </c:pt>
                <c:pt idx="629">
                  <c:v>0.99342510038535881</c:v>
                </c:pt>
                <c:pt idx="630">
                  <c:v>0.99345760759098112</c:v>
                </c:pt>
                <c:pt idx="631">
                  <c:v>0.99349007482463225</c:v>
                </c:pt>
                <c:pt idx="632">
                  <c:v>0.99352224226849895</c:v>
                </c:pt>
                <c:pt idx="633">
                  <c:v>0.99358567778687912</c:v>
                </c:pt>
                <c:pt idx="634">
                  <c:v>0.99361718569322011</c:v>
                </c:pt>
                <c:pt idx="635">
                  <c:v>0.99364864363459704</c:v>
                </c:pt>
                <c:pt idx="636">
                  <c:v>0.99368009158298121</c:v>
                </c:pt>
                <c:pt idx="637">
                  <c:v>0.9937113196855234</c:v>
                </c:pt>
                <c:pt idx="638">
                  <c:v>0.99374240788616619</c:v>
                </c:pt>
                <c:pt idx="639">
                  <c:v>0.99380413460277528</c:v>
                </c:pt>
                <c:pt idx="640">
                  <c:v>0.99383451330092831</c:v>
                </c:pt>
                <c:pt idx="641">
                  <c:v>0.99386486202010293</c:v>
                </c:pt>
                <c:pt idx="642">
                  <c:v>0.99389485099153629</c:v>
                </c:pt>
                <c:pt idx="643">
                  <c:v>0.99392482996997678</c:v>
                </c:pt>
                <c:pt idx="644">
                  <c:v>0.99395463906753945</c:v>
                </c:pt>
                <c:pt idx="645">
                  <c:v>0.99398427828422431</c:v>
                </c:pt>
                <c:pt idx="646">
                  <c:v>0.99401336788630446</c:v>
                </c:pt>
                <c:pt idx="647">
                  <c:v>0.99409879798186718</c:v>
                </c:pt>
                <c:pt idx="648">
                  <c:v>0.99412680834072342</c:v>
                </c:pt>
                <c:pt idx="649">
                  <c:v>0.99415450891680246</c:v>
                </c:pt>
                <c:pt idx="650">
                  <c:v>0.99418201962601804</c:v>
                </c:pt>
                <c:pt idx="651">
                  <c:v>0.99420915060150672</c:v>
                </c:pt>
                <c:pt idx="652">
                  <c:v>0.99426294288182182</c:v>
                </c:pt>
                <c:pt idx="653">
                  <c:v>0.99428970411657636</c:v>
                </c:pt>
                <c:pt idx="654">
                  <c:v>0.99431646535133089</c:v>
                </c:pt>
                <c:pt idx="655">
                  <c:v>0.99434322658608543</c:v>
                </c:pt>
                <c:pt idx="656">
                  <c:v>0.99436995784186155</c:v>
                </c:pt>
                <c:pt idx="657">
                  <c:v>0.99439666911165203</c:v>
                </c:pt>
                <c:pt idx="658">
                  <c:v>0.99444986181239836</c:v>
                </c:pt>
                <c:pt idx="659">
                  <c:v>0.99447632325736857</c:v>
                </c:pt>
                <c:pt idx="660">
                  <c:v>0.99450271475138907</c:v>
                </c:pt>
                <c:pt idx="661">
                  <c:v>0.99452897633650295</c:v>
                </c:pt>
                <c:pt idx="662">
                  <c:v>0.99465663681969541</c:v>
                </c:pt>
                <c:pt idx="663">
                  <c:v>0.99468168925267886</c:v>
                </c:pt>
                <c:pt idx="664">
                  <c:v>0.99470648186784916</c:v>
                </c:pt>
                <c:pt idx="665">
                  <c:v>0.99473121452506263</c:v>
                </c:pt>
                <c:pt idx="666">
                  <c:v>0.99475588722431918</c:v>
                </c:pt>
                <c:pt idx="667">
                  <c:v>0.99478053993759008</c:v>
                </c:pt>
                <c:pt idx="668">
                  <c:v>0.9948050827279401</c:v>
                </c:pt>
                <c:pt idx="669">
                  <c:v>0.99482962551829013</c:v>
                </c:pt>
                <c:pt idx="670">
                  <c:v>0.99485413832966163</c:v>
                </c:pt>
                <c:pt idx="671">
                  <c:v>0.99487850124614097</c:v>
                </c:pt>
                <c:pt idx="672">
                  <c:v>0.99492700723325767</c:v>
                </c:pt>
                <c:pt idx="673">
                  <c:v>0.99495084052111793</c:v>
                </c:pt>
                <c:pt idx="674">
                  <c:v>0.99499820730705391</c:v>
                </c:pt>
                <c:pt idx="675">
                  <c:v>0.99502164087520162</c:v>
                </c:pt>
                <c:pt idx="676">
                  <c:v>0.99504505445736369</c:v>
                </c:pt>
                <c:pt idx="677">
                  <c:v>0.99516072334918004</c:v>
                </c:pt>
                <c:pt idx="678">
                  <c:v>0.99518364727469422</c:v>
                </c:pt>
                <c:pt idx="679">
                  <c:v>0.9952292752798807</c:v>
                </c:pt>
                <c:pt idx="680">
                  <c:v>0.99525192939458895</c:v>
                </c:pt>
                <c:pt idx="681">
                  <c:v>0.9952744136284194</c:v>
                </c:pt>
                <c:pt idx="682">
                  <c:v>0.99529664803742945</c:v>
                </c:pt>
                <c:pt idx="683">
                  <c:v>0.99536276167788362</c:v>
                </c:pt>
                <c:pt idx="684">
                  <c:v>0.99538448644426014</c:v>
                </c:pt>
                <c:pt idx="685">
                  <c:v>0.99540610128771578</c:v>
                </c:pt>
                <c:pt idx="686">
                  <c:v>0.99542742633437986</c:v>
                </c:pt>
                <c:pt idx="687">
                  <c:v>0.99546984658887328</c:v>
                </c:pt>
                <c:pt idx="688">
                  <c:v>0.99549075192983916</c:v>
                </c:pt>
                <c:pt idx="689">
                  <c:v>0.99551161729883375</c:v>
                </c:pt>
                <c:pt idx="690">
                  <c:v>0.99555317815594513</c:v>
                </c:pt>
                <c:pt idx="691">
                  <c:v>0.99557388363705468</c:v>
                </c:pt>
                <c:pt idx="692">
                  <c:v>0.99559436927232237</c:v>
                </c:pt>
                <c:pt idx="693">
                  <c:v>0.99561479494963323</c:v>
                </c:pt>
                <c:pt idx="694">
                  <c:v>0.99563503076008064</c:v>
                </c:pt>
                <c:pt idx="695">
                  <c:v>0.99565518662658548</c:v>
                </c:pt>
                <c:pt idx="696">
                  <c:v>0.99567532250710467</c:v>
                </c:pt>
                <c:pt idx="697">
                  <c:v>0.99569542840864544</c:v>
                </c:pt>
                <c:pt idx="698">
                  <c:v>0.99571549433821493</c:v>
                </c:pt>
                <c:pt idx="699">
                  <c:v>0.99573553028880601</c:v>
                </c:pt>
                <c:pt idx="700">
                  <c:v>0.99575553626041868</c:v>
                </c:pt>
                <c:pt idx="701">
                  <c:v>0.99577547228108165</c:v>
                </c:pt>
                <c:pt idx="702">
                  <c:v>0.99579540830174462</c:v>
                </c:pt>
                <c:pt idx="703">
                  <c:v>0.99581520442050819</c:v>
                </c:pt>
                <c:pt idx="704">
                  <c:v>0.99583498055328612</c:v>
                </c:pt>
                <c:pt idx="705">
                  <c:v>0.99585418708547369</c:v>
                </c:pt>
                <c:pt idx="706">
                  <c:v>0.99587318376481215</c:v>
                </c:pt>
                <c:pt idx="707">
                  <c:v>0.9958921204861938</c:v>
                </c:pt>
                <c:pt idx="708">
                  <c:v>0.99591104721458257</c:v>
                </c:pt>
                <c:pt idx="709">
                  <c:v>0.99592997394297134</c:v>
                </c:pt>
                <c:pt idx="710">
                  <c:v>0.99594825112682728</c:v>
                </c:pt>
                <c:pt idx="711">
                  <c:v>0.99596630846484124</c:v>
                </c:pt>
                <c:pt idx="712">
                  <c:v>0.99598417593599176</c:v>
                </c:pt>
                <c:pt idx="713">
                  <c:v>0.99600202342115673</c:v>
                </c:pt>
                <c:pt idx="714">
                  <c:v>0.99601980095537201</c:v>
                </c:pt>
                <c:pt idx="715">
                  <c:v>0.99605497629007556</c:v>
                </c:pt>
                <c:pt idx="716">
                  <c:v>0.99608990179995882</c:v>
                </c:pt>
                <c:pt idx="717">
                  <c:v>0.99610726962146867</c:v>
                </c:pt>
                <c:pt idx="718">
                  <c:v>0.99612462744998576</c:v>
                </c:pt>
                <c:pt idx="719">
                  <c:v>0.99614191532755314</c:v>
                </c:pt>
                <c:pt idx="720">
                  <c:v>0.99615907329621389</c:v>
                </c:pt>
                <c:pt idx="721">
                  <c:v>0.99619318937367929</c:v>
                </c:pt>
                <c:pt idx="722">
                  <c:v>0.99621015747547659</c:v>
                </c:pt>
                <c:pt idx="723">
                  <c:v>0.99624399374914319</c:v>
                </c:pt>
                <c:pt idx="724">
                  <c:v>0.99626087191400525</c:v>
                </c:pt>
                <c:pt idx="725">
                  <c:v>0.99629413858708138</c:v>
                </c:pt>
                <c:pt idx="726">
                  <c:v>0.99631073694814465</c:v>
                </c:pt>
                <c:pt idx="727">
                  <c:v>0.99634348398559447</c:v>
                </c:pt>
                <c:pt idx="728">
                  <c:v>0.99635974258490201</c:v>
                </c:pt>
                <c:pt idx="729">
                  <c:v>0.99637596121223837</c:v>
                </c:pt>
                <c:pt idx="730">
                  <c:v>0.99639215985358909</c:v>
                </c:pt>
                <c:pt idx="731">
                  <c:v>0.99642443722037677</c:v>
                </c:pt>
                <c:pt idx="732">
                  <c:v>0.99644041601588562</c:v>
                </c:pt>
                <c:pt idx="733">
                  <c:v>0.9964561749655525</c:v>
                </c:pt>
                <c:pt idx="734">
                  <c:v>0.99648755296298697</c:v>
                </c:pt>
                <c:pt idx="735">
                  <c:v>0.99651853124070888</c:v>
                </c:pt>
                <c:pt idx="736">
                  <c:v>0.99654938960251704</c:v>
                </c:pt>
                <c:pt idx="737">
                  <c:v>0.99656476881845701</c:v>
                </c:pt>
                <c:pt idx="738">
                  <c:v>0.99657995816753353</c:v>
                </c:pt>
                <c:pt idx="739">
                  <c:v>0.99659510754463876</c:v>
                </c:pt>
                <c:pt idx="740">
                  <c:v>0.99662528638293557</c:v>
                </c:pt>
                <c:pt idx="741">
                  <c:v>0.99664030585113428</c:v>
                </c:pt>
                <c:pt idx="742">
                  <c:v>0.99665529534035457</c:v>
                </c:pt>
                <c:pt idx="743">
                  <c:v>0.99667022487161794</c:v>
                </c:pt>
                <c:pt idx="744">
                  <c:v>0.99668514440988853</c:v>
                </c:pt>
                <c:pt idx="745">
                  <c:v>0.99670001398319508</c:v>
                </c:pt>
                <c:pt idx="746">
                  <c:v>0.99671487356350874</c:v>
                </c:pt>
                <c:pt idx="747">
                  <c:v>0.99674446281522955</c:v>
                </c:pt>
                <c:pt idx="748">
                  <c:v>0.99675917250065105</c:v>
                </c:pt>
                <c:pt idx="749">
                  <c:v>0.99678851192755147</c:v>
                </c:pt>
                <c:pt idx="750">
                  <c:v>0.99680311169005198</c:v>
                </c:pt>
                <c:pt idx="751">
                  <c:v>0.99683221128512489</c:v>
                </c:pt>
                <c:pt idx="752">
                  <c:v>0.99686127090822663</c:v>
                </c:pt>
                <c:pt idx="753">
                  <c:v>0.99687576074780626</c:v>
                </c:pt>
                <c:pt idx="754">
                  <c:v>0.99689016065045055</c:v>
                </c:pt>
                <c:pt idx="755">
                  <c:v>0.99691886052581102</c:v>
                </c:pt>
                <c:pt idx="756">
                  <c:v>0.99693321046349126</c:v>
                </c:pt>
                <c:pt idx="757">
                  <c:v>0.99694755040817862</c:v>
                </c:pt>
                <c:pt idx="758">
                  <c:v>0.99696181040892351</c:v>
                </c:pt>
                <c:pt idx="759">
                  <c:v>0.99697606041667552</c:v>
                </c:pt>
                <c:pt idx="760">
                  <c:v>0.99699031042442754</c:v>
                </c:pt>
                <c:pt idx="761">
                  <c:v>0.9970045104672155</c:v>
                </c:pt>
                <c:pt idx="762">
                  <c:v>0.99703288057381301</c:v>
                </c:pt>
                <c:pt idx="763">
                  <c:v>0.99704671087586694</c:v>
                </c:pt>
                <c:pt idx="764">
                  <c:v>0.997074091676176</c:v>
                </c:pt>
                <c:pt idx="765">
                  <c:v>0.99708775209735212</c:v>
                </c:pt>
                <c:pt idx="766">
                  <c:v>0.99710130259560725</c:v>
                </c:pt>
                <c:pt idx="767">
                  <c:v>0.99712819373926831</c:v>
                </c:pt>
                <c:pt idx="768">
                  <c:v>0.99714160433562404</c:v>
                </c:pt>
                <c:pt idx="769">
                  <c:v>0.99716831560541452</c:v>
                </c:pt>
                <c:pt idx="770">
                  <c:v>0.99718157630687809</c:v>
                </c:pt>
                <c:pt idx="771">
                  <c:v>0.99719472708542067</c:v>
                </c:pt>
                <c:pt idx="772">
                  <c:v>0.99720779792002079</c:v>
                </c:pt>
                <c:pt idx="773">
                  <c:v>0.99722083877564238</c:v>
                </c:pt>
                <c:pt idx="774">
                  <c:v>0.99723381967330715</c:v>
                </c:pt>
                <c:pt idx="775">
                  <c:v>0.99724679057797905</c:v>
                </c:pt>
                <c:pt idx="776">
                  <c:v>0.99727246257651692</c:v>
                </c:pt>
                <c:pt idx="777">
                  <c:v>0.99729797468716985</c:v>
                </c:pt>
                <c:pt idx="778">
                  <c:v>0.99731065579505018</c:v>
                </c:pt>
                <c:pt idx="779">
                  <c:v>0.99732325695898805</c:v>
                </c:pt>
                <c:pt idx="780">
                  <c:v>0.99736068071707473</c:v>
                </c:pt>
                <c:pt idx="781">
                  <c:v>0.99738545334625939</c:v>
                </c:pt>
                <c:pt idx="782">
                  <c:v>0.99739780468537687</c:v>
                </c:pt>
                <c:pt idx="783">
                  <c:v>0.99742247738463341</c:v>
                </c:pt>
                <c:pt idx="784">
                  <c:v>0.9974347887517796</c:v>
                </c:pt>
                <c:pt idx="785">
                  <c:v>0.99744698020301203</c:v>
                </c:pt>
                <c:pt idx="786">
                  <c:v>0.997459091710302</c:v>
                </c:pt>
                <c:pt idx="787">
                  <c:v>0.99749523636530857</c:v>
                </c:pt>
                <c:pt idx="788">
                  <c:v>0.99750726792865607</c:v>
                </c:pt>
                <c:pt idx="789">
                  <c:v>0.9975192894990107</c:v>
                </c:pt>
                <c:pt idx="790">
                  <c:v>0.99753129108337968</c:v>
                </c:pt>
                <c:pt idx="791">
                  <c:v>0.99756709597663051</c:v>
                </c:pt>
                <c:pt idx="792">
                  <c:v>0.99757897764508574</c:v>
                </c:pt>
                <c:pt idx="793">
                  <c:v>0.9975908493205482</c:v>
                </c:pt>
                <c:pt idx="794">
                  <c:v>0.99760269101703225</c:v>
                </c:pt>
                <c:pt idx="795">
                  <c:v>0.99764946821639222</c:v>
                </c:pt>
                <c:pt idx="796">
                  <c:v>0.99766101012309183</c:v>
                </c:pt>
                <c:pt idx="797">
                  <c:v>0.99768404397152699</c:v>
                </c:pt>
                <c:pt idx="798">
                  <c:v>0.9976955159272769</c:v>
                </c:pt>
                <c:pt idx="799">
                  <c:v>0.99770694791105552</c:v>
                </c:pt>
                <c:pt idx="800">
                  <c:v>0.99774118390443456</c:v>
                </c:pt>
                <c:pt idx="801">
                  <c:v>0.99777517007299321</c:v>
                </c:pt>
                <c:pt idx="802">
                  <c:v>0.99778639220392273</c:v>
                </c:pt>
                <c:pt idx="803">
                  <c:v>0.99779751440492415</c:v>
                </c:pt>
                <c:pt idx="804">
                  <c:v>0.99780857664796874</c:v>
                </c:pt>
                <c:pt idx="805">
                  <c:v>0.99783051126719446</c:v>
                </c:pt>
                <c:pt idx="806">
                  <c:v>0.99784137365038272</c:v>
                </c:pt>
                <c:pt idx="807">
                  <c:v>0.99785222604057822</c:v>
                </c:pt>
                <c:pt idx="808">
                  <c:v>0.9978737909190698</c:v>
                </c:pt>
                <c:pt idx="809">
                  <c:v>0.9978953158255901</c:v>
                </c:pt>
                <c:pt idx="810">
                  <c:v>0.9979060283138862</c:v>
                </c:pt>
                <c:pt idx="811">
                  <c:v>0.99791668084422536</c:v>
                </c:pt>
                <c:pt idx="812">
                  <c:v>0.99792715350069394</c:v>
                </c:pt>
                <c:pt idx="813">
                  <c:v>0.997947998883703</c:v>
                </c:pt>
                <c:pt idx="814">
                  <c:v>0.99795837161024348</c:v>
                </c:pt>
                <c:pt idx="815">
                  <c:v>0.99797904711237462</c:v>
                </c:pt>
                <c:pt idx="816">
                  <c:v>0.99798933989497252</c:v>
                </c:pt>
                <c:pt idx="817">
                  <c:v>0.99799954274063507</c:v>
                </c:pt>
                <c:pt idx="818">
                  <c:v>0.99800973559330486</c:v>
                </c:pt>
                <c:pt idx="819">
                  <c:v>0.998019908459989</c:v>
                </c:pt>
                <c:pt idx="820">
                  <c:v>0.99804019423540047</c:v>
                </c:pt>
                <c:pt idx="821">
                  <c:v>0.99806047001781906</c:v>
                </c:pt>
                <c:pt idx="822">
                  <c:v>0.99807060291253191</c:v>
                </c:pt>
                <c:pt idx="823">
                  <c:v>0.99810060187695804</c:v>
                </c:pt>
                <c:pt idx="824">
                  <c:v>0.99811055489780032</c:v>
                </c:pt>
                <c:pt idx="825">
                  <c:v>0.99813040098152805</c:v>
                </c:pt>
                <c:pt idx="826">
                  <c:v>0.9981402940444134</c:v>
                </c:pt>
                <c:pt idx="827">
                  <c:v>0.99815015712832034</c:v>
                </c:pt>
                <c:pt idx="828">
                  <c:v>0.99815995026127757</c:v>
                </c:pt>
                <c:pt idx="829">
                  <c:v>0.99816966345029234</c:v>
                </c:pt>
                <c:pt idx="830">
                  <c:v>0.99818905984934336</c:v>
                </c:pt>
                <c:pt idx="831">
                  <c:v>0.99821802953550975</c:v>
                </c:pt>
                <c:pt idx="832">
                  <c:v>0.99823724606069009</c:v>
                </c:pt>
                <c:pt idx="833">
                  <c:v>0.99827504955250357</c:v>
                </c:pt>
                <c:pt idx="834">
                  <c:v>0.99828429307085609</c:v>
                </c:pt>
                <c:pt idx="835">
                  <c:v>0.99829353658920861</c:v>
                </c:pt>
                <c:pt idx="836">
                  <c:v>0.99831175381510762</c:v>
                </c:pt>
                <c:pt idx="837">
                  <c:v>0.99832075750163263</c:v>
                </c:pt>
                <c:pt idx="838">
                  <c:v>0.99833868493074007</c:v>
                </c:pt>
                <c:pt idx="839">
                  <c:v>0.99834753872237281</c:v>
                </c:pt>
                <c:pt idx="840">
                  <c:v>0.9983563725280199</c:v>
                </c:pt>
                <c:pt idx="841">
                  <c:v>0.9983651363827174</c:v>
                </c:pt>
                <c:pt idx="842">
                  <c:v>0.99838261412714824</c:v>
                </c:pt>
                <c:pt idx="843">
                  <c:v>0.99839130803089604</c:v>
                </c:pt>
                <c:pt idx="844">
                  <c:v>0.99839989201172286</c:v>
                </c:pt>
                <c:pt idx="845">
                  <c:v>0.99840846599955679</c:v>
                </c:pt>
                <c:pt idx="846">
                  <c:v>0.99841701000841232</c:v>
                </c:pt>
                <c:pt idx="847">
                  <c:v>0.99842554402427508</c:v>
                </c:pt>
                <c:pt idx="848">
                  <c:v>0.99843406804714496</c:v>
                </c:pt>
                <c:pt idx="849">
                  <c:v>0.99845096619799256</c:v>
                </c:pt>
                <c:pt idx="850">
                  <c:v>0.99846767448197682</c:v>
                </c:pt>
                <c:pt idx="851">
                  <c:v>0.99848436277997543</c:v>
                </c:pt>
                <c:pt idx="852">
                  <c:v>0.9985092353390882</c:v>
                </c:pt>
                <c:pt idx="853">
                  <c:v>0.99851742959319523</c:v>
                </c:pt>
                <c:pt idx="854">
                  <c:v>0.99852562384730226</c:v>
                </c:pt>
                <c:pt idx="855">
                  <c:v>0.99854194240456673</c:v>
                </c:pt>
                <c:pt idx="856">
                  <c:v>0.99855009668670258</c:v>
                </c:pt>
                <c:pt idx="857">
                  <c:v>0.99855825096883843</c:v>
                </c:pt>
                <c:pt idx="858">
                  <c:v>0.99858262387831054</c:v>
                </c:pt>
                <c:pt idx="859">
                  <c:v>0.99859067823051828</c:v>
                </c:pt>
                <c:pt idx="860">
                  <c:v>0.9986067369699696</c:v>
                </c:pt>
                <c:pt idx="861">
                  <c:v>0.99863070016673638</c:v>
                </c:pt>
                <c:pt idx="862">
                  <c:v>0.99864662899728118</c:v>
                </c:pt>
                <c:pt idx="863">
                  <c:v>0.99866251785585469</c:v>
                </c:pt>
                <c:pt idx="864">
                  <c:v>0.99868610131889468</c:v>
                </c:pt>
                <c:pt idx="865">
                  <c:v>0.99869381590934669</c:v>
                </c:pt>
                <c:pt idx="866">
                  <c:v>0.99870151051381306</c:v>
                </c:pt>
                <c:pt idx="867">
                  <c:v>0.99871673983486087</c:v>
                </c:pt>
                <c:pt idx="868">
                  <c:v>0.99873173931707393</c:v>
                </c:pt>
                <c:pt idx="869">
                  <c:v>0.99873921407569843</c:v>
                </c:pt>
                <c:pt idx="870">
                  <c:v>0.99874667884133017</c:v>
                </c:pt>
                <c:pt idx="871">
                  <c:v>0.9987614784636869</c:v>
                </c:pt>
                <c:pt idx="872">
                  <c:v>0.99876881332041201</c:v>
                </c:pt>
                <c:pt idx="873">
                  <c:v>0.99877612819115147</c:v>
                </c:pt>
                <c:pt idx="874">
                  <c:v>0.99880514784228192</c:v>
                </c:pt>
                <c:pt idx="875">
                  <c:v>0.99881232281112198</c:v>
                </c:pt>
                <c:pt idx="876">
                  <c:v>0.9988478179215956</c:v>
                </c:pt>
                <c:pt idx="877">
                  <c:v>0.99885486298152915</c:v>
                </c:pt>
                <c:pt idx="878">
                  <c:v>0.99886875324154001</c:v>
                </c:pt>
                <c:pt idx="879">
                  <c:v>0.99888239367673048</c:v>
                </c:pt>
                <c:pt idx="880">
                  <c:v>0.99889587422403592</c:v>
                </c:pt>
                <c:pt idx="881">
                  <c:v>0.99892257550083363</c:v>
                </c:pt>
                <c:pt idx="882">
                  <c:v>0.99894859725412011</c:v>
                </c:pt>
                <c:pt idx="883">
                  <c:v>0.99896131833397173</c:v>
                </c:pt>
                <c:pt idx="884">
                  <c:v>0.9989676239124371</c:v>
                </c:pt>
                <c:pt idx="885">
                  <c:v>0.99898009516746833</c:v>
                </c:pt>
                <c:pt idx="886">
                  <c:v>0.99899247648556433</c:v>
                </c:pt>
                <c:pt idx="887">
                  <c:v>0.99899865215512307</c:v>
                </c:pt>
                <c:pt idx="888">
                  <c:v>0.99900482782468181</c:v>
                </c:pt>
                <c:pt idx="889">
                  <c:v>0.99901100349424055</c:v>
                </c:pt>
                <c:pt idx="890">
                  <c:v>0.99901717916379928</c:v>
                </c:pt>
                <c:pt idx="891">
                  <c:v>0.9990232948754012</c:v>
                </c:pt>
                <c:pt idx="892">
                  <c:v>0.9990475278829738</c:v>
                </c:pt>
                <c:pt idx="893">
                  <c:v>0.99905351368566908</c:v>
                </c:pt>
                <c:pt idx="894">
                  <c:v>0.99905946950938596</c:v>
                </c:pt>
                <c:pt idx="895">
                  <c:v>0.99906540534711719</c:v>
                </c:pt>
                <c:pt idx="896">
                  <c:v>0.99908893884519301</c:v>
                </c:pt>
                <c:pt idx="897">
                  <c:v>0.9991403328072328</c:v>
                </c:pt>
                <c:pt idx="898">
                  <c:v>0.99914588891123712</c:v>
                </c:pt>
                <c:pt idx="899">
                  <c:v>0.99915141503626304</c:v>
                </c:pt>
                <c:pt idx="900">
                  <c:v>0.99915686121734637</c:v>
                </c:pt>
                <c:pt idx="901">
                  <c:v>0.99916771360754186</c:v>
                </c:pt>
                <c:pt idx="902">
                  <c:v>0.99917311981665402</c:v>
                </c:pt>
                <c:pt idx="903">
                  <c:v>0.99917852602576618</c:v>
                </c:pt>
                <c:pt idx="904">
                  <c:v>0.99918391224889269</c:v>
                </c:pt>
                <c:pt idx="905">
                  <c:v>0.99918927848603356</c:v>
                </c:pt>
                <c:pt idx="906">
                  <c:v>0.9992000109603153</c:v>
                </c:pt>
                <c:pt idx="907">
                  <c:v>0.99920534721847776</c:v>
                </c:pt>
                <c:pt idx="908">
                  <c:v>0.99921053358174794</c:v>
                </c:pt>
                <c:pt idx="909">
                  <c:v>0.99924631848901313</c:v>
                </c:pt>
                <c:pt idx="910">
                  <c:v>0.99925632147481946</c:v>
                </c:pt>
                <c:pt idx="911">
                  <c:v>0.99926619455171917</c:v>
                </c:pt>
                <c:pt idx="912">
                  <c:v>0.99927589774774106</c:v>
                </c:pt>
                <c:pt idx="913">
                  <c:v>0.99929507430095021</c:v>
                </c:pt>
                <c:pt idx="914">
                  <c:v>0.99929979099355815</c:v>
                </c:pt>
                <c:pt idx="915">
                  <c:v>0.99930448770018054</c:v>
                </c:pt>
                <c:pt idx="916">
                  <c:v>0.9993091644208173</c:v>
                </c:pt>
                <c:pt idx="917">
                  <c:v>0.99931384114145405</c:v>
                </c:pt>
                <c:pt idx="918">
                  <c:v>0.99931850786909793</c:v>
                </c:pt>
                <c:pt idx="919">
                  <c:v>0.9993368749898891</c:v>
                </c:pt>
                <c:pt idx="920">
                  <c:v>0.99934591864838529</c:v>
                </c:pt>
                <c:pt idx="921">
                  <c:v>0.99935042548814423</c:v>
                </c:pt>
                <c:pt idx="922">
                  <c:v>0.99935490234892466</c:v>
                </c:pt>
                <c:pt idx="923">
                  <c:v>0.99935937920970508</c:v>
                </c:pt>
                <c:pt idx="924">
                  <c:v>0.99937263991116865</c:v>
                </c:pt>
                <c:pt idx="925">
                  <c:v>0.99939424476163141</c:v>
                </c:pt>
                <c:pt idx="926">
                  <c:v>0.99939848179058433</c:v>
                </c:pt>
                <c:pt idx="927">
                  <c:v>0.99941098302459408</c:v>
                </c:pt>
                <c:pt idx="928">
                  <c:v>0.99941916728570834</c:v>
                </c:pt>
                <c:pt idx="929">
                  <c:v>0.99942729158886578</c:v>
                </c:pt>
                <c:pt idx="930">
                  <c:v>0.99943527599012372</c:v>
                </c:pt>
                <c:pt idx="931">
                  <c:v>0.99943924320827071</c:v>
                </c:pt>
                <c:pt idx="932">
                  <c:v>0.99944318044743918</c:v>
                </c:pt>
                <c:pt idx="933">
                  <c:v>0.99944710769361489</c:v>
                </c:pt>
                <c:pt idx="934">
                  <c:v>0.99945103493979059</c:v>
                </c:pt>
                <c:pt idx="935">
                  <c:v>0.99945495219297353</c:v>
                </c:pt>
                <c:pt idx="936">
                  <c:v>0.99946274672736801</c:v>
                </c:pt>
                <c:pt idx="937">
                  <c:v>0.99947807597834393</c:v>
                </c:pt>
                <c:pt idx="938">
                  <c:v>0.99948947798314403</c:v>
                </c:pt>
                <c:pt idx="939">
                  <c:v>0.99949322535544904</c:v>
                </c:pt>
                <c:pt idx="940">
                  <c:v>0.99951553970840157</c:v>
                </c:pt>
                <c:pt idx="941">
                  <c:v>0.99951921712975689</c:v>
                </c:pt>
                <c:pt idx="942">
                  <c:v>0.99952649202852517</c:v>
                </c:pt>
                <c:pt idx="943">
                  <c:v>0.99953729445375672</c:v>
                </c:pt>
                <c:pt idx="944">
                  <c:v>0.99954436949266867</c:v>
                </c:pt>
                <c:pt idx="945">
                  <c:v>0.99955452237336717</c:v>
                </c:pt>
                <c:pt idx="946">
                  <c:v>0.99955780007501005</c:v>
                </c:pt>
                <c:pt idx="947">
                  <c:v>0.99956753325001035</c:v>
                </c:pt>
                <c:pt idx="948">
                  <c:v>0.99958656990132022</c:v>
                </c:pt>
                <c:pt idx="949">
                  <c:v>0.99959894122642323</c:v>
                </c:pt>
                <c:pt idx="950">
                  <c:v>0.99960199908222414</c:v>
                </c:pt>
                <c:pt idx="951">
                  <c:v>0.99960807482185465</c:v>
                </c:pt>
                <c:pt idx="952">
                  <c:v>0.99961110269867715</c:v>
                </c:pt>
                <c:pt idx="953">
                  <c:v>0.99962299436012536</c:v>
                </c:pt>
                <c:pt idx="954">
                  <c:v>0.99962887023989977</c:v>
                </c:pt>
                <c:pt idx="955">
                  <c:v>0.99963471614069566</c:v>
                </c:pt>
                <c:pt idx="956">
                  <c:v>0.99964051207652749</c:v>
                </c:pt>
                <c:pt idx="957">
                  <c:v>0.99964338006546494</c:v>
                </c:pt>
                <c:pt idx="958">
                  <c:v>0.99964624805440239</c:v>
                </c:pt>
                <c:pt idx="959">
                  <c:v>0.99964908606436143</c:v>
                </c:pt>
                <c:pt idx="960">
                  <c:v>0.99965192407432046</c:v>
                </c:pt>
                <c:pt idx="961">
                  <c:v>0.99966572439739587</c:v>
                </c:pt>
                <c:pt idx="962">
                  <c:v>0.99967113060650792</c:v>
                </c:pt>
                <c:pt idx="963">
                  <c:v>0.99968437132198584</c:v>
                </c:pt>
                <c:pt idx="964">
                  <c:v>0.99970764500224829</c:v>
                </c:pt>
                <c:pt idx="965">
                  <c:v>0.99971021320140141</c:v>
                </c:pt>
                <c:pt idx="966">
                  <c:v>0.99972281436533927</c:v>
                </c:pt>
                <c:pt idx="967">
                  <c:v>0.9997277409107963</c:v>
                </c:pt>
                <c:pt idx="968">
                  <c:v>0.99973260749829651</c:v>
                </c:pt>
                <c:pt idx="969">
                  <c:v>0.99973743411382543</c:v>
                </c:pt>
                <c:pt idx="970">
                  <c:v>0.99974456911069431</c:v>
                </c:pt>
                <c:pt idx="971">
                  <c:v>0.99975383261503248</c:v>
                </c:pt>
                <c:pt idx="972">
                  <c:v>0.9997561210103868</c:v>
                </c:pt>
                <c:pt idx="973">
                  <c:v>0.99975839941274824</c:v>
                </c:pt>
                <c:pt idx="974">
                  <c:v>0.99976509471793329</c:v>
                </c:pt>
                <c:pt idx="975">
                  <c:v>0.99977377862868833</c:v>
                </c:pt>
                <c:pt idx="976">
                  <c:v>0.99977586716418632</c:v>
                </c:pt>
                <c:pt idx="977">
                  <c:v>0.99977795569968431</c:v>
                </c:pt>
                <c:pt idx="978">
                  <c:v>0.99980190890345821</c:v>
                </c:pt>
                <c:pt idx="979">
                  <c:v>0.99981115242181062</c:v>
                </c:pt>
                <c:pt idx="980">
                  <c:v>0.99982187490309959</c:v>
                </c:pt>
                <c:pt idx="981">
                  <c:v>0.99982534247160593</c:v>
                </c:pt>
                <c:pt idx="982">
                  <c:v>0.99983375657155482</c:v>
                </c:pt>
                <c:pt idx="983">
                  <c:v>0.99984961545114981</c:v>
                </c:pt>
                <c:pt idx="984">
                  <c:v>0.99985112439306467</c:v>
                </c:pt>
                <c:pt idx="985">
                  <c:v>0.99985402236098053</c:v>
                </c:pt>
                <c:pt idx="986">
                  <c:v>0.99985547134493846</c:v>
                </c:pt>
                <c:pt idx="987">
                  <c:v>0.99986262632779277</c:v>
                </c:pt>
                <c:pt idx="988">
                  <c:v>0.99987102044175624</c:v>
                </c:pt>
                <c:pt idx="989">
                  <c:v>0.99987504761786006</c:v>
                </c:pt>
                <c:pt idx="990">
                  <c:v>0.99988922767466215</c:v>
                </c:pt>
                <c:pt idx="991">
                  <c:v>0.99989167595790152</c:v>
                </c:pt>
                <c:pt idx="992">
                  <c:v>0.99989288511003194</c:v>
                </c:pt>
                <c:pt idx="993">
                  <c:v>0.99989765176760392</c:v>
                </c:pt>
                <c:pt idx="994">
                  <c:v>0.99990114931508856</c:v>
                </c:pt>
                <c:pt idx="995">
                  <c:v>0.99990571611280443</c:v>
                </c:pt>
                <c:pt idx="996">
                  <c:v>0.99991230149506849</c:v>
                </c:pt>
                <c:pt idx="997">
                  <c:v>0.99991443000253777</c:v>
                </c:pt>
                <c:pt idx="998">
                  <c:v>0.99991654851701428</c:v>
                </c:pt>
                <c:pt idx="999">
                  <c:v>0.99992740090720988</c:v>
                </c:pt>
                <c:pt idx="1000">
                  <c:v>0.99992925960387313</c:v>
                </c:pt>
                <c:pt idx="1001">
                  <c:v>0.99993290704624993</c:v>
                </c:pt>
                <c:pt idx="1002">
                  <c:v>0.99993377643662473</c:v>
                </c:pt>
                <c:pt idx="1003">
                  <c:v>0.99993549523138858</c:v>
                </c:pt>
                <c:pt idx="1004">
                  <c:v>0.99993960235143486</c:v>
                </c:pt>
                <c:pt idx="1005">
                  <c:v>0.99994040179085997</c:v>
                </c:pt>
                <c:pt idx="1006">
                  <c:v>0.99994434902302121</c:v>
                </c:pt>
                <c:pt idx="1007">
                  <c:v>0.99995771964740565</c:v>
                </c:pt>
                <c:pt idx="1008">
                  <c:v>0.99996882186242164</c:v>
                </c:pt>
                <c:pt idx="1009">
                  <c:v>0.9999749575600092</c:v>
                </c:pt>
                <c:pt idx="1010">
                  <c:v>0.9999754472166571</c:v>
                </c:pt>
                <c:pt idx="1011">
                  <c:v>0.99997640654396724</c:v>
                </c:pt>
                <c:pt idx="1012">
                  <c:v>0.99997870493231411</c:v>
                </c:pt>
                <c:pt idx="1013">
                  <c:v>0.99998637955079461</c:v>
                </c:pt>
                <c:pt idx="1014">
                  <c:v>0.9999895073575451</c:v>
                </c:pt>
                <c:pt idx="1015">
                  <c:v>0.99999017688806358</c:v>
                </c:pt>
                <c:pt idx="1016">
                  <c:v>0.99999148597012222</c:v>
                </c:pt>
                <c:pt idx="1017">
                  <c:v>0.9999918057458923</c:v>
                </c:pt>
                <c:pt idx="1018">
                  <c:v>0.99999366444255566</c:v>
                </c:pt>
                <c:pt idx="1019">
                  <c:v>0.99999782152756611</c:v>
                </c:pt>
                <c:pt idx="1020">
                  <c:v>0.99999820126129302</c:v>
                </c:pt>
                <c:pt idx="1021">
                  <c:v>0.99999907065166782</c:v>
                </c:pt>
                <c:pt idx="1022">
                  <c:v>0.9999999200560569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81</c:f>
              <c:strCache>
                <c:ptCount val="680"/>
                <c:pt idx="0">
                  <c:v>Caprice Des</c:v>
                </c:pt>
                <c:pt idx="1">
                  <c:v>Coeur De Li</c:v>
                </c:pt>
                <c:pt idx="2">
                  <c:v>Galbani</c:v>
                </c:pt>
                <c:pt idx="3">
                  <c:v>Mini Babybe</c:v>
                </c:pt>
                <c:pt idx="4">
                  <c:v>President</c:v>
                </c:pt>
                <c:pt idx="5">
                  <c:v>Caprice Des</c:v>
                </c:pt>
                <c:pt idx="6">
                  <c:v>Coeur De Li</c:v>
                </c:pt>
                <c:pt idx="7">
                  <c:v>Islos</c:v>
                </c:pt>
                <c:pt idx="8">
                  <c:v>Soignon</c:v>
                </c:pt>
                <c:pt idx="9">
                  <c:v>Salakis</c:v>
                </c:pt>
                <c:pt idx="10">
                  <c:v>St Moret</c:v>
                </c:pt>
                <c:pt idx="11">
                  <c:v>Le Rustique</c:v>
                </c:pt>
                <c:pt idx="12">
                  <c:v>Soignon</c:v>
                </c:pt>
                <c:pt idx="13">
                  <c:v>Casa Azzurr</c:v>
                </c:pt>
                <c:pt idx="14">
                  <c:v>Soignon</c:v>
                </c:pt>
                <c:pt idx="15">
                  <c:v>Mini Babybe</c:v>
                </c:pt>
                <c:pt idx="16">
                  <c:v>Tartare</c:v>
                </c:pt>
                <c:pt idx="17">
                  <c:v>Apericube</c:v>
                </c:pt>
                <c:pt idx="18">
                  <c:v>La Vache Qu</c:v>
                </c:pt>
                <c:pt idx="19">
                  <c:v>Ficello</c:v>
                </c:pt>
                <c:pt idx="20">
                  <c:v>Apericube</c:v>
                </c:pt>
                <c:pt idx="21">
                  <c:v>All Others</c:v>
                </c:pt>
                <c:pt idx="22">
                  <c:v>Casa Azzurr</c:v>
                </c:pt>
                <c:pt idx="23">
                  <c:v>Mini Babybe</c:v>
                </c:pt>
                <c:pt idx="24">
                  <c:v>President</c:v>
                </c:pt>
                <c:pt idx="25">
                  <c:v>La Vache Qu</c:v>
                </c:pt>
                <c:pt idx="26">
                  <c:v>Paysan Bret</c:v>
                </c:pt>
                <c:pt idx="27">
                  <c:v>All Others</c:v>
                </c:pt>
                <c:pt idx="28">
                  <c:v>Galbani</c:v>
                </c:pt>
                <c:pt idx="29">
                  <c:v>St Moret</c:v>
                </c:pt>
                <c:pt idx="30">
                  <c:v>St Moret</c:v>
                </c:pt>
                <c:pt idx="31">
                  <c:v>La Vache Qu</c:v>
                </c:pt>
                <c:pt idx="32">
                  <c:v>Apericube</c:v>
                </c:pt>
                <c:pt idx="33">
                  <c:v>Kiri</c:v>
                </c:pt>
                <c:pt idx="34">
                  <c:v>President</c:v>
                </c:pt>
                <c:pt idx="35">
                  <c:v>Paysan Bret</c:v>
                </c:pt>
                <c:pt idx="36">
                  <c:v>Carre Frais</c:v>
                </c:pt>
                <c:pt idx="37">
                  <c:v>Kiri</c:v>
                </c:pt>
                <c:pt idx="38">
                  <c:v>Casa Azzurr</c:v>
                </c:pt>
                <c:pt idx="39">
                  <c:v>St Moret</c:v>
                </c:pt>
                <c:pt idx="40">
                  <c:v>Galbani</c:v>
                </c:pt>
                <c:pt idx="41">
                  <c:v>Salakis</c:v>
                </c:pt>
                <c:pt idx="42">
                  <c:v>Casa Azzurr</c:v>
                </c:pt>
                <c:pt idx="43">
                  <c:v>Galbani</c:v>
                </c:pt>
                <c:pt idx="44">
                  <c:v>St Moret</c:v>
                </c:pt>
                <c:pt idx="45">
                  <c:v>Lepetit</c:v>
                </c:pt>
                <c:pt idx="46">
                  <c:v>Coeur De Li</c:v>
                </c:pt>
                <c:pt idx="47">
                  <c:v>Galbani</c:v>
                </c:pt>
                <c:pt idx="48">
                  <c:v>Carre Frais</c:v>
                </c:pt>
                <c:pt idx="49">
                  <c:v>Casa Azzurr</c:v>
                </c:pt>
                <c:pt idx="50">
                  <c:v>President</c:v>
                </c:pt>
                <c:pt idx="51">
                  <c:v>Salakis</c:v>
                </c:pt>
                <c:pt idx="52">
                  <c:v>Casa Azzurr</c:v>
                </c:pt>
                <c:pt idx="53">
                  <c:v>Philadelphi</c:v>
                </c:pt>
                <c:pt idx="54">
                  <c:v>Kiri</c:v>
                </c:pt>
                <c:pt idx="55">
                  <c:v>Caprice Des</c:v>
                </c:pt>
                <c:pt idx="56">
                  <c:v>Kiri</c:v>
                </c:pt>
                <c:pt idx="57">
                  <c:v>La Vache Qu</c:v>
                </c:pt>
                <c:pt idx="58">
                  <c:v>Casa Azzurr</c:v>
                </c:pt>
                <c:pt idx="59">
                  <c:v>All Others</c:v>
                </c:pt>
                <c:pt idx="60">
                  <c:v>Boursin</c:v>
                </c:pt>
                <c:pt idx="61">
                  <c:v>Petit Billy</c:v>
                </c:pt>
                <c:pt idx="62">
                  <c:v>Galbani</c:v>
                </c:pt>
                <c:pt idx="63">
                  <c:v>Boursin</c:v>
                </c:pt>
                <c:pt idx="64">
                  <c:v>Tartare</c:v>
                </c:pt>
                <c:pt idx="65">
                  <c:v>President</c:v>
                </c:pt>
                <c:pt idx="66">
                  <c:v>All Others</c:v>
                </c:pt>
                <c:pt idx="67">
                  <c:v>Le Rustique</c:v>
                </c:pt>
                <c:pt idx="68">
                  <c:v>Istara</c:v>
                </c:pt>
                <c:pt idx="69">
                  <c:v>Boursin</c:v>
                </c:pt>
                <c:pt idx="70">
                  <c:v>St Moret</c:v>
                </c:pt>
                <c:pt idx="71">
                  <c:v>Apericube</c:v>
                </c:pt>
                <c:pt idx="72">
                  <c:v>St Moret</c:v>
                </c:pt>
                <c:pt idx="73">
                  <c:v>Lou Perac</c:v>
                </c:pt>
                <c:pt idx="74">
                  <c:v>Boursin</c:v>
                </c:pt>
                <c:pt idx="75">
                  <c:v>All Others</c:v>
                </c:pt>
                <c:pt idx="76">
                  <c:v>St Moret</c:v>
                </c:pt>
                <c:pt idx="77">
                  <c:v>All Others</c:v>
                </c:pt>
                <c:pt idx="78">
                  <c:v>Coeur De Li</c:v>
                </c:pt>
                <c:pt idx="79">
                  <c:v>President</c:v>
                </c:pt>
                <c:pt idx="80">
                  <c:v>Galbani</c:v>
                </c:pt>
                <c:pt idx="81">
                  <c:v>Boursin</c:v>
                </c:pt>
                <c:pt idx="82">
                  <c:v>Philadelphi</c:v>
                </c:pt>
                <c:pt idx="83">
                  <c:v>Casa Azzurr</c:v>
                </c:pt>
                <c:pt idx="84">
                  <c:v>Apericube</c:v>
                </c:pt>
                <c:pt idx="85">
                  <c:v>Le Brebiou</c:v>
                </c:pt>
                <c:pt idx="86">
                  <c:v>All Others</c:v>
                </c:pt>
                <c:pt idx="87">
                  <c:v>Aperivrais</c:v>
                </c:pt>
                <c:pt idx="88">
                  <c:v>All Others</c:v>
                </c:pt>
                <c:pt idx="89">
                  <c:v>Apericube</c:v>
                </c:pt>
                <c:pt idx="90">
                  <c:v>Le Rustique</c:v>
                </c:pt>
                <c:pt idx="91">
                  <c:v>Paysan Bret</c:v>
                </c:pt>
                <c:pt idx="92">
                  <c:v>Apericube</c:v>
                </c:pt>
                <c:pt idx="93">
                  <c:v>Ficello</c:v>
                </c:pt>
                <c:pt idx="94">
                  <c:v>Aperivrais</c:v>
                </c:pt>
                <c:pt idx="95">
                  <c:v>Salakis</c:v>
                </c:pt>
                <c:pt idx="96">
                  <c:v>Caprice Des</c:v>
                </c:pt>
                <c:pt idx="97">
                  <c:v>Galbani</c:v>
                </c:pt>
                <c:pt idx="98">
                  <c:v>Coeur De Li</c:v>
                </c:pt>
                <c:pt idx="99">
                  <c:v>Kiri</c:v>
                </c:pt>
                <c:pt idx="100">
                  <c:v>Casa Azzurr</c:v>
                </c:pt>
                <c:pt idx="101">
                  <c:v>All Others</c:v>
                </c:pt>
                <c:pt idx="102">
                  <c:v>All Others</c:v>
                </c:pt>
                <c:pt idx="103">
                  <c:v>All Others</c:v>
                </c:pt>
                <c:pt idx="104">
                  <c:v>Etorki</c:v>
                </c:pt>
                <c:pt idx="105">
                  <c:v>All Others</c:v>
                </c:pt>
                <c:pt idx="106">
                  <c:v>Chavroux</c:v>
                </c:pt>
                <c:pt idx="107">
                  <c:v>Salakis</c:v>
                </c:pt>
                <c:pt idx="108">
                  <c:v>All Others</c:v>
                </c:pt>
                <c:pt idx="109">
                  <c:v>Soignon</c:v>
                </c:pt>
                <c:pt idx="110">
                  <c:v>Lactalis: A</c:v>
                </c:pt>
                <c:pt idx="111">
                  <c:v>Soignon</c:v>
                </c:pt>
                <c:pt idx="112">
                  <c:v>President</c:v>
                </c:pt>
                <c:pt idx="113">
                  <c:v>Soignon</c:v>
                </c:pt>
                <c:pt idx="114">
                  <c:v>President</c:v>
                </c:pt>
                <c:pt idx="115">
                  <c:v>All Others</c:v>
                </c:pt>
                <c:pt idx="116">
                  <c:v>Lactalis: A</c:v>
                </c:pt>
                <c:pt idx="117">
                  <c:v>Lou Perac</c:v>
                </c:pt>
                <c:pt idx="118">
                  <c:v>La Vache Qu</c:v>
                </c:pt>
                <c:pt idx="119">
                  <c:v>All Others</c:v>
                </c:pt>
                <c:pt idx="120">
                  <c:v>Galbani</c:v>
                </c:pt>
                <c:pt idx="121">
                  <c:v>President</c:v>
                </c:pt>
                <c:pt idx="122">
                  <c:v>All Others</c:v>
                </c:pt>
                <c:pt idx="123">
                  <c:v>Rondele</c:v>
                </c:pt>
                <c:pt idx="124">
                  <c:v>Paysan Bret</c:v>
                </c:pt>
                <c:pt idx="125">
                  <c:v>Kiri</c:v>
                </c:pt>
                <c:pt idx="126">
                  <c:v>All Others</c:v>
                </c:pt>
                <c:pt idx="127">
                  <c:v>La Vache Qu</c:v>
                </c:pt>
                <c:pt idx="128">
                  <c:v>All Others</c:v>
                </c:pt>
                <c:pt idx="129">
                  <c:v>Salakis</c:v>
                </c:pt>
                <c:pt idx="130">
                  <c:v>Tartare</c:v>
                </c:pt>
                <c:pt idx="131">
                  <c:v>Galbani</c:v>
                </c:pt>
                <c:pt idx="132">
                  <c:v>Boursin</c:v>
                </c:pt>
                <c:pt idx="133">
                  <c:v>Apericube</c:v>
                </c:pt>
                <c:pt idx="134">
                  <c:v>Paysan Bret</c:v>
                </c:pt>
                <c:pt idx="135">
                  <c:v>President</c:v>
                </c:pt>
                <c:pt idx="136">
                  <c:v>Islos</c:v>
                </c:pt>
                <c:pt idx="137">
                  <c:v>Paysan Bret</c:v>
                </c:pt>
                <c:pt idx="138">
                  <c:v>Chavroux</c:v>
                </c:pt>
                <c:pt idx="139">
                  <c:v>Aperivrais</c:v>
                </c:pt>
                <c:pt idx="140">
                  <c:v>President</c:v>
                </c:pt>
                <c:pt idx="141">
                  <c:v>Boursin</c:v>
                </c:pt>
                <c:pt idx="142">
                  <c:v>All Others</c:v>
                </c:pt>
                <c:pt idx="143">
                  <c:v>Soignon</c:v>
                </c:pt>
                <c:pt idx="144">
                  <c:v>P'Tit Louis</c:v>
                </c:pt>
                <c:pt idx="145">
                  <c:v>Philadelphi</c:v>
                </c:pt>
                <c:pt idx="146">
                  <c:v>All Others</c:v>
                </c:pt>
                <c:pt idx="147">
                  <c:v>All Others</c:v>
                </c:pt>
                <c:pt idx="148">
                  <c:v>Casa Azzurr</c:v>
                </c:pt>
                <c:pt idx="149">
                  <c:v>All Others</c:v>
                </c:pt>
                <c:pt idx="150">
                  <c:v>Casa Azzurr</c:v>
                </c:pt>
                <c:pt idx="151">
                  <c:v>All Others</c:v>
                </c:pt>
                <c:pt idx="152">
                  <c:v>Soignon</c:v>
                </c:pt>
                <c:pt idx="153">
                  <c:v>All Others</c:v>
                </c:pt>
                <c:pt idx="154">
                  <c:v>All Others</c:v>
                </c:pt>
                <c:pt idx="155">
                  <c:v>Soignon</c:v>
                </c:pt>
                <c:pt idx="156">
                  <c:v>All Others</c:v>
                </c:pt>
                <c:pt idx="157">
                  <c:v>President</c:v>
                </c:pt>
                <c:pt idx="158">
                  <c:v>All Others</c:v>
                </c:pt>
                <c:pt idx="159">
                  <c:v>Lactalis: A</c:v>
                </c:pt>
                <c:pt idx="160">
                  <c:v>Boursin</c:v>
                </c:pt>
                <c:pt idx="161">
                  <c:v>Boursin</c:v>
                </c:pt>
                <c:pt idx="162">
                  <c:v>All Others</c:v>
                </c:pt>
                <c:pt idx="163">
                  <c:v>Istara</c:v>
                </c:pt>
                <c:pt idx="164">
                  <c:v>All Others</c:v>
                </c:pt>
                <c:pt idx="165">
                  <c:v>Le Rustique</c:v>
                </c:pt>
                <c:pt idx="166">
                  <c:v>All Others</c:v>
                </c:pt>
                <c:pt idx="167">
                  <c:v>Rondele</c:v>
                </c:pt>
                <c:pt idx="168">
                  <c:v>Lou Perac</c:v>
                </c:pt>
                <c:pt idx="169">
                  <c:v>Mini Babybe</c:v>
                </c:pt>
                <c:pt idx="170">
                  <c:v>All Others</c:v>
                </c:pt>
                <c:pt idx="171">
                  <c:v>Savencia: A</c:v>
                </c:pt>
                <c:pt idx="172">
                  <c:v>Soignon</c:v>
                </c:pt>
                <c:pt idx="173">
                  <c:v>All Others</c:v>
                </c:pt>
                <c:pt idx="174">
                  <c:v>All Others</c:v>
                </c:pt>
                <c:pt idx="175">
                  <c:v>Chavroux</c:v>
                </c:pt>
                <c:pt idx="176">
                  <c:v>All Others</c:v>
                </c:pt>
                <c:pt idx="177">
                  <c:v>All Others</c:v>
                </c:pt>
                <c:pt idx="178">
                  <c:v>Paysan Bret</c:v>
                </c:pt>
                <c:pt idx="179">
                  <c:v>All Others</c:v>
                </c:pt>
                <c:pt idx="180">
                  <c:v>All Others</c:v>
                </c:pt>
                <c:pt idx="181">
                  <c:v>Boursin</c:v>
                </c:pt>
                <c:pt idx="182">
                  <c:v>Apericube</c:v>
                </c:pt>
                <c:pt idx="183">
                  <c:v>All Others</c:v>
                </c:pt>
                <c:pt idx="184">
                  <c:v>Tartare</c:v>
                </c:pt>
                <c:pt idx="185">
                  <c:v>Casa Azzurr</c:v>
                </c:pt>
                <c:pt idx="186">
                  <c:v>Salakis</c:v>
                </c:pt>
                <c:pt idx="187">
                  <c:v>St Moret</c:v>
                </c:pt>
                <c:pt idx="188">
                  <c:v>Lactalis: A</c:v>
                </c:pt>
                <c:pt idx="189">
                  <c:v>St Moret</c:v>
                </c:pt>
                <c:pt idx="190">
                  <c:v>All Others</c:v>
                </c:pt>
                <c:pt idx="191">
                  <c:v>Caprice Des</c:v>
                </c:pt>
                <c:pt idx="192">
                  <c:v>All Others</c:v>
                </c:pt>
                <c:pt idx="193">
                  <c:v>All Others</c:v>
                </c:pt>
                <c:pt idx="194">
                  <c:v>All Others</c:v>
                </c:pt>
                <c:pt idx="195">
                  <c:v>Apericube</c:v>
                </c:pt>
                <c:pt idx="196">
                  <c:v>Savencia: A</c:v>
                </c:pt>
                <c:pt idx="197">
                  <c:v>All Others</c:v>
                </c:pt>
                <c:pt idx="198">
                  <c:v>Triballat N</c:v>
                </c:pt>
                <c:pt idx="199">
                  <c:v>All Others</c:v>
                </c:pt>
                <c:pt idx="200">
                  <c:v>Etoile Du Q</c:v>
                </c:pt>
                <c:pt idx="201">
                  <c:v>All Others</c:v>
                </c:pt>
                <c:pt idx="202">
                  <c:v>Leerdammer</c:v>
                </c:pt>
                <c:pt idx="203">
                  <c:v>Boursin</c:v>
                </c:pt>
                <c:pt idx="204">
                  <c:v>St Moret</c:v>
                </c:pt>
                <c:pt idx="205">
                  <c:v>Aperivrais</c:v>
                </c:pt>
                <c:pt idx="206">
                  <c:v>All Others</c:v>
                </c:pt>
                <c:pt idx="207">
                  <c:v>Paysan Bret</c:v>
                </c:pt>
                <c:pt idx="208">
                  <c:v>All Others</c:v>
                </c:pt>
                <c:pt idx="209">
                  <c:v>Boursin</c:v>
                </c:pt>
                <c:pt idx="210">
                  <c:v>Philadelphi</c:v>
                </c:pt>
                <c:pt idx="211">
                  <c:v>President</c:v>
                </c:pt>
                <c:pt idx="212">
                  <c:v>Boursin</c:v>
                </c:pt>
                <c:pt idx="213">
                  <c:v>Soignon</c:v>
                </c:pt>
                <c:pt idx="214">
                  <c:v>Boursin</c:v>
                </c:pt>
                <c:pt idx="215">
                  <c:v>All Others</c:v>
                </c:pt>
                <c:pt idx="216">
                  <c:v>All Others</c:v>
                </c:pt>
                <c:pt idx="217">
                  <c:v>Soignon</c:v>
                </c:pt>
                <c:pt idx="218">
                  <c:v>All Others</c:v>
                </c:pt>
                <c:pt idx="219">
                  <c:v>All Others</c:v>
                </c:pt>
                <c:pt idx="220">
                  <c:v>Ficello</c:v>
                </c:pt>
                <c:pt idx="221">
                  <c:v>Mini Babybe</c:v>
                </c:pt>
                <c:pt idx="222">
                  <c:v>All Others</c:v>
                </c:pt>
                <c:pt idx="223">
                  <c:v>Pave D'Affi</c:v>
                </c:pt>
                <c:pt idx="224">
                  <c:v>All Others</c:v>
                </c:pt>
                <c:pt idx="225">
                  <c:v>Caprice Des</c:v>
                </c:pt>
                <c:pt idx="226">
                  <c:v>All Others</c:v>
                </c:pt>
                <c:pt idx="227">
                  <c:v>All Others</c:v>
                </c:pt>
                <c:pt idx="228">
                  <c:v>All Others</c:v>
                </c:pt>
                <c:pt idx="229">
                  <c:v>All Others</c:v>
                </c:pt>
                <c:pt idx="230">
                  <c:v>All Others</c:v>
                </c:pt>
                <c:pt idx="231">
                  <c:v>All Others</c:v>
                </c:pt>
                <c:pt idx="232">
                  <c:v>All Others</c:v>
                </c:pt>
                <c:pt idx="233">
                  <c:v>Mini Babybe</c:v>
                </c:pt>
                <c:pt idx="234">
                  <c:v>All Others</c:v>
                </c:pt>
                <c:pt idx="235">
                  <c:v>All Others</c:v>
                </c:pt>
                <c:pt idx="236">
                  <c:v>Savencia: A</c:v>
                </c:pt>
                <c:pt idx="237">
                  <c:v>Soignon</c:v>
                </c:pt>
                <c:pt idx="238">
                  <c:v>All Others</c:v>
                </c:pt>
                <c:pt idx="239">
                  <c:v>All Others</c:v>
                </c:pt>
                <c:pt idx="240">
                  <c:v>Triballat R</c:v>
                </c:pt>
                <c:pt idx="241">
                  <c:v>All Others</c:v>
                </c:pt>
                <c:pt idx="242">
                  <c:v>Lou Perac</c:v>
                </c:pt>
                <c:pt idx="243">
                  <c:v>Kiri</c:v>
                </c:pt>
                <c:pt idx="244">
                  <c:v>Kiri</c:v>
                </c:pt>
                <c:pt idx="245">
                  <c:v>All Others</c:v>
                </c:pt>
                <c:pt idx="246">
                  <c:v>Kiri</c:v>
                </c:pt>
                <c:pt idx="247">
                  <c:v>Lactalis: A</c:v>
                </c:pt>
                <c:pt idx="248">
                  <c:v>All Others</c:v>
                </c:pt>
                <c:pt idx="249">
                  <c:v>All Others</c:v>
                </c:pt>
                <c:pt idx="250">
                  <c:v>All Others</c:v>
                </c:pt>
                <c:pt idx="251">
                  <c:v>All Others</c:v>
                </c:pt>
                <c:pt idx="252">
                  <c:v>Tartare</c:v>
                </c:pt>
                <c:pt idx="253">
                  <c:v>All Others</c:v>
                </c:pt>
                <c:pt idx="254">
                  <c:v>All Others</c:v>
                </c:pt>
                <c:pt idx="255">
                  <c:v>All Others</c:v>
                </c:pt>
                <c:pt idx="256">
                  <c:v>All Others</c:v>
                </c:pt>
                <c:pt idx="257">
                  <c:v>All Others</c:v>
                </c:pt>
                <c:pt idx="258">
                  <c:v>All Others</c:v>
                </c:pt>
                <c:pt idx="259">
                  <c:v>All Others</c:v>
                </c:pt>
                <c:pt idx="260">
                  <c:v>All Others</c:v>
                </c:pt>
                <c:pt idx="261">
                  <c:v>Aperivrais</c:v>
                </c:pt>
                <c:pt idx="262">
                  <c:v>Saint Agur</c:v>
                </c:pt>
                <c:pt idx="263">
                  <c:v>All Others</c:v>
                </c:pt>
                <c:pt idx="264">
                  <c:v>All Others</c:v>
                </c:pt>
                <c:pt idx="265">
                  <c:v>All Others</c:v>
                </c:pt>
                <c:pt idx="266">
                  <c:v>Savencia: A</c:v>
                </c:pt>
                <c:pt idx="267">
                  <c:v>Corsica</c:v>
                </c:pt>
                <c:pt idx="268">
                  <c:v>All Others</c:v>
                </c:pt>
                <c:pt idx="269">
                  <c:v>Violife</c:v>
                </c:pt>
                <c:pt idx="270">
                  <c:v>Chavroux</c:v>
                </c:pt>
                <c:pt idx="271">
                  <c:v>Eurial Autr</c:v>
                </c:pt>
                <c:pt idx="272">
                  <c:v>All Others</c:v>
                </c:pt>
                <c:pt idx="273">
                  <c:v>All Others</c:v>
                </c:pt>
                <c:pt idx="274">
                  <c:v>All Others</c:v>
                </c:pt>
                <c:pt idx="275">
                  <c:v>Lou Perac</c:v>
                </c:pt>
                <c:pt idx="276">
                  <c:v>Violife</c:v>
                </c:pt>
                <c:pt idx="277">
                  <c:v>Lactalis: A</c:v>
                </c:pt>
                <c:pt idx="278">
                  <c:v>All Others</c:v>
                </c:pt>
                <c:pt idx="279">
                  <c:v>All Others</c:v>
                </c:pt>
                <c:pt idx="280">
                  <c:v>La Vache Qu</c:v>
                </c:pt>
                <c:pt idx="281">
                  <c:v>All Others</c:v>
                </c:pt>
                <c:pt idx="282">
                  <c:v>All Others</c:v>
                </c:pt>
                <c:pt idx="283">
                  <c:v>Salakis</c:v>
                </c:pt>
                <c:pt idx="284">
                  <c:v>Etoile Du Q</c:v>
                </c:pt>
                <c:pt idx="285">
                  <c:v>All Others</c:v>
                </c:pt>
                <c:pt idx="286">
                  <c:v>Etoile Du V</c:v>
                </c:pt>
                <c:pt idx="287">
                  <c:v>All Others</c:v>
                </c:pt>
                <c:pt idx="288">
                  <c:v>Violife</c:v>
                </c:pt>
                <c:pt idx="289">
                  <c:v>All Others</c:v>
                </c:pt>
                <c:pt idx="290">
                  <c:v>All Others</c:v>
                </c:pt>
                <c:pt idx="291">
                  <c:v>Triballat R</c:v>
                </c:pt>
                <c:pt idx="292">
                  <c:v>Lactalis: A</c:v>
                </c:pt>
                <c:pt idx="293">
                  <c:v>All Others</c:v>
                </c:pt>
                <c:pt idx="294">
                  <c:v>All Others</c:v>
                </c:pt>
                <c:pt idx="295">
                  <c:v>All Others</c:v>
                </c:pt>
                <c:pt idx="296">
                  <c:v>All Others</c:v>
                </c:pt>
                <c:pt idx="297">
                  <c:v>All Others</c:v>
                </c:pt>
                <c:pt idx="298">
                  <c:v>Savencia: A</c:v>
                </c:pt>
                <c:pt idx="299">
                  <c:v>All Others</c:v>
                </c:pt>
                <c:pt idx="300">
                  <c:v>Boursin</c:v>
                </c:pt>
                <c:pt idx="301">
                  <c:v>All Others</c:v>
                </c:pt>
                <c:pt idx="302">
                  <c:v>Entremont</c:v>
                </c:pt>
                <c:pt idx="303">
                  <c:v>All Others</c:v>
                </c:pt>
                <c:pt idx="304">
                  <c:v>All Others</c:v>
                </c:pt>
                <c:pt idx="305">
                  <c:v>All Others</c:v>
                </c:pt>
                <c:pt idx="306">
                  <c:v>All Others</c:v>
                </c:pt>
                <c:pt idx="307">
                  <c:v>All Others</c:v>
                </c:pt>
                <c:pt idx="308">
                  <c:v>All Others</c:v>
                </c:pt>
                <c:pt idx="309">
                  <c:v>All Others</c:v>
                </c:pt>
                <c:pt idx="310">
                  <c:v>Apericube</c:v>
                </c:pt>
                <c:pt idx="311">
                  <c:v>Violife</c:v>
                </c:pt>
                <c:pt idx="312">
                  <c:v>All Others</c:v>
                </c:pt>
                <c:pt idx="313">
                  <c:v>All Others</c:v>
                </c:pt>
                <c:pt idx="314">
                  <c:v>All Others</c:v>
                </c:pt>
                <c:pt idx="315">
                  <c:v>All Others</c:v>
                </c:pt>
                <c:pt idx="316">
                  <c:v>Islos</c:v>
                </c:pt>
                <c:pt idx="317">
                  <c:v>All Others</c:v>
                </c:pt>
                <c:pt idx="318">
                  <c:v>All Others</c:v>
                </c:pt>
                <c:pt idx="319">
                  <c:v>Philadelphi</c:v>
                </c:pt>
                <c:pt idx="320">
                  <c:v>All Others</c:v>
                </c:pt>
                <c:pt idx="321">
                  <c:v>O'Tapas Ape</c:v>
                </c:pt>
                <c:pt idx="322">
                  <c:v>All Others</c:v>
                </c:pt>
                <c:pt idx="323">
                  <c:v>Triballat R</c:v>
                </c:pt>
                <c:pt idx="324">
                  <c:v>All Others</c:v>
                </c:pt>
                <c:pt idx="325">
                  <c:v>All Others</c:v>
                </c:pt>
                <c:pt idx="326">
                  <c:v>Lactalis: A</c:v>
                </c:pt>
                <c:pt idx="327">
                  <c:v>All Others</c:v>
                </c:pt>
                <c:pt idx="328">
                  <c:v>All Others</c:v>
                </c:pt>
                <c:pt idx="329">
                  <c:v>All Others</c:v>
                </c:pt>
                <c:pt idx="330">
                  <c:v>All Others</c:v>
                </c:pt>
                <c:pt idx="331">
                  <c:v>All Others</c:v>
                </c:pt>
                <c:pt idx="332">
                  <c:v>Triballat N</c:v>
                </c:pt>
                <c:pt idx="333">
                  <c:v>All Others</c:v>
                </c:pt>
                <c:pt idx="334">
                  <c:v>All Others</c:v>
                </c:pt>
                <c:pt idx="335">
                  <c:v>All Others</c:v>
                </c:pt>
                <c:pt idx="336">
                  <c:v>All Others</c:v>
                </c:pt>
                <c:pt idx="337">
                  <c:v>All Others</c:v>
                </c:pt>
                <c:pt idx="338">
                  <c:v>Paysan Bret</c:v>
                </c:pt>
                <c:pt idx="339">
                  <c:v>Violife</c:v>
                </c:pt>
                <c:pt idx="340">
                  <c:v>Savencia: A</c:v>
                </c:pt>
                <c:pt idx="341">
                  <c:v>Violife</c:v>
                </c:pt>
                <c:pt idx="342">
                  <c:v>All Others</c:v>
                </c:pt>
                <c:pt idx="343">
                  <c:v>All Others</c:v>
                </c:pt>
                <c:pt idx="344">
                  <c:v>All Others</c:v>
                </c:pt>
                <c:pt idx="345">
                  <c:v>All Others</c:v>
                </c:pt>
                <c:pt idx="346">
                  <c:v>Boursin</c:v>
                </c:pt>
                <c:pt idx="347">
                  <c:v>Entremont</c:v>
                </c:pt>
                <c:pt idx="348">
                  <c:v>Lactalis: A</c:v>
                </c:pt>
                <c:pt idx="349">
                  <c:v>All Others</c:v>
                </c:pt>
                <c:pt idx="350">
                  <c:v>All Others</c:v>
                </c:pt>
                <c:pt idx="351">
                  <c:v>All Others</c:v>
                </c:pt>
                <c:pt idx="352">
                  <c:v>All Others</c:v>
                </c:pt>
                <c:pt idx="353">
                  <c:v>Corsica</c:v>
                </c:pt>
                <c:pt idx="354">
                  <c:v>Richesmonts</c:v>
                </c:pt>
                <c:pt idx="355">
                  <c:v>All Others</c:v>
                </c:pt>
                <c:pt idx="356">
                  <c:v>Casa Azzurr</c:v>
                </c:pt>
                <c:pt idx="357">
                  <c:v>All Others</c:v>
                </c:pt>
                <c:pt idx="358">
                  <c:v>Paysan Bret</c:v>
                </c:pt>
                <c:pt idx="359">
                  <c:v>Etoile Du V</c:v>
                </c:pt>
                <c:pt idx="360">
                  <c:v>All Others</c:v>
                </c:pt>
                <c:pt idx="361">
                  <c:v>All Others</c:v>
                </c:pt>
                <c:pt idx="362">
                  <c:v>All Others</c:v>
                </c:pt>
                <c:pt idx="363">
                  <c:v>Apericube</c:v>
                </c:pt>
                <c:pt idx="364">
                  <c:v>All Others</c:v>
                </c:pt>
                <c:pt idx="365">
                  <c:v>All Others</c:v>
                </c:pt>
                <c:pt idx="366">
                  <c:v>All Others</c:v>
                </c:pt>
                <c:pt idx="367">
                  <c:v>All Others</c:v>
                </c:pt>
                <c:pt idx="368">
                  <c:v>Caprice Des</c:v>
                </c:pt>
                <c:pt idx="369">
                  <c:v>All Others</c:v>
                </c:pt>
                <c:pt idx="370">
                  <c:v>All Others</c:v>
                </c:pt>
                <c:pt idx="371">
                  <c:v>Nurishh</c:v>
                </c:pt>
                <c:pt idx="372">
                  <c:v>Nurishh</c:v>
                </c:pt>
                <c:pt idx="373">
                  <c:v>All Others</c:v>
                </c:pt>
                <c:pt idx="374">
                  <c:v>All Others</c:v>
                </c:pt>
                <c:pt idx="375">
                  <c:v>O'Tapas Ape</c:v>
                </c:pt>
                <c:pt idx="376">
                  <c:v>All Others</c:v>
                </c:pt>
                <c:pt idx="377">
                  <c:v>Apericube</c:v>
                </c:pt>
                <c:pt idx="378">
                  <c:v>Milleret: A</c:v>
                </c:pt>
                <c:pt idx="379">
                  <c:v>Paysan Bret</c:v>
                </c:pt>
                <c:pt idx="380">
                  <c:v>All Others</c:v>
                </c:pt>
                <c:pt idx="381">
                  <c:v>All Others</c:v>
                </c:pt>
                <c:pt idx="382">
                  <c:v>Nurishh</c:v>
                </c:pt>
                <c:pt idx="383">
                  <c:v>All Others</c:v>
                </c:pt>
                <c:pt idx="384">
                  <c:v>All Others</c:v>
                </c:pt>
                <c:pt idx="385">
                  <c:v>Aperivrais</c:v>
                </c:pt>
                <c:pt idx="386">
                  <c:v>All Others</c:v>
                </c:pt>
                <c:pt idx="387">
                  <c:v>All Others</c:v>
                </c:pt>
                <c:pt idx="388">
                  <c:v>Apericube</c:v>
                </c:pt>
                <c:pt idx="389">
                  <c:v>All Others</c:v>
                </c:pt>
                <c:pt idx="390">
                  <c:v>All Others</c:v>
                </c:pt>
                <c:pt idx="391">
                  <c:v>Tartare</c:v>
                </c:pt>
                <c:pt idx="392">
                  <c:v>Tartare</c:v>
                </c:pt>
                <c:pt idx="393">
                  <c:v>All Others</c:v>
                </c:pt>
                <c:pt idx="394">
                  <c:v>All Others</c:v>
                </c:pt>
                <c:pt idx="395">
                  <c:v>All Others</c:v>
                </c:pt>
                <c:pt idx="396">
                  <c:v>All Others</c:v>
                </c:pt>
                <c:pt idx="397">
                  <c:v>President</c:v>
                </c:pt>
                <c:pt idx="398">
                  <c:v>All Others</c:v>
                </c:pt>
                <c:pt idx="399">
                  <c:v>All Others</c:v>
                </c:pt>
                <c:pt idx="400">
                  <c:v>All Others</c:v>
                </c:pt>
                <c:pt idx="401">
                  <c:v>Violife</c:v>
                </c:pt>
                <c:pt idx="402">
                  <c:v>All Others</c:v>
                </c:pt>
                <c:pt idx="403">
                  <c:v>All Others</c:v>
                </c:pt>
                <c:pt idx="404">
                  <c:v>Apericube</c:v>
                </c:pt>
                <c:pt idx="405">
                  <c:v>O'Tapas Ape</c:v>
                </c:pt>
                <c:pt idx="406">
                  <c:v>Tartare</c:v>
                </c:pt>
                <c:pt idx="407">
                  <c:v>Aperivrais</c:v>
                </c:pt>
                <c:pt idx="408">
                  <c:v>Triballat R</c:v>
                </c:pt>
                <c:pt idx="409">
                  <c:v>All Others</c:v>
                </c:pt>
                <c:pt idx="410">
                  <c:v>All Others</c:v>
                </c:pt>
                <c:pt idx="411">
                  <c:v>All Others</c:v>
                </c:pt>
                <c:pt idx="412">
                  <c:v>Apericube</c:v>
                </c:pt>
                <c:pt idx="413">
                  <c:v>All Others</c:v>
                </c:pt>
                <c:pt idx="414">
                  <c:v>All Others</c:v>
                </c:pt>
                <c:pt idx="415">
                  <c:v>Nurishh</c:v>
                </c:pt>
                <c:pt idx="416">
                  <c:v>Violife</c:v>
                </c:pt>
                <c:pt idx="417">
                  <c:v>All Others</c:v>
                </c:pt>
                <c:pt idx="418">
                  <c:v>All Others</c:v>
                </c:pt>
                <c:pt idx="419">
                  <c:v>All Others</c:v>
                </c:pt>
                <c:pt idx="420">
                  <c:v>Apericube</c:v>
                </c:pt>
                <c:pt idx="421">
                  <c:v>All Others</c:v>
                </c:pt>
                <c:pt idx="422">
                  <c:v>All Others</c:v>
                </c:pt>
                <c:pt idx="423">
                  <c:v>All Others</c:v>
                </c:pt>
                <c:pt idx="424">
                  <c:v>Triballat N</c:v>
                </c:pt>
                <c:pt idx="425">
                  <c:v>All Others</c:v>
                </c:pt>
                <c:pt idx="426">
                  <c:v>All Others</c:v>
                </c:pt>
                <c:pt idx="427">
                  <c:v>Apericube</c:v>
                </c:pt>
                <c:pt idx="428">
                  <c:v>All Others</c:v>
                </c:pt>
                <c:pt idx="429">
                  <c:v>Apericube</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Violife</c:v>
                </c:pt>
                <c:pt idx="447">
                  <c:v>Apericube</c:v>
                </c:pt>
                <c:pt idx="448">
                  <c:v>All Others</c:v>
                </c:pt>
                <c:pt idx="449">
                  <c:v>All Others</c:v>
                </c:pt>
                <c:pt idx="450">
                  <c:v>All Others</c:v>
                </c:pt>
                <c:pt idx="451">
                  <c:v>All Others</c:v>
                </c:pt>
                <c:pt idx="452">
                  <c:v>Lactalis: A</c:v>
                </c:pt>
                <c:pt idx="453">
                  <c:v>All Others</c:v>
                </c:pt>
                <c:pt idx="454">
                  <c:v>All Others</c:v>
                </c:pt>
                <c:pt idx="455">
                  <c:v>All Others</c:v>
                </c:pt>
                <c:pt idx="456">
                  <c:v>Aperivrais</c:v>
                </c:pt>
                <c:pt idx="457">
                  <c:v>All Others</c:v>
                </c:pt>
                <c:pt idx="458">
                  <c:v>All Others</c:v>
                </c:pt>
                <c:pt idx="459">
                  <c:v>All Others</c:v>
                </c:pt>
                <c:pt idx="460">
                  <c:v>All Others</c:v>
                </c:pt>
                <c:pt idx="461">
                  <c:v>All Others</c:v>
                </c:pt>
                <c:pt idx="462">
                  <c:v>All Others</c:v>
                </c:pt>
                <c:pt idx="463">
                  <c:v>Violife</c:v>
                </c:pt>
                <c:pt idx="464">
                  <c:v>All Others</c:v>
                </c:pt>
                <c:pt idx="465">
                  <c:v>All Others</c:v>
                </c:pt>
                <c:pt idx="466">
                  <c:v>O'Tapas Ape</c:v>
                </c:pt>
                <c:pt idx="467">
                  <c:v>All Others</c:v>
                </c:pt>
                <c:pt idx="468">
                  <c:v>All Others</c:v>
                </c:pt>
                <c:pt idx="469">
                  <c:v>All Others</c:v>
                </c:pt>
                <c:pt idx="470">
                  <c:v>All Others</c:v>
                </c:pt>
                <c:pt idx="471">
                  <c:v>All Others</c:v>
                </c:pt>
                <c:pt idx="472">
                  <c:v>All Others</c:v>
                </c:pt>
                <c:pt idx="473">
                  <c:v>All Others</c:v>
                </c:pt>
                <c:pt idx="474">
                  <c:v>All Others</c:v>
                </c:pt>
                <c:pt idx="475">
                  <c:v>Boursin</c:v>
                </c:pt>
                <c:pt idx="476">
                  <c:v>All Others</c:v>
                </c:pt>
                <c:pt idx="477">
                  <c:v>Ficello</c:v>
                </c:pt>
                <c:pt idx="478">
                  <c:v>All Others</c:v>
                </c:pt>
                <c:pt idx="479">
                  <c:v>All Others</c:v>
                </c:pt>
                <c:pt idx="480">
                  <c:v>All Others</c:v>
                </c:pt>
                <c:pt idx="481">
                  <c:v>All Others</c:v>
                </c:pt>
                <c:pt idx="482">
                  <c:v>All Others</c:v>
                </c:pt>
                <c:pt idx="483">
                  <c:v>Tartare</c:v>
                </c:pt>
                <c:pt idx="484">
                  <c:v>All Others</c:v>
                </c:pt>
                <c:pt idx="485">
                  <c:v>All Others</c:v>
                </c:pt>
                <c:pt idx="486">
                  <c:v>All Others</c:v>
                </c:pt>
                <c:pt idx="487">
                  <c:v>All Others</c:v>
                </c:pt>
                <c:pt idx="488">
                  <c:v>All Others</c:v>
                </c:pt>
                <c:pt idx="489">
                  <c:v>Kiri</c:v>
                </c:pt>
                <c:pt idx="490">
                  <c:v>All Others</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All Others</c:v>
                </c:pt>
                <c:pt idx="503">
                  <c:v>Istara</c:v>
                </c:pt>
                <c:pt idx="504">
                  <c:v>All Others</c:v>
                </c:pt>
                <c:pt idx="505">
                  <c:v>All Others</c:v>
                </c:pt>
                <c:pt idx="506">
                  <c:v>All Others</c:v>
                </c:pt>
                <c:pt idx="507">
                  <c:v>All Others</c:v>
                </c:pt>
                <c:pt idx="508">
                  <c:v>Triballat R</c:v>
                </c:pt>
                <c:pt idx="509">
                  <c:v>All Others</c:v>
                </c:pt>
                <c:pt idx="510">
                  <c:v>All Others</c:v>
                </c:pt>
                <c:pt idx="511">
                  <c:v>All Others</c:v>
                </c:pt>
                <c:pt idx="512">
                  <c:v>Milleret: A</c:v>
                </c:pt>
                <c:pt idx="513">
                  <c:v>Eurial Autr</c:v>
                </c:pt>
                <c:pt idx="514">
                  <c:v>All Others</c:v>
                </c:pt>
                <c:pt idx="515">
                  <c:v>All Others</c:v>
                </c:pt>
                <c:pt idx="516">
                  <c:v>All Others</c:v>
                </c:pt>
                <c:pt idx="517">
                  <c:v>All Others</c:v>
                </c:pt>
                <c:pt idx="518">
                  <c:v>All Others</c:v>
                </c:pt>
                <c:pt idx="519">
                  <c:v>All Others</c:v>
                </c:pt>
                <c:pt idx="520">
                  <c:v>Eurial Autr</c:v>
                </c:pt>
                <c:pt idx="521">
                  <c:v>All Others</c:v>
                </c:pt>
                <c:pt idx="522">
                  <c:v>All Others</c:v>
                </c:pt>
                <c:pt idx="523">
                  <c:v>All Others</c:v>
                </c:pt>
                <c:pt idx="524">
                  <c:v>Soignon</c:v>
                </c:pt>
                <c:pt idx="525">
                  <c:v>All Others</c:v>
                </c:pt>
                <c:pt idx="526">
                  <c:v>Saint Agur</c:v>
                </c:pt>
                <c:pt idx="527">
                  <c:v>All Others</c:v>
                </c:pt>
                <c:pt idx="528">
                  <c:v>Boursin</c:v>
                </c:pt>
                <c:pt idx="529">
                  <c:v>All Others</c:v>
                </c:pt>
                <c:pt idx="530">
                  <c:v>All Others</c:v>
                </c:pt>
                <c:pt idx="531">
                  <c:v>All Others</c:v>
                </c:pt>
                <c:pt idx="532">
                  <c:v>All Others</c:v>
                </c:pt>
                <c:pt idx="533">
                  <c:v>All Others</c:v>
                </c:pt>
                <c:pt idx="534">
                  <c:v>Nurishh</c:v>
                </c:pt>
                <c:pt idx="535">
                  <c:v>All Others</c:v>
                </c:pt>
                <c:pt idx="536">
                  <c:v>All Others</c:v>
                </c:pt>
                <c:pt idx="537">
                  <c:v>All Others</c:v>
                </c:pt>
                <c:pt idx="538">
                  <c:v>All Others</c:v>
                </c:pt>
                <c:pt idx="539">
                  <c:v>All Others</c:v>
                </c:pt>
                <c:pt idx="540">
                  <c:v>All Others</c:v>
                </c:pt>
                <c:pt idx="541">
                  <c:v>All Others</c:v>
                </c:pt>
                <c:pt idx="542">
                  <c:v>All Others</c:v>
                </c:pt>
                <c:pt idx="543">
                  <c:v>All Others</c:v>
                </c:pt>
                <c:pt idx="544">
                  <c:v>All Others</c:v>
                </c:pt>
                <c:pt idx="545">
                  <c:v>All Others</c:v>
                </c:pt>
                <c:pt idx="546">
                  <c:v>All Others</c:v>
                </c:pt>
                <c:pt idx="547">
                  <c:v>All Others</c:v>
                </c:pt>
                <c:pt idx="548">
                  <c:v>All Others</c:v>
                </c:pt>
                <c:pt idx="549">
                  <c:v>All Others</c:v>
                </c:pt>
                <c:pt idx="550">
                  <c:v>All Others</c:v>
                </c:pt>
                <c:pt idx="551">
                  <c:v>Apericube</c:v>
                </c:pt>
                <c:pt idx="552">
                  <c:v>All Others</c:v>
                </c:pt>
                <c:pt idx="553">
                  <c:v>All Others</c:v>
                </c:pt>
                <c:pt idx="554">
                  <c:v>All Others</c:v>
                </c:pt>
                <c:pt idx="555">
                  <c:v>All Others</c:v>
                </c:pt>
                <c:pt idx="556">
                  <c:v>All Others</c:v>
                </c:pt>
                <c:pt idx="557">
                  <c:v>All Others</c:v>
                </c:pt>
                <c:pt idx="558">
                  <c:v>Nurishh</c:v>
                </c:pt>
                <c:pt idx="559">
                  <c:v>All Others</c:v>
                </c:pt>
                <c:pt idx="560">
                  <c:v>All Others</c:v>
                </c:pt>
                <c:pt idx="561">
                  <c:v>All Others</c:v>
                </c:pt>
                <c:pt idx="562">
                  <c:v>La Vache Qu</c:v>
                </c:pt>
                <c:pt idx="563">
                  <c:v>All Others</c:v>
                </c:pt>
                <c:pt idx="564">
                  <c:v>All Others</c:v>
                </c:pt>
                <c:pt idx="565">
                  <c:v>All Others</c:v>
                </c:pt>
                <c:pt idx="566">
                  <c:v>All Others</c:v>
                </c:pt>
                <c:pt idx="567">
                  <c:v>All Others</c:v>
                </c:pt>
                <c:pt idx="568">
                  <c:v>All Others</c:v>
                </c:pt>
                <c:pt idx="569">
                  <c:v>All Others</c:v>
                </c:pt>
                <c:pt idx="570">
                  <c:v>Eurial Autr</c:v>
                </c:pt>
                <c:pt idx="571">
                  <c:v>All Others</c:v>
                </c:pt>
                <c:pt idx="572">
                  <c:v>Mini Babybe</c:v>
                </c:pt>
                <c:pt idx="573">
                  <c:v>All Others</c:v>
                </c:pt>
                <c:pt idx="574">
                  <c:v>All Others</c:v>
                </c:pt>
                <c:pt idx="575">
                  <c:v>All Others</c:v>
                </c:pt>
                <c:pt idx="576">
                  <c:v>All Others</c:v>
                </c:pt>
                <c:pt idx="577">
                  <c:v>All Others</c:v>
                </c:pt>
                <c:pt idx="578">
                  <c:v>All Others</c:v>
                </c:pt>
                <c:pt idx="579">
                  <c:v>All Others</c:v>
                </c:pt>
                <c:pt idx="580">
                  <c:v>All Others</c:v>
                </c:pt>
                <c:pt idx="581">
                  <c:v>All Others</c:v>
                </c:pt>
                <c:pt idx="582">
                  <c:v>All Others</c:v>
                </c:pt>
                <c:pt idx="583">
                  <c:v>All Others</c:v>
                </c:pt>
                <c:pt idx="584">
                  <c:v>All Others</c:v>
                </c:pt>
                <c:pt idx="585">
                  <c:v>All Others</c:v>
                </c:pt>
                <c:pt idx="586">
                  <c:v>All Others</c:v>
                </c:pt>
                <c:pt idx="587">
                  <c:v>All Others</c:v>
                </c:pt>
                <c:pt idx="588">
                  <c:v>All Others</c:v>
                </c:pt>
                <c:pt idx="589">
                  <c:v>All Others</c:v>
                </c:pt>
                <c:pt idx="590">
                  <c:v>All Others</c:v>
                </c:pt>
                <c:pt idx="591">
                  <c:v>All Others</c:v>
                </c:pt>
                <c:pt idx="592">
                  <c:v>St Moret</c:v>
                </c:pt>
                <c:pt idx="593">
                  <c:v>All Others</c:v>
                </c:pt>
                <c:pt idx="594">
                  <c:v>All Others</c:v>
                </c:pt>
                <c:pt idx="595">
                  <c:v>All Others</c:v>
                </c:pt>
                <c:pt idx="596">
                  <c:v>All Others</c:v>
                </c:pt>
                <c:pt idx="597">
                  <c:v>All Others</c:v>
                </c:pt>
                <c:pt idx="598">
                  <c:v>Lactalis: A</c:v>
                </c:pt>
                <c:pt idx="599">
                  <c:v>Kiri</c:v>
                </c:pt>
                <c:pt idx="600">
                  <c:v>All Others</c:v>
                </c:pt>
                <c:pt idx="601">
                  <c:v>All Others</c:v>
                </c:pt>
                <c:pt idx="602">
                  <c:v>All Others</c:v>
                </c:pt>
                <c:pt idx="603">
                  <c:v>All Others</c:v>
                </c:pt>
                <c:pt idx="604">
                  <c:v>All Others</c:v>
                </c:pt>
                <c:pt idx="605">
                  <c:v>All Others</c:v>
                </c:pt>
                <c:pt idx="606">
                  <c:v>Boursin</c:v>
                </c:pt>
                <c:pt idx="607">
                  <c:v>All Others</c:v>
                </c:pt>
                <c:pt idx="608">
                  <c:v>All Others</c:v>
                </c:pt>
                <c:pt idx="609">
                  <c:v>All Others</c:v>
                </c:pt>
                <c:pt idx="610">
                  <c:v>All Others</c:v>
                </c:pt>
                <c:pt idx="611">
                  <c:v>All Others</c:v>
                </c:pt>
                <c:pt idx="612">
                  <c:v>Triballat R</c:v>
                </c:pt>
                <c:pt idx="613">
                  <c:v>All Others</c:v>
                </c:pt>
                <c:pt idx="614">
                  <c:v>Lactalis: A</c:v>
                </c:pt>
                <c:pt idx="615">
                  <c:v>Lactalis: A</c:v>
                </c:pt>
                <c:pt idx="616">
                  <c:v>All Others</c:v>
                </c:pt>
                <c:pt idx="617">
                  <c:v>All Others</c:v>
                </c:pt>
                <c:pt idx="618">
                  <c:v>Lactalis: A</c:v>
                </c:pt>
                <c:pt idx="619">
                  <c:v>All Others</c:v>
                </c:pt>
                <c:pt idx="620">
                  <c:v>All Others</c:v>
                </c:pt>
                <c:pt idx="621">
                  <c:v>All Others</c:v>
                </c:pt>
                <c:pt idx="622">
                  <c:v>All Others</c:v>
                </c:pt>
                <c:pt idx="623">
                  <c:v>All Others</c:v>
                </c:pt>
                <c:pt idx="624">
                  <c:v>All Others</c:v>
                </c:pt>
                <c:pt idx="625">
                  <c:v>All Others</c:v>
                </c:pt>
                <c:pt idx="626">
                  <c:v>All Others</c:v>
                </c:pt>
                <c:pt idx="627">
                  <c:v>All Others</c:v>
                </c:pt>
                <c:pt idx="628">
                  <c:v>All Others</c:v>
                </c:pt>
                <c:pt idx="629">
                  <c:v>All Others</c:v>
                </c:pt>
                <c:pt idx="630">
                  <c:v>All Others</c:v>
                </c:pt>
                <c:pt idx="631">
                  <c:v>All Others</c:v>
                </c:pt>
                <c:pt idx="632">
                  <c:v>All Others</c:v>
                </c:pt>
                <c:pt idx="633">
                  <c:v>All Others</c:v>
                </c:pt>
                <c:pt idx="634">
                  <c:v>Triballat R</c:v>
                </c:pt>
                <c:pt idx="635">
                  <c:v>Violife</c:v>
                </c:pt>
                <c:pt idx="636">
                  <c:v>All Others</c:v>
                </c:pt>
                <c:pt idx="637">
                  <c:v>All Others</c:v>
                </c:pt>
                <c:pt idx="638">
                  <c:v>Istara</c:v>
                </c:pt>
                <c:pt idx="639">
                  <c:v>All Others</c:v>
                </c:pt>
                <c:pt idx="640">
                  <c:v>All Others</c:v>
                </c:pt>
                <c:pt idx="641">
                  <c:v>All Others</c:v>
                </c:pt>
                <c:pt idx="642">
                  <c:v>Mini Babybe</c:v>
                </c:pt>
                <c:pt idx="643">
                  <c:v>St Moret</c:v>
                </c:pt>
                <c:pt idx="644">
                  <c:v>All Others</c:v>
                </c:pt>
                <c:pt idx="645">
                  <c:v>Islos</c:v>
                </c:pt>
                <c:pt idx="646">
                  <c:v>Leerdammer</c:v>
                </c:pt>
                <c:pt idx="647">
                  <c:v>St Moret</c:v>
                </c:pt>
                <c:pt idx="648">
                  <c:v>All Others</c:v>
                </c:pt>
                <c:pt idx="649">
                  <c:v>Eurial Autr</c:v>
                </c:pt>
                <c:pt idx="650">
                  <c:v>All Others</c:v>
                </c:pt>
                <c:pt idx="651">
                  <c:v>All Others</c:v>
                </c:pt>
                <c:pt idx="652">
                  <c:v>All Others</c:v>
                </c:pt>
                <c:pt idx="653">
                  <c:v>St Moret</c:v>
                </c:pt>
                <c:pt idx="654">
                  <c:v>All Others</c:v>
                </c:pt>
                <c:pt idx="655">
                  <c:v>All Others</c:v>
                </c:pt>
                <c:pt idx="656">
                  <c:v>Le Brebiou</c:v>
                </c:pt>
                <c:pt idx="657">
                  <c:v>Etorki</c:v>
                </c:pt>
                <c:pt idx="658">
                  <c:v>All Others</c:v>
                </c:pt>
                <c:pt idx="659">
                  <c:v>All Others</c:v>
                </c:pt>
                <c:pt idx="660">
                  <c:v>All Others</c:v>
                </c:pt>
                <c:pt idx="661">
                  <c:v>All Others</c:v>
                </c:pt>
                <c:pt idx="662">
                  <c:v>All Others</c:v>
                </c:pt>
                <c:pt idx="663">
                  <c:v>Tartare</c:v>
                </c:pt>
                <c:pt idx="664">
                  <c:v>Apericube</c:v>
                </c:pt>
                <c:pt idx="665">
                  <c:v>Boursin</c:v>
                </c:pt>
                <c:pt idx="666">
                  <c:v>All Others</c:v>
                </c:pt>
                <c:pt idx="667">
                  <c:v>All Others</c:v>
                </c:pt>
                <c:pt idx="668">
                  <c:v>All Others</c:v>
                </c:pt>
                <c:pt idx="669">
                  <c:v>All Others</c:v>
                </c:pt>
                <c:pt idx="670">
                  <c:v>All Others</c:v>
                </c:pt>
                <c:pt idx="671">
                  <c:v>Nurishh</c:v>
                </c:pt>
                <c:pt idx="672">
                  <c:v>Nurishh</c:v>
                </c:pt>
                <c:pt idx="673">
                  <c:v>All Others</c:v>
                </c:pt>
                <c:pt idx="674">
                  <c:v>P'Tit Louis</c:v>
                </c:pt>
                <c:pt idx="675">
                  <c:v>All Others</c:v>
                </c:pt>
                <c:pt idx="676">
                  <c:v>President</c:v>
                </c:pt>
                <c:pt idx="677">
                  <c:v>Nurishh</c:v>
                </c:pt>
                <c:pt idx="678">
                  <c:v>Petit Billy</c:v>
                </c:pt>
                <c:pt idx="679">
                  <c:v>Caprice Des</c:v>
                </c:pt>
              </c:strCache>
            </c:strRef>
          </c:cat>
          <c:val>
            <c:numRef>
              <c:f>Sheet1!$B$2:$B$681</c:f>
              <c:numCache>
                <c:formatCode>General</c:formatCode>
                <c:ptCount val="680"/>
                <c:pt idx="0">
                  <c:v>0.99</c:v>
                </c:pt>
                <c:pt idx="1">
                  <c:v>0.99</c:v>
                </c:pt>
                <c:pt idx="2">
                  <c:v>0.99</c:v>
                </c:pt>
                <c:pt idx="3">
                  <c:v>0.99</c:v>
                </c:pt>
                <c:pt idx="4">
                  <c:v>0.99</c:v>
                </c:pt>
                <c:pt idx="5">
                  <c:v>0.99</c:v>
                </c:pt>
                <c:pt idx="6">
                  <c:v>0.99</c:v>
                </c:pt>
                <c:pt idx="7">
                  <c:v>0.95</c:v>
                </c:pt>
                <c:pt idx="8">
                  <c:v>0.99</c:v>
                </c:pt>
                <c:pt idx="9">
                  <c:v>0.99</c:v>
                </c:pt>
                <c:pt idx="10">
                  <c:v>0.95</c:v>
                </c:pt>
                <c:pt idx="11">
                  <c:v>0.99</c:v>
                </c:pt>
                <c:pt idx="12">
                  <c:v>0.99</c:v>
                </c:pt>
                <c:pt idx="13">
                  <c:v>0.93</c:v>
                </c:pt>
                <c:pt idx="14">
                  <c:v>0.98</c:v>
                </c:pt>
                <c:pt idx="15">
                  <c:v>0.94</c:v>
                </c:pt>
                <c:pt idx="16">
                  <c:v>0.99</c:v>
                </c:pt>
                <c:pt idx="17">
                  <c:v>0.95</c:v>
                </c:pt>
                <c:pt idx="18">
                  <c:v>0.95</c:v>
                </c:pt>
                <c:pt idx="19">
                  <c:v>0.98</c:v>
                </c:pt>
                <c:pt idx="20">
                  <c:v>0.95</c:v>
                </c:pt>
                <c:pt idx="21">
                  <c:v>0.89</c:v>
                </c:pt>
                <c:pt idx="22">
                  <c:v>0.92</c:v>
                </c:pt>
                <c:pt idx="23">
                  <c:v>0.99</c:v>
                </c:pt>
                <c:pt idx="24">
                  <c:v>0.99</c:v>
                </c:pt>
                <c:pt idx="25">
                  <c:v>0.91</c:v>
                </c:pt>
                <c:pt idx="26">
                  <c:v>0.94</c:v>
                </c:pt>
                <c:pt idx="27">
                  <c:v>0.93</c:v>
                </c:pt>
                <c:pt idx="28">
                  <c:v>0.98</c:v>
                </c:pt>
                <c:pt idx="29">
                  <c:v>0.99</c:v>
                </c:pt>
                <c:pt idx="30">
                  <c:v>0.98</c:v>
                </c:pt>
                <c:pt idx="31">
                  <c:v>0.99</c:v>
                </c:pt>
                <c:pt idx="32">
                  <c:v>0.94</c:v>
                </c:pt>
                <c:pt idx="33">
                  <c:v>0.84</c:v>
                </c:pt>
                <c:pt idx="34">
                  <c:v>0.99</c:v>
                </c:pt>
                <c:pt idx="35">
                  <c:v>0.99</c:v>
                </c:pt>
                <c:pt idx="36">
                  <c:v>0.98</c:v>
                </c:pt>
                <c:pt idx="37">
                  <c:v>0.97</c:v>
                </c:pt>
                <c:pt idx="38">
                  <c:v>0.77</c:v>
                </c:pt>
                <c:pt idx="39">
                  <c:v>0.93</c:v>
                </c:pt>
                <c:pt idx="40">
                  <c:v>0.84</c:v>
                </c:pt>
                <c:pt idx="41">
                  <c:v>0.93</c:v>
                </c:pt>
                <c:pt idx="42">
                  <c:v>0.82</c:v>
                </c:pt>
                <c:pt idx="43">
                  <c:v>0.63</c:v>
                </c:pt>
                <c:pt idx="44">
                  <c:v>0.88</c:v>
                </c:pt>
                <c:pt idx="45">
                  <c:v>0.99</c:v>
                </c:pt>
                <c:pt idx="46">
                  <c:v>0.95</c:v>
                </c:pt>
                <c:pt idx="47">
                  <c:v>0.91</c:v>
                </c:pt>
                <c:pt idx="48">
                  <c:v>0.98</c:v>
                </c:pt>
                <c:pt idx="49">
                  <c:v>0.82</c:v>
                </c:pt>
                <c:pt idx="50">
                  <c:v>0.89</c:v>
                </c:pt>
                <c:pt idx="51">
                  <c:v>0.81</c:v>
                </c:pt>
                <c:pt idx="52">
                  <c:v>0.94</c:v>
                </c:pt>
                <c:pt idx="53">
                  <c:v>0.97</c:v>
                </c:pt>
                <c:pt idx="54">
                  <c:v>0.99</c:v>
                </c:pt>
                <c:pt idx="55">
                  <c:v>0.95</c:v>
                </c:pt>
                <c:pt idx="56">
                  <c:v>0.99</c:v>
                </c:pt>
                <c:pt idx="57">
                  <c:v>0.78</c:v>
                </c:pt>
                <c:pt idx="58">
                  <c:v>0.69</c:v>
                </c:pt>
                <c:pt idx="59">
                  <c:v>0.77</c:v>
                </c:pt>
                <c:pt idx="60">
                  <c:v>0.99</c:v>
                </c:pt>
                <c:pt idx="61">
                  <c:v>0.98</c:v>
                </c:pt>
                <c:pt idx="62">
                  <c:v>0.9</c:v>
                </c:pt>
                <c:pt idx="63">
                  <c:v>0.97</c:v>
                </c:pt>
                <c:pt idx="64">
                  <c:v>0.98</c:v>
                </c:pt>
                <c:pt idx="65">
                  <c:v>0.98</c:v>
                </c:pt>
                <c:pt idx="66">
                  <c:v>0.72</c:v>
                </c:pt>
                <c:pt idx="67">
                  <c:v>0.93</c:v>
                </c:pt>
                <c:pt idx="68">
                  <c:v>0.94</c:v>
                </c:pt>
                <c:pt idx="69">
                  <c:v>0.99</c:v>
                </c:pt>
                <c:pt idx="70">
                  <c:v>0.98</c:v>
                </c:pt>
                <c:pt idx="71">
                  <c:v>0.83</c:v>
                </c:pt>
                <c:pt idx="72">
                  <c:v>0.83</c:v>
                </c:pt>
                <c:pt idx="73">
                  <c:v>0.96</c:v>
                </c:pt>
                <c:pt idx="74">
                  <c:v>0.94</c:v>
                </c:pt>
                <c:pt idx="75">
                  <c:v>0.87</c:v>
                </c:pt>
                <c:pt idx="76">
                  <c:v>0.93</c:v>
                </c:pt>
                <c:pt idx="77">
                  <c:v>0.96</c:v>
                </c:pt>
                <c:pt idx="78">
                  <c:v>0.97</c:v>
                </c:pt>
                <c:pt idx="79">
                  <c:v>0.89</c:v>
                </c:pt>
                <c:pt idx="80">
                  <c:v>0.79</c:v>
                </c:pt>
                <c:pt idx="81">
                  <c:v>0.92</c:v>
                </c:pt>
                <c:pt idx="82">
                  <c:v>0.98</c:v>
                </c:pt>
                <c:pt idx="83">
                  <c:v>0.54</c:v>
                </c:pt>
                <c:pt idx="84">
                  <c:v>0.83</c:v>
                </c:pt>
                <c:pt idx="85">
                  <c:v>0.97</c:v>
                </c:pt>
                <c:pt idx="86">
                  <c:v>0.75</c:v>
                </c:pt>
                <c:pt idx="87">
                  <c:v>0.99</c:v>
                </c:pt>
                <c:pt idx="88">
                  <c:v>0.71</c:v>
                </c:pt>
                <c:pt idx="89">
                  <c:v>0.93</c:v>
                </c:pt>
                <c:pt idx="90">
                  <c:v>0.93</c:v>
                </c:pt>
                <c:pt idx="91">
                  <c:v>0.93</c:v>
                </c:pt>
                <c:pt idx="92">
                  <c:v>0.74</c:v>
                </c:pt>
                <c:pt idx="93">
                  <c:v>0.93</c:v>
                </c:pt>
                <c:pt idx="94">
                  <c:v>0.99</c:v>
                </c:pt>
                <c:pt idx="95">
                  <c:v>0.8</c:v>
                </c:pt>
                <c:pt idx="96">
                  <c:v>0.75</c:v>
                </c:pt>
                <c:pt idx="97">
                  <c:v>0.67</c:v>
                </c:pt>
                <c:pt idx="98">
                  <c:v>0.92</c:v>
                </c:pt>
                <c:pt idx="99">
                  <c:v>0.72</c:v>
                </c:pt>
                <c:pt idx="100">
                  <c:v>0.53</c:v>
                </c:pt>
                <c:pt idx="101">
                  <c:v>0.78</c:v>
                </c:pt>
                <c:pt idx="102">
                  <c:v>0.83</c:v>
                </c:pt>
                <c:pt idx="103">
                  <c:v>0.48</c:v>
                </c:pt>
                <c:pt idx="104">
                  <c:v>0.91</c:v>
                </c:pt>
                <c:pt idx="105">
                  <c:v>0.87</c:v>
                </c:pt>
                <c:pt idx="106">
                  <c:v>0.98</c:v>
                </c:pt>
                <c:pt idx="107">
                  <c:v>0.59</c:v>
                </c:pt>
                <c:pt idx="108">
                  <c:v>0.41</c:v>
                </c:pt>
                <c:pt idx="109">
                  <c:v>0.94</c:v>
                </c:pt>
                <c:pt idx="110">
                  <c:v>0.86</c:v>
                </c:pt>
                <c:pt idx="111">
                  <c:v>0.92</c:v>
                </c:pt>
                <c:pt idx="112">
                  <c:v>0.63</c:v>
                </c:pt>
                <c:pt idx="113">
                  <c:v>0.92</c:v>
                </c:pt>
                <c:pt idx="114">
                  <c:v>0.93</c:v>
                </c:pt>
                <c:pt idx="115">
                  <c:v>0.81</c:v>
                </c:pt>
                <c:pt idx="116">
                  <c:v>0.82</c:v>
                </c:pt>
                <c:pt idx="117">
                  <c:v>0.61</c:v>
                </c:pt>
                <c:pt idx="118">
                  <c:v>0.97</c:v>
                </c:pt>
                <c:pt idx="119">
                  <c:v>0.64</c:v>
                </c:pt>
                <c:pt idx="120">
                  <c:v>0.93</c:v>
                </c:pt>
                <c:pt idx="121">
                  <c:v>0.75</c:v>
                </c:pt>
                <c:pt idx="122">
                  <c:v>0.73</c:v>
                </c:pt>
                <c:pt idx="123">
                  <c:v>0.94</c:v>
                </c:pt>
                <c:pt idx="124">
                  <c:v>0.43</c:v>
                </c:pt>
                <c:pt idx="125">
                  <c:v>0.71</c:v>
                </c:pt>
                <c:pt idx="126">
                  <c:v>0.59</c:v>
                </c:pt>
                <c:pt idx="127">
                  <c:v>0.64</c:v>
                </c:pt>
                <c:pt idx="128">
                  <c:v>0.54</c:v>
                </c:pt>
                <c:pt idx="129">
                  <c:v>0.52</c:v>
                </c:pt>
                <c:pt idx="130">
                  <c:v>0.77</c:v>
                </c:pt>
                <c:pt idx="131">
                  <c:v>0.45</c:v>
                </c:pt>
                <c:pt idx="132">
                  <c:v>0.79</c:v>
                </c:pt>
                <c:pt idx="133">
                  <c:v>0.66</c:v>
                </c:pt>
                <c:pt idx="134">
                  <c:v>0.74</c:v>
                </c:pt>
                <c:pt idx="135">
                  <c:v>0.75</c:v>
                </c:pt>
                <c:pt idx="136">
                  <c:v>0.86</c:v>
                </c:pt>
                <c:pt idx="137">
                  <c:v>0.67</c:v>
                </c:pt>
                <c:pt idx="138">
                  <c:v>0.8</c:v>
                </c:pt>
                <c:pt idx="139">
                  <c:v>0.91</c:v>
                </c:pt>
                <c:pt idx="140">
                  <c:v>0.9</c:v>
                </c:pt>
                <c:pt idx="141">
                  <c:v>0.89</c:v>
                </c:pt>
                <c:pt idx="142">
                  <c:v>0.67</c:v>
                </c:pt>
                <c:pt idx="143">
                  <c:v>0.72</c:v>
                </c:pt>
                <c:pt idx="144">
                  <c:v>0.8</c:v>
                </c:pt>
                <c:pt idx="145">
                  <c:v>0.67</c:v>
                </c:pt>
                <c:pt idx="146">
                  <c:v>0.8</c:v>
                </c:pt>
                <c:pt idx="147">
                  <c:v>0.67</c:v>
                </c:pt>
                <c:pt idx="148">
                  <c:v>0.81</c:v>
                </c:pt>
                <c:pt idx="149">
                  <c:v>0.56000000000000005</c:v>
                </c:pt>
                <c:pt idx="150">
                  <c:v>0.54</c:v>
                </c:pt>
                <c:pt idx="151">
                  <c:v>0.52</c:v>
                </c:pt>
                <c:pt idx="152">
                  <c:v>0.71</c:v>
                </c:pt>
                <c:pt idx="153">
                  <c:v>0.64</c:v>
                </c:pt>
                <c:pt idx="154">
                  <c:v>0.71</c:v>
                </c:pt>
                <c:pt idx="155">
                  <c:v>0.71</c:v>
                </c:pt>
                <c:pt idx="156">
                  <c:v>0.6</c:v>
                </c:pt>
                <c:pt idx="157">
                  <c:v>0.6</c:v>
                </c:pt>
                <c:pt idx="158">
                  <c:v>0.56000000000000005</c:v>
                </c:pt>
                <c:pt idx="159">
                  <c:v>0.67</c:v>
                </c:pt>
                <c:pt idx="160">
                  <c:v>0.83</c:v>
                </c:pt>
                <c:pt idx="161">
                  <c:v>0.91</c:v>
                </c:pt>
                <c:pt idx="162">
                  <c:v>0.51</c:v>
                </c:pt>
                <c:pt idx="163">
                  <c:v>0.51</c:v>
                </c:pt>
                <c:pt idx="164">
                  <c:v>0.48</c:v>
                </c:pt>
                <c:pt idx="165">
                  <c:v>0.61</c:v>
                </c:pt>
                <c:pt idx="166">
                  <c:v>0.46</c:v>
                </c:pt>
                <c:pt idx="167">
                  <c:v>0.83</c:v>
                </c:pt>
                <c:pt idx="168">
                  <c:v>0.69</c:v>
                </c:pt>
                <c:pt idx="169">
                  <c:v>0.66</c:v>
                </c:pt>
                <c:pt idx="170">
                  <c:v>0.27</c:v>
                </c:pt>
                <c:pt idx="171">
                  <c:v>0.64</c:v>
                </c:pt>
                <c:pt idx="172">
                  <c:v>0.74</c:v>
                </c:pt>
                <c:pt idx="173">
                  <c:v>0.59</c:v>
                </c:pt>
                <c:pt idx="174">
                  <c:v>0.56000000000000005</c:v>
                </c:pt>
                <c:pt idx="175">
                  <c:v>0.56000000000000005</c:v>
                </c:pt>
                <c:pt idx="176">
                  <c:v>0.5</c:v>
                </c:pt>
                <c:pt idx="177">
                  <c:v>0.64</c:v>
                </c:pt>
                <c:pt idx="178">
                  <c:v>0.74</c:v>
                </c:pt>
                <c:pt idx="179">
                  <c:v>0.38</c:v>
                </c:pt>
                <c:pt idx="180">
                  <c:v>0.72</c:v>
                </c:pt>
                <c:pt idx="181">
                  <c:v>0.88</c:v>
                </c:pt>
                <c:pt idx="182">
                  <c:v>0.7</c:v>
                </c:pt>
                <c:pt idx="183">
                  <c:v>0.5</c:v>
                </c:pt>
                <c:pt idx="184">
                  <c:v>0.73</c:v>
                </c:pt>
                <c:pt idx="185">
                  <c:v>0.48</c:v>
                </c:pt>
                <c:pt idx="186">
                  <c:v>0.76</c:v>
                </c:pt>
                <c:pt idx="187">
                  <c:v>0.63</c:v>
                </c:pt>
                <c:pt idx="188">
                  <c:v>0.15</c:v>
                </c:pt>
                <c:pt idx="189">
                  <c:v>0.57999999999999996</c:v>
                </c:pt>
                <c:pt idx="190">
                  <c:v>0.74</c:v>
                </c:pt>
                <c:pt idx="191">
                  <c:v>0.66</c:v>
                </c:pt>
                <c:pt idx="192">
                  <c:v>0.66</c:v>
                </c:pt>
                <c:pt idx="193">
                  <c:v>0.4</c:v>
                </c:pt>
                <c:pt idx="194">
                  <c:v>0.49</c:v>
                </c:pt>
                <c:pt idx="195">
                  <c:v>0.33</c:v>
                </c:pt>
                <c:pt idx="196">
                  <c:v>0.6</c:v>
                </c:pt>
                <c:pt idx="197">
                  <c:v>0.72</c:v>
                </c:pt>
                <c:pt idx="198">
                  <c:v>0.3</c:v>
                </c:pt>
                <c:pt idx="199">
                  <c:v>0.71</c:v>
                </c:pt>
                <c:pt idx="200">
                  <c:v>0.33</c:v>
                </c:pt>
                <c:pt idx="201">
                  <c:v>0.31</c:v>
                </c:pt>
                <c:pt idx="202">
                  <c:v>0.85</c:v>
                </c:pt>
                <c:pt idx="203">
                  <c:v>0.84</c:v>
                </c:pt>
                <c:pt idx="204">
                  <c:v>0.56999999999999995</c:v>
                </c:pt>
                <c:pt idx="205">
                  <c:v>0.66</c:v>
                </c:pt>
                <c:pt idx="206">
                  <c:v>0.39</c:v>
                </c:pt>
                <c:pt idx="207">
                  <c:v>0.78</c:v>
                </c:pt>
                <c:pt idx="208">
                  <c:v>0.35</c:v>
                </c:pt>
                <c:pt idx="209">
                  <c:v>0.65</c:v>
                </c:pt>
                <c:pt idx="210">
                  <c:v>0.59</c:v>
                </c:pt>
                <c:pt idx="211">
                  <c:v>0.52</c:v>
                </c:pt>
                <c:pt idx="212">
                  <c:v>0.71</c:v>
                </c:pt>
                <c:pt idx="213">
                  <c:v>0.51</c:v>
                </c:pt>
                <c:pt idx="214">
                  <c:v>0.72</c:v>
                </c:pt>
                <c:pt idx="215">
                  <c:v>0.28999999999999998</c:v>
                </c:pt>
                <c:pt idx="216">
                  <c:v>0.61</c:v>
                </c:pt>
                <c:pt idx="217">
                  <c:v>0.47</c:v>
                </c:pt>
                <c:pt idx="218">
                  <c:v>0.49</c:v>
                </c:pt>
                <c:pt idx="219">
                  <c:v>0.45</c:v>
                </c:pt>
                <c:pt idx="220">
                  <c:v>0.5</c:v>
                </c:pt>
                <c:pt idx="221">
                  <c:v>0.56999999999999995</c:v>
                </c:pt>
                <c:pt idx="222">
                  <c:v>0.24</c:v>
                </c:pt>
                <c:pt idx="223">
                  <c:v>0.55000000000000004</c:v>
                </c:pt>
                <c:pt idx="224">
                  <c:v>0.31</c:v>
                </c:pt>
                <c:pt idx="225">
                  <c:v>0.63</c:v>
                </c:pt>
                <c:pt idx="226">
                  <c:v>0.28999999999999998</c:v>
                </c:pt>
                <c:pt idx="227">
                  <c:v>0.09</c:v>
                </c:pt>
                <c:pt idx="228">
                  <c:v>0.46</c:v>
                </c:pt>
                <c:pt idx="229">
                  <c:v>0.1</c:v>
                </c:pt>
                <c:pt idx="230">
                  <c:v>0.4</c:v>
                </c:pt>
                <c:pt idx="231">
                  <c:v>0.56000000000000005</c:v>
                </c:pt>
                <c:pt idx="232">
                  <c:v>0.44</c:v>
                </c:pt>
                <c:pt idx="233">
                  <c:v>0.44</c:v>
                </c:pt>
                <c:pt idx="234">
                  <c:v>0.18</c:v>
                </c:pt>
                <c:pt idx="235">
                  <c:v>0.16</c:v>
                </c:pt>
                <c:pt idx="236">
                  <c:v>0.5</c:v>
                </c:pt>
                <c:pt idx="237">
                  <c:v>0.48</c:v>
                </c:pt>
                <c:pt idx="238">
                  <c:v>0.56000000000000005</c:v>
                </c:pt>
                <c:pt idx="239">
                  <c:v>0.13</c:v>
                </c:pt>
                <c:pt idx="240">
                  <c:v>0.42</c:v>
                </c:pt>
                <c:pt idx="241">
                  <c:v>0.19</c:v>
                </c:pt>
                <c:pt idx="242">
                  <c:v>0.47</c:v>
                </c:pt>
                <c:pt idx="243">
                  <c:v>0.39</c:v>
                </c:pt>
                <c:pt idx="244">
                  <c:v>0.56999999999999995</c:v>
                </c:pt>
                <c:pt idx="245">
                  <c:v>0.44</c:v>
                </c:pt>
                <c:pt idx="246">
                  <c:v>0.47</c:v>
                </c:pt>
                <c:pt idx="247">
                  <c:v>0.25</c:v>
                </c:pt>
                <c:pt idx="248">
                  <c:v>0.48</c:v>
                </c:pt>
                <c:pt idx="249">
                  <c:v>0.28999999999999998</c:v>
                </c:pt>
                <c:pt idx="250">
                  <c:v>7.0000000000000007E-2</c:v>
                </c:pt>
                <c:pt idx="251">
                  <c:v>0.55000000000000004</c:v>
                </c:pt>
                <c:pt idx="252">
                  <c:v>0.44</c:v>
                </c:pt>
                <c:pt idx="253">
                  <c:v>0.44</c:v>
                </c:pt>
                <c:pt idx="254">
                  <c:v>0.52</c:v>
                </c:pt>
                <c:pt idx="255">
                  <c:v>0.41</c:v>
                </c:pt>
                <c:pt idx="256">
                  <c:v>0.56000000000000005</c:v>
                </c:pt>
                <c:pt idx="257">
                  <c:v>0.14000000000000001</c:v>
                </c:pt>
                <c:pt idx="258">
                  <c:v>0.56000000000000005</c:v>
                </c:pt>
                <c:pt idx="259">
                  <c:v>0.46</c:v>
                </c:pt>
                <c:pt idx="260">
                  <c:v>0.28999999999999998</c:v>
                </c:pt>
                <c:pt idx="261">
                  <c:v>0.56999999999999995</c:v>
                </c:pt>
                <c:pt idx="262">
                  <c:v>0.39</c:v>
                </c:pt>
                <c:pt idx="263">
                  <c:v>0.12</c:v>
                </c:pt>
                <c:pt idx="264">
                  <c:v>0.31</c:v>
                </c:pt>
                <c:pt idx="265">
                  <c:v>0.35</c:v>
                </c:pt>
                <c:pt idx="266">
                  <c:v>0.17</c:v>
                </c:pt>
                <c:pt idx="267">
                  <c:v>0.19</c:v>
                </c:pt>
                <c:pt idx="268">
                  <c:v>0.02</c:v>
                </c:pt>
                <c:pt idx="269">
                  <c:v>0.38</c:v>
                </c:pt>
                <c:pt idx="270">
                  <c:v>0.5</c:v>
                </c:pt>
                <c:pt idx="271">
                  <c:v>0.17</c:v>
                </c:pt>
                <c:pt idx="272">
                  <c:v>0.46</c:v>
                </c:pt>
                <c:pt idx="273">
                  <c:v>0.3</c:v>
                </c:pt>
                <c:pt idx="274">
                  <c:v>0.18</c:v>
                </c:pt>
                <c:pt idx="275">
                  <c:v>0.25</c:v>
                </c:pt>
                <c:pt idx="276">
                  <c:v>0.32</c:v>
                </c:pt>
                <c:pt idx="277">
                  <c:v>0.16</c:v>
                </c:pt>
                <c:pt idx="278">
                  <c:v>0.18</c:v>
                </c:pt>
                <c:pt idx="279">
                  <c:v>0.34</c:v>
                </c:pt>
                <c:pt idx="280">
                  <c:v>0.27</c:v>
                </c:pt>
                <c:pt idx="281">
                  <c:v>0.17</c:v>
                </c:pt>
                <c:pt idx="282">
                  <c:v>0.11</c:v>
                </c:pt>
                <c:pt idx="283">
                  <c:v>0.37</c:v>
                </c:pt>
                <c:pt idx="284">
                  <c:v>0.15</c:v>
                </c:pt>
                <c:pt idx="285">
                  <c:v>0.03</c:v>
                </c:pt>
                <c:pt idx="286">
                  <c:v>0.3</c:v>
                </c:pt>
                <c:pt idx="287">
                  <c:v>0.42</c:v>
                </c:pt>
                <c:pt idx="288">
                  <c:v>0.37</c:v>
                </c:pt>
                <c:pt idx="289">
                  <c:v>0.24</c:v>
                </c:pt>
                <c:pt idx="290">
                  <c:v>0.01</c:v>
                </c:pt>
                <c:pt idx="291">
                  <c:v>0.15</c:v>
                </c:pt>
                <c:pt idx="292">
                  <c:v>0.53</c:v>
                </c:pt>
                <c:pt idx="293">
                  <c:v>0.09</c:v>
                </c:pt>
                <c:pt idx="294">
                  <c:v>0.22</c:v>
                </c:pt>
                <c:pt idx="295">
                  <c:v>0.39</c:v>
                </c:pt>
                <c:pt idx="296">
                  <c:v>0.41</c:v>
                </c:pt>
                <c:pt idx="297">
                  <c:v>0.18</c:v>
                </c:pt>
                <c:pt idx="298">
                  <c:v>0.39</c:v>
                </c:pt>
                <c:pt idx="299">
                  <c:v>0.3</c:v>
                </c:pt>
                <c:pt idx="300">
                  <c:v>0.28999999999999998</c:v>
                </c:pt>
                <c:pt idx="301">
                  <c:v>0.34</c:v>
                </c:pt>
                <c:pt idx="302">
                  <c:v>0.43</c:v>
                </c:pt>
                <c:pt idx="303">
                  <c:v>0.48</c:v>
                </c:pt>
                <c:pt idx="304">
                  <c:v>0.01</c:v>
                </c:pt>
                <c:pt idx="305">
                  <c:v>0.09</c:v>
                </c:pt>
                <c:pt idx="306">
                  <c:v>0.21</c:v>
                </c:pt>
                <c:pt idx="307">
                  <c:v>0.22</c:v>
                </c:pt>
                <c:pt idx="308">
                  <c:v>0.13</c:v>
                </c:pt>
                <c:pt idx="309">
                  <c:v>0.08</c:v>
                </c:pt>
                <c:pt idx="310">
                  <c:v>0.09</c:v>
                </c:pt>
                <c:pt idx="311">
                  <c:v>0.47</c:v>
                </c:pt>
                <c:pt idx="312">
                  <c:v>0.01</c:v>
                </c:pt>
                <c:pt idx="313">
                  <c:v>0.01</c:v>
                </c:pt>
                <c:pt idx="314">
                  <c:v>0.02</c:v>
                </c:pt>
                <c:pt idx="315">
                  <c:v>0.01</c:v>
                </c:pt>
                <c:pt idx="316">
                  <c:v>0.32</c:v>
                </c:pt>
                <c:pt idx="317">
                  <c:v>0.18</c:v>
                </c:pt>
                <c:pt idx="318">
                  <c:v>0.16</c:v>
                </c:pt>
                <c:pt idx="319">
                  <c:v>0.36</c:v>
                </c:pt>
                <c:pt idx="320">
                  <c:v>0.03</c:v>
                </c:pt>
                <c:pt idx="321">
                  <c:v>0.2</c:v>
                </c:pt>
                <c:pt idx="322">
                  <c:v>0.6</c:v>
                </c:pt>
                <c:pt idx="323">
                  <c:v>0.2</c:v>
                </c:pt>
                <c:pt idx="324">
                  <c:v>0.06</c:v>
                </c:pt>
                <c:pt idx="325">
                  <c:v>0.06</c:v>
                </c:pt>
                <c:pt idx="326">
                  <c:v>0.32</c:v>
                </c:pt>
                <c:pt idx="327">
                  <c:v>0.13</c:v>
                </c:pt>
                <c:pt idx="328">
                  <c:v>0.02</c:v>
                </c:pt>
                <c:pt idx="329">
                  <c:v>0.15</c:v>
                </c:pt>
                <c:pt idx="330">
                  <c:v>0.12</c:v>
                </c:pt>
                <c:pt idx="331">
                  <c:v>0.04</c:v>
                </c:pt>
                <c:pt idx="332">
                  <c:v>0.19</c:v>
                </c:pt>
                <c:pt idx="333">
                  <c:v>0.04</c:v>
                </c:pt>
                <c:pt idx="334">
                  <c:v>0.14000000000000001</c:v>
                </c:pt>
                <c:pt idx="335">
                  <c:v>0.13</c:v>
                </c:pt>
                <c:pt idx="336">
                  <c:v>7.0000000000000007E-2</c:v>
                </c:pt>
                <c:pt idx="337">
                  <c:v>0.04</c:v>
                </c:pt>
                <c:pt idx="338">
                  <c:v>0.04</c:v>
                </c:pt>
                <c:pt idx="339">
                  <c:v>0.39</c:v>
                </c:pt>
                <c:pt idx="340">
                  <c:v>0.11</c:v>
                </c:pt>
                <c:pt idx="341">
                  <c:v>0.26</c:v>
                </c:pt>
                <c:pt idx="342">
                  <c:v>0.1</c:v>
                </c:pt>
                <c:pt idx="343">
                  <c:v>0.13</c:v>
                </c:pt>
                <c:pt idx="344">
                  <c:v>0.03</c:v>
                </c:pt>
                <c:pt idx="345">
                  <c:v>0.01</c:v>
                </c:pt>
                <c:pt idx="346">
                  <c:v>0.25</c:v>
                </c:pt>
                <c:pt idx="347">
                  <c:v>0.35</c:v>
                </c:pt>
                <c:pt idx="348">
                  <c:v>0.13</c:v>
                </c:pt>
                <c:pt idx="349">
                  <c:v>0.18</c:v>
                </c:pt>
                <c:pt idx="350">
                  <c:v>0.01</c:v>
                </c:pt>
                <c:pt idx="351">
                  <c:v>0.06</c:v>
                </c:pt>
                <c:pt idx="352">
                  <c:v>0.05</c:v>
                </c:pt>
                <c:pt idx="353">
                  <c:v>0.13</c:v>
                </c:pt>
                <c:pt idx="354">
                  <c:v>0.35</c:v>
                </c:pt>
                <c:pt idx="355">
                  <c:v>0.06</c:v>
                </c:pt>
                <c:pt idx="356">
                  <c:v>0.34</c:v>
                </c:pt>
                <c:pt idx="357">
                  <c:v>0.08</c:v>
                </c:pt>
                <c:pt idx="358">
                  <c:v>0.09</c:v>
                </c:pt>
                <c:pt idx="359">
                  <c:v>0.12</c:v>
                </c:pt>
                <c:pt idx="360">
                  <c:v>0.05</c:v>
                </c:pt>
                <c:pt idx="361">
                  <c:v>0.09</c:v>
                </c:pt>
                <c:pt idx="362">
                  <c:v>0.28999999999999998</c:v>
                </c:pt>
                <c:pt idx="363">
                  <c:v>0.09</c:v>
                </c:pt>
                <c:pt idx="364">
                  <c:v>0.08</c:v>
                </c:pt>
                <c:pt idx="365">
                  <c:v>0.23</c:v>
                </c:pt>
                <c:pt idx="366">
                  <c:v>0.03</c:v>
                </c:pt>
                <c:pt idx="367">
                  <c:v>0.21</c:v>
                </c:pt>
                <c:pt idx="368">
                  <c:v>0.13</c:v>
                </c:pt>
                <c:pt idx="369">
                  <c:v>0.1</c:v>
                </c:pt>
                <c:pt idx="370">
                  <c:v>0.02</c:v>
                </c:pt>
                <c:pt idx="371">
                  <c:v>0.22</c:v>
                </c:pt>
                <c:pt idx="372">
                  <c:v>0.26</c:v>
                </c:pt>
                <c:pt idx="373">
                  <c:v>0.04</c:v>
                </c:pt>
                <c:pt idx="374">
                  <c:v>0.01</c:v>
                </c:pt>
                <c:pt idx="375">
                  <c:v>0.06</c:v>
                </c:pt>
                <c:pt idx="376">
                  <c:v>0.03</c:v>
                </c:pt>
                <c:pt idx="377">
                  <c:v>0.03</c:v>
                </c:pt>
                <c:pt idx="378">
                  <c:v>0.1</c:v>
                </c:pt>
                <c:pt idx="379">
                  <c:v>0.02</c:v>
                </c:pt>
                <c:pt idx="380">
                  <c:v>0.04</c:v>
                </c:pt>
                <c:pt idx="381">
                  <c:v>0.08</c:v>
                </c:pt>
                <c:pt idx="382">
                  <c:v>0.21</c:v>
                </c:pt>
                <c:pt idx="383">
                  <c:v>0.02</c:v>
                </c:pt>
                <c:pt idx="384">
                  <c:v>0.02</c:v>
                </c:pt>
                <c:pt idx="385">
                  <c:v>0.39</c:v>
                </c:pt>
                <c:pt idx="386">
                  <c:v>0.01</c:v>
                </c:pt>
                <c:pt idx="387">
                  <c:v>0.15</c:v>
                </c:pt>
                <c:pt idx="388">
                  <c:v>7.0000000000000007E-2</c:v>
                </c:pt>
                <c:pt idx="389">
                  <c:v>0.2</c:v>
                </c:pt>
                <c:pt idx="390">
                  <c:v>0.04</c:v>
                </c:pt>
                <c:pt idx="391">
                  <c:v>0.36</c:v>
                </c:pt>
                <c:pt idx="392">
                  <c:v>0.34</c:v>
                </c:pt>
                <c:pt idx="393">
                  <c:v>0.22</c:v>
                </c:pt>
                <c:pt idx="394">
                  <c:v>0.08</c:v>
                </c:pt>
                <c:pt idx="395">
                  <c:v>0.04</c:v>
                </c:pt>
                <c:pt idx="396">
                  <c:v>0.08</c:v>
                </c:pt>
                <c:pt idx="397">
                  <c:v>0.52</c:v>
                </c:pt>
                <c:pt idx="398">
                  <c:v>0.02</c:v>
                </c:pt>
                <c:pt idx="399">
                  <c:v>0.04</c:v>
                </c:pt>
                <c:pt idx="400">
                  <c:v>7.0000000000000007E-2</c:v>
                </c:pt>
                <c:pt idx="401">
                  <c:v>0.18</c:v>
                </c:pt>
                <c:pt idx="402">
                  <c:v>0.06</c:v>
                </c:pt>
                <c:pt idx="403">
                  <c:v>0.02</c:v>
                </c:pt>
                <c:pt idx="404">
                  <c:v>0.06</c:v>
                </c:pt>
                <c:pt idx="405">
                  <c:v>7.0000000000000007E-2</c:v>
                </c:pt>
                <c:pt idx="406">
                  <c:v>0.3</c:v>
                </c:pt>
                <c:pt idx="407">
                  <c:v>0.34</c:v>
                </c:pt>
                <c:pt idx="408">
                  <c:v>0.05</c:v>
                </c:pt>
                <c:pt idx="409">
                  <c:v>0.05</c:v>
                </c:pt>
                <c:pt idx="410">
                  <c:v>0.01</c:v>
                </c:pt>
                <c:pt idx="411">
                  <c:v>0.05</c:v>
                </c:pt>
                <c:pt idx="412">
                  <c:v>0.55000000000000004</c:v>
                </c:pt>
                <c:pt idx="413">
                  <c:v>7.0000000000000007E-2</c:v>
                </c:pt>
                <c:pt idx="414">
                  <c:v>0.11</c:v>
                </c:pt>
                <c:pt idx="415">
                  <c:v>0.14000000000000001</c:v>
                </c:pt>
                <c:pt idx="416">
                  <c:v>0.17</c:v>
                </c:pt>
                <c:pt idx="417">
                  <c:v>0.02</c:v>
                </c:pt>
                <c:pt idx="418">
                  <c:v>0.19</c:v>
                </c:pt>
                <c:pt idx="419">
                  <c:v>0.08</c:v>
                </c:pt>
                <c:pt idx="420">
                  <c:v>0.08</c:v>
                </c:pt>
                <c:pt idx="421">
                  <c:v>0.02</c:v>
                </c:pt>
                <c:pt idx="422">
                  <c:v>0.01</c:v>
                </c:pt>
                <c:pt idx="423">
                  <c:v>0.01</c:v>
                </c:pt>
                <c:pt idx="424">
                  <c:v>0.12</c:v>
                </c:pt>
                <c:pt idx="425">
                  <c:v>0.23</c:v>
                </c:pt>
                <c:pt idx="426">
                  <c:v>0.03</c:v>
                </c:pt>
                <c:pt idx="427">
                  <c:v>0.11</c:v>
                </c:pt>
                <c:pt idx="428">
                  <c:v>0.05</c:v>
                </c:pt>
                <c:pt idx="429">
                  <c:v>0.09</c:v>
                </c:pt>
                <c:pt idx="430">
                  <c:v>0.08</c:v>
                </c:pt>
                <c:pt idx="431">
                  <c:v>0.34</c:v>
                </c:pt>
                <c:pt idx="432">
                  <c:v>0.04</c:v>
                </c:pt>
                <c:pt idx="433">
                  <c:v>0.02</c:v>
                </c:pt>
                <c:pt idx="434">
                  <c:v>0.03</c:v>
                </c:pt>
                <c:pt idx="435">
                  <c:v>0.01</c:v>
                </c:pt>
                <c:pt idx="436">
                  <c:v>0.01</c:v>
                </c:pt>
                <c:pt idx="437">
                  <c:v>0.03</c:v>
                </c:pt>
                <c:pt idx="438">
                  <c:v>0.04</c:v>
                </c:pt>
                <c:pt idx="439">
                  <c:v>0.01</c:v>
                </c:pt>
                <c:pt idx="440">
                  <c:v>0.06</c:v>
                </c:pt>
                <c:pt idx="441">
                  <c:v>0.01</c:v>
                </c:pt>
                <c:pt idx="442">
                  <c:v>7.0000000000000007E-2</c:v>
                </c:pt>
                <c:pt idx="443">
                  <c:v>0.02</c:v>
                </c:pt>
                <c:pt idx="444">
                  <c:v>0.04</c:v>
                </c:pt>
                <c:pt idx="445">
                  <c:v>0.02</c:v>
                </c:pt>
                <c:pt idx="446">
                  <c:v>0.11</c:v>
                </c:pt>
                <c:pt idx="447">
                  <c:v>0.09</c:v>
                </c:pt>
                <c:pt idx="448">
                  <c:v>0.02</c:v>
                </c:pt>
                <c:pt idx="449">
                  <c:v>0.08</c:v>
                </c:pt>
                <c:pt idx="450">
                  <c:v>0.06</c:v>
                </c:pt>
                <c:pt idx="451">
                  <c:v>0.03</c:v>
                </c:pt>
                <c:pt idx="452">
                  <c:v>0.03</c:v>
                </c:pt>
                <c:pt idx="453">
                  <c:v>0.04</c:v>
                </c:pt>
                <c:pt idx="454">
                  <c:v>0.02</c:v>
                </c:pt>
                <c:pt idx="455">
                  <c:v>0.04</c:v>
                </c:pt>
                <c:pt idx="456">
                  <c:v>0.27</c:v>
                </c:pt>
                <c:pt idx="457">
                  <c:v>0.01</c:v>
                </c:pt>
                <c:pt idx="458">
                  <c:v>0.02</c:v>
                </c:pt>
                <c:pt idx="459">
                  <c:v>0.02</c:v>
                </c:pt>
                <c:pt idx="460">
                  <c:v>0.04</c:v>
                </c:pt>
                <c:pt idx="461">
                  <c:v>0.02</c:v>
                </c:pt>
                <c:pt idx="462">
                  <c:v>0.02</c:v>
                </c:pt>
                <c:pt idx="463">
                  <c:v>0.11</c:v>
                </c:pt>
                <c:pt idx="464">
                  <c:v>0.06</c:v>
                </c:pt>
                <c:pt idx="465">
                  <c:v>0.01</c:v>
                </c:pt>
                <c:pt idx="466">
                  <c:v>0.06</c:v>
                </c:pt>
                <c:pt idx="467">
                  <c:v>0.02</c:v>
                </c:pt>
                <c:pt idx="468">
                  <c:v>0.04</c:v>
                </c:pt>
                <c:pt idx="469">
                  <c:v>0.02</c:v>
                </c:pt>
                <c:pt idx="470">
                  <c:v>0.06</c:v>
                </c:pt>
                <c:pt idx="471">
                  <c:v>0.01</c:v>
                </c:pt>
                <c:pt idx="472">
                  <c:v>0.01</c:v>
                </c:pt>
                <c:pt idx="473">
                  <c:v>0.03</c:v>
                </c:pt>
                <c:pt idx="474">
                  <c:v>0.25</c:v>
                </c:pt>
                <c:pt idx="475">
                  <c:v>0.1</c:v>
                </c:pt>
                <c:pt idx="476">
                  <c:v>0.01</c:v>
                </c:pt>
                <c:pt idx="477">
                  <c:v>0.25</c:v>
                </c:pt>
                <c:pt idx="478">
                  <c:v>0.02</c:v>
                </c:pt>
                <c:pt idx="479">
                  <c:v>0.01</c:v>
                </c:pt>
                <c:pt idx="480">
                  <c:v>0.01</c:v>
                </c:pt>
                <c:pt idx="481">
                  <c:v>0.02</c:v>
                </c:pt>
                <c:pt idx="482">
                  <c:v>0.01</c:v>
                </c:pt>
                <c:pt idx="483">
                  <c:v>0.28000000000000003</c:v>
                </c:pt>
                <c:pt idx="484">
                  <c:v>0.01</c:v>
                </c:pt>
                <c:pt idx="485">
                  <c:v>0.01</c:v>
                </c:pt>
                <c:pt idx="486">
                  <c:v>0.01</c:v>
                </c:pt>
                <c:pt idx="487">
                  <c:v>0.01</c:v>
                </c:pt>
                <c:pt idx="488">
                  <c:v>0.03</c:v>
                </c:pt>
                <c:pt idx="489">
                  <c:v>0.33</c:v>
                </c:pt>
                <c:pt idx="490">
                  <c:v>0.01</c:v>
                </c:pt>
                <c:pt idx="491">
                  <c:v>0.01</c:v>
                </c:pt>
                <c:pt idx="492">
                  <c:v>0.02</c:v>
                </c:pt>
                <c:pt idx="493">
                  <c:v>0.06</c:v>
                </c:pt>
                <c:pt idx="494">
                  <c:v>0.01</c:v>
                </c:pt>
                <c:pt idx="495">
                  <c:v>0.01</c:v>
                </c:pt>
                <c:pt idx="496">
                  <c:v>0.01</c:v>
                </c:pt>
                <c:pt idx="497">
                  <c:v>0.01</c:v>
                </c:pt>
                <c:pt idx="498">
                  <c:v>0.01</c:v>
                </c:pt>
                <c:pt idx="499">
                  <c:v>0.01</c:v>
                </c:pt>
                <c:pt idx="500">
                  <c:v>0.01</c:v>
                </c:pt>
                <c:pt idx="501">
                  <c:v>0.02</c:v>
                </c:pt>
                <c:pt idx="502">
                  <c:v>0.01</c:v>
                </c:pt>
                <c:pt idx="503">
                  <c:v>0.02</c:v>
                </c:pt>
                <c:pt idx="504">
                  <c:v>0.03</c:v>
                </c:pt>
                <c:pt idx="505">
                  <c:v>0.05</c:v>
                </c:pt>
                <c:pt idx="506">
                  <c:v>0.01</c:v>
                </c:pt>
                <c:pt idx="507">
                  <c:v>0.01</c:v>
                </c:pt>
                <c:pt idx="508">
                  <c:v>0.01</c:v>
                </c:pt>
                <c:pt idx="509">
                  <c:v>0.01</c:v>
                </c:pt>
                <c:pt idx="510">
                  <c:v>0.01</c:v>
                </c:pt>
                <c:pt idx="511">
                  <c:v>0.01</c:v>
                </c:pt>
                <c:pt idx="512">
                  <c:v>0.01</c:v>
                </c:pt>
                <c:pt idx="513">
                  <c:v>0.01</c:v>
                </c:pt>
                <c:pt idx="514">
                  <c:v>0.01</c:v>
                </c:pt>
                <c:pt idx="515">
                  <c:v>0.02</c:v>
                </c:pt>
                <c:pt idx="516">
                  <c:v>0.01</c:v>
                </c:pt>
                <c:pt idx="517">
                  <c:v>0.01</c:v>
                </c:pt>
                <c:pt idx="518">
                  <c:v>0.01</c:v>
                </c:pt>
                <c:pt idx="519">
                  <c:v>0.02</c:v>
                </c:pt>
                <c:pt idx="520">
                  <c:v>0.01</c:v>
                </c:pt>
                <c:pt idx="521">
                  <c:v>0.01</c:v>
                </c:pt>
                <c:pt idx="522">
                  <c:v>0.25</c:v>
                </c:pt>
                <c:pt idx="523">
                  <c:v>0.01</c:v>
                </c:pt>
                <c:pt idx="524">
                  <c:v>0.17</c:v>
                </c:pt>
                <c:pt idx="525">
                  <c:v>0.02</c:v>
                </c:pt>
                <c:pt idx="526">
                  <c:v>0.06</c:v>
                </c:pt>
                <c:pt idx="527">
                  <c:v>0.01</c:v>
                </c:pt>
                <c:pt idx="528">
                  <c:v>0.05</c:v>
                </c:pt>
                <c:pt idx="529">
                  <c:v>0.02</c:v>
                </c:pt>
                <c:pt idx="530">
                  <c:v>0.01</c:v>
                </c:pt>
                <c:pt idx="531">
                  <c:v>0.01</c:v>
                </c:pt>
                <c:pt idx="532">
                  <c:v>0.03</c:v>
                </c:pt>
                <c:pt idx="533">
                  <c:v>0.02</c:v>
                </c:pt>
                <c:pt idx="534">
                  <c:v>0.12</c:v>
                </c:pt>
                <c:pt idx="535">
                  <c:v>0.01</c:v>
                </c:pt>
                <c:pt idx="536">
                  <c:v>0.02</c:v>
                </c:pt>
                <c:pt idx="537">
                  <c:v>0.01</c:v>
                </c:pt>
                <c:pt idx="538">
                  <c:v>0.02</c:v>
                </c:pt>
                <c:pt idx="539">
                  <c:v>0.03</c:v>
                </c:pt>
                <c:pt idx="540">
                  <c:v>0.01</c:v>
                </c:pt>
                <c:pt idx="541">
                  <c:v>0.05</c:v>
                </c:pt>
                <c:pt idx="542">
                  <c:v>0.03</c:v>
                </c:pt>
                <c:pt idx="543">
                  <c:v>0.02</c:v>
                </c:pt>
                <c:pt idx="544">
                  <c:v>0.01</c:v>
                </c:pt>
                <c:pt idx="545">
                  <c:v>0.01</c:v>
                </c:pt>
                <c:pt idx="546">
                  <c:v>0.01</c:v>
                </c:pt>
                <c:pt idx="547">
                  <c:v>0.02</c:v>
                </c:pt>
                <c:pt idx="548">
                  <c:v>0.01</c:v>
                </c:pt>
                <c:pt idx="549">
                  <c:v>0.03</c:v>
                </c:pt>
                <c:pt idx="550">
                  <c:v>0.01</c:v>
                </c:pt>
                <c:pt idx="551">
                  <c:v>0.03</c:v>
                </c:pt>
                <c:pt idx="552">
                  <c:v>0.01</c:v>
                </c:pt>
                <c:pt idx="553">
                  <c:v>0.01</c:v>
                </c:pt>
                <c:pt idx="554">
                  <c:v>0.02</c:v>
                </c:pt>
                <c:pt idx="555">
                  <c:v>0.01</c:v>
                </c:pt>
                <c:pt idx="556">
                  <c:v>0.01</c:v>
                </c:pt>
                <c:pt idx="557">
                  <c:v>0.03</c:v>
                </c:pt>
                <c:pt idx="558">
                  <c:v>0.11</c:v>
                </c:pt>
                <c:pt idx="559">
                  <c:v>0.02</c:v>
                </c:pt>
                <c:pt idx="560">
                  <c:v>0.01</c:v>
                </c:pt>
                <c:pt idx="561">
                  <c:v>0.03</c:v>
                </c:pt>
                <c:pt idx="562">
                  <c:v>0.16</c:v>
                </c:pt>
                <c:pt idx="563">
                  <c:v>0.03</c:v>
                </c:pt>
                <c:pt idx="564">
                  <c:v>0.01</c:v>
                </c:pt>
                <c:pt idx="565">
                  <c:v>0.01</c:v>
                </c:pt>
                <c:pt idx="566">
                  <c:v>0.02</c:v>
                </c:pt>
                <c:pt idx="567">
                  <c:v>0.01</c:v>
                </c:pt>
                <c:pt idx="568">
                  <c:v>0.01</c:v>
                </c:pt>
                <c:pt idx="569">
                  <c:v>0.02</c:v>
                </c:pt>
                <c:pt idx="570">
                  <c:v>0.01</c:v>
                </c:pt>
                <c:pt idx="571">
                  <c:v>0.14000000000000001</c:v>
                </c:pt>
                <c:pt idx="572">
                  <c:v>0.05</c:v>
                </c:pt>
                <c:pt idx="573">
                  <c:v>0.03</c:v>
                </c:pt>
                <c:pt idx="574">
                  <c:v>0.01</c:v>
                </c:pt>
                <c:pt idx="575">
                  <c:v>0.01</c:v>
                </c:pt>
                <c:pt idx="576">
                  <c:v>0.01</c:v>
                </c:pt>
                <c:pt idx="577">
                  <c:v>0.01</c:v>
                </c:pt>
                <c:pt idx="578">
                  <c:v>0.04</c:v>
                </c:pt>
                <c:pt idx="579">
                  <c:v>0.01</c:v>
                </c:pt>
                <c:pt idx="580">
                  <c:v>0.01</c:v>
                </c:pt>
                <c:pt idx="581">
                  <c:v>0.01</c:v>
                </c:pt>
                <c:pt idx="582">
                  <c:v>0.01</c:v>
                </c:pt>
                <c:pt idx="583">
                  <c:v>0.01</c:v>
                </c:pt>
                <c:pt idx="584">
                  <c:v>0.01</c:v>
                </c:pt>
                <c:pt idx="585">
                  <c:v>0.01</c:v>
                </c:pt>
                <c:pt idx="586">
                  <c:v>0.02</c:v>
                </c:pt>
                <c:pt idx="587">
                  <c:v>0.01</c:v>
                </c:pt>
                <c:pt idx="588">
                  <c:v>0.02</c:v>
                </c:pt>
                <c:pt idx="589">
                  <c:v>0.01</c:v>
                </c:pt>
                <c:pt idx="590">
                  <c:v>0.01</c:v>
                </c:pt>
                <c:pt idx="591">
                  <c:v>0.01</c:v>
                </c:pt>
                <c:pt idx="592">
                  <c:v>0.03</c:v>
                </c:pt>
                <c:pt idx="593">
                  <c:v>0.01</c:v>
                </c:pt>
                <c:pt idx="594">
                  <c:v>0.01</c:v>
                </c:pt>
                <c:pt idx="595">
                  <c:v>0.01</c:v>
                </c:pt>
                <c:pt idx="596">
                  <c:v>0.01</c:v>
                </c:pt>
                <c:pt idx="597">
                  <c:v>0.01</c:v>
                </c:pt>
                <c:pt idx="598">
                  <c:v>0.02</c:v>
                </c:pt>
                <c:pt idx="599">
                  <c:v>0.03</c:v>
                </c:pt>
                <c:pt idx="600">
                  <c:v>0.03</c:v>
                </c:pt>
                <c:pt idx="601">
                  <c:v>0.02</c:v>
                </c:pt>
                <c:pt idx="602">
                  <c:v>0.01</c:v>
                </c:pt>
                <c:pt idx="603">
                  <c:v>0.01</c:v>
                </c:pt>
                <c:pt idx="604">
                  <c:v>0.02</c:v>
                </c:pt>
                <c:pt idx="605">
                  <c:v>0.01</c:v>
                </c:pt>
                <c:pt idx="606">
                  <c:v>0.02</c:v>
                </c:pt>
                <c:pt idx="607">
                  <c:v>0.01</c:v>
                </c:pt>
                <c:pt idx="608">
                  <c:v>0.01</c:v>
                </c:pt>
                <c:pt idx="609">
                  <c:v>0.01</c:v>
                </c:pt>
                <c:pt idx="610">
                  <c:v>0.01</c:v>
                </c:pt>
                <c:pt idx="611">
                  <c:v>0.01</c:v>
                </c:pt>
                <c:pt idx="612">
                  <c:v>0.05</c:v>
                </c:pt>
                <c:pt idx="613">
                  <c:v>0.01</c:v>
                </c:pt>
                <c:pt idx="614">
                  <c:v>0.21</c:v>
                </c:pt>
                <c:pt idx="615">
                  <c:v>0.01</c:v>
                </c:pt>
                <c:pt idx="616">
                  <c:v>0.01</c:v>
                </c:pt>
                <c:pt idx="617">
                  <c:v>0.01</c:v>
                </c:pt>
                <c:pt idx="618">
                  <c:v>0.02</c:v>
                </c:pt>
                <c:pt idx="619">
                  <c:v>0.01</c:v>
                </c:pt>
                <c:pt idx="620">
                  <c:v>0.01</c:v>
                </c:pt>
                <c:pt idx="621">
                  <c:v>0.01</c:v>
                </c:pt>
                <c:pt idx="622">
                  <c:v>0.01</c:v>
                </c:pt>
                <c:pt idx="623">
                  <c:v>0.02</c:v>
                </c:pt>
                <c:pt idx="624">
                  <c:v>0.01</c:v>
                </c:pt>
                <c:pt idx="625">
                  <c:v>0.01</c:v>
                </c:pt>
                <c:pt idx="626">
                  <c:v>0.01</c:v>
                </c:pt>
                <c:pt idx="627">
                  <c:v>0.01</c:v>
                </c:pt>
                <c:pt idx="628">
                  <c:v>0.01</c:v>
                </c:pt>
                <c:pt idx="629">
                  <c:v>0.01</c:v>
                </c:pt>
                <c:pt idx="630">
                  <c:v>0.01</c:v>
                </c:pt>
                <c:pt idx="631">
                  <c:v>0.01</c:v>
                </c:pt>
                <c:pt idx="632">
                  <c:v>0.06</c:v>
                </c:pt>
                <c:pt idx="633">
                  <c:v>0.01</c:v>
                </c:pt>
                <c:pt idx="634">
                  <c:v>0.02</c:v>
                </c:pt>
                <c:pt idx="635">
                  <c:v>0.02</c:v>
                </c:pt>
                <c:pt idx="636">
                  <c:v>0.01</c:v>
                </c:pt>
                <c:pt idx="637">
                  <c:v>0.01</c:v>
                </c:pt>
                <c:pt idx="638">
                  <c:v>7.0000000000000007E-2</c:v>
                </c:pt>
                <c:pt idx="639">
                  <c:v>0.01</c:v>
                </c:pt>
                <c:pt idx="640">
                  <c:v>0.01</c:v>
                </c:pt>
                <c:pt idx="641">
                  <c:v>0.01</c:v>
                </c:pt>
                <c:pt idx="642">
                  <c:v>0.05</c:v>
                </c:pt>
                <c:pt idx="643">
                  <c:v>0.03</c:v>
                </c:pt>
                <c:pt idx="644">
                  <c:v>0.01</c:v>
                </c:pt>
                <c:pt idx="645">
                  <c:v>0.02</c:v>
                </c:pt>
                <c:pt idx="646">
                  <c:v>0.01</c:v>
                </c:pt>
                <c:pt idx="647">
                  <c:v>0.02</c:v>
                </c:pt>
                <c:pt idx="648">
                  <c:v>0.01</c:v>
                </c:pt>
                <c:pt idx="649">
                  <c:v>0.01</c:v>
                </c:pt>
                <c:pt idx="650">
                  <c:v>0.01</c:v>
                </c:pt>
                <c:pt idx="651">
                  <c:v>0.02</c:v>
                </c:pt>
                <c:pt idx="652">
                  <c:v>0.02</c:v>
                </c:pt>
                <c:pt idx="653">
                  <c:v>0.01</c:v>
                </c:pt>
                <c:pt idx="654">
                  <c:v>0.01</c:v>
                </c:pt>
                <c:pt idx="655">
                  <c:v>0.01</c:v>
                </c:pt>
                <c:pt idx="656">
                  <c:v>7.0000000000000007E-2</c:v>
                </c:pt>
                <c:pt idx="657">
                  <c:v>0.04</c:v>
                </c:pt>
                <c:pt idx="658">
                  <c:v>0.01</c:v>
                </c:pt>
                <c:pt idx="659">
                  <c:v>0.05</c:v>
                </c:pt>
                <c:pt idx="660">
                  <c:v>0.01</c:v>
                </c:pt>
                <c:pt idx="661">
                  <c:v>0.01</c:v>
                </c:pt>
                <c:pt idx="662">
                  <c:v>0.01</c:v>
                </c:pt>
                <c:pt idx="663">
                  <c:v>0.05</c:v>
                </c:pt>
                <c:pt idx="664">
                  <c:v>0.01</c:v>
                </c:pt>
                <c:pt idx="665">
                  <c:v>0.03</c:v>
                </c:pt>
                <c:pt idx="666">
                  <c:v>0.06</c:v>
                </c:pt>
                <c:pt idx="667">
                  <c:v>0.01</c:v>
                </c:pt>
                <c:pt idx="668">
                  <c:v>0.01</c:v>
                </c:pt>
                <c:pt idx="669">
                  <c:v>0.06</c:v>
                </c:pt>
                <c:pt idx="670">
                  <c:v>0.01</c:v>
                </c:pt>
                <c:pt idx="671">
                  <c:v>0.01</c:v>
                </c:pt>
                <c:pt idx="672">
                  <c:v>0.01</c:v>
                </c:pt>
                <c:pt idx="673">
                  <c:v>0.01</c:v>
                </c:pt>
                <c:pt idx="674">
                  <c:v>0.03</c:v>
                </c:pt>
                <c:pt idx="675">
                  <c:v>0.01</c:v>
                </c:pt>
                <c:pt idx="676">
                  <c:v>0.01</c:v>
                </c:pt>
                <c:pt idx="677">
                  <c:v>0.01</c:v>
                </c:pt>
                <c:pt idx="678">
                  <c:v>0.03</c:v>
                </c:pt>
                <c:pt idx="679">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22B4-4DF8-BAD3-C71D91B08C5E}"/>
              </c:ext>
            </c:extLst>
          </c:dPt>
          <c:dPt>
            <c:idx val="211"/>
            <c:invertIfNegative val="1"/>
            <c:bubble3D val="0"/>
            <c:spPr>
              <a:solidFill>
                <a:srgbClr val="7ECAC4"/>
              </a:solidFill>
            </c:spPr>
            <c:extLst>
              <c:ext xmlns:c16="http://schemas.microsoft.com/office/drawing/2014/chart" uri="{C3380CC4-5D6E-409C-BE32-E72D297353CC}">
                <c16:uniqueId val="{000001A9-22B4-4DF8-BAD3-C71D91B08C5E}"/>
              </c:ext>
            </c:extLst>
          </c:dPt>
          <c:dPt>
            <c:idx val="212"/>
            <c:invertIfNegative val="1"/>
            <c:bubble3D val="0"/>
            <c:spPr>
              <a:solidFill>
                <a:srgbClr val="7ECAC4"/>
              </a:solidFill>
            </c:spPr>
            <c:extLst>
              <c:ext xmlns:c16="http://schemas.microsoft.com/office/drawing/2014/chart" uri="{C3380CC4-5D6E-409C-BE32-E72D297353CC}">
                <c16:uniqueId val="{000001AB-22B4-4DF8-BAD3-C71D91B08C5E}"/>
              </c:ext>
            </c:extLst>
          </c:dPt>
          <c:dPt>
            <c:idx val="213"/>
            <c:invertIfNegative val="1"/>
            <c:bubble3D val="0"/>
            <c:spPr>
              <a:solidFill>
                <a:srgbClr val="7ECAC4"/>
              </a:solidFill>
            </c:spPr>
            <c:extLst>
              <c:ext xmlns:c16="http://schemas.microsoft.com/office/drawing/2014/chart" uri="{C3380CC4-5D6E-409C-BE32-E72D297353CC}">
                <c16:uniqueId val="{000001AD-22B4-4DF8-BAD3-C71D91B08C5E}"/>
              </c:ext>
            </c:extLst>
          </c:dPt>
          <c:dPt>
            <c:idx val="214"/>
            <c:invertIfNegative val="1"/>
            <c:bubble3D val="0"/>
            <c:spPr>
              <a:solidFill>
                <a:srgbClr val="7ECAC4"/>
              </a:solidFill>
            </c:spPr>
            <c:extLst>
              <c:ext xmlns:c16="http://schemas.microsoft.com/office/drawing/2014/chart" uri="{C3380CC4-5D6E-409C-BE32-E72D297353CC}">
                <c16:uniqueId val="{000001AF-22B4-4DF8-BAD3-C71D91B08C5E}"/>
              </c:ext>
            </c:extLst>
          </c:dPt>
          <c:dPt>
            <c:idx val="215"/>
            <c:invertIfNegative val="1"/>
            <c:bubble3D val="0"/>
            <c:spPr>
              <a:solidFill>
                <a:srgbClr val="7ECAC4"/>
              </a:solidFill>
            </c:spPr>
            <c:extLst>
              <c:ext xmlns:c16="http://schemas.microsoft.com/office/drawing/2014/chart" uri="{C3380CC4-5D6E-409C-BE32-E72D297353CC}">
                <c16:uniqueId val="{000001B1-22B4-4DF8-BAD3-C71D91B08C5E}"/>
              </c:ext>
            </c:extLst>
          </c:dPt>
          <c:dPt>
            <c:idx val="216"/>
            <c:invertIfNegative val="1"/>
            <c:bubble3D val="0"/>
            <c:spPr>
              <a:solidFill>
                <a:srgbClr val="7ECAC4"/>
              </a:solidFill>
            </c:spPr>
            <c:extLst>
              <c:ext xmlns:c16="http://schemas.microsoft.com/office/drawing/2014/chart" uri="{C3380CC4-5D6E-409C-BE32-E72D297353CC}">
                <c16:uniqueId val="{000001B3-22B4-4DF8-BAD3-C71D91B08C5E}"/>
              </c:ext>
            </c:extLst>
          </c:dPt>
          <c:dPt>
            <c:idx val="217"/>
            <c:invertIfNegative val="1"/>
            <c:bubble3D val="0"/>
            <c:spPr>
              <a:solidFill>
                <a:srgbClr val="7ECAC4"/>
              </a:solidFill>
            </c:spPr>
            <c:extLst>
              <c:ext xmlns:c16="http://schemas.microsoft.com/office/drawing/2014/chart" uri="{C3380CC4-5D6E-409C-BE32-E72D297353CC}">
                <c16:uniqueId val="{000001B5-22B4-4DF8-BAD3-C71D91B08C5E}"/>
              </c:ext>
            </c:extLst>
          </c:dPt>
          <c:dPt>
            <c:idx val="218"/>
            <c:invertIfNegative val="1"/>
            <c:bubble3D val="0"/>
            <c:spPr>
              <a:solidFill>
                <a:srgbClr val="7ECAC4"/>
              </a:solidFill>
            </c:spPr>
            <c:extLst>
              <c:ext xmlns:c16="http://schemas.microsoft.com/office/drawing/2014/chart" uri="{C3380CC4-5D6E-409C-BE32-E72D297353CC}">
                <c16:uniqueId val="{000001B7-22B4-4DF8-BAD3-C71D91B08C5E}"/>
              </c:ext>
            </c:extLst>
          </c:dPt>
          <c:dPt>
            <c:idx val="219"/>
            <c:invertIfNegative val="1"/>
            <c:bubble3D val="0"/>
            <c:spPr>
              <a:solidFill>
                <a:srgbClr val="7ECAC4"/>
              </a:solidFill>
            </c:spPr>
            <c:extLst>
              <c:ext xmlns:c16="http://schemas.microsoft.com/office/drawing/2014/chart" uri="{C3380CC4-5D6E-409C-BE32-E72D297353CC}">
                <c16:uniqueId val="{000001B9-22B4-4DF8-BAD3-C71D91B08C5E}"/>
              </c:ext>
            </c:extLst>
          </c:dPt>
          <c:dPt>
            <c:idx val="220"/>
            <c:invertIfNegative val="1"/>
            <c:bubble3D val="0"/>
            <c:spPr>
              <a:solidFill>
                <a:srgbClr val="7ECAC4"/>
              </a:solidFill>
            </c:spPr>
            <c:extLst>
              <c:ext xmlns:c16="http://schemas.microsoft.com/office/drawing/2014/chart" uri="{C3380CC4-5D6E-409C-BE32-E72D297353CC}">
                <c16:uniqueId val="{000001BB-22B4-4DF8-BAD3-C71D91B08C5E}"/>
              </c:ext>
            </c:extLst>
          </c:dPt>
          <c:dPt>
            <c:idx val="221"/>
            <c:invertIfNegative val="1"/>
            <c:bubble3D val="0"/>
            <c:spPr>
              <a:solidFill>
                <a:srgbClr val="7ECAC4"/>
              </a:solidFill>
            </c:spPr>
            <c:extLst>
              <c:ext xmlns:c16="http://schemas.microsoft.com/office/drawing/2014/chart" uri="{C3380CC4-5D6E-409C-BE32-E72D297353CC}">
                <c16:uniqueId val="{000001BD-22B4-4DF8-BAD3-C71D91B08C5E}"/>
              </c:ext>
            </c:extLst>
          </c:dPt>
          <c:dPt>
            <c:idx val="222"/>
            <c:invertIfNegative val="1"/>
            <c:bubble3D val="0"/>
            <c:spPr>
              <a:solidFill>
                <a:srgbClr val="7ECAC4"/>
              </a:solidFill>
            </c:spPr>
            <c:extLst>
              <c:ext xmlns:c16="http://schemas.microsoft.com/office/drawing/2014/chart" uri="{C3380CC4-5D6E-409C-BE32-E72D297353CC}">
                <c16:uniqueId val="{000001BF-22B4-4DF8-BAD3-C71D91B08C5E}"/>
              </c:ext>
            </c:extLst>
          </c:dPt>
          <c:dPt>
            <c:idx val="223"/>
            <c:invertIfNegative val="1"/>
            <c:bubble3D val="0"/>
            <c:spPr>
              <a:solidFill>
                <a:srgbClr val="7ECAC4"/>
              </a:solidFill>
            </c:spPr>
            <c:extLst>
              <c:ext xmlns:c16="http://schemas.microsoft.com/office/drawing/2014/chart" uri="{C3380CC4-5D6E-409C-BE32-E72D297353CC}">
                <c16:uniqueId val="{000001C1-22B4-4DF8-BAD3-C71D91B08C5E}"/>
              </c:ext>
            </c:extLst>
          </c:dPt>
          <c:dPt>
            <c:idx val="224"/>
            <c:invertIfNegative val="1"/>
            <c:bubble3D val="0"/>
            <c:spPr>
              <a:solidFill>
                <a:srgbClr val="7ECAC4"/>
              </a:solidFill>
            </c:spPr>
            <c:extLst>
              <c:ext xmlns:c16="http://schemas.microsoft.com/office/drawing/2014/chart" uri="{C3380CC4-5D6E-409C-BE32-E72D297353CC}">
                <c16:uniqueId val="{000001C3-22B4-4DF8-BAD3-C71D91B08C5E}"/>
              </c:ext>
            </c:extLst>
          </c:dPt>
          <c:dPt>
            <c:idx val="225"/>
            <c:invertIfNegative val="1"/>
            <c:bubble3D val="0"/>
            <c:spPr>
              <a:solidFill>
                <a:srgbClr val="7ECAC4"/>
              </a:solidFill>
            </c:spPr>
            <c:extLst>
              <c:ext xmlns:c16="http://schemas.microsoft.com/office/drawing/2014/chart" uri="{C3380CC4-5D6E-409C-BE32-E72D297353CC}">
                <c16:uniqueId val="{000001C5-22B4-4DF8-BAD3-C71D91B08C5E}"/>
              </c:ext>
            </c:extLst>
          </c:dPt>
          <c:dPt>
            <c:idx val="226"/>
            <c:invertIfNegative val="1"/>
            <c:bubble3D val="0"/>
            <c:spPr>
              <a:solidFill>
                <a:srgbClr val="7ECAC4"/>
              </a:solidFill>
            </c:spPr>
            <c:extLst>
              <c:ext xmlns:c16="http://schemas.microsoft.com/office/drawing/2014/chart" uri="{C3380CC4-5D6E-409C-BE32-E72D297353CC}">
                <c16:uniqueId val="{000001C7-22B4-4DF8-BAD3-C71D91B08C5E}"/>
              </c:ext>
            </c:extLst>
          </c:dPt>
          <c:dPt>
            <c:idx val="227"/>
            <c:invertIfNegative val="1"/>
            <c:bubble3D val="0"/>
            <c:spPr>
              <a:solidFill>
                <a:srgbClr val="7ECAC4"/>
              </a:solidFill>
            </c:spPr>
            <c:extLst>
              <c:ext xmlns:c16="http://schemas.microsoft.com/office/drawing/2014/chart" uri="{C3380CC4-5D6E-409C-BE32-E72D297353CC}">
                <c16:uniqueId val="{000001C9-22B4-4DF8-BAD3-C71D91B08C5E}"/>
              </c:ext>
            </c:extLst>
          </c:dPt>
          <c:dPt>
            <c:idx val="228"/>
            <c:invertIfNegative val="1"/>
            <c:bubble3D val="0"/>
            <c:spPr>
              <a:solidFill>
                <a:srgbClr val="7ECAC4"/>
              </a:solidFill>
            </c:spPr>
            <c:extLst>
              <c:ext xmlns:c16="http://schemas.microsoft.com/office/drawing/2014/chart" uri="{C3380CC4-5D6E-409C-BE32-E72D297353CC}">
                <c16:uniqueId val="{000001CB-22B4-4DF8-BAD3-C71D91B08C5E}"/>
              </c:ext>
            </c:extLst>
          </c:dPt>
          <c:dPt>
            <c:idx val="229"/>
            <c:invertIfNegative val="1"/>
            <c:bubble3D val="0"/>
            <c:spPr>
              <a:solidFill>
                <a:srgbClr val="7ECAC4"/>
              </a:solidFill>
            </c:spPr>
            <c:extLst>
              <c:ext xmlns:c16="http://schemas.microsoft.com/office/drawing/2014/chart" uri="{C3380CC4-5D6E-409C-BE32-E72D297353CC}">
                <c16:uniqueId val="{000001CD-22B4-4DF8-BAD3-C71D91B08C5E}"/>
              </c:ext>
            </c:extLst>
          </c:dPt>
          <c:dPt>
            <c:idx val="230"/>
            <c:invertIfNegative val="1"/>
            <c:bubble3D val="0"/>
            <c:spPr>
              <a:solidFill>
                <a:srgbClr val="7ECAC4"/>
              </a:solidFill>
            </c:spPr>
            <c:extLst>
              <c:ext xmlns:c16="http://schemas.microsoft.com/office/drawing/2014/chart" uri="{C3380CC4-5D6E-409C-BE32-E72D297353CC}">
                <c16:uniqueId val="{000001CF-22B4-4DF8-BAD3-C71D91B08C5E}"/>
              </c:ext>
            </c:extLst>
          </c:dPt>
          <c:dPt>
            <c:idx val="231"/>
            <c:invertIfNegative val="1"/>
            <c:bubble3D val="0"/>
            <c:spPr>
              <a:solidFill>
                <a:srgbClr val="7ECAC4"/>
              </a:solidFill>
            </c:spPr>
            <c:extLst>
              <c:ext xmlns:c16="http://schemas.microsoft.com/office/drawing/2014/chart" uri="{C3380CC4-5D6E-409C-BE32-E72D297353CC}">
                <c16:uniqueId val="{000001D1-22B4-4DF8-BAD3-C71D91B08C5E}"/>
              </c:ext>
            </c:extLst>
          </c:dPt>
          <c:dPt>
            <c:idx val="232"/>
            <c:invertIfNegative val="1"/>
            <c:bubble3D val="0"/>
            <c:spPr>
              <a:solidFill>
                <a:srgbClr val="7ECAC4"/>
              </a:solidFill>
            </c:spPr>
            <c:extLst>
              <c:ext xmlns:c16="http://schemas.microsoft.com/office/drawing/2014/chart" uri="{C3380CC4-5D6E-409C-BE32-E72D297353CC}">
                <c16:uniqueId val="{000001D3-22B4-4DF8-BAD3-C71D91B08C5E}"/>
              </c:ext>
            </c:extLst>
          </c:dPt>
          <c:dPt>
            <c:idx val="233"/>
            <c:invertIfNegative val="1"/>
            <c:bubble3D val="0"/>
            <c:spPr>
              <a:solidFill>
                <a:srgbClr val="7ECAC4"/>
              </a:solidFill>
            </c:spPr>
            <c:extLst>
              <c:ext xmlns:c16="http://schemas.microsoft.com/office/drawing/2014/chart" uri="{C3380CC4-5D6E-409C-BE32-E72D297353CC}">
                <c16:uniqueId val="{000001D5-22B4-4DF8-BAD3-C71D91B08C5E}"/>
              </c:ext>
            </c:extLst>
          </c:dPt>
          <c:dPt>
            <c:idx val="234"/>
            <c:invertIfNegative val="1"/>
            <c:bubble3D val="0"/>
            <c:spPr>
              <a:solidFill>
                <a:srgbClr val="7ECAC4"/>
              </a:solidFill>
            </c:spPr>
            <c:extLst>
              <c:ext xmlns:c16="http://schemas.microsoft.com/office/drawing/2014/chart" uri="{C3380CC4-5D6E-409C-BE32-E72D297353CC}">
                <c16:uniqueId val="{000001D7-22B4-4DF8-BAD3-C71D91B08C5E}"/>
              </c:ext>
            </c:extLst>
          </c:dPt>
          <c:dPt>
            <c:idx val="235"/>
            <c:invertIfNegative val="1"/>
            <c:bubble3D val="0"/>
            <c:spPr>
              <a:solidFill>
                <a:srgbClr val="7ECAC4"/>
              </a:solidFill>
            </c:spPr>
            <c:extLst>
              <c:ext xmlns:c16="http://schemas.microsoft.com/office/drawing/2014/chart" uri="{C3380CC4-5D6E-409C-BE32-E72D297353CC}">
                <c16:uniqueId val="{000001D9-22B4-4DF8-BAD3-C71D91B08C5E}"/>
              </c:ext>
            </c:extLst>
          </c:dPt>
          <c:dPt>
            <c:idx val="236"/>
            <c:invertIfNegative val="1"/>
            <c:bubble3D val="0"/>
            <c:spPr>
              <a:solidFill>
                <a:srgbClr val="7ECAC4"/>
              </a:solidFill>
            </c:spPr>
            <c:extLst>
              <c:ext xmlns:c16="http://schemas.microsoft.com/office/drawing/2014/chart" uri="{C3380CC4-5D6E-409C-BE32-E72D297353CC}">
                <c16:uniqueId val="{000001DB-22B4-4DF8-BAD3-C71D91B08C5E}"/>
              </c:ext>
            </c:extLst>
          </c:dPt>
          <c:dPt>
            <c:idx val="237"/>
            <c:invertIfNegative val="1"/>
            <c:bubble3D val="0"/>
            <c:spPr>
              <a:solidFill>
                <a:srgbClr val="7ECAC4"/>
              </a:solidFill>
            </c:spPr>
            <c:extLst>
              <c:ext xmlns:c16="http://schemas.microsoft.com/office/drawing/2014/chart" uri="{C3380CC4-5D6E-409C-BE32-E72D297353CC}">
                <c16:uniqueId val="{000001DD-22B4-4DF8-BAD3-C71D91B08C5E}"/>
              </c:ext>
            </c:extLst>
          </c:dPt>
          <c:dPt>
            <c:idx val="238"/>
            <c:invertIfNegative val="1"/>
            <c:bubble3D val="0"/>
            <c:spPr>
              <a:solidFill>
                <a:srgbClr val="7ECAC4"/>
              </a:solidFill>
            </c:spPr>
            <c:extLst>
              <c:ext xmlns:c16="http://schemas.microsoft.com/office/drawing/2014/chart" uri="{C3380CC4-5D6E-409C-BE32-E72D297353CC}">
                <c16:uniqueId val="{000001DF-22B4-4DF8-BAD3-C71D91B08C5E}"/>
              </c:ext>
            </c:extLst>
          </c:dPt>
          <c:dPt>
            <c:idx val="239"/>
            <c:invertIfNegative val="1"/>
            <c:bubble3D val="0"/>
            <c:spPr>
              <a:solidFill>
                <a:srgbClr val="7ECAC4"/>
              </a:solidFill>
            </c:spPr>
            <c:extLst>
              <c:ext xmlns:c16="http://schemas.microsoft.com/office/drawing/2014/chart" uri="{C3380CC4-5D6E-409C-BE32-E72D297353CC}">
                <c16:uniqueId val="{000001E1-22B4-4DF8-BAD3-C71D91B08C5E}"/>
              </c:ext>
            </c:extLst>
          </c:dPt>
          <c:dPt>
            <c:idx val="240"/>
            <c:invertIfNegative val="1"/>
            <c:bubble3D val="0"/>
            <c:spPr>
              <a:solidFill>
                <a:srgbClr val="7ECAC4"/>
              </a:solidFill>
            </c:spPr>
            <c:extLst>
              <c:ext xmlns:c16="http://schemas.microsoft.com/office/drawing/2014/chart" uri="{C3380CC4-5D6E-409C-BE32-E72D297353CC}">
                <c16:uniqueId val="{000001E3-22B4-4DF8-BAD3-C71D91B08C5E}"/>
              </c:ext>
            </c:extLst>
          </c:dPt>
          <c:dPt>
            <c:idx val="241"/>
            <c:invertIfNegative val="1"/>
            <c:bubble3D val="0"/>
            <c:spPr>
              <a:solidFill>
                <a:srgbClr val="7ECAC4"/>
              </a:solidFill>
            </c:spPr>
            <c:extLst>
              <c:ext xmlns:c16="http://schemas.microsoft.com/office/drawing/2014/chart" uri="{C3380CC4-5D6E-409C-BE32-E72D297353CC}">
                <c16:uniqueId val="{000001E5-22B4-4DF8-BAD3-C71D91B08C5E}"/>
              </c:ext>
            </c:extLst>
          </c:dPt>
          <c:dPt>
            <c:idx val="242"/>
            <c:invertIfNegative val="1"/>
            <c:bubble3D val="0"/>
            <c:spPr>
              <a:solidFill>
                <a:srgbClr val="7ECAC4"/>
              </a:solidFill>
            </c:spPr>
            <c:extLst>
              <c:ext xmlns:c16="http://schemas.microsoft.com/office/drawing/2014/chart" uri="{C3380CC4-5D6E-409C-BE32-E72D297353CC}">
                <c16:uniqueId val="{000001E7-22B4-4DF8-BAD3-C71D91B08C5E}"/>
              </c:ext>
            </c:extLst>
          </c:dPt>
          <c:dPt>
            <c:idx val="243"/>
            <c:invertIfNegative val="1"/>
            <c:bubble3D val="0"/>
            <c:spPr>
              <a:solidFill>
                <a:srgbClr val="7ECAC4"/>
              </a:solidFill>
            </c:spPr>
            <c:extLst>
              <c:ext xmlns:c16="http://schemas.microsoft.com/office/drawing/2014/chart" uri="{C3380CC4-5D6E-409C-BE32-E72D297353CC}">
                <c16:uniqueId val="{000001E9-22B4-4DF8-BAD3-C71D91B08C5E}"/>
              </c:ext>
            </c:extLst>
          </c:dPt>
          <c:dPt>
            <c:idx val="244"/>
            <c:invertIfNegative val="1"/>
            <c:bubble3D val="0"/>
            <c:spPr>
              <a:solidFill>
                <a:srgbClr val="7ECAC4"/>
              </a:solidFill>
            </c:spPr>
            <c:extLst>
              <c:ext xmlns:c16="http://schemas.microsoft.com/office/drawing/2014/chart" uri="{C3380CC4-5D6E-409C-BE32-E72D297353CC}">
                <c16:uniqueId val="{000001EB-22B4-4DF8-BAD3-C71D91B08C5E}"/>
              </c:ext>
            </c:extLst>
          </c:dPt>
          <c:dPt>
            <c:idx val="245"/>
            <c:invertIfNegative val="1"/>
            <c:bubble3D val="0"/>
            <c:spPr>
              <a:solidFill>
                <a:srgbClr val="7ECAC4"/>
              </a:solidFill>
            </c:spPr>
            <c:extLst>
              <c:ext xmlns:c16="http://schemas.microsoft.com/office/drawing/2014/chart" uri="{C3380CC4-5D6E-409C-BE32-E72D297353CC}">
                <c16:uniqueId val="{000001ED-22B4-4DF8-BAD3-C71D91B08C5E}"/>
              </c:ext>
            </c:extLst>
          </c:dPt>
          <c:dPt>
            <c:idx val="246"/>
            <c:invertIfNegative val="1"/>
            <c:bubble3D val="0"/>
            <c:spPr>
              <a:solidFill>
                <a:srgbClr val="7ECAC4"/>
              </a:solidFill>
            </c:spPr>
            <c:extLst>
              <c:ext xmlns:c16="http://schemas.microsoft.com/office/drawing/2014/chart" uri="{C3380CC4-5D6E-409C-BE32-E72D297353CC}">
                <c16:uniqueId val="{000001EF-22B4-4DF8-BAD3-C71D91B08C5E}"/>
              </c:ext>
            </c:extLst>
          </c:dPt>
          <c:dPt>
            <c:idx val="247"/>
            <c:invertIfNegative val="1"/>
            <c:bubble3D val="0"/>
            <c:spPr>
              <a:solidFill>
                <a:srgbClr val="7ECAC4"/>
              </a:solidFill>
            </c:spPr>
            <c:extLst>
              <c:ext xmlns:c16="http://schemas.microsoft.com/office/drawing/2014/chart" uri="{C3380CC4-5D6E-409C-BE32-E72D297353CC}">
                <c16:uniqueId val="{000001F1-22B4-4DF8-BAD3-C71D91B08C5E}"/>
              </c:ext>
            </c:extLst>
          </c:dPt>
          <c:dPt>
            <c:idx val="248"/>
            <c:invertIfNegative val="1"/>
            <c:bubble3D val="0"/>
            <c:spPr>
              <a:solidFill>
                <a:srgbClr val="AEABAB"/>
              </a:solidFill>
            </c:spPr>
            <c:extLst>
              <c:ext xmlns:c16="http://schemas.microsoft.com/office/drawing/2014/chart" uri="{C3380CC4-5D6E-409C-BE32-E72D297353CC}">
                <c16:uniqueId val="{000001F3-22B4-4DF8-BAD3-C71D91B08C5E}"/>
              </c:ext>
            </c:extLst>
          </c:dPt>
          <c:dPt>
            <c:idx val="249"/>
            <c:invertIfNegative val="1"/>
            <c:bubble3D val="0"/>
            <c:spPr>
              <a:solidFill>
                <a:srgbClr val="AEABAB"/>
              </a:solidFill>
            </c:spPr>
            <c:extLst>
              <c:ext xmlns:c16="http://schemas.microsoft.com/office/drawing/2014/chart" uri="{C3380CC4-5D6E-409C-BE32-E72D297353CC}">
                <c16:uniqueId val="{000001F5-22B4-4DF8-BAD3-C71D91B08C5E}"/>
              </c:ext>
            </c:extLst>
          </c:dPt>
          <c:dPt>
            <c:idx val="250"/>
            <c:invertIfNegative val="1"/>
            <c:bubble3D val="0"/>
            <c:spPr>
              <a:solidFill>
                <a:srgbClr val="AEABAB"/>
              </a:solidFill>
            </c:spPr>
            <c:extLst>
              <c:ext xmlns:c16="http://schemas.microsoft.com/office/drawing/2014/chart" uri="{C3380CC4-5D6E-409C-BE32-E72D297353CC}">
                <c16:uniqueId val="{000001F7-22B4-4DF8-BAD3-C71D91B08C5E}"/>
              </c:ext>
            </c:extLst>
          </c:dPt>
          <c:dPt>
            <c:idx val="251"/>
            <c:invertIfNegative val="1"/>
            <c:bubble3D val="0"/>
            <c:spPr>
              <a:solidFill>
                <a:srgbClr val="AEABAB"/>
              </a:solidFill>
            </c:spPr>
            <c:extLst>
              <c:ext xmlns:c16="http://schemas.microsoft.com/office/drawing/2014/chart" uri="{C3380CC4-5D6E-409C-BE32-E72D297353CC}">
                <c16:uniqueId val="{000001F9-22B4-4DF8-BAD3-C71D91B08C5E}"/>
              </c:ext>
            </c:extLst>
          </c:dPt>
          <c:dPt>
            <c:idx val="252"/>
            <c:invertIfNegative val="1"/>
            <c:bubble3D val="0"/>
            <c:spPr>
              <a:solidFill>
                <a:srgbClr val="AEABAB"/>
              </a:solidFill>
            </c:spPr>
            <c:extLst>
              <c:ext xmlns:c16="http://schemas.microsoft.com/office/drawing/2014/chart" uri="{C3380CC4-5D6E-409C-BE32-E72D297353CC}">
                <c16:uniqueId val="{000001FB-22B4-4DF8-BAD3-C71D91B08C5E}"/>
              </c:ext>
            </c:extLst>
          </c:dPt>
          <c:dPt>
            <c:idx val="253"/>
            <c:invertIfNegative val="1"/>
            <c:bubble3D val="0"/>
            <c:spPr>
              <a:solidFill>
                <a:srgbClr val="AEABAB"/>
              </a:solidFill>
            </c:spPr>
            <c:extLst>
              <c:ext xmlns:c16="http://schemas.microsoft.com/office/drawing/2014/chart" uri="{C3380CC4-5D6E-409C-BE32-E72D297353CC}">
                <c16:uniqueId val="{000001FD-22B4-4DF8-BAD3-C71D91B08C5E}"/>
              </c:ext>
            </c:extLst>
          </c:dPt>
          <c:dPt>
            <c:idx val="254"/>
            <c:invertIfNegative val="1"/>
            <c:bubble3D val="0"/>
            <c:spPr>
              <a:solidFill>
                <a:srgbClr val="AEABAB"/>
              </a:solidFill>
            </c:spPr>
            <c:extLst>
              <c:ext xmlns:c16="http://schemas.microsoft.com/office/drawing/2014/chart" uri="{C3380CC4-5D6E-409C-BE32-E72D297353CC}">
                <c16:uniqueId val="{000001FF-22B4-4DF8-BAD3-C71D91B08C5E}"/>
              </c:ext>
            </c:extLst>
          </c:dPt>
          <c:dPt>
            <c:idx val="255"/>
            <c:invertIfNegative val="1"/>
            <c:bubble3D val="0"/>
            <c:spPr>
              <a:solidFill>
                <a:srgbClr val="AEABAB"/>
              </a:solidFill>
            </c:spPr>
            <c:extLst>
              <c:ext xmlns:c16="http://schemas.microsoft.com/office/drawing/2014/chart" uri="{C3380CC4-5D6E-409C-BE32-E72D297353CC}">
                <c16:uniqueId val="{00000201-22B4-4DF8-BAD3-C71D91B08C5E}"/>
              </c:ext>
            </c:extLst>
          </c:dPt>
          <c:dPt>
            <c:idx val="256"/>
            <c:invertIfNegative val="1"/>
            <c:bubble3D val="0"/>
            <c:spPr>
              <a:solidFill>
                <a:srgbClr val="AEABAB"/>
              </a:solidFill>
            </c:spPr>
            <c:extLst>
              <c:ext xmlns:c16="http://schemas.microsoft.com/office/drawing/2014/chart" uri="{C3380CC4-5D6E-409C-BE32-E72D297353CC}">
                <c16:uniqueId val="{00000203-22B4-4DF8-BAD3-C71D91B08C5E}"/>
              </c:ext>
            </c:extLst>
          </c:dPt>
          <c:dPt>
            <c:idx val="257"/>
            <c:invertIfNegative val="1"/>
            <c:bubble3D val="0"/>
            <c:spPr>
              <a:solidFill>
                <a:srgbClr val="AEABAB"/>
              </a:solidFill>
            </c:spPr>
            <c:extLst>
              <c:ext xmlns:c16="http://schemas.microsoft.com/office/drawing/2014/chart" uri="{C3380CC4-5D6E-409C-BE32-E72D297353CC}">
                <c16:uniqueId val="{00000205-22B4-4DF8-BAD3-C71D91B08C5E}"/>
              </c:ext>
            </c:extLst>
          </c:dPt>
          <c:dPt>
            <c:idx val="258"/>
            <c:invertIfNegative val="1"/>
            <c:bubble3D val="0"/>
            <c:spPr>
              <a:solidFill>
                <a:srgbClr val="AEABAB"/>
              </a:solidFill>
            </c:spPr>
            <c:extLst>
              <c:ext xmlns:c16="http://schemas.microsoft.com/office/drawing/2014/chart" uri="{C3380CC4-5D6E-409C-BE32-E72D297353CC}">
                <c16:uniqueId val="{00000207-22B4-4DF8-BAD3-C71D91B08C5E}"/>
              </c:ext>
            </c:extLst>
          </c:dPt>
          <c:dPt>
            <c:idx val="259"/>
            <c:invertIfNegative val="1"/>
            <c:bubble3D val="0"/>
            <c:spPr>
              <a:solidFill>
                <a:srgbClr val="AEABAB"/>
              </a:solidFill>
            </c:spPr>
            <c:extLst>
              <c:ext xmlns:c16="http://schemas.microsoft.com/office/drawing/2014/chart" uri="{C3380CC4-5D6E-409C-BE32-E72D297353CC}">
                <c16:uniqueId val="{00000209-22B4-4DF8-BAD3-C71D91B08C5E}"/>
              </c:ext>
            </c:extLst>
          </c:dPt>
          <c:dPt>
            <c:idx val="260"/>
            <c:invertIfNegative val="1"/>
            <c:bubble3D val="0"/>
            <c:spPr>
              <a:solidFill>
                <a:srgbClr val="AEABAB"/>
              </a:solidFill>
            </c:spPr>
            <c:extLst>
              <c:ext xmlns:c16="http://schemas.microsoft.com/office/drawing/2014/chart" uri="{C3380CC4-5D6E-409C-BE32-E72D297353CC}">
                <c16:uniqueId val="{0000020B-22B4-4DF8-BAD3-C71D91B08C5E}"/>
              </c:ext>
            </c:extLst>
          </c:dPt>
          <c:dPt>
            <c:idx val="261"/>
            <c:invertIfNegative val="1"/>
            <c:bubble3D val="0"/>
            <c:spPr>
              <a:solidFill>
                <a:srgbClr val="AEABAB"/>
              </a:solidFill>
            </c:spPr>
            <c:extLst>
              <c:ext xmlns:c16="http://schemas.microsoft.com/office/drawing/2014/chart" uri="{C3380CC4-5D6E-409C-BE32-E72D297353CC}">
                <c16:uniqueId val="{0000020D-22B4-4DF8-BAD3-C71D91B08C5E}"/>
              </c:ext>
            </c:extLst>
          </c:dPt>
          <c:dPt>
            <c:idx val="262"/>
            <c:invertIfNegative val="1"/>
            <c:bubble3D val="0"/>
            <c:spPr>
              <a:solidFill>
                <a:srgbClr val="AEABAB"/>
              </a:solidFill>
            </c:spPr>
            <c:extLst>
              <c:ext xmlns:c16="http://schemas.microsoft.com/office/drawing/2014/chart" uri="{C3380CC4-5D6E-409C-BE32-E72D297353CC}">
                <c16:uniqueId val="{0000020F-22B4-4DF8-BAD3-C71D91B08C5E}"/>
              </c:ext>
            </c:extLst>
          </c:dPt>
          <c:dPt>
            <c:idx val="263"/>
            <c:invertIfNegative val="1"/>
            <c:bubble3D val="0"/>
            <c:spPr>
              <a:solidFill>
                <a:srgbClr val="AEABAB"/>
              </a:solidFill>
            </c:spPr>
            <c:extLst>
              <c:ext xmlns:c16="http://schemas.microsoft.com/office/drawing/2014/chart" uri="{C3380CC4-5D6E-409C-BE32-E72D297353CC}">
                <c16:uniqueId val="{00000211-22B4-4DF8-BAD3-C71D91B08C5E}"/>
              </c:ext>
            </c:extLst>
          </c:dPt>
          <c:dPt>
            <c:idx val="264"/>
            <c:invertIfNegative val="1"/>
            <c:bubble3D val="0"/>
            <c:spPr>
              <a:solidFill>
                <a:srgbClr val="AEABAB"/>
              </a:solidFill>
            </c:spPr>
            <c:extLst>
              <c:ext xmlns:c16="http://schemas.microsoft.com/office/drawing/2014/chart" uri="{C3380CC4-5D6E-409C-BE32-E72D297353CC}">
                <c16:uniqueId val="{00000213-22B4-4DF8-BAD3-C71D91B08C5E}"/>
              </c:ext>
            </c:extLst>
          </c:dPt>
          <c:dPt>
            <c:idx val="265"/>
            <c:invertIfNegative val="1"/>
            <c:bubble3D val="0"/>
            <c:spPr>
              <a:solidFill>
                <a:srgbClr val="AEABAB"/>
              </a:solidFill>
            </c:spPr>
            <c:extLst>
              <c:ext xmlns:c16="http://schemas.microsoft.com/office/drawing/2014/chart" uri="{C3380CC4-5D6E-409C-BE32-E72D297353CC}">
                <c16:uniqueId val="{00000215-22B4-4DF8-BAD3-C71D91B08C5E}"/>
              </c:ext>
            </c:extLst>
          </c:dPt>
          <c:dPt>
            <c:idx val="266"/>
            <c:invertIfNegative val="1"/>
            <c:bubble3D val="0"/>
            <c:spPr>
              <a:solidFill>
                <a:srgbClr val="AEABAB"/>
              </a:solidFill>
            </c:spPr>
            <c:extLst>
              <c:ext xmlns:c16="http://schemas.microsoft.com/office/drawing/2014/chart" uri="{C3380CC4-5D6E-409C-BE32-E72D297353CC}">
                <c16:uniqueId val="{00000217-22B4-4DF8-BAD3-C71D91B08C5E}"/>
              </c:ext>
            </c:extLst>
          </c:dPt>
          <c:dPt>
            <c:idx val="267"/>
            <c:invertIfNegative val="1"/>
            <c:bubble3D val="0"/>
            <c:spPr>
              <a:solidFill>
                <a:srgbClr val="AEABAB"/>
              </a:solidFill>
            </c:spPr>
            <c:extLst>
              <c:ext xmlns:c16="http://schemas.microsoft.com/office/drawing/2014/chart" uri="{C3380CC4-5D6E-409C-BE32-E72D297353CC}">
                <c16:uniqueId val="{00000219-22B4-4DF8-BAD3-C71D91B08C5E}"/>
              </c:ext>
            </c:extLst>
          </c:dPt>
          <c:dPt>
            <c:idx val="268"/>
            <c:invertIfNegative val="1"/>
            <c:bubble3D val="0"/>
            <c:spPr>
              <a:solidFill>
                <a:srgbClr val="AEABAB"/>
              </a:solidFill>
            </c:spPr>
            <c:extLst>
              <c:ext xmlns:c16="http://schemas.microsoft.com/office/drawing/2014/chart" uri="{C3380CC4-5D6E-409C-BE32-E72D297353CC}">
                <c16:uniqueId val="{0000021B-22B4-4DF8-BAD3-C71D91B08C5E}"/>
              </c:ext>
            </c:extLst>
          </c:dPt>
          <c:dPt>
            <c:idx val="269"/>
            <c:invertIfNegative val="1"/>
            <c:bubble3D val="0"/>
            <c:spPr>
              <a:solidFill>
                <a:srgbClr val="AEABAB"/>
              </a:solidFill>
            </c:spPr>
            <c:extLst>
              <c:ext xmlns:c16="http://schemas.microsoft.com/office/drawing/2014/chart" uri="{C3380CC4-5D6E-409C-BE32-E72D297353CC}">
                <c16:uniqueId val="{0000021D-22B4-4DF8-BAD3-C71D91B08C5E}"/>
              </c:ext>
            </c:extLst>
          </c:dPt>
          <c:dPt>
            <c:idx val="270"/>
            <c:invertIfNegative val="1"/>
            <c:bubble3D val="0"/>
            <c:spPr>
              <a:solidFill>
                <a:srgbClr val="AEABAB"/>
              </a:solidFill>
            </c:spPr>
            <c:extLst>
              <c:ext xmlns:c16="http://schemas.microsoft.com/office/drawing/2014/chart" uri="{C3380CC4-5D6E-409C-BE32-E72D297353CC}">
                <c16:uniqueId val="{0000021F-22B4-4DF8-BAD3-C71D91B08C5E}"/>
              </c:ext>
            </c:extLst>
          </c:dPt>
          <c:dPt>
            <c:idx val="271"/>
            <c:invertIfNegative val="1"/>
            <c:bubble3D val="0"/>
            <c:spPr>
              <a:solidFill>
                <a:srgbClr val="AEABAB"/>
              </a:solidFill>
            </c:spPr>
            <c:extLst>
              <c:ext xmlns:c16="http://schemas.microsoft.com/office/drawing/2014/chart" uri="{C3380CC4-5D6E-409C-BE32-E72D297353CC}">
                <c16:uniqueId val="{00000221-22B4-4DF8-BAD3-C71D91B08C5E}"/>
              </c:ext>
            </c:extLst>
          </c:dPt>
          <c:dPt>
            <c:idx val="272"/>
            <c:invertIfNegative val="1"/>
            <c:bubble3D val="0"/>
            <c:spPr>
              <a:solidFill>
                <a:srgbClr val="AEABAB"/>
              </a:solidFill>
            </c:spPr>
            <c:extLst>
              <c:ext xmlns:c16="http://schemas.microsoft.com/office/drawing/2014/chart" uri="{C3380CC4-5D6E-409C-BE32-E72D297353CC}">
                <c16:uniqueId val="{00000223-22B4-4DF8-BAD3-C71D91B08C5E}"/>
              </c:ext>
            </c:extLst>
          </c:dPt>
          <c:dPt>
            <c:idx val="273"/>
            <c:invertIfNegative val="1"/>
            <c:bubble3D val="0"/>
            <c:spPr>
              <a:solidFill>
                <a:srgbClr val="AEABAB"/>
              </a:solidFill>
            </c:spPr>
            <c:extLst>
              <c:ext xmlns:c16="http://schemas.microsoft.com/office/drawing/2014/chart" uri="{C3380CC4-5D6E-409C-BE32-E72D297353CC}">
                <c16:uniqueId val="{00000225-22B4-4DF8-BAD3-C71D91B08C5E}"/>
              </c:ext>
            </c:extLst>
          </c:dPt>
          <c:dPt>
            <c:idx val="274"/>
            <c:invertIfNegative val="1"/>
            <c:bubble3D val="0"/>
            <c:spPr>
              <a:solidFill>
                <a:srgbClr val="AEABAB"/>
              </a:solidFill>
            </c:spPr>
            <c:extLst>
              <c:ext xmlns:c16="http://schemas.microsoft.com/office/drawing/2014/chart" uri="{C3380CC4-5D6E-409C-BE32-E72D297353CC}">
                <c16:uniqueId val="{00000227-22B4-4DF8-BAD3-C71D91B08C5E}"/>
              </c:ext>
            </c:extLst>
          </c:dPt>
          <c:dPt>
            <c:idx val="275"/>
            <c:invertIfNegative val="1"/>
            <c:bubble3D val="0"/>
            <c:spPr>
              <a:solidFill>
                <a:srgbClr val="AEABAB"/>
              </a:solidFill>
            </c:spPr>
            <c:extLst>
              <c:ext xmlns:c16="http://schemas.microsoft.com/office/drawing/2014/chart" uri="{C3380CC4-5D6E-409C-BE32-E72D297353CC}">
                <c16:uniqueId val="{00000229-22B4-4DF8-BAD3-C71D91B08C5E}"/>
              </c:ext>
            </c:extLst>
          </c:dPt>
          <c:dPt>
            <c:idx val="276"/>
            <c:invertIfNegative val="1"/>
            <c:bubble3D val="0"/>
            <c:spPr>
              <a:solidFill>
                <a:srgbClr val="AEABAB"/>
              </a:solidFill>
            </c:spPr>
            <c:extLst>
              <c:ext xmlns:c16="http://schemas.microsoft.com/office/drawing/2014/chart" uri="{C3380CC4-5D6E-409C-BE32-E72D297353CC}">
                <c16:uniqueId val="{0000022B-22B4-4DF8-BAD3-C71D91B08C5E}"/>
              </c:ext>
            </c:extLst>
          </c:dPt>
          <c:dPt>
            <c:idx val="277"/>
            <c:invertIfNegative val="1"/>
            <c:bubble3D val="0"/>
            <c:spPr>
              <a:solidFill>
                <a:srgbClr val="AEABAB"/>
              </a:solidFill>
            </c:spPr>
            <c:extLst>
              <c:ext xmlns:c16="http://schemas.microsoft.com/office/drawing/2014/chart" uri="{C3380CC4-5D6E-409C-BE32-E72D297353CC}">
                <c16:uniqueId val="{0000022D-22B4-4DF8-BAD3-C71D91B08C5E}"/>
              </c:ext>
            </c:extLst>
          </c:dPt>
          <c:dPt>
            <c:idx val="278"/>
            <c:invertIfNegative val="1"/>
            <c:bubble3D val="0"/>
            <c:spPr>
              <a:solidFill>
                <a:srgbClr val="AEABAB"/>
              </a:solidFill>
            </c:spPr>
            <c:extLst>
              <c:ext xmlns:c16="http://schemas.microsoft.com/office/drawing/2014/chart" uri="{C3380CC4-5D6E-409C-BE32-E72D297353CC}">
                <c16:uniqueId val="{0000022F-22B4-4DF8-BAD3-C71D91B08C5E}"/>
              </c:ext>
            </c:extLst>
          </c:dPt>
          <c:dPt>
            <c:idx val="279"/>
            <c:invertIfNegative val="1"/>
            <c:bubble3D val="0"/>
            <c:spPr>
              <a:solidFill>
                <a:srgbClr val="AEABAB"/>
              </a:solidFill>
            </c:spPr>
            <c:extLst>
              <c:ext xmlns:c16="http://schemas.microsoft.com/office/drawing/2014/chart" uri="{C3380CC4-5D6E-409C-BE32-E72D297353CC}">
                <c16:uniqueId val="{00000231-22B4-4DF8-BAD3-C71D91B08C5E}"/>
              </c:ext>
            </c:extLst>
          </c:dPt>
          <c:dPt>
            <c:idx val="280"/>
            <c:invertIfNegative val="1"/>
            <c:bubble3D val="0"/>
            <c:spPr>
              <a:solidFill>
                <a:srgbClr val="AEABAB"/>
              </a:solidFill>
            </c:spPr>
            <c:extLst>
              <c:ext xmlns:c16="http://schemas.microsoft.com/office/drawing/2014/chart" uri="{C3380CC4-5D6E-409C-BE32-E72D297353CC}">
                <c16:uniqueId val="{00000233-22B4-4DF8-BAD3-C71D91B08C5E}"/>
              </c:ext>
            </c:extLst>
          </c:dPt>
          <c:dPt>
            <c:idx val="281"/>
            <c:invertIfNegative val="1"/>
            <c:bubble3D val="0"/>
            <c:spPr>
              <a:solidFill>
                <a:srgbClr val="AEABAB"/>
              </a:solidFill>
            </c:spPr>
            <c:extLst>
              <c:ext xmlns:c16="http://schemas.microsoft.com/office/drawing/2014/chart" uri="{C3380CC4-5D6E-409C-BE32-E72D297353CC}">
                <c16:uniqueId val="{00000235-22B4-4DF8-BAD3-C71D91B08C5E}"/>
              </c:ext>
            </c:extLst>
          </c:dPt>
          <c:dPt>
            <c:idx val="282"/>
            <c:invertIfNegative val="1"/>
            <c:bubble3D val="0"/>
            <c:spPr>
              <a:solidFill>
                <a:srgbClr val="AEABAB"/>
              </a:solidFill>
            </c:spPr>
            <c:extLst>
              <c:ext xmlns:c16="http://schemas.microsoft.com/office/drawing/2014/chart" uri="{C3380CC4-5D6E-409C-BE32-E72D297353CC}">
                <c16:uniqueId val="{00000237-22B4-4DF8-BAD3-C71D91B08C5E}"/>
              </c:ext>
            </c:extLst>
          </c:dPt>
          <c:dPt>
            <c:idx val="283"/>
            <c:invertIfNegative val="1"/>
            <c:bubble3D val="0"/>
            <c:spPr>
              <a:solidFill>
                <a:srgbClr val="AEABAB"/>
              </a:solidFill>
            </c:spPr>
            <c:extLst>
              <c:ext xmlns:c16="http://schemas.microsoft.com/office/drawing/2014/chart" uri="{C3380CC4-5D6E-409C-BE32-E72D297353CC}">
                <c16:uniqueId val="{00000239-22B4-4DF8-BAD3-C71D91B08C5E}"/>
              </c:ext>
            </c:extLst>
          </c:dPt>
          <c:dPt>
            <c:idx val="284"/>
            <c:invertIfNegative val="1"/>
            <c:bubble3D val="0"/>
            <c:spPr>
              <a:solidFill>
                <a:srgbClr val="AEABAB"/>
              </a:solidFill>
            </c:spPr>
            <c:extLst>
              <c:ext xmlns:c16="http://schemas.microsoft.com/office/drawing/2014/chart" uri="{C3380CC4-5D6E-409C-BE32-E72D297353CC}">
                <c16:uniqueId val="{0000023B-22B4-4DF8-BAD3-C71D91B08C5E}"/>
              </c:ext>
            </c:extLst>
          </c:dPt>
          <c:dPt>
            <c:idx val="285"/>
            <c:invertIfNegative val="1"/>
            <c:bubble3D val="0"/>
            <c:spPr>
              <a:solidFill>
                <a:srgbClr val="AEABAB"/>
              </a:solidFill>
            </c:spPr>
            <c:extLst>
              <c:ext xmlns:c16="http://schemas.microsoft.com/office/drawing/2014/chart" uri="{C3380CC4-5D6E-409C-BE32-E72D297353CC}">
                <c16:uniqueId val="{0000023D-22B4-4DF8-BAD3-C71D91B08C5E}"/>
              </c:ext>
            </c:extLst>
          </c:dPt>
          <c:dPt>
            <c:idx val="286"/>
            <c:invertIfNegative val="1"/>
            <c:bubble3D val="0"/>
            <c:spPr>
              <a:solidFill>
                <a:srgbClr val="AEABAB"/>
              </a:solidFill>
            </c:spPr>
            <c:extLst>
              <c:ext xmlns:c16="http://schemas.microsoft.com/office/drawing/2014/chart" uri="{C3380CC4-5D6E-409C-BE32-E72D297353CC}">
                <c16:uniqueId val="{0000023F-22B4-4DF8-BAD3-C71D91B08C5E}"/>
              </c:ext>
            </c:extLst>
          </c:dPt>
          <c:dPt>
            <c:idx val="287"/>
            <c:invertIfNegative val="1"/>
            <c:bubble3D val="0"/>
            <c:spPr>
              <a:solidFill>
                <a:srgbClr val="AEABAB"/>
              </a:solidFill>
            </c:spPr>
            <c:extLst>
              <c:ext xmlns:c16="http://schemas.microsoft.com/office/drawing/2014/chart" uri="{C3380CC4-5D6E-409C-BE32-E72D297353CC}">
                <c16:uniqueId val="{00000241-22B4-4DF8-BAD3-C71D91B08C5E}"/>
              </c:ext>
            </c:extLst>
          </c:dPt>
          <c:dPt>
            <c:idx val="288"/>
            <c:invertIfNegative val="1"/>
            <c:bubble3D val="0"/>
            <c:spPr>
              <a:solidFill>
                <a:srgbClr val="AEABAB"/>
              </a:solidFill>
            </c:spPr>
            <c:extLst>
              <c:ext xmlns:c16="http://schemas.microsoft.com/office/drawing/2014/chart" uri="{C3380CC4-5D6E-409C-BE32-E72D297353CC}">
                <c16:uniqueId val="{00000243-22B4-4DF8-BAD3-C71D91B08C5E}"/>
              </c:ext>
            </c:extLst>
          </c:dPt>
          <c:dPt>
            <c:idx val="289"/>
            <c:invertIfNegative val="1"/>
            <c:bubble3D val="0"/>
            <c:spPr>
              <a:solidFill>
                <a:srgbClr val="AEABAB"/>
              </a:solidFill>
            </c:spPr>
            <c:extLst>
              <c:ext xmlns:c16="http://schemas.microsoft.com/office/drawing/2014/chart" uri="{C3380CC4-5D6E-409C-BE32-E72D297353CC}">
                <c16:uniqueId val="{00000245-22B4-4DF8-BAD3-C71D91B08C5E}"/>
              </c:ext>
            </c:extLst>
          </c:dPt>
          <c:dPt>
            <c:idx val="290"/>
            <c:invertIfNegative val="1"/>
            <c:bubble3D val="0"/>
            <c:spPr>
              <a:solidFill>
                <a:srgbClr val="AEABAB"/>
              </a:solidFill>
            </c:spPr>
            <c:extLst>
              <c:ext xmlns:c16="http://schemas.microsoft.com/office/drawing/2014/chart" uri="{C3380CC4-5D6E-409C-BE32-E72D297353CC}">
                <c16:uniqueId val="{00000247-22B4-4DF8-BAD3-C71D91B08C5E}"/>
              </c:ext>
            </c:extLst>
          </c:dPt>
          <c:dPt>
            <c:idx val="291"/>
            <c:invertIfNegative val="1"/>
            <c:bubble3D val="0"/>
            <c:spPr>
              <a:solidFill>
                <a:srgbClr val="AEABAB"/>
              </a:solidFill>
            </c:spPr>
            <c:extLst>
              <c:ext xmlns:c16="http://schemas.microsoft.com/office/drawing/2014/chart" uri="{C3380CC4-5D6E-409C-BE32-E72D297353CC}">
                <c16:uniqueId val="{00000249-22B4-4DF8-BAD3-C71D91B08C5E}"/>
              </c:ext>
            </c:extLst>
          </c:dPt>
          <c:dPt>
            <c:idx val="292"/>
            <c:invertIfNegative val="1"/>
            <c:bubble3D val="0"/>
            <c:spPr>
              <a:solidFill>
                <a:srgbClr val="AEABAB"/>
              </a:solidFill>
            </c:spPr>
            <c:extLst>
              <c:ext xmlns:c16="http://schemas.microsoft.com/office/drawing/2014/chart" uri="{C3380CC4-5D6E-409C-BE32-E72D297353CC}">
                <c16:uniqueId val="{0000024B-22B4-4DF8-BAD3-C71D91B08C5E}"/>
              </c:ext>
            </c:extLst>
          </c:dPt>
          <c:dPt>
            <c:idx val="293"/>
            <c:invertIfNegative val="1"/>
            <c:bubble3D val="0"/>
            <c:spPr>
              <a:solidFill>
                <a:srgbClr val="AEABAB"/>
              </a:solidFill>
            </c:spPr>
            <c:extLst>
              <c:ext xmlns:c16="http://schemas.microsoft.com/office/drawing/2014/chart" uri="{C3380CC4-5D6E-409C-BE32-E72D297353CC}">
                <c16:uniqueId val="{0000024D-22B4-4DF8-BAD3-C71D91B08C5E}"/>
              </c:ext>
            </c:extLst>
          </c:dPt>
          <c:dPt>
            <c:idx val="294"/>
            <c:invertIfNegative val="1"/>
            <c:bubble3D val="0"/>
            <c:spPr>
              <a:solidFill>
                <a:srgbClr val="AEABAB"/>
              </a:solidFill>
            </c:spPr>
            <c:extLst>
              <c:ext xmlns:c16="http://schemas.microsoft.com/office/drawing/2014/chart" uri="{C3380CC4-5D6E-409C-BE32-E72D297353CC}">
                <c16:uniqueId val="{0000024F-22B4-4DF8-BAD3-C71D91B08C5E}"/>
              </c:ext>
            </c:extLst>
          </c:dPt>
          <c:dPt>
            <c:idx val="295"/>
            <c:invertIfNegative val="1"/>
            <c:bubble3D val="0"/>
            <c:spPr>
              <a:solidFill>
                <a:srgbClr val="AEABAB"/>
              </a:solidFill>
            </c:spPr>
            <c:extLst>
              <c:ext xmlns:c16="http://schemas.microsoft.com/office/drawing/2014/chart" uri="{C3380CC4-5D6E-409C-BE32-E72D297353CC}">
                <c16:uniqueId val="{00000251-22B4-4DF8-BAD3-C71D91B08C5E}"/>
              </c:ext>
            </c:extLst>
          </c:dPt>
          <c:dPt>
            <c:idx val="296"/>
            <c:invertIfNegative val="1"/>
            <c:bubble3D val="0"/>
            <c:spPr>
              <a:solidFill>
                <a:srgbClr val="AEABAB"/>
              </a:solidFill>
            </c:spPr>
            <c:extLst>
              <c:ext xmlns:c16="http://schemas.microsoft.com/office/drawing/2014/chart" uri="{C3380CC4-5D6E-409C-BE32-E72D297353CC}">
                <c16:uniqueId val="{00000253-22B4-4DF8-BAD3-C71D91B08C5E}"/>
              </c:ext>
            </c:extLst>
          </c:dPt>
          <c:dPt>
            <c:idx val="297"/>
            <c:invertIfNegative val="1"/>
            <c:bubble3D val="0"/>
            <c:spPr>
              <a:solidFill>
                <a:srgbClr val="AEABAB"/>
              </a:solidFill>
            </c:spPr>
            <c:extLst>
              <c:ext xmlns:c16="http://schemas.microsoft.com/office/drawing/2014/chart" uri="{C3380CC4-5D6E-409C-BE32-E72D297353CC}">
                <c16:uniqueId val="{00000255-22B4-4DF8-BAD3-C71D91B08C5E}"/>
              </c:ext>
            </c:extLst>
          </c:dPt>
          <c:dPt>
            <c:idx val="298"/>
            <c:invertIfNegative val="1"/>
            <c:bubble3D val="0"/>
            <c:spPr>
              <a:solidFill>
                <a:srgbClr val="AEABAB"/>
              </a:solidFill>
            </c:spPr>
            <c:extLst>
              <c:ext xmlns:c16="http://schemas.microsoft.com/office/drawing/2014/chart" uri="{C3380CC4-5D6E-409C-BE32-E72D297353CC}">
                <c16:uniqueId val="{00000257-22B4-4DF8-BAD3-C71D91B08C5E}"/>
              </c:ext>
            </c:extLst>
          </c:dPt>
          <c:dPt>
            <c:idx val="299"/>
            <c:invertIfNegative val="1"/>
            <c:bubble3D val="0"/>
            <c:spPr>
              <a:solidFill>
                <a:srgbClr val="AEABAB"/>
              </a:solidFill>
            </c:spPr>
            <c:extLst>
              <c:ext xmlns:c16="http://schemas.microsoft.com/office/drawing/2014/chart" uri="{C3380CC4-5D6E-409C-BE32-E72D297353CC}">
                <c16:uniqueId val="{00000259-22B4-4DF8-BAD3-C71D91B08C5E}"/>
              </c:ext>
            </c:extLst>
          </c:dPt>
          <c:dPt>
            <c:idx val="300"/>
            <c:invertIfNegative val="1"/>
            <c:bubble3D val="0"/>
            <c:spPr>
              <a:solidFill>
                <a:srgbClr val="AEABAB"/>
              </a:solidFill>
            </c:spPr>
            <c:extLst>
              <c:ext xmlns:c16="http://schemas.microsoft.com/office/drawing/2014/chart" uri="{C3380CC4-5D6E-409C-BE32-E72D297353CC}">
                <c16:uniqueId val="{0000025B-22B4-4DF8-BAD3-C71D91B08C5E}"/>
              </c:ext>
            </c:extLst>
          </c:dPt>
          <c:dPt>
            <c:idx val="301"/>
            <c:invertIfNegative val="1"/>
            <c:bubble3D val="0"/>
            <c:spPr>
              <a:solidFill>
                <a:srgbClr val="AEABAB"/>
              </a:solidFill>
            </c:spPr>
            <c:extLst>
              <c:ext xmlns:c16="http://schemas.microsoft.com/office/drawing/2014/chart" uri="{C3380CC4-5D6E-409C-BE32-E72D297353CC}">
                <c16:uniqueId val="{0000025D-22B4-4DF8-BAD3-C71D91B08C5E}"/>
              </c:ext>
            </c:extLst>
          </c:dPt>
          <c:dPt>
            <c:idx val="302"/>
            <c:invertIfNegative val="1"/>
            <c:bubble3D val="0"/>
            <c:spPr>
              <a:solidFill>
                <a:srgbClr val="AEABAB"/>
              </a:solidFill>
            </c:spPr>
            <c:extLst>
              <c:ext xmlns:c16="http://schemas.microsoft.com/office/drawing/2014/chart" uri="{C3380CC4-5D6E-409C-BE32-E72D297353CC}">
                <c16:uniqueId val="{0000025F-22B4-4DF8-BAD3-C71D91B08C5E}"/>
              </c:ext>
            </c:extLst>
          </c:dPt>
          <c:dPt>
            <c:idx val="303"/>
            <c:invertIfNegative val="1"/>
            <c:bubble3D val="0"/>
            <c:spPr>
              <a:solidFill>
                <a:srgbClr val="AEABAB"/>
              </a:solidFill>
            </c:spPr>
            <c:extLst>
              <c:ext xmlns:c16="http://schemas.microsoft.com/office/drawing/2014/chart" uri="{C3380CC4-5D6E-409C-BE32-E72D297353CC}">
                <c16:uniqueId val="{00000261-22B4-4DF8-BAD3-C71D91B08C5E}"/>
              </c:ext>
            </c:extLst>
          </c:dPt>
          <c:dPt>
            <c:idx val="304"/>
            <c:invertIfNegative val="1"/>
            <c:bubble3D val="0"/>
            <c:spPr>
              <a:solidFill>
                <a:srgbClr val="AEABAB"/>
              </a:solidFill>
            </c:spPr>
            <c:extLst>
              <c:ext xmlns:c16="http://schemas.microsoft.com/office/drawing/2014/chart" uri="{C3380CC4-5D6E-409C-BE32-E72D297353CC}">
                <c16:uniqueId val="{00000263-22B4-4DF8-BAD3-C71D91B08C5E}"/>
              </c:ext>
            </c:extLst>
          </c:dPt>
          <c:dPt>
            <c:idx val="305"/>
            <c:invertIfNegative val="1"/>
            <c:bubble3D val="0"/>
            <c:spPr>
              <a:solidFill>
                <a:srgbClr val="AEABAB"/>
              </a:solidFill>
            </c:spPr>
            <c:extLst>
              <c:ext xmlns:c16="http://schemas.microsoft.com/office/drawing/2014/chart" uri="{C3380CC4-5D6E-409C-BE32-E72D297353CC}">
                <c16:uniqueId val="{00000265-22B4-4DF8-BAD3-C71D91B08C5E}"/>
              </c:ext>
            </c:extLst>
          </c:dPt>
          <c:dPt>
            <c:idx val="306"/>
            <c:invertIfNegative val="1"/>
            <c:bubble3D val="0"/>
            <c:spPr>
              <a:solidFill>
                <a:srgbClr val="AEABAB"/>
              </a:solidFill>
            </c:spPr>
            <c:extLst>
              <c:ext xmlns:c16="http://schemas.microsoft.com/office/drawing/2014/chart" uri="{C3380CC4-5D6E-409C-BE32-E72D297353CC}">
                <c16:uniqueId val="{00000267-22B4-4DF8-BAD3-C71D91B08C5E}"/>
              </c:ext>
            </c:extLst>
          </c:dPt>
          <c:dPt>
            <c:idx val="307"/>
            <c:invertIfNegative val="1"/>
            <c:bubble3D val="0"/>
            <c:spPr>
              <a:solidFill>
                <a:srgbClr val="AEABAB"/>
              </a:solidFill>
            </c:spPr>
            <c:extLst>
              <c:ext xmlns:c16="http://schemas.microsoft.com/office/drawing/2014/chart" uri="{C3380CC4-5D6E-409C-BE32-E72D297353CC}">
                <c16:uniqueId val="{00000269-22B4-4DF8-BAD3-C71D91B08C5E}"/>
              </c:ext>
            </c:extLst>
          </c:dPt>
          <c:dPt>
            <c:idx val="308"/>
            <c:invertIfNegative val="1"/>
            <c:bubble3D val="0"/>
            <c:spPr>
              <a:solidFill>
                <a:srgbClr val="AEABAB"/>
              </a:solidFill>
            </c:spPr>
            <c:extLst>
              <c:ext xmlns:c16="http://schemas.microsoft.com/office/drawing/2014/chart" uri="{C3380CC4-5D6E-409C-BE32-E72D297353CC}">
                <c16:uniqueId val="{0000026B-22B4-4DF8-BAD3-C71D91B08C5E}"/>
              </c:ext>
            </c:extLst>
          </c:dPt>
          <c:dPt>
            <c:idx val="309"/>
            <c:invertIfNegative val="1"/>
            <c:bubble3D val="0"/>
            <c:spPr>
              <a:solidFill>
                <a:srgbClr val="AEABAB"/>
              </a:solidFill>
            </c:spPr>
            <c:extLst>
              <c:ext xmlns:c16="http://schemas.microsoft.com/office/drawing/2014/chart" uri="{C3380CC4-5D6E-409C-BE32-E72D297353CC}">
                <c16:uniqueId val="{0000026D-22B4-4DF8-BAD3-C71D91B08C5E}"/>
              </c:ext>
            </c:extLst>
          </c:dPt>
          <c:dPt>
            <c:idx val="310"/>
            <c:invertIfNegative val="1"/>
            <c:bubble3D val="0"/>
            <c:spPr>
              <a:solidFill>
                <a:srgbClr val="AEABAB"/>
              </a:solidFill>
            </c:spPr>
            <c:extLst>
              <c:ext xmlns:c16="http://schemas.microsoft.com/office/drawing/2014/chart" uri="{C3380CC4-5D6E-409C-BE32-E72D297353CC}">
                <c16:uniqueId val="{0000026F-22B4-4DF8-BAD3-C71D91B08C5E}"/>
              </c:ext>
            </c:extLst>
          </c:dPt>
          <c:dPt>
            <c:idx val="311"/>
            <c:invertIfNegative val="1"/>
            <c:bubble3D val="0"/>
            <c:spPr>
              <a:solidFill>
                <a:srgbClr val="AEABAB"/>
              </a:solidFill>
            </c:spPr>
            <c:extLst>
              <c:ext xmlns:c16="http://schemas.microsoft.com/office/drawing/2014/chart" uri="{C3380CC4-5D6E-409C-BE32-E72D297353CC}">
                <c16:uniqueId val="{00000271-22B4-4DF8-BAD3-C71D91B08C5E}"/>
              </c:ext>
            </c:extLst>
          </c:dPt>
          <c:dPt>
            <c:idx val="312"/>
            <c:invertIfNegative val="1"/>
            <c:bubble3D val="0"/>
            <c:spPr>
              <a:solidFill>
                <a:srgbClr val="AEABAB"/>
              </a:solidFill>
            </c:spPr>
            <c:extLst>
              <c:ext xmlns:c16="http://schemas.microsoft.com/office/drawing/2014/chart" uri="{C3380CC4-5D6E-409C-BE32-E72D297353CC}">
                <c16:uniqueId val="{00000273-22B4-4DF8-BAD3-C71D91B08C5E}"/>
              </c:ext>
            </c:extLst>
          </c:dPt>
          <c:dPt>
            <c:idx val="313"/>
            <c:invertIfNegative val="1"/>
            <c:bubble3D val="0"/>
            <c:spPr>
              <a:solidFill>
                <a:srgbClr val="AEABAB"/>
              </a:solidFill>
            </c:spPr>
            <c:extLst>
              <c:ext xmlns:c16="http://schemas.microsoft.com/office/drawing/2014/chart" uri="{C3380CC4-5D6E-409C-BE32-E72D297353CC}">
                <c16:uniqueId val="{00000275-22B4-4DF8-BAD3-C71D91B08C5E}"/>
              </c:ext>
            </c:extLst>
          </c:dPt>
          <c:dPt>
            <c:idx val="314"/>
            <c:invertIfNegative val="1"/>
            <c:bubble3D val="0"/>
            <c:spPr>
              <a:solidFill>
                <a:srgbClr val="AEABAB"/>
              </a:solidFill>
            </c:spPr>
            <c:extLst>
              <c:ext xmlns:c16="http://schemas.microsoft.com/office/drawing/2014/chart" uri="{C3380CC4-5D6E-409C-BE32-E72D297353CC}">
                <c16:uniqueId val="{00000277-22B4-4DF8-BAD3-C71D91B08C5E}"/>
              </c:ext>
            </c:extLst>
          </c:dPt>
          <c:dPt>
            <c:idx val="315"/>
            <c:invertIfNegative val="1"/>
            <c:bubble3D val="0"/>
            <c:spPr>
              <a:solidFill>
                <a:srgbClr val="AEABAB"/>
              </a:solidFill>
            </c:spPr>
            <c:extLst>
              <c:ext xmlns:c16="http://schemas.microsoft.com/office/drawing/2014/chart" uri="{C3380CC4-5D6E-409C-BE32-E72D297353CC}">
                <c16:uniqueId val="{00000279-22B4-4DF8-BAD3-C71D91B08C5E}"/>
              </c:ext>
            </c:extLst>
          </c:dPt>
          <c:dPt>
            <c:idx val="316"/>
            <c:invertIfNegative val="1"/>
            <c:bubble3D val="0"/>
            <c:spPr>
              <a:solidFill>
                <a:srgbClr val="AEABAB"/>
              </a:solidFill>
            </c:spPr>
            <c:extLst>
              <c:ext xmlns:c16="http://schemas.microsoft.com/office/drawing/2014/chart" uri="{C3380CC4-5D6E-409C-BE32-E72D297353CC}">
                <c16:uniqueId val="{0000027B-22B4-4DF8-BAD3-C71D91B08C5E}"/>
              </c:ext>
            </c:extLst>
          </c:dPt>
          <c:dPt>
            <c:idx val="317"/>
            <c:invertIfNegative val="1"/>
            <c:bubble3D val="0"/>
            <c:spPr>
              <a:solidFill>
                <a:srgbClr val="AEABAB"/>
              </a:solidFill>
            </c:spPr>
            <c:extLst>
              <c:ext xmlns:c16="http://schemas.microsoft.com/office/drawing/2014/chart" uri="{C3380CC4-5D6E-409C-BE32-E72D297353CC}">
                <c16:uniqueId val="{0000027D-22B4-4DF8-BAD3-C71D91B08C5E}"/>
              </c:ext>
            </c:extLst>
          </c:dPt>
          <c:dPt>
            <c:idx val="318"/>
            <c:invertIfNegative val="1"/>
            <c:bubble3D val="0"/>
            <c:spPr>
              <a:solidFill>
                <a:srgbClr val="AEABAB"/>
              </a:solidFill>
            </c:spPr>
            <c:extLst>
              <c:ext xmlns:c16="http://schemas.microsoft.com/office/drawing/2014/chart" uri="{C3380CC4-5D6E-409C-BE32-E72D297353CC}">
                <c16:uniqueId val="{0000027F-22B4-4DF8-BAD3-C71D91B08C5E}"/>
              </c:ext>
            </c:extLst>
          </c:dPt>
          <c:dPt>
            <c:idx val="319"/>
            <c:invertIfNegative val="1"/>
            <c:bubble3D val="0"/>
            <c:spPr>
              <a:solidFill>
                <a:srgbClr val="AEABAB"/>
              </a:solidFill>
            </c:spPr>
            <c:extLst>
              <c:ext xmlns:c16="http://schemas.microsoft.com/office/drawing/2014/chart" uri="{C3380CC4-5D6E-409C-BE32-E72D297353CC}">
                <c16:uniqueId val="{00000281-22B4-4DF8-BAD3-C71D91B08C5E}"/>
              </c:ext>
            </c:extLst>
          </c:dPt>
          <c:dPt>
            <c:idx val="320"/>
            <c:invertIfNegative val="1"/>
            <c:bubble3D val="0"/>
            <c:spPr>
              <a:solidFill>
                <a:srgbClr val="AEABAB"/>
              </a:solidFill>
            </c:spPr>
            <c:extLst>
              <c:ext xmlns:c16="http://schemas.microsoft.com/office/drawing/2014/chart" uri="{C3380CC4-5D6E-409C-BE32-E72D297353CC}">
                <c16:uniqueId val="{00000283-22B4-4DF8-BAD3-C71D91B08C5E}"/>
              </c:ext>
            </c:extLst>
          </c:dPt>
          <c:dPt>
            <c:idx val="321"/>
            <c:invertIfNegative val="1"/>
            <c:bubble3D val="0"/>
            <c:spPr>
              <a:solidFill>
                <a:srgbClr val="AEABAB"/>
              </a:solidFill>
            </c:spPr>
            <c:extLst>
              <c:ext xmlns:c16="http://schemas.microsoft.com/office/drawing/2014/chart" uri="{C3380CC4-5D6E-409C-BE32-E72D297353CC}">
                <c16:uniqueId val="{00000285-22B4-4DF8-BAD3-C71D91B08C5E}"/>
              </c:ext>
            </c:extLst>
          </c:dPt>
          <c:dPt>
            <c:idx val="322"/>
            <c:invertIfNegative val="1"/>
            <c:bubble3D val="0"/>
            <c:spPr>
              <a:solidFill>
                <a:srgbClr val="AEABAB"/>
              </a:solidFill>
            </c:spPr>
            <c:extLst>
              <c:ext xmlns:c16="http://schemas.microsoft.com/office/drawing/2014/chart" uri="{C3380CC4-5D6E-409C-BE32-E72D297353CC}">
                <c16:uniqueId val="{00000287-22B4-4DF8-BAD3-C71D91B08C5E}"/>
              </c:ext>
            </c:extLst>
          </c:dPt>
          <c:dPt>
            <c:idx val="323"/>
            <c:invertIfNegative val="1"/>
            <c:bubble3D val="0"/>
            <c:spPr>
              <a:solidFill>
                <a:srgbClr val="AEABAB"/>
              </a:solidFill>
            </c:spPr>
            <c:extLst>
              <c:ext xmlns:c16="http://schemas.microsoft.com/office/drawing/2014/chart" uri="{C3380CC4-5D6E-409C-BE32-E72D297353CC}">
                <c16:uniqueId val="{00000289-22B4-4DF8-BAD3-C71D91B08C5E}"/>
              </c:ext>
            </c:extLst>
          </c:dPt>
          <c:dPt>
            <c:idx val="324"/>
            <c:invertIfNegative val="1"/>
            <c:bubble3D val="0"/>
            <c:spPr>
              <a:solidFill>
                <a:srgbClr val="AEABAB"/>
              </a:solidFill>
            </c:spPr>
            <c:extLst>
              <c:ext xmlns:c16="http://schemas.microsoft.com/office/drawing/2014/chart" uri="{C3380CC4-5D6E-409C-BE32-E72D297353CC}">
                <c16:uniqueId val="{0000028B-22B4-4DF8-BAD3-C71D91B08C5E}"/>
              </c:ext>
            </c:extLst>
          </c:dPt>
          <c:dPt>
            <c:idx val="325"/>
            <c:invertIfNegative val="1"/>
            <c:bubble3D val="0"/>
            <c:spPr>
              <a:solidFill>
                <a:srgbClr val="AEABAB"/>
              </a:solidFill>
            </c:spPr>
            <c:extLst>
              <c:ext xmlns:c16="http://schemas.microsoft.com/office/drawing/2014/chart" uri="{C3380CC4-5D6E-409C-BE32-E72D297353CC}">
                <c16:uniqueId val="{0000028D-22B4-4DF8-BAD3-C71D91B08C5E}"/>
              </c:ext>
            </c:extLst>
          </c:dPt>
          <c:dPt>
            <c:idx val="326"/>
            <c:invertIfNegative val="1"/>
            <c:bubble3D val="0"/>
            <c:spPr>
              <a:solidFill>
                <a:srgbClr val="AEABAB"/>
              </a:solidFill>
            </c:spPr>
            <c:extLst>
              <c:ext xmlns:c16="http://schemas.microsoft.com/office/drawing/2014/chart" uri="{C3380CC4-5D6E-409C-BE32-E72D297353CC}">
                <c16:uniqueId val="{0000028F-22B4-4DF8-BAD3-C71D91B08C5E}"/>
              </c:ext>
            </c:extLst>
          </c:dPt>
          <c:dPt>
            <c:idx val="327"/>
            <c:invertIfNegative val="1"/>
            <c:bubble3D val="0"/>
            <c:spPr>
              <a:solidFill>
                <a:srgbClr val="AEABAB"/>
              </a:solidFill>
            </c:spPr>
            <c:extLst>
              <c:ext xmlns:c16="http://schemas.microsoft.com/office/drawing/2014/chart" uri="{C3380CC4-5D6E-409C-BE32-E72D297353CC}">
                <c16:uniqueId val="{00000291-22B4-4DF8-BAD3-C71D91B08C5E}"/>
              </c:ext>
            </c:extLst>
          </c:dPt>
          <c:dPt>
            <c:idx val="328"/>
            <c:invertIfNegative val="1"/>
            <c:bubble3D val="0"/>
            <c:spPr>
              <a:solidFill>
                <a:srgbClr val="AEABAB"/>
              </a:solidFill>
            </c:spPr>
            <c:extLst>
              <c:ext xmlns:c16="http://schemas.microsoft.com/office/drawing/2014/chart" uri="{C3380CC4-5D6E-409C-BE32-E72D297353CC}">
                <c16:uniqueId val="{00000293-22B4-4DF8-BAD3-C71D91B08C5E}"/>
              </c:ext>
            </c:extLst>
          </c:dPt>
          <c:dPt>
            <c:idx val="329"/>
            <c:invertIfNegative val="1"/>
            <c:bubble3D val="0"/>
            <c:spPr>
              <a:solidFill>
                <a:srgbClr val="AEABAB"/>
              </a:solidFill>
            </c:spPr>
            <c:extLst>
              <c:ext xmlns:c16="http://schemas.microsoft.com/office/drawing/2014/chart" uri="{C3380CC4-5D6E-409C-BE32-E72D297353CC}">
                <c16:uniqueId val="{00000295-22B4-4DF8-BAD3-C71D91B08C5E}"/>
              </c:ext>
            </c:extLst>
          </c:dPt>
          <c:dPt>
            <c:idx val="330"/>
            <c:invertIfNegative val="1"/>
            <c:bubble3D val="0"/>
            <c:spPr>
              <a:solidFill>
                <a:srgbClr val="AEABAB"/>
              </a:solidFill>
            </c:spPr>
            <c:extLst>
              <c:ext xmlns:c16="http://schemas.microsoft.com/office/drawing/2014/chart" uri="{C3380CC4-5D6E-409C-BE32-E72D297353CC}">
                <c16:uniqueId val="{00000297-22B4-4DF8-BAD3-C71D91B08C5E}"/>
              </c:ext>
            </c:extLst>
          </c:dPt>
          <c:dPt>
            <c:idx val="331"/>
            <c:invertIfNegative val="1"/>
            <c:bubble3D val="0"/>
            <c:spPr>
              <a:solidFill>
                <a:srgbClr val="AEABAB"/>
              </a:solidFill>
            </c:spPr>
            <c:extLst>
              <c:ext xmlns:c16="http://schemas.microsoft.com/office/drawing/2014/chart" uri="{C3380CC4-5D6E-409C-BE32-E72D297353CC}">
                <c16:uniqueId val="{00000299-22B4-4DF8-BAD3-C71D91B08C5E}"/>
              </c:ext>
            </c:extLst>
          </c:dPt>
          <c:dPt>
            <c:idx val="332"/>
            <c:invertIfNegative val="1"/>
            <c:bubble3D val="0"/>
            <c:spPr>
              <a:solidFill>
                <a:srgbClr val="AEABAB"/>
              </a:solidFill>
            </c:spPr>
            <c:extLst>
              <c:ext xmlns:c16="http://schemas.microsoft.com/office/drawing/2014/chart" uri="{C3380CC4-5D6E-409C-BE32-E72D297353CC}">
                <c16:uniqueId val="{0000029B-22B4-4DF8-BAD3-C71D91B08C5E}"/>
              </c:ext>
            </c:extLst>
          </c:dPt>
          <c:dPt>
            <c:idx val="333"/>
            <c:invertIfNegative val="1"/>
            <c:bubble3D val="0"/>
            <c:spPr>
              <a:solidFill>
                <a:srgbClr val="AEABAB"/>
              </a:solidFill>
            </c:spPr>
            <c:extLst>
              <c:ext xmlns:c16="http://schemas.microsoft.com/office/drawing/2014/chart" uri="{C3380CC4-5D6E-409C-BE32-E72D297353CC}">
                <c16:uniqueId val="{0000029D-22B4-4DF8-BAD3-C71D91B08C5E}"/>
              </c:ext>
            </c:extLst>
          </c:dPt>
          <c:dPt>
            <c:idx val="334"/>
            <c:invertIfNegative val="1"/>
            <c:bubble3D val="0"/>
            <c:spPr>
              <a:solidFill>
                <a:srgbClr val="AEABAB"/>
              </a:solidFill>
            </c:spPr>
            <c:extLst>
              <c:ext xmlns:c16="http://schemas.microsoft.com/office/drawing/2014/chart" uri="{C3380CC4-5D6E-409C-BE32-E72D297353CC}">
                <c16:uniqueId val="{0000029F-22B4-4DF8-BAD3-C71D91B08C5E}"/>
              </c:ext>
            </c:extLst>
          </c:dPt>
          <c:dPt>
            <c:idx val="335"/>
            <c:invertIfNegative val="1"/>
            <c:bubble3D val="0"/>
            <c:spPr>
              <a:solidFill>
                <a:srgbClr val="AEABAB"/>
              </a:solidFill>
            </c:spPr>
            <c:extLst>
              <c:ext xmlns:c16="http://schemas.microsoft.com/office/drawing/2014/chart" uri="{C3380CC4-5D6E-409C-BE32-E72D297353CC}">
                <c16:uniqueId val="{000002A1-22B4-4DF8-BAD3-C71D91B08C5E}"/>
              </c:ext>
            </c:extLst>
          </c:dPt>
          <c:dPt>
            <c:idx val="336"/>
            <c:invertIfNegative val="1"/>
            <c:bubble3D val="0"/>
            <c:spPr>
              <a:solidFill>
                <a:srgbClr val="AEABAB"/>
              </a:solidFill>
            </c:spPr>
            <c:extLst>
              <c:ext xmlns:c16="http://schemas.microsoft.com/office/drawing/2014/chart" uri="{C3380CC4-5D6E-409C-BE32-E72D297353CC}">
                <c16:uniqueId val="{000002A3-22B4-4DF8-BAD3-C71D91B08C5E}"/>
              </c:ext>
            </c:extLst>
          </c:dPt>
          <c:dPt>
            <c:idx val="337"/>
            <c:invertIfNegative val="1"/>
            <c:bubble3D val="0"/>
            <c:spPr>
              <a:solidFill>
                <a:srgbClr val="AEABAB"/>
              </a:solidFill>
            </c:spPr>
            <c:extLst>
              <c:ext xmlns:c16="http://schemas.microsoft.com/office/drawing/2014/chart" uri="{C3380CC4-5D6E-409C-BE32-E72D297353CC}">
                <c16:uniqueId val="{000002A5-22B4-4DF8-BAD3-C71D91B08C5E}"/>
              </c:ext>
            </c:extLst>
          </c:dPt>
          <c:dPt>
            <c:idx val="338"/>
            <c:invertIfNegative val="1"/>
            <c:bubble3D val="0"/>
            <c:spPr>
              <a:solidFill>
                <a:srgbClr val="AEABAB"/>
              </a:solidFill>
            </c:spPr>
            <c:extLst>
              <c:ext xmlns:c16="http://schemas.microsoft.com/office/drawing/2014/chart" uri="{C3380CC4-5D6E-409C-BE32-E72D297353CC}">
                <c16:uniqueId val="{000002A7-22B4-4DF8-BAD3-C71D91B08C5E}"/>
              </c:ext>
            </c:extLst>
          </c:dPt>
          <c:dPt>
            <c:idx val="339"/>
            <c:invertIfNegative val="1"/>
            <c:bubble3D val="0"/>
            <c:spPr>
              <a:solidFill>
                <a:srgbClr val="AEABAB"/>
              </a:solidFill>
            </c:spPr>
            <c:extLst>
              <c:ext xmlns:c16="http://schemas.microsoft.com/office/drawing/2014/chart" uri="{C3380CC4-5D6E-409C-BE32-E72D297353CC}">
                <c16:uniqueId val="{000002A9-22B4-4DF8-BAD3-C71D91B08C5E}"/>
              </c:ext>
            </c:extLst>
          </c:dPt>
          <c:dPt>
            <c:idx val="340"/>
            <c:invertIfNegative val="1"/>
            <c:bubble3D val="0"/>
            <c:spPr>
              <a:solidFill>
                <a:srgbClr val="AEABAB"/>
              </a:solidFill>
            </c:spPr>
            <c:extLst>
              <c:ext xmlns:c16="http://schemas.microsoft.com/office/drawing/2014/chart" uri="{C3380CC4-5D6E-409C-BE32-E72D297353CC}">
                <c16:uniqueId val="{000002AB-22B4-4DF8-BAD3-C71D91B08C5E}"/>
              </c:ext>
            </c:extLst>
          </c:dPt>
          <c:dPt>
            <c:idx val="341"/>
            <c:invertIfNegative val="1"/>
            <c:bubble3D val="0"/>
            <c:spPr>
              <a:solidFill>
                <a:srgbClr val="AEABAB"/>
              </a:solidFill>
            </c:spPr>
            <c:extLst>
              <c:ext xmlns:c16="http://schemas.microsoft.com/office/drawing/2014/chart" uri="{C3380CC4-5D6E-409C-BE32-E72D297353CC}">
                <c16:uniqueId val="{000002AD-22B4-4DF8-BAD3-C71D91B08C5E}"/>
              </c:ext>
            </c:extLst>
          </c:dPt>
          <c:dPt>
            <c:idx val="342"/>
            <c:invertIfNegative val="1"/>
            <c:bubble3D val="0"/>
            <c:spPr>
              <a:solidFill>
                <a:srgbClr val="AEABAB"/>
              </a:solidFill>
            </c:spPr>
            <c:extLst>
              <c:ext xmlns:c16="http://schemas.microsoft.com/office/drawing/2014/chart" uri="{C3380CC4-5D6E-409C-BE32-E72D297353CC}">
                <c16:uniqueId val="{000002AF-22B4-4DF8-BAD3-C71D91B08C5E}"/>
              </c:ext>
            </c:extLst>
          </c:dPt>
          <c:dPt>
            <c:idx val="343"/>
            <c:invertIfNegative val="1"/>
            <c:bubble3D val="0"/>
            <c:spPr>
              <a:solidFill>
                <a:srgbClr val="AEABAB"/>
              </a:solidFill>
            </c:spPr>
            <c:extLst>
              <c:ext xmlns:c16="http://schemas.microsoft.com/office/drawing/2014/chart" uri="{C3380CC4-5D6E-409C-BE32-E72D297353CC}">
                <c16:uniqueId val="{000002B1-22B4-4DF8-BAD3-C71D91B08C5E}"/>
              </c:ext>
            </c:extLst>
          </c:dPt>
          <c:dPt>
            <c:idx val="344"/>
            <c:invertIfNegative val="1"/>
            <c:bubble3D val="0"/>
            <c:spPr>
              <a:solidFill>
                <a:srgbClr val="AEABAB"/>
              </a:solidFill>
            </c:spPr>
            <c:extLst>
              <c:ext xmlns:c16="http://schemas.microsoft.com/office/drawing/2014/chart" uri="{C3380CC4-5D6E-409C-BE32-E72D297353CC}">
                <c16:uniqueId val="{000002B3-22B4-4DF8-BAD3-C71D91B08C5E}"/>
              </c:ext>
            </c:extLst>
          </c:dPt>
          <c:dPt>
            <c:idx val="345"/>
            <c:invertIfNegative val="1"/>
            <c:bubble3D val="0"/>
            <c:spPr>
              <a:solidFill>
                <a:srgbClr val="AEABAB"/>
              </a:solidFill>
            </c:spPr>
            <c:extLst>
              <c:ext xmlns:c16="http://schemas.microsoft.com/office/drawing/2014/chart" uri="{C3380CC4-5D6E-409C-BE32-E72D297353CC}">
                <c16:uniqueId val="{000002B5-22B4-4DF8-BAD3-C71D91B08C5E}"/>
              </c:ext>
            </c:extLst>
          </c:dPt>
          <c:dPt>
            <c:idx val="346"/>
            <c:invertIfNegative val="1"/>
            <c:bubble3D val="0"/>
            <c:spPr>
              <a:solidFill>
                <a:srgbClr val="AEABAB"/>
              </a:solidFill>
            </c:spPr>
            <c:extLst>
              <c:ext xmlns:c16="http://schemas.microsoft.com/office/drawing/2014/chart" uri="{C3380CC4-5D6E-409C-BE32-E72D297353CC}">
                <c16:uniqueId val="{000002B7-22B4-4DF8-BAD3-C71D91B08C5E}"/>
              </c:ext>
            </c:extLst>
          </c:dPt>
          <c:dPt>
            <c:idx val="347"/>
            <c:invertIfNegative val="1"/>
            <c:bubble3D val="0"/>
            <c:spPr>
              <a:solidFill>
                <a:srgbClr val="AEABAB"/>
              </a:solidFill>
            </c:spPr>
            <c:extLst>
              <c:ext xmlns:c16="http://schemas.microsoft.com/office/drawing/2014/chart" uri="{C3380CC4-5D6E-409C-BE32-E72D297353CC}">
                <c16:uniqueId val="{000002B9-22B4-4DF8-BAD3-C71D91B08C5E}"/>
              </c:ext>
            </c:extLst>
          </c:dPt>
          <c:dPt>
            <c:idx val="348"/>
            <c:invertIfNegative val="1"/>
            <c:bubble3D val="0"/>
            <c:spPr>
              <a:solidFill>
                <a:srgbClr val="AEABAB"/>
              </a:solidFill>
            </c:spPr>
            <c:extLst>
              <c:ext xmlns:c16="http://schemas.microsoft.com/office/drawing/2014/chart" uri="{C3380CC4-5D6E-409C-BE32-E72D297353CC}">
                <c16:uniqueId val="{000002BB-22B4-4DF8-BAD3-C71D91B08C5E}"/>
              </c:ext>
            </c:extLst>
          </c:dPt>
          <c:dPt>
            <c:idx val="349"/>
            <c:invertIfNegative val="1"/>
            <c:bubble3D val="0"/>
            <c:spPr>
              <a:solidFill>
                <a:srgbClr val="AEABAB"/>
              </a:solidFill>
            </c:spPr>
            <c:extLst>
              <c:ext xmlns:c16="http://schemas.microsoft.com/office/drawing/2014/chart" uri="{C3380CC4-5D6E-409C-BE32-E72D297353CC}">
                <c16:uniqueId val="{000002BD-22B4-4DF8-BAD3-C71D91B08C5E}"/>
              </c:ext>
            </c:extLst>
          </c:dPt>
          <c:dPt>
            <c:idx val="350"/>
            <c:invertIfNegative val="1"/>
            <c:bubble3D val="0"/>
            <c:spPr>
              <a:solidFill>
                <a:srgbClr val="AEABAB"/>
              </a:solidFill>
            </c:spPr>
            <c:extLst>
              <c:ext xmlns:c16="http://schemas.microsoft.com/office/drawing/2014/chart" uri="{C3380CC4-5D6E-409C-BE32-E72D297353CC}">
                <c16:uniqueId val="{000002BF-22B4-4DF8-BAD3-C71D91B08C5E}"/>
              </c:ext>
            </c:extLst>
          </c:dPt>
          <c:dPt>
            <c:idx val="351"/>
            <c:invertIfNegative val="1"/>
            <c:bubble3D val="0"/>
            <c:spPr>
              <a:solidFill>
                <a:srgbClr val="AEABAB"/>
              </a:solidFill>
            </c:spPr>
            <c:extLst>
              <c:ext xmlns:c16="http://schemas.microsoft.com/office/drawing/2014/chart" uri="{C3380CC4-5D6E-409C-BE32-E72D297353CC}">
                <c16:uniqueId val="{000002C1-22B4-4DF8-BAD3-C71D91B08C5E}"/>
              </c:ext>
            </c:extLst>
          </c:dPt>
          <c:dPt>
            <c:idx val="352"/>
            <c:invertIfNegative val="1"/>
            <c:bubble3D val="0"/>
            <c:spPr>
              <a:solidFill>
                <a:srgbClr val="AEABAB"/>
              </a:solidFill>
            </c:spPr>
            <c:extLst>
              <c:ext xmlns:c16="http://schemas.microsoft.com/office/drawing/2014/chart" uri="{C3380CC4-5D6E-409C-BE32-E72D297353CC}">
                <c16:uniqueId val="{000002C3-22B4-4DF8-BAD3-C71D91B08C5E}"/>
              </c:ext>
            </c:extLst>
          </c:dPt>
          <c:dPt>
            <c:idx val="353"/>
            <c:invertIfNegative val="1"/>
            <c:bubble3D val="0"/>
            <c:spPr>
              <a:solidFill>
                <a:srgbClr val="AEABAB"/>
              </a:solidFill>
            </c:spPr>
            <c:extLst>
              <c:ext xmlns:c16="http://schemas.microsoft.com/office/drawing/2014/chart" uri="{C3380CC4-5D6E-409C-BE32-E72D297353CC}">
                <c16:uniqueId val="{000002C5-22B4-4DF8-BAD3-C71D91B08C5E}"/>
              </c:ext>
            </c:extLst>
          </c:dPt>
          <c:dPt>
            <c:idx val="354"/>
            <c:invertIfNegative val="1"/>
            <c:bubble3D val="0"/>
            <c:spPr>
              <a:solidFill>
                <a:srgbClr val="AEABAB"/>
              </a:solidFill>
            </c:spPr>
            <c:extLst>
              <c:ext xmlns:c16="http://schemas.microsoft.com/office/drawing/2014/chart" uri="{C3380CC4-5D6E-409C-BE32-E72D297353CC}">
                <c16:uniqueId val="{000002C7-22B4-4DF8-BAD3-C71D91B08C5E}"/>
              </c:ext>
            </c:extLst>
          </c:dPt>
          <c:dPt>
            <c:idx val="355"/>
            <c:invertIfNegative val="1"/>
            <c:bubble3D val="0"/>
            <c:spPr>
              <a:solidFill>
                <a:srgbClr val="AEABAB"/>
              </a:solidFill>
            </c:spPr>
            <c:extLst>
              <c:ext xmlns:c16="http://schemas.microsoft.com/office/drawing/2014/chart" uri="{C3380CC4-5D6E-409C-BE32-E72D297353CC}">
                <c16:uniqueId val="{000002C9-22B4-4DF8-BAD3-C71D91B08C5E}"/>
              </c:ext>
            </c:extLst>
          </c:dPt>
          <c:dPt>
            <c:idx val="356"/>
            <c:invertIfNegative val="1"/>
            <c:bubble3D val="0"/>
            <c:spPr>
              <a:solidFill>
                <a:srgbClr val="AEABAB"/>
              </a:solidFill>
            </c:spPr>
            <c:extLst>
              <c:ext xmlns:c16="http://schemas.microsoft.com/office/drawing/2014/chart" uri="{C3380CC4-5D6E-409C-BE32-E72D297353CC}">
                <c16:uniqueId val="{000002CB-22B4-4DF8-BAD3-C71D91B08C5E}"/>
              </c:ext>
            </c:extLst>
          </c:dPt>
          <c:dPt>
            <c:idx val="357"/>
            <c:invertIfNegative val="1"/>
            <c:bubble3D val="0"/>
            <c:spPr>
              <a:solidFill>
                <a:srgbClr val="AEABAB"/>
              </a:solidFill>
            </c:spPr>
            <c:extLst>
              <c:ext xmlns:c16="http://schemas.microsoft.com/office/drawing/2014/chart" uri="{C3380CC4-5D6E-409C-BE32-E72D297353CC}">
                <c16:uniqueId val="{000002CD-22B4-4DF8-BAD3-C71D91B08C5E}"/>
              </c:ext>
            </c:extLst>
          </c:dPt>
          <c:dPt>
            <c:idx val="358"/>
            <c:invertIfNegative val="1"/>
            <c:bubble3D val="0"/>
            <c:spPr>
              <a:solidFill>
                <a:srgbClr val="AEABAB"/>
              </a:solidFill>
            </c:spPr>
            <c:extLst>
              <c:ext xmlns:c16="http://schemas.microsoft.com/office/drawing/2014/chart" uri="{C3380CC4-5D6E-409C-BE32-E72D297353CC}">
                <c16:uniqueId val="{000002CF-22B4-4DF8-BAD3-C71D91B08C5E}"/>
              </c:ext>
            </c:extLst>
          </c:dPt>
          <c:dPt>
            <c:idx val="359"/>
            <c:invertIfNegative val="1"/>
            <c:bubble3D val="0"/>
            <c:spPr>
              <a:solidFill>
                <a:srgbClr val="AEABAB"/>
              </a:solidFill>
            </c:spPr>
            <c:extLst>
              <c:ext xmlns:c16="http://schemas.microsoft.com/office/drawing/2014/chart" uri="{C3380CC4-5D6E-409C-BE32-E72D297353CC}">
                <c16:uniqueId val="{000002D1-22B4-4DF8-BAD3-C71D91B08C5E}"/>
              </c:ext>
            </c:extLst>
          </c:dPt>
          <c:dPt>
            <c:idx val="360"/>
            <c:invertIfNegative val="1"/>
            <c:bubble3D val="0"/>
            <c:spPr>
              <a:solidFill>
                <a:srgbClr val="AEABAB"/>
              </a:solidFill>
            </c:spPr>
            <c:extLst>
              <c:ext xmlns:c16="http://schemas.microsoft.com/office/drawing/2014/chart" uri="{C3380CC4-5D6E-409C-BE32-E72D297353CC}">
                <c16:uniqueId val="{000002D3-22B4-4DF8-BAD3-C71D91B08C5E}"/>
              </c:ext>
            </c:extLst>
          </c:dPt>
          <c:dPt>
            <c:idx val="361"/>
            <c:invertIfNegative val="1"/>
            <c:bubble3D val="0"/>
            <c:spPr>
              <a:solidFill>
                <a:srgbClr val="AEABAB"/>
              </a:solidFill>
            </c:spPr>
            <c:extLst>
              <c:ext xmlns:c16="http://schemas.microsoft.com/office/drawing/2014/chart" uri="{C3380CC4-5D6E-409C-BE32-E72D297353CC}">
                <c16:uniqueId val="{000002D5-22B4-4DF8-BAD3-C71D91B08C5E}"/>
              </c:ext>
            </c:extLst>
          </c:dPt>
          <c:dPt>
            <c:idx val="362"/>
            <c:invertIfNegative val="1"/>
            <c:bubble3D val="0"/>
            <c:spPr>
              <a:solidFill>
                <a:srgbClr val="AEABAB"/>
              </a:solidFill>
            </c:spPr>
            <c:extLst>
              <c:ext xmlns:c16="http://schemas.microsoft.com/office/drawing/2014/chart" uri="{C3380CC4-5D6E-409C-BE32-E72D297353CC}">
                <c16:uniqueId val="{000002D7-22B4-4DF8-BAD3-C71D91B08C5E}"/>
              </c:ext>
            </c:extLst>
          </c:dPt>
          <c:dPt>
            <c:idx val="363"/>
            <c:invertIfNegative val="1"/>
            <c:bubble3D val="0"/>
            <c:spPr>
              <a:solidFill>
                <a:srgbClr val="AEABAB"/>
              </a:solidFill>
            </c:spPr>
            <c:extLst>
              <c:ext xmlns:c16="http://schemas.microsoft.com/office/drawing/2014/chart" uri="{C3380CC4-5D6E-409C-BE32-E72D297353CC}">
                <c16:uniqueId val="{000002D9-22B4-4DF8-BAD3-C71D91B08C5E}"/>
              </c:ext>
            </c:extLst>
          </c:dPt>
          <c:dPt>
            <c:idx val="364"/>
            <c:invertIfNegative val="1"/>
            <c:bubble3D val="0"/>
            <c:spPr>
              <a:solidFill>
                <a:srgbClr val="AEABAB"/>
              </a:solidFill>
            </c:spPr>
            <c:extLst>
              <c:ext xmlns:c16="http://schemas.microsoft.com/office/drawing/2014/chart" uri="{C3380CC4-5D6E-409C-BE32-E72D297353CC}">
                <c16:uniqueId val="{000002DB-22B4-4DF8-BAD3-C71D91B08C5E}"/>
              </c:ext>
            </c:extLst>
          </c:dPt>
          <c:dPt>
            <c:idx val="365"/>
            <c:invertIfNegative val="1"/>
            <c:bubble3D val="0"/>
            <c:spPr>
              <a:solidFill>
                <a:srgbClr val="AEABAB"/>
              </a:solidFill>
            </c:spPr>
            <c:extLst>
              <c:ext xmlns:c16="http://schemas.microsoft.com/office/drawing/2014/chart" uri="{C3380CC4-5D6E-409C-BE32-E72D297353CC}">
                <c16:uniqueId val="{000002DD-22B4-4DF8-BAD3-C71D91B08C5E}"/>
              </c:ext>
            </c:extLst>
          </c:dPt>
          <c:dPt>
            <c:idx val="366"/>
            <c:invertIfNegative val="1"/>
            <c:bubble3D val="0"/>
            <c:spPr>
              <a:solidFill>
                <a:srgbClr val="AEABAB"/>
              </a:solidFill>
            </c:spPr>
            <c:extLst>
              <c:ext xmlns:c16="http://schemas.microsoft.com/office/drawing/2014/chart" uri="{C3380CC4-5D6E-409C-BE32-E72D297353CC}">
                <c16:uniqueId val="{000002DF-22B4-4DF8-BAD3-C71D91B08C5E}"/>
              </c:ext>
            </c:extLst>
          </c:dPt>
          <c:dPt>
            <c:idx val="367"/>
            <c:invertIfNegative val="1"/>
            <c:bubble3D val="0"/>
            <c:spPr>
              <a:solidFill>
                <a:srgbClr val="AEABAB"/>
              </a:solidFill>
            </c:spPr>
            <c:extLst>
              <c:ext xmlns:c16="http://schemas.microsoft.com/office/drawing/2014/chart" uri="{C3380CC4-5D6E-409C-BE32-E72D297353CC}">
                <c16:uniqueId val="{000002E1-22B4-4DF8-BAD3-C71D91B08C5E}"/>
              </c:ext>
            </c:extLst>
          </c:dPt>
          <c:dPt>
            <c:idx val="368"/>
            <c:invertIfNegative val="1"/>
            <c:bubble3D val="0"/>
            <c:spPr>
              <a:solidFill>
                <a:srgbClr val="AEABAB"/>
              </a:solidFill>
            </c:spPr>
            <c:extLst>
              <c:ext xmlns:c16="http://schemas.microsoft.com/office/drawing/2014/chart" uri="{C3380CC4-5D6E-409C-BE32-E72D297353CC}">
                <c16:uniqueId val="{000002E3-22B4-4DF8-BAD3-C71D91B08C5E}"/>
              </c:ext>
            </c:extLst>
          </c:dPt>
          <c:dPt>
            <c:idx val="369"/>
            <c:invertIfNegative val="1"/>
            <c:bubble3D val="0"/>
            <c:spPr>
              <a:solidFill>
                <a:srgbClr val="AEABAB"/>
              </a:solidFill>
            </c:spPr>
            <c:extLst>
              <c:ext xmlns:c16="http://schemas.microsoft.com/office/drawing/2014/chart" uri="{C3380CC4-5D6E-409C-BE32-E72D297353CC}">
                <c16:uniqueId val="{000002E5-22B4-4DF8-BAD3-C71D91B08C5E}"/>
              </c:ext>
            </c:extLst>
          </c:dPt>
          <c:dPt>
            <c:idx val="370"/>
            <c:invertIfNegative val="1"/>
            <c:bubble3D val="0"/>
            <c:spPr>
              <a:solidFill>
                <a:srgbClr val="AEABAB"/>
              </a:solidFill>
            </c:spPr>
            <c:extLst>
              <c:ext xmlns:c16="http://schemas.microsoft.com/office/drawing/2014/chart" uri="{C3380CC4-5D6E-409C-BE32-E72D297353CC}">
                <c16:uniqueId val="{000002E7-22B4-4DF8-BAD3-C71D91B08C5E}"/>
              </c:ext>
            </c:extLst>
          </c:dPt>
          <c:dPt>
            <c:idx val="371"/>
            <c:invertIfNegative val="1"/>
            <c:bubble3D val="0"/>
            <c:spPr>
              <a:solidFill>
                <a:srgbClr val="AEABAB"/>
              </a:solidFill>
            </c:spPr>
            <c:extLst>
              <c:ext xmlns:c16="http://schemas.microsoft.com/office/drawing/2014/chart" uri="{C3380CC4-5D6E-409C-BE32-E72D297353CC}">
                <c16:uniqueId val="{000002E9-22B4-4DF8-BAD3-C71D91B08C5E}"/>
              </c:ext>
            </c:extLst>
          </c:dPt>
          <c:dPt>
            <c:idx val="372"/>
            <c:invertIfNegative val="1"/>
            <c:bubble3D val="0"/>
            <c:spPr>
              <a:solidFill>
                <a:srgbClr val="AEABAB"/>
              </a:solidFill>
            </c:spPr>
            <c:extLst>
              <c:ext xmlns:c16="http://schemas.microsoft.com/office/drawing/2014/chart" uri="{C3380CC4-5D6E-409C-BE32-E72D297353CC}">
                <c16:uniqueId val="{000002EB-22B4-4DF8-BAD3-C71D91B08C5E}"/>
              </c:ext>
            </c:extLst>
          </c:dPt>
          <c:dPt>
            <c:idx val="373"/>
            <c:invertIfNegative val="1"/>
            <c:bubble3D val="0"/>
            <c:spPr>
              <a:solidFill>
                <a:srgbClr val="AEABAB"/>
              </a:solidFill>
            </c:spPr>
            <c:extLst>
              <c:ext xmlns:c16="http://schemas.microsoft.com/office/drawing/2014/chart" uri="{C3380CC4-5D6E-409C-BE32-E72D297353CC}">
                <c16:uniqueId val="{000002ED-22B4-4DF8-BAD3-C71D91B08C5E}"/>
              </c:ext>
            </c:extLst>
          </c:dPt>
          <c:dPt>
            <c:idx val="374"/>
            <c:invertIfNegative val="1"/>
            <c:bubble3D val="0"/>
            <c:spPr>
              <a:solidFill>
                <a:srgbClr val="AEABAB"/>
              </a:solidFill>
            </c:spPr>
            <c:extLst>
              <c:ext xmlns:c16="http://schemas.microsoft.com/office/drawing/2014/chart" uri="{C3380CC4-5D6E-409C-BE32-E72D297353CC}">
                <c16:uniqueId val="{000002EF-22B4-4DF8-BAD3-C71D91B08C5E}"/>
              </c:ext>
            </c:extLst>
          </c:dPt>
          <c:dPt>
            <c:idx val="375"/>
            <c:invertIfNegative val="1"/>
            <c:bubble3D val="0"/>
            <c:spPr>
              <a:solidFill>
                <a:srgbClr val="AEABAB"/>
              </a:solidFill>
            </c:spPr>
            <c:extLst>
              <c:ext xmlns:c16="http://schemas.microsoft.com/office/drawing/2014/chart" uri="{C3380CC4-5D6E-409C-BE32-E72D297353CC}">
                <c16:uniqueId val="{000002F1-22B4-4DF8-BAD3-C71D91B08C5E}"/>
              </c:ext>
            </c:extLst>
          </c:dPt>
          <c:dPt>
            <c:idx val="376"/>
            <c:invertIfNegative val="1"/>
            <c:bubble3D val="0"/>
            <c:spPr>
              <a:solidFill>
                <a:srgbClr val="AEABAB"/>
              </a:solidFill>
            </c:spPr>
            <c:extLst>
              <c:ext xmlns:c16="http://schemas.microsoft.com/office/drawing/2014/chart" uri="{C3380CC4-5D6E-409C-BE32-E72D297353CC}">
                <c16:uniqueId val="{000002F3-22B4-4DF8-BAD3-C71D91B08C5E}"/>
              </c:ext>
            </c:extLst>
          </c:dPt>
          <c:dPt>
            <c:idx val="377"/>
            <c:invertIfNegative val="1"/>
            <c:bubble3D val="0"/>
            <c:spPr>
              <a:solidFill>
                <a:srgbClr val="AEABAB"/>
              </a:solidFill>
            </c:spPr>
            <c:extLst>
              <c:ext xmlns:c16="http://schemas.microsoft.com/office/drawing/2014/chart" uri="{C3380CC4-5D6E-409C-BE32-E72D297353CC}">
                <c16:uniqueId val="{000002F5-22B4-4DF8-BAD3-C71D91B08C5E}"/>
              </c:ext>
            </c:extLst>
          </c:dPt>
          <c:dPt>
            <c:idx val="378"/>
            <c:invertIfNegative val="1"/>
            <c:bubble3D val="0"/>
            <c:spPr>
              <a:solidFill>
                <a:srgbClr val="AEABAB"/>
              </a:solidFill>
            </c:spPr>
            <c:extLst>
              <c:ext xmlns:c16="http://schemas.microsoft.com/office/drawing/2014/chart" uri="{C3380CC4-5D6E-409C-BE32-E72D297353CC}">
                <c16:uniqueId val="{000002F7-22B4-4DF8-BAD3-C71D91B08C5E}"/>
              </c:ext>
            </c:extLst>
          </c:dPt>
          <c:dPt>
            <c:idx val="379"/>
            <c:invertIfNegative val="1"/>
            <c:bubble3D val="0"/>
            <c:spPr>
              <a:solidFill>
                <a:srgbClr val="AEABAB"/>
              </a:solidFill>
            </c:spPr>
            <c:extLst>
              <c:ext xmlns:c16="http://schemas.microsoft.com/office/drawing/2014/chart" uri="{C3380CC4-5D6E-409C-BE32-E72D297353CC}">
                <c16:uniqueId val="{000002F9-22B4-4DF8-BAD3-C71D91B08C5E}"/>
              </c:ext>
            </c:extLst>
          </c:dPt>
          <c:dPt>
            <c:idx val="380"/>
            <c:invertIfNegative val="1"/>
            <c:bubble3D val="0"/>
            <c:spPr>
              <a:solidFill>
                <a:srgbClr val="AEABAB"/>
              </a:solidFill>
            </c:spPr>
            <c:extLst>
              <c:ext xmlns:c16="http://schemas.microsoft.com/office/drawing/2014/chart" uri="{C3380CC4-5D6E-409C-BE32-E72D297353CC}">
                <c16:uniqueId val="{000002FB-22B4-4DF8-BAD3-C71D91B08C5E}"/>
              </c:ext>
            </c:extLst>
          </c:dPt>
          <c:dPt>
            <c:idx val="381"/>
            <c:invertIfNegative val="1"/>
            <c:bubble3D val="0"/>
            <c:spPr>
              <a:solidFill>
                <a:srgbClr val="AEABAB"/>
              </a:solidFill>
            </c:spPr>
            <c:extLst>
              <c:ext xmlns:c16="http://schemas.microsoft.com/office/drawing/2014/chart" uri="{C3380CC4-5D6E-409C-BE32-E72D297353CC}">
                <c16:uniqueId val="{000002FD-22B4-4DF8-BAD3-C71D91B08C5E}"/>
              </c:ext>
            </c:extLst>
          </c:dPt>
          <c:dPt>
            <c:idx val="382"/>
            <c:invertIfNegative val="1"/>
            <c:bubble3D val="0"/>
            <c:spPr>
              <a:solidFill>
                <a:srgbClr val="AEABAB"/>
              </a:solidFill>
            </c:spPr>
            <c:extLst>
              <c:ext xmlns:c16="http://schemas.microsoft.com/office/drawing/2014/chart" uri="{C3380CC4-5D6E-409C-BE32-E72D297353CC}">
                <c16:uniqueId val="{000002FF-22B4-4DF8-BAD3-C71D91B08C5E}"/>
              </c:ext>
            </c:extLst>
          </c:dPt>
          <c:dPt>
            <c:idx val="383"/>
            <c:invertIfNegative val="1"/>
            <c:bubble3D val="0"/>
            <c:spPr>
              <a:solidFill>
                <a:srgbClr val="AEABAB"/>
              </a:solidFill>
            </c:spPr>
            <c:extLst>
              <c:ext xmlns:c16="http://schemas.microsoft.com/office/drawing/2014/chart" uri="{C3380CC4-5D6E-409C-BE32-E72D297353CC}">
                <c16:uniqueId val="{00000301-22B4-4DF8-BAD3-C71D91B08C5E}"/>
              </c:ext>
            </c:extLst>
          </c:dPt>
          <c:dPt>
            <c:idx val="384"/>
            <c:invertIfNegative val="1"/>
            <c:bubble3D val="0"/>
            <c:spPr>
              <a:solidFill>
                <a:srgbClr val="AEABAB"/>
              </a:solidFill>
            </c:spPr>
            <c:extLst>
              <c:ext xmlns:c16="http://schemas.microsoft.com/office/drawing/2014/chart" uri="{C3380CC4-5D6E-409C-BE32-E72D297353CC}">
                <c16:uniqueId val="{00000303-22B4-4DF8-BAD3-C71D91B08C5E}"/>
              </c:ext>
            </c:extLst>
          </c:dPt>
          <c:dPt>
            <c:idx val="385"/>
            <c:invertIfNegative val="1"/>
            <c:bubble3D val="0"/>
            <c:spPr>
              <a:solidFill>
                <a:srgbClr val="AEABAB"/>
              </a:solidFill>
            </c:spPr>
            <c:extLst>
              <c:ext xmlns:c16="http://schemas.microsoft.com/office/drawing/2014/chart" uri="{C3380CC4-5D6E-409C-BE32-E72D297353CC}">
                <c16:uniqueId val="{00000305-22B4-4DF8-BAD3-C71D91B08C5E}"/>
              </c:ext>
            </c:extLst>
          </c:dPt>
          <c:dPt>
            <c:idx val="386"/>
            <c:invertIfNegative val="1"/>
            <c:bubble3D val="0"/>
            <c:spPr>
              <a:solidFill>
                <a:srgbClr val="AEABAB"/>
              </a:solidFill>
            </c:spPr>
            <c:extLst>
              <c:ext xmlns:c16="http://schemas.microsoft.com/office/drawing/2014/chart" uri="{C3380CC4-5D6E-409C-BE32-E72D297353CC}">
                <c16:uniqueId val="{00000307-22B4-4DF8-BAD3-C71D91B08C5E}"/>
              </c:ext>
            </c:extLst>
          </c:dPt>
          <c:dPt>
            <c:idx val="387"/>
            <c:invertIfNegative val="1"/>
            <c:bubble3D val="0"/>
            <c:spPr>
              <a:solidFill>
                <a:srgbClr val="AEABAB"/>
              </a:solidFill>
            </c:spPr>
            <c:extLst>
              <c:ext xmlns:c16="http://schemas.microsoft.com/office/drawing/2014/chart" uri="{C3380CC4-5D6E-409C-BE32-E72D297353CC}">
                <c16:uniqueId val="{00000309-22B4-4DF8-BAD3-C71D91B08C5E}"/>
              </c:ext>
            </c:extLst>
          </c:dPt>
          <c:dPt>
            <c:idx val="388"/>
            <c:invertIfNegative val="1"/>
            <c:bubble3D val="0"/>
            <c:spPr>
              <a:solidFill>
                <a:srgbClr val="AEABAB"/>
              </a:solidFill>
            </c:spPr>
            <c:extLst>
              <c:ext xmlns:c16="http://schemas.microsoft.com/office/drawing/2014/chart" uri="{C3380CC4-5D6E-409C-BE32-E72D297353CC}">
                <c16:uniqueId val="{0000030B-22B4-4DF8-BAD3-C71D91B08C5E}"/>
              </c:ext>
            </c:extLst>
          </c:dPt>
          <c:dPt>
            <c:idx val="389"/>
            <c:invertIfNegative val="1"/>
            <c:bubble3D val="0"/>
            <c:spPr>
              <a:solidFill>
                <a:srgbClr val="AEABAB"/>
              </a:solidFill>
            </c:spPr>
            <c:extLst>
              <c:ext xmlns:c16="http://schemas.microsoft.com/office/drawing/2014/chart" uri="{C3380CC4-5D6E-409C-BE32-E72D297353CC}">
                <c16:uniqueId val="{0000030D-22B4-4DF8-BAD3-C71D91B08C5E}"/>
              </c:ext>
            </c:extLst>
          </c:dPt>
          <c:dPt>
            <c:idx val="390"/>
            <c:invertIfNegative val="1"/>
            <c:bubble3D val="0"/>
            <c:spPr>
              <a:solidFill>
                <a:srgbClr val="AEABAB"/>
              </a:solidFill>
            </c:spPr>
            <c:extLst>
              <c:ext xmlns:c16="http://schemas.microsoft.com/office/drawing/2014/chart" uri="{C3380CC4-5D6E-409C-BE32-E72D297353CC}">
                <c16:uniqueId val="{0000030F-22B4-4DF8-BAD3-C71D91B08C5E}"/>
              </c:ext>
            </c:extLst>
          </c:dPt>
          <c:dPt>
            <c:idx val="391"/>
            <c:invertIfNegative val="1"/>
            <c:bubble3D val="0"/>
            <c:spPr>
              <a:solidFill>
                <a:srgbClr val="AEABAB"/>
              </a:solidFill>
            </c:spPr>
            <c:extLst>
              <c:ext xmlns:c16="http://schemas.microsoft.com/office/drawing/2014/chart" uri="{C3380CC4-5D6E-409C-BE32-E72D297353CC}">
                <c16:uniqueId val="{00000311-22B4-4DF8-BAD3-C71D91B08C5E}"/>
              </c:ext>
            </c:extLst>
          </c:dPt>
          <c:dPt>
            <c:idx val="392"/>
            <c:invertIfNegative val="1"/>
            <c:bubble3D val="0"/>
            <c:spPr>
              <a:solidFill>
                <a:srgbClr val="AEABAB"/>
              </a:solidFill>
            </c:spPr>
            <c:extLst>
              <c:ext xmlns:c16="http://schemas.microsoft.com/office/drawing/2014/chart" uri="{C3380CC4-5D6E-409C-BE32-E72D297353CC}">
                <c16:uniqueId val="{00000313-22B4-4DF8-BAD3-C71D91B08C5E}"/>
              </c:ext>
            </c:extLst>
          </c:dPt>
          <c:dPt>
            <c:idx val="393"/>
            <c:invertIfNegative val="1"/>
            <c:bubble3D val="0"/>
            <c:spPr>
              <a:solidFill>
                <a:srgbClr val="AEABAB"/>
              </a:solidFill>
            </c:spPr>
            <c:extLst>
              <c:ext xmlns:c16="http://schemas.microsoft.com/office/drawing/2014/chart" uri="{C3380CC4-5D6E-409C-BE32-E72D297353CC}">
                <c16:uniqueId val="{00000315-22B4-4DF8-BAD3-C71D91B08C5E}"/>
              </c:ext>
            </c:extLst>
          </c:dPt>
          <c:dPt>
            <c:idx val="394"/>
            <c:invertIfNegative val="1"/>
            <c:bubble3D val="0"/>
            <c:spPr>
              <a:solidFill>
                <a:srgbClr val="AEABAB"/>
              </a:solidFill>
            </c:spPr>
            <c:extLst>
              <c:ext xmlns:c16="http://schemas.microsoft.com/office/drawing/2014/chart" uri="{C3380CC4-5D6E-409C-BE32-E72D297353CC}">
                <c16:uniqueId val="{00000317-22B4-4DF8-BAD3-C71D91B08C5E}"/>
              </c:ext>
            </c:extLst>
          </c:dPt>
          <c:dPt>
            <c:idx val="395"/>
            <c:invertIfNegative val="1"/>
            <c:bubble3D val="0"/>
            <c:spPr>
              <a:solidFill>
                <a:srgbClr val="AEABAB"/>
              </a:solidFill>
            </c:spPr>
            <c:extLst>
              <c:ext xmlns:c16="http://schemas.microsoft.com/office/drawing/2014/chart" uri="{C3380CC4-5D6E-409C-BE32-E72D297353CC}">
                <c16:uniqueId val="{00000319-22B4-4DF8-BAD3-C71D91B08C5E}"/>
              </c:ext>
            </c:extLst>
          </c:dPt>
          <c:dPt>
            <c:idx val="396"/>
            <c:invertIfNegative val="1"/>
            <c:bubble3D val="0"/>
            <c:spPr>
              <a:solidFill>
                <a:srgbClr val="AEABAB"/>
              </a:solidFill>
            </c:spPr>
            <c:extLst>
              <c:ext xmlns:c16="http://schemas.microsoft.com/office/drawing/2014/chart" uri="{C3380CC4-5D6E-409C-BE32-E72D297353CC}">
                <c16:uniqueId val="{0000031B-22B4-4DF8-BAD3-C71D91B08C5E}"/>
              </c:ext>
            </c:extLst>
          </c:dPt>
          <c:dPt>
            <c:idx val="397"/>
            <c:invertIfNegative val="1"/>
            <c:bubble3D val="0"/>
            <c:spPr>
              <a:solidFill>
                <a:srgbClr val="AEABAB"/>
              </a:solidFill>
            </c:spPr>
            <c:extLst>
              <c:ext xmlns:c16="http://schemas.microsoft.com/office/drawing/2014/chart" uri="{C3380CC4-5D6E-409C-BE32-E72D297353CC}">
                <c16:uniqueId val="{0000031D-22B4-4DF8-BAD3-C71D91B08C5E}"/>
              </c:ext>
            </c:extLst>
          </c:dPt>
          <c:dPt>
            <c:idx val="398"/>
            <c:invertIfNegative val="1"/>
            <c:bubble3D val="0"/>
            <c:spPr>
              <a:solidFill>
                <a:srgbClr val="AEABAB"/>
              </a:solidFill>
            </c:spPr>
            <c:extLst>
              <c:ext xmlns:c16="http://schemas.microsoft.com/office/drawing/2014/chart" uri="{C3380CC4-5D6E-409C-BE32-E72D297353CC}">
                <c16:uniqueId val="{0000031F-22B4-4DF8-BAD3-C71D91B08C5E}"/>
              </c:ext>
            </c:extLst>
          </c:dPt>
          <c:dPt>
            <c:idx val="399"/>
            <c:invertIfNegative val="1"/>
            <c:bubble3D val="0"/>
            <c:spPr>
              <a:solidFill>
                <a:srgbClr val="AEABAB"/>
              </a:solidFill>
            </c:spPr>
            <c:extLst>
              <c:ext xmlns:c16="http://schemas.microsoft.com/office/drawing/2014/chart" uri="{C3380CC4-5D6E-409C-BE32-E72D297353CC}">
                <c16:uniqueId val="{00000321-22B4-4DF8-BAD3-C71D91B08C5E}"/>
              </c:ext>
            </c:extLst>
          </c:dPt>
          <c:dPt>
            <c:idx val="400"/>
            <c:invertIfNegative val="1"/>
            <c:bubble3D val="0"/>
            <c:spPr>
              <a:solidFill>
                <a:srgbClr val="AEABAB"/>
              </a:solidFill>
            </c:spPr>
            <c:extLst>
              <c:ext xmlns:c16="http://schemas.microsoft.com/office/drawing/2014/chart" uri="{C3380CC4-5D6E-409C-BE32-E72D297353CC}">
                <c16:uniqueId val="{00000323-22B4-4DF8-BAD3-C71D91B08C5E}"/>
              </c:ext>
            </c:extLst>
          </c:dPt>
          <c:dPt>
            <c:idx val="401"/>
            <c:invertIfNegative val="1"/>
            <c:bubble3D val="0"/>
            <c:spPr>
              <a:solidFill>
                <a:srgbClr val="AEABAB"/>
              </a:solidFill>
            </c:spPr>
            <c:extLst>
              <c:ext xmlns:c16="http://schemas.microsoft.com/office/drawing/2014/chart" uri="{C3380CC4-5D6E-409C-BE32-E72D297353CC}">
                <c16:uniqueId val="{00000325-22B4-4DF8-BAD3-C71D91B08C5E}"/>
              </c:ext>
            </c:extLst>
          </c:dPt>
          <c:dPt>
            <c:idx val="402"/>
            <c:invertIfNegative val="1"/>
            <c:bubble3D val="0"/>
            <c:spPr>
              <a:solidFill>
                <a:srgbClr val="AEABAB"/>
              </a:solidFill>
            </c:spPr>
            <c:extLst>
              <c:ext xmlns:c16="http://schemas.microsoft.com/office/drawing/2014/chart" uri="{C3380CC4-5D6E-409C-BE32-E72D297353CC}">
                <c16:uniqueId val="{00000327-22B4-4DF8-BAD3-C71D91B08C5E}"/>
              </c:ext>
            </c:extLst>
          </c:dPt>
          <c:dPt>
            <c:idx val="403"/>
            <c:invertIfNegative val="1"/>
            <c:bubble3D val="0"/>
            <c:spPr>
              <a:solidFill>
                <a:srgbClr val="AEABAB"/>
              </a:solidFill>
            </c:spPr>
            <c:extLst>
              <c:ext xmlns:c16="http://schemas.microsoft.com/office/drawing/2014/chart" uri="{C3380CC4-5D6E-409C-BE32-E72D297353CC}">
                <c16:uniqueId val="{00000329-22B4-4DF8-BAD3-C71D91B08C5E}"/>
              </c:ext>
            </c:extLst>
          </c:dPt>
          <c:dPt>
            <c:idx val="404"/>
            <c:invertIfNegative val="1"/>
            <c:bubble3D val="0"/>
            <c:spPr>
              <a:solidFill>
                <a:srgbClr val="AEABAB"/>
              </a:solidFill>
            </c:spPr>
            <c:extLst>
              <c:ext xmlns:c16="http://schemas.microsoft.com/office/drawing/2014/chart" uri="{C3380CC4-5D6E-409C-BE32-E72D297353CC}">
                <c16:uniqueId val="{0000032B-22B4-4DF8-BAD3-C71D91B08C5E}"/>
              </c:ext>
            </c:extLst>
          </c:dPt>
          <c:dPt>
            <c:idx val="405"/>
            <c:invertIfNegative val="1"/>
            <c:bubble3D val="0"/>
            <c:spPr>
              <a:solidFill>
                <a:srgbClr val="AEABAB"/>
              </a:solidFill>
            </c:spPr>
            <c:extLst>
              <c:ext xmlns:c16="http://schemas.microsoft.com/office/drawing/2014/chart" uri="{C3380CC4-5D6E-409C-BE32-E72D297353CC}">
                <c16:uniqueId val="{0000032D-22B4-4DF8-BAD3-C71D91B08C5E}"/>
              </c:ext>
            </c:extLst>
          </c:dPt>
          <c:dPt>
            <c:idx val="406"/>
            <c:invertIfNegative val="1"/>
            <c:bubble3D val="0"/>
            <c:spPr>
              <a:solidFill>
                <a:srgbClr val="AEABAB"/>
              </a:solidFill>
            </c:spPr>
            <c:extLst>
              <c:ext xmlns:c16="http://schemas.microsoft.com/office/drawing/2014/chart" uri="{C3380CC4-5D6E-409C-BE32-E72D297353CC}">
                <c16:uniqueId val="{0000032F-22B4-4DF8-BAD3-C71D91B08C5E}"/>
              </c:ext>
            </c:extLst>
          </c:dPt>
          <c:dPt>
            <c:idx val="407"/>
            <c:invertIfNegative val="1"/>
            <c:bubble3D val="0"/>
            <c:spPr>
              <a:solidFill>
                <a:srgbClr val="AEABAB"/>
              </a:solidFill>
            </c:spPr>
            <c:extLst>
              <c:ext xmlns:c16="http://schemas.microsoft.com/office/drawing/2014/chart" uri="{C3380CC4-5D6E-409C-BE32-E72D297353CC}">
                <c16:uniqueId val="{00000331-22B4-4DF8-BAD3-C71D91B08C5E}"/>
              </c:ext>
            </c:extLst>
          </c:dPt>
          <c:dPt>
            <c:idx val="408"/>
            <c:invertIfNegative val="1"/>
            <c:bubble3D val="0"/>
            <c:spPr>
              <a:solidFill>
                <a:srgbClr val="AEABAB"/>
              </a:solidFill>
            </c:spPr>
            <c:extLst>
              <c:ext xmlns:c16="http://schemas.microsoft.com/office/drawing/2014/chart" uri="{C3380CC4-5D6E-409C-BE32-E72D297353CC}">
                <c16:uniqueId val="{00000333-22B4-4DF8-BAD3-C71D91B08C5E}"/>
              </c:ext>
            </c:extLst>
          </c:dPt>
          <c:dPt>
            <c:idx val="409"/>
            <c:invertIfNegative val="1"/>
            <c:bubble3D val="0"/>
            <c:spPr>
              <a:solidFill>
                <a:srgbClr val="AEABAB"/>
              </a:solidFill>
            </c:spPr>
            <c:extLst>
              <c:ext xmlns:c16="http://schemas.microsoft.com/office/drawing/2014/chart" uri="{C3380CC4-5D6E-409C-BE32-E72D297353CC}">
                <c16:uniqueId val="{00000335-22B4-4DF8-BAD3-C71D91B08C5E}"/>
              </c:ext>
            </c:extLst>
          </c:dPt>
          <c:dPt>
            <c:idx val="410"/>
            <c:invertIfNegative val="1"/>
            <c:bubble3D val="0"/>
            <c:spPr>
              <a:solidFill>
                <a:srgbClr val="AEABAB"/>
              </a:solidFill>
            </c:spPr>
            <c:extLst>
              <c:ext xmlns:c16="http://schemas.microsoft.com/office/drawing/2014/chart" uri="{C3380CC4-5D6E-409C-BE32-E72D297353CC}">
                <c16:uniqueId val="{00000337-22B4-4DF8-BAD3-C71D91B08C5E}"/>
              </c:ext>
            </c:extLst>
          </c:dPt>
          <c:dPt>
            <c:idx val="411"/>
            <c:invertIfNegative val="1"/>
            <c:bubble3D val="0"/>
            <c:spPr>
              <a:solidFill>
                <a:srgbClr val="AEABAB"/>
              </a:solidFill>
            </c:spPr>
            <c:extLst>
              <c:ext xmlns:c16="http://schemas.microsoft.com/office/drawing/2014/chart" uri="{C3380CC4-5D6E-409C-BE32-E72D297353CC}">
                <c16:uniqueId val="{00000339-22B4-4DF8-BAD3-C71D91B08C5E}"/>
              </c:ext>
            </c:extLst>
          </c:dPt>
          <c:dPt>
            <c:idx val="412"/>
            <c:invertIfNegative val="1"/>
            <c:bubble3D val="0"/>
            <c:spPr>
              <a:solidFill>
                <a:srgbClr val="AEABAB"/>
              </a:solidFill>
            </c:spPr>
            <c:extLst>
              <c:ext xmlns:c16="http://schemas.microsoft.com/office/drawing/2014/chart" uri="{C3380CC4-5D6E-409C-BE32-E72D297353CC}">
                <c16:uniqueId val="{0000033B-22B4-4DF8-BAD3-C71D91B08C5E}"/>
              </c:ext>
            </c:extLst>
          </c:dPt>
          <c:dPt>
            <c:idx val="413"/>
            <c:invertIfNegative val="1"/>
            <c:bubble3D val="0"/>
            <c:spPr>
              <a:solidFill>
                <a:srgbClr val="AEABAB"/>
              </a:solidFill>
            </c:spPr>
            <c:extLst>
              <c:ext xmlns:c16="http://schemas.microsoft.com/office/drawing/2014/chart" uri="{C3380CC4-5D6E-409C-BE32-E72D297353CC}">
                <c16:uniqueId val="{0000033D-22B4-4DF8-BAD3-C71D91B08C5E}"/>
              </c:ext>
            </c:extLst>
          </c:dPt>
          <c:dPt>
            <c:idx val="414"/>
            <c:invertIfNegative val="1"/>
            <c:bubble3D val="0"/>
            <c:spPr>
              <a:solidFill>
                <a:srgbClr val="AEABAB"/>
              </a:solidFill>
            </c:spPr>
            <c:extLst>
              <c:ext xmlns:c16="http://schemas.microsoft.com/office/drawing/2014/chart" uri="{C3380CC4-5D6E-409C-BE32-E72D297353CC}">
                <c16:uniqueId val="{0000033F-22B4-4DF8-BAD3-C71D91B08C5E}"/>
              </c:ext>
            </c:extLst>
          </c:dPt>
          <c:dPt>
            <c:idx val="415"/>
            <c:invertIfNegative val="1"/>
            <c:bubble3D val="0"/>
            <c:spPr>
              <a:solidFill>
                <a:srgbClr val="AEABAB"/>
              </a:solidFill>
            </c:spPr>
            <c:extLst>
              <c:ext xmlns:c16="http://schemas.microsoft.com/office/drawing/2014/chart" uri="{C3380CC4-5D6E-409C-BE32-E72D297353CC}">
                <c16:uniqueId val="{00000341-22B4-4DF8-BAD3-C71D91B08C5E}"/>
              </c:ext>
            </c:extLst>
          </c:dPt>
          <c:dPt>
            <c:idx val="416"/>
            <c:invertIfNegative val="1"/>
            <c:bubble3D val="0"/>
            <c:spPr>
              <a:solidFill>
                <a:srgbClr val="AEABAB"/>
              </a:solidFill>
            </c:spPr>
            <c:extLst>
              <c:ext xmlns:c16="http://schemas.microsoft.com/office/drawing/2014/chart" uri="{C3380CC4-5D6E-409C-BE32-E72D297353CC}">
                <c16:uniqueId val="{00000343-22B4-4DF8-BAD3-C71D91B08C5E}"/>
              </c:ext>
            </c:extLst>
          </c:dPt>
          <c:dPt>
            <c:idx val="417"/>
            <c:invertIfNegative val="1"/>
            <c:bubble3D val="0"/>
            <c:spPr>
              <a:solidFill>
                <a:srgbClr val="AEABAB"/>
              </a:solidFill>
            </c:spPr>
            <c:extLst>
              <c:ext xmlns:c16="http://schemas.microsoft.com/office/drawing/2014/chart" uri="{C3380CC4-5D6E-409C-BE32-E72D297353CC}">
                <c16:uniqueId val="{00000345-22B4-4DF8-BAD3-C71D91B08C5E}"/>
              </c:ext>
            </c:extLst>
          </c:dPt>
          <c:dPt>
            <c:idx val="418"/>
            <c:invertIfNegative val="1"/>
            <c:bubble3D val="0"/>
            <c:spPr>
              <a:solidFill>
                <a:srgbClr val="AEABAB"/>
              </a:solidFill>
            </c:spPr>
            <c:extLst>
              <c:ext xmlns:c16="http://schemas.microsoft.com/office/drawing/2014/chart" uri="{C3380CC4-5D6E-409C-BE32-E72D297353CC}">
                <c16:uniqueId val="{00000347-22B4-4DF8-BAD3-C71D91B08C5E}"/>
              </c:ext>
            </c:extLst>
          </c:dPt>
          <c:dPt>
            <c:idx val="419"/>
            <c:invertIfNegative val="1"/>
            <c:bubble3D val="0"/>
            <c:spPr>
              <a:solidFill>
                <a:srgbClr val="AEABAB"/>
              </a:solidFill>
            </c:spPr>
            <c:extLst>
              <c:ext xmlns:c16="http://schemas.microsoft.com/office/drawing/2014/chart" uri="{C3380CC4-5D6E-409C-BE32-E72D297353CC}">
                <c16:uniqueId val="{00000349-22B4-4DF8-BAD3-C71D91B08C5E}"/>
              </c:ext>
            </c:extLst>
          </c:dPt>
          <c:dPt>
            <c:idx val="420"/>
            <c:invertIfNegative val="1"/>
            <c:bubble3D val="0"/>
            <c:spPr>
              <a:solidFill>
                <a:srgbClr val="AEABAB"/>
              </a:solidFill>
            </c:spPr>
            <c:extLst>
              <c:ext xmlns:c16="http://schemas.microsoft.com/office/drawing/2014/chart" uri="{C3380CC4-5D6E-409C-BE32-E72D297353CC}">
                <c16:uniqueId val="{0000034B-22B4-4DF8-BAD3-C71D91B08C5E}"/>
              </c:ext>
            </c:extLst>
          </c:dPt>
          <c:dPt>
            <c:idx val="421"/>
            <c:invertIfNegative val="1"/>
            <c:bubble3D val="0"/>
            <c:spPr>
              <a:solidFill>
                <a:srgbClr val="AEABAB"/>
              </a:solidFill>
            </c:spPr>
            <c:extLst>
              <c:ext xmlns:c16="http://schemas.microsoft.com/office/drawing/2014/chart" uri="{C3380CC4-5D6E-409C-BE32-E72D297353CC}">
                <c16:uniqueId val="{0000034D-22B4-4DF8-BAD3-C71D91B08C5E}"/>
              </c:ext>
            </c:extLst>
          </c:dPt>
          <c:dPt>
            <c:idx val="422"/>
            <c:invertIfNegative val="1"/>
            <c:bubble3D val="0"/>
            <c:spPr>
              <a:solidFill>
                <a:srgbClr val="AEABAB"/>
              </a:solidFill>
            </c:spPr>
            <c:extLst>
              <c:ext xmlns:c16="http://schemas.microsoft.com/office/drawing/2014/chart" uri="{C3380CC4-5D6E-409C-BE32-E72D297353CC}">
                <c16:uniqueId val="{0000034F-22B4-4DF8-BAD3-C71D91B08C5E}"/>
              </c:ext>
            </c:extLst>
          </c:dPt>
          <c:dPt>
            <c:idx val="423"/>
            <c:invertIfNegative val="1"/>
            <c:bubble3D val="0"/>
            <c:spPr>
              <a:solidFill>
                <a:srgbClr val="AEABAB"/>
              </a:solidFill>
            </c:spPr>
            <c:extLst>
              <c:ext xmlns:c16="http://schemas.microsoft.com/office/drawing/2014/chart" uri="{C3380CC4-5D6E-409C-BE32-E72D297353CC}">
                <c16:uniqueId val="{00000351-22B4-4DF8-BAD3-C71D91B08C5E}"/>
              </c:ext>
            </c:extLst>
          </c:dPt>
          <c:dPt>
            <c:idx val="424"/>
            <c:invertIfNegative val="1"/>
            <c:bubble3D val="0"/>
            <c:spPr>
              <a:solidFill>
                <a:srgbClr val="AEABAB"/>
              </a:solidFill>
            </c:spPr>
            <c:extLst>
              <c:ext xmlns:c16="http://schemas.microsoft.com/office/drawing/2014/chart" uri="{C3380CC4-5D6E-409C-BE32-E72D297353CC}">
                <c16:uniqueId val="{00000353-22B4-4DF8-BAD3-C71D91B08C5E}"/>
              </c:ext>
            </c:extLst>
          </c:dPt>
          <c:dPt>
            <c:idx val="425"/>
            <c:invertIfNegative val="1"/>
            <c:bubble3D val="0"/>
            <c:spPr>
              <a:solidFill>
                <a:srgbClr val="AEABAB"/>
              </a:solidFill>
            </c:spPr>
            <c:extLst>
              <c:ext xmlns:c16="http://schemas.microsoft.com/office/drawing/2014/chart" uri="{C3380CC4-5D6E-409C-BE32-E72D297353CC}">
                <c16:uniqueId val="{00000355-22B4-4DF8-BAD3-C71D91B08C5E}"/>
              </c:ext>
            </c:extLst>
          </c:dPt>
          <c:dPt>
            <c:idx val="426"/>
            <c:invertIfNegative val="1"/>
            <c:bubble3D val="0"/>
            <c:spPr>
              <a:solidFill>
                <a:srgbClr val="AEABAB"/>
              </a:solidFill>
            </c:spPr>
            <c:extLst>
              <c:ext xmlns:c16="http://schemas.microsoft.com/office/drawing/2014/chart" uri="{C3380CC4-5D6E-409C-BE32-E72D297353CC}">
                <c16:uniqueId val="{00000357-22B4-4DF8-BAD3-C71D91B08C5E}"/>
              </c:ext>
            </c:extLst>
          </c:dPt>
          <c:dPt>
            <c:idx val="427"/>
            <c:invertIfNegative val="1"/>
            <c:bubble3D val="0"/>
            <c:spPr>
              <a:solidFill>
                <a:srgbClr val="AEABAB"/>
              </a:solidFill>
            </c:spPr>
            <c:extLst>
              <c:ext xmlns:c16="http://schemas.microsoft.com/office/drawing/2014/chart" uri="{C3380CC4-5D6E-409C-BE32-E72D297353CC}">
                <c16:uniqueId val="{00000359-22B4-4DF8-BAD3-C71D91B08C5E}"/>
              </c:ext>
            </c:extLst>
          </c:dPt>
          <c:dPt>
            <c:idx val="428"/>
            <c:invertIfNegative val="1"/>
            <c:bubble3D val="0"/>
            <c:spPr>
              <a:solidFill>
                <a:srgbClr val="AEABAB"/>
              </a:solidFill>
            </c:spPr>
            <c:extLst>
              <c:ext xmlns:c16="http://schemas.microsoft.com/office/drawing/2014/chart" uri="{C3380CC4-5D6E-409C-BE32-E72D297353CC}">
                <c16:uniqueId val="{0000035B-22B4-4DF8-BAD3-C71D91B08C5E}"/>
              </c:ext>
            </c:extLst>
          </c:dPt>
          <c:dPt>
            <c:idx val="429"/>
            <c:invertIfNegative val="1"/>
            <c:bubble3D val="0"/>
            <c:spPr>
              <a:solidFill>
                <a:srgbClr val="AEABAB"/>
              </a:solidFill>
            </c:spPr>
            <c:extLst>
              <c:ext xmlns:c16="http://schemas.microsoft.com/office/drawing/2014/chart" uri="{C3380CC4-5D6E-409C-BE32-E72D297353CC}">
                <c16:uniqueId val="{0000035D-22B4-4DF8-BAD3-C71D91B08C5E}"/>
              </c:ext>
            </c:extLst>
          </c:dPt>
          <c:dPt>
            <c:idx val="430"/>
            <c:invertIfNegative val="1"/>
            <c:bubble3D val="0"/>
            <c:spPr>
              <a:solidFill>
                <a:srgbClr val="AEABAB"/>
              </a:solidFill>
            </c:spPr>
            <c:extLst>
              <c:ext xmlns:c16="http://schemas.microsoft.com/office/drawing/2014/chart" uri="{C3380CC4-5D6E-409C-BE32-E72D297353CC}">
                <c16:uniqueId val="{0000035F-22B4-4DF8-BAD3-C71D91B08C5E}"/>
              </c:ext>
            </c:extLst>
          </c:dPt>
          <c:dPt>
            <c:idx val="431"/>
            <c:invertIfNegative val="1"/>
            <c:bubble3D val="0"/>
            <c:spPr>
              <a:solidFill>
                <a:srgbClr val="AEABAB"/>
              </a:solidFill>
            </c:spPr>
            <c:extLst>
              <c:ext xmlns:c16="http://schemas.microsoft.com/office/drawing/2014/chart" uri="{C3380CC4-5D6E-409C-BE32-E72D297353CC}">
                <c16:uniqueId val="{00000361-22B4-4DF8-BAD3-C71D91B08C5E}"/>
              </c:ext>
            </c:extLst>
          </c:dPt>
          <c:dPt>
            <c:idx val="432"/>
            <c:invertIfNegative val="1"/>
            <c:bubble3D val="0"/>
            <c:spPr>
              <a:solidFill>
                <a:srgbClr val="AEABAB"/>
              </a:solidFill>
            </c:spPr>
            <c:extLst>
              <c:ext xmlns:c16="http://schemas.microsoft.com/office/drawing/2014/chart" uri="{C3380CC4-5D6E-409C-BE32-E72D297353CC}">
                <c16:uniqueId val="{00000363-22B4-4DF8-BAD3-C71D91B08C5E}"/>
              </c:ext>
            </c:extLst>
          </c:dPt>
          <c:dPt>
            <c:idx val="433"/>
            <c:invertIfNegative val="1"/>
            <c:bubble3D val="0"/>
            <c:spPr>
              <a:solidFill>
                <a:srgbClr val="AEABAB"/>
              </a:solidFill>
            </c:spPr>
            <c:extLst>
              <c:ext xmlns:c16="http://schemas.microsoft.com/office/drawing/2014/chart" uri="{C3380CC4-5D6E-409C-BE32-E72D297353CC}">
                <c16:uniqueId val="{00000365-22B4-4DF8-BAD3-C71D91B08C5E}"/>
              </c:ext>
            </c:extLst>
          </c:dPt>
          <c:dPt>
            <c:idx val="434"/>
            <c:invertIfNegative val="1"/>
            <c:bubble3D val="0"/>
            <c:spPr>
              <a:solidFill>
                <a:srgbClr val="AEABAB"/>
              </a:solidFill>
            </c:spPr>
            <c:extLst>
              <c:ext xmlns:c16="http://schemas.microsoft.com/office/drawing/2014/chart" uri="{C3380CC4-5D6E-409C-BE32-E72D297353CC}">
                <c16:uniqueId val="{00000367-22B4-4DF8-BAD3-C71D91B08C5E}"/>
              </c:ext>
            </c:extLst>
          </c:dPt>
          <c:dPt>
            <c:idx val="435"/>
            <c:invertIfNegative val="1"/>
            <c:bubble3D val="0"/>
            <c:spPr>
              <a:solidFill>
                <a:srgbClr val="AEABAB"/>
              </a:solidFill>
            </c:spPr>
            <c:extLst>
              <c:ext xmlns:c16="http://schemas.microsoft.com/office/drawing/2014/chart" uri="{C3380CC4-5D6E-409C-BE32-E72D297353CC}">
                <c16:uniqueId val="{00000369-22B4-4DF8-BAD3-C71D91B08C5E}"/>
              </c:ext>
            </c:extLst>
          </c:dPt>
          <c:dPt>
            <c:idx val="436"/>
            <c:invertIfNegative val="1"/>
            <c:bubble3D val="0"/>
            <c:spPr>
              <a:solidFill>
                <a:srgbClr val="AEABAB"/>
              </a:solidFill>
            </c:spPr>
            <c:extLst>
              <c:ext xmlns:c16="http://schemas.microsoft.com/office/drawing/2014/chart" uri="{C3380CC4-5D6E-409C-BE32-E72D297353CC}">
                <c16:uniqueId val="{0000036B-22B4-4DF8-BAD3-C71D91B08C5E}"/>
              </c:ext>
            </c:extLst>
          </c:dPt>
          <c:dPt>
            <c:idx val="437"/>
            <c:invertIfNegative val="1"/>
            <c:bubble3D val="0"/>
            <c:spPr>
              <a:solidFill>
                <a:srgbClr val="AEABAB"/>
              </a:solidFill>
            </c:spPr>
            <c:extLst>
              <c:ext xmlns:c16="http://schemas.microsoft.com/office/drawing/2014/chart" uri="{C3380CC4-5D6E-409C-BE32-E72D297353CC}">
                <c16:uniqueId val="{0000036D-22B4-4DF8-BAD3-C71D91B08C5E}"/>
              </c:ext>
            </c:extLst>
          </c:dPt>
          <c:dPt>
            <c:idx val="438"/>
            <c:invertIfNegative val="1"/>
            <c:bubble3D val="0"/>
            <c:spPr>
              <a:solidFill>
                <a:srgbClr val="AEABAB"/>
              </a:solidFill>
            </c:spPr>
            <c:extLst>
              <c:ext xmlns:c16="http://schemas.microsoft.com/office/drawing/2014/chart" uri="{C3380CC4-5D6E-409C-BE32-E72D297353CC}">
                <c16:uniqueId val="{0000036F-22B4-4DF8-BAD3-C71D91B08C5E}"/>
              </c:ext>
            </c:extLst>
          </c:dPt>
          <c:dPt>
            <c:idx val="439"/>
            <c:invertIfNegative val="1"/>
            <c:bubble3D val="0"/>
            <c:spPr>
              <a:solidFill>
                <a:srgbClr val="AEABAB"/>
              </a:solidFill>
            </c:spPr>
            <c:extLst>
              <c:ext xmlns:c16="http://schemas.microsoft.com/office/drawing/2014/chart" uri="{C3380CC4-5D6E-409C-BE32-E72D297353CC}">
                <c16:uniqueId val="{00000371-22B4-4DF8-BAD3-C71D91B08C5E}"/>
              </c:ext>
            </c:extLst>
          </c:dPt>
          <c:dPt>
            <c:idx val="440"/>
            <c:invertIfNegative val="1"/>
            <c:bubble3D val="0"/>
            <c:spPr>
              <a:solidFill>
                <a:srgbClr val="AEABAB"/>
              </a:solidFill>
            </c:spPr>
            <c:extLst>
              <c:ext xmlns:c16="http://schemas.microsoft.com/office/drawing/2014/chart" uri="{C3380CC4-5D6E-409C-BE32-E72D297353CC}">
                <c16:uniqueId val="{00000373-22B4-4DF8-BAD3-C71D91B08C5E}"/>
              </c:ext>
            </c:extLst>
          </c:dPt>
          <c:dPt>
            <c:idx val="441"/>
            <c:invertIfNegative val="1"/>
            <c:bubble3D val="0"/>
            <c:spPr>
              <a:solidFill>
                <a:srgbClr val="AEABAB"/>
              </a:solidFill>
            </c:spPr>
            <c:extLst>
              <c:ext xmlns:c16="http://schemas.microsoft.com/office/drawing/2014/chart" uri="{C3380CC4-5D6E-409C-BE32-E72D297353CC}">
                <c16:uniqueId val="{00000375-22B4-4DF8-BAD3-C71D91B08C5E}"/>
              </c:ext>
            </c:extLst>
          </c:dPt>
          <c:dPt>
            <c:idx val="442"/>
            <c:invertIfNegative val="1"/>
            <c:bubble3D val="0"/>
            <c:spPr>
              <a:solidFill>
                <a:srgbClr val="AEABAB"/>
              </a:solidFill>
            </c:spPr>
            <c:extLst>
              <c:ext xmlns:c16="http://schemas.microsoft.com/office/drawing/2014/chart" uri="{C3380CC4-5D6E-409C-BE32-E72D297353CC}">
                <c16:uniqueId val="{00000377-22B4-4DF8-BAD3-C71D91B08C5E}"/>
              </c:ext>
            </c:extLst>
          </c:dPt>
          <c:dPt>
            <c:idx val="443"/>
            <c:invertIfNegative val="1"/>
            <c:bubble3D val="0"/>
            <c:spPr>
              <a:solidFill>
                <a:srgbClr val="AEABAB"/>
              </a:solidFill>
            </c:spPr>
            <c:extLst>
              <c:ext xmlns:c16="http://schemas.microsoft.com/office/drawing/2014/chart" uri="{C3380CC4-5D6E-409C-BE32-E72D297353CC}">
                <c16:uniqueId val="{00000379-22B4-4DF8-BAD3-C71D91B08C5E}"/>
              </c:ext>
            </c:extLst>
          </c:dPt>
          <c:dPt>
            <c:idx val="444"/>
            <c:invertIfNegative val="1"/>
            <c:bubble3D val="0"/>
            <c:spPr>
              <a:solidFill>
                <a:srgbClr val="AEABAB"/>
              </a:solidFill>
            </c:spPr>
            <c:extLst>
              <c:ext xmlns:c16="http://schemas.microsoft.com/office/drawing/2014/chart" uri="{C3380CC4-5D6E-409C-BE32-E72D297353CC}">
                <c16:uniqueId val="{0000037B-22B4-4DF8-BAD3-C71D91B08C5E}"/>
              </c:ext>
            </c:extLst>
          </c:dPt>
          <c:dPt>
            <c:idx val="445"/>
            <c:invertIfNegative val="1"/>
            <c:bubble3D val="0"/>
            <c:spPr>
              <a:solidFill>
                <a:srgbClr val="AEABAB"/>
              </a:solidFill>
            </c:spPr>
            <c:extLst>
              <c:ext xmlns:c16="http://schemas.microsoft.com/office/drawing/2014/chart" uri="{C3380CC4-5D6E-409C-BE32-E72D297353CC}">
                <c16:uniqueId val="{0000037D-22B4-4DF8-BAD3-C71D91B08C5E}"/>
              </c:ext>
            </c:extLst>
          </c:dPt>
          <c:dPt>
            <c:idx val="446"/>
            <c:invertIfNegative val="1"/>
            <c:bubble3D val="0"/>
            <c:spPr>
              <a:solidFill>
                <a:srgbClr val="AEABAB"/>
              </a:solidFill>
            </c:spPr>
            <c:extLst>
              <c:ext xmlns:c16="http://schemas.microsoft.com/office/drawing/2014/chart" uri="{C3380CC4-5D6E-409C-BE32-E72D297353CC}">
                <c16:uniqueId val="{0000037F-22B4-4DF8-BAD3-C71D91B08C5E}"/>
              </c:ext>
            </c:extLst>
          </c:dPt>
          <c:dPt>
            <c:idx val="447"/>
            <c:invertIfNegative val="1"/>
            <c:bubble3D val="0"/>
            <c:spPr>
              <a:solidFill>
                <a:srgbClr val="AEABAB"/>
              </a:solidFill>
            </c:spPr>
            <c:extLst>
              <c:ext xmlns:c16="http://schemas.microsoft.com/office/drawing/2014/chart" uri="{C3380CC4-5D6E-409C-BE32-E72D297353CC}">
                <c16:uniqueId val="{00000381-22B4-4DF8-BAD3-C71D91B08C5E}"/>
              </c:ext>
            </c:extLst>
          </c:dPt>
          <c:dPt>
            <c:idx val="448"/>
            <c:invertIfNegative val="1"/>
            <c:bubble3D val="0"/>
            <c:spPr>
              <a:solidFill>
                <a:srgbClr val="AEABAB"/>
              </a:solidFill>
            </c:spPr>
            <c:extLst>
              <c:ext xmlns:c16="http://schemas.microsoft.com/office/drawing/2014/chart" uri="{C3380CC4-5D6E-409C-BE32-E72D297353CC}">
                <c16:uniqueId val="{00000383-22B4-4DF8-BAD3-C71D91B08C5E}"/>
              </c:ext>
            </c:extLst>
          </c:dPt>
          <c:dPt>
            <c:idx val="449"/>
            <c:invertIfNegative val="1"/>
            <c:bubble3D val="0"/>
            <c:spPr>
              <a:solidFill>
                <a:srgbClr val="AEABAB"/>
              </a:solidFill>
            </c:spPr>
            <c:extLst>
              <c:ext xmlns:c16="http://schemas.microsoft.com/office/drawing/2014/chart" uri="{C3380CC4-5D6E-409C-BE32-E72D297353CC}">
                <c16:uniqueId val="{00000385-22B4-4DF8-BAD3-C71D91B08C5E}"/>
              </c:ext>
            </c:extLst>
          </c:dPt>
          <c:dPt>
            <c:idx val="450"/>
            <c:invertIfNegative val="1"/>
            <c:bubble3D val="0"/>
            <c:spPr>
              <a:solidFill>
                <a:srgbClr val="AEABAB"/>
              </a:solidFill>
            </c:spPr>
            <c:extLst>
              <c:ext xmlns:c16="http://schemas.microsoft.com/office/drawing/2014/chart" uri="{C3380CC4-5D6E-409C-BE32-E72D297353CC}">
                <c16:uniqueId val="{00000387-22B4-4DF8-BAD3-C71D91B08C5E}"/>
              </c:ext>
            </c:extLst>
          </c:dPt>
          <c:dPt>
            <c:idx val="451"/>
            <c:invertIfNegative val="1"/>
            <c:bubble3D val="0"/>
            <c:spPr>
              <a:solidFill>
                <a:srgbClr val="AEABAB"/>
              </a:solidFill>
            </c:spPr>
            <c:extLst>
              <c:ext xmlns:c16="http://schemas.microsoft.com/office/drawing/2014/chart" uri="{C3380CC4-5D6E-409C-BE32-E72D297353CC}">
                <c16:uniqueId val="{00000389-22B4-4DF8-BAD3-C71D91B08C5E}"/>
              </c:ext>
            </c:extLst>
          </c:dPt>
          <c:dPt>
            <c:idx val="452"/>
            <c:invertIfNegative val="1"/>
            <c:bubble3D val="0"/>
            <c:spPr>
              <a:solidFill>
                <a:srgbClr val="AEABAB"/>
              </a:solidFill>
            </c:spPr>
            <c:extLst>
              <c:ext xmlns:c16="http://schemas.microsoft.com/office/drawing/2014/chart" uri="{C3380CC4-5D6E-409C-BE32-E72D297353CC}">
                <c16:uniqueId val="{0000038B-22B4-4DF8-BAD3-C71D91B08C5E}"/>
              </c:ext>
            </c:extLst>
          </c:dPt>
          <c:dPt>
            <c:idx val="453"/>
            <c:invertIfNegative val="1"/>
            <c:bubble3D val="0"/>
            <c:spPr>
              <a:solidFill>
                <a:srgbClr val="AEABAB"/>
              </a:solidFill>
            </c:spPr>
            <c:extLst>
              <c:ext xmlns:c16="http://schemas.microsoft.com/office/drawing/2014/chart" uri="{C3380CC4-5D6E-409C-BE32-E72D297353CC}">
                <c16:uniqueId val="{0000038D-22B4-4DF8-BAD3-C71D91B08C5E}"/>
              </c:ext>
            </c:extLst>
          </c:dPt>
          <c:dPt>
            <c:idx val="454"/>
            <c:invertIfNegative val="1"/>
            <c:bubble3D val="0"/>
            <c:spPr>
              <a:solidFill>
                <a:srgbClr val="AEABAB"/>
              </a:solidFill>
            </c:spPr>
            <c:extLst>
              <c:ext xmlns:c16="http://schemas.microsoft.com/office/drawing/2014/chart" uri="{C3380CC4-5D6E-409C-BE32-E72D297353CC}">
                <c16:uniqueId val="{0000038F-22B4-4DF8-BAD3-C71D91B08C5E}"/>
              </c:ext>
            </c:extLst>
          </c:dPt>
          <c:dPt>
            <c:idx val="455"/>
            <c:invertIfNegative val="1"/>
            <c:bubble3D val="0"/>
            <c:spPr>
              <a:solidFill>
                <a:srgbClr val="AEABAB"/>
              </a:solidFill>
            </c:spPr>
            <c:extLst>
              <c:ext xmlns:c16="http://schemas.microsoft.com/office/drawing/2014/chart" uri="{C3380CC4-5D6E-409C-BE32-E72D297353CC}">
                <c16:uniqueId val="{00000391-22B4-4DF8-BAD3-C71D91B08C5E}"/>
              </c:ext>
            </c:extLst>
          </c:dPt>
          <c:dPt>
            <c:idx val="456"/>
            <c:invertIfNegative val="1"/>
            <c:bubble3D val="0"/>
            <c:spPr>
              <a:solidFill>
                <a:srgbClr val="AEABAB"/>
              </a:solidFill>
            </c:spPr>
            <c:extLst>
              <c:ext xmlns:c16="http://schemas.microsoft.com/office/drawing/2014/chart" uri="{C3380CC4-5D6E-409C-BE32-E72D297353CC}">
                <c16:uniqueId val="{00000393-22B4-4DF8-BAD3-C71D91B08C5E}"/>
              </c:ext>
            </c:extLst>
          </c:dPt>
          <c:dPt>
            <c:idx val="457"/>
            <c:invertIfNegative val="1"/>
            <c:bubble3D val="0"/>
            <c:spPr>
              <a:solidFill>
                <a:srgbClr val="AEABAB"/>
              </a:solidFill>
            </c:spPr>
            <c:extLst>
              <c:ext xmlns:c16="http://schemas.microsoft.com/office/drawing/2014/chart" uri="{C3380CC4-5D6E-409C-BE32-E72D297353CC}">
                <c16:uniqueId val="{00000395-22B4-4DF8-BAD3-C71D91B08C5E}"/>
              </c:ext>
            </c:extLst>
          </c:dPt>
          <c:dPt>
            <c:idx val="458"/>
            <c:invertIfNegative val="1"/>
            <c:bubble3D val="0"/>
            <c:spPr>
              <a:solidFill>
                <a:srgbClr val="AEABAB"/>
              </a:solidFill>
            </c:spPr>
            <c:extLst>
              <c:ext xmlns:c16="http://schemas.microsoft.com/office/drawing/2014/chart" uri="{C3380CC4-5D6E-409C-BE32-E72D297353CC}">
                <c16:uniqueId val="{00000397-22B4-4DF8-BAD3-C71D91B08C5E}"/>
              </c:ext>
            </c:extLst>
          </c:dPt>
          <c:dPt>
            <c:idx val="459"/>
            <c:invertIfNegative val="1"/>
            <c:bubble3D val="0"/>
            <c:spPr>
              <a:solidFill>
                <a:srgbClr val="AEABAB"/>
              </a:solidFill>
            </c:spPr>
            <c:extLst>
              <c:ext xmlns:c16="http://schemas.microsoft.com/office/drawing/2014/chart" uri="{C3380CC4-5D6E-409C-BE32-E72D297353CC}">
                <c16:uniqueId val="{00000399-22B4-4DF8-BAD3-C71D91B08C5E}"/>
              </c:ext>
            </c:extLst>
          </c:dPt>
          <c:dPt>
            <c:idx val="460"/>
            <c:invertIfNegative val="1"/>
            <c:bubble3D val="0"/>
            <c:spPr>
              <a:solidFill>
                <a:srgbClr val="AEABAB"/>
              </a:solidFill>
            </c:spPr>
            <c:extLst>
              <c:ext xmlns:c16="http://schemas.microsoft.com/office/drawing/2014/chart" uri="{C3380CC4-5D6E-409C-BE32-E72D297353CC}">
                <c16:uniqueId val="{0000039B-22B4-4DF8-BAD3-C71D91B08C5E}"/>
              </c:ext>
            </c:extLst>
          </c:dPt>
          <c:dPt>
            <c:idx val="461"/>
            <c:invertIfNegative val="1"/>
            <c:bubble3D val="0"/>
            <c:spPr>
              <a:solidFill>
                <a:srgbClr val="AEABAB"/>
              </a:solidFill>
            </c:spPr>
            <c:extLst>
              <c:ext xmlns:c16="http://schemas.microsoft.com/office/drawing/2014/chart" uri="{C3380CC4-5D6E-409C-BE32-E72D297353CC}">
                <c16:uniqueId val="{0000039D-22B4-4DF8-BAD3-C71D91B08C5E}"/>
              </c:ext>
            </c:extLst>
          </c:dPt>
          <c:dPt>
            <c:idx val="462"/>
            <c:invertIfNegative val="1"/>
            <c:bubble3D val="0"/>
            <c:spPr>
              <a:solidFill>
                <a:srgbClr val="AEABAB"/>
              </a:solidFill>
            </c:spPr>
            <c:extLst>
              <c:ext xmlns:c16="http://schemas.microsoft.com/office/drawing/2014/chart" uri="{C3380CC4-5D6E-409C-BE32-E72D297353CC}">
                <c16:uniqueId val="{0000039F-22B4-4DF8-BAD3-C71D91B08C5E}"/>
              </c:ext>
            </c:extLst>
          </c:dPt>
          <c:dPt>
            <c:idx val="463"/>
            <c:invertIfNegative val="1"/>
            <c:bubble3D val="0"/>
            <c:spPr>
              <a:solidFill>
                <a:srgbClr val="AEABAB"/>
              </a:solidFill>
            </c:spPr>
            <c:extLst>
              <c:ext xmlns:c16="http://schemas.microsoft.com/office/drawing/2014/chart" uri="{C3380CC4-5D6E-409C-BE32-E72D297353CC}">
                <c16:uniqueId val="{000003A1-22B4-4DF8-BAD3-C71D91B08C5E}"/>
              </c:ext>
            </c:extLst>
          </c:dPt>
          <c:dPt>
            <c:idx val="464"/>
            <c:invertIfNegative val="1"/>
            <c:bubble3D val="0"/>
            <c:spPr>
              <a:solidFill>
                <a:srgbClr val="AEABAB"/>
              </a:solidFill>
            </c:spPr>
            <c:extLst>
              <c:ext xmlns:c16="http://schemas.microsoft.com/office/drawing/2014/chart" uri="{C3380CC4-5D6E-409C-BE32-E72D297353CC}">
                <c16:uniqueId val="{000003A3-22B4-4DF8-BAD3-C71D91B08C5E}"/>
              </c:ext>
            </c:extLst>
          </c:dPt>
          <c:dPt>
            <c:idx val="465"/>
            <c:invertIfNegative val="1"/>
            <c:bubble3D val="0"/>
            <c:spPr>
              <a:solidFill>
                <a:srgbClr val="AEABAB"/>
              </a:solidFill>
            </c:spPr>
            <c:extLst>
              <c:ext xmlns:c16="http://schemas.microsoft.com/office/drawing/2014/chart" uri="{C3380CC4-5D6E-409C-BE32-E72D297353CC}">
                <c16:uniqueId val="{000003A5-22B4-4DF8-BAD3-C71D91B08C5E}"/>
              </c:ext>
            </c:extLst>
          </c:dPt>
          <c:dPt>
            <c:idx val="466"/>
            <c:invertIfNegative val="1"/>
            <c:bubble3D val="0"/>
            <c:spPr>
              <a:solidFill>
                <a:srgbClr val="AEABAB"/>
              </a:solidFill>
            </c:spPr>
            <c:extLst>
              <c:ext xmlns:c16="http://schemas.microsoft.com/office/drawing/2014/chart" uri="{C3380CC4-5D6E-409C-BE32-E72D297353CC}">
                <c16:uniqueId val="{000003A7-22B4-4DF8-BAD3-C71D91B08C5E}"/>
              </c:ext>
            </c:extLst>
          </c:dPt>
          <c:dPt>
            <c:idx val="467"/>
            <c:invertIfNegative val="1"/>
            <c:bubble3D val="0"/>
            <c:spPr>
              <a:solidFill>
                <a:srgbClr val="AEABAB"/>
              </a:solidFill>
            </c:spPr>
            <c:extLst>
              <c:ext xmlns:c16="http://schemas.microsoft.com/office/drawing/2014/chart" uri="{C3380CC4-5D6E-409C-BE32-E72D297353CC}">
                <c16:uniqueId val="{000003A9-22B4-4DF8-BAD3-C71D91B08C5E}"/>
              </c:ext>
            </c:extLst>
          </c:dPt>
          <c:dPt>
            <c:idx val="468"/>
            <c:invertIfNegative val="1"/>
            <c:bubble3D val="0"/>
            <c:spPr>
              <a:solidFill>
                <a:srgbClr val="AEABAB"/>
              </a:solidFill>
            </c:spPr>
            <c:extLst>
              <c:ext xmlns:c16="http://schemas.microsoft.com/office/drawing/2014/chart" uri="{C3380CC4-5D6E-409C-BE32-E72D297353CC}">
                <c16:uniqueId val="{000003AB-22B4-4DF8-BAD3-C71D91B08C5E}"/>
              </c:ext>
            </c:extLst>
          </c:dPt>
          <c:dPt>
            <c:idx val="469"/>
            <c:invertIfNegative val="1"/>
            <c:bubble3D val="0"/>
            <c:spPr>
              <a:solidFill>
                <a:srgbClr val="AEABAB"/>
              </a:solidFill>
            </c:spPr>
            <c:extLst>
              <c:ext xmlns:c16="http://schemas.microsoft.com/office/drawing/2014/chart" uri="{C3380CC4-5D6E-409C-BE32-E72D297353CC}">
                <c16:uniqueId val="{000003AD-22B4-4DF8-BAD3-C71D91B08C5E}"/>
              </c:ext>
            </c:extLst>
          </c:dPt>
          <c:dPt>
            <c:idx val="470"/>
            <c:invertIfNegative val="1"/>
            <c:bubble3D val="0"/>
            <c:spPr>
              <a:solidFill>
                <a:srgbClr val="AEABAB"/>
              </a:solidFill>
            </c:spPr>
            <c:extLst>
              <c:ext xmlns:c16="http://schemas.microsoft.com/office/drawing/2014/chart" uri="{C3380CC4-5D6E-409C-BE32-E72D297353CC}">
                <c16:uniqueId val="{000003AF-22B4-4DF8-BAD3-C71D91B08C5E}"/>
              </c:ext>
            </c:extLst>
          </c:dPt>
          <c:dPt>
            <c:idx val="471"/>
            <c:invertIfNegative val="1"/>
            <c:bubble3D val="0"/>
            <c:spPr>
              <a:solidFill>
                <a:srgbClr val="AEABAB"/>
              </a:solidFill>
            </c:spPr>
            <c:extLst>
              <c:ext xmlns:c16="http://schemas.microsoft.com/office/drawing/2014/chart" uri="{C3380CC4-5D6E-409C-BE32-E72D297353CC}">
                <c16:uniqueId val="{000003B1-22B4-4DF8-BAD3-C71D91B08C5E}"/>
              </c:ext>
            </c:extLst>
          </c:dPt>
          <c:dPt>
            <c:idx val="472"/>
            <c:invertIfNegative val="1"/>
            <c:bubble3D val="0"/>
            <c:spPr>
              <a:solidFill>
                <a:srgbClr val="AEABAB"/>
              </a:solidFill>
            </c:spPr>
            <c:extLst>
              <c:ext xmlns:c16="http://schemas.microsoft.com/office/drawing/2014/chart" uri="{C3380CC4-5D6E-409C-BE32-E72D297353CC}">
                <c16:uniqueId val="{000003B3-22B4-4DF8-BAD3-C71D91B08C5E}"/>
              </c:ext>
            </c:extLst>
          </c:dPt>
          <c:dPt>
            <c:idx val="473"/>
            <c:invertIfNegative val="1"/>
            <c:bubble3D val="0"/>
            <c:spPr>
              <a:solidFill>
                <a:srgbClr val="AEABAB"/>
              </a:solidFill>
            </c:spPr>
            <c:extLst>
              <c:ext xmlns:c16="http://schemas.microsoft.com/office/drawing/2014/chart" uri="{C3380CC4-5D6E-409C-BE32-E72D297353CC}">
                <c16:uniqueId val="{000003B5-22B4-4DF8-BAD3-C71D91B08C5E}"/>
              </c:ext>
            </c:extLst>
          </c:dPt>
          <c:dPt>
            <c:idx val="474"/>
            <c:invertIfNegative val="1"/>
            <c:bubble3D val="0"/>
            <c:spPr>
              <a:solidFill>
                <a:srgbClr val="AEABAB"/>
              </a:solidFill>
            </c:spPr>
            <c:extLst>
              <c:ext xmlns:c16="http://schemas.microsoft.com/office/drawing/2014/chart" uri="{C3380CC4-5D6E-409C-BE32-E72D297353CC}">
                <c16:uniqueId val="{000003B7-22B4-4DF8-BAD3-C71D91B08C5E}"/>
              </c:ext>
            </c:extLst>
          </c:dPt>
          <c:dPt>
            <c:idx val="475"/>
            <c:invertIfNegative val="1"/>
            <c:bubble3D val="0"/>
            <c:spPr>
              <a:solidFill>
                <a:srgbClr val="AEABAB"/>
              </a:solidFill>
            </c:spPr>
            <c:extLst>
              <c:ext xmlns:c16="http://schemas.microsoft.com/office/drawing/2014/chart" uri="{C3380CC4-5D6E-409C-BE32-E72D297353CC}">
                <c16:uniqueId val="{000003B9-22B4-4DF8-BAD3-C71D91B08C5E}"/>
              </c:ext>
            </c:extLst>
          </c:dPt>
          <c:dPt>
            <c:idx val="476"/>
            <c:invertIfNegative val="1"/>
            <c:bubble3D val="0"/>
            <c:spPr>
              <a:solidFill>
                <a:srgbClr val="AEABAB"/>
              </a:solidFill>
            </c:spPr>
            <c:extLst>
              <c:ext xmlns:c16="http://schemas.microsoft.com/office/drawing/2014/chart" uri="{C3380CC4-5D6E-409C-BE32-E72D297353CC}">
                <c16:uniqueId val="{000003BB-22B4-4DF8-BAD3-C71D91B08C5E}"/>
              </c:ext>
            </c:extLst>
          </c:dPt>
          <c:dPt>
            <c:idx val="477"/>
            <c:invertIfNegative val="1"/>
            <c:bubble3D val="0"/>
            <c:spPr>
              <a:solidFill>
                <a:srgbClr val="AEABAB"/>
              </a:solidFill>
            </c:spPr>
            <c:extLst>
              <c:ext xmlns:c16="http://schemas.microsoft.com/office/drawing/2014/chart" uri="{C3380CC4-5D6E-409C-BE32-E72D297353CC}">
                <c16:uniqueId val="{000003BD-22B4-4DF8-BAD3-C71D91B08C5E}"/>
              </c:ext>
            </c:extLst>
          </c:dPt>
          <c:dPt>
            <c:idx val="478"/>
            <c:invertIfNegative val="1"/>
            <c:bubble3D val="0"/>
            <c:spPr>
              <a:solidFill>
                <a:srgbClr val="AEABAB"/>
              </a:solidFill>
            </c:spPr>
            <c:extLst>
              <c:ext xmlns:c16="http://schemas.microsoft.com/office/drawing/2014/chart" uri="{C3380CC4-5D6E-409C-BE32-E72D297353CC}">
                <c16:uniqueId val="{000003BF-22B4-4DF8-BAD3-C71D91B08C5E}"/>
              </c:ext>
            </c:extLst>
          </c:dPt>
          <c:dPt>
            <c:idx val="479"/>
            <c:invertIfNegative val="1"/>
            <c:bubble3D val="0"/>
            <c:spPr>
              <a:solidFill>
                <a:srgbClr val="AEABAB"/>
              </a:solidFill>
            </c:spPr>
            <c:extLst>
              <c:ext xmlns:c16="http://schemas.microsoft.com/office/drawing/2014/chart" uri="{C3380CC4-5D6E-409C-BE32-E72D297353CC}">
                <c16:uniqueId val="{000003C1-22B4-4DF8-BAD3-C71D91B08C5E}"/>
              </c:ext>
            </c:extLst>
          </c:dPt>
          <c:dPt>
            <c:idx val="480"/>
            <c:invertIfNegative val="1"/>
            <c:bubble3D val="0"/>
            <c:spPr>
              <a:solidFill>
                <a:srgbClr val="AEABAB"/>
              </a:solidFill>
            </c:spPr>
            <c:extLst>
              <c:ext xmlns:c16="http://schemas.microsoft.com/office/drawing/2014/chart" uri="{C3380CC4-5D6E-409C-BE32-E72D297353CC}">
                <c16:uniqueId val="{000003C3-22B4-4DF8-BAD3-C71D91B08C5E}"/>
              </c:ext>
            </c:extLst>
          </c:dPt>
          <c:dPt>
            <c:idx val="481"/>
            <c:invertIfNegative val="1"/>
            <c:bubble3D val="0"/>
            <c:spPr>
              <a:solidFill>
                <a:srgbClr val="AEABAB"/>
              </a:solidFill>
            </c:spPr>
            <c:extLst>
              <c:ext xmlns:c16="http://schemas.microsoft.com/office/drawing/2014/chart" uri="{C3380CC4-5D6E-409C-BE32-E72D297353CC}">
                <c16:uniqueId val="{000003C5-22B4-4DF8-BAD3-C71D91B08C5E}"/>
              </c:ext>
            </c:extLst>
          </c:dPt>
          <c:dPt>
            <c:idx val="482"/>
            <c:invertIfNegative val="1"/>
            <c:bubble3D val="0"/>
            <c:spPr>
              <a:solidFill>
                <a:srgbClr val="AEABAB"/>
              </a:solidFill>
            </c:spPr>
            <c:extLst>
              <c:ext xmlns:c16="http://schemas.microsoft.com/office/drawing/2014/chart" uri="{C3380CC4-5D6E-409C-BE32-E72D297353CC}">
                <c16:uniqueId val="{000003C7-22B4-4DF8-BAD3-C71D91B08C5E}"/>
              </c:ext>
            </c:extLst>
          </c:dPt>
          <c:dPt>
            <c:idx val="483"/>
            <c:invertIfNegative val="1"/>
            <c:bubble3D val="0"/>
            <c:spPr>
              <a:solidFill>
                <a:srgbClr val="AEABAB"/>
              </a:solidFill>
            </c:spPr>
            <c:extLst>
              <c:ext xmlns:c16="http://schemas.microsoft.com/office/drawing/2014/chart" uri="{C3380CC4-5D6E-409C-BE32-E72D297353CC}">
                <c16:uniqueId val="{000003C9-22B4-4DF8-BAD3-C71D91B08C5E}"/>
              </c:ext>
            </c:extLst>
          </c:dPt>
          <c:dPt>
            <c:idx val="484"/>
            <c:invertIfNegative val="1"/>
            <c:bubble3D val="0"/>
            <c:spPr>
              <a:solidFill>
                <a:srgbClr val="AEABAB"/>
              </a:solidFill>
            </c:spPr>
            <c:extLst>
              <c:ext xmlns:c16="http://schemas.microsoft.com/office/drawing/2014/chart" uri="{C3380CC4-5D6E-409C-BE32-E72D297353CC}">
                <c16:uniqueId val="{000003CB-22B4-4DF8-BAD3-C71D91B08C5E}"/>
              </c:ext>
            </c:extLst>
          </c:dPt>
          <c:dPt>
            <c:idx val="485"/>
            <c:invertIfNegative val="1"/>
            <c:bubble3D val="0"/>
            <c:spPr>
              <a:solidFill>
                <a:srgbClr val="AEABAB"/>
              </a:solidFill>
            </c:spPr>
            <c:extLst>
              <c:ext xmlns:c16="http://schemas.microsoft.com/office/drawing/2014/chart" uri="{C3380CC4-5D6E-409C-BE32-E72D297353CC}">
                <c16:uniqueId val="{000003CD-22B4-4DF8-BAD3-C71D91B08C5E}"/>
              </c:ext>
            </c:extLst>
          </c:dPt>
          <c:dPt>
            <c:idx val="486"/>
            <c:invertIfNegative val="1"/>
            <c:bubble3D val="0"/>
            <c:spPr>
              <a:solidFill>
                <a:srgbClr val="AEABAB"/>
              </a:solidFill>
            </c:spPr>
            <c:extLst>
              <c:ext xmlns:c16="http://schemas.microsoft.com/office/drawing/2014/chart" uri="{C3380CC4-5D6E-409C-BE32-E72D297353CC}">
                <c16:uniqueId val="{000003CF-22B4-4DF8-BAD3-C71D91B08C5E}"/>
              </c:ext>
            </c:extLst>
          </c:dPt>
          <c:dPt>
            <c:idx val="487"/>
            <c:invertIfNegative val="1"/>
            <c:bubble3D val="0"/>
            <c:spPr>
              <a:solidFill>
                <a:srgbClr val="AEABAB"/>
              </a:solidFill>
            </c:spPr>
            <c:extLst>
              <c:ext xmlns:c16="http://schemas.microsoft.com/office/drawing/2014/chart" uri="{C3380CC4-5D6E-409C-BE32-E72D297353CC}">
                <c16:uniqueId val="{000003D1-22B4-4DF8-BAD3-C71D91B08C5E}"/>
              </c:ext>
            </c:extLst>
          </c:dPt>
          <c:dPt>
            <c:idx val="488"/>
            <c:invertIfNegative val="1"/>
            <c:bubble3D val="0"/>
            <c:spPr>
              <a:solidFill>
                <a:srgbClr val="AEABAB"/>
              </a:solidFill>
            </c:spPr>
            <c:extLst>
              <c:ext xmlns:c16="http://schemas.microsoft.com/office/drawing/2014/chart" uri="{C3380CC4-5D6E-409C-BE32-E72D297353CC}">
                <c16:uniqueId val="{000003D3-22B4-4DF8-BAD3-C71D91B08C5E}"/>
              </c:ext>
            </c:extLst>
          </c:dPt>
          <c:dPt>
            <c:idx val="489"/>
            <c:invertIfNegative val="1"/>
            <c:bubble3D val="0"/>
            <c:spPr>
              <a:solidFill>
                <a:srgbClr val="AEABAB"/>
              </a:solidFill>
            </c:spPr>
            <c:extLst>
              <c:ext xmlns:c16="http://schemas.microsoft.com/office/drawing/2014/chart" uri="{C3380CC4-5D6E-409C-BE32-E72D297353CC}">
                <c16:uniqueId val="{000003D5-22B4-4DF8-BAD3-C71D91B08C5E}"/>
              </c:ext>
            </c:extLst>
          </c:dPt>
          <c:dPt>
            <c:idx val="490"/>
            <c:invertIfNegative val="1"/>
            <c:bubble3D val="0"/>
            <c:spPr>
              <a:solidFill>
                <a:srgbClr val="AEABAB"/>
              </a:solidFill>
            </c:spPr>
            <c:extLst>
              <c:ext xmlns:c16="http://schemas.microsoft.com/office/drawing/2014/chart" uri="{C3380CC4-5D6E-409C-BE32-E72D297353CC}">
                <c16:uniqueId val="{000003D7-22B4-4DF8-BAD3-C71D91B08C5E}"/>
              </c:ext>
            </c:extLst>
          </c:dPt>
          <c:dPt>
            <c:idx val="491"/>
            <c:invertIfNegative val="1"/>
            <c:bubble3D val="0"/>
            <c:spPr>
              <a:solidFill>
                <a:srgbClr val="AEABAB"/>
              </a:solidFill>
            </c:spPr>
            <c:extLst>
              <c:ext xmlns:c16="http://schemas.microsoft.com/office/drawing/2014/chart" uri="{C3380CC4-5D6E-409C-BE32-E72D297353CC}">
                <c16:uniqueId val="{000003D9-22B4-4DF8-BAD3-C71D91B08C5E}"/>
              </c:ext>
            </c:extLst>
          </c:dPt>
          <c:dPt>
            <c:idx val="492"/>
            <c:invertIfNegative val="1"/>
            <c:bubble3D val="0"/>
            <c:spPr>
              <a:solidFill>
                <a:srgbClr val="AEABAB"/>
              </a:solidFill>
            </c:spPr>
            <c:extLst>
              <c:ext xmlns:c16="http://schemas.microsoft.com/office/drawing/2014/chart" uri="{C3380CC4-5D6E-409C-BE32-E72D297353CC}">
                <c16:uniqueId val="{000003DB-22B4-4DF8-BAD3-C71D91B08C5E}"/>
              </c:ext>
            </c:extLst>
          </c:dPt>
          <c:dPt>
            <c:idx val="493"/>
            <c:invertIfNegative val="1"/>
            <c:bubble3D val="0"/>
            <c:spPr>
              <a:solidFill>
                <a:srgbClr val="AEABAB"/>
              </a:solidFill>
            </c:spPr>
            <c:extLst>
              <c:ext xmlns:c16="http://schemas.microsoft.com/office/drawing/2014/chart" uri="{C3380CC4-5D6E-409C-BE32-E72D297353CC}">
                <c16:uniqueId val="{000003DD-22B4-4DF8-BAD3-C71D91B08C5E}"/>
              </c:ext>
            </c:extLst>
          </c:dPt>
          <c:dPt>
            <c:idx val="494"/>
            <c:invertIfNegative val="1"/>
            <c:bubble3D val="0"/>
            <c:spPr>
              <a:solidFill>
                <a:srgbClr val="AEABAB"/>
              </a:solidFill>
            </c:spPr>
            <c:extLst>
              <c:ext xmlns:c16="http://schemas.microsoft.com/office/drawing/2014/chart" uri="{C3380CC4-5D6E-409C-BE32-E72D297353CC}">
                <c16:uniqueId val="{000003DF-22B4-4DF8-BAD3-C71D91B08C5E}"/>
              </c:ext>
            </c:extLst>
          </c:dPt>
          <c:dPt>
            <c:idx val="495"/>
            <c:invertIfNegative val="1"/>
            <c:bubble3D val="0"/>
            <c:spPr>
              <a:solidFill>
                <a:srgbClr val="AEABAB"/>
              </a:solidFill>
            </c:spPr>
            <c:extLst>
              <c:ext xmlns:c16="http://schemas.microsoft.com/office/drawing/2014/chart" uri="{C3380CC4-5D6E-409C-BE32-E72D297353CC}">
                <c16:uniqueId val="{000003E1-22B4-4DF8-BAD3-C71D91B08C5E}"/>
              </c:ext>
            </c:extLst>
          </c:dPt>
          <c:dPt>
            <c:idx val="496"/>
            <c:invertIfNegative val="1"/>
            <c:bubble3D val="0"/>
            <c:spPr>
              <a:solidFill>
                <a:srgbClr val="AEABAB"/>
              </a:solidFill>
            </c:spPr>
            <c:extLst>
              <c:ext xmlns:c16="http://schemas.microsoft.com/office/drawing/2014/chart" uri="{C3380CC4-5D6E-409C-BE32-E72D297353CC}">
                <c16:uniqueId val="{000003E3-22B4-4DF8-BAD3-C71D91B08C5E}"/>
              </c:ext>
            </c:extLst>
          </c:dPt>
          <c:dPt>
            <c:idx val="497"/>
            <c:invertIfNegative val="1"/>
            <c:bubble3D val="0"/>
            <c:spPr>
              <a:solidFill>
                <a:srgbClr val="AEABAB"/>
              </a:solidFill>
            </c:spPr>
            <c:extLst>
              <c:ext xmlns:c16="http://schemas.microsoft.com/office/drawing/2014/chart" uri="{C3380CC4-5D6E-409C-BE32-E72D297353CC}">
                <c16:uniqueId val="{000003E5-22B4-4DF8-BAD3-C71D91B08C5E}"/>
              </c:ext>
            </c:extLst>
          </c:dPt>
          <c:dPt>
            <c:idx val="498"/>
            <c:invertIfNegative val="1"/>
            <c:bubble3D val="0"/>
            <c:spPr>
              <a:solidFill>
                <a:srgbClr val="AEABAB"/>
              </a:solidFill>
            </c:spPr>
            <c:extLst>
              <c:ext xmlns:c16="http://schemas.microsoft.com/office/drawing/2014/chart" uri="{C3380CC4-5D6E-409C-BE32-E72D297353CC}">
                <c16:uniqueId val="{000003E7-22B4-4DF8-BAD3-C71D91B08C5E}"/>
              </c:ext>
            </c:extLst>
          </c:dPt>
          <c:dPt>
            <c:idx val="499"/>
            <c:invertIfNegative val="1"/>
            <c:bubble3D val="0"/>
            <c:spPr>
              <a:solidFill>
                <a:srgbClr val="AEABAB"/>
              </a:solidFill>
            </c:spPr>
            <c:extLst>
              <c:ext xmlns:c16="http://schemas.microsoft.com/office/drawing/2014/chart" uri="{C3380CC4-5D6E-409C-BE32-E72D297353CC}">
                <c16:uniqueId val="{000003E9-22B4-4DF8-BAD3-C71D91B08C5E}"/>
              </c:ext>
            </c:extLst>
          </c:dPt>
          <c:dPt>
            <c:idx val="500"/>
            <c:invertIfNegative val="1"/>
            <c:bubble3D val="0"/>
            <c:spPr>
              <a:solidFill>
                <a:srgbClr val="AEABAB"/>
              </a:solidFill>
            </c:spPr>
            <c:extLst>
              <c:ext xmlns:c16="http://schemas.microsoft.com/office/drawing/2014/chart" uri="{C3380CC4-5D6E-409C-BE32-E72D297353CC}">
                <c16:uniqueId val="{000003EB-22B4-4DF8-BAD3-C71D91B08C5E}"/>
              </c:ext>
            </c:extLst>
          </c:dPt>
          <c:dPt>
            <c:idx val="501"/>
            <c:invertIfNegative val="1"/>
            <c:bubble3D val="0"/>
            <c:spPr>
              <a:solidFill>
                <a:srgbClr val="AEABAB"/>
              </a:solidFill>
            </c:spPr>
            <c:extLst>
              <c:ext xmlns:c16="http://schemas.microsoft.com/office/drawing/2014/chart" uri="{C3380CC4-5D6E-409C-BE32-E72D297353CC}">
                <c16:uniqueId val="{000003ED-22B4-4DF8-BAD3-C71D91B08C5E}"/>
              </c:ext>
            </c:extLst>
          </c:dPt>
          <c:dPt>
            <c:idx val="502"/>
            <c:invertIfNegative val="1"/>
            <c:bubble3D val="0"/>
            <c:spPr>
              <a:solidFill>
                <a:srgbClr val="AEABAB"/>
              </a:solidFill>
            </c:spPr>
            <c:extLst>
              <c:ext xmlns:c16="http://schemas.microsoft.com/office/drawing/2014/chart" uri="{C3380CC4-5D6E-409C-BE32-E72D297353CC}">
                <c16:uniqueId val="{000003EF-22B4-4DF8-BAD3-C71D91B08C5E}"/>
              </c:ext>
            </c:extLst>
          </c:dPt>
          <c:dPt>
            <c:idx val="503"/>
            <c:invertIfNegative val="1"/>
            <c:bubble3D val="0"/>
            <c:spPr>
              <a:solidFill>
                <a:srgbClr val="AEABAB"/>
              </a:solidFill>
            </c:spPr>
            <c:extLst>
              <c:ext xmlns:c16="http://schemas.microsoft.com/office/drawing/2014/chart" uri="{C3380CC4-5D6E-409C-BE32-E72D297353CC}">
                <c16:uniqueId val="{000003F1-22B4-4DF8-BAD3-C71D91B08C5E}"/>
              </c:ext>
            </c:extLst>
          </c:dPt>
          <c:dPt>
            <c:idx val="504"/>
            <c:invertIfNegative val="1"/>
            <c:bubble3D val="0"/>
            <c:spPr>
              <a:solidFill>
                <a:srgbClr val="AEABAB"/>
              </a:solidFill>
            </c:spPr>
            <c:extLst>
              <c:ext xmlns:c16="http://schemas.microsoft.com/office/drawing/2014/chart" uri="{C3380CC4-5D6E-409C-BE32-E72D297353CC}">
                <c16:uniqueId val="{000003F3-22B4-4DF8-BAD3-C71D91B08C5E}"/>
              </c:ext>
            </c:extLst>
          </c:dPt>
          <c:dPt>
            <c:idx val="505"/>
            <c:invertIfNegative val="1"/>
            <c:bubble3D val="0"/>
            <c:spPr>
              <a:solidFill>
                <a:srgbClr val="AEABAB"/>
              </a:solidFill>
            </c:spPr>
            <c:extLst>
              <c:ext xmlns:c16="http://schemas.microsoft.com/office/drawing/2014/chart" uri="{C3380CC4-5D6E-409C-BE32-E72D297353CC}">
                <c16:uniqueId val="{000003F5-22B4-4DF8-BAD3-C71D91B08C5E}"/>
              </c:ext>
            </c:extLst>
          </c:dPt>
          <c:dPt>
            <c:idx val="506"/>
            <c:invertIfNegative val="1"/>
            <c:bubble3D val="0"/>
            <c:spPr>
              <a:solidFill>
                <a:srgbClr val="AEABAB"/>
              </a:solidFill>
            </c:spPr>
            <c:extLst>
              <c:ext xmlns:c16="http://schemas.microsoft.com/office/drawing/2014/chart" uri="{C3380CC4-5D6E-409C-BE32-E72D297353CC}">
                <c16:uniqueId val="{000003F7-22B4-4DF8-BAD3-C71D91B08C5E}"/>
              </c:ext>
            </c:extLst>
          </c:dPt>
          <c:dPt>
            <c:idx val="507"/>
            <c:invertIfNegative val="1"/>
            <c:bubble3D val="0"/>
            <c:spPr>
              <a:solidFill>
                <a:srgbClr val="AEABAB"/>
              </a:solidFill>
            </c:spPr>
            <c:extLst>
              <c:ext xmlns:c16="http://schemas.microsoft.com/office/drawing/2014/chart" uri="{C3380CC4-5D6E-409C-BE32-E72D297353CC}">
                <c16:uniqueId val="{000003F9-22B4-4DF8-BAD3-C71D91B08C5E}"/>
              </c:ext>
            </c:extLst>
          </c:dPt>
          <c:dPt>
            <c:idx val="508"/>
            <c:invertIfNegative val="1"/>
            <c:bubble3D val="0"/>
            <c:spPr>
              <a:solidFill>
                <a:srgbClr val="AEABAB"/>
              </a:solidFill>
            </c:spPr>
            <c:extLst>
              <c:ext xmlns:c16="http://schemas.microsoft.com/office/drawing/2014/chart" uri="{C3380CC4-5D6E-409C-BE32-E72D297353CC}">
                <c16:uniqueId val="{000003FB-22B4-4DF8-BAD3-C71D91B08C5E}"/>
              </c:ext>
            </c:extLst>
          </c:dPt>
          <c:dPt>
            <c:idx val="509"/>
            <c:invertIfNegative val="1"/>
            <c:bubble3D val="0"/>
            <c:spPr>
              <a:solidFill>
                <a:srgbClr val="AEABAB"/>
              </a:solidFill>
            </c:spPr>
            <c:extLst>
              <c:ext xmlns:c16="http://schemas.microsoft.com/office/drawing/2014/chart" uri="{C3380CC4-5D6E-409C-BE32-E72D297353CC}">
                <c16:uniqueId val="{000003FD-22B4-4DF8-BAD3-C71D91B08C5E}"/>
              </c:ext>
            </c:extLst>
          </c:dPt>
          <c:dPt>
            <c:idx val="510"/>
            <c:invertIfNegative val="1"/>
            <c:bubble3D val="0"/>
            <c:spPr>
              <a:solidFill>
                <a:srgbClr val="AEABAB"/>
              </a:solidFill>
            </c:spPr>
            <c:extLst>
              <c:ext xmlns:c16="http://schemas.microsoft.com/office/drawing/2014/chart" uri="{C3380CC4-5D6E-409C-BE32-E72D297353CC}">
                <c16:uniqueId val="{000003FF-22B4-4DF8-BAD3-C71D91B08C5E}"/>
              </c:ext>
            </c:extLst>
          </c:dPt>
          <c:dPt>
            <c:idx val="511"/>
            <c:invertIfNegative val="1"/>
            <c:bubble3D val="0"/>
            <c:spPr>
              <a:solidFill>
                <a:srgbClr val="AEABAB"/>
              </a:solidFill>
            </c:spPr>
            <c:extLst>
              <c:ext xmlns:c16="http://schemas.microsoft.com/office/drawing/2014/chart" uri="{C3380CC4-5D6E-409C-BE32-E72D297353CC}">
                <c16:uniqueId val="{00000401-22B4-4DF8-BAD3-C71D91B08C5E}"/>
              </c:ext>
            </c:extLst>
          </c:dPt>
          <c:dPt>
            <c:idx val="512"/>
            <c:invertIfNegative val="1"/>
            <c:bubble3D val="0"/>
            <c:spPr>
              <a:solidFill>
                <a:srgbClr val="AEABAB"/>
              </a:solidFill>
            </c:spPr>
            <c:extLst>
              <c:ext xmlns:c16="http://schemas.microsoft.com/office/drawing/2014/chart" uri="{C3380CC4-5D6E-409C-BE32-E72D297353CC}">
                <c16:uniqueId val="{00000403-22B4-4DF8-BAD3-C71D91B08C5E}"/>
              </c:ext>
            </c:extLst>
          </c:dPt>
          <c:dPt>
            <c:idx val="513"/>
            <c:invertIfNegative val="1"/>
            <c:bubble3D val="0"/>
            <c:spPr>
              <a:solidFill>
                <a:srgbClr val="AEABAB"/>
              </a:solidFill>
            </c:spPr>
            <c:extLst>
              <c:ext xmlns:c16="http://schemas.microsoft.com/office/drawing/2014/chart" uri="{C3380CC4-5D6E-409C-BE32-E72D297353CC}">
                <c16:uniqueId val="{00000405-22B4-4DF8-BAD3-C71D91B08C5E}"/>
              </c:ext>
            </c:extLst>
          </c:dPt>
          <c:dPt>
            <c:idx val="514"/>
            <c:invertIfNegative val="1"/>
            <c:bubble3D val="0"/>
            <c:spPr>
              <a:solidFill>
                <a:srgbClr val="AEABAB"/>
              </a:solidFill>
            </c:spPr>
            <c:extLst>
              <c:ext xmlns:c16="http://schemas.microsoft.com/office/drawing/2014/chart" uri="{C3380CC4-5D6E-409C-BE32-E72D297353CC}">
                <c16:uniqueId val="{00000407-22B4-4DF8-BAD3-C71D91B08C5E}"/>
              </c:ext>
            </c:extLst>
          </c:dPt>
          <c:dPt>
            <c:idx val="515"/>
            <c:invertIfNegative val="1"/>
            <c:bubble3D val="0"/>
            <c:spPr>
              <a:solidFill>
                <a:srgbClr val="AEABAB"/>
              </a:solidFill>
            </c:spPr>
            <c:extLst>
              <c:ext xmlns:c16="http://schemas.microsoft.com/office/drawing/2014/chart" uri="{C3380CC4-5D6E-409C-BE32-E72D297353CC}">
                <c16:uniqueId val="{00000409-22B4-4DF8-BAD3-C71D91B08C5E}"/>
              </c:ext>
            </c:extLst>
          </c:dPt>
          <c:dPt>
            <c:idx val="516"/>
            <c:invertIfNegative val="1"/>
            <c:bubble3D val="0"/>
            <c:spPr>
              <a:solidFill>
                <a:srgbClr val="AEABAB"/>
              </a:solidFill>
            </c:spPr>
            <c:extLst>
              <c:ext xmlns:c16="http://schemas.microsoft.com/office/drawing/2014/chart" uri="{C3380CC4-5D6E-409C-BE32-E72D297353CC}">
                <c16:uniqueId val="{0000040B-22B4-4DF8-BAD3-C71D91B08C5E}"/>
              </c:ext>
            </c:extLst>
          </c:dPt>
          <c:dPt>
            <c:idx val="517"/>
            <c:invertIfNegative val="1"/>
            <c:bubble3D val="0"/>
            <c:spPr>
              <a:solidFill>
                <a:srgbClr val="AEABAB"/>
              </a:solidFill>
            </c:spPr>
            <c:extLst>
              <c:ext xmlns:c16="http://schemas.microsoft.com/office/drawing/2014/chart" uri="{C3380CC4-5D6E-409C-BE32-E72D297353CC}">
                <c16:uniqueId val="{0000040D-22B4-4DF8-BAD3-C71D91B08C5E}"/>
              </c:ext>
            </c:extLst>
          </c:dPt>
          <c:dPt>
            <c:idx val="518"/>
            <c:invertIfNegative val="1"/>
            <c:bubble3D val="0"/>
            <c:spPr>
              <a:solidFill>
                <a:srgbClr val="AEABAB"/>
              </a:solidFill>
            </c:spPr>
            <c:extLst>
              <c:ext xmlns:c16="http://schemas.microsoft.com/office/drawing/2014/chart" uri="{C3380CC4-5D6E-409C-BE32-E72D297353CC}">
                <c16:uniqueId val="{0000040F-22B4-4DF8-BAD3-C71D91B08C5E}"/>
              </c:ext>
            </c:extLst>
          </c:dPt>
          <c:dPt>
            <c:idx val="519"/>
            <c:invertIfNegative val="1"/>
            <c:bubble3D val="0"/>
            <c:spPr>
              <a:solidFill>
                <a:srgbClr val="AEABAB"/>
              </a:solidFill>
            </c:spPr>
            <c:extLst>
              <c:ext xmlns:c16="http://schemas.microsoft.com/office/drawing/2014/chart" uri="{C3380CC4-5D6E-409C-BE32-E72D297353CC}">
                <c16:uniqueId val="{00000411-22B4-4DF8-BAD3-C71D91B08C5E}"/>
              </c:ext>
            </c:extLst>
          </c:dPt>
          <c:dPt>
            <c:idx val="520"/>
            <c:invertIfNegative val="1"/>
            <c:bubble3D val="0"/>
            <c:spPr>
              <a:solidFill>
                <a:srgbClr val="AEABAB"/>
              </a:solidFill>
            </c:spPr>
            <c:extLst>
              <c:ext xmlns:c16="http://schemas.microsoft.com/office/drawing/2014/chart" uri="{C3380CC4-5D6E-409C-BE32-E72D297353CC}">
                <c16:uniqueId val="{00000413-22B4-4DF8-BAD3-C71D91B08C5E}"/>
              </c:ext>
            </c:extLst>
          </c:dPt>
          <c:dPt>
            <c:idx val="521"/>
            <c:invertIfNegative val="1"/>
            <c:bubble3D val="0"/>
            <c:spPr>
              <a:solidFill>
                <a:srgbClr val="AEABAB"/>
              </a:solidFill>
            </c:spPr>
            <c:extLst>
              <c:ext xmlns:c16="http://schemas.microsoft.com/office/drawing/2014/chart" uri="{C3380CC4-5D6E-409C-BE32-E72D297353CC}">
                <c16:uniqueId val="{00000415-22B4-4DF8-BAD3-C71D91B08C5E}"/>
              </c:ext>
            </c:extLst>
          </c:dPt>
          <c:dPt>
            <c:idx val="522"/>
            <c:invertIfNegative val="1"/>
            <c:bubble3D val="0"/>
            <c:spPr>
              <a:solidFill>
                <a:srgbClr val="AEABAB"/>
              </a:solidFill>
            </c:spPr>
            <c:extLst>
              <c:ext xmlns:c16="http://schemas.microsoft.com/office/drawing/2014/chart" uri="{C3380CC4-5D6E-409C-BE32-E72D297353CC}">
                <c16:uniqueId val="{00000417-22B4-4DF8-BAD3-C71D91B08C5E}"/>
              </c:ext>
            </c:extLst>
          </c:dPt>
          <c:dPt>
            <c:idx val="523"/>
            <c:invertIfNegative val="1"/>
            <c:bubble3D val="0"/>
            <c:spPr>
              <a:solidFill>
                <a:srgbClr val="AEABAB"/>
              </a:solidFill>
            </c:spPr>
            <c:extLst>
              <c:ext xmlns:c16="http://schemas.microsoft.com/office/drawing/2014/chart" uri="{C3380CC4-5D6E-409C-BE32-E72D297353CC}">
                <c16:uniqueId val="{00000419-22B4-4DF8-BAD3-C71D91B08C5E}"/>
              </c:ext>
            </c:extLst>
          </c:dPt>
          <c:dPt>
            <c:idx val="524"/>
            <c:invertIfNegative val="1"/>
            <c:bubble3D val="0"/>
            <c:spPr>
              <a:solidFill>
                <a:srgbClr val="AEABAB"/>
              </a:solidFill>
            </c:spPr>
            <c:extLst>
              <c:ext xmlns:c16="http://schemas.microsoft.com/office/drawing/2014/chart" uri="{C3380CC4-5D6E-409C-BE32-E72D297353CC}">
                <c16:uniqueId val="{0000041B-22B4-4DF8-BAD3-C71D91B08C5E}"/>
              </c:ext>
            </c:extLst>
          </c:dPt>
          <c:dPt>
            <c:idx val="525"/>
            <c:invertIfNegative val="1"/>
            <c:bubble3D val="0"/>
            <c:spPr>
              <a:solidFill>
                <a:srgbClr val="AEABAB"/>
              </a:solidFill>
            </c:spPr>
            <c:extLst>
              <c:ext xmlns:c16="http://schemas.microsoft.com/office/drawing/2014/chart" uri="{C3380CC4-5D6E-409C-BE32-E72D297353CC}">
                <c16:uniqueId val="{0000041D-22B4-4DF8-BAD3-C71D91B08C5E}"/>
              </c:ext>
            </c:extLst>
          </c:dPt>
          <c:dPt>
            <c:idx val="526"/>
            <c:invertIfNegative val="1"/>
            <c:bubble3D val="0"/>
            <c:spPr>
              <a:solidFill>
                <a:srgbClr val="AEABAB"/>
              </a:solidFill>
            </c:spPr>
            <c:extLst>
              <c:ext xmlns:c16="http://schemas.microsoft.com/office/drawing/2014/chart" uri="{C3380CC4-5D6E-409C-BE32-E72D297353CC}">
                <c16:uniqueId val="{0000041F-22B4-4DF8-BAD3-C71D91B08C5E}"/>
              </c:ext>
            </c:extLst>
          </c:dPt>
          <c:dPt>
            <c:idx val="527"/>
            <c:invertIfNegative val="1"/>
            <c:bubble3D val="0"/>
            <c:spPr>
              <a:solidFill>
                <a:srgbClr val="AEABAB"/>
              </a:solidFill>
            </c:spPr>
            <c:extLst>
              <c:ext xmlns:c16="http://schemas.microsoft.com/office/drawing/2014/chart" uri="{C3380CC4-5D6E-409C-BE32-E72D297353CC}">
                <c16:uniqueId val="{00000421-22B4-4DF8-BAD3-C71D91B08C5E}"/>
              </c:ext>
            </c:extLst>
          </c:dPt>
          <c:dPt>
            <c:idx val="528"/>
            <c:invertIfNegative val="1"/>
            <c:bubble3D val="0"/>
            <c:spPr>
              <a:solidFill>
                <a:srgbClr val="AEABAB"/>
              </a:solidFill>
            </c:spPr>
            <c:extLst>
              <c:ext xmlns:c16="http://schemas.microsoft.com/office/drawing/2014/chart" uri="{C3380CC4-5D6E-409C-BE32-E72D297353CC}">
                <c16:uniqueId val="{00000423-22B4-4DF8-BAD3-C71D91B08C5E}"/>
              </c:ext>
            </c:extLst>
          </c:dPt>
          <c:dPt>
            <c:idx val="529"/>
            <c:invertIfNegative val="1"/>
            <c:bubble3D val="0"/>
            <c:spPr>
              <a:solidFill>
                <a:srgbClr val="AEABAB"/>
              </a:solidFill>
            </c:spPr>
            <c:extLst>
              <c:ext xmlns:c16="http://schemas.microsoft.com/office/drawing/2014/chart" uri="{C3380CC4-5D6E-409C-BE32-E72D297353CC}">
                <c16:uniqueId val="{00000425-22B4-4DF8-BAD3-C71D91B08C5E}"/>
              </c:ext>
            </c:extLst>
          </c:dPt>
          <c:dPt>
            <c:idx val="530"/>
            <c:invertIfNegative val="1"/>
            <c:bubble3D val="0"/>
            <c:spPr>
              <a:solidFill>
                <a:srgbClr val="AEABAB"/>
              </a:solidFill>
            </c:spPr>
            <c:extLst>
              <c:ext xmlns:c16="http://schemas.microsoft.com/office/drawing/2014/chart" uri="{C3380CC4-5D6E-409C-BE32-E72D297353CC}">
                <c16:uniqueId val="{00000427-22B4-4DF8-BAD3-C71D91B08C5E}"/>
              </c:ext>
            </c:extLst>
          </c:dPt>
          <c:dPt>
            <c:idx val="531"/>
            <c:invertIfNegative val="1"/>
            <c:bubble3D val="0"/>
            <c:spPr>
              <a:solidFill>
                <a:srgbClr val="AEABAB"/>
              </a:solidFill>
            </c:spPr>
            <c:extLst>
              <c:ext xmlns:c16="http://schemas.microsoft.com/office/drawing/2014/chart" uri="{C3380CC4-5D6E-409C-BE32-E72D297353CC}">
                <c16:uniqueId val="{00000429-22B4-4DF8-BAD3-C71D91B08C5E}"/>
              </c:ext>
            </c:extLst>
          </c:dPt>
          <c:dPt>
            <c:idx val="532"/>
            <c:invertIfNegative val="1"/>
            <c:bubble3D val="0"/>
            <c:spPr>
              <a:solidFill>
                <a:srgbClr val="AEABAB"/>
              </a:solidFill>
            </c:spPr>
            <c:extLst>
              <c:ext xmlns:c16="http://schemas.microsoft.com/office/drawing/2014/chart" uri="{C3380CC4-5D6E-409C-BE32-E72D297353CC}">
                <c16:uniqueId val="{0000042B-22B4-4DF8-BAD3-C71D91B08C5E}"/>
              </c:ext>
            </c:extLst>
          </c:dPt>
          <c:dPt>
            <c:idx val="533"/>
            <c:invertIfNegative val="1"/>
            <c:bubble3D val="0"/>
            <c:spPr>
              <a:solidFill>
                <a:srgbClr val="AEABAB"/>
              </a:solidFill>
            </c:spPr>
            <c:extLst>
              <c:ext xmlns:c16="http://schemas.microsoft.com/office/drawing/2014/chart" uri="{C3380CC4-5D6E-409C-BE32-E72D297353CC}">
                <c16:uniqueId val="{0000042D-22B4-4DF8-BAD3-C71D91B08C5E}"/>
              </c:ext>
            </c:extLst>
          </c:dPt>
          <c:dPt>
            <c:idx val="534"/>
            <c:invertIfNegative val="1"/>
            <c:bubble3D val="0"/>
            <c:spPr>
              <a:solidFill>
                <a:srgbClr val="AEABAB"/>
              </a:solidFill>
            </c:spPr>
            <c:extLst>
              <c:ext xmlns:c16="http://schemas.microsoft.com/office/drawing/2014/chart" uri="{C3380CC4-5D6E-409C-BE32-E72D297353CC}">
                <c16:uniqueId val="{0000042F-22B4-4DF8-BAD3-C71D91B08C5E}"/>
              </c:ext>
            </c:extLst>
          </c:dPt>
          <c:dPt>
            <c:idx val="535"/>
            <c:invertIfNegative val="1"/>
            <c:bubble3D val="0"/>
            <c:spPr>
              <a:solidFill>
                <a:srgbClr val="AEABAB"/>
              </a:solidFill>
            </c:spPr>
            <c:extLst>
              <c:ext xmlns:c16="http://schemas.microsoft.com/office/drawing/2014/chart" uri="{C3380CC4-5D6E-409C-BE32-E72D297353CC}">
                <c16:uniqueId val="{00000431-22B4-4DF8-BAD3-C71D91B08C5E}"/>
              </c:ext>
            </c:extLst>
          </c:dPt>
          <c:dPt>
            <c:idx val="536"/>
            <c:invertIfNegative val="1"/>
            <c:bubble3D val="0"/>
            <c:spPr>
              <a:solidFill>
                <a:srgbClr val="AEABAB"/>
              </a:solidFill>
            </c:spPr>
            <c:extLst>
              <c:ext xmlns:c16="http://schemas.microsoft.com/office/drawing/2014/chart" uri="{C3380CC4-5D6E-409C-BE32-E72D297353CC}">
                <c16:uniqueId val="{00000433-22B4-4DF8-BAD3-C71D91B08C5E}"/>
              </c:ext>
            </c:extLst>
          </c:dPt>
          <c:dPt>
            <c:idx val="537"/>
            <c:invertIfNegative val="1"/>
            <c:bubble3D val="0"/>
            <c:spPr>
              <a:solidFill>
                <a:srgbClr val="AEABAB"/>
              </a:solidFill>
            </c:spPr>
            <c:extLst>
              <c:ext xmlns:c16="http://schemas.microsoft.com/office/drawing/2014/chart" uri="{C3380CC4-5D6E-409C-BE32-E72D297353CC}">
                <c16:uniqueId val="{00000435-22B4-4DF8-BAD3-C71D91B08C5E}"/>
              </c:ext>
            </c:extLst>
          </c:dPt>
          <c:dPt>
            <c:idx val="538"/>
            <c:invertIfNegative val="1"/>
            <c:bubble3D val="0"/>
            <c:spPr>
              <a:solidFill>
                <a:srgbClr val="AEABAB"/>
              </a:solidFill>
            </c:spPr>
            <c:extLst>
              <c:ext xmlns:c16="http://schemas.microsoft.com/office/drawing/2014/chart" uri="{C3380CC4-5D6E-409C-BE32-E72D297353CC}">
                <c16:uniqueId val="{00000437-22B4-4DF8-BAD3-C71D91B08C5E}"/>
              </c:ext>
            </c:extLst>
          </c:dPt>
          <c:dPt>
            <c:idx val="539"/>
            <c:invertIfNegative val="1"/>
            <c:bubble3D val="0"/>
            <c:spPr>
              <a:solidFill>
                <a:srgbClr val="AEABAB"/>
              </a:solidFill>
            </c:spPr>
            <c:extLst>
              <c:ext xmlns:c16="http://schemas.microsoft.com/office/drawing/2014/chart" uri="{C3380CC4-5D6E-409C-BE32-E72D297353CC}">
                <c16:uniqueId val="{00000439-22B4-4DF8-BAD3-C71D91B08C5E}"/>
              </c:ext>
            </c:extLst>
          </c:dPt>
          <c:dPt>
            <c:idx val="540"/>
            <c:invertIfNegative val="1"/>
            <c:bubble3D val="0"/>
            <c:spPr>
              <a:solidFill>
                <a:srgbClr val="AEABAB"/>
              </a:solidFill>
            </c:spPr>
            <c:extLst>
              <c:ext xmlns:c16="http://schemas.microsoft.com/office/drawing/2014/chart" uri="{C3380CC4-5D6E-409C-BE32-E72D297353CC}">
                <c16:uniqueId val="{0000043B-22B4-4DF8-BAD3-C71D91B08C5E}"/>
              </c:ext>
            </c:extLst>
          </c:dPt>
          <c:dPt>
            <c:idx val="541"/>
            <c:invertIfNegative val="1"/>
            <c:bubble3D val="0"/>
            <c:spPr>
              <a:solidFill>
                <a:srgbClr val="AEABAB"/>
              </a:solidFill>
            </c:spPr>
            <c:extLst>
              <c:ext xmlns:c16="http://schemas.microsoft.com/office/drawing/2014/chart" uri="{C3380CC4-5D6E-409C-BE32-E72D297353CC}">
                <c16:uniqueId val="{0000043D-22B4-4DF8-BAD3-C71D91B08C5E}"/>
              </c:ext>
            </c:extLst>
          </c:dPt>
          <c:dPt>
            <c:idx val="542"/>
            <c:invertIfNegative val="1"/>
            <c:bubble3D val="0"/>
            <c:spPr>
              <a:solidFill>
                <a:srgbClr val="AEABAB"/>
              </a:solidFill>
            </c:spPr>
            <c:extLst>
              <c:ext xmlns:c16="http://schemas.microsoft.com/office/drawing/2014/chart" uri="{C3380CC4-5D6E-409C-BE32-E72D297353CC}">
                <c16:uniqueId val="{0000043F-22B4-4DF8-BAD3-C71D91B08C5E}"/>
              </c:ext>
            </c:extLst>
          </c:dPt>
          <c:dPt>
            <c:idx val="543"/>
            <c:invertIfNegative val="1"/>
            <c:bubble3D val="0"/>
            <c:spPr>
              <a:solidFill>
                <a:srgbClr val="AEABAB"/>
              </a:solidFill>
            </c:spPr>
            <c:extLst>
              <c:ext xmlns:c16="http://schemas.microsoft.com/office/drawing/2014/chart" uri="{C3380CC4-5D6E-409C-BE32-E72D297353CC}">
                <c16:uniqueId val="{00000441-22B4-4DF8-BAD3-C71D91B08C5E}"/>
              </c:ext>
            </c:extLst>
          </c:dPt>
          <c:dPt>
            <c:idx val="544"/>
            <c:invertIfNegative val="1"/>
            <c:bubble3D val="0"/>
            <c:spPr>
              <a:solidFill>
                <a:srgbClr val="AEABAB"/>
              </a:solidFill>
            </c:spPr>
            <c:extLst>
              <c:ext xmlns:c16="http://schemas.microsoft.com/office/drawing/2014/chart" uri="{C3380CC4-5D6E-409C-BE32-E72D297353CC}">
                <c16:uniqueId val="{00000443-22B4-4DF8-BAD3-C71D91B08C5E}"/>
              </c:ext>
            </c:extLst>
          </c:dPt>
          <c:dPt>
            <c:idx val="545"/>
            <c:invertIfNegative val="1"/>
            <c:bubble3D val="0"/>
            <c:spPr>
              <a:solidFill>
                <a:srgbClr val="AEABAB"/>
              </a:solidFill>
            </c:spPr>
            <c:extLst>
              <c:ext xmlns:c16="http://schemas.microsoft.com/office/drawing/2014/chart" uri="{C3380CC4-5D6E-409C-BE32-E72D297353CC}">
                <c16:uniqueId val="{00000445-22B4-4DF8-BAD3-C71D91B08C5E}"/>
              </c:ext>
            </c:extLst>
          </c:dPt>
          <c:dPt>
            <c:idx val="546"/>
            <c:invertIfNegative val="1"/>
            <c:bubble3D val="0"/>
            <c:spPr>
              <a:solidFill>
                <a:srgbClr val="AEABAB"/>
              </a:solidFill>
            </c:spPr>
            <c:extLst>
              <c:ext xmlns:c16="http://schemas.microsoft.com/office/drawing/2014/chart" uri="{C3380CC4-5D6E-409C-BE32-E72D297353CC}">
                <c16:uniqueId val="{00000447-22B4-4DF8-BAD3-C71D91B08C5E}"/>
              </c:ext>
            </c:extLst>
          </c:dPt>
          <c:dPt>
            <c:idx val="547"/>
            <c:invertIfNegative val="1"/>
            <c:bubble3D val="0"/>
            <c:spPr>
              <a:solidFill>
                <a:srgbClr val="AEABAB"/>
              </a:solidFill>
            </c:spPr>
            <c:extLst>
              <c:ext xmlns:c16="http://schemas.microsoft.com/office/drawing/2014/chart" uri="{C3380CC4-5D6E-409C-BE32-E72D297353CC}">
                <c16:uniqueId val="{00000449-22B4-4DF8-BAD3-C71D91B08C5E}"/>
              </c:ext>
            </c:extLst>
          </c:dPt>
          <c:dPt>
            <c:idx val="548"/>
            <c:invertIfNegative val="1"/>
            <c:bubble3D val="0"/>
            <c:spPr>
              <a:solidFill>
                <a:srgbClr val="AEABAB"/>
              </a:solidFill>
            </c:spPr>
            <c:extLst>
              <c:ext xmlns:c16="http://schemas.microsoft.com/office/drawing/2014/chart" uri="{C3380CC4-5D6E-409C-BE32-E72D297353CC}">
                <c16:uniqueId val="{0000044B-22B4-4DF8-BAD3-C71D91B08C5E}"/>
              </c:ext>
            </c:extLst>
          </c:dPt>
          <c:dPt>
            <c:idx val="549"/>
            <c:invertIfNegative val="1"/>
            <c:bubble3D val="0"/>
            <c:spPr>
              <a:solidFill>
                <a:srgbClr val="AEABAB"/>
              </a:solidFill>
            </c:spPr>
            <c:extLst>
              <c:ext xmlns:c16="http://schemas.microsoft.com/office/drawing/2014/chart" uri="{C3380CC4-5D6E-409C-BE32-E72D297353CC}">
                <c16:uniqueId val="{0000044D-22B4-4DF8-BAD3-C71D91B08C5E}"/>
              </c:ext>
            </c:extLst>
          </c:dPt>
          <c:dPt>
            <c:idx val="550"/>
            <c:invertIfNegative val="1"/>
            <c:bubble3D val="0"/>
            <c:spPr>
              <a:solidFill>
                <a:srgbClr val="AEABAB"/>
              </a:solidFill>
            </c:spPr>
            <c:extLst>
              <c:ext xmlns:c16="http://schemas.microsoft.com/office/drawing/2014/chart" uri="{C3380CC4-5D6E-409C-BE32-E72D297353CC}">
                <c16:uniqueId val="{0000044F-22B4-4DF8-BAD3-C71D91B08C5E}"/>
              </c:ext>
            </c:extLst>
          </c:dPt>
          <c:dPt>
            <c:idx val="551"/>
            <c:invertIfNegative val="1"/>
            <c:bubble3D val="0"/>
            <c:spPr>
              <a:solidFill>
                <a:srgbClr val="AEABAB"/>
              </a:solidFill>
            </c:spPr>
            <c:extLst>
              <c:ext xmlns:c16="http://schemas.microsoft.com/office/drawing/2014/chart" uri="{C3380CC4-5D6E-409C-BE32-E72D297353CC}">
                <c16:uniqueId val="{00000451-22B4-4DF8-BAD3-C71D91B08C5E}"/>
              </c:ext>
            </c:extLst>
          </c:dPt>
          <c:dPt>
            <c:idx val="552"/>
            <c:invertIfNegative val="1"/>
            <c:bubble3D val="0"/>
            <c:spPr>
              <a:solidFill>
                <a:srgbClr val="AEABAB"/>
              </a:solidFill>
            </c:spPr>
            <c:extLst>
              <c:ext xmlns:c16="http://schemas.microsoft.com/office/drawing/2014/chart" uri="{C3380CC4-5D6E-409C-BE32-E72D297353CC}">
                <c16:uniqueId val="{00000453-22B4-4DF8-BAD3-C71D91B08C5E}"/>
              </c:ext>
            </c:extLst>
          </c:dPt>
          <c:dPt>
            <c:idx val="553"/>
            <c:invertIfNegative val="1"/>
            <c:bubble3D val="0"/>
            <c:spPr>
              <a:solidFill>
                <a:srgbClr val="AEABAB"/>
              </a:solidFill>
            </c:spPr>
            <c:extLst>
              <c:ext xmlns:c16="http://schemas.microsoft.com/office/drawing/2014/chart" uri="{C3380CC4-5D6E-409C-BE32-E72D297353CC}">
                <c16:uniqueId val="{00000455-22B4-4DF8-BAD3-C71D91B08C5E}"/>
              </c:ext>
            </c:extLst>
          </c:dPt>
          <c:dPt>
            <c:idx val="554"/>
            <c:invertIfNegative val="1"/>
            <c:bubble3D val="0"/>
            <c:spPr>
              <a:solidFill>
                <a:srgbClr val="AEABAB"/>
              </a:solidFill>
            </c:spPr>
            <c:extLst>
              <c:ext xmlns:c16="http://schemas.microsoft.com/office/drawing/2014/chart" uri="{C3380CC4-5D6E-409C-BE32-E72D297353CC}">
                <c16:uniqueId val="{00000457-22B4-4DF8-BAD3-C71D91B08C5E}"/>
              </c:ext>
            </c:extLst>
          </c:dPt>
          <c:dPt>
            <c:idx val="555"/>
            <c:invertIfNegative val="1"/>
            <c:bubble3D val="0"/>
            <c:spPr>
              <a:solidFill>
                <a:srgbClr val="AEABAB"/>
              </a:solidFill>
            </c:spPr>
            <c:extLst>
              <c:ext xmlns:c16="http://schemas.microsoft.com/office/drawing/2014/chart" uri="{C3380CC4-5D6E-409C-BE32-E72D297353CC}">
                <c16:uniqueId val="{00000459-22B4-4DF8-BAD3-C71D91B08C5E}"/>
              </c:ext>
            </c:extLst>
          </c:dPt>
          <c:dPt>
            <c:idx val="556"/>
            <c:invertIfNegative val="1"/>
            <c:bubble3D val="0"/>
            <c:spPr>
              <a:solidFill>
                <a:srgbClr val="AEABAB"/>
              </a:solidFill>
            </c:spPr>
            <c:extLst>
              <c:ext xmlns:c16="http://schemas.microsoft.com/office/drawing/2014/chart" uri="{C3380CC4-5D6E-409C-BE32-E72D297353CC}">
                <c16:uniqueId val="{0000045B-22B4-4DF8-BAD3-C71D91B08C5E}"/>
              </c:ext>
            </c:extLst>
          </c:dPt>
          <c:dPt>
            <c:idx val="557"/>
            <c:invertIfNegative val="1"/>
            <c:bubble3D val="0"/>
            <c:spPr>
              <a:solidFill>
                <a:srgbClr val="AEABAB"/>
              </a:solidFill>
            </c:spPr>
            <c:extLst>
              <c:ext xmlns:c16="http://schemas.microsoft.com/office/drawing/2014/chart" uri="{C3380CC4-5D6E-409C-BE32-E72D297353CC}">
                <c16:uniqueId val="{0000045D-22B4-4DF8-BAD3-C71D91B08C5E}"/>
              </c:ext>
            </c:extLst>
          </c:dPt>
          <c:dPt>
            <c:idx val="558"/>
            <c:invertIfNegative val="1"/>
            <c:bubble3D val="0"/>
            <c:spPr>
              <a:solidFill>
                <a:srgbClr val="AEABAB"/>
              </a:solidFill>
            </c:spPr>
            <c:extLst>
              <c:ext xmlns:c16="http://schemas.microsoft.com/office/drawing/2014/chart" uri="{C3380CC4-5D6E-409C-BE32-E72D297353CC}">
                <c16:uniqueId val="{0000045F-22B4-4DF8-BAD3-C71D91B08C5E}"/>
              </c:ext>
            </c:extLst>
          </c:dPt>
          <c:dPt>
            <c:idx val="559"/>
            <c:invertIfNegative val="1"/>
            <c:bubble3D val="0"/>
            <c:spPr>
              <a:solidFill>
                <a:srgbClr val="AEABAB"/>
              </a:solidFill>
            </c:spPr>
            <c:extLst>
              <c:ext xmlns:c16="http://schemas.microsoft.com/office/drawing/2014/chart" uri="{C3380CC4-5D6E-409C-BE32-E72D297353CC}">
                <c16:uniqueId val="{00000461-22B4-4DF8-BAD3-C71D91B08C5E}"/>
              </c:ext>
            </c:extLst>
          </c:dPt>
          <c:dPt>
            <c:idx val="560"/>
            <c:invertIfNegative val="1"/>
            <c:bubble3D val="0"/>
            <c:spPr>
              <a:solidFill>
                <a:srgbClr val="AEABAB"/>
              </a:solidFill>
            </c:spPr>
            <c:extLst>
              <c:ext xmlns:c16="http://schemas.microsoft.com/office/drawing/2014/chart" uri="{C3380CC4-5D6E-409C-BE32-E72D297353CC}">
                <c16:uniqueId val="{00000463-22B4-4DF8-BAD3-C71D91B08C5E}"/>
              </c:ext>
            </c:extLst>
          </c:dPt>
          <c:dPt>
            <c:idx val="561"/>
            <c:invertIfNegative val="1"/>
            <c:bubble3D val="0"/>
            <c:spPr>
              <a:solidFill>
                <a:srgbClr val="AEABAB"/>
              </a:solidFill>
            </c:spPr>
            <c:extLst>
              <c:ext xmlns:c16="http://schemas.microsoft.com/office/drawing/2014/chart" uri="{C3380CC4-5D6E-409C-BE32-E72D297353CC}">
                <c16:uniqueId val="{00000465-22B4-4DF8-BAD3-C71D91B08C5E}"/>
              </c:ext>
            </c:extLst>
          </c:dPt>
          <c:dPt>
            <c:idx val="562"/>
            <c:invertIfNegative val="1"/>
            <c:bubble3D val="0"/>
            <c:spPr>
              <a:solidFill>
                <a:srgbClr val="AEABAB"/>
              </a:solidFill>
            </c:spPr>
            <c:extLst>
              <c:ext xmlns:c16="http://schemas.microsoft.com/office/drawing/2014/chart" uri="{C3380CC4-5D6E-409C-BE32-E72D297353CC}">
                <c16:uniqueId val="{00000467-22B4-4DF8-BAD3-C71D91B08C5E}"/>
              </c:ext>
            </c:extLst>
          </c:dPt>
          <c:dPt>
            <c:idx val="563"/>
            <c:invertIfNegative val="1"/>
            <c:bubble3D val="0"/>
            <c:spPr>
              <a:solidFill>
                <a:srgbClr val="AEABAB"/>
              </a:solidFill>
            </c:spPr>
            <c:extLst>
              <c:ext xmlns:c16="http://schemas.microsoft.com/office/drawing/2014/chart" uri="{C3380CC4-5D6E-409C-BE32-E72D297353CC}">
                <c16:uniqueId val="{00000469-22B4-4DF8-BAD3-C71D91B08C5E}"/>
              </c:ext>
            </c:extLst>
          </c:dPt>
          <c:dPt>
            <c:idx val="564"/>
            <c:invertIfNegative val="1"/>
            <c:bubble3D val="0"/>
            <c:spPr>
              <a:solidFill>
                <a:srgbClr val="AEABAB"/>
              </a:solidFill>
            </c:spPr>
            <c:extLst>
              <c:ext xmlns:c16="http://schemas.microsoft.com/office/drawing/2014/chart" uri="{C3380CC4-5D6E-409C-BE32-E72D297353CC}">
                <c16:uniqueId val="{0000046B-22B4-4DF8-BAD3-C71D91B08C5E}"/>
              </c:ext>
            </c:extLst>
          </c:dPt>
          <c:dPt>
            <c:idx val="565"/>
            <c:invertIfNegative val="1"/>
            <c:bubble3D val="0"/>
            <c:spPr>
              <a:solidFill>
                <a:srgbClr val="AEABAB"/>
              </a:solidFill>
            </c:spPr>
            <c:extLst>
              <c:ext xmlns:c16="http://schemas.microsoft.com/office/drawing/2014/chart" uri="{C3380CC4-5D6E-409C-BE32-E72D297353CC}">
                <c16:uniqueId val="{0000046D-22B4-4DF8-BAD3-C71D91B08C5E}"/>
              </c:ext>
            </c:extLst>
          </c:dPt>
          <c:dPt>
            <c:idx val="566"/>
            <c:invertIfNegative val="1"/>
            <c:bubble3D val="0"/>
            <c:spPr>
              <a:solidFill>
                <a:srgbClr val="AEABAB"/>
              </a:solidFill>
            </c:spPr>
            <c:extLst>
              <c:ext xmlns:c16="http://schemas.microsoft.com/office/drawing/2014/chart" uri="{C3380CC4-5D6E-409C-BE32-E72D297353CC}">
                <c16:uniqueId val="{0000046F-22B4-4DF8-BAD3-C71D91B08C5E}"/>
              </c:ext>
            </c:extLst>
          </c:dPt>
          <c:dPt>
            <c:idx val="567"/>
            <c:invertIfNegative val="1"/>
            <c:bubble3D val="0"/>
            <c:spPr>
              <a:solidFill>
                <a:srgbClr val="AEABAB"/>
              </a:solidFill>
            </c:spPr>
            <c:extLst>
              <c:ext xmlns:c16="http://schemas.microsoft.com/office/drawing/2014/chart" uri="{C3380CC4-5D6E-409C-BE32-E72D297353CC}">
                <c16:uniqueId val="{00000471-22B4-4DF8-BAD3-C71D91B08C5E}"/>
              </c:ext>
            </c:extLst>
          </c:dPt>
          <c:dPt>
            <c:idx val="568"/>
            <c:invertIfNegative val="1"/>
            <c:bubble3D val="0"/>
            <c:spPr>
              <a:solidFill>
                <a:srgbClr val="AEABAB"/>
              </a:solidFill>
            </c:spPr>
            <c:extLst>
              <c:ext xmlns:c16="http://schemas.microsoft.com/office/drawing/2014/chart" uri="{C3380CC4-5D6E-409C-BE32-E72D297353CC}">
                <c16:uniqueId val="{00000473-22B4-4DF8-BAD3-C71D91B08C5E}"/>
              </c:ext>
            </c:extLst>
          </c:dPt>
          <c:dPt>
            <c:idx val="569"/>
            <c:invertIfNegative val="1"/>
            <c:bubble3D val="0"/>
            <c:spPr>
              <a:solidFill>
                <a:srgbClr val="AEABAB"/>
              </a:solidFill>
            </c:spPr>
            <c:extLst>
              <c:ext xmlns:c16="http://schemas.microsoft.com/office/drawing/2014/chart" uri="{C3380CC4-5D6E-409C-BE32-E72D297353CC}">
                <c16:uniqueId val="{00000475-22B4-4DF8-BAD3-C71D91B08C5E}"/>
              </c:ext>
            </c:extLst>
          </c:dPt>
          <c:dPt>
            <c:idx val="570"/>
            <c:invertIfNegative val="1"/>
            <c:bubble3D val="0"/>
            <c:spPr>
              <a:solidFill>
                <a:srgbClr val="AEABAB"/>
              </a:solidFill>
            </c:spPr>
            <c:extLst>
              <c:ext xmlns:c16="http://schemas.microsoft.com/office/drawing/2014/chart" uri="{C3380CC4-5D6E-409C-BE32-E72D297353CC}">
                <c16:uniqueId val="{00000477-22B4-4DF8-BAD3-C71D91B08C5E}"/>
              </c:ext>
            </c:extLst>
          </c:dPt>
          <c:dPt>
            <c:idx val="571"/>
            <c:invertIfNegative val="1"/>
            <c:bubble3D val="0"/>
            <c:spPr>
              <a:solidFill>
                <a:srgbClr val="AEABAB"/>
              </a:solidFill>
            </c:spPr>
            <c:extLst>
              <c:ext xmlns:c16="http://schemas.microsoft.com/office/drawing/2014/chart" uri="{C3380CC4-5D6E-409C-BE32-E72D297353CC}">
                <c16:uniqueId val="{00000479-22B4-4DF8-BAD3-C71D91B08C5E}"/>
              </c:ext>
            </c:extLst>
          </c:dPt>
          <c:dPt>
            <c:idx val="572"/>
            <c:invertIfNegative val="1"/>
            <c:bubble3D val="0"/>
            <c:spPr>
              <a:solidFill>
                <a:srgbClr val="AEABAB"/>
              </a:solidFill>
            </c:spPr>
            <c:extLst>
              <c:ext xmlns:c16="http://schemas.microsoft.com/office/drawing/2014/chart" uri="{C3380CC4-5D6E-409C-BE32-E72D297353CC}">
                <c16:uniqueId val="{0000047B-22B4-4DF8-BAD3-C71D91B08C5E}"/>
              </c:ext>
            </c:extLst>
          </c:dPt>
          <c:dPt>
            <c:idx val="573"/>
            <c:invertIfNegative val="1"/>
            <c:bubble3D val="0"/>
            <c:spPr>
              <a:solidFill>
                <a:srgbClr val="AEABAB"/>
              </a:solidFill>
            </c:spPr>
            <c:extLst>
              <c:ext xmlns:c16="http://schemas.microsoft.com/office/drawing/2014/chart" uri="{C3380CC4-5D6E-409C-BE32-E72D297353CC}">
                <c16:uniqueId val="{0000047D-22B4-4DF8-BAD3-C71D91B08C5E}"/>
              </c:ext>
            </c:extLst>
          </c:dPt>
          <c:dPt>
            <c:idx val="574"/>
            <c:invertIfNegative val="1"/>
            <c:bubble3D val="0"/>
            <c:spPr>
              <a:solidFill>
                <a:srgbClr val="AEABAB"/>
              </a:solidFill>
            </c:spPr>
            <c:extLst>
              <c:ext xmlns:c16="http://schemas.microsoft.com/office/drawing/2014/chart" uri="{C3380CC4-5D6E-409C-BE32-E72D297353CC}">
                <c16:uniqueId val="{0000047F-22B4-4DF8-BAD3-C71D91B08C5E}"/>
              </c:ext>
            </c:extLst>
          </c:dPt>
          <c:dPt>
            <c:idx val="575"/>
            <c:invertIfNegative val="1"/>
            <c:bubble3D val="0"/>
            <c:spPr>
              <a:solidFill>
                <a:srgbClr val="AEABAB"/>
              </a:solidFill>
            </c:spPr>
            <c:extLst>
              <c:ext xmlns:c16="http://schemas.microsoft.com/office/drawing/2014/chart" uri="{C3380CC4-5D6E-409C-BE32-E72D297353CC}">
                <c16:uniqueId val="{00000481-22B4-4DF8-BAD3-C71D91B08C5E}"/>
              </c:ext>
            </c:extLst>
          </c:dPt>
          <c:dPt>
            <c:idx val="576"/>
            <c:invertIfNegative val="1"/>
            <c:bubble3D val="0"/>
            <c:spPr>
              <a:solidFill>
                <a:srgbClr val="AEABAB"/>
              </a:solidFill>
            </c:spPr>
            <c:extLst>
              <c:ext xmlns:c16="http://schemas.microsoft.com/office/drawing/2014/chart" uri="{C3380CC4-5D6E-409C-BE32-E72D297353CC}">
                <c16:uniqueId val="{00000483-22B4-4DF8-BAD3-C71D91B08C5E}"/>
              </c:ext>
            </c:extLst>
          </c:dPt>
          <c:dPt>
            <c:idx val="577"/>
            <c:invertIfNegative val="1"/>
            <c:bubble3D val="0"/>
            <c:spPr>
              <a:solidFill>
                <a:srgbClr val="AEABAB"/>
              </a:solidFill>
            </c:spPr>
            <c:extLst>
              <c:ext xmlns:c16="http://schemas.microsoft.com/office/drawing/2014/chart" uri="{C3380CC4-5D6E-409C-BE32-E72D297353CC}">
                <c16:uniqueId val="{00000485-22B4-4DF8-BAD3-C71D91B08C5E}"/>
              </c:ext>
            </c:extLst>
          </c:dPt>
          <c:dPt>
            <c:idx val="578"/>
            <c:invertIfNegative val="1"/>
            <c:bubble3D val="0"/>
            <c:spPr>
              <a:solidFill>
                <a:srgbClr val="AEABAB"/>
              </a:solidFill>
            </c:spPr>
            <c:extLst>
              <c:ext xmlns:c16="http://schemas.microsoft.com/office/drawing/2014/chart" uri="{C3380CC4-5D6E-409C-BE32-E72D297353CC}">
                <c16:uniqueId val="{00000487-22B4-4DF8-BAD3-C71D91B08C5E}"/>
              </c:ext>
            </c:extLst>
          </c:dPt>
          <c:dPt>
            <c:idx val="579"/>
            <c:invertIfNegative val="1"/>
            <c:bubble3D val="0"/>
            <c:spPr>
              <a:solidFill>
                <a:srgbClr val="AEABAB"/>
              </a:solidFill>
            </c:spPr>
            <c:extLst>
              <c:ext xmlns:c16="http://schemas.microsoft.com/office/drawing/2014/chart" uri="{C3380CC4-5D6E-409C-BE32-E72D297353CC}">
                <c16:uniqueId val="{00000489-22B4-4DF8-BAD3-C71D91B08C5E}"/>
              </c:ext>
            </c:extLst>
          </c:dPt>
          <c:dPt>
            <c:idx val="580"/>
            <c:invertIfNegative val="1"/>
            <c:bubble3D val="0"/>
            <c:spPr>
              <a:solidFill>
                <a:srgbClr val="AEABAB"/>
              </a:solidFill>
            </c:spPr>
            <c:extLst>
              <c:ext xmlns:c16="http://schemas.microsoft.com/office/drawing/2014/chart" uri="{C3380CC4-5D6E-409C-BE32-E72D297353CC}">
                <c16:uniqueId val="{0000048B-22B4-4DF8-BAD3-C71D91B08C5E}"/>
              </c:ext>
            </c:extLst>
          </c:dPt>
          <c:dPt>
            <c:idx val="581"/>
            <c:invertIfNegative val="1"/>
            <c:bubble3D val="0"/>
            <c:spPr>
              <a:solidFill>
                <a:srgbClr val="AEABAB"/>
              </a:solidFill>
            </c:spPr>
            <c:extLst>
              <c:ext xmlns:c16="http://schemas.microsoft.com/office/drawing/2014/chart" uri="{C3380CC4-5D6E-409C-BE32-E72D297353CC}">
                <c16:uniqueId val="{0000048D-22B4-4DF8-BAD3-C71D91B08C5E}"/>
              </c:ext>
            </c:extLst>
          </c:dPt>
          <c:dPt>
            <c:idx val="582"/>
            <c:invertIfNegative val="1"/>
            <c:bubble3D val="0"/>
            <c:spPr>
              <a:solidFill>
                <a:srgbClr val="AEABAB"/>
              </a:solidFill>
            </c:spPr>
            <c:extLst>
              <c:ext xmlns:c16="http://schemas.microsoft.com/office/drawing/2014/chart" uri="{C3380CC4-5D6E-409C-BE32-E72D297353CC}">
                <c16:uniqueId val="{0000048F-22B4-4DF8-BAD3-C71D91B08C5E}"/>
              </c:ext>
            </c:extLst>
          </c:dPt>
          <c:dPt>
            <c:idx val="583"/>
            <c:invertIfNegative val="1"/>
            <c:bubble3D val="0"/>
            <c:spPr>
              <a:solidFill>
                <a:srgbClr val="AEABAB"/>
              </a:solidFill>
            </c:spPr>
            <c:extLst>
              <c:ext xmlns:c16="http://schemas.microsoft.com/office/drawing/2014/chart" uri="{C3380CC4-5D6E-409C-BE32-E72D297353CC}">
                <c16:uniqueId val="{00000491-22B4-4DF8-BAD3-C71D91B08C5E}"/>
              </c:ext>
            </c:extLst>
          </c:dPt>
          <c:dPt>
            <c:idx val="584"/>
            <c:invertIfNegative val="1"/>
            <c:bubble3D val="0"/>
            <c:spPr>
              <a:solidFill>
                <a:srgbClr val="AEABAB"/>
              </a:solidFill>
            </c:spPr>
            <c:extLst>
              <c:ext xmlns:c16="http://schemas.microsoft.com/office/drawing/2014/chart" uri="{C3380CC4-5D6E-409C-BE32-E72D297353CC}">
                <c16:uniqueId val="{00000493-22B4-4DF8-BAD3-C71D91B08C5E}"/>
              </c:ext>
            </c:extLst>
          </c:dPt>
          <c:dPt>
            <c:idx val="585"/>
            <c:invertIfNegative val="1"/>
            <c:bubble3D val="0"/>
            <c:spPr>
              <a:solidFill>
                <a:srgbClr val="AEABAB"/>
              </a:solidFill>
            </c:spPr>
            <c:extLst>
              <c:ext xmlns:c16="http://schemas.microsoft.com/office/drawing/2014/chart" uri="{C3380CC4-5D6E-409C-BE32-E72D297353CC}">
                <c16:uniqueId val="{00000495-22B4-4DF8-BAD3-C71D91B08C5E}"/>
              </c:ext>
            </c:extLst>
          </c:dPt>
          <c:dPt>
            <c:idx val="586"/>
            <c:invertIfNegative val="1"/>
            <c:bubble3D val="0"/>
            <c:spPr>
              <a:solidFill>
                <a:srgbClr val="AEABAB"/>
              </a:solidFill>
            </c:spPr>
            <c:extLst>
              <c:ext xmlns:c16="http://schemas.microsoft.com/office/drawing/2014/chart" uri="{C3380CC4-5D6E-409C-BE32-E72D297353CC}">
                <c16:uniqueId val="{00000497-22B4-4DF8-BAD3-C71D91B08C5E}"/>
              </c:ext>
            </c:extLst>
          </c:dPt>
          <c:dPt>
            <c:idx val="587"/>
            <c:invertIfNegative val="1"/>
            <c:bubble3D val="0"/>
            <c:spPr>
              <a:solidFill>
                <a:srgbClr val="AEABAB"/>
              </a:solidFill>
            </c:spPr>
            <c:extLst>
              <c:ext xmlns:c16="http://schemas.microsoft.com/office/drawing/2014/chart" uri="{C3380CC4-5D6E-409C-BE32-E72D297353CC}">
                <c16:uniqueId val="{00000499-22B4-4DF8-BAD3-C71D91B08C5E}"/>
              </c:ext>
            </c:extLst>
          </c:dPt>
          <c:dPt>
            <c:idx val="588"/>
            <c:invertIfNegative val="1"/>
            <c:bubble3D val="0"/>
            <c:spPr>
              <a:solidFill>
                <a:srgbClr val="AEABAB"/>
              </a:solidFill>
            </c:spPr>
            <c:extLst>
              <c:ext xmlns:c16="http://schemas.microsoft.com/office/drawing/2014/chart" uri="{C3380CC4-5D6E-409C-BE32-E72D297353CC}">
                <c16:uniqueId val="{0000049B-22B4-4DF8-BAD3-C71D91B08C5E}"/>
              </c:ext>
            </c:extLst>
          </c:dPt>
          <c:dPt>
            <c:idx val="589"/>
            <c:invertIfNegative val="1"/>
            <c:bubble3D val="0"/>
            <c:spPr>
              <a:solidFill>
                <a:srgbClr val="AEABAB"/>
              </a:solidFill>
            </c:spPr>
            <c:extLst>
              <c:ext xmlns:c16="http://schemas.microsoft.com/office/drawing/2014/chart" uri="{C3380CC4-5D6E-409C-BE32-E72D297353CC}">
                <c16:uniqueId val="{0000049D-22B4-4DF8-BAD3-C71D91B08C5E}"/>
              </c:ext>
            </c:extLst>
          </c:dPt>
          <c:dPt>
            <c:idx val="590"/>
            <c:invertIfNegative val="1"/>
            <c:bubble3D val="0"/>
            <c:spPr>
              <a:solidFill>
                <a:srgbClr val="AEABAB"/>
              </a:solidFill>
            </c:spPr>
            <c:extLst>
              <c:ext xmlns:c16="http://schemas.microsoft.com/office/drawing/2014/chart" uri="{C3380CC4-5D6E-409C-BE32-E72D297353CC}">
                <c16:uniqueId val="{0000049F-22B4-4DF8-BAD3-C71D91B08C5E}"/>
              </c:ext>
            </c:extLst>
          </c:dPt>
          <c:dPt>
            <c:idx val="591"/>
            <c:invertIfNegative val="1"/>
            <c:bubble3D val="0"/>
            <c:spPr>
              <a:solidFill>
                <a:srgbClr val="AEABAB"/>
              </a:solidFill>
            </c:spPr>
            <c:extLst>
              <c:ext xmlns:c16="http://schemas.microsoft.com/office/drawing/2014/chart" uri="{C3380CC4-5D6E-409C-BE32-E72D297353CC}">
                <c16:uniqueId val="{000004A1-22B4-4DF8-BAD3-C71D91B08C5E}"/>
              </c:ext>
            </c:extLst>
          </c:dPt>
          <c:dPt>
            <c:idx val="592"/>
            <c:invertIfNegative val="1"/>
            <c:bubble3D val="0"/>
            <c:spPr>
              <a:solidFill>
                <a:srgbClr val="AEABAB"/>
              </a:solidFill>
            </c:spPr>
            <c:extLst>
              <c:ext xmlns:c16="http://schemas.microsoft.com/office/drawing/2014/chart" uri="{C3380CC4-5D6E-409C-BE32-E72D297353CC}">
                <c16:uniqueId val="{000004A3-22B4-4DF8-BAD3-C71D91B08C5E}"/>
              </c:ext>
            </c:extLst>
          </c:dPt>
          <c:dPt>
            <c:idx val="593"/>
            <c:invertIfNegative val="1"/>
            <c:bubble3D val="0"/>
            <c:spPr>
              <a:solidFill>
                <a:srgbClr val="AEABAB"/>
              </a:solidFill>
            </c:spPr>
            <c:extLst>
              <c:ext xmlns:c16="http://schemas.microsoft.com/office/drawing/2014/chart" uri="{C3380CC4-5D6E-409C-BE32-E72D297353CC}">
                <c16:uniqueId val="{000004A5-22B4-4DF8-BAD3-C71D91B08C5E}"/>
              </c:ext>
            </c:extLst>
          </c:dPt>
          <c:dPt>
            <c:idx val="594"/>
            <c:invertIfNegative val="1"/>
            <c:bubble3D val="0"/>
            <c:spPr>
              <a:solidFill>
                <a:srgbClr val="AEABAB"/>
              </a:solidFill>
            </c:spPr>
            <c:extLst>
              <c:ext xmlns:c16="http://schemas.microsoft.com/office/drawing/2014/chart" uri="{C3380CC4-5D6E-409C-BE32-E72D297353CC}">
                <c16:uniqueId val="{000004A7-22B4-4DF8-BAD3-C71D91B08C5E}"/>
              </c:ext>
            </c:extLst>
          </c:dPt>
          <c:dPt>
            <c:idx val="595"/>
            <c:invertIfNegative val="1"/>
            <c:bubble3D val="0"/>
            <c:spPr>
              <a:solidFill>
                <a:srgbClr val="AEABAB"/>
              </a:solidFill>
            </c:spPr>
            <c:extLst>
              <c:ext xmlns:c16="http://schemas.microsoft.com/office/drawing/2014/chart" uri="{C3380CC4-5D6E-409C-BE32-E72D297353CC}">
                <c16:uniqueId val="{000004A9-22B4-4DF8-BAD3-C71D91B08C5E}"/>
              </c:ext>
            </c:extLst>
          </c:dPt>
          <c:dPt>
            <c:idx val="596"/>
            <c:invertIfNegative val="1"/>
            <c:bubble3D val="0"/>
            <c:spPr>
              <a:solidFill>
                <a:srgbClr val="AEABAB"/>
              </a:solidFill>
            </c:spPr>
            <c:extLst>
              <c:ext xmlns:c16="http://schemas.microsoft.com/office/drawing/2014/chart" uri="{C3380CC4-5D6E-409C-BE32-E72D297353CC}">
                <c16:uniqueId val="{000004AB-22B4-4DF8-BAD3-C71D91B08C5E}"/>
              </c:ext>
            </c:extLst>
          </c:dPt>
          <c:dPt>
            <c:idx val="597"/>
            <c:invertIfNegative val="1"/>
            <c:bubble3D val="0"/>
            <c:spPr>
              <a:solidFill>
                <a:srgbClr val="AEABAB"/>
              </a:solidFill>
            </c:spPr>
            <c:extLst>
              <c:ext xmlns:c16="http://schemas.microsoft.com/office/drawing/2014/chart" uri="{C3380CC4-5D6E-409C-BE32-E72D297353CC}">
                <c16:uniqueId val="{000004AD-22B4-4DF8-BAD3-C71D91B08C5E}"/>
              </c:ext>
            </c:extLst>
          </c:dPt>
          <c:dPt>
            <c:idx val="598"/>
            <c:invertIfNegative val="1"/>
            <c:bubble3D val="0"/>
            <c:spPr>
              <a:solidFill>
                <a:srgbClr val="AEABAB"/>
              </a:solidFill>
            </c:spPr>
            <c:extLst>
              <c:ext xmlns:c16="http://schemas.microsoft.com/office/drawing/2014/chart" uri="{C3380CC4-5D6E-409C-BE32-E72D297353CC}">
                <c16:uniqueId val="{000004AF-22B4-4DF8-BAD3-C71D91B08C5E}"/>
              </c:ext>
            </c:extLst>
          </c:dPt>
          <c:dPt>
            <c:idx val="599"/>
            <c:invertIfNegative val="1"/>
            <c:bubble3D val="0"/>
            <c:spPr>
              <a:solidFill>
                <a:srgbClr val="AEABAB"/>
              </a:solidFill>
            </c:spPr>
            <c:extLst>
              <c:ext xmlns:c16="http://schemas.microsoft.com/office/drawing/2014/chart" uri="{C3380CC4-5D6E-409C-BE32-E72D297353CC}">
                <c16:uniqueId val="{000004B1-22B4-4DF8-BAD3-C71D91B08C5E}"/>
              </c:ext>
            </c:extLst>
          </c:dPt>
          <c:dPt>
            <c:idx val="600"/>
            <c:invertIfNegative val="1"/>
            <c:bubble3D val="0"/>
            <c:spPr>
              <a:solidFill>
                <a:srgbClr val="AEABAB"/>
              </a:solidFill>
            </c:spPr>
            <c:extLst>
              <c:ext xmlns:c16="http://schemas.microsoft.com/office/drawing/2014/chart" uri="{C3380CC4-5D6E-409C-BE32-E72D297353CC}">
                <c16:uniqueId val="{000004B3-22B4-4DF8-BAD3-C71D91B08C5E}"/>
              </c:ext>
            </c:extLst>
          </c:dPt>
          <c:dPt>
            <c:idx val="601"/>
            <c:invertIfNegative val="1"/>
            <c:bubble3D val="0"/>
            <c:spPr>
              <a:solidFill>
                <a:srgbClr val="AEABAB"/>
              </a:solidFill>
            </c:spPr>
            <c:extLst>
              <c:ext xmlns:c16="http://schemas.microsoft.com/office/drawing/2014/chart" uri="{C3380CC4-5D6E-409C-BE32-E72D297353CC}">
                <c16:uniqueId val="{000004B5-22B4-4DF8-BAD3-C71D91B08C5E}"/>
              </c:ext>
            </c:extLst>
          </c:dPt>
          <c:dPt>
            <c:idx val="602"/>
            <c:invertIfNegative val="1"/>
            <c:bubble3D val="0"/>
            <c:spPr>
              <a:solidFill>
                <a:srgbClr val="AEABAB"/>
              </a:solidFill>
            </c:spPr>
            <c:extLst>
              <c:ext xmlns:c16="http://schemas.microsoft.com/office/drawing/2014/chart" uri="{C3380CC4-5D6E-409C-BE32-E72D297353CC}">
                <c16:uniqueId val="{000004B7-22B4-4DF8-BAD3-C71D91B08C5E}"/>
              </c:ext>
            </c:extLst>
          </c:dPt>
          <c:dPt>
            <c:idx val="603"/>
            <c:invertIfNegative val="1"/>
            <c:bubble3D val="0"/>
            <c:spPr>
              <a:solidFill>
                <a:srgbClr val="AEABAB"/>
              </a:solidFill>
            </c:spPr>
            <c:extLst>
              <c:ext xmlns:c16="http://schemas.microsoft.com/office/drawing/2014/chart" uri="{C3380CC4-5D6E-409C-BE32-E72D297353CC}">
                <c16:uniqueId val="{000004B9-22B4-4DF8-BAD3-C71D91B08C5E}"/>
              </c:ext>
            </c:extLst>
          </c:dPt>
          <c:dPt>
            <c:idx val="604"/>
            <c:invertIfNegative val="1"/>
            <c:bubble3D val="0"/>
            <c:spPr>
              <a:solidFill>
                <a:srgbClr val="AEABAB"/>
              </a:solidFill>
            </c:spPr>
            <c:extLst>
              <c:ext xmlns:c16="http://schemas.microsoft.com/office/drawing/2014/chart" uri="{C3380CC4-5D6E-409C-BE32-E72D297353CC}">
                <c16:uniqueId val="{000004BB-22B4-4DF8-BAD3-C71D91B08C5E}"/>
              </c:ext>
            </c:extLst>
          </c:dPt>
          <c:dPt>
            <c:idx val="605"/>
            <c:invertIfNegative val="1"/>
            <c:bubble3D val="0"/>
            <c:spPr>
              <a:solidFill>
                <a:srgbClr val="AEABAB"/>
              </a:solidFill>
            </c:spPr>
            <c:extLst>
              <c:ext xmlns:c16="http://schemas.microsoft.com/office/drawing/2014/chart" uri="{C3380CC4-5D6E-409C-BE32-E72D297353CC}">
                <c16:uniqueId val="{000004BD-22B4-4DF8-BAD3-C71D91B08C5E}"/>
              </c:ext>
            </c:extLst>
          </c:dPt>
          <c:dPt>
            <c:idx val="606"/>
            <c:invertIfNegative val="1"/>
            <c:bubble3D val="0"/>
            <c:spPr>
              <a:solidFill>
                <a:srgbClr val="AEABAB"/>
              </a:solidFill>
            </c:spPr>
            <c:extLst>
              <c:ext xmlns:c16="http://schemas.microsoft.com/office/drawing/2014/chart" uri="{C3380CC4-5D6E-409C-BE32-E72D297353CC}">
                <c16:uniqueId val="{000004BF-22B4-4DF8-BAD3-C71D91B08C5E}"/>
              </c:ext>
            </c:extLst>
          </c:dPt>
          <c:dPt>
            <c:idx val="607"/>
            <c:invertIfNegative val="1"/>
            <c:bubble3D val="0"/>
            <c:spPr>
              <a:solidFill>
                <a:srgbClr val="AEABAB"/>
              </a:solidFill>
            </c:spPr>
            <c:extLst>
              <c:ext xmlns:c16="http://schemas.microsoft.com/office/drawing/2014/chart" uri="{C3380CC4-5D6E-409C-BE32-E72D297353CC}">
                <c16:uniqueId val="{000004C1-22B4-4DF8-BAD3-C71D91B08C5E}"/>
              </c:ext>
            </c:extLst>
          </c:dPt>
          <c:dPt>
            <c:idx val="608"/>
            <c:invertIfNegative val="1"/>
            <c:bubble3D val="0"/>
            <c:spPr>
              <a:solidFill>
                <a:srgbClr val="AEABAB"/>
              </a:solidFill>
            </c:spPr>
            <c:extLst>
              <c:ext xmlns:c16="http://schemas.microsoft.com/office/drawing/2014/chart" uri="{C3380CC4-5D6E-409C-BE32-E72D297353CC}">
                <c16:uniqueId val="{000004C3-22B4-4DF8-BAD3-C71D91B08C5E}"/>
              </c:ext>
            </c:extLst>
          </c:dPt>
          <c:dPt>
            <c:idx val="609"/>
            <c:invertIfNegative val="1"/>
            <c:bubble3D val="0"/>
            <c:spPr>
              <a:solidFill>
                <a:srgbClr val="AEABAB"/>
              </a:solidFill>
            </c:spPr>
            <c:extLst>
              <c:ext xmlns:c16="http://schemas.microsoft.com/office/drawing/2014/chart" uri="{C3380CC4-5D6E-409C-BE32-E72D297353CC}">
                <c16:uniqueId val="{000004C5-22B4-4DF8-BAD3-C71D91B08C5E}"/>
              </c:ext>
            </c:extLst>
          </c:dPt>
          <c:dPt>
            <c:idx val="610"/>
            <c:invertIfNegative val="1"/>
            <c:bubble3D val="0"/>
            <c:spPr>
              <a:solidFill>
                <a:srgbClr val="AEABAB"/>
              </a:solidFill>
            </c:spPr>
            <c:extLst>
              <c:ext xmlns:c16="http://schemas.microsoft.com/office/drawing/2014/chart" uri="{C3380CC4-5D6E-409C-BE32-E72D297353CC}">
                <c16:uniqueId val="{000004C7-22B4-4DF8-BAD3-C71D91B08C5E}"/>
              </c:ext>
            </c:extLst>
          </c:dPt>
          <c:dPt>
            <c:idx val="611"/>
            <c:invertIfNegative val="1"/>
            <c:bubble3D val="0"/>
            <c:spPr>
              <a:solidFill>
                <a:srgbClr val="AEABAB"/>
              </a:solidFill>
            </c:spPr>
            <c:extLst>
              <c:ext xmlns:c16="http://schemas.microsoft.com/office/drawing/2014/chart" uri="{C3380CC4-5D6E-409C-BE32-E72D297353CC}">
                <c16:uniqueId val="{000004C9-22B4-4DF8-BAD3-C71D91B08C5E}"/>
              </c:ext>
            </c:extLst>
          </c:dPt>
          <c:dPt>
            <c:idx val="612"/>
            <c:invertIfNegative val="1"/>
            <c:bubble3D val="0"/>
            <c:spPr>
              <a:solidFill>
                <a:srgbClr val="AEABAB"/>
              </a:solidFill>
            </c:spPr>
            <c:extLst>
              <c:ext xmlns:c16="http://schemas.microsoft.com/office/drawing/2014/chart" uri="{C3380CC4-5D6E-409C-BE32-E72D297353CC}">
                <c16:uniqueId val="{000004CB-22B4-4DF8-BAD3-C71D91B08C5E}"/>
              </c:ext>
            </c:extLst>
          </c:dPt>
          <c:dPt>
            <c:idx val="613"/>
            <c:invertIfNegative val="1"/>
            <c:bubble3D val="0"/>
            <c:spPr>
              <a:solidFill>
                <a:srgbClr val="AEABAB"/>
              </a:solidFill>
            </c:spPr>
            <c:extLst>
              <c:ext xmlns:c16="http://schemas.microsoft.com/office/drawing/2014/chart" uri="{C3380CC4-5D6E-409C-BE32-E72D297353CC}">
                <c16:uniqueId val="{000004CD-22B4-4DF8-BAD3-C71D91B08C5E}"/>
              </c:ext>
            </c:extLst>
          </c:dPt>
          <c:dPt>
            <c:idx val="614"/>
            <c:invertIfNegative val="1"/>
            <c:bubble3D val="0"/>
            <c:spPr>
              <a:solidFill>
                <a:srgbClr val="AEABAB"/>
              </a:solidFill>
            </c:spPr>
            <c:extLst>
              <c:ext xmlns:c16="http://schemas.microsoft.com/office/drawing/2014/chart" uri="{C3380CC4-5D6E-409C-BE32-E72D297353CC}">
                <c16:uniqueId val="{000004CF-22B4-4DF8-BAD3-C71D91B08C5E}"/>
              </c:ext>
            </c:extLst>
          </c:dPt>
          <c:dPt>
            <c:idx val="615"/>
            <c:invertIfNegative val="1"/>
            <c:bubble3D val="0"/>
            <c:spPr>
              <a:solidFill>
                <a:srgbClr val="AEABAB"/>
              </a:solidFill>
            </c:spPr>
            <c:extLst>
              <c:ext xmlns:c16="http://schemas.microsoft.com/office/drawing/2014/chart" uri="{C3380CC4-5D6E-409C-BE32-E72D297353CC}">
                <c16:uniqueId val="{000004D1-22B4-4DF8-BAD3-C71D91B08C5E}"/>
              </c:ext>
            </c:extLst>
          </c:dPt>
          <c:dPt>
            <c:idx val="616"/>
            <c:invertIfNegative val="1"/>
            <c:bubble3D val="0"/>
            <c:spPr>
              <a:solidFill>
                <a:srgbClr val="AEABAB"/>
              </a:solidFill>
            </c:spPr>
            <c:extLst>
              <c:ext xmlns:c16="http://schemas.microsoft.com/office/drawing/2014/chart" uri="{C3380CC4-5D6E-409C-BE32-E72D297353CC}">
                <c16:uniqueId val="{000004D3-22B4-4DF8-BAD3-C71D91B08C5E}"/>
              </c:ext>
            </c:extLst>
          </c:dPt>
          <c:dPt>
            <c:idx val="617"/>
            <c:invertIfNegative val="1"/>
            <c:bubble3D val="0"/>
            <c:spPr>
              <a:solidFill>
                <a:srgbClr val="AEABAB"/>
              </a:solidFill>
            </c:spPr>
            <c:extLst>
              <c:ext xmlns:c16="http://schemas.microsoft.com/office/drawing/2014/chart" uri="{C3380CC4-5D6E-409C-BE32-E72D297353CC}">
                <c16:uniqueId val="{000004D5-22B4-4DF8-BAD3-C71D91B08C5E}"/>
              </c:ext>
            </c:extLst>
          </c:dPt>
          <c:dPt>
            <c:idx val="618"/>
            <c:invertIfNegative val="1"/>
            <c:bubble3D val="0"/>
            <c:spPr>
              <a:solidFill>
                <a:srgbClr val="AEABAB"/>
              </a:solidFill>
            </c:spPr>
            <c:extLst>
              <c:ext xmlns:c16="http://schemas.microsoft.com/office/drawing/2014/chart" uri="{C3380CC4-5D6E-409C-BE32-E72D297353CC}">
                <c16:uniqueId val="{000004D7-22B4-4DF8-BAD3-C71D91B08C5E}"/>
              </c:ext>
            </c:extLst>
          </c:dPt>
          <c:dPt>
            <c:idx val="619"/>
            <c:invertIfNegative val="1"/>
            <c:bubble3D val="0"/>
            <c:spPr>
              <a:solidFill>
                <a:srgbClr val="AEABAB"/>
              </a:solidFill>
            </c:spPr>
            <c:extLst>
              <c:ext xmlns:c16="http://schemas.microsoft.com/office/drawing/2014/chart" uri="{C3380CC4-5D6E-409C-BE32-E72D297353CC}">
                <c16:uniqueId val="{000004D9-22B4-4DF8-BAD3-C71D91B08C5E}"/>
              </c:ext>
            </c:extLst>
          </c:dPt>
          <c:dPt>
            <c:idx val="620"/>
            <c:invertIfNegative val="1"/>
            <c:bubble3D val="0"/>
            <c:spPr>
              <a:solidFill>
                <a:srgbClr val="AEABAB"/>
              </a:solidFill>
            </c:spPr>
            <c:extLst>
              <c:ext xmlns:c16="http://schemas.microsoft.com/office/drawing/2014/chart" uri="{C3380CC4-5D6E-409C-BE32-E72D297353CC}">
                <c16:uniqueId val="{000004DB-22B4-4DF8-BAD3-C71D91B08C5E}"/>
              </c:ext>
            </c:extLst>
          </c:dPt>
          <c:dPt>
            <c:idx val="621"/>
            <c:invertIfNegative val="1"/>
            <c:bubble3D val="0"/>
            <c:spPr>
              <a:solidFill>
                <a:srgbClr val="AEABAB"/>
              </a:solidFill>
            </c:spPr>
            <c:extLst>
              <c:ext xmlns:c16="http://schemas.microsoft.com/office/drawing/2014/chart" uri="{C3380CC4-5D6E-409C-BE32-E72D297353CC}">
                <c16:uniqueId val="{000004DD-22B4-4DF8-BAD3-C71D91B08C5E}"/>
              </c:ext>
            </c:extLst>
          </c:dPt>
          <c:dPt>
            <c:idx val="622"/>
            <c:invertIfNegative val="1"/>
            <c:bubble3D val="0"/>
            <c:spPr>
              <a:solidFill>
                <a:srgbClr val="AEABAB"/>
              </a:solidFill>
            </c:spPr>
            <c:extLst>
              <c:ext xmlns:c16="http://schemas.microsoft.com/office/drawing/2014/chart" uri="{C3380CC4-5D6E-409C-BE32-E72D297353CC}">
                <c16:uniqueId val="{000004DF-22B4-4DF8-BAD3-C71D91B08C5E}"/>
              </c:ext>
            </c:extLst>
          </c:dPt>
          <c:dPt>
            <c:idx val="623"/>
            <c:invertIfNegative val="1"/>
            <c:bubble3D val="0"/>
            <c:spPr>
              <a:solidFill>
                <a:srgbClr val="AEABAB"/>
              </a:solidFill>
            </c:spPr>
            <c:extLst>
              <c:ext xmlns:c16="http://schemas.microsoft.com/office/drawing/2014/chart" uri="{C3380CC4-5D6E-409C-BE32-E72D297353CC}">
                <c16:uniqueId val="{000004E1-22B4-4DF8-BAD3-C71D91B08C5E}"/>
              </c:ext>
            </c:extLst>
          </c:dPt>
          <c:dPt>
            <c:idx val="624"/>
            <c:invertIfNegative val="1"/>
            <c:bubble3D val="0"/>
            <c:spPr>
              <a:solidFill>
                <a:srgbClr val="AEABAB"/>
              </a:solidFill>
            </c:spPr>
            <c:extLst>
              <c:ext xmlns:c16="http://schemas.microsoft.com/office/drawing/2014/chart" uri="{C3380CC4-5D6E-409C-BE32-E72D297353CC}">
                <c16:uniqueId val="{000004E3-22B4-4DF8-BAD3-C71D91B08C5E}"/>
              </c:ext>
            </c:extLst>
          </c:dPt>
          <c:dPt>
            <c:idx val="625"/>
            <c:invertIfNegative val="1"/>
            <c:bubble3D val="0"/>
            <c:spPr>
              <a:solidFill>
                <a:srgbClr val="AEABAB"/>
              </a:solidFill>
            </c:spPr>
            <c:extLst>
              <c:ext xmlns:c16="http://schemas.microsoft.com/office/drawing/2014/chart" uri="{C3380CC4-5D6E-409C-BE32-E72D297353CC}">
                <c16:uniqueId val="{000004E5-22B4-4DF8-BAD3-C71D91B08C5E}"/>
              </c:ext>
            </c:extLst>
          </c:dPt>
          <c:dPt>
            <c:idx val="626"/>
            <c:invertIfNegative val="1"/>
            <c:bubble3D val="0"/>
            <c:spPr>
              <a:solidFill>
                <a:srgbClr val="AEABAB"/>
              </a:solidFill>
            </c:spPr>
            <c:extLst>
              <c:ext xmlns:c16="http://schemas.microsoft.com/office/drawing/2014/chart" uri="{C3380CC4-5D6E-409C-BE32-E72D297353CC}">
                <c16:uniqueId val="{000004E7-22B4-4DF8-BAD3-C71D91B08C5E}"/>
              </c:ext>
            </c:extLst>
          </c:dPt>
          <c:dPt>
            <c:idx val="627"/>
            <c:invertIfNegative val="1"/>
            <c:bubble3D val="0"/>
            <c:spPr>
              <a:solidFill>
                <a:srgbClr val="AEABAB"/>
              </a:solidFill>
            </c:spPr>
            <c:extLst>
              <c:ext xmlns:c16="http://schemas.microsoft.com/office/drawing/2014/chart" uri="{C3380CC4-5D6E-409C-BE32-E72D297353CC}">
                <c16:uniqueId val="{000004E9-22B4-4DF8-BAD3-C71D91B08C5E}"/>
              </c:ext>
            </c:extLst>
          </c:dPt>
          <c:dPt>
            <c:idx val="628"/>
            <c:invertIfNegative val="1"/>
            <c:bubble3D val="0"/>
            <c:spPr>
              <a:solidFill>
                <a:srgbClr val="AEABAB"/>
              </a:solidFill>
            </c:spPr>
            <c:extLst>
              <c:ext xmlns:c16="http://schemas.microsoft.com/office/drawing/2014/chart" uri="{C3380CC4-5D6E-409C-BE32-E72D297353CC}">
                <c16:uniqueId val="{000004EB-22B4-4DF8-BAD3-C71D91B08C5E}"/>
              </c:ext>
            </c:extLst>
          </c:dPt>
          <c:dPt>
            <c:idx val="629"/>
            <c:invertIfNegative val="1"/>
            <c:bubble3D val="0"/>
            <c:spPr>
              <a:solidFill>
                <a:srgbClr val="AEABAB"/>
              </a:solidFill>
            </c:spPr>
            <c:extLst>
              <c:ext xmlns:c16="http://schemas.microsoft.com/office/drawing/2014/chart" uri="{C3380CC4-5D6E-409C-BE32-E72D297353CC}">
                <c16:uniqueId val="{000004ED-22B4-4DF8-BAD3-C71D91B08C5E}"/>
              </c:ext>
            </c:extLst>
          </c:dPt>
          <c:dPt>
            <c:idx val="630"/>
            <c:invertIfNegative val="1"/>
            <c:bubble3D val="0"/>
            <c:spPr>
              <a:solidFill>
                <a:srgbClr val="AEABAB"/>
              </a:solidFill>
            </c:spPr>
            <c:extLst>
              <c:ext xmlns:c16="http://schemas.microsoft.com/office/drawing/2014/chart" uri="{C3380CC4-5D6E-409C-BE32-E72D297353CC}">
                <c16:uniqueId val="{000004EF-22B4-4DF8-BAD3-C71D91B08C5E}"/>
              </c:ext>
            </c:extLst>
          </c:dPt>
          <c:dPt>
            <c:idx val="631"/>
            <c:invertIfNegative val="1"/>
            <c:bubble3D val="0"/>
            <c:spPr>
              <a:solidFill>
                <a:srgbClr val="AEABAB"/>
              </a:solidFill>
            </c:spPr>
            <c:extLst>
              <c:ext xmlns:c16="http://schemas.microsoft.com/office/drawing/2014/chart" uri="{C3380CC4-5D6E-409C-BE32-E72D297353CC}">
                <c16:uniqueId val="{000004F1-22B4-4DF8-BAD3-C71D91B08C5E}"/>
              </c:ext>
            </c:extLst>
          </c:dPt>
          <c:dPt>
            <c:idx val="632"/>
            <c:invertIfNegative val="1"/>
            <c:bubble3D val="0"/>
            <c:spPr>
              <a:solidFill>
                <a:srgbClr val="AEABAB"/>
              </a:solidFill>
            </c:spPr>
            <c:extLst>
              <c:ext xmlns:c16="http://schemas.microsoft.com/office/drawing/2014/chart" uri="{C3380CC4-5D6E-409C-BE32-E72D297353CC}">
                <c16:uniqueId val="{000004F3-22B4-4DF8-BAD3-C71D91B08C5E}"/>
              </c:ext>
            </c:extLst>
          </c:dPt>
          <c:dPt>
            <c:idx val="633"/>
            <c:invertIfNegative val="1"/>
            <c:bubble3D val="0"/>
            <c:spPr>
              <a:solidFill>
                <a:srgbClr val="AEABAB"/>
              </a:solidFill>
            </c:spPr>
            <c:extLst>
              <c:ext xmlns:c16="http://schemas.microsoft.com/office/drawing/2014/chart" uri="{C3380CC4-5D6E-409C-BE32-E72D297353CC}">
                <c16:uniqueId val="{000004F5-22B4-4DF8-BAD3-C71D91B08C5E}"/>
              </c:ext>
            </c:extLst>
          </c:dPt>
          <c:dPt>
            <c:idx val="634"/>
            <c:invertIfNegative val="1"/>
            <c:bubble3D val="0"/>
            <c:spPr>
              <a:solidFill>
                <a:srgbClr val="AEABAB"/>
              </a:solidFill>
            </c:spPr>
            <c:extLst>
              <c:ext xmlns:c16="http://schemas.microsoft.com/office/drawing/2014/chart" uri="{C3380CC4-5D6E-409C-BE32-E72D297353CC}">
                <c16:uniqueId val="{000004F7-22B4-4DF8-BAD3-C71D91B08C5E}"/>
              </c:ext>
            </c:extLst>
          </c:dPt>
          <c:dPt>
            <c:idx val="635"/>
            <c:invertIfNegative val="1"/>
            <c:bubble3D val="0"/>
            <c:spPr>
              <a:solidFill>
                <a:srgbClr val="AEABAB"/>
              </a:solidFill>
            </c:spPr>
            <c:extLst>
              <c:ext xmlns:c16="http://schemas.microsoft.com/office/drawing/2014/chart" uri="{C3380CC4-5D6E-409C-BE32-E72D297353CC}">
                <c16:uniqueId val="{000004F9-22B4-4DF8-BAD3-C71D91B08C5E}"/>
              </c:ext>
            </c:extLst>
          </c:dPt>
          <c:dPt>
            <c:idx val="636"/>
            <c:invertIfNegative val="1"/>
            <c:bubble3D val="0"/>
            <c:spPr>
              <a:solidFill>
                <a:srgbClr val="AEABAB"/>
              </a:solidFill>
            </c:spPr>
            <c:extLst>
              <c:ext xmlns:c16="http://schemas.microsoft.com/office/drawing/2014/chart" uri="{C3380CC4-5D6E-409C-BE32-E72D297353CC}">
                <c16:uniqueId val="{000004FB-22B4-4DF8-BAD3-C71D91B08C5E}"/>
              </c:ext>
            </c:extLst>
          </c:dPt>
          <c:dPt>
            <c:idx val="637"/>
            <c:invertIfNegative val="1"/>
            <c:bubble3D val="0"/>
            <c:spPr>
              <a:solidFill>
                <a:srgbClr val="AEABAB"/>
              </a:solidFill>
            </c:spPr>
            <c:extLst>
              <c:ext xmlns:c16="http://schemas.microsoft.com/office/drawing/2014/chart" uri="{C3380CC4-5D6E-409C-BE32-E72D297353CC}">
                <c16:uniqueId val="{000004FD-22B4-4DF8-BAD3-C71D91B08C5E}"/>
              </c:ext>
            </c:extLst>
          </c:dPt>
          <c:dPt>
            <c:idx val="638"/>
            <c:invertIfNegative val="1"/>
            <c:bubble3D val="0"/>
            <c:spPr>
              <a:solidFill>
                <a:srgbClr val="AEABAB"/>
              </a:solidFill>
            </c:spPr>
            <c:extLst>
              <c:ext xmlns:c16="http://schemas.microsoft.com/office/drawing/2014/chart" uri="{C3380CC4-5D6E-409C-BE32-E72D297353CC}">
                <c16:uniqueId val="{000004FF-22B4-4DF8-BAD3-C71D91B08C5E}"/>
              </c:ext>
            </c:extLst>
          </c:dPt>
          <c:dPt>
            <c:idx val="639"/>
            <c:invertIfNegative val="1"/>
            <c:bubble3D val="0"/>
            <c:spPr>
              <a:solidFill>
                <a:srgbClr val="AEABAB"/>
              </a:solidFill>
            </c:spPr>
            <c:extLst>
              <c:ext xmlns:c16="http://schemas.microsoft.com/office/drawing/2014/chart" uri="{C3380CC4-5D6E-409C-BE32-E72D297353CC}">
                <c16:uniqueId val="{00000501-22B4-4DF8-BAD3-C71D91B08C5E}"/>
              </c:ext>
            </c:extLst>
          </c:dPt>
          <c:dPt>
            <c:idx val="640"/>
            <c:invertIfNegative val="1"/>
            <c:bubble3D val="0"/>
            <c:spPr>
              <a:solidFill>
                <a:srgbClr val="AEABAB"/>
              </a:solidFill>
            </c:spPr>
            <c:extLst>
              <c:ext xmlns:c16="http://schemas.microsoft.com/office/drawing/2014/chart" uri="{C3380CC4-5D6E-409C-BE32-E72D297353CC}">
                <c16:uniqueId val="{00000503-22B4-4DF8-BAD3-C71D91B08C5E}"/>
              </c:ext>
            </c:extLst>
          </c:dPt>
          <c:dPt>
            <c:idx val="641"/>
            <c:invertIfNegative val="1"/>
            <c:bubble3D val="0"/>
            <c:spPr>
              <a:solidFill>
                <a:srgbClr val="AEABAB"/>
              </a:solidFill>
            </c:spPr>
            <c:extLst>
              <c:ext xmlns:c16="http://schemas.microsoft.com/office/drawing/2014/chart" uri="{C3380CC4-5D6E-409C-BE32-E72D297353CC}">
                <c16:uniqueId val="{00000505-22B4-4DF8-BAD3-C71D91B08C5E}"/>
              </c:ext>
            </c:extLst>
          </c:dPt>
          <c:dPt>
            <c:idx val="642"/>
            <c:invertIfNegative val="1"/>
            <c:bubble3D val="0"/>
            <c:spPr>
              <a:solidFill>
                <a:srgbClr val="AEABAB"/>
              </a:solidFill>
            </c:spPr>
            <c:extLst>
              <c:ext xmlns:c16="http://schemas.microsoft.com/office/drawing/2014/chart" uri="{C3380CC4-5D6E-409C-BE32-E72D297353CC}">
                <c16:uniqueId val="{00000507-22B4-4DF8-BAD3-C71D91B08C5E}"/>
              </c:ext>
            </c:extLst>
          </c:dPt>
          <c:dPt>
            <c:idx val="643"/>
            <c:invertIfNegative val="1"/>
            <c:bubble3D val="0"/>
            <c:spPr>
              <a:solidFill>
                <a:srgbClr val="AEABAB"/>
              </a:solidFill>
            </c:spPr>
            <c:extLst>
              <c:ext xmlns:c16="http://schemas.microsoft.com/office/drawing/2014/chart" uri="{C3380CC4-5D6E-409C-BE32-E72D297353CC}">
                <c16:uniqueId val="{00000509-22B4-4DF8-BAD3-C71D91B08C5E}"/>
              </c:ext>
            </c:extLst>
          </c:dPt>
          <c:dPt>
            <c:idx val="644"/>
            <c:invertIfNegative val="1"/>
            <c:bubble3D val="0"/>
            <c:spPr>
              <a:solidFill>
                <a:srgbClr val="AEABAB"/>
              </a:solidFill>
            </c:spPr>
            <c:extLst>
              <c:ext xmlns:c16="http://schemas.microsoft.com/office/drawing/2014/chart" uri="{C3380CC4-5D6E-409C-BE32-E72D297353CC}">
                <c16:uniqueId val="{0000050B-22B4-4DF8-BAD3-C71D91B08C5E}"/>
              </c:ext>
            </c:extLst>
          </c:dPt>
          <c:dPt>
            <c:idx val="645"/>
            <c:invertIfNegative val="1"/>
            <c:bubble3D val="0"/>
            <c:spPr>
              <a:solidFill>
                <a:srgbClr val="AEABAB"/>
              </a:solidFill>
            </c:spPr>
            <c:extLst>
              <c:ext xmlns:c16="http://schemas.microsoft.com/office/drawing/2014/chart" uri="{C3380CC4-5D6E-409C-BE32-E72D297353CC}">
                <c16:uniqueId val="{0000050D-22B4-4DF8-BAD3-C71D91B08C5E}"/>
              </c:ext>
            </c:extLst>
          </c:dPt>
          <c:dPt>
            <c:idx val="646"/>
            <c:invertIfNegative val="1"/>
            <c:bubble3D val="0"/>
            <c:spPr>
              <a:solidFill>
                <a:srgbClr val="AEABAB"/>
              </a:solidFill>
            </c:spPr>
            <c:extLst>
              <c:ext xmlns:c16="http://schemas.microsoft.com/office/drawing/2014/chart" uri="{C3380CC4-5D6E-409C-BE32-E72D297353CC}">
                <c16:uniqueId val="{0000050F-22B4-4DF8-BAD3-C71D91B08C5E}"/>
              </c:ext>
            </c:extLst>
          </c:dPt>
          <c:dPt>
            <c:idx val="647"/>
            <c:invertIfNegative val="1"/>
            <c:bubble3D val="0"/>
            <c:spPr>
              <a:solidFill>
                <a:srgbClr val="AEABAB"/>
              </a:solidFill>
            </c:spPr>
            <c:extLst>
              <c:ext xmlns:c16="http://schemas.microsoft.com/office/drawing/2014/chart" uri="{C3380CC4-5D6E-409C-BE32-E72D297353CC}">
                <c16:uniqueId val="{00000511-22B4-4DF8-BAD3-C71D91B08C5E}"/>
              </c:ext>
            </c:extLst>
          </c:dPt>
          <c:dPt>
            <c:idx val="648"/>
            <c:invertIfNegative val="1"/>
            <c:bubble3D val="0"/>
            <c:spPr>
              <a:solidFill>
                <a:srgbClr val="AEABAB"/>
              </a:solidFill>
            </c:spPr>
            <c:extLst>
              <c:ext xmlns:c16="http://schemas.microsoft.com/office/drawing/2014/chart" uri="{C3380CC4-5D6E-409C-BE32-E72D297353CC}">
                <c16:uniqueId val="{00000513-22B4-4DF8-BAD3-C71D91B08C5E}"/>
              </c:ext>
            </c:extLst>
          </c:dPt>
          <c:dPt>
            <c:idx val="649"/>
            <c:invertIfNegative val="1"/>
            <c:bubble3D val="0"/>
            <c:spPr>
              <a:solidFill>
                <a:srgbClr val="AEABAB"/>
              </a:solidFill>
            </c:spPr>
            <c:extLst>
              <c:ext xmlns:c16="http://schemas.microsoft.com/office/drawing/2014/chart" uri="{C3380CC4-5D6E-409C-BE32-E72D297353CC}">
                <c16:uniqueId val="{00000515-22B4-4DF8-BAD3-C71D91B08C5E}"/>
              </c:ext>
            </c:extLst>
          </c:dPt>
          <c:dPt>
            <c:idx val="650"/>
            <c:invertIfNegative val="1"/>
            <c:bubble3D val="0"/>
            <c:spPr>
              <a:solidFill>
                <a:srgbClr val="AEABAB"/>
              </a:solidFill>
            </c:spPr>
            <c:extLst>
              <c:ext xmlns:c16="http://schemas.microsoft.com/office/drawing/2014/chart" uri="{C3380CC4-5D6E-409C-BE32-E72D297353CC}">
                <c16:uniqueId val="{00000517-22B4-4DF8-BAD3-C71D91B08C5E}"/>
              </c:ext>
            </c:extLst>
          </c:dPt>
          <c:dPt>
            <c:idx val="651"/>
            <c:invertIfNegative val="1"/>
            <c:bubble3D val="0"/>
            <c:spPr>
              <a:solidFill>
                <a:srgbClr val="AEABAB"/>
              </a:solidFill>
            </c:spPr>
            <c:extLst>
              <c:ext xmlns:c16="http://schemas.microsoft.com/office/drawing/2014/chart" uri="{C3380CC4-5D6E-409C-BE32-E72D297353CC}">
                <c16:uniqueId val="{00000519-22B4-4DF8-BAD3-C71D91B08C5E}"/>
              </c:ext>
            </c:extLst>
          </c:dPt>
          <c:dPt>
            <c:idx val="652"/>
            <c:invertIfNegative val="1"/>
            <c:bubble3D val="0"/>
            <c:spPr>
              <a:solidFill>
                <a:srgbClr val="AEABAB"/>
              </a:solidFill>
            </c:spPr>
            <c:extLst>
              <c:ext xmlns:c16="http://schemas.microsoft.com/office/drawing/2014/chart" uri="{C3380CC4-5D6E-409C-BE32-E72D297353CC}">
                <c16:uniqueId val="{0000051B-22B4-4DF8-BAD3-C71D91B08C5E}"/>
              </c:ext>
            </c:extLst>
          </c:dPt>
          <c:dPt>
            <c:idx val="653"/>
            <c:invertIfNegative val="1"/>
            <c:bubble3D val="0"/>
            <c:spPr>
              <a:solidFill>
                <a:srgbClr val="AEABAB"/>
              </a:solidFill>
            </c:spPr>
            <c:extLst>
              <c:ext xmlns:c16="http://schemas.microsoft.com/office/drawing/2014/chart" uri="{C3380CC4-5D6E-409C-BE32-E72D297353CC}">
                <c16:uniqueId val="{0000051D-22B4-4DF8-BAD3-C71D91B08C5E}"/>
              </c:ext>
            </c:extLst>
          </c:dPt>
          <c:dPt>
            <c:idx val="654"/>
            <c:invertIfNegative val="1"/>
            <c:bubble3D val="0"/>
            <c:spPr>
              <a:solidFill>
                <a:srgbClr val="AEABAB"/>
              </a:solidFill>
            </c:spPr>
            <c:extLst>
              <c:ext xmlns:c16="http://schemas.microsoft.com/office/drawing/2014/chart" uri="{C3380CC4-5D6E-409C-BE32-E72D297353CC}">
                <c16:uniqueId val="{0000051F-22B4-4DF8-BAD3-C71D91B08C5E}"/>
              </c:ext>
            </c:extLst>
          </c:dPt>
          <c:dPt>
            <c:idx val="655"/>
            <c:invertIfNegative val="1"/>
            <c:bubble3D val="0"/>
            <c:spPr>
              <a:solidFill>
                <a:srgbClr val="AEABAB"/>
              </a:solidFill>
            </c:spPr>
            <c:extLst>
              <c:ext xmlns:c16="http://schemas.microsoft.com/office/drawing/2014/chart" uri="{C3380CC4-5D6E-409C-BE32-E72D297353CC}">
                <c16:uniqueId val="{00000521-22B4-4DF8-BAD3-C71D91B08C5E}"/>
              </c:ext>
            </c:extLst>
          </c:dPt>
          <c:dPt>
            <c:idx val="656"/>
            <c:invertIfNegative val="1"/>
            <c:bubble3D val="0"/>
            <c:spPr>
              <a:solidFill>
                <a:srgbClr val="AEABAB"/>
              </a:solidFill>
            </c:spPr>
            <c:extLst>
              <c:ext xmlns:c16="http://schemas.microsoft.com/office/drawing/2014/chart" uri="{C3380CC4-5D6E-409C-BE32-E72D297353CC}">
                <c16:uniqueId val="{00000523-22B4-4DF8-BAD3-C71D91B08C5E}"/>
              </c:ext>
            </c:extLst>
          </c:dPt>
          <c:dPt>
            <c:idx val="657"/>
            <c:invertIfNegative val="1"/>
            <c:bubble3D val="0"/>
            <c:spPr>
              <a:solidFill>
                <a:srgbClr val="AEABAB"/>
              </a:solidFill>
            </c:spPr>
            <c:extLst>
              <c:ext xmlns:c16="http://schemas.microsoft.com/office/drawing/2014/chart" uri="{C3380CC4-5D6E-409C-BE32-E72D297353CC}">
                <c16:uniqueId val="{00000525-22B4-4DF8-BAD3-C71D91B08C5E}"/>
              </c:ext>
            </c:extLst>
          </c:dPt>
          <c:dPt>
            <c:idx val="658"/>
            <c:invertIfNegative val="1"/>
            <c:bubble3D val="0"/>
            <c:spPr>
              <a:solidFill>
                <a:srgbClr val="AEABAB"/>
              </a:solidFill>
            </c:spPr>
            <c:extLst>
              <c:ext xmlns:c16="http://schemas.microsoft.com/office/drawing/2014/chart" uri="{C3380CC4-5D6E-409C-BE32-E72D297353CC}">
                <c16:uniqueId val="{00000527-22B4-4DF8-BAD3-C71D91B08C5E}"/>
              </c:ext>
            </c:extLst>
          </c:dPt>
          <c:dPt>
            <c:idx val="659"/>
            <c:invertIfNegative val="1"/>
            <c:bubble3D val="0"/>
            <c:spPr>
              <a:solidFill>
                <a:srgbClr val="AEABAB"/>
              </a:solidFill>
            </c:spPr>
            <c:extLst>
              <c:ext xmlns:c16="http://schemas.microsoft.com/office/drawing/2014/chart" uri="{C3380CC4-5D6E-409C-BE32-E72D297353CC}">
                <c16:uniqueId val="{00000529-22B4-4DF8-BAD3-C71D91B08C5E}"/>
              </c:ext>
            </c:extLst>
          </c:dPt>
          <c:dPt>
            <c:idx val="660"/>
            <c:invertIfNegative val="1"/>
            <c:bubble3D val="0"/>
            <c:spPr>
              <a:solidFill>
                <a:srgbClr val="AEABAB"/>
              </a:solidFill>
            </c:spPr>
            <c:extLst>
              <c:ext xmlns:c16="http://schemas.microsoft.com/office/drawing/2014/chart" uri="{C3380CC4-5D6E-409C-BE32-E72D297353CC}">
                <c16:uniqueId val="{0000052B-22B4-4DF8-BAD3-C71D91B08C5E}"/>
              </c:ext>
            </c:extLst>
          </c:dPt>
          <c:dPt>
            <c:idx val="661"/>
            <c:invertIfNegative val="1"/>
            <c:bubble3D val="0"/>
            <c:spPr>
              <a:solidFill>
                <a:srgbClr val="AEABAB"/>
              </a:solidFill>
            </c:spPr>
            <c:extLst>
              <c:ext xmlns:c16="http://schemas.microsoft.com/office/drawing/2014/chart" uri="{C3380CC4-5D6E-409C-BE32-E72D297353CC}">
                <c16:uniqueId val="{0000052D-22B4-4DF8-BAD3-C71D91B08C5E}"/>
              </c:ext>
            </c:extLst>
          </c:dPt>
          <c:dPt>
            <c:idx val="662"/>
            <c:invertIfNegative val="1"/>
            <c:bubble3D val="0"/>
            <c:spPr>
              <a:solidFill>
                <a:srgbClr val="AEABAB"/>
              </a:solidFill>
            </c:spPr>
            <c:extLst>
              <c:ext xmlns:c16="http://schemas.microsoft.com/office/drawing/2014/chart" uri="{C3380CC4-5D6E-409C-BE32-E72D297353CC}">
                <c16:uniqueId val="{0000052F-22B4-4DF8-BAD3-C71D91B08C5E}"/>
              </c:ext>
            </c:extLst>
          </c:dPt>
          <c:dPt>
            <c:idx val="663"/>
            <c:invertIfNegative val="1"/>
            <c:bubble3D val="0"/>
            <c:spPr>
              <a:solidFill>
                <a:srgbClr val="AEABAB"/>
              </a:solidFill>
            </c:spPr>
            <c:extLst>
              <c:ext xmlns:c16="http://schemas.microsoft.com/office/drawing/2014/chart" uri="{C3380CC4-5D6E-409C-BE32-E72D297353CC}">
                <c16:uniqueId val="{00000531-22B4-4DF8-BAD3-C71D91B08C5E}"/>
              </c:ext>
            </c:extLst>
          </c:dPt>
          <c:dPt>
            <c:idx val="664"/>
            <c:invertIfNegative val="1"/>
            <c:bubble3D val="0"/>
            <c:spPr>
              <a:solidFill>
                <a:srgbClr val="AEABAB"/>
              </a:solidFill>
            </c:spPr>
            <c:extLst>
              <c:ext xmlns:c16="http://schemas.microsoft.com/office/drawing/2014/chart" uri="{C3380CC4-5D6E-409C-BE32-E72D297353CC}">
                <c16:uniqueId val="{00000533-22B4-4DF8-BAD3-C71D91B08C5E}"/>
              </c:ext>
            </c:extLst>
          </c:dPt>
          <c:dPt>
            <c:idx val="665"/>
            <c:invertIfNegative val="1"/>
            <c:bubble3D val="0"/>
            <c:spPr>
              <a:solidFill>
                <a:srgbClr val="AEABAB"/>
              </a:solidFill>
            </c:spPr>
            <c:extLst>
              <c:ext xmlns:c16="http://schemas.microsoft.com/office/drawing/2014/chart" uri="{C3380CC4-5D6E-409C-BE32-E72D297353CC}">
                <c16:uniqueId val="{00000535-22B4-4DF8-BAD3-C71D91B08C5E}"/>
              </c:ext>
            </c:extLst>
          </c:dPt>
          <c:dPt>
            <c:idx val="666"/>
            <c:invertIfNegative val="1"/>
            <c:bubble3D val="0"/>
            <c:spPr>
              <a:solidFill>
                <a:srgbClr val="AEABAB"/>
              </a:solidFill>
            </c:spPr>
            <c:extLst>
              <c:ext xmlns:c16="http://schemas.microsoft.com/office/drawing/2014/chart" uri="{C3380CC4-5D6E-409C-BE32-E72D297353CC}">
                <c16:uniqueId val="{00000537-22B4-4DF8-BAD3-C71D91B08C5E}"/>
              </c:ext>
            </c:extLst>
          </c:dPt>
          <c:dPt>
            <c:idx val="667"/>
            <c:invertIfNegative val="1"/>
            <c:bubble3D val="0"/>
            <c:spPr>
              <a:solidFill>
                <a:srgbClr val="AEABAB"/>
              </a:solidFill>
            </c:spPr>
            <c:extLst>
              <c:ext xmlns:c16="http://schemas.microsoft.com/office/drawing/2014/chart" uri="{C3380CC4-5D6E-409C-BE32-E72D297353CC}">
                <c16:uniqueId val="{00000539-22B4-4DF8-BAD3-C71D91B08C5E}"/>
              </c:ext>
            </c:extLst>
          </c:dPt>
          <c:dPt>
            <c:idx val="668"/>
            <c:invertIfNegative val="1"/>
            <c:bubble3D val="0"/>
            <c:spPr>
              <a:solidFill>
                <a:srgbClr val="AEABAB"/>
              </a:solidFill>
            </c:spPr>
            <c:extLst>
              <c:ext xmlns:c16="http://schemas.microsoft.com/office/drawing/2014/chart" uri="{C3380CC4-5D6E-409C-BE32-E72D297353CC}">
                <c16:uniqueId val="{0000053B-22B4-4DF8-BAD3-C71D91B08C5E}"/>
              </c:ext>
            </c:extLst>
          </c:dPt>
          <c:dPt>
            <c:idx val="669"/>
            <c:invertIfNegative val="1"/>
            <c:bubble3D val="0"/>
            <c:spPr>
              <a:solidFill>
                <a:srgbClr val="AEABAB"/>
              </a:solidFill>
            </c:spPr>
            <c:extLst>
              <c:ext xmlns:c16="http://schemas.microsoft.com/office/drawing/2014/chart" uri="{C3380CC4-5D6E-409C-BE32-E72D297353CC}">
                <c16:uniqueId val="{0000053D-22B4-4DF8-BAD3-C71D91B08C5E}"/>
              </c:ext>
            </c:extLst>
          </c:dPt>
          <c:dPt>
            <c:idx val="670"/>
            <c:invertIfNegative val="1"/>
            <c:bubble3D val="0"/>
            <c:spPr>
              <a:solidFill>
                <a:srgbClr val="AEABAB"/>
              </a:solidFill>
            </c:spPr>
            <c:extLst>
              <c:ext xmlns:c16="http://schemas.microsoft.com/office/drawing/2014/chart" uri="{C3380CC4-5D6E-409C-BE32-E72D297353CC}">
                <c16:uniqueId val="{0000053F-22B4-4DF8-BAD3-C71D91B08C5E}"/>
              </c:ext>
            </c:extLst>
          </c:dPt>
          <c:dPt>
            <c:idx val="671"/>
            <c:invertIfNegative val="1"/>
            <c:bubble3D val="0"/>
            <c:spPr>
              <a:solidFill>
                <a:srgbClr val="AEABAB"/>
              </a:solidFill>
            </c:spPr>
            <c:extLst>
              <c:ext xmlns:c16="http://schemas.microsoft.com/office/drawing/2014/chart" uri="{C3380CC4-5D6E-409C-BE32-E72D297353CC}">
                <c16:uniqueId val="{00000541-22B4-4DF8-BAD3-C71D91B08C5E}"/>
              </c:ext>
            </c:extLst>
          </c:dPt>
          <c:dPt>
            <c:idx val="672"/>
            <c:invertIfNegative val="1"/>
            <c:bubble3D val="0"/>
            <c:spPr>
              <a:solidFill>
                <a:srgbClr val="AEABAB"/>
              </a:solidFill>
            </c:spPr>
            <c:extLst>
              <c:ext xmlns:c16="http://schemas.microsoft.com/office/drawing/2014/chart" uri="{C3380CC4-5D6E-409C-BE32-E72D297353CC}">
                <c16:uniqueId val="{00000543-22B4-4DF8-BAD3-C71D91B08C5E}"/>
              </c:ext>
            </c:extLst>
          </c:dPt>
          <c:dPt>
            <c:idx val="673"/>
            <c:invertIfNegative val="1"/>
            <c:bubble3D val="0"/>
            <c:spPr>
              <a:solidFill>
                <a:srgbClr val="AEABAB"/>
              </a:solidFill>
            </c:spPr>
            <c:extLst>
              <c:ext xmlns:c16="http://schemas.microsoft.com/office/drawing/2014/chart" uri="{C3380CC4-5D6E-409C-BE32-E72D297353CC}">
                <c16:uniqueId val="{00000545-22B4-4DF8-BAD3-C71D91B08C5E}"/>
              </c:ext>
            </c:extLst>
          </c:dPt>
          <c:dPt>
            <c:idx val="674"/>
            <c:invertIfNegative val="1"/>
            <c:bubble3D val="0"/>
            <c:spPr>
              <a:solidFill>
                <a:srgbClr val="AEABAB"/>
              </a:solidFill>
            </c:spPr>
            <c:extLst>
              <c:ext xmlns:c16="http://schemas.microsoft.com/office/drawing/2014/chart" uri="{C3380CC4-5D6E-409C-BE32-E72D297353CC}">
                <c16:uniqueId val="{00000547-22B4-4DF8-BAD3-C71D91B08C5E}"/>
              </c:ext>
            </c:extLst>
          </c:dPt>
          <c:dPt>
            <c:idx val="675"/>
            <c:invertIfNegative val="1"/>
            <c:bubble3D val="0"/>
            <c:spPr>
              <a:solidFill>
                <a:srgbClr val="AEABAB"/>
              </a:solidFill>
            </c:spPr>
            <c:extLst>
              <c:ext xmlns:c16="http://schemas.microsoft.com/office/drawing/2014/chart" uri="{C3380CC4-5D6E-409C-BE32-E72D297353CC}">
                <c16:uniqueId val="{00000549-22B4-4DF8-BAD3-C71D91B08C5E}"/>
              </c:ext>
            </c:extLst>
          </c:dPt>
          <c:dPt>
            <c:idx val="676"/>
            <c:invertIfNegative val="1"/>
            <c:bubble3D val="0"/>
            <c:spPr>
              <a:solidFill>
                <a:srgbClr val="AEABAB"/>
              </a:solidFill>
            </c:spPr>
            <c:extLst>
              <c:ext xmlns:c16="http://schemas.microsoft.com/office/drawing/2014/chart" uri="{C3380CC4-5D6E-409C-BE32-E72D297353CC}">
                <c16:uniqueId val="{0000054B-22B4-4DF8-BAD3-C71D91B08C5E}"/>
              </c:ext>
            </c:extLst>
          </c:dPt>
          <c:dPt>
            <c:idx val="677"/>
            <c:invertIfNegative val="1"/>
            <c:bubble3D val="0"/>
            <c:spPr>
              <a:solidFill>
                <a:srgbClr val="AEABAB"/>
              </a:solidFill>
            </c:spPr>
            <c:extLst>
              <c:ext xmlns:c16="http://schemas.microsoft.com/office/drawing/2014/chart" uri="{C3380CC4-5D6E-409C-BE32-E72D297353CC}">
                <c16:uniqueId val="{0000054D-22B4-4DF8-BAD3-C71D91B08C5E}"/>
              </c:ext>
            </c:extLst>
          </c:dPt>
          <c:dPt>
            <c:idx val="678"/>
            <c:invertIfNegative val="1"/>
            <c:bubble3D val="0"/>
            <c:spPr>
              <a:solidFill>
                <a:srgbClr val="AEABAB"/>
              </a:solidFill>
            </c:spPr>
            <c:extLst>
              <c:ext xmlns:c16="http://schemas.microsoft.com/office/drawing/2014/chart" uri="{C3380CC4-5D6E-409C-BE32-E72D297353CC}">
                <c16:uniqueId val="{0000054F-22B4-4DF8-BAD3-C71D91B08C5E}"/>
              </c:ext>
            </c:extLst>
          </c:dPt>
          <c:dPt>
            <c:idx val="679"/>
            <c:invertIfNegative val="1"/>
            <c:bubble3D val="0"/>
            <c:spPr>
              <a:solidFill>
                <a:srgbClr val="AEABAB"/>
              </a:solidFill>
            </c:spPr>
            <c:extLst>
              <c:ext xmlns:c16="http://schemas.microsoft.com/office/drawing/2014/chart" uri="{C3380CC4-5D6E-409C-BE32-E72D297353CC}">
                <c16:uniqueId val="{00000551-22B4-4DF8-BAD3-C71D91B08C5E}"/>
              </c:ext>
            </c:extLst>
          </c:dPt>
          <c:cat>
            <c:strRef>
              <c:f>Sheet1!$A$2:$A$681</c:f>
              <c:strCache>
                <c:ptCount val="680"/>
                <c:pt idx="0">
                  <c:v>Caprice Des</c:v>
                </c:pt>
                <c:pt idx="1">
                  <c:v>Coeur De Li</c:v>
                </c:pt>
                <c:pt idx="2">
                  <c:v>Galbani</c:v>
                </c:pt>
                <c:pt idx="3">
                  <c:v>Mini Babybe</c:v>
                </c:pt>
                <c:pt idx="4">
                  <c:v>President</c:v>
                </c:pt>
                <c:pt idx="5">
                  <c:v>Caprice Des</c:v>
                </c:pt>
                <c:pt idx="6">
                  <c:v>Coeur De Li</c:v>
                </c:pt>
                <c:pt idx="7">
                  <c:v>Islos</c:v>
                </c:pt>
                <c:pt idx="8">
                  <c:v>Soignon</c:v>
                </c:pt>
                <c:pt idx="9">
                  <c:v>Salakis</c:v>
                </c:pt>
                <c:pt idx="10">
                  <c:v>St Moret</c:v>
                </c:pt>
                <c:pt idx="11">
                  <c:v>Le Rustique</c:v>
                </c:pt>
                <c:pt idx="12">
                  <c:v>Soignon</c:v>
                </c:pt>
                <c:pt idx="13">
                  <c:v>Casa Azzurr</c:v>
                </c:pt>
                <c:pt idx="14">
                  <c:v>Soignon</c:v>
                </c:pt>
                <c:pt idx="15">
                  <c:v>Mini Babybe</c:v>
                </c:pt>
                <c:pt idx="16">
                  <c:v>Tartare</c:v>
                </c:pt>
                <c:pt idx="17">
                  <c:v>Apericube</c:v>
                </c:pt>
                <c:pt idx="18">
                  <c:v>La Vache Qu</c:v>
                </c:pt>
                <c:pt idx="19">
                  <c:v>Ficello</c:v>
                </c:pt>
                <c:pt idx="20">
                  <c:v>Apericube</c:v>
                </c:pt>
                <c:pt idx="21">
                  <c:v>All Others</c:v>
                </c:pt>
                <c:pt idx="22">
                  <c:v>Casa Azzurr</c:v>
                </c:pt>
                <c:pt idx="23">
                  <c:v>Mini Babybe</c:v>
                </c:pt>
                <c:pt idx="24">
                  <c:v>President</c:v>
                </c:pt>
                <c:pt idx="25">
                  <c:v>La Vache Qu</c:v>
                </c:pt>
                <c:pt idx="26">
                  <c:v>Paysan Bret</c:v>
                </c:pt>
                <c:pt idx="27">
                  <c:v>All Others</c:v>
                </c:pt>
                <c:pt idx="28">
                  <c:v>Galbani</c:v>
                </c:pt>
                <c:pt idx="29">
                  <c:v>St Moret</c:v>
                </c:pt>
                <c:pt idx="30">
                  <c:v>St Moret</c:v>
                </c:pt>
                <c:pt idx="31">
                  <c:v>La Vache Qu</c:v>
                </c:pt>
                <c:pt idx="32">
                  <c:v>Apericube</c:v>
                </c:pt>
                <c:pt idx="33">
                  <c:v>Kiri</c:v>
                </c:pt>
                <c:pt idx="34">
                  <c:v>President</c:v>
                </c:pt>
                <c:pt idx="35">
                  <c:v>Paysan Bret</c:v>
                </c:pt>
                <c:pt idx="36">
                  <c:v>Carre Frais</c:v>
                </c:pt>
                <c:pt idx="37">
                  <c:v>Kiri</c:v>
                </c:pt>
                <c:pt idx="38">
                  <c:v>Casa Azzurr</c:v>
                </c:pt>
                <c:pt idx="39">
                  <c:v>St Moret</c:v>
                </c:pt>
                <c:pt idx="40">
                  <c:v>Galbani</c:v>
                </c:pt>
                <c:pt idx="41">
                  <c:v>Salakis</c:v>
                </c:pt>
                <c:pt idx="42">
                  <c:v>Casa Azzurr</c:v>
                </c:pt>
                <c:pt idx="43">
                  <c:v>Galbani</c:v>
                </c:pt>
                <c:pt idx="44">
                  <c:v>St Moret</c:v>
                </c:pt>
                <c:pt idx="45">
                  <c:v>Lepetit</c:v>
                </c:pt>
                <c:pt idx="46">
                  <c:v>Coeur De Li</c:v>
                </c:pt>
                <c:pt idx="47">
                  <c:v>Galbani</c:v>
                </c:pt>
                <c:pt idx="48">
                  <c:v>Carre Frais</c:v>
                </c:pt>
                <c:pt idx="49">
                  <c:v>Casa Azzurr</c:v>
                </c:pt>
                <c:pt idx="50">
                  <c:v>President</c:v>
                </c:pt>
                <c:pt idx="51">
                  <c:v>Salakis</c:v>
                </c:pt>
                <c:pt idx="52">
                  <c:v>Casa Azzurr</c:v>
                </c:pt>
                <c:pt idx="53">
                  <c:v>Philadelphi</c:v>
                </c:pt>
                <c:pt idx="54">
                  <c:v>Kiri</c:v>
                </c:pt>
                <c:pt idx="55">
                  <c:v>Caprice Des</c:v>
                </c:pt>
                <c:pt idx="56">
                  <c:v>Kiri</c:v>
                </c:pt>
                <c:pt idx="57">
                  <c:v>La Vache Qu</c:v>
                </c:pt>
                <c:pt idx="58">
                  <c:v>Casa Azzurr</c:v>
                </c:pt>
                <c:pt idx="59">
                  <c:v>All Others</c:v>
                </c:pt>
                <c:pt idx="60">
                  <c:v>Boursin</c:v>
                </c:pt>
                <c:pt idx="61">
                  <c:v>Petit Billy</c:v>
                </c:pt>
                <c:pt idx="62">
                  <c:v>Galbani</c:v>
                </c:pt>
                <c:pt idx="63">
                  <c:v>Boursin</c:v>
                </c:pt>
                <c:pt idx="64">
                  <c:v>Tartare</c:v>
                </c:pt>
                <c:pt idx="65">
                  <c:v>President</c:v>
                </c:pt>
                <c:pt idx="66">
                  <c:v>All Others</c:v>
                </c:pt>
                <c:pt idx="67">
                  <c:v>Le Rustique</c:v>
                </c:pt>
                <c:pt idx="68">
                  <c:v>Istara</c:v>
                </c:pt>
                <c:pt idx="69">
                  <c:v>Boursin</c:v>
                </c:pt>
                <c:pt idx="70">
                  <c:v>St Moret</c:v>
                </c:pt>
                <c:pt idx="71">
                  <c:v>Apericube</c:v>
                </c:pt>
                <c:pt idx="72">
                  <c:v>St Moret</c:v>
                </c:pt>
                <c:pt idx="73">
                  <c:v>Lou Perac</c:v>
                </c:pt>
                <c:pt idx="74">
                  <c:v>Boursin</c:v>
                </c:pt>
                <c:pt idx="75">
                  <c:v>All Others</c:v>
                </c:pt>
                <c:pt idx="76">
                  <c:v>St Moret</c:v>
                </c:pt>
                <c:pt idx="77">
                  <c:v>All Others</c:v>
                </c:pt>
                <c:pt idx="78">
                  <c:v>Coeur De Li</c:v>
                </c:pt>
                <c:pt idx="79">
                  <c:v>President</c:v>
                </c:pt>
                <c:pt idx="80">
                  <c:v>Galbani</c:v>
                </c:pt>
                <c:pt idx="81">
                  <c:v>Boursin</c:v>
                </c:pt>
                <c:pt idx="82">
                  <c:v>Philadelphi</c:v>
                </c:pt>
                <c:pt idx="83">
                  <c:v>Casa Azzurr</c:v>
                </c:pt>
                <c:pt idx="84">
                  <c:v>Apericube</c:v>
                </c:pt>
                <c:pt idx="85">
                  <c:v>Le Brebiou</c:v>
                </c:pt>
                <c:pt idx="86">
                  <c:v>All Others</c:v>
                </c:pt>
                <c:pt idx="87">
                  <c:v>Aperivrais</c:v>
                </c:pt>
                <c:pt idx="88">
                  <c:v>All Others</c:v>
                </c:pt>
                <c:pt idx="89">
                  <c:v>Apericube</c:v>
                </c:pt>
                <c:pt idx="90">
                  <c:v>Le Rustique</c:v>
                </c:pt>
                <c:pt idx="91">
                  <c:v>Paysan Bret</c:v>
                </c:pt>
                <c:pt idx="92">
                  <c:v>Apericube</c:v>
                </c:pt>
                <c:pt idx="93">
                  <c:v>Ficello</c:v>
                </c:pt>
                <c:pt idx="94">
                  <c:v>Aperivrais</c:v>
                </c:pt>
                <c:pt idx="95">
                  <c:v>Salakis</c:v>
                </c:pt>
                <c:pt idx="96">
                  <c:v>Caprice Des</c:v>
                </c:pt>
                <c:pt idx="97">
                  <c:v>Galbani</c:v>
                </c:pt>
                <c:pt idx="98">
                  <c:v>Coeur De Li</c:v>
                </c:pt>
                <c:pt idx="99">
                  <c:v>Kiri</c:v>
                </c:pt>
                <c:pt idx="100">
                  <c:v>Casa Azzurr</c:v>
                </c:pt>
                <c:pt idx="101">
                  <c:v>All Others</c:v>
                </c:pt>
                <c:pt idx="102">
                  <c:v>All Others</c:v>
                </c:pt>
                <c:pt idx="103">
                  <c:v>All Others</c:v>
                </c:pt>
                <c:pt idx="104">
                  <c:v>Etorki</c:v>
                </c:pt>
                <c:pt idx="105">
                  <c:v>All Others</c:v>
                </c:pt>
                <c:pt idx="106">
                  <c:v>Chavroux</c:v>
                </c:pt>
                <c:pt idx="107">
                  <c:v>Salakis</c:v>
                </c:pt>
                <c:pt idx="108">
                  <c:v>All Others</c:v>
                </c:pt>
                <c:pt idx="109">
                  <c:v>Soignon</c:v>
                </c:pt>
                <c:pt idx="110">
                  <c:v>Lactalis: A</c:v>
                </c:pt>
                <c:pt idx="111">
                  <c:v>Soignon</c:v>
                </c:pt>
                <c:pt idx="112">
                  <c:v>President</c:v>
                </c:pt>
                <c:pt idx="113">
                  <c:v>Soignon</c:v>
                </c:pt>
                <c:pt idx="114">
                  <c:v>President</c:v>
                </c:pt>
                <c:pt idx="115">
                  <c:v>All Others</c:v>
                </c:pt>
                <c:pt idx="116">
                  <c:v>Lactalis: A</c:v>
                </c:pt>
                <c:pt idx="117">
                  <c:v>Lou Perac</c:v>
                </c:pt>
                <c:pt idx="118">
                  <c:v>La Vache Qu</c:v>
                </c:pt>
                <c:pt idx="119">
                  <c:v>All Others</c:v>
                </c:pt>
                <c:pt idx="120">
                  <c:v>Galbani</c:v>
                </c:pt>
                <c:pt idx="121">
                  <c:v>President</c:v>
                </c:pt>
                <c:pt idx="122">
                  <c:v>All Others</c:v>
                </c:pt>
                <c:pt idx="123">
                  <c:v>Rondele</c:v>
                </c:pt>
                <c:pt idx="124">
                  <c:v>Paysan Bret</c:v>
                </c:pt>
                <c:pt idx="125">
                  <c:v>Kiri</c:v>
                </c:pt>
                <c:pt idx="126">
                  <c:v>All Others</c:v>
                </c:pt>
                <c:pt idx="127">
                  <c:v>La Vache Qu</c:v>
                </c:pt>
                <c:pt idx="128">
                  <c:v>All Others</c:v>
                </c:pt>
                <c:pt idx="129">
                  <c:v>Salakis</c:v>
                </c:pt>
                <c:pt idx="130">
                  <c:v>Tartare</c:v>
                </c:pt>
                <c:pt idx="131">
                  <c:v>Galbani</c:v>
                </c:pt>
                <c:pt idx="132">
                  <c:v>Boursin</c:v>
                </c:pt>
                <c:pt idx="133">
                  <c:v>Apericube</c:v>
                </c:pt>
                <c:pt idx="134">
                  <c:v>Paysan Bret</c:v>
                </c:pt>
                <c:pt idx="135">
                  <c:v>President</c:v>
                </c:pt>
                <c:pt idx="136">
                  <c:v>Islos</c:v>
                </c:pt>
                <c:pt idx="137">
                  <c:v>Paysan Bret</c:v>
                </c:pt>
                <c:pt idx="138">
                  <c:v>Chavroux</c:v>
                </c:pt>
                <c:pt idx="139">
                  <c:v>Aperivrais</c:v>
                </c:pt>
                <c:pt idx="140">
                  <c:v>President</c:v>
                </c:pt>
                <c:pt idx="141">
                  <c:v>Boursin</c:v>
                </c:pt>
                <c:pt idx="142">
                  <c:v>All Others</c:v>
                </c:pt>
                <c:pt idx="143">
                  <c:v>Soignon</c:v>
                </c:pt>
                <c:pt idx="144">
                  <c:v>P'Tit Louis</c:v>
                </c:pt>
                <c:pt idx="145">
                  <c:v>Philadelphi</c:v>
                </c:pt>
                <c:pt idx="146">
                  <c:v>All Others</c:v>
                </c:pt>
                <c:pt idx="147">
                  <c:v>All Others</c:v>
                </c:pt>
                <c:pt idx="148">
                  <c:v>Casa Azzurr</c:v>
                </c:pt>
                <c:pt idx="149">
                  <c:v>All Others</c:v>
                </c:pt>
                <c:pt idx="150">
                  <c:v>Casa Azzurr</c:v>
                </c:pt>
                <c:pt idx="151">
                  <c:v>All Others</c:v>
                </c:pt>
                <c:pt idx="152">
                  <c:v>Soignon</c:v>
                </c:pt>
                <c:pt idx="153">
                  <c:v>All Others</c:v>
                </c:pt>
                <c:pt idx="154">
                  <c:v>All Others</c:v>
                </c:pt>
                <c:pt idx="155">
                  <c:v>Soignon</c:v>
                </c:pt>
                <c:pt idx="156">
                  <c:v>All Others</c:v>
                </c:pt>
                <c:pt idx="157">
                  <c:v>President</c:v>
                </c:pt>
                <c:pt idx="158">
                  <c:v>All Others</c:v>
                </c:pt>
                <c:pt idx="159">
                  <c:v>Lactalis: A</c:v>
                </c:pt>
                <c:pt idx="160">
                  <c:v>Boursin</c:v>
                </c:pt>
                <c:pt idx="161">
                  <c:v>Boursin</c:v>
                </c:pt>
                <c:pt idx="162">
                  <c:v>All Others</c:v>
                </c:pt>
                <c:pt idx="163">
                  <c:v>Istara</c:v>
                </c:pt>
                <c:pt idx="164">
                  <c:v>All Others</c:v>
                </c:pt>
                <c:pt idx="165">
                  <c:v>Le Rustique</c:v>
                </c:pt>
                <c:pt idx="166">
                  <c:v>All Others</c:v>
                </c:pt>
                <c:pt idx="167">
                  <c:v>Rondele</c:v>
                </c:pt>
                <c:pt idx="168">
                  <c:v>Lou Perac</c:v>
                </c:pt>
                <c:pt idx="169">
                  <c:v>Mini Babybe</c:v>
                </c:pt>
                <c:pt idx="170">
                  <c:v>All Others</c:v>
                </c:pt>
                <c:pt idx="171">
                  <c:v>Savencia: A</c:v>
                </c:pt>
                <c:pt idx="172">
                  <c:v>Soignon</c:v>
                </c:pt>
                <c:pt idx="173">
                  <c:v>All Others</c:v>
                </c:pt>
                <c:pt idx="174">
                  <c:v>All Others</c:v>
                </c:pt>
                <c:pt idx="175">
                  <c:v>Chavroux</c:v>
                </c:pt>
                <c:pt idx="176">
                  <c:v>All Others</c:v>
                </c:pt>
                <c:pt idx="177">
                  <c:v>All Others</c:v>
                </c:pt>
                <c:pt idx="178">
                  <c:v>Paysan Bret</c:v>
                </c:pt>
                <c:pt idx="179">
                  <c:v>All Others</c:v>
                </c:pt>
                <c:pt idx="180">
                  <c:v>All Others</c:v>
                </c:pt>
                <c:pt idx="181">
                  <c:v>Boursin</c:v>
                </c:pt>
                <c:pt idx="182">
                  <c:v>Apericube</c:v>
                </c:pt>
                <c:pt idx="183">
                  <c:v>All Others</c:v>
                </c:pt>
                <c:pt idx="184">
                  <c:v>Tartare</c:v>
                </c:pt>
                <c:pt idx="185">
                  <c:v>Casa Azzurr</c:v>
                </c:pt>
                <c:pt idx="186">
                  <c:v>Salakis</c:v>
                </c:pt>
                <c:pt idx="187">
                  <c:v>St Moret</c:v>
                </c:pt>
                <c:pt idx="188">
                  <c:v>Lactalis: A</c:v>
                </c:pt>
                <c:pt idx="189">
                  <c:v>St Moret</c:v>
                </c:pt>
                <c:pt idx="190">
                  <c:v>All Others</c:v>
                </c:pt>
                <c:pt idx="191">
                  <c:v>Caprice Des</c:v>
                </c:pt>
                <c:pt idx="192">
                  <c:v>All Others</c:v>
                </c:pt>
                <c:pt idx="193">
                  <c:v>All Others</c:v>
                </c:pt>
                <c:pt idx="194">
                  <c:v>All Others</c:v>
                </c:pt>
                <c:pt idx="195">
                  <c:v>Apericube</c:v>
                </c:pt>
                <c:pt idx="196">
                  <c:v>Savencia: A</c:v>
                </c:pt>
                <c:pt idx="197">
                  <c:v>All Others</c:v>
                </c:pt>
                <c:pt idx="198">
                  <c:v>Triballat N</c:v>
                </c:pt>
                <c:pt idx="199">
                  <c:v>All Others</c:v>
                </c:pt>
                <c:pt idx="200">
                  <c:v>Etoile Du Q</c:v>
                </c:pt>
                <c:pt idx="201">
                  <c:v>All Others</c:v>
                </c:pt>
                <c:pt idx="202">
                  <c:v>Leerdammer</c:v>
                </c:pt>
                <c:pt idx="203">
                  <c:v>Boursin</c:v>
                </c:pt>
                <c:pt idx="204">
                  <c:v>St Moret</c:v>
                </c:pt>
                <c:pt idx="205">
                  <c:v>Aperivrais</c:v>
                </c:pt>
                <c:pt idx="206">
                  <c:v>All Others</c:v>
                </c:pt>
                <c:pt idx="207">
                  <c:v>Paysan Bret</c:v>
                </c:pt>
                <c:pt idx="208">
                  <c:v>All Others</c:v>
                </c:pt>
                <c:pt idx="209">
                  <c:v>Boursin</c:v>
                </c:pt>
                <c:pt idx="210">
                  <c:v>Philadelphi</c:v>
                </c:pt>
                <c:pt idx="211">
                  <c:v>President</c:v>
                </c:pt>
                <c:pt idx="212">
                  <c:v>Boursin</c:v>
                </c:pt>
                <c:pt idx="213">
                  <c:v>Soignon</c:v>
                </c:pt>
                <c:pt idx="214">
                  <c:v>Boursin</c:v>
                </c:pt>
                <c:pt idx="215">
                  <c:v>All Others</c:v>
                </c:pt>
                <c:pt idx="216">
                  <c:v>All Others</c:v>
                </c:pt>
                <c:pt idx="217">
                  <c:v>Soignon</c:v>
                </c:pt>
                <c:pt idx="218">
                  <c:v>All Others</c:v>
                </c:pt>
                <c:pt idx="219">
                  <c:v>All Others</c:v>
                </c:pt>
                <c:pt idx="220">
                  <c:v>Ficello</c:v>
                </c:pt>
                <c:pt idx="221">
                  <c:v>Mini Babybe</c:v>
                </c:pt>
                <c:pt idx="222">
                  <c:v>All Others</c:v>
                </c:pt>
                <c:pt idx="223">
                  <c:v>Pave D'Affi</c:v>
                </c:pt>
                <c:pt idx="224">
                  <c:v>All Others</c:v>
                </c:pt>
                <c:pt idx="225">
                  <c:v>Caprice Des</c:v>
                </c:pt>
                <c:pt idx="226">
                  <c:v>All Others</c:v>
                </c:pt>
                <c:pt idx="227">
                  <c:v>All Others</c:v>
                </c:pt>
                <c:pt idx="228">
                  <c:v>All Others</c:v>
                </c:pt>
                <c:pt idx="229">
                  <c:v>All Others</c:v>
                </c:pt>
                <c:pt idx="230">
                  <c:v>All Others</c:v>
                </c:pt>
                <c:pt idx="231">
                  <c:v>All Others</c:v>
                </c:pt>
                <c:pt idx="232">
                  <c:v>All Others</c:v>
                </c:pt>
                <c:pt idx="233">
                  <c:v>Mini Babybe</c:v>
                </c:pt>
                <c:pt idx="234">
                  <c:v>All Others</c:v>
                </c:pt>
                <c:pt idx="235">
                  <c:v>All Others</c:v>
                </c:pt>
                <c:pt idx="236">
                  <c:v>Savencia: A</c:v>
                </c:pt>
                <c:pt idx="237">
                  <c:v>Soignon</c:v>
                </c:pt>
                <c:pt idx="238">
                  <c:v>All Others</c:v>
                </c:pt>
                <c:pt idx="239">
                  <c:v>All Others</c:v>
                </c:pt>
                <c:pt idx="240">
                  <c:v>Triballat R</c:v>
                </c:pt>
                <c:pt idx="241">
                  <c:v>All Others</c:v>
                </c:pt>
                <c:pt idx="242">
                  <c:v>Lou Perac</c:v>
                </c:pt>
                <c:pt idx="243">
                  <c:v>Kiri</c:v>
                </c:pt>
                <c:pt idx="244">
                  <c:v>Kiri</c:v>
                </c:pt>
                <c:pt idx="245">
                  <c:v>All Others</c:v>
                </c:pt>
                <c:pt idx="246">
                  <c:v>Kiri</c:v>
                </c:pt>
                <c:pt idx="247">
                  <c:v>Lactalis: A</c:v>
                </c:pt>
                <c:pt idx="248">
                  <c:v>All Others</c:v>
                </c:pt>
                <c:pt idx="249">
                  <c:v>All Others</c:v>
                </c:pt>
                <c:pt idx="250">
                  <c:v>All Others</c:v>
                </c:pt>
                <c:pt idx="251">
                  <c:v>All Others</c:v>
                </c:pt>
                <c:pt idx="252">
                  <c:v>Tartare</c:v>
                </c:pt>
                <c:pt idx="253">
                  <c:v>All Others</c:v>
                </c:pt>
                <c:pt idx="254">
                  <c:v>All Others</c:v>
                </c:pt>
                <c:pt idx="255">
                  <c:v>All Others</c:v>
                </c:pt>
                <c:pt idx="256">
                  <c:v>All Others</c:v>
                </c:pt>
                <c:pt idx="257">
                  <c:v>All Others</c:v>
                </c:pt>
                <c:pt idx="258">
                  <c:v>All Others</c:v>
                </c:pt>
                <c:pt idx="259">
                  <c:v>All Others</c:v>
                </c:pt>
                <c:pt idx="260">
                  <c:v>All Others</c:v>
                </c:pt>
                <c:pt idx="261">
                  <c:v>Aperivrais</c:v>
                </c:pt>
                <c:pt idx="262">
                  <c:v>Saint Agur</c:v>
                </c:pt>
                <c:pt idx="263">
                  <c:v>All Others</c:v>
                </c:pt>
                <c:pt idx="264">
                  <c:v>All Others</c:v>
                </c:pt>
                <c:pt idx="265">
                  <c:v>All Others</c:v>
                </c:pt>
                <c:pt idx="266">
                  <c:v>Savencia: A</c:v>
                </c:pt>
                <c:pt idx="267">
                  <c:v>Corsica</c:v>
                </c:pt>
                <c:pt idx="268">
                  <c:v>All Others</c:v>
                </c:pt>
                <c:pt idx="269">
                  <c:v>Violife</c:v>
                </c:pt>
                <c:pt idx="270">
                  <c:v>Chavroux</c:v>
                </c:pt>
                <c:pt idx="271">
                  <c:v>Eurial Autr</c:v>
                </c:pt>
                <c:pt idx="272">
                  <c:v>All Others</c:v>
                </c:pt>
                <c:pt idx="273">
                  <c:v>All Others</c:v>
                </c:pt>
                <c:pt idx="274">
                  <c:v>All Others</c:v>
                </c:pt>
                <c:pt idx="275">
                  <c:v>Lou Perac</c:v>
                </c:pt>
                <c:pt idx="276">
                  <c:v>Violife</c:v>
                </c:pt>
                <c:pt idx="277">
                  <c:v>Lactalis: A</c:v>
                </c:pt>
                <c:pt idx="278">
                  <c:v>All Others</c:v>
                </c:pt>
                <c:pt idx="279">
                  <c:v>All Others</c:v>
                </c:pt>
                <c:pt idx="280">
                  <c:v>La Vache Qu</c:v>
                </c:pt>
                <c:pt idx="281">
                  <c:v>All Others</c:v>
                </c:pt>
                <c:pt idx="282">
                  <c:v>All Others</c:v>
                </c:pt>
                <c:pt idx="283">
                  <c:v>Salakis</c:v>
                </c:pt>
                <c:pt idx="284">
                  <c:v>Etoile Du Q</c:v>
                </c:pt>
                <c:pt idx="285">
                  <c:v>All Others</c:v>
                </c:pt>
                <c:pt idx="286">
                  <c:v>Etoile Du V</c:v>
                </c:pt>
                <c:pt idx="287">
                  <c:v>All Others</c:v>
                </c:pt>
                <c:pt idx="288">
                  <c:v>Violife</c:v>
                </c:pt>
                <c:pt idx="289">
                  <c:v>All Others</c:v>
                </c:pt>
                <c:pt idx="290">
                  <c:v>All Others</c:v>
                </c:pt>
                <c:pt idx="291">
                  <c:v>Triballat R</c:v>
                </c:pt>
                <c:pt idx="292">
                  <c:v>Lactalis: A</c:v>
                </c:pt>
                <c:pt idx="293">
                  <c:v>All Others</c:v>
                </c:pt>
                <c:pt idx="294">
                  <c:v>All Others</c:v>
                </c:pt>
                <c:pt idx="295">
                  <c:v>All Others</c:v>
                </c:pt>
                <c:pt idx="296">
                  <c:v>All Others</c:v>
                </c:pt>
                <c:pt idx="297">
                  <c:v>All Others</c:v>
                </c:pt>
                <c:pt idx="298">
                  <c:v>Savencia: A</c:v>
                </c:pt>
                <c:pt idx="299">
                  <c:v>All Others</c:v>
                </c:pt>
                <c:pt idx="300">
                  <c:v>Boursin</c:v>
                </c:pt>
                <c:pt idx="301">
                  <c:v>All Others</c:v>
                </c:pt>
                <c:pt idx="302">
                  <c:v>Entremont</c:v>
                </c:pt>
                <c:pt idx="303">
                  <c:v>All Others</c:v>
                </c:pt>
                <c:pt idx="304">
                  <c:v>All Others</c:v>
                </c:pt>
                <c:pt idx="305">
                  <c:v>All Others</c:v>
                </c:pt>
                <c:pt idx="306">
                  <c:v>All Others</c:v>
                </c:pt>
                <c:pt idx="307">
                  <c:v>All Others</c:v>
                </c:pt>
                <c:pt idx="308">
                  <c:v>All Others</c:v>
                </c:pt>
                <c:pt idx="309">
                  <c:v>All Others</c:v>
                </c:pt>
                <c:pt idx="310">
                  <c:v>Apericube</c:v>
                </c:pt>
                <c:pt idx="311">
                  <c:v>Violife</c:v>
                </c:pt>
                <c:pt idx="312">
                  <c:v>All Others</c:v>
                </c:pt>
                <c:pt idx="313">
                  <c:v>All Others</c:v>
                </c:pt>
                <c:pt idx="314">
                  <c:v>All Others</c:v>
                </c:pt>
                <c:pt idx="315">
                  <c:v>All Others</c:v>
                </c:pt>
                <c:pt idx="316">
                  <c:v>Islos</c:v>
                </c:pt>
                <c:pt idx="317">
                  <c:v>All Others</c:v>
                </c:pt>
                <c:pt idx="318">
                  <c:v>All Others</c:v>
                </c:pt>
                <c:pt idx="319">
                  <c:v>Philadelphi</c:v>
                </c:pt>
                <c:pt idx="320">
                  <c:v>All Others</c:v>
                </c:pt>
                <c:pt idx="321">
                  <c:v>O'Tapas Ape</c:v>
                </c:pt>
                <c:pt idx="322">
                  <c:v>All Others</c:v>
                </c:pt>
                <c:pt idx="323">
                  <c:v>Triballat R</c:v>
                </c:pt>
                <c:pt idx="324">
                  <c:v>All Others</c:v>
                </c:pt>
                <c:pt idx="325">
                  <c:v>All Others</c:v>
                </c:pt>
                <c:pt idx="326">
                  <c:v>Lactalis: A</c:v>
                </c:pt>
                <c:pt idx="327">
                  <c:v>All Others</c:v>
                </c:pt>
                <c:pt idx="328">
                  <c:v>All Others</c:v>
                </c:pt>
                <c:pt idx="329">
                  <c:v>All Others</c:v>
                </c:pt>
                <c:pt idx="330">
                  <c:v>All Others</c:v>
                </c:pt>
                <c:pt idx="331">
                  <c:v>All Others</c:v>
                </c:pt>
                <c:pt idx="332">
                  <c:v>Triballat N</c:v>
                </c:pt>
                <c:pt idx="333">
                  <c:v>All Others</c:v>
                </c:pt>
                <c:pt idx="334">
                  <c:v>All Others</c:v>
                </c:pt>
                <c:pt idx="335">
                  <c:v>All Others</c:v>
                </c:pt>
                <c:pt idx="336">
                  <c:v>All Others</c:v>
                </c:pt>
                <c:pt idx="337">
                  <c:v>All Others</c:v>
                </c:pt>
                <c:pt idx="338">
                  <c:v>Paysan Bret</c:v>
                </c:pt>
                <c:pt idx="339">
                  <c:v>Violife</c:v>
                </c:pt>
                <c:pt idx="340">
                  <c:v>Savencia: A</c:v>
                </c:pt>
                <c:pt idx="341">
                  <c:v>Violife</c:v>
                </c:pt>
                <c:pt idx="342">
                  <c:v>All Others</c:v>
                </c:pt>
                <c:pt idx="343">
                  <c:v>All Others</c:v>
                </c:pt>
                <c:pt idx="344">
                  <c:v>All Others</c:v>
                </c:pt>
                <c:pt idx="345">
                  <c:v>All Others</c:v>
                </c:pt>
                <c:pt idx="346">
                  <c:v>Boursin</c:v>
                </c:pt>
                <c:pt idx="347">
                  <c:v>Entremont</c:v>
                </c:pt>
                <c:pt idx="348">
                  <c:v>Lactalis: A</c:v>
                </c:pt>
                <c:pt idx="349">
                  <c:v>All Others</c:v>
                </c:pt>
                <c:pt idx="350">
                  <c:v>All Others</c:v>
                </c:pt>
                <c:pt idx="351">
                  <c:v>All Others</c:v>
                </c:pt>
                <c:pt idx="352">
                  <c:v>All Others</c:v>
                </c:pt>
                <c:pt idx="353">
                  <c:v>Corsica</c:v>
                </c:pt>
                <c:pt idx="354">
                  <c:v>Richesmonts</c:v>
                </c:pt>
                <c:pt idx="355">
                  <c:v>All Others</c:v>
                </c:pt>
                <c:pt idx="356">
                  <c:v>Casa Azzurr</c:v>
                </c:pt>
                <c:pt idx="357">
                  <c:v>All Others</c:v>
                </c:pt>
                <c:pt idx="358">
                  <c:v>Paysan Bret</c:v>
                </c:pt>
                <c:pt idx="359">
                  <c:v>Etoile Du V</c:v>
                </c:pt>
                <c:pt idx="360">
                  <c:v>All Others</c:v>
                </c:pt>
                <c:pt idx="361">
                  <c:v>All Others</c:v>
                </c:pt>
                <c:pt idx="362">
                  <c:v>All Others</c:v>
                </c:pt>
                <c:pt idx="363">
                  <c:v>Apericube</c:v>
                </c:pt>
                <c:pt idx="364">
                  <c:v>All Others</c:v>
                </c:pt>
                <c:pt idx="365">
                  <c:v>All Others</c:v>
                </c:pt>
                <c:pt idx="366">
                  <c:v>All Others</c:v>
                </c:pt>
                <c:pt idx="367">
                  <c:v>All Others</c:v>
                </c:pt>
                <c:pt idx="368">
                  <c:v>Caprice Des</c:v>
                </c:pt>
                <c:pt idx="369">
                  <c:v>All Others</c:v>
                </c:pt>
                <c:pt idx="370">
                  <c:v>All Others</c:v>
                </c:pt>
                <c:pt idx="371">
                  <c:v>Nurishh</c:v>
                </c:pt>
                <c:pt idx="372">
                  <c:v>Nurishh</c:v>
                </c:pt>
                <c:pt idx="373">
                  <c:v>All Others</c:v>
                </c:pt>
                <c:pt idx="374">
                  <c:v>All Others</c:v>
                </c:pt>
                <c:pt idx="375">
                  <c:v>O'Tapas Ape</c:v>
                </c:pt>
                <c:pt idx="376">
                  <c:v>All Others</c:v>
                </c:pt>
                <c:pt idx="377">
                  <c:v>Apericube</c:v>
                </c:pt>
                <c:pt idx="378">
                  <c:v>Milleret: A</c:v>
                </c:pt>
                <c:pt idx="379">
                  <c:v>Paysan Bret</c:v>
                </c:pt>
                <c:pt idx="380">
                  <c:v>All Others</c:v>
                </c:pt>
                <c:pt idx="381">
                  <c:v>All Others</c:v>
                </c:pt>
                <c:pt idx="382">
                  <c:v>Nurishh</c:v>
                </c:pt>
                <c:pt idx="383">
                  <c:v>All Others</c:v>
                </c:pt>
                <c:pt idx="384">
                  <c:v>All Others</c:v>
                </c:pt>
                <c:pt idx="385">
                  <c:v>Aperivrais</c:v>
                </c:pt>
                <c:pt idx="386">
                  <c:v>All Others</c:v>
                </c:pt>
                <c:pt idx="387">
                  <c:v>All Others</c:v>
                </c:pt>
                <c:pt idx="388">
                  <c:v>Apericube</c:v>
                </c:pt>
                <c:pt idx="389">
                  <c:v>All Others</c:v>
                </c:pt>
                <c:pt idx="390">
                  <c:v>All Others</c:v>
                </c:pt>
                <c:pt idx="391">
                  <c:v>Tartare</c:v>
                </c:pt>
                <c:pt idx="392">
                  <c:v>Tartare</c:v>
                </c:pt>
                <c:pt idx="393">
                  <c:v>All Others</c:v>
                </c:pt>
                <c:pt idx="394">
                  <c:v>All Others</c:v>
                </c:pt>
                <c:pt idx="395">
                  <c:v>All Others</c:v>
                </c:pt>
                <c:pt idx="396">
                  <c:v>All Others</c:v>
                </c:pt>
                <c:pt idx="397">
                  <c:v>President</c:v>
                </c:pt>
                <c:pt idx="398">
                  <c:v>All Others</c:v>
                </c:pt>
                <c:pt idx="399">
                  <c:v>All Others</c:v>
                </c:pt>
                <c:pt idx="400">
                  <c:v>All Others</c:v>
                </c:pt>
                <c:pt idx="401">
                  <c:v>Violife</c:v>
                </c:pt>
                <c:pt idx="402">
                  <c:v>All Others</c:v>
                </c:pt>
                <c:pt idx="403">
                  <c:v>All Others</c:v>
                </c:pt>
                <c:pt idx="404">
                  <c:v>Apericube</c:v>
                </c:pt>
                <c:pt idx="405">
                  <c:v>O'Tapas Ape</c:v>
                </c:pt>
                <c:pt idx="406">
                  <c:v>Tartare</c:v>
                </c:pt>
                <c:pt idx="407">
                  <c:v>Aperivrais</c:v>
                </c:pt>
                <c:pt idx="408">
                  <c:v>Triballat R</c:v>
                </c:pt>
                <c:pt idx="409">
                  <c:v>All Others</c:v>
                </c:pt>
                <c:pt idx="410">
                  <c:v>All Others</c:v>
                </c:pt>
                <c:pt idx="411">
                  <c:v>All Others</c:v>
                </c:pt>
                <c:pt idx="412">
                  <c:v>Apericube</c:v>
                </c:pt>
                <c:pt idx="413">
                  <c:v>All Others</c:v>
                </c:pt>
                <c:pt idx="414">
                  <c:v>All Others</c:v>
                </c:pt>
                <c:pt idx="415">
                  <c:v>Nurishh</c:v>
                </c:pt>
                <c:pt idx="416">
                  <c:v>Violife</c:v>
                </c:pt>
                <c:pt idx="417">
                  <c:v>All Others</c:v>
                </c:pt>
                <c:pt idx="418">
                  <c:v>All Others</c:v>
                </c:pt>
                <c:pt idx="419">
                  <c:v>All Others</c:v>
                </c:pt>
                <c:pt idx="420">
                  <c:v>Apericube</c:v>
                </c:pt>
                <c:pt idx="421">
                  <c:v>All Others</c:v>
                </c:pt>
                <c:pt idx="422">
                  <c:v>All Others</c:v>
                </c:pt>
                <c:pt idx="423">
                  <c:v>All Others</c:v>
                </c:pt>
                <c:pt idx="424">
                  <c:v>Triballat N</c:v>
                </c:pt>
                <c:pt idx="425">
                  <c:v>All Others</c:v>
                </c:pt>
                <c:pt idx="426">
                  <c:v>All Others</c:v>
                </c:pt>
                <c:pt idx="427">
                  <c:v>Apericube</c:v>
                </c:pt>
                <c:pt idx="428">
                  <c:v>All Others</c:v>
                </c:pt>
                <c:pt idx="429">
                  <c:v>Apericube</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Violife</c:v>
                </c:pt>
                <c:pt idx="447">
                  <c:v>Apericube</c:v>
                </c:pt>
                <c:pt idx="448">
                  <c:v>All Others</c:v>
                </c:pt>
                <c:pt idx="449">
                  <c:v>All Others</c:v>
                </c:pt>
                <c:pt idx="450">
                  <c:v>All Others</c:v>
                </c:pt>
                <c:pt idx="451">
                  <c:v>All Others</c:v>
                </c:pt>
                <c:pt idx="452">
                  <c:v>Lactalis: A</c:v>
                </c:pt>
                <c:pt idx="453">
                  <c:v>All Others</c:v>
                </c:pt>
                <c:pt idx="454">
                  <c:v>All Others</c:v>
                </c:pt>
                <c:pt idx="455">
                  <c:v>All Others</c:v>
                </c:pt>
                <c:pt idx="456">
                  <c:v>Aperivrais</c:v>
                </c:pt>
                <c:pt idx="457">
                  <c:v>All Others</c:v>
                </c:pt>
                <c:pt idx="458">
                  <c:v>All Others</c:v>
                </c:pt>
                <c:pt idx="459">
                  <c:v>All Others</c:v>
                </c:pt>
                <c:pt idx="460">
                  <c:v>All Others</c:v>
                </c:pt>
                <c:pt idx="461">
                  <c:v>All Others</c:v>
                </c:pt>
                <c:pt idx="462">
                  <c:v>All Others</c:v>
                </c:pt>
                <c:pt idx="463">
                  <c:v>Violife</c:v>
                </c:pt>
                <c:pt idx="464">
                  <c:v>All Others</c:v>
                </c:pt>
                <c:pt idx="465">
                  <c:v>All Others</c:v>
                </c:pt>
                <c:pt idx="466">
                  <c:v>O'Tapas Ape</c:v>
                </c:pt>
                <c:pt idx="467">
                  <c:v>All Others</c:v>
                </c:pt>
                <c:pt idx="468">
                  <c:v>All Others</c:v>
                </c:pt>
                <c:pt idx="469">
                  <c:v>All Others</c:v>
                </c:pt>
                <c:pt idx="470">
                  <c:v>All Others</c:v>
                </c:pt>
                <c:pt idx="471">
                  <c:v>All Others</c:v>
                </c:pt>
                <c:pt idx="472">
                  <c:v>All Others</c:v>
                </c:pt>
                <c:pt idx="473">
                  <c:v>All Others</c:v>
                </c:pt>
                <c:pt idx="474">
                  <c:v>All Others</c:v>
                </c:pt>
                <c:pt idx="475">
                  <c:v>Boursin</c:v>
                </c:pt>
                <c:pt idx="476">
                  <c:v>All Others</c:v>
                </c:pt>
                <c:pt idx="477">
                  <c:v>Ficello</c:v>
                </c:pt>
                <c:pt idx="478">
                  <c:v>All Others</c:v>
                </c:pt>
                <c:pt idx="479">
                  <c:v>All Others</c:v>
                </c:pt>
                <c:pt idx="480">
                  <c:v>All Others</c:v>
                </c:pt>
                <c:pt idx="481">
                  <c:v>All Others</c:v>
                </c:pt>
                <c:pt idx="482">
                  <c:v>All Others</c:v>
                </c:pt>
                <c:pt idx="483">
                  <c:v>Tartare</c:v>
                </c:pt>
                <c:pt idx="484">
                  <c:v>All Others</c:v>
                </c:pt>
                <c:pt idx="485">
                  <c:v>All Others</c:v>
                </c:pt>
                <c:pt idx="486">
                  <c:v>All Others</c:v>
                </c:pt>
                <c:pt idx="487">
                  <c:v>All Others</c:v>
                </c:pt>
                <c:pt idx="488">
                  <c:v>All Others</c:v>
                </c:pt>
                <c:pt idx="489">
                  <c:v>Kiri</c:v>
                </c:pt>
                <c:pt idx="490">
                  <c:v>All Others</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All Others</c:v>
                </c:pt>
                <c:pt idx="503">
                  <c:v>Istara</c:v>
                </c:pt>
                <c:pt idx="504">
                  <c:v>All Others</c:v>
                </c:pt>
                <c:pt idx="505">
                  <c:v>All Others</c:v>
                </c:pt>
                <c:pt idx="506">
                  <c:v>All Others</c:v>
                </c:pt>
                <c:pt idx="507">
                  <c:v>All Others</c:v>
                </c:pt>
                <c:pt idx="508">
                  <c:v>Triballat R</c:v>
                </c:pt>
                <c:pt idx="509">
                  <c:v>All Others</c:v>
                </c:pt>
                <c:pt idx="510">
                  <c:v>All Others</c:v>
                </c:pt>
                <c:pt idx="511">
                  <c:v>All Others</c:v>
                </c:pt>
                <c:pt idx="512">
                  <c:v>Milleret: A</c:v>
                </c:pt>
                <c:pt idx="513">
                  <c:v>Eurial Autr</c:v>
                </c:pt>
                <c:pt idx="514">
                  <c:v>All Others</c:v>
                </c:pt>
                <c:pt idx="515">
                  <c:v>All Others</c:v>
                </c:pt>
                <c:pt idx="516">
                  <c:v>All Others</c:v>
                </c:pt>
                <c:pt idx="517">
                  <c:v>All Others</c:v>
                </c:pt>
                <c:pt idx="518">
                  <c:v>All Others</c:v>
                </c:pt>
                <c:pt idx="519">
                  <c:v>All Others</c:v>
                </c:pt>
                <c:pt idx="520">
                  <c:v>Eurial Autr</c:v>
                </c:pt>
                <c:pt idx="521">
                  <c:v>All Others</c:v>
                </c:pt>
                <c:pt idx="522">
                  <c:v>All Others</c:v>
                </c:pt>
                <c:pt idx="523">
                  <c:v>All Others</c:v>
                </c:pt>
                <c:pt idx="524">
                  <c:v>Soignon</c:v>
                </c:pt>
                <c:pt idx="525">
                  <c:v>All Others</c:v>
                </c:pt>
                <c:pt idx="526">
                  <c:v>Saint Agur</c:v>
                </c:pt>
                <c:pt idx="527">
                  <c:v>All Others</c:v>
                </c:pt>
                <c:pt idx="528">
                  <c:v>Boursin</c:v>
                </c:pt>
                <c:pt idx="529">
                  <c:v>All Others</c:v>
                </c:pt>
                <c:pt idx="530">
                  <c:v>All Others</c:v>
                </c:pt>
                <c:pt idx="531">
                  <c:v>All Others</c:v>
                </c:pt>
                <c:pt idx="532">
                  <c:v>All Others</c:v>
                </c:pt>
                <c:pt idx="533">
                  <c:v>All Others</c:v>
                </c:pt>
                <c:pt idx="534">
                  <c:v>Nurishh</c:v>
                </c:pt>
                <c:pt idx="535">
                  <c:v>All Others</c:v>
                </c:pt>
                <c:pt idx="536">
                  <c:v>All Others</c:v>
                </c:pt>
                <c:pt idx="537">
                  <c:v>All Others</c:v>
                </c:pt>
                <c:pt idx="538">
                  <c:v>All Others</c:v>
                </c:pt>
                <c:pt idx="539">
                  <c:v>All Others</c:v>
                </c:pt>
                <c:pt idx="540">
                  <c:v>All Others</c:v>
                </c:pt>
                <c:pt idx="541">
                  <c:v>All Others</c:v>
                </c:pt>
                <c:pt idx="542">
                  <c:v>All Others</c:v>
                </c:pt>
                <c:pt idx="543">
                  <c:v>All Others</c:v>
                </c:pt>
                <c:pt idx="544">
                  <c:v>All Others</c:v>
                </c:pt>
                <c:pt idx="545">
                  <c:v>All Others</c:v>
                </c:pt>
                <c:pt idx="546">
                  <c:v>All Others</c:v>
                </c:pt>
                <c:pt idx="547">
                  <c:v>All Others</c:v>
                </c:pt>
                <c:pt idx="548">
                  <c:v>All Others</c:v>
                </c:pt>
                <c:pt idx="549">
                  <c:v>All Others</c:v>
                </c:pt>
                <c:pt idx="550">
                  <c:v>All Others</c:v>
                </c:pt>
                <c:pt idx="551">
                  <c:v>Apericube</c:v>
                </c:pt>
                <c:pt idx="552">
                  <c:v>All Others</c:v>
                </c:pt>
                <c:pt idx="553">
                  <c:v>All Others</c:v>
                </c:pt>
                <c:pt idx="554">
                  <c:v>All Others</c:v>
                </c:pt>
                <c:pt idx="555">
                  <c:v>All Others</c:v>
                </c:pt>
                <c:pt idx="556">
                  <c:v>All Others</c:v>
                </c:pt>
                <c:pt idx="557">
                  <c:v>All Others</c:v>
                </c:pt>
                <c:pt idx="558">
                  <c:v>Nurishh</c:v>
                </c:pt>
                <c:pt idx="559">
                  <c:v>All Others</c:v>
                </c:pt>
                <c:pt idx="560">
                  <c:v>All Others</c:v>
                </c:pt>
                <c:pt idx="561">
                  <c:v>All Others</c:v>
                </c:pt>
                <c:pt idx="562">
                  <c:v>La Vache Qu</c:v>
                </c:pt>
                <c:pt idx="563">
                  <c:v>All Others</c:v>
                </c:pt>
                <c:pt idx="564">
                  <c:v>All Others</c:v>
                </c:pt>
                <c:pt idx="565">
                  <c:v>All Others</c:v>
                </c:pt>
                <c:pt idx="566">
                  <c:v>All Others</c:v>
                </c:pt>
                <c:pt idx="567">
                  <c:v>All Others</c:v>
                </c:pt>
                <c:pt idx="568">
                  <c:v>All Others</c:v>
                </c:pt>
                <c:pt idx="569">
                  <c:v>All Others</c:v>
                </c:pt>
                <c:pt idx="570">
                  <c:v>Eurial Autr</c:v>
                </c:pt>
                <c:pt idx="571">
                  <c:v>All Others</c:v>
                </c:pt>
                <c:pt idx="572">
                  <c:v>Mini Babybe</c:v>
                </c:pt>
                <c:pt idx="573">
                  <c:v>All Others</c:v>
                </c:pt>
                <c:pt idx="574">
                  <c:v>All Others</c:v>
                </c:pt>
                <c:pt idx="575">
                  <c:v>All Others</c:v>
                </c:pt>
                <c:pt idx="576">
                  <c:v>All Others</c:v>
                </c:pt>
                <c:pt idx="577">
                  <c:v>All Others</c:v>
                </c:pt>
                <c:pt idx="578">
                  <c:v>All Others</c:v>
                </c:pt>
                <c:pt idx="579">
                  <c:v>All Others</c:v>
                </c:pt>
                <c:pt idx="580">
                  <c:v>All Others</c:v>
                </c:pt>
                <c:pt idx="581">
                  <c:v>All Others</c:v>
                </c:pt>
                <c:pt idx="582">
                  <c:v>All Others</c:v>
                </c:pt>
                <c:pt idx="583">
                  <c:v>All Others</c:v>
                </c:pt>
                <c:pt idx="584">
                  <c:v>All Others</c:v>
                </c:pt>
                <c:pt idx="585">
                  <c:v>All Others</c:v>
                </c:pt>
                <c:pt idx="586">
                  <c:v>All Others</c:v>
                </c:pt>
                <c:pt idx="587">
                  <c:v>All Others</c:v>
                </c:pt>
                <c:pt idx="588">
                  <c:v>All Others</c:v>
                </c:pt>
                <c:pt idx="589">
                  <c:v>All Others</c:v>
                </c:pt>
                <c:pt idx="590">
                  <c:v>All Others</c:v>
                </c:pt>
                <c:pt idx="591">
                  <c:v>All Others</c:v>
                </c:pt>
                <c:pt idx="592">
                  <c:v>St Moret</c:v>
                </c:pt>
                <c:pt idx="593">
                  <c:v>All Others</c:v>
                </c:pt>
                <c:pt idx="594">
                  <c:v>All Others</c:v>
                </c:pt>
                <c:pt idx="595">
                  <c:v>All Others</c:v>
                </c:pt>
                <c:pt idx="596">
                  <c:v>All Others</c:v>
                </c:pt>
                <c:pt idx="597">
                  <c:v>All Others</c:v>
                </c:pt>
                <c:pt idx="598">
                  <c:v>Lactalis: A</c:v>
                </c:pt>
                <c:pt idx="599">
                  <c:v>Kiri</c:v>
                </c:pt>
                <c:pt idx="600">
                  <c:v>All Others</c:v>
                </c:pt>
                <c:pt idx="601">
                  <c:v>All Others</c:v>
                </c:pt>
                <c:pt idx="602">
                  <c:v>All Others</c:v>
                </c:pt>
                <c:pt idx="603">
                  <c:v>All Others</c:v>
                </c:pt>
                <c:pt idx="604">
                  <c:v>All Others</c:v>
                </c:pt>
                <c:pt idx="605">
                  <c:v>All Others</c:v>
                </c:pt>
                <c:pt idx="606">
                  <c:v>Boursin</c:v>
                </c:pt>
                <c:pt idx="607">
                  <c:v>All Others</c:v>
                </c:pt>
                <c:pt idx="608">
                  <c:v>All Others</c:v>
                </c:pt>
                <c:pt idx="609">
                  <c:v>All Others</c:v>
                </c:pt>
                <c:pt idx="610">
                  <c:v>All Others</c:v>
                </c:pt>
                <c:pt idx="611">
                  <c:v>All Others</c:v>
                </c:pt>
                <c:pt idx="612">
                  <c:v>Triballat R</c:v>
                </c:pt>
                <c:pt idx="613">
                  <c:v>All Others</c:v>
                </c:pt>
                <c:pt idx="614">
                  <c:v>Lactalis: A</c:v>
                </c:pt>
                <c:pt idx="615">
                  <c:v>Lactalis: A</c:v>
                </c:pt>
                <c:pt idx="616">
                  <c:v>All Others</c:v>
                </c:pt>
                <c:pt idx="617">
                  <c:v>All Others</c:v>
                </c:pt>
                <c:pt idx="618">
                  <c:v>Lactalis: A</c:v>
                </c:pt>
                <c:pt idx="619">
                  <c:v>All Others</c:v>
                </c:pt>
                <c:pt idx="620">
                  <c:v>All Others</c:v>
                </c:pt>
                <c:pt idx="621">
                  <c:v>All Others</c:v>
                </c:pt>
                <c:pt idx="622">
                  <c:v>All Others</c:v>
                </c:pt>
                <c:pt idx="623">
                  <c:v>All Others</c:v>
                </c:pt>
                <c:pt idx="624">
                  <c:v>All Others</c:v>
                </c:pt>
                <c:pt idx="625">
                  <c:v>All Others</c:v>
                </c:pt>
                <c:pt idx="626">
                  <c:v>All Others</c:v>
                </c:pt>
                <c:pt idx="627">
                  <c:v>All Others</c:v>
                </c:pt>
                <c:pt idx="628">
                  <c:v>All Others</c:v>
                </c:pt>
                <c:pt idx="629">
                  <c:v>All Others</c:v>
                </c:pt>
                <c:pt idx="630">
                  <c:v>All Others</c:v>
                </c:pt>
                <c:pt idx="631">
                  <c:v>All Others</c:v>
                </c:pt>
                <c:pt idx="632">
                  <c:v>All Others</c:v>
                </c:pt>
                <c:pt idx="633">
                  <c:v>All Others</c:v>
                </c:pt>
                <c:pt idx="634">
                  <c:v>Triballat R</c:v>
                </c:pt>
                <c:pt idx="635">
                  <c:v>Violife</c:v>
                </c:pt>
                <c:pt idx="636">
                  <c:v>All Others</c:v>
                </c:pt>
                <c:pt idx="637">
                  <c:v>All Others</c:v>
                </c:pt>
                <c:pt idx="638">
                  <c:v>Istara</c:v>
                </c:pt>
                <c:pt idx="639">
                  <c:v>All Others</c:v>
                </c:pt>
                <c:pt idx="640">
                  <c:v>All Others</c:v>
                </c:pt>
                <c:pt idx="641">
                  <c:v>All Others</c:v>
                </c:pt>
                <c:pt idx="642">
                  <c:v>Mini Babybe</c:v>
                </c:pt>
                <c:pt idx="643">
                  <c:v>St Moret</c:v>
                </c:pt>
                <c:pt idx="644">
                  <c:v>All Others</c:v>
                </c:pt>
                <c:pt idx="645">
                  <c:v>Islos</c:v>
                </c:pt>
                <c:pt idx="646">
                  <c:v>Leerdammer</c:v>
                </c:pt>
                <c:pt idx="647">
                  <c:v>St Moret</c:v>
                </c:pt>
                <c:pt idx="648">
                  <c:v>All Others</c:v>
                </c:pt>
                <c:pt idx="649">
                  <c:v>Eurial Autr</c:v>
                </c:pt>
                <c:pt idx="650">
                  <c:v>All Others</c:v>
                </c:pt>
                <c:pt idx="651">
                  <c:v>All Others</c:v>
                </c:pt>
                <c:pt idx="652">
                  <c:v>All Others</c:v>
                </c:pt>
                <c:pt idx="653">
                  <c:v>St Moret</c:v>
                </c:pt>
                <c:pt idx="654">
                  <c:v>All Others</c:v>
                </c:pt>
                <c:pt idx="655">
                  <c:v>All Others</c:v>
                </c:pt>
                <c:pt idx="656">
                  <c:v>Le Brebiou</c:v>
                </c:pt>
                <c:pt idx="657">
                  <c:v>Etorki</c:v>
                </c:pt>
                <c:pt idx="658">
                  <c:v>All Others</c:v>
                </c:pt>
                <c:pt idx="659">
                  <c:v>All Others</c:v>
                </c:pt>
                <c:pt idx="660">
                  <c:v>All Others</c:v>
                </c:pt>
                <c:pt idx="661">
                  <c:v>All Others</c:v>
                </c:pt>
                <c:pt idx="662">
                  <c:v>All Others</c:v>
                </c:pt>
                <c:pt idx="663">
                  <c:v>Tartare</c:v>
                </c:pt>
                <c:pt idx="664">
                  <c:v>Apericube</c:v>
                </c:pt>
                <c:pt idx="665">
                  <c:v>Boursin</c:v>
                </c:pt>
                <c:pt idx="666">
                  <c:v>All Others</c:v>
                </c:pt>
                <c:pt idx="667">
                  <c:v>All Others</c:v>
                </c:pt>
                <c:pt idx="668">
                  <c:v>All Others</c:v>
                </c:pt>
                <c:pt idx="669">
                  <c:v>All Others</c:v>
                </c:pt>
                <c:pt idx="670">
                  <c:v>All Others</c:v>
                </c:pt>
                <c:pt idx="671">
                  <c:v>Nurishh</c:v>
                </c:pt>
                <c:pt idx="672">
                  <c:v>Nurishh</c:v>
                </c:pt>
                <c:pt idx="673">
                  <c:v>All Others</c:v>
                </c:pt>
                <c:pt idx="674">
                  <c:v>P'Tit Louis</c:v>
                </c:pt>
                <c:pt idx="675">
                  <c:v>All Others</c:v>
                </c:pt>
                <c:pt idx="676">
                  <c:v>President</c:v>
                </c:pt>
                <c:pt idx="677">
                  <c:v>Nurishh</c:v>
                </c:pt>
                <c:pt idx="678">
                  <c:v>Petit Billy</c:v>
                </c:pt>
                <c:pt idx="679">
                  <c:v>Caprice Des</c:v>
                </c:pt>
              </c:strCache>
            </c:strRef>
          </c:cat>
          <c:val>
            <c:numRef>
              <c:f>Sheet1!$C$2:$C$681</c:f>
              <c:numCache>
                <c:formatCode>General</c:formatCode>
                <c:ptCount val="680"/>
                <c:pt idx="0">
                  <c:v>0.14603858937888273</c:v>
                </c:pt>
                <c:pt idx="1">
                  <c:v>0.18589861754426004</c:v>
                </c:pt>
                <c:pt idx="2">
                  <c:v>0.19821812547988529</c:v>
                </c:pt>
                <c:pt idx="3">
                  <c:v>0.20938891668717879</c:v>
                </c:pt>
                <c:pt idx="4">
                  <c:v>0.21966337012573584</c:v>
                </c:pt>
                <c:pt idx="5">
                  <c:v>0.22955409295821222</c:v>
                </c:pt>
                <c:pt idx="6">
                  <c:v>0.2388928936582089</c:v>
                </c:pt>
                <c:pt idx="7">
                  <c:v>0.25747307276923614</c:v>
                </c:pt>
                <c:pt idx="8">
                  <c:v>0.26669776724087191</c:v>
                </c:pt>
                <c:pt idx="9">
                  <c:v>0.27590483815564693</c:v>
                </c:pt>
                <c:pt idx="10">
                  <c:v>0.28437631464085472</c:v>
                </c:pt>
                <c:pt idx="11">
                  <c:v>0.29217155301934217</c:v>
                </c:pt>
                <c:pt idx="12">
                  <c:v>0.29986685964270454</c:v>
                </c:pt>
                <c:pt idx="13">
                  <c:v>0.31502526132910247</c:v>
                </c:pt>
                <c:pt idx="14">
                  <c:v>0.3224057846426332</c:v>
                </c:pt>
                <c:pt idx="15">
                  <c:v>0.35677908849703455</c:v>
                </c:pt>
                <c:pt idx="16">
                  <c:v>0.37666212743580219</c:v>
                </c:pt>
                <c:pt idx="17">
                  <c:v>0.38314907453924629</c:v>
                </c:pt>
                <c:pt idx="18">
                  <c:v>0.40213457254057111</c:v>
                </c:pt>
                <c:pt idx="19">
                  <c:v>0.40820584204409338</c:v>
                </c:pt>
                <c:pt idx="20">
                  <c:v>0.41423737260405713</c:v>
                </c:pt>
                <c:pt idx="21">
                  <c:v>0.42603880755347484</c:v>
                </c:pt>
                <c:pt idx="22">
                  <c:v>0.43179992308199755</c:v>
                </c:pt>
                <c:pt idx="23">
                  <c:v>0.44305525694372438</c:v>
                </c:pt>
                <c:pt idx="24">
                  <c:v>0.44863195535643663</c:v>
                </c:pt>
                <c:pt idx="25">
                  <c:v>0.45415375489989024</c:v>
                </c:pt>
                <c:pt idx="26">
                  <c:v>0.46494084987735185</c:v>
                </c:pt>
                <c:pt idx="27">
                  <c:v>0.47021430394106389</c:v>
                </c:pt>
                <c:pt idx="28">
                  <c:v>0.4753893044283472</c:v>
                </c:pt>
                <c:pt idx="29">
                  <c:v>0.48053506218669129</c:v>
                </c:pt>
                <c:pt idx="30">
                  <c:v>0.48563775796409736</c:v>
                </c:pt>
                <c:pt idx="31">
                  <c:v>0.49072773452946483</c:v>
                </c:pt>
                <c:pt idx="32">
                  <c:v>0.49578501928226815</c:v>
                </c:pt>
                <c:pt idx="33">
                  <c:v>0.50084092898512134</c:v>
                </c:pt>
                <c:pt idx="34">
                  <c:v>0.51090797905620167</c:v>
                </c:pt>
                <c:pt idx="35">
                  <c:v>0.52055966091359895</c:v>
                </c:pt>
                <c:pt idx="36">
                  <c:v>0.5252952412718217</c:v>
                </c:pt>
                <c:pt idx="37">
                  <c:v>0.53001554711684851</c:v>
                </c:pt>
                <c:pt idx="38">
                  <c:v>0.53470541852297926</c:v>
                </c:pt>
                <c:pt idx="39">
                  <c:v>0.53930909721473652</c:v>
                </c:pt>
                <c:pt idx="40">
                  <c:v>0.54380551055163473</c:v>
                </c:pt>
                <c:pt idx="41">
                  <c:v>0.54826775389727245</c:v>
                </c:pt>
                <c:pt idx="42">
                  <c:v>0.55715643199609677</c:v>
                </c:pt>
                <c:pt idx="43">
                  <c:v>0.56149111654136152</c:v>
                </c:pt>
                <c:pt idx="44">
                  <c:v>0.56580665351607085</c:v>
                </c:pt>
                <c:pt idx="45">
                  <c:v>0.57010904730500689</c:v>
                </c:pt>
                <c:pt idx="46">
                  <c:v>0.57430461117156806</c:v>
                </c:pt>
                <c:pt idx="47">
                  <c:v>0.58664892730004348</c:v>
                </c:pt>
                <c:pt idx="48">
                  <c:v>0.59070849872653763</c:v>
                </c:pt>
                <c:pt idx="49">
                  <c:v>0.59474275777519992</c:v>
                </c:pt>
                <c:pt idx="50">
                  <c:v>0.59870556006145426</c:v>
                </c:pt>
                <c:pt idx="51">
                  <c:v>0.60636362574866753</c:v>
                </c:pt>
                <c:pt idx="52">
                  <c:v>0.61009214244092025</c:v>
                </c:pt>
                <c:pt idx="53">
                  <c:v>0.61375773913920528</c:v>
                </c:pt>
                <c:pt idx="54">
                  <c:v>0.6173334992407491</c:v>
                </c:pt>
                <c:pt idx="55">
                  <c:v>0.62089601302777331</c:v>
                </c:pt>
                <c:pt idx="56">
                  <c:v>0.62445062027758436</c:v>
                </c:pt>
                <c:pt idx="57">
                  <c:v>0.62793788445608822</c:v>
                </c:pt>
                <c:pt idx="58">
                  <c:v>0.63141754002486805</c:v>
                </c:pt>
                <c:pt idx="59">
                  <c:v>0.63482929104361108</c:v>
                </c:pt>
                <c:pt idx="60">
                  <c:v>0.63822034756060475</c:v>
                </c:pt>
                <c:pt idx="61">
                  <c:v>0.64160436840535362</c:v>
                </c:pt>
                <c:pt idx="62">
                  <c:v>0.64835525634672353</c:v>
                </c:pt>
                <c:pt idx="63">
                  <c:v>0.65170848753133925</c:v>
                </c:pt>
                <c:pt idx="64">
                  <c:v>0.65831548795417849</c:v>
                </c:pt>
                <c:pt idx="65">
                  <c:v>0.66791206468482467</c:v>
                </c:pt>
                <c:pt idx="66">
                  <c:v>0.67104971095476051</c:v>
                </c:pt>
                <c:pt idx="67">
                  <c:v>0.67411359725362185</c:v>
                </c:pt>
                <c:pt idx="68">
                  <c:v>0.6771498908834841</c:v>
                </c:pt>
                <c:pt idx="69">
                  <c:v>0.68014152976621611</c:v>
                </c:pt>
                <c:pt idx="70">
                  <c:v>0.68313301968520357</c:v>
                </c:pt>
                <c:pt idx="71">
                  <c:v>0.68611361233333634</c:v>
                </c:pt>
                <c:pt idx="72">
                  <c:v>0.6890908590265904</c:v>
                </c:pt>
                <c:pt idx="73">
                  <c:v>0.69202931785250144</c:v>
                </c:pt>
                <c:pt idx="74">
                  <c:v>0.69496727249343082</c:v>
                </c:pt>
                <c:pt idx="75">
                  <c:v>0.69789379130227502</c:v>
                </c:pt>
                <c:pt idx="76">
                  <c:v>0.70077354695406546</c:v>
                </c:pt>
                <c:pt idx="77">
                  <c:v>0.70359356814427276</c:v>
                </c:pt>
                <c:pt idx="78">
                  <c:v>0.70638507996551414</c:v>
                </c:pt>
                <c:pt idx="79">
                  <c:v>0.70916450280594401</c:v>
                </c:pt>
                <c:pt idx="80">
                  <c:v>0.71193329192675969</c:v>
                </c:pt>
                <c:pt idx="81">
                  <c:v>0.71467184140742224</c:v>
                </c:pt>
                <c:pt idx="82">
                  <c:v>0.71733500377456938</c:v>
                </c:pt>
                <c:pt idx="83">
                  <c:v>0.72259902728737346</c:v>
                </c:pt>
                <c:pt idx="84">
                  <c:v>0.72516988942661864</c:v>
                </c:pt>
                <c:pt idx="85">
                  <c:v>0.72773277627615307</c:v>
                </c:pt>
                <c:pt idx="86">
                  <c:v>0.73026059935195942</c:v>
                </c:pt>
                <c:pt idx="87">
                  <c:v>0.73278774636154032</c:v>
                </c:pt>
                <c:pt idx="88">
                  <c:v>0.73530242625157349</c:v>
                </c:pt>
                <c:pt idx="89">
                  <c:v>0.74027922474729635</c:v>
                </c:pt>
                <c:pt idx="90">
                  <c:v>0.74518015486202127</c:v>
                </c:pt>
                <c:pt idx="91">
                  <c:v>0.74762595620830286</c:v>
                </c:pt>
                <c:pt idx="92">
                  <c:v>0.75003392076345698</c:v>
                </c:pt>
                <c:pt idx="93">
                  <c:v>0.75242455968923949</c:v>
                </c:pt>
                <c:pt idx="94">
                  <c:v>0.75480657017658503</c:v>
                </c:pt>
                <c:pt idx="95">
                  <c:v>0.75717065917958071</c:v>
                </c:pt>
                <c:pt idx="96">
                  <c:v>0.75951861426316158</c:v>
                </c:pt>
                <c:pt idx="97">
                  <c:v>0.76183172328925641</c:v>
                </c:pt>
                <c:pt idx="98">
                  <c:v>0.76414240306043935</c:v>
                </c:pt>
                <c:pt idx="99">
                  <c:v>0.76644573777313874</c:v>
                </c:pt>
                <c:pt idx="100">
                  <c:v>0.7687394815124361</c:v>
                </c:pt>
                <c:pt idx="101">
                  <c:v>0.7710325491855079</c:v>
                </c:pt>
                <c:pt idx="102">
                  <c:v>0.77330949439791452</c:v>
                </c:pt>
                <c:pt idx="103">
                  <c:v>0.77553932123203029</c:v>
                </c:pt>
                <c:pt idx="104">
                  <c:v>0.77773802610227505</c:v>
                </c:pt>
                <c:pt idx="105">
                  <c:v>0.77993243394142564</c:v>
                </c:pt>
                <c:pt idx="106">
                  <c:v>0.78419184596067082</c:v>
                </c:pt>
                <c:pt idx="107">
                  <c:v>0.78630597380023348</c:v>
                </c:pt>
                <c:pt idx="108">
                  <c:v>0.79041036039635204</c:v>
                </c:pt>
                <c:pt idx="109">
                  <c:v>0.79245315751975209</c:v>
                </c:pt>
                <c:pt idx="110">
                  <c:v>0.79448528654728912</c:v>
                </c:pt>
                <c:pt idx="111">
                  <c:v>0.796489605189585</c:v>
                </c:pt>
                <c:pt idx="112">
                  <c:v>0.80036548140149244</c:v>
                </c:pt>
                <c:pt idx="113">
                  <c:v>0.80230277781746939</c:v>
                </c:pt>
                <c:pt idx="114">
                  <c:v>0.80423707204105532</c:v>
                </c:pt>
                <c:pt idx="115">
                  <c:v>0.8061668056823067</c:v>
                </c:pt>
                <c:pt idx="116">
                  <c:v>0.80807848033421303</c:v>
                </c:pt>
                <c:pt idx="117">
                  <c:v>0.80995370470369166</c:v>
                </c:pt>
                <c:pt idx="118">
                  <c:v>0.81180156557916283</c:v>
                </c:pt>
                <c:pt idx="119">
                  <c:v>0.81361839616075959</c:v>
                </c:pt>
                <c:pt idx="120">
                  <c:v>0.81721010684172479</c:v>
                </c:pt>
                <c:pt idx="121">
                  <c:v>0.81899256117456853</c:v>
                </c:pt>
                <c:pt idx="122">
                  <c:v>0.82075775863053824</c:v>
                </c:pt>
                <c:pt idx="123">
                  <c:v>0.82427580101042563</c:v>
                </c:pt>
                <c:pt idx="124">
                  <c:v>0.82769998477246765</c:v>
                </c:pt>
                <c:pt idx="125">
                  <c:v>0.82937633108416031</c:v>
                </c:pt>
                <c:pt idx="126">
                  <c:v>0.83104600840359488</c:v>
                </c:pt>
                <c:pt idx="127">
                  <c:v>0.83269340991383745</c:v>
                </c:pt>
                <c:pt idx="128">
                  <c:v>0.83432335974846306</c:v>
                </c:pt>
                <c:pt idx="129">
                  <c:v>0.83595094908067424</c:v>
                </c:pt>
                <c:pt idx="130">
                  <c:v>0.83757498620051429</c:v>
                </c:pt>
                <c:pt idx="131">
                  <c:v>0.83918246542720498</c:v>
                </c:pt>
                <c:pt idx="132">
                  <c:v>0.84070811772311382</c:v>
                </c:pt>
                <c:pt idx="133">
                  <c:v>0.84222861358170975</c:v>
                </c:pt>
                <c:pt idx="134">
                  <c:v>0.84374800940034556</c:v>
                </c:pt>
                <c:pt idx="135">
                  <c:v>0.84524280328362378</c:v>
                </c:pt>
                <c:pt idx="136">
                  <c:v>0.84671665057266177</c:v>
                </c:pt>
                <c:pt idx="137">
                  <c:v>0.84818071208955481</c:v>
                </c:pt>
                <c:pt idx="138">
                  <c:v>0.84964465901895192</c:v>
                </c:pt>
                <c:pt idx="139">
                  <c:v>0.85253055656051957</c:v>
                </c:pt>
                <c:pt idx="140">
                  <c:v>0.8539592678349448</c:v>
                </c:pt>
                <c:pt idx="141">
                  <c:v>0.85537624534979573</c:v>
                </c:pt>
                <c:pt idx="142">
                  <c:v>0.85678481214245172</c:v>
                </c:pt>
                <c:pt idx="143">
                  <c:v>0.85819172887516759</c:v>
                </c:pt>
                <c:pt idx="144">
                  <c:v>0.85958740457454119</c:v>
                </c:pt>
                <c:pt idx="145">
                  <c:v>0.86098063956025328</c:v>
                </c:pt>
                <c:pt idx="146">
                  <c:v>0.8623638825163279</c:v>
                </c:pt>
                <c:pt idx="147">
                  <c:v>0.86373064779050024</c:v>
                </c:pt>
                <c:pt idx="148">
                  <c:v>0.86508163436649488</c:v>
                </c:pt>
                <c:pt idx="149">
                  <c:v>0.86642832391139535</c:v>
                </c:pt>
                <c:pt idx="150">
                  <c:v>0.8677635432479619</c:v>
                </c:pt>
                <c:pt idx="151">
                  <c:v>0.86907380542793378</c:v>
                </c:pt>
                <c:pt idx="152">
                  <c:v>0.87038093936926908</c:v>
                </c:pt>
                <c:pt idx="153">
                  <c:v>0.87166273801527339</c:v>
                </c:pt>
                <c:pt idx="154">
                  <c:v>0.87292645475443365</c:v>
                </c:pt>
                <c:pt idx="155">
                  <c:v>0.87418453378879835</c:v>
                </c:pt>
                <c:pt idx="156">
                  <c:v>0.87542968735363191</c:v>
                </c:pt>
                <c:pt idx="157">
                  <c:v>0.87791357758353195</c:v>
                </c:pt>
                <c:pt idx="158">
                  <c:v>0.87913899918158134</c:v>
                </c:pt>
                <c:pt idx="159">
                  <c:v>0.88034164078545707</c:v>
                </c:pt>
                <c:pt idx="160">
                  <c:v>0.88152482543253852</c:v>
                </c:pt>
                <c:pt idx="161">
                  <c:v>0.88270438911475135</c:v>
                </c:pt>
                <c:pt idx="162">
                  <c:v>0.88386838035627902</c:v>
                </c:pt>
                <c:pt idx="163">
                  <c:v>0.88501252504352657</c:v>
                </c:pt>
                <c:pt idx="164">
                  <c:v>0.88613386681910133</c:v>
                </c:pt>
                <c:pt idx="165">
                  <c:v>0.88723523599415055</c:v>
                </c:pt>
                <c:pt idx="166">
                  <c:v>0.88832416096715117</c:v>
                </c:pt>
                <c:pt idx="167">
                  <c:v>0.88941098898897786</c:v>
                </c:pt>
                <c:pt idx="168">
                  <c:v>0.89049631591460898</c:v>
                </c:pt>
                <c:pt idx="169">
                  <c:v>0.89157750623164012</c:v>
                </c:pt>
                <c:pt idx="170">
                  <c:v>0.89265423909508301</c:v>
                </c:pt>
                <c:pt idx="171">
                  <c:v>0.89371824128773769</c:v>
                </c:pt>
                <c:pt idx="172">
                  <c:v>0.89474609112545367</c:v>
                </c:pt>
                <c:pt idx="173">
                  <c:v>0.89575407149139041</c:v>
                </c:pt>
                <c:pt idx="174">
                  <c:v>0.89675058164899324</c:v>
                </c:pt>
                <c:pt idx="175">
                  <c:v>0.89773874983689872</c:v>
                </c:pt>
                <c:pt idx="176">
                  <c:v>0.89969106867358084</c:v>
                </c:pt>
                <c:pt idx="177">
                  <c:v>0.90064095317912496</c:v>
                </c:pt>
                <c:pt idx="178">
                  <c:v>0.90159019599469237</c:v>
                </c:pt>
                <c:pt idx="179">
                  <c:v>0.90253683767410409</c:v>
                </c:pt>
                <c:pt idx="180">
                  <c:v>0.90346676103787227</c:v>
                </c:pt>
                <c:pt idx="181">
                  <c:v>0.9043852714870545</c:v>
                </c:pt>
                <c:pt idx="182">
                  <c:v>0.90530161623256522</c:v>
                </c:pt>
                <c:pt idx="183">
                  <c:v>0.90712808362256236</c:v>
                </c:pt>
                <c:pt idx="184">
                  <c:v>0.90802768713493032</c:v>
                </c:pt>
                <c:pt idx="185">
                  <c:v>0.90892132063876485</c:v>
                </c:pt>
                <c:pt idx="186">
                  <c:v>0.90980936227280229</c:v>
                </c:pt>
                <c:pt idx="187">
                  <c:v>0.91067849697002556</c:v>
                </c:pt>
                <c:pt idx="188">
                  <c:v>0.91154586701981277</c:v>
                </c:pt>
                <c:pt idx="189">
                  <c:v>0.91241172451465491</c:v>
                </c:pt>
                <c:pt idx="190">
                  <c:v>0.91326918274605173</c:v>
                </c:pt>
                <c:pt idx="191">
                  <c:v>0.91412410859379034</c:v>
                </c:pt>
                <c:pt idx="192">
                  <c:v>0.91497646768162211</c:v>
                </c:pt>
                <c:pt idx="193">
                  <c:v>0.91582309739466172</c:v>
                </c:pt>
                <c:pt idx="194">
                  <c:v>0.91666659886906476</c:v>
                </c:pt>
                <c:pt idx="195">
                  <c:v>0.91748815683801377</c:v>
                </c:pt>
                <c:pt idx="196">
                  <c:v>0.91830006653981278</c:v>
                </c:pt>
                <c:pt idx="197">
                  <c:v>0.9190960371209399</c:v>
                </c:pt>
                <c:pt idx="198">
                  <c:v>0.91986435773932007</c:v>
                </c:pt>
                <c:pt idx="199">
                  <c:v>0.9206292178153257</c:v>
                </c:pt>
                <c:pt idx="200">
                  <c:v>0.9213689030184945</c:v>
                </c:pt>
                <c:pt idx="201">
                  <c:v>0.92210450890681128</c:v>
                </c:pt>
                <c:pt idx="202">
                  <c:v>0.9228371698964849</c:v>
                </c:pt>
                <c:pt idx="203">
                  <c:v>0.92356154621020903</c:v>
                </c:pt>
                <c:pt idx="204">
                  <c:v>0.92427088864447848</c:v>
                </c:pt>
                <c:pt idx="205">
                  <c:v>0.92496491073055365</c:v>
                </c:pt>
                <c:pt idx="206">
                  <c:v>0.92565236695311703</c:v>
                </c:pt>
                <c:pt idx="207">
                  <c:v>0.92633135515973763</c:v>
                </c:pt>
                <c:pt idx="208">
                  <c:v>0.92700477441406015</c:v>
                </c:pt>
                <c:pt idx="209">
                  <c:v>0.927674435198519</c:v>
                </c:pt>
                <c:pt idx="210">
                  <c:v>0.92832960066475367</c:v>
                </c:pt>
                <c:pt idx="211">
                  <c:v>0.92898171810359897</c:v>
                </c:pt>
                <c:pt idx="212">
                  <c:v>0.92962528731525429</c:v>
                </c:pt>
                <c:pt idx="213">
                  <c:v>0.93026265734338454</c:v>
                </c:pt>
                <c:pt idx="214">
                  <c:v>0.93089479072295467</c:v>
                </c:pt>
                <c:pt idx="215">
                  <c:v>0.93151850192158037</c:v>
                </c:pt>
                <c:pt idx="216">
                  <c:v>0.93214060889526418</c:v>
                </c:pt>
                <c:pt idx="217">
                  <c:v>0.93274975602316812</c:v>
                </c:pt>
                <c:pt idx="218">
                  <c:v>0.93334635582027725</c:v>
                </c:pt>
                <c:pt idx="219">
                  <c:v>0.93393888776128386</c:v>
                </c:pt>
                <c:pt idx="220">
                  <c:v>0.93508271160354306</c:v>
                </c:pt>
                <c:pt idx="221">
                  <c:v>0.93565136351041589</c:v>
                </c:pt>
                <c:pt idx="222">
                  <c:v>0.93621834243984947</c:v>
                </c:pt>
                <c:pt idx="223">
                  <c:v>0.93678414111807584</c:v>
                </c:pt>
                <c:pt idx="224">
                  <c:v>0.93734176970784855</c:v>
                </c:pt>
                <c:pt idx="225">
                  <c:v>0.93789211053288557</c:v>
                </c:pt>
                <c:pt idx="226">
                  <c:v>0.93843897935679854</c:v>
                </c:pt>
                <c:pt idx="227">
                  <c:v>0.93898120738712987</c:v>
                </c:pt>
                <c:pt idx="228">
                  <c:v>0.93952063948256259</c:v>
                </c:pt>
                <c:pt idx="229">
                  <c:v>0.94005421615695772</c:v>
                </c:pt>
                <c:pt idx="230">
                  <c:v>0.94057715911173867</c:v>
                </c:pt>
                <c:pt idx="231">
                  <c:v>0.94108603072203001</c:v>
                </c:pt>
                <c:pt idx="232">
                  <c:v>0.94159212931492187</c:v>
                </c:pt>
                <c:pt idx="233">
                  <c:v>0.94258610708886659</c:v>
                </c:pt>
                <c:pt idx="234">
                  <c:v>0.94307903957848604</c:v>
                </c:pt>
                <c:pt idx="235">
                  <c:v>0.94357094078064296</c:v>
                </c:pt>
                <c:pt idx="236">
                  <c:v>0.94405452293060166</c:v>
                </c:pt>
                <c:pt idx="237">
                  <c:v>0.94453681024185732</c:v>
                </c:pt>
                <c:pt idx="238">
                  <c:v>0.94501481198076842</c:v>
                </c:pt>
                <c:pt idx="239">
                  <c:v>0.94548851668858536</c:v>
                </c:pt>
                <c:pt idx="240">
                  <c:v>0.94596149949517849</c:v>
                </c:pt>
                <c:pt idx="241">
                  <c:v>0.94642884459697618</c:v>
                </c:pt>
                <c:pt idx="242">
                  <c:v>0.94689510111756336</c:v>
                </c:pt>
                <c:pt idx="243">
                  <c:v>0.94736026905693993</c:v>
                </c:pt>
                <c:pt idx="244">
                  <c:v>0.94825946005432293</c:v>
                </c:pt>
                <c:pt idx="245">
                  <c:v>0.94869850204464723</c:v>
                </c:pt>
                <c:pt idx="246">
                  <c:v>0.94913747528247405</c:v>
                </c:pt>
                <c:pt idx="247">
                  <c:v>0.94957621934530911</c:v>
                </c:pt>
                <c:pt idx="248">
                  <c:v>0.95001259144698025</c:v>
                </c:pt>
                <c:pt idx="249">
                  <c:v>0.9504485281161672</c:v>
                </c:pt>
                <c:pt idx="250">
                  <c:v>0.95088163447420682</c:v>
                </c:pt>
                <c:pt idx="251">
                  <c:v>0.95131306785480707</c:v>
                </c:pt>
                <c:pt idx="252">
                  <c:v>0.95172873399597935</c:v>
                </c:pt>
                <c:pt idx="253">
                  <c:v>0.95213611546120214</c:v>
                </c:pt>
                <c:pt idx="254">
                  <c:v>0.95254044889903544</c:v>
                </c:pt>
                <c:pt idx="255">
                  <c:v>0.95294155096948596</c:v>
                </c:pt>
                <c:pt idx="256">
                  <c:v>0.95333729034513104</c:v>
                </c:pt>
                <c:pt idx="257">
                  <c:v>0.95372865247843486</c:v>
                </c:pt>
                <c:pt idx="258">
                  <c:v>0.95411916666426944</c:v>
                </c:pt>
                <c:pt idx="259">
                  <c:v>0.95450316082159048</c:v>
                </c:pt>
                <c:pt idx="260">
                  <c:v>0.95487915677170165</c:v>
                </c:pt>
                <c:pt idx="261">
                  <c:v>0.95525140571069878</c:v>
                </c:pt>
                <c:pt idx="262">
                  <c:v>0.9556154501849935</c:v>
                </c:pt>
                <c:pt idx="263">
                  <c:v>0.95597925402554695</c:v>
                </c:pt>
                <c:pt idx="264">
                  <c:v>0.95633852020126497</c:v>
                </c:pt>
                <c:pt idx="265">
                  <c:v>0.95669723635700299</c:v>
                </c:pt>
                <c:pt idx="266">
                  <c:v>0.95703952066583708</c:v>
                </c:pt>
                <c:pt idx="267">
                  <c:v>0.95737931842601132</c:v>
                </c:pt>
                <c:pt idx="268">
                  <c:v>0.95771570147880947</c:v>
                </c:pt>
                <c:pt idx="269">
                  <c:v>0.95804785625301092</c:v>
                </c:pt>
                <c:pt idx="270">
                  <c:v>0.95837974747597199</c:v>
                </c:pt>
                <c:pt idx="271">
                  <c:v>0.95871135223019344</c:v>
                </c:pt>
                <c:pt idx="272">
                  <c:v>0.95903425979348034</c:v>
                </c:pt>
                <c:pt idx="273">
                  <c:v>0.95934777118210812</c:v>
                </c:pt>
                <c:pt idx="274">
                  <c:v>0.95966059504576084</c:v>
                </c:pt>
                <c:pt idx="275">
                  <c:v>0.95996799892086015</c:v>
                </c:pt>
                <c:pt idx="276">
                  <c:v>0.96027006301865314</c:v>
                </c:pt>
                <c:pt idx="277">
                  <c:v>0.9605711989577298</c:v>
                </c:pt>
                <c:pt idx="278">
                  <c:v>0.96086488670957659</c:v>
                </c:pt>
                <c:pt idx="279">
                  <c:v>0.96144461922729751</c:v>
                </c:pt>
                <c:pt idx="280">
                  <c:v>0.96173129422439874</c:v>
                </c:pt>
                <c:pt idx="281">
                  <c:v>0.96201234297545402</c:v>
                </c:pt>
                <c:pt idx="282">
                  <c:v>0.96229211980530549</c:v>
                </c:pt>
                <c:pt idx="283">
                  <c:v>0.96257077367769772</c:v>
                </c:pt>
                <c:pt idx="284">
                  <c:v>0.9628492900450949</c:v>
                </c:pt>
                <c:pt idx="285">
                  <c:v>0.9631254802863265</c:v>
                </c:pt>
                <c:pt idx="286">
                  <c:v>0.9634004100651038</c:v>
                </c:pt>
                <c:pt idx="287">
                  <c:v>0.96367445752016312</c:v>
                </c:pt>
                <c:pt idx="288">
                  <c:v>0.96394694658527891</c:v>
                </c:pt>
                <c:pt idx="289">
                  <c:v>0.9642188970891642</c:v>
                </c:pt>
                <c:pt idx="290">
                  <c:v>0.96447934300846683</c:v>
                </c:pt>
                <c:pt idx="291">
                  <c:v>0.96447934300846683</c:v>
                </c:pt>
                <c:pt idx="292">
                  <c:v>0.96473364703799225</c:v>
                </c:pt>
                <c:pt idx="293">
                  <c:v>0.9649866218525659</c:v>
                </c:pt>
                <c:pt idx="294">
                  <c:v>0.96523778618470524</c:v>
                </c:pt>
                <c:pt idx="295">
                  <c:v>0.96548782755938534</c:v>
                </c:pt>
                <c:pt idx="296">
                  <c:v>0.96573711265659279</c:v>
                </c:pt>
                <c:pt idx="297">
                  <c:v>0.96598179133646733</c:v>
                </c:pt>
                <c:pt idx="298">
                  <c:v>0.96622606896010643</c:v>
                </c:pt>
                <c:pt idx="299">
                  <c:v>0.96646983094001426</c:v>
                </c:pt>
                <c:pt idx="300">
                  <c:v>0.96671154180374652</c:v>
                </c:pt>
                <c:pt idx="301">
                  <c:v>0.96695208387502118</c:v>
                </c:pt>
                <c:pt idx="302">
                  <c:v>0.96719167487008029</c:v>
                </c:pt>
                <c:pt idx="303">
                  <c:v>0.96742928350146129</c:v>
                </c:pt>
                <c:pt idx="304">
                  <c:v>0.96766672025159861</c:v>
                </c:pt>
                <c:pt idx="305">
                  <c:v>0.96790299966802784</c:v>
                </c:pt>
                <c:pt idx="306">
                  <c:v>0.96813597896457682</c:v>
                </c:pt>
                <c:pt idx="307">
                  <c:v>0.96836880929738123</c:v>
                </c:pt>
                <c:pt idx="308">
                  <c:v>0.9688170297461226</c:v>
                </c:pt>
                <c:pt idx="309">
                  <c:v>0.96904039515177032</c:v>
                </c:pt>
                <c:pt idx="310">
                  <c:v>0.96926193861623411</c:v>
                </c:pt>
                <c:pt idx="311">
                  <c:v>0.9694834820806979</c:v>
                </c:pt>
                <c:pt idx="312">
                  <c:v>0.96969656898796841</c:v>
                </c:pt>
                <c:pt idx="313">
                  <c:v>0.96990355984046006</c:v>
                </c:pt>
                <c:pt idx="314">
                  <c:v>0.97010962253423538</c:v>
                </c:pt>
                <c:pt idx="315">
                  <c:v>0.9703148716567902</c:v>
                </c:pt>
                <c:pt idx="316">
                  <c:v>0.97052004056809793</c:v>
                </c:pt>
                <c:pt idx="317">
                  <c:v>0.97072511780940895</c:v>
                </c:pt>
                <c:pt idx="318">
                  <c:v>0.97092908355201035</c:v>
                </c:pt>
                <c:pt idx="319">
                  <c:v>0.97113279720212087</c:v>
                </c:pt>
                <c:pt idx="320">
                  <c:v>0.97133563998726302</c:v>
                </c:pt>
                <c:pt idx="321">
                  <c:v>0.97153841401990759</c:v>
                </c:pt>
                <c:pt idx="322">
                  <c:v>0.97174090158381266</c:v>
                </c:pt>
                <c:pt idx="323">
                  <c:v>0.97194325164272266</c:v>
                </c:pt>
                <c:pt idx="324">
                  <c:v>0.97214506314040217</c:v>
                </c:pt>
                <c:pt idx="325">
                  <c:v>0.97234629024185293</c:v>
                </c:pt>
                <c:pt idx="326">
                  <c:v>0.97254666939583445</c:v>
                </c:pt>
                <c:pt idx="327">
                  <c:v>0.9727459026748575</c:v>
                </c:pt>
                <c:pt idx="328">
                  <c:v>0.97294126289652105</c:v>
                </c:pt>
                <c:pt idx="329">
                  <c:v>0.97313599288695751</c:v>
                </c:pt>
                <c:pt idx="330">
                  <c:v>0.97332703316002778</c:v>
                </c:pt>
                <c:pt idx="331">
                  <c:v>0.97351571293068362</c:v>
                </c:pt>
                <c:pt idx="332">
                  <c:v>0.97370090924146591</c:v>
                </c:pt>
                <c:pt idx="333">
                  <c:v>0.97388357316858998</c:v>
                </c:pt>
                <c:pt idx="334">
                  <c:v>0.97406605375572075</c:v>
                </c:pt>
                <c:pt idx="335">
                  <c:v>0.97424794994662267</c:v>
                </c:pt>
                <c:pt idx="336">
                  <c:v>0.97442827628883155</c:v>
                </c:pt>
                <c:pt idx="337">
                  <c:v>0.97460643692736904</c:v>
                </c:pt>
                <c:pt idx="338">
                  <c:v>0.9749601570682882</c:v>
                </c:pt>
                <c:pt idx="339">
                  <c:v>0.97513516655068999</c:v>
                </c:pt>
                <c:pt idx="340">
                  <c:v>0.97530944267311837</c:v>
                </c:pt>
                <c:pt idx="341">
                  <c:v>0.97548256146183865</c:v>
                </c:pt>
                <c:pt idx="342">
                  <c:v>0.97565485522058892</c:v>
                </c:pt>
                <c:pt idx="343">
                  <c:v>0.9758258885168849</c:v>
                </c:pt>
                <c:pt idx="344">
                  <c:v>0.97599377065704518</c:v>
                </c:pt>
                <c:pt idx="345">
                  <c:v>0.97615995690226698</c:v>
                </c:pt>
                <c:pt idx="346">
                  <c:v>0.97632403473756524</c:v>
                </c:pt>
                <c:pt idx="347">
                  <c:v>0.97648790631537097</c:v>
                </c:pt>
                <c:pt idx="348">
                  <c:v>0.97681308271107559</c:v>
                </c:pt>
                <c:pt idx="349">
                  <c:v>0.97697506359519992</c:v>
                </c:pt>
                <c:pt idx="350">
                  <c:v>0.97713701010307552</c:v>
                </c:pt>
                <c:pt idx="351">
                  <c:v>0.9774541195390728</c:v>
                </c:pt>
                <c:pt idx="352">
                  <c:v>0.97761018770841157</c:v>
                </c:pt>
                <c:pt idx="353">
                  <c:v>0.97776500687404566</c:v>
                </c:pt>
                <c:pt idx="354">
                  <c:v>0.9780626020595008</c:v>
                </c:pt>
                <c:pt idx="355">
                  <c:v>0.97820844902421034</c:v>
                </c:pt>
                <c:pt idx="356">
                  <c:v>0.97835311573771278</c:v>
                </c:pt>
                <c:pt idx="357">
                  <c:v>0.97878185631216075</c:v>
                </c:pt>
                <c:pt idx="358">
                  <c:v>0.97892380730201167</c:v>
                </c:pt>
                <c:pt idx="359">
                  <c:v>0.9790619769044997</c:v>
                </c:pt>
                <c:pt idx="360">
                  <c:v>0.97919965378075569</c:v>
                </c:pt>
                <c:pt idx="361">
                  <c:v>0.97933538266958231</c:v>
                </c:pt>
                <c:pt idx="362">
                  <c:v>0.97946726141854856</c:v>
                </c:pt>
                <c:pt idx="363">
                  <c:v>0.97959893391002228</c:v>
                </c:pt>
                <c:pt idx="364">
                  <c:v>0.97972877300156258</c:v>
                </c:pt>
                <c:pt idx="365">
                  <c:v>0.9798579131093782</c:v>
                </c:pt>
                <c:pt idx="366">
                  <c:v>0.97998560941474622</c:v>
                </c:pt>
                <c:pt idx="367">
                  <c:v>0.98011207963390867</c:v>
                </c:pt>
                <c:pt idx="368">
                  <c:v>0.98023630393815264</c:v>
                </c:pt>
                <c:pt idx="369">
                  <c:v>0.98035940528493726</c:v>
                </c:pt>
                <c:pt idx="370">
                  <c:v>0.98048231183297896</c:v>
                </c:pt>
                <c:pt idx="371">
                  <c:v>0.98060267453861294</c:v>
                </c:pt>
                <c:pt idx="372">
                  <c:v>0.98072263618801148</c:v>
                </c:pt>
                <c:pt idx="373">
                  <c:v>0.98084211656992748</c:v>
                </c:pt>
                <c:pt idx="374">
                  <c:v>0.98096119589560804</c:v>
                </c:pt>
                <c:pt idx="375">
                  <c:v>0.98107971374255898</c:v>
                </c:pt>
                <c:pt idx="376">
                  <c:v>0.98119785345077359</c:v>
                </c:pt>
                <c:pt idx="377">
                  <c:v>0.9813149045777777</c:v>
                </c:pt>
                <c:pt idx="378">
                  <c:v>0.98143152027229763</c:v>
                </c:pt>
                <c:pt idx="379">
                  <c:v>0.98154539732566692</c:v>
                </c:pt>
                <c:pt idx="380">
                  <c:v>0.98165779620033977</c:v>
                </c:pt>
                <c:pt idx="381">
                  <c:v>0.98176980547752679</c:v>
                </c:pt>
                <c:pt idx="382">
                  <c:v>0.9818814480747271</c:v>
                </c:pt>
                <c:pt idx="383">
                  <c:v>0.98210112376300862</c:v>
                </c:pt>
                <c:pt idx="384">
                  <c:v>0.98220755262914805</c:v>
                </c:pt>
                <c:pt idx="385">
                  <c:v>0.98231368356779825</c:v>
                </c:pt>
                <c:pt idx="386">
                  <c:v>0.98241859987899249</c:v>
                </c:pt>
                <c:pt idx="387">
                  <c:v>0.9825230234639547</c:v>
                </c:pt>
                <c:pt idx="388">
                  <c:v>0.98262493758275793</c:v>
                </c:pt>
                <c:pt idx="389">
                  <c:v>0.98272684024281154</c:v>
                </c:pt>
                <c:pt idx="390">
                  <c:v>0.9828286970678668</c:v>
                </c:pt>
                <c:pt idx="391">
                  <c:v>0.98292943093546281</c:v>
                </c:pt>
                <c:pt idx="392">
                  <c:v>0.98302720844566605</c:v>
                </c:pt>
                <c:pt idx="393">
                  <c:v>0.98312411509090092</c:v>
                </c:pt>
                <c:pt idx="394">
                  <c:v>0.98322065505614908</c:v>
                </c:pt>
                <c:pt idx="395">
                  <c:v>0.98331654187267092</c:v>
                </c:pt>
                <c:pt idx="396">
                  <c:v>0.98341001089303048</c:v>
                </c:pt>
                <c:pt idx="397">
                  <c:v>0.98350321636214955</c:v>
                </c:pt>
                <c:pt idx="398">
                  <c:v>0.98368702616423198</c:v>
                </c:pt>
                <c:pt idx="399">
                  <c:v>0.98386910569512731</c:v>
                </c:pt>
                <c:pt idx="400">
                  <c:v>0.98395918292560991</c:v>
                </c:pt>
                <c:pt idx="401">
                  <c:v>0.98404642984494517</c:v>
                </c:pt>
                <c:pt idx="402">
                  <c:v>0.98413351634178625</c:v>
                </c:pt>
                <c:pt idx="403">
                  <c:v>0.98421920487117798</c:v>
                </c:pt>
                <c:pt idx="404">
                  <c:v>0.98430473297807553</c:v>
                </c:pt>
                <c:pt idx="405">
                  <c:v>0.9843901923324756</c:v>
                </c:pt>
                <c:pt idx="406">
                  <c:v>0.98447539959438479</c:v>
                </c:pt>
                <c:pt idx="407">
                  <c:v>0.98456018288255942</c:v>
                </c:pt>
                <c:pt idx="408">
                  <c:v>0.98489710449658796</c:v>
                </c:pt>
                <c:pt idx="409">
                  <c:v>0.98498069607480576</c:v>
                </c:pt>
                <c:pt idx="410">
                  <c:v>0.98506362304554773</c:v>
                </c:pt>
                <c:pt idx="411">
                  <c:v>0.98514558748132453</c:v>
                </c:pt>
                <c:pt idx="412">
                  <c:v>0.9852273456596089</c:v>
                </c:pt>
                <c:pt idx="413">
                  <c:v>0.98530904654414531</c:v>
                </c:pt>
                <c:pt idx="414">
                  <c:v>0.9853885702662607</c:v>
                </c:pt>
                <c:pt idx="415">
                  <c:v>0.98546754396839598</c:v>
                </c:pt>
                <c:pt idx="416">
                  <c:v>0.98554562388806377</c:v>
                </c:pt>
                <c:pt idx="417">
                  <c:v>0.98562267252026892</c:v>
                </c:pt>
                <c:pt idx="418">
                  <c:v>0.98569851798376773</c:v>
                </c:pt>
                <c:pt idx="419">
                  <c:v>0.98584608376091498</c:v>
                </c:pt>
                <c:pt idx="420">
                  <c:v>0.98591953434575064</c:v>
                </c:pt>
                <c:pt idx="421">
                  <c:v>0.98599297347183668</c:v>
                </c:pt>
                <c:pt idx="422">
                  <c:v>0.98606625217542854</c:v>
                </c:pt>
                <c:pt idx="423">
                  <c:v>0.98613931316277836</c:v>
                </c:pt>
                <c:pt idx="424">
                  <c:v>0.98628442676751449</c:v>
                </c:pt>
                <c:pt idx="425">
                  <c:v>0.98635642209115293</c:v>
                </c:pt>
                <c:pt idx="426">
                  <c:v>0.98649593236734234</c:v>
                </c:pt>
                <c:pt idx="427">
                  <c:v>0.98656536093107394</c:v>
                </c:pt>
                <c:pt idx="428">
                  <c:v>0.98663430822732301</c:v>
                </c:pt>
                <c:pt idx="429">
                  <c:v>0.98670165129863019</c:v>
                </c:pt>
                <c:pt idx="430">
                  <c:v>0.9867685703962028</c:v>
                </c:pt>
                <c:pt idx="431">
                  <c:v>0.9868349394737953</c:v>
                </c:pt>
                <c:pt idx="432">
                  <c:v>0.98690008246518235</c:v>
                </c:pt>
                <c:pt idx="433">
                  <c:v>0.98696460668409181</c:v>
                </c:pt>
                <c:pt idx="434">
                  <c:v>0.98702695374058025</c:v>
                </c:pt>
                <c:pt idx="435">
                  <c:v>0.98708924350332072</c:v>
                </c:pt>
                <c:pt idx="436">
                  <c:v>0.98721253964884836</c:v>
                </c:pt>
                <c:pt idx="437">
                  <c:v>0.98727385541787416</c:v>
                </c:pt>
                <c:pt idx="438">
                  <c:v>0.98733507951690336</c:v>
                </c:pt>
                <c:pt idx="439">
                  <c:v>0.98739594839469547</c:v>
                </c:pt>
                <c:pt idx="440">
                  <c:v>0.98745672560249087</c:v>
                </c:pt>
                <c:pt idx="441">
                  <c:v>0.98757624036065561</c:v>
                </c:pt>
                <c:pt idx="442">
                  <c:v>0.98763516125101836</c:v>
                </c:pt>
                <c:pt idx="443">
                  <c:v>0.98769404776513237</c:v>
                </c:pt>
                <c:pt idx="444">
                  <c:v>0.9877526019755084</c:v>
                </c:pt>
                <c:pt idx="445">
                  <c:v>0.98781099576339026</c:v>
                </c:pt>
                <c:pt idx="446">
                  <c:v>0.98786914891753086</c:v>
                </c:pt>
                <c:pt idx="447">
                  <c:v>0.98804091557380025</c:v>
                </c:pt>
                <c:pt idx="448">
                  <c:v>0.98809783118298566</c:v>
                </c:pt>
                <c:pt idx="449">
                  <c:v>0.98821024151640813</c:v>
                </c:pt>
                <c:pt idx="450">
                  <c:v>0.98837536209791854</c:v>
                </c:pt>
                <c:pt idx="451">
                  <c:v>0.98843005470968459</c:v>
                </c:pt>
                <c:pt idx="452">
                  <c:v>0.98848397958522849</c:v>
                </c:pt>
                <c:pt idx="453">
                  <c:v>0.98853759507453365</c:v>
                </c:pt>
                <c:pt idx="454">
                  <c:v>0.98859096993009754</c:v>
                </c:pt>
                <c:pt idx="455">
                  <c:v>0.98864432186816231</c:v>
                </c:pt>
                <c:pt idx="456">
                  <c:v>0.98869728420874115</c:v>
                </c:pt>
                <c:pt idx="457">
                  <c:v>0.98880108902122577</c:v>
                </c:pt>
                <c:pt idx="458">
                  <c:v>0.98890299168127938</c:v>
                </c:pt>
                <c:pt idx="459">
                  <c:v>0.98895362789569263</c:v>
                </c:pt>
                <c:pt idx="460">
                  <c:v>0.98905462531452903</c:v>
                </c:pt>
                <c:pt idx="461">
                  <c:v>0.98910489484895558</c:v>
                </c:pt>
                <c:pt idx="462">
                  <c:v>0.98920527349531451</c:v>
                </c:pt>
                <c:pt idx="463">
                  <c:v>0.98930479273545457</c:v>
                </c:pt>
                <c:pt idx="464">
                  <c:v>0.98935359554993429</c:v>
                </c:pt>
                <c:pt idx="465">
                  <c:v>0.98949735702221964</c:v>
                </c:pt>
                <c:pt idx="466">
                  <c:v>0.98954479624549885</c:v>
                </c:pt>
                <c:pt idx="467">
                  <c:v>0.98959210942253262</c:v>
                </c:pt>
                <c:pt idx="468">
                  <c:v>0.98963891841458473</c:v>
                </c:pt>
                <c:pt idx="469">
                  <c:v>0.989685143010408</c:v>
                </c:pt>
                <c:pt idx="470">
                  <c:v>0.98973087487999911</c:v>
                </c:pt>
                <c:pt idx="471">
                  <c:v>0.98977643486834643</c:v>
                </c:pt>
                <c:pt idx="472">
                  <c:v>0.98982191464544667</c:v>
                </c:pt>
                <c:pt idx="473">
                  <c:v>0.98986738296379739</c:v>
                </c:pt>
                <c:pt idx="474">
                  <c:v>0.98991278252965054</c:v>
                </c:pt>
                <c:pt idx="475">
                  <c:v>0.98995794146176241</c:v>
                </c:pt>
                <c:pt idx="476">
                  <c:v>0.99000268787888934</c:v>
                </c:pt>
                <c:pt idx="477">
                  <c:v>0.99004709053352868</c:v>
                </c:pt>
                <c:pt idx="478">
                  <c:v>0.99009145881191929</c:v>
                </c:pt>
                <c:pt idx="479">
                  <c:v>0.99013563229156698</c:v>
                </c:pt>
                <c:pt idx="480">
                  <c:v>0.99022340631338313</c:v>
                </c:pt>
                <c:pt idx="481">
                  <c:v>0.99043738700312123</c:v>
                </c:pt>
                <c:pt idx="482">
                  <c:v>0.99052197549255294</c:v>
                </c:pt>
                <c:pt idx="483">
                  <c:v>0.99056422390227039</c:v>
                </c:pt>
                <c:pt idx="484">
                  <c:v>0.99064748317675033</c:v>
                </c:pt>
                <c:pt idx="485">
                  <c:v>0.99068889509774816</c:v>
                </c:pt>
                <c:pt idx="486">
                  <c:v>0.99073007784375433</c:v>
                </c:pt>
                <c:pt idx="487">
                  <c:v>0.99085107078061552</c:v>
                </c:pt>
                <c:pt idx="488">
                  <c:v>0.99093073200772586</c:v>
                </c:pt>
                <c:pt idx="489">
                  <c:v>0.99097051678628267</c:v>
                </c:pt>
                <c:pt idx="490">
                  <c:v>0.99104993737965175</c:v>
                </c:pt>
                <c:pt idx="491">
                  <c:v>0.99108964194696147</c:v>
                </c:pt>
                <c:pt idx="492">
                  <c:v>0.99116829480410851</c:v>
                </c:pt>
                <c:pt idx="493">
                  <c:v>0.99124653514627048</c:v>
                </c:pt>
                <c:pt idx="494">
                  <c:v>0.99132409942220689</c:v>
                </c:pt>
                <c:pt idx="495">
                  <c:v>0.99147855190785439</c:v>
                </c:pt>
                <c:pt idx="496">
                  <c:v>0.99151685850771487</c:v>
                </c:pt>
                <c:pt idx="497">
                  <c:v>0.99159304773370127</c:v>
                </c:pt>
                <c:pt idx="498">
                  <c:v>0.99163105640607252</c:v>
                </c:pt>
                <c:pt idx="499">
                  <c:v>0.99170682165832424</c:v>
                </c:pt>
                <c:pt idx="500">
                  <c:v>0.99174426885196587</c:v>
                </c:pt>
                <c:pt idx="501">
                  <c:v>0.99178140665936876</c:v>
                </c:pt>
                <c:pt idx="502">
                  <c:v>0.9918549374554515</c:v>
                </c:pt>
                <c:pt idx="503">
                  <c:v>0.99189137627912971</c:v>
                </c:pt>
                <c:pt idx="504">
                  <c:v>0.99192773489156083</c:v>
                </c:pt>
                <c:pt idx="505">
                  <c:v>0.99196374974150447</c:v>
                </c:pt>
                <c:pt idx="506">
                  <c:v>0.99199931770021432</c:v>
                </c:pt>
                <c:pt idx="507">
                  <c:v>0.99213957279512677</c:v>
                </c:pt>
                <c:pt idx="508">
                  <c:v>0.99217363965764105</c:v>
                </c:pt>
                <c:pt idx="509">
                  <c:v>0.99220747734516368</c:v>
                </c:pt>
                <c:pt idx="510">
                  <c:v>0.9922408566827029</c:v>
                </c:pt>
                <c:pt idx="511">
                  <c:v>0.99227390371650415</c:v>
                </c:pt>
                <c:pt idx="512">
                  <c:v>0.9923067674103121</c:v>
                </c:pt>
                <c:pt idx="513">
                  <c:v>0.99233914983663751</c:v>
                </c:pt>
                <c:pt idx="514">
                  <c:v>0.99237091349048534</c:v>
                </c:pt>
                <c:pt idx="515">
                  <c:v>0.99240266568558355</c:v>
                </c:pt>
                <c:pt idx="516">
                  <c:v>0.99243431475193555</c:v>
                </c:pt>
                <c:pt idx="517">
                  <c:v>0.99255946721489574</c:v>
                </c:pt>
                <c:pt idx="518">
                  <c:v>0.99259050896751977</c:v>
                </c:pt>
                <c:pt idx="519">
                  <c:v>0.99262143613264797</c:v>
                </c:pt>
                <c:pt idx="520">
                  <c:v>0.99268285503042009</c:v>
                </c:pt>
                <c:pt idx="521">
                  <c:v>0.99271349572680867</c:v>
                </c:pt>
                <c:pt idx="522">
                  <c:v>0.99274407912944929</c:v>
                </c:pt>
                <c:pt idx="523">
                  <c:v>0.99280498238349013</c:v>
                </c:pt>
                <c:pt idx="524">
                  <c:v>0.99283538244613745</c:v>
                </c:pt>
                <c:pt idx="525">
                  <c:v>0.99286578250878477</c:v>
                </c:pt>
                <c:pt idx="526">
                  <c:v>0.99292573468661016</c:v>
                </c:pt>
                <c:pt idx="527">
                  <c:v>0.99295555035302863</c:v>
                </c:pt>
                <c:pt idx="528">
                  <c:v>0.99304455046105022</c:v>
                </c:pt>
                <c:pt idx="529">
                  <c:v>0.99307393069498451</c:v>
                </c:pt>
                <c:pt idx="530">
                  <c:v>0.99313210676662422</c:v>
                </c:pt>
                <c:pt idx="531">
                  <c:v>0.99316101719182548</c:v>
                </c:pt>
                <c:pt idx="532">
                  <c:v>0.99324703802495518</c:v>
                </c:pt>
                <c:pt idx="533">
                  <c:v>0.99333208486437019</c:v>
                </c:pt>
                <c:pt idx="534">
                  <c:v>0.99336025047084853</c:v>
                </c:pt>
                <c:pt idx="535">
                  <c:v>0.99341613479257129</c:v>
                </c:pt>
                <c:pt idx="536">
                  <c:v>0.99349925656205618</c:v>
                </c:pt>
                <c:pt idx="537">
                  <c:v>0.99355425856006108</c:v>
                </c:pt>
                <c:pt idx="538">
                  <c:v>0.99360833239934965</c:v>
                </c:pt>
                <c:pt idx="539">
                  <c:v>0.9936610426474376</c:v>
                </c:pt>
                <c:pt idx="540">
                  <c:v>0.9936871915139891</c:v>
                </c:pt>
                <c:pt idx="541">
                  <c:v>0.99373937465959616</c:v>
                </c:pt>
                <c:pt idx="542">
                  <c:v>0.99376536310365349</c:v>
                </c:pt>
                <c:pt idx="543">
                  <c:v>0.99381620557555916</c:v>
                </c:pt>
                <c:pt idx="544">
                  <c:v>0.99393973089607845</c:v>
                </c:pt>
                <c:pt idx="545">
                  <c:v>0.99396422970268983</c:v>
                </c:pt>
                <c:pt idx="546">
                  <c:v>0.99403717610254383</c:v>
                </c:pt>
                <c:pt idx="547">
                  <c:v>0.99413286812032275</c:v>
                </c:pt>
                <c:pt idx="548">
                  <c:v>0.99415651897946489</c:v>
                </c:pt>
                <c:pt idx="549">
                  <c:v>0.99418000941611284</c:v>
                </c:pt>
                <c:pt idx="550">
                  <c:v>0.99422688716066243</c:v>
                </c:pt>
                <c:pt idx="551">
                  <c:v>0.99429656781688491</c:v>
                </c:pt>
                <c:pt idx="552">
                  <c:v>0.99431917592981478</c:v>
                </c:pt>
                <c:pt idx="553">
                  <c:v>0.99434176112524553</c:v>
                </c:pt>
                <c:pt idx="554">
                  <c:v>0.99436420881568122</c:v>
                </c:pt>
                <c:pt idx="555">
                  <c:v>0.99438658775361943</c:v>
                </c:pt>
                <c:pt idx="556">
                  <c:v>0.99440896669155765</c:v>
                </c:pt>
                <c:pt idx="557">
                  <c:v>0.99451991030503351</c:v>
                </c:pt>
                <c:pt idx="558">
                  <c:v>0.99458577519764424</c:v>
                </c:pt>
                <c:pt idx="559">
                  <c:v>0.99462930698731511</c:v>
                </c:pt>
                <c:pt idx="560">
                  <c:v>0.9946510213177775</c:v>
                </c:pt>
                <c:pt idx="561">
                  <c:v>0.99467272418949026</c:v>
                </c:pt>
                <c:pt idx="562">
                  <c:v>0.99490216273241783</c:v>
                </c:pt>
                <c:pt idx="563">
                  <c:v>0.99492231867293668</c:v>
                </c:pt>
                <c:pt idx="564">
                  <c:v>0.99496240137898273</c:v>
                </c:pt>
                <c:pt idx="565">
                  <c:v>0.9949823968970074</c:v>
                </c:pt>
                <c:pt idx="566">
                  <c:v>0.99500231220378499</c:v>
                </c:pt>
                <c:pt idx="567">
                  <c:v>0.99502214729931548</c:v>
                </c:pt>
                <c:pt idx="568">
                  <c:v>0.99506176019662862</c:v>
                </c:pt>
                <c:pt idx="569">
                  <c:v>0.99517921237986806</c:v>
                </c:pt>
                <c:pt idx="570">
                  <c:v>0.99521748460347981</c:v>
                </c:pt>
                <c:pt idx="571">
                  <c:v>0.99525567661584446</c:v>
                </c:pt>
                <c:pt idx="572">
                  <c:v>0.9952937540407133</c:v>
                </c:pt>
                <c:pt idx="573">
                  <c:v>0.99533146478559531</c:v>
                </c:pt>
                <c:pt idx="574">
                  <c:v>0.99544301571279903</c:v>
                </c:pt>
                <c:pt idx="575">
                  <c:v>0.99546152159337775</c:v>
                </c:pt>
                <c:pt idx="576">
                  <c:v>0.99555360410503757</c:v>
                </c:pt>
                <c:pt idx="577">
                  <c:v>0.99559003146996627</c:v>
                </c:pt>
                <c:pt idx="578">
                  <c:v>0.99564409385050512</c:v>
                </c:pt>
                <c:pt idx="579">
                  <c:v>0.99566199241735587</c:v>
                </c:pt>
                <c:pt idx="580">
                  <c:v>0.99571525268542382</c:v>
                </c:pt>
                <c:pt idx="581">
                  <c:v>0.99580212146602276</c:v>
                </c:pt>
                <c:pt idx="582">
                  <c:v>0.99595145189060597</c:v>
                </c:pt>
                <c:pt idx="583">
                  <c:v>0.99600009428259151</c:v>
                </c:pt>
                <c:pt idx="584">
                  <c:v>0.99612768745921332</c:v>
                </c:pt>
                <c:pt idx="585">
                  <c:v>0.99617456520376291</c:v>
                </c:pt>
                <c:pt idx="586">
                  <c:v>0.99620551528639023</c:v>
                </c:pt>
                <c:pt idx="587">
                  <c:v>0.99625139611972591</c:v>
                </c:pt>
                <c:pt idx="588">
                  <c:v>0.99629687589682625</c:v>
                </c:pt>
                <c:pt idx="589">
                  <c:v>0.99631188685878169</c:v>
                </c:pt>
                <c:pt idx="590">
                  <c:v>0.99634180565394648</c:v>
                </c:pt>
                <c:pt idx="591">
                  <c:v>0.99650380945556993</c:v>
                </c:pt>
                <c:pt idx="592">
                  <c:v>0.99653270842202168</c:v>
                </c:pt>
                <c:pt idx="593">
                  <c:v>0.99656127508473547</c:v>
                </c:pt>
                <c:pt idx="594">
                  <c:v>0.99668772238639869</c:v>
                </c:pt>
                <c:pt idx="595">
                  <c:v>0.99670157601464615</c:v>
                </c:pt>
                <c:pt idx="596">
                  <c:v>0.99674299939439348</c:v>
                </c:pt>
                <c:pt idx="597">
                  <c:v>0.99675676135264424</c:v>
                </c:pt>
                <c:pt idx="598">
                  <c:v>0.99677047747589675</c:v>
                </c:pt>
                <c:pt idx="599">
                  <c:v>0.99679790972240179</c:v>
                </c:pt>
                <c:pt idx="600">
                  <c:v>0.99681161438690469</c:v>
                </c:pt>
                <c:pt idx="601">
                  <c:v>0.99683901225716087</c:v>
                </c:pt>
                <c:pt idx="602">
                  <c:v>0.99686619241117491</c:v>
                </c:pt>
                <c:pt idx="603">
                  <c:v>0.99690674492595388</c:v>
                </c:pt>
                <c:pt idx="604">
                  <c:v>0.99705192728318759</c:v>
                </c:pt>
                <c:pt idx="605">
                  <c:v>0.99716489909533979</c:v>
                </c:pt>
                <c:pt idx="606">
                  <c:v>0.9971770912048975</c:v>
                </c:pt>
                <c:pt idx="607">
                  <c:v>0.99723562249777431</c:v>
                </c:pt>
                <c:pt idx="608">
                  <c:v>0.997269872700282</c:v>
                </c:pt>
                <c:pt idx="609">
                  <c:v>0.99738182468372116</c:v>
                </c:pt>
                <c:pt idx="610">
                  <c:v>0.9973928594595709</c:v>
                </c:pt>
                <c:pt idx="611">
                  <c:v>0.99748015221390451</c:v>
                </c:pt>
                <c:pt idx="612">
                  <c:v>0.99749090052101463</c:v>
                </c:pt>
                <c:pt idx="613">
                  <c:v>0.99750163736937514</c:v>
                </c:pt>
                <c:pt idx="614">
                  <c:v>0.99752308814859703</c:v>
                </c:pt>
                <c:pt idx="615">
                  <c:v>0.99782696272882443</c:v>
                </c:pt>
                <c:pt idx="616">
                  <c:v>0.99783657661972569</c:v>
                </c:pt>
                <c:pt idx="617">
                  <c:v>0.99790299153231654</c:v>
                </c:pt>
                <c:pt idx="618">
                  <c:v>0.99791234187197742</c:v>
                </c:pt>
                <c:pt idx="619">
                  <c:v>0.997967515751226</c:v>
                </c:pt>
                <c:pt idx="620">
                  <c:v>0.99802150937926748</c:v>
                </c:pt>
                <c:pt idx="621">
                  <c:v>0.99803924752362405</c:v>
                </c:pt>
                <c:pt idx="622">
                  <c:v>0.99810055183390034</c:v>
                </c:pt>
                <c:pt idx="623">
                  <c:v>0.99810915735483818</c:v>
                </c:pt>
                <c:pt idx="624">
                  <c:v>0.99811763682953059</c:v>
                </c:pt>
                <c:pt idx="625">
                  <c:v>0.99818438404585941</c:v>
                </c:pt>
                <c:pt idx="626">
                  <c:v>0.9982088943112204</c:v>
                </c:pt>
                <c:pt idx="627">
                  <c:v>0.99823320977783836</c:v>
                </c:pt>
                <c:pt idx="628">
                  <c:v>0.99829679437928176</c:v>
                </c:pt>
                <c:pt idx="629">
                  <c:v>0.99830455195275036</c:v>
                </c:pt>
                <c:pt idx="630">
                  <c:v>0.99850275394431076</c:v>
                </c:pt>
                <c:pt idx="631">
                  <c:v>0.99851663049005734</c:v>
                </c:pt>
                <c:pt idx="632">
                  <c:v>0.99853043828330645</c:v>
                </c:pt>
                <c:pt idx="633">
                  <c:v>0.998585119436323</c:v>
                </c:pt>
                <c:pt idx="634">
                  <c:v>0.9985918800985778</c:v>
                </c:pt>
                <c:pt idx="635">
                  <c:v>0.99863811615315068</c:v>
                </c:pt>
                <c:pt idx="636">
                  <c:v>0.99864453305291789</c:v>
                </c:pt>
                <c:pt idx="637">
                  <c:v>0.99865736685245232</c:v>
                </c:pt>
                <c:pt idx="638">
                  <c:v>0.9986637493759708</c:v>
                </c:pt>
                <c:pt idx="639">
                  <c:v>0.99869531823107582</c:v>
                </c:pt>
                <c:pt idx="640">
                  <c:v>0.99873219248723821</c:v>
                </c:pt>
                <c:pt idx="641">
                  <c:v>0.99873826562451795</c:v>
                </c:pt>
                <c:pt idx="642">
                  <c:v>0.9987503889815782</c:v>
                </c:pt>
                <c:pt idx="643">
                  <c:v>0.9987564277426092</c:v>
                </c:pt>
                <c:pt idx="644">
                  <c:v>0.99879813759109626</c:v>
                </c:pt>
                <c:pt idx="645">
                  <c:v>0.99880977968067397</c:v>
                </c:pt>
                <c:pt idx="646">
                  <c:v>0.99900574721606572</c:v>
                </c:pt>
                <c:pt idx="647">
                  <c:v>0.99904658619958431</c:v>
                </c:pt>
                <c:pt idx="648">
                  <c:v>0.99906647858886266</c:v>
                </c:pt>
                <c:pt idx="649">
                  <c:v>0.99912785165163631</c:v>
                </c:pt>
                <c:pt idx="650">
                  <c:v>0.99918516831705706</c:v>
                </c:pt>
                <c:pt idx="651">
                  <c:v>0.99921106509111757</c:v>
                </c:pt>
                <c:pt idx="652">
                  <c:v>0.99928127284982082</c:v>
                </c:pt>
                <c:pt idx="653">
                  <c:v>0.99932866623810179</c:v>
                </c:pt>
                <c:pt idx="654">
                  <c:v>0.9993694250103734</c:v>
                </c:pt>
                <c:pt idx="655">
                  <c:v>0.99941142132760019</c:v>
                </c:pt>
                <c:pt idx="656">
                  <c:v>0.99942473639461715</c:v>
                </c:pt>
                <c:pt idx="657">
                  <c:v>0.99944122553526904</c:v>
                </c:pt>
                <c:pt idx="658">
                  <c:v>0.99946731710807246</c:v>
                </c:pt>
                <c:pt idx="659">
                  <c:v>0.99950515389920003</c:v>
                </c:pt>
                <c:pt idx="660">
                  <c:v>0.99954719605142495</c:v>
                </c:pt>
                <c:pt idx="661">
                  <c:v>0.99959855416706211</c:v>
                </c:pt>
                <c:pt idx="662">
                  <c:v>0.9996120640328221</c:v>
                </c:pt>
                <c:pt idx="663">
                  <c:v>0.99963294187456475</c:v>
                </c:pt>
                <c:pt idx="664">
                  <c:v>0.99963809831187767</c:v>
                </c:pt>
                <c:pt idx="665">
                  <c:v>0.99967991128911105</c:v>
                </c:pt>
                <c:pt idx="666">
                  <c:v>0.9996891699587751</c:v>
                </c:pt>
                <c:pt idx="667">
                  <c:v>0.99970044536836611</c:v>
                </c:pt>
                <c:pt idx="668">
                  <c:v>0.99970704560812673</c:v>
                </c:pt>
                <c:pt idx="669">
                  <c:v>0.99972203365258305</c:v>
                </c:pt>
                <c:pt idx="670">
                  <c:v>0.99976084443742497</c:v>
                </c:pt>
                <c:pt idx="671">
                  <c:v>0.9997734261444684</c:v>
                </c:pt>
                <c:pt idx="672">
                  <c:v>0.99977870862802687</c:v>
                </c:pt>
                <c:pt idx="673">
                  <c:v>0.99978218062915092</c:v>
                </c:pt>
                <c:pt idx="674">
                  <c:v>0.99978734852521334</c:v>
                </c:pt>
                <c:pt idx="675">
                  <c:v>0.99986958797098013</c:v>
                </c:pt>
                <c:pt idx="676">
                  <c:v>0.99989494618381036</c:v>
                </c:pt>
                <c:pt idx="677">
                  <c:v>0.99993367675740563</c:v>
                </c:pt>
                <c:pt idx="678">
                  <c:v>0.99996514248376422</c:v>
                </c:pt>
                <c:pt idx="679">
                  <c:v>0.9999966769626202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4</c:f>
              <c:strCache>
                <c:ptCount val="263"/>
                <c:pt idx="0">
                  <c:v>Mini Babybe</c:v>
                </c:pt>
                <c:pt idx="1">
                  <c:v>Galbani</c:v>
                </c:pt>
                <c:pt idx="2">
                  <c:v>St Moret</c:v>
                </c:pt>
                <c:pt idx="3">
                  <c:v>Soignon</c:v>
                </c:pt>
                <c:pt idx="4">
                  <c:v>Caprice Des</c:v>
                </c:pt>
                <c:pt idx="5">
                  <c:v>Le Rustique</c:v>
                </c:pt>
                <c:pt idx="6">
                  <c:v>La Vache Qu</c:v>
                </c:pt>
                <c:pt idx="7">
                  <c:v>Paysan Bret</c:v>
                </c:pt>
                <c:pt idx="8">
                  <c:v>Coeur De Li</c:v>
                </c:pt>
                <c:pt idx="9">
                  <c:v>Kiri</c:v>
                </c:pt>
                <c:pt idx="10">
                  <c:v>President</c:v>
                </c:pt>
                <c:pt idx="11">
                  <c:v>Salakis</c:v>
                </c:pt>
                <c:pt idx="12">
                  <c:v>Philadelphi</c:v>
                </c:pt>
                <c:pt idx="13">
                  <c:v>Coeur De Li</c:v>
                </c:pt>
                <c:pt idx="14">
                  <c:v>Ficello</c:v>
                </c:pt>
                <c:pt idx="15">
                  <c:v>Caprice Des</c:v>
                </c:pt>
                <c:pt idx="16">
                  <c:v>Boursin</c:v>
                </c:pt>
                <c:pt idx="17">
                  <c:v>Soignon</c:v>
                </c:pt>
                <c:pt idx="18">
                  <c:v>Soignon</c:v>
                </c:pt>
                <c:pt idx="19">
                  <c:v>St Moret</c:v>
                </c:pt>
                <c:pt idx="20">
                  <c:v>Petit Billy</c:v>
                </c:pt>
                <c:pt idx="21">
                  <c:v>St Moret</c:v>
                </c:pt>
                <c:pt idx="22">
                  <c:v>Tartare</c:v>
                </c:pt>
                <c:pt idx="23">
                  <c:v>La Vache Qu</c:v>
                </c:pt>
                <c:pt idx="24">
                  <c:v>Casa Azzurr</c:v>
                </c:pt>
                <c:pt idx="25">
                  <c:v>President</c:v>
                </c:pt>
                <c:pt idx="26">
                  <c:v>Aperivrais</c:v>
                </c:pt>
                <c:pt idx="27">
                  <c:v>Kiri</c:v>
                </c:pt>
                <c:pt idx="28">
                  <c:v>Boursin</c:v>
                </c:pt>
                <c:pt idx="29">
                  <c:v>Salakis</c:v>
                </c:pt>
                <c:pt idx="30">
                  <c:v>Caprice Des</c:v>
                </c:pt>
                <c:pt idx="31">
                  <c:v>Soignon</c:v>
                </c:pt>
                <c:pt idx="32">
                  <c:v>All Others</c:v>
                </c:pt>
                <c:pt idx="33">
                  <c:v>Boursin</c:v>
                </c:pt>
                <c:pt idx="34">
                  <c:v>Le Brebiou</c:v>
                </c:pt>
                <c:pt idx="35">
                  <c:v>Apericube</c:v>
                </c:pt>
                <c:pt idx="36">
                  <c:v>Paysan Bret</c:v>
                </c:pt>
                <c:pt idx="37">
                  <c:v>Carre Frais</c:v>
                </c:pt>
                <c:pt idx="38">
                  <c:v>Chavroux</c:v>
                </c:pt>
                <c:pt idx="39">
                  <c:v>President</c:v>
                </c:pt>
                <c:pt idx="40">
                  <c:v>President</c:v>
                </c:pt>
                <c:pt idx="41">
                  <c:v>All Others</c:v>
                </c:pt>
                <c:pt idx="42">
                  <c:v>Galbani</c:v>
                </c:pt>
                <c:pt idx="43">
                  <c:v>Tartare</c:v>
                </c:pt>
                <c:pt idx="44">
                  <c:v>Etorki</c:v>
                </c:pt>
                <c:pt idx="45">
                  <c:v>Boursin</c:v>
                </c:pt>
                <c:pt idx="46">
                  <c:v>Aperivrais</c:v>
                </c:pt>
                <c:pt idx="47">
                  <c:v>All Others</c:v>
                </c:pt>
                <c:pt idx="48">
                  <c:v>Istara</c:v>
                </c:pt>
                <c:pt idx="49">
                  <c:v>All Others</c:v>
                </c:pt>
                <c:pt idx="50">
                  <c:v>President</c:v>
                </c:pt>
                <c:pt idx="51">
                  <c:v>Tartare</c:v>
                </c:pt>
                <c:pt idx="52">
                  <c:v>Mini Babybe</c:v>
                </c:pt>
                <c:pt idx="53">
                  <c:v>Apericube</c:v>
                </c:pt>
                <c:pt idx="54">
                  <c:v>All Others</c:v>
                </c:pt>
                <c:pt idx="55">
                  <c:v>Islos</c:v>
                </c:pt>
                <c:pt idx="56">
                  <c:v>Casa Azzurr</c:v>
                </c:pt>
                <c:pt idx="57">
                  <c:v>Apericube</c:v>
                </c:pt>
                <c:pt idx="58">
                  <c:v>St Moret</c:v>
                </c:pt>
                <c:pt idx="59">
                  <c:v>La Vache Qu</c:v>
                </c:pt>
                <c:pt idx="60">
                  <c:v>Lou Perac</c:v>
                </c:pt>
                <c:pt idx="61">
                  <c:v>Lepetit</c:v>
                </c:pt>
                <c:pt idx="62">
                  <c:v>All Others</c:v>
                </c:pt>
                <c:pt idx="63">
                  <c:v>Carre Frais</c:v>
                </c:pt>
                <c:pt idx="64">
                  <c:v>All Others</c:v>
                </c:pt>
                <c:pt idx="65">
                  <c:v>Galbani</c:v>
                </c:pt>
                <c:pt idx="66">
                  <c:v>All Others</c:v>
                </c:pt>
                <c:pt idx="67">
                  <c:v>All Others</c:v>
                </c:pt>
                <c:pt idx="68">
                  <c:v>Soignon</c:v>
                </c:pt>
                <c:pt idx="69">
                  <c:v>All Others</c:v>
                </c:pt>
                <c:pt idx="70">
                  <c:v>Kiri</c:v>
                </c:pt>
                <c:pt idx="71">
                  <c:v>Salakis</c:v>
                </c:pt>
                <c:pt idx="72">
                  <c:v>P'Tit Louis</c:v>
                </c:pt>
                <c:pt idx="73">
                  <c:v>Violife</c:v>
                </c:pt>
                <c:pt idx="74">
                  <c:v>Violife</c:v>
                </c:pt>
                <c:pt idx="75">
                  <c:v>Paysan Bret</c:v>
                </c:pt>
                <c:pt idx="76">
                  <c:v>All Others</c:v>
                </c:pt>
                <c:pt idx="77">
                  <c:v>All Others</c:v>
                </c:pt>
                <c:pt idx="78">
                  <c:v>Galbani</c:v>
                </c:pt>
                <c:pt idx="79">
                  <c:v>All Others</c:v>
                </c:pt>
                <c:pt idx="80">
                  <c:v>Paysan Bret</c:v>
                </c:pt>
                <c:pt idx="81">
                  <c:v>All Others</c:v>
                </c:pt>
                <c:pt idx="82">
                  <c:v>St Moret</c:v>
                </c:pt>
                <c:pt idx="83">
                  <c:v>Lactalis: A</c:v>
                </c:pt>
                <c:pt idx="84">
                  <c:v>All Others</c:v>
                </c:pt>
                <c:pt idx="85">
                  <c:v>Istara</c:v>
                </c:pt>
                <c:pt idx="86">
                  <c:v>President</c:v>
                </c:pt>
                <c:pt idx="87">
                  <c:v>All Others</c:v>
                </c:pt>
                <c:pt idx="88">
                  <c:v>Casa Azzurr</c:v>
                </c:pt>
                <c:pt idx="89">
                  <c:v>Apericube</c:v>
                </c:pt>
                <c:pt idx="90">
                  <c:v>Casa Azzurr</c:v>
                </c:pt>
                <c:pt idx="91">
                  <c:v>Galbani</c:v>
                </c:pt>
                <c:pt idx="92">
                  <c:v>All Others</c:v>
                </c:pt>
                <c:pt idx="93">
                  <c:v>President</c:v>
                </c:pt>
                <c:pt idx="94">
                  <c:v>All Others</c:v>
                </c:pt>
                <c:pt idx="95">
                  <c:v>Lou Perac</c:v>
                </c:pt>
                <c:pt idx="96">
                  <c:v>Casa Azzurr</c:v>
                </c:pt>
                <c:pt idx="97">
                  <c:v>All Others</c:v>
                </c:pt>
                <c:pt idx="98">
                  <c:v>All Others</c:v>
                </c:pt>
                <c:pt idx="99">
                  <c:v>Apericube</c:v>
                </c:pt>
                <c:pt idx="100">
                  <c:v>All Others</c:v>
                </c:pt>
                <c:pt idx="101">
                  <c:v>All Others</c:v>
                </c:pt>
                <c:pt idx="102">
                  <c:v>All Others</c:v>
                </c:pt>
                <c:pt idx="103">
                  <c:v>Soignon</c:v>
                </c:pt>
                <c:pt idx="104">
                  <c:v>Paysan Bret</c:v>
                </c:pt>
                <c:pt idx="105">
                  <c:v>All Others</c:v>
                </c:pt>
                <c:pt idx="106">
                  <c:v>President</c:v>
                </c:pt>
                <c:pt idx="107">
                  <c:v>President</c:v>
                </c:pt>
                <c:pt idx="108">
                  <c:v>All Others</c:v>
                </c:pt>
                <c:pt idx="109">
                  <c:v>Soignon</c:v>
                </c:pt>
                <c:pt idx="110">
                  <c:v>All Others</c:v>
                </c:pt>
                <c:pt idx="111">
                  <c:v>All Others</c:v>
                </c:pt>
                <c:pt idx="112">
                  <c:v>Paysan Bret</c:v>
                </c:pt>
                <c:pt idx="113">
                  <c:v>All Others</c:v>
                </c:pt>
                <c:pt idx="114">
                  <c:v>All Others</c:v>
                </c:pt>
                <c:pt idx="115">
                  <c:v>Soignon</c:v>
                </c:pt>
                <c:pt idx="116">
                  <c:v>All Others</c:v>
                </c:pt>
                <c:pt idx="117">
                  <c:v>All Others</c:v>
                </c:pt>
                <c:pt idx="118">
                  <c:v>All Others</c:v>
                </c:pt>
                <c:pt idx="119">
                  <c:v>Triballat N</c:v>
                </c:pt>
                <c:pt idx="120">
                  <c:v>All Others</c:v>
                </c:pt>
                <c:pt idx="121">
                  <c:v>Lactalis: A</c:v>
                </c:pt>
                <c:pt idx="122">
                  <c:v>La Vache Qu</c:v>
                </c:pt>
                <c:pt idx="123">
                  <c:v>All Others</c:v>
                </c:pt>
                <c:pt idx="124">
                  <c:v>All Others</c:v>
                </c:pt>
                <c:pt idx="125">
                  <c:v>All Others</c:v>
                </c:pt>
                <c:pt idx="126">
                  <c:v>All Others</c:v>
                </c:pt>
                <c:pt idx="127">
                  <c:v>All Others</c:v>
                </c:pt>
                <c:pt idx="128">
                  <c:v>All Others</c:v>
                </c:pt>
                <c:pt idx="129">
                  <c:v>Coeur De Li</c:v>
                </c:pt>
                <c:pt idx="130">
                  <c:v>Boursin</c:v>
                </c:pt>
                <c:pt idx="131">
                  <c:v>Savencia: A</c:v>
                </c:pt>
                <c:pt idx="132">
                  <c:v>Soignon</c:v>
                </c:pt>
                <c:pt idx="133">
                  <c:v>All Others</c:v>
                </c:pt>
                <c:pt idx="134">
                  <c:v>All Others</c:v>
                </c:pt>
                <c:pt idx="135">
                  <c:v>St Moret</c:v>
                </c:pt>
                <c:pt idx="136">
                  <c:v>All Others</c:v>
                </c:pt>
                <c:pt idx="137">
                  <c:v>Boursin</c:v>
                </c:pt>
                <c:pt idx="138">
                  <c:v>Violife</c:v>
                </c:pt>
                <c:pt idx="139">
                  <c:v>All Others</c:v>
                </c:pt>
                <c:pt idx="140">
                  <c:v>All Others</c:v>
                </c:pt>
                <c:pt idx="141">
                  <c:v>Milleret: A</c:v>
                </c:pt>
                <c:pt idx="142">
                  <c:v>Paysan Bret</c:v>
                </c:pt>
                <c:pt idx="143">
                  <c:v>All Others</c:v>
                </c:pt>
                <c:pt idx="144">
                  <c:v>Paysan Bret</c:v>
                </c:pt>
                <c:pt idx="145">
                  <c:v>Galbani</c:v>
                </c:pt>
                <c:pt idx="146">
                  <c:v>Apericube</c:v>
                </c:pt>
                <c:pt idx="147">
                  <c:v>All Others</c:v>
                </c:pt>
                <c:pt idx="148">
                  <c:v>Milleret: A</c:v>
                </c:pt>
                <c:pt idx="149">
                  <c:v>All Others</c:v>
                </c:pt>
                <c:pt idx="150">
                  <c:v>Boursin</c:v>
                </c:pt>
                <c:pt idx="151">
                  <c:v>Pave D'Affi</c:v>
                </c:pt>
                <c:pt idx="152">
                  <c:v>Mini Babybe</c:v>
                </c:pt>
                <c:pt idx="153">
                  <c:v>All Others</c:v>
                </c:pt>
                <c:pt idx="154">
                  <c:v>All Others</c:v>
                </c:pt>
                <c:pt idx="155">
                  <c:v>Lou Perac</c:v>
                </c:pt>
                <c:pt idx="156">
                  <c:v>Lactalis: A</c:v>
                </c:pt>
                <c:pt idx="157">
                  <c:v>Violife</c:v>
                </c:pt>
                <c:pt idx="158">
                  <c:v>Istara</c:v>
                </c:pt>
                <c:pt idx="159">
                  <c:v>All Others</c:v>
                </c:pt>
                <c:pt idx="160">
                  <c:v>All Others</c:v>
                </c:pt>
                <c:pt idx="161">
                  <c:v>All Others</c:v>
                </c:pt>
                <c:pt idx="162">
                  <c:v>Le Rustique</c:v>
                </c:pt>
                <c:pt idx="163">
                  <c:v>All Others</c:v>
                </c:pt>
                <c:pt idx="164">
                  <c:v>All Others</c:v>
                </c:pt>
                <c:pt idx="165">
                  <c:v>Soignon</c:v>
                </c:pt>
                <c:pt idx="166">
                  <c:v>All Others</c:v>
                </c:pt>
                <c:pt idx="167">
                  <c:v>All Others</c:v>
                </c:pt>
                <c:pt idx="168">
                  <c:v>All Others</c:v>
                </c:pt>
                <c:pt idx="169">
                  <c:v>Mini Babybe</c:v>
                </c:pt>
                <c:pt idx="170">
                  <c:v>Eurial Autr</c:v>
                </c:pt>
                <c:pt idx="171">
                  <c:v>All Others</c:v>
                </c:pt>
                <c:pt idx="172">
                  <c:v>Philadelphi</c:v>
                </c:pt>
                <c:pt idx="173">
                  <c:v>Nurishh</c:v>
                </c:pt>
                <c:pt idx="174">
                  <c:v>All Others</c:v>
                </c:pt>
                <c:pt idx="175">
                  <c:v>Apericube</c:v>
                </c:pt>
                <c:pt idx="176">
                  <c:v>All Others</c:v>
                </c:pt>
                <c:pt idx="177">
                  <c:v>St Moret</c:v>
                </c:pt>
                <c:pt idx="178">
                  <c:v>Mini Babybe</c:v>
                </c:pt>
                <c:pt idx="179">
                  <c:v>All Others</c:v>
                </c:pt>
                <c:pt idx="180">
                  <c:v>All Others</c:v>
                </c:pt>
                <c:pt idx="181">
                  <c:v>Kiri</c:v>
                </c:pt>
                <c:pt idx="182">
                  <c:v>All Others</c:v>
                </c:pt>
                <c:pt idx="183">
                  <c:v>All Others</c:v>
                </c:pt>
                <c:pt idx="184">
                  <c:v>O'Tapas Ape</c:v>
                </c:pt>
                <c:pt idx="185">
                  <c:v>All Others</c:v>
                </c:pt>
                <c:pt idx="186">
                  <c:v>All Others</c:v>
                </c:pt>
                <c:pt idx="187">
                  <c:v>All Others</c:v>
                </c:pt>
                <c:pt idx="188">
                  <c:v>All Others</c:v>
                </c:pt>
                <c:pt idx="189">
                  <c:v>All Others</c:v>
                </c:pt>
                <c:pt idx="190">
                  <c:v>All Others</c:v>
                </c:pt>
                <c:pt idx="191">
                  <c:v>Leerdammer</c:v>
                </c:pt>
                <c:pt idx="192">
                  <c:v>La Vache Qu</c:v>
                </c:pt>
                <c:pt idx="193">
                  <c:v>All Others</c:v>
                </c:pt>
                <c:pt idx="194">
                  <c:v>Ficello</c:v>
                </c:pt>
                <c:pt idx="195">
                  <c:v>All Others</c:v>
                </c:pt>
                <c:pt idx="196">
                  <c:v>All Others</c:v>
                </c:pt>
                <c:pt idx="197">
                  <c:v>All Others</c:v>
                </c:pt>
                <c:pt idx="198">
                  <c:v>All Others</c:v>
                </c:pt>
                <c:pt idx="199">
                  <c:v>All Others</c:v>
                </c:pt>
                <c:pt idx="200">
                  <c:v>All Others</c:v>
                </c:pt>
                <c:pt idx="201">
                  <c:v>Lactalis: A</c:v>
                </c:pt>
                <c:pt idx="202">
                  <c:v>All Others</c:v>
                </c:pt>
                <c:pt idx="203">
                  <c:v>All Others</c:v>
                </c:pt>
                <c:pt idx="204">
                  <c:v>P'Tit Louis</c:v>
                </c:pt>
                <c:pt idx="205">
                  <c:v>All Others</c:v>
                </c:pt>
                <c:pt idx="206">
                  <c:v>Lactalis: A</c:v>
                </c:pt>
                <c:pt idx="207">
                  <c:v>Apericube</c:v>
                </c:pt>
                <c:pt idx="208">
                  <c:v>Violife</c:v>
                </c:pt>
                <c:pt idx="209">
                  <c:v>Chavroux</c:v>
                </c:pt>
                <c:pt idx="210">
                  <c:v>All Others</c:v>
                </c:pt>
                <c:pt idx="211">
                  <c:v>Lou Perac</c:v>
                </c:pt>
                <c:pt idx="212">
                  <c:v>Boursin</c:v>
                </c:pt>
                <c:pt idx="213">
                  <c:v>All Others</c:v>
                </c:pt>
                <c:pt idx="214">
                  <c:v>All Others</c:v>
                </c:pt>
                <c:pt idx="215">
                  <c:v>All Others</c:v>
                </c:pt>
                <c:pt idx="216">
                  <c:v>Kiri</c:v>
                </c:pt>
                <c:pt idx="217">
                  <c:v>Tartare</c:v>
                </c:pt>
                <c:pt idx="218">
                  <c:v>All Others</c:v>
                </c:pt>
                <c:pt idx="219">
                  <c:v>All Others</c:v>
                </c:pt>
                <c:pt idx="220">
                  <c:v>Lactalis: A</c:v>
                </c:pt>
                <c:pt idx="221">
                  <c:v>Ficello</c:v>
                </c:pt>
                <c:pt idx="222">
                  <c:v>All Others</c:v>
                </c:pt>
                <c:pt idx="223">
                  <c:v>All Others</c:v>
                </c:pt>
                <c:pt idx="224">
                  <c:v>All Others</c:v>
                </c:pt>
                <c:pt idx="225">
                  <c:v>All Others</c:v>
                </c:pt>
                <c:pt idx="226">
                  <c:v>All Others</c:v>
                </c:pt>
                <c:pt idx="227">
                  <c:v>All Others</c:v>
                </c:pt>
                <c:pt idx="228">
                  <c:v>All Others</c:v>
                </c:pt>
                <c:pt idx="229">
                  <c:v>All Others</c:v>
                </c:pt>
                <c:pt idx="230">
                  <c:v>All Others</c:v>
                </c:pt>
                <c:pt idx="231">
                  <c:v>All Others</c:v>
                </c:pt>
                <c:pt idx="232">
                  <c:v>All Others</c:v>
                </c:pt>
                <c:pt idx="233">
                  <c:v>All Others</c:v>
                </c:pt>
                <c:pt idx="234">
                  <c:v>All Others</c:v>
                </c:pt>
                <c:pt idx="235">
                  <c:v>All Others</c:v>
                </c:pt>
                <c:pt idx="236">
                  <c:v>Violife</c:v>
                </c:pt>
                <c:pt idx="237">
                  <c:v>All Others</c:v>
                </c:pt>
                <c:pt idx="238">
                  <c:v>All Others</c:v>
                </c:pt>
                <c:pt idx="239">
                  <c:v>All Others</c:v>
                </c:pt>
                <c:pt idx="240">
                  <c:v>Nurishh</c:v>
                </c:pt>
                <c:pt idx="241">
                  <c:v>All Others</c:v>
                </c:pt>
                <c:pt idx="242">
                  <c:v>All Others</c:v>
                </c:pt>
                <c:pt idx="243">
                  <c:v>All Others</c:v>
                </c:pt>
                <c:pt idx="244">
                  <c:v>Triballat R</c:v>
                </c:pt>
                <c:pt idx="245">
                  <c:v>All Others</c:v>
                </c:pt>
                <c:pt idx="246">
                  <c:v>All Others</c:v>
                </c:pt>
                <c:pt idx="247">
                  <c:v>All Others</c:v>
                </c:pt>
                <c:pt idx="248">
                  <c:v>All Others</c:v>
                </c:pt>
                <c:pt idx="249">
                  <c:v>All Others</c:v>
                </c:pt>
                <c:pt idx="250">
                  <c:v>Nurishh</c:v>
                </c:pt>
                <c:pt idx="251">
                  <c:v>All Others</c:v>
                </c:pt>
                <c:pt idx="252">
                  <c:v>All Others</c:v>
                </c:pt>
                <c:pt idx="253">
                  <c:v>All Others</c:v>
                </c:pt>
                <c:pt idx="254">
                  <c:v>O'Tapas Ape</c:v>
                </c:pt>
                <c:pt idx="255">
                  <c:v>Kiri</c:v>
                </c:pt>
                <c:pt idx="256">
                  <c:v>La Vache Qu</c:v>
                </c:pt>
                <c:pt idx="257">
                  <c:v>All Others</c:v>
                </c:pt>
                <c:pt idx="258">
                  <c:v>All Others</c:v>
                </c:pt>
                <c:pt idx="259">
                  <c:v>All Others</c:v>
                </c:pt>
                <c:pt idx="260">
                  <c:v>All Others</c:v>
                </c:pt>
                <c:pt idx="261">
                  <c:v>Carre Frais</c:v>
                </c:pt>
                <c:pt idx="262">
                  <c:v>Mini Babybe</c:v>
                </c:pt>
              </c:strCache>
            </c:strRef>
          </c:cat>
          <c:val>
            <c:numRef>
              <c:f>Sheet1!$B$2:$B$264</c:f>
              <c:numCache>
                <c:formatCode>General</c:formatCode>
                <c:ptCount val="263"/>
                <c:pt idx="0">
                  <c:v>0.96</c:v>
                </c:pt>
                <c:pt idx="1">
                  <c:v>0.74</c:v>
                </c:pt>
                <c:pt idx="2">
                  <c:v>0.96</c:v>
                </c:pt>
                <c:pt idx="3">
                  <c:v>0.92</c:v>
                </c:pt>
                <c:pt idx="4">
                  <c:v>0.95</c:v>
                </c:pt>
                <c:pt idx="5">
                  <c:v>0.93</c:v>
                </c:pt>
                <c:pt idx="6">
                  <c:v>0.89</c:v>
                </c:pt>
                <c:pt idx="7">
                  <c:v>0.86</c:v>
                </c:pt>
                <c:pt idx="8">
                  <c:v>0.76</c:v>
                </c:pt>
                <c:pt idx="9">
                  <c:v>0.96</c:v>
                </c:pt>
                <c:pt idx="10">
                  <c:v>0.94</c:v>
                </c:pt>
                <c:pt idx="11">
                  <c:v>0.66</c:v>
                </c:pt>
                <c:pt idx="12">
                  <c:v>0.91</c:v>
                </c:pt>
                <c:pt idx="13">
                  <c:v>0.85</c:v>
                </c:pt>
                <c:pt idx="14">
                  <c:v>0.83</c:v>
                </c:pt>
                <c:pt idx="15">
                  <c:v>0.47</c:v>
                </c:pt>
                <c:pt idx="16">
                  <c:v>0.83</c:v>
                </c:pt>
                <c:pt idx="17">
                  <c:v>0.77</c:v>
                </c:pt>
                <c:pt idx="18">
                  <c:v>0.48</c:v>
                </c:pt>
                <c:pt idx="19">
                  <c:v>0.65</c:v>
                </c:pt>
                <c:pt idx="20">
                  <c:v>0.78</c:v>
                </c:pt>
                <c:pt idx="21">
                  <c:v>0.75</c:v>
                </c:pt>
                <c:pt idx="22">
                  <c:v>0.74</c:v>
                </c:pt>
                <c:pt idx="23">
                  <c:v>0.45</c:v>
                </c:pt>
                <c:pt idx="24">
                  <c:v>0.35</c:v>
                </c:pt>
                <c:pt idx="25">
                  <c:v>0.52</c:v>
                </c:pt>
                <c:pt idx="26">
                  <c:v>0.79</c:v>
                </c:pt>
                <c:pt idx="27">
                  <c:v>0.71</c:v>
                </c:pt>
                <c:pt idx="28">
                  <c:v>0.56000000000000005</c:v>
                </c:pt>
                <c:pt idx="29">
                  <c:v>0.68</c:v>
                </c:pt>
                <c:pt idx="30">
                  <c:v>0.56000000000000005</c:v>
                </c:pt>
                <c:pt idx="31">
                  <c:v>0.77</c:v>
                </c:pt>
                <c:pt idx="32">
                  <c:v>0.23</c:v>
                </c:pt>
                <c:pt idx="33">
                  <c:v>0.79</c:v>
                </c:pt>
                <c:pt idx="34">
                  <c:v>0.6</c:v>
                </c:pt>
                <c:pt idx="35">
                  <c:v>0.43</c:v>
                </c:pt>
                <c:pt idx="36">
                  <c:v>0.48</c:v>
                </c:pt>
                <c:pt idx="37">
                  <c:v>0.54</c:v>
                </c:pt>
                <c:pt idx="38">
                  <c:v>0.74</c:v>
                </c:pt>
                <c:pt idx="39">
                  <c:v>0.59</c:v>
                </c:pt>
                <c:pt idx="40">
                  <c:v>0.59</c:v>
                </c:pt>
                <c:pt idx="41">
                  <c:v>0.01</c:v>
                </c:pt>
                <c:pt idx="42">
                  <c:v>0.27</c:v>
                </c:pt>
                <c:pt idx="43">
                  <c:v>0.41</c:v>
                </c:pt>
                <c:pt idx="44">
                  <c:v>0.52</c:v>
                </c:pt>
                <c:pt idx="45">
                  <c:v>0.49</c:v>
                </c:pt>
                <c:pt idx="46">
                  <c:v>0.65</c:v>
                </c:pt>
                <c:pt idx="47">
                  <c:v>0.19</c:v>
                </c:pt>
                <c:pt idx="48">
                  <c:v>0.44</c:v>
                </c:pt>
                <c:pt idx="49">
                  <c:v>0.55000000000000004</c:v>
                </c:pt>
                <c:pt idx="50">
                  <c:v>0.66</c:v>
                </c:pt>
                <c:pt idx="51">
                  <c:v>0.59</c:v>
                </c:pt>
                <c:pt idx="52">
                  <c:v>0.2</c:v>
                </c:pt>
                <c:pt idx="53">
                  <c:v>0.56000000000000005</c:v>
                </c:pt>
                <c:pt idx="54">
                  <c:v>0.2</c:v>
                </c:pt>
                <c:pt idx="55">
                  <c:v>0.14000000000000001</c:v>
                </c:pt>
                <c:pt idx="56">
                  <c:v>0.22</c:v>
                </c:pt>
                <c:pt idx="57">
                  <c:v>0.33</c:v>
                </c:pt>
                <c:pt idx="58">
                  <c:v>0.19</c:v>
                </c:pt>
                <c:pt idx="59">
                  <c:v>0.51</c:v>
                </c:pt>
                <c:pt idx="60">
                  <c:v>0.48</c:v>
                </c:pt>
                <c:pt idx="61">
                  <c:v>0.47</c:v>
                </c:pt>
                <c:pt idx="62">
                  <c:v>0.16</c:v>
                </c:pt>
                <c:pt idx="63">
                  <c:v>0.28000000000000003</c:v>
                </c:pt>
                <c:pt idx="64">
                  <c:v>0.32</c:v>
                </c:pt>
                <c:pt idx="65">
                  <c:v>0.16</c:v>
                </c:pt>
                <c:pt idx="66">
                  <c:v>0.18</c:v>
                </c:pt>
                <c:pt idx="67">
                  <c:v>0.08</c:v>
                </c:pt>
                <c:pt idx="68">
                  <c:v>0.37</c:v>
                </c:pt>
                <c:pt idx="69">
                  <c:v>0.2</c:v>
                </c:pt>
                <c:pt idx="70">
                  <c:v>0.54</c:v>
                </c:pt>
                <c:pt idx="71">
                  <c:v>0.11</c:v>
                </c:pt>
                <c:pt idx="72">
                  <c:v>0.36</c:v>
                </c:pt>
                <c:pt idx="73">
                  <c:v>0.28999999999999998</c:v>
                </c:pt>
                <c:pt idx="74">
                  <c:v>0.26</c:v>
                </c:pt>
                <c:pt idx="75">
                  <c:v>0.24</c:v>
                </c:pt>
                <c:pt idx="76">
                  <c:v>0.18</c:v>
                </c:pt>
                <c:pt idx="77">
                  <c:v>0.08</c:v>
                </c:pt>
                <c:pt idx="78">
                  <c:v>0.08</c:v>
                </c:pt>
                <c:pt idx="79">
                  <c:v>0.18</c:v>
                </c:pt>
                <c:pt idx="80">
                  <c:v>0.28999999999999998</c:v>
                </c:pt>
                <c:pt idx="81">
                  <c:v>0.08</c:v>
                </c:pt>
                <c:pt idx="82">
                  <c:v>0.24</c:v>
                </c:pt>
                <c:pt idx="83">
                  <c:v>0.15</c:v>
                </c:pt>
                <c:pt idx="84">
                  <c:v>0.09</c:v>
                </c:pt>
                <c:pt idx="85">
                  <c:v>0.11</c:v>
                </c:pt>
                <c:pt idx="86">
                  <c:v>0.18</c:v>
                </c:pt>
                <c:pt idx="87">
                  <c:v>7.0000000000000007E-2</c:v>
                </c:pt>
                <c:pt idx="88">
                  <c:v>0.08</c:v>
                </c:pt>
                <c:pt idx="89">
                  <c:v>0.28000000000000003</c:v>
                </c:pt>
                <c:pt idx="90">
                  <c:v>0.09</c:v>
                </c:pt>
                <c:pt idx="91">
                  <c:v>7.0000000000000007E-2</c:v>
                </c:pt>
                <c:pt idx="92">
                  <c:v>0.08</c:v>
                </c:pt>
                <c:pt idx="93">
                  <c:v>0.11</c:v>
                </c:pt>
                <c:pt idx="94">
                  <c:v>0.1</c:v>
                </c:pt>
                <c:pt idx="95">
                  <c:v>0.3</c:v>
                </c:pt>
                <c:pt idx="96">
                  <c:v>0.06</c:v>
                </c:pt>
                <c:pt idx="97">
                  <c:v>0.18</c:v>
                </c:pt>
                <c:pt idx="98">
                  <c:v>7.0000000000000007E-2</c:v>
                </c:pt>
                <c:pt idx="99">
                  <c:v>0.19</c:v>
                </c:pt>
                <c:pt idx="100">
                  <c:v>0.18</c:v>
                </c:pt>
                <c:pt idx="101">
                  <c:v>0.15</c:v>
                </c:pt>
                <c:pt idx="102">
                  <c:v>0.05</c:v>
                </c:pt>
                <c:pt idx="103">
                  <c:v>0.16</c:v>
                </c:pt>
                <c:pt idx="104">
                  <c:v>0.05</c:v>
                </c:pt>
                <c:pt idx="105">
                  <c:v>0.08</c:v>
                </c:pt>
                <c:pt idx="106">
                  <c:v>0.14000000000000001</c:v>
                </c:pt>
                <c:pt idx="107">
                  <c:v>0.19</c:v>
                </c:pt>
                <c:pt idx="108">
                  <c:v>0.1</c:v>
                </c:pt>
                <c:pt idx="109">
                  <c:v>0.18</c:v>
                </c:pt>
                <c:pt idx="110">
                  <c:v>0.13</c:v>
                </c:pt>
                <c:pt idx="111">
                  <c:v>0.04</c:v>
                </c:pt>
                <c:pt idx="112">
                  <c:v>0.06</c:v>
                </c:pt>
                <c:pt idx="113">
                  <c:v>7.0000000000000007E-2</c:v>
                </c:pt>
                <c:pt idx="114">
                  <c:v>0.18</c:v>
                </c:pt>
                <c:pt idx="115">
                  <c:v>0.12</c:v>
                </c:pt>
                <c:pt idx="116">
                  <c:v>0.05</c:v>
                </c:pt>
                <c:pt idx="117">
                  <c:v>0.03</c:v>
                </c:pt>
                <c:pt idx="118">
                  <c:v>0.06</c:v>
                </c:pt>
                <c:pt idx="119">
                  <c:v>0.14000000000000001</c:v>
                </c:pt>
                <c:pt idx="120">
                  <c:v>0.05</c:v>
                </c:pt>
                <c:pt idx="121">
                  <c:v>0.06</c:v>
                </c:pt>
                <c:pt idx="122">
                  <c:v>0.09</c:v>
                </c:pt>
                <c:pt idx="123">
                  <c:v>7.0000000000000007E-2</c:v>
                </c:pt>
                <c:pt idx="124">
                  <c:v>0.02</c:v>
                </c:pt>
                <c:pt idx="125">
                  <c:v>0.06</c:v>
                </c:pt>
                <c:pt idx="126">
                  <c:v>7.0000000000000007E-2</c:v>
                </c:pt>
                <c:pt idx="127">
                  <c:v>0.04</c:v>
                </c:pt>
                <c:pt idx="128">
                  <c:v>0.05</c:v>
                </c:pt>
                <c:pt idx="129">
                  <c:v>0.05</c:v>
                </c:pt>
                <c:pt idx="130">
                  <c:v>7.0000000000000007E-2</c:v>
                </c:pt>
                <c:pt idx="131">
                  <c:v>0.12</c:v>
                </c:pt>
                <c:pt idx="132">
                  <c:v>0.11</c:v>
                </c:pt>
                <c:pt idx="133">
                  <c:v>0.05</c:v>
                </c:pt>
                <c:pt idx="134">
                  <c:v>0.04</c:v>
                </c:pt>
                <c:pt idx="135">
                  <c:v>0.08</c:v>
                </c:pt>
                <c:pt idx="136">
                  <c:v>0.08</c:v>
                </c:pt>
                <c:pt idx="137">
                  <c:v>0.09</c:v>
                </c:pt>
                <c:pt idx="138">
                  <c:v>0.09</c:v>
                </c:pt>
                <c:pt idx="139">
                  <c:v>0.03</c:v>
                </c:pt>
                <c:pt idx="140">
                  <c:v>0.06</c:v>
                </c:pt>
                <c:pt idx="141">
                  <c:v>0.04</c:v>
                </c:pt>
                <c:pt idx="142">
                  <c:v>0.04</c:v>
                </c:pt>
                <c:pt idx="143">
                  <c:v>0.04</c:v>
                </c:pt>
                <c:pt idx="144">
                  <c:v>0.03</c:v>
                </c:pt>
                <c:pt idx="145">
                  <c:v>0.04</c:v>
                </c:pt>
                <c:pt idx="146">
                  <c:v>0.18</c:v>
                </c:pt>
                <c:pt idx="147">
                  <c:v>0.03</c:v>
                </c:pt>
                <c:pt idx="148">
                  <c:v>0.04</c:v>
                </c:pt>
                <c:pt idx="149">
                  <c:v>0.04</c:v>
                </c:pt>
                <c:pt idx="150">
                  <c:v>0.08</c:v>
                </c:pt>
                <c:pt idx="151">
                  <c:v>7.0000000000000007E-2</c:v>
                </c:pt>
                <c:pt idx="152">
                  <c:v>0.05</c:v>
                </c:pt>
                <c:pt idx="153">
                  <c:v>0.02</c:v>
                </c:pt>
                <c:pt idx="154">
                  <c:v>0.02</c:v>
                </c:pt>
                <c:pt idx="155">
                  <c:v>0.04</c:v>
                </c:pt>
                <c:pt idx="156">
                  <c:v>7.0000000000000007E-2</c:v>
                </c:pt>
                <c:pt idx="157">
                  <c:v>0.1</c:v>
                </c:pt>
                <c:pt idx="158">
                  <c:v>0.05</c:v>
                </c:pt>
                <c:pt idx="159">
                  <c:v>0.03</c:v>
                </c:pt>
                <c:pt idx="160">
                  <c:v>0.05</c:v>
                </c:pt>
                <c:pt idx="161">
                  <c:v>0.02</c:v>
                </c:pt>
                <c:pt idx="162">
                  <c:v>0.06</c:v>
                </c:pt>
                <c:pt idx="163">
                  <c:v>0.02</c:v>
                </c:pt>
                <c:pt idx="164">
                  <c:v>0.16</c:v>
                </c:pt>
                <c:pt idx="165">
                  <c:v>0.1</c:v>
                </c:pt>
                <c:pt idx="166">
                  <c:v>0.04</c:v>
                </c:pt>
                <c:pt idx="167">
                  <c:v>0.04</c:v>
                </c:pt>
                <c:pt idx="168">
                  <c:v>0.01</c:v>
                </c:pt>
                <c:pt idx="169">
                  <c:v>0.08</c:v>
                </c:pt>
                <c:pt idx="170">
                  <c:v>0.02</c:v>
                </c:pt>
                <c:pt idx="171">
                  <c:v>0.03</c:v>
                </c:pt>
                <c:pt idx="172">
                  <c:v>0.03</c:v>
                </c:pt>
                <c:pt idx="173">
                  <c:v>0.08</c:v>
                </c:pt>
                <c:pt idx="174">
                  <c:v>0.03</c:v>
                </c:pt>
                <c:pt idx="175">
                  <c:v>0.22</c:v>
                </c:pt>
                <c:pt idx="176">
                  <c:v>0.04</c:v>
                </c:pt>
                <c:pt idx="177">
                  <c:v>0.03</c:v>
                </c:pt>
                <c:pt idx="178">
                  <c:v>0.06</c:v>
                </c:pt>
                <c:pt idx="179">
                  <c:v>0.01</c:v>
                </c:pt>
                <c:pt idx="180">
                  <c:v>0.02</c:v>
                </c:pt>
                <c:pt idx="181">
                  <c:v>0.02</c:v>
                </c:pt>
                <c:pt idx="182">
                  <c:v>0.02</c:v>
                </c:pt>
                <c:pt idx="183">
                  <c:v>0.03</c:v>
                </c:pt>
                <c:pt idx="184">
                  <c:v>0.03</c:v>
                </c:pt>
                <c:pt idx="185">
                  <c:v>0.03</c:v>
                </c:pt>
                <c:pt idx="186">
                  <c:v>0.01</c:v>
                </c:pt>
                <c:pt idx="187">
                  <c:v>0.01</c:v>
                </c:pt>
                <c:pt idx="188">
                  <c:v>0.02</c:v>
                </c:pt>
                <c:pt idx="189">
                  <c:v>0.02</c:v>
                </c:pt>
                <c:pt idx="190">
                  <c:v>0.02</c:v>
                </c:pt>
                <c:pt idx="191">
                  <c:v>0.06</c:v>
                </c:pt>
                <c:pt idx="192">
                  <c:v>0.05</c:v>
                </c:pt>
                <c:pt idx="193">
                  <c:v>0.02</c:v>
                </c:pt>
                <c:pt idx="194">
                  <c:v>0.03</c:v>
                </c:pt>
                <c:pt idx="195">
                  <c:v>0.02</c:v>
                </c:pt>
                <c:pt idx="196">
                  <c:v>0.02</c:v>
                </c:pt>
                <c:pt idx="197">
                  <c:v>0.03</c:v>
                </c:pt>
                <c:pt idx="198">
                  <c:v>0.02</c:v>
                </c:pt>
                <c:pt idx="199">
                  <c:v>0.02</c:v>
                </c:pt>
                <c:pt idx="200">
                  <c:v>0.01</c:v>
                </c:pt>
                <c:pt idx="201">
                  <c:v>0.03</c:v>
                </c:pt>
                <c:pt idx="202">
                  <c:v>0.04</c:v>
                </c:pt>
                <c:pt idx="203">
                  <c:v>0.03</c:v>
                </c:pt>
                <c:pt idx="204">
                  <c:v>0.05</c:v>
                </c:pt>
                <c:pt idx="205">
                  <c:v>0.02</c:v>
                </c:pt>
                <c:pt idx="206">
                  <c:v>0.01</c:v>
                </c:pt>
                <c:pt idx="207">
                  <c:v>0.01</c:v>
                </c:pt>
                <c:pt idx="208">
                  <c:v>0.06</c:v>
                </c:pt>
                <c:pt idx="209">
                  <c:v>0.05</c:v>
                </c:pt>
                <c:pt idx="210">
                  <c:v>0.01</c:v>
                </c:pt>
                <c:pt idx="211">
                  <c:v>0.03</c:v>
                </c:pt>
                <c:pt idx="212">
                  <c:v>0.11</c:v>
                </c:pt>
                <c:pt idx="213">
                  <c:v>0.01</c:v>
                </c:pt>
                <c:pt idx="214">
                  <c:v>0.01</c:v>
                </c:pt>
                <c:pt idx="215">
                  <c:v>0.01</c:v>
                </c:pt>
                <c:pt idx="216">
                  <c:v>0.02</c:v>
                </c:pt>
                <c:pt idx="217">
                  <c:v>0.03</c:v>
                </c:pt>
                <c:pt idx="218">
                  <c:v>0.02</c:v>
                </c:pt>
                <c:pt idx="219">
                  <c:v>0.02</c:v>
                </c:pt>
                <c:pt idx="220">
                  <c:v>0.02</c:v>
                </c:pt>
                <c:pt idx="221">
                  <c:v>0.02</c:v>
                </c:pt>
                <c:pt idx="222">
                  <c:v>0.01</c:v>
                </c:pt>
                <c:pt idx="223">
                  <c:v>0.01</c:v>
                </c:pt>
                <c:pt idx="224">
                  <c:v>0.01</c:v>
                </c:pt>
                <c:pt idx="225">
                  <c:v>0.01</c:v>
                </c:pt>
                <c:pt idx="226">
                  <c:v>0.01</c:v>
                </c:pt>
                <c:pt idx="227">
                  <c:v>0.01</c:v>
                </c:pt>
                <c:pt idx="228">
                  <c:v>0.01</c:v>
                </c:pt>
                <c:pt idx="229">
                  <c:v>0.01</c:v>
                </c:pt>
                <c:pt idx="230">
                  <c:v>0.04</c:v>
                </c:pt>
                <c:pt idx="231">
                  <c:v>0.02</c:v>
                </c:pt>
                <c:pt idx="232">
                  <c:v>0.01</c:v>
                </c:pt>
                <c:pt idx="233">
                  <c:v>0.01</c:v>
                </c:pt>
                <c:pt idx="234">
                  <c:v>0.01</c:v>
                </c:pt>
                <c:pt idx="235">
                  <c:v>0.01</c:v>
                </c:pt>
                <c:pt idx="236">
                  <c:v>0.03</c:v>
                </c:pt>
                <c:pt idx="237">
                  <c:v>0.01</c:v>
                </c:pt>
                <c:pt idx="238">
                  <c:v>0.01</c:v>
                </c:pt>
                <c:pt idx="239">
                  <c:v>0.01</c:v>
                </c:pt>
                <c:pt idx="240">
                  <c:v>0.03</c:v>
                </c:pt>
                <c:pt idx="241">
                  <c:v>0.01</c:v>
                </c:pt>
                <c:pt idx="242">
                  <c:v>0.01</c:v>
                </c:pt>
                <c:pt idx="243">
                  <c:v>0.01</c:v>
                </c:pt>
                <c:pt idx="244">
                  <c:v>0.01</c:v>
                </c:pt>
                <c:pt idx="245">
                  <c:v>0.01</c:v>
                </c:pt>
                <c:pt idx="246">
                  <c:v>0.01</c:v>
                </c:pt>
                <c:pt idx="247">
                  <c:v>0.01</c:v>
                </c:pt>
                <c:pt idx="248">
                  <c:v>0.01</c:v>
                </c:pt>
                <c:pt idx="249">
                  <c:v>0.01</c:v>
                </c:pt>
                <c:pt idx="250">
                  <c:v>0.01</c:v>
                </c:pt>
                <c:pt idx="251">
                  <c:v>0.01</c:v>
                </c:pt>
                <c:pt idx="252">
                  <c:v>0.01</c:v>
                </c:pt>
                <c:pt idx="253">
                  <c:v>0.01</c:v>
                </c:pt>
                <c:pt idx="254">
                  <c:v>0.01</c:v>
                </c:pt>
                <c:pt idx="255">
                  <c:v>0.1</c:v>
                </c:pt>
                <c:pt idx="256">
                  <c:v>0.05</c:v>
                </c:pt>
                <c:pt idx="257">
                  <c:v>0.01</c:v>
                </c:pt>
                <c:pt idx="258">
                  <c:v>0.01</c:v>
                </c:pt>
                <c:pt idx="259">
                  <c:v>0.02</c:v>
                </c:pt>
                <c:pt idx="260">
                  <c:v>0.01</c:v>
                </c:pt>
                <c:pt idx="261">
                  <c:v>0.01</c:v>
                </c:pt>
                <c:pt idx="262">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EF8A-4CB3-A00B-D024167C78BD}"/>
              </c:ext>
            </c:extLst>
          </c:dPt>
          <c:dPt>
            <c:idx val="211"/>
            <c:invertIfNegative val="1"/>
            <c:bubble3D val="0"/>
            <c:spPr>
              <a:solidFill>
                <a:srgbClr val="AEABAB"/>
              </a:solidFill>
            </c:spPr>
            <c:extLst>
              <c:ext xmlns:c16="http://schemas.microsoft.com/office/drawing/2014/chart" uri="{C3380CC4-5D6E-409C-BE32-E72D297353CC}">
                <c16:uniqueId val="{000001A9-EF8A-4CB3-A00B-D024167C78BD}"/>
              </c:ext>
            </c:extLst>
          </c:dPt>
          <c:dPt>
            <c:idx val="212"/>
            <c:invertIfNegative val="1"/>
            <c:bubble3D val="0"/>
            <c:spPr>
              <a:solidFill>
                <a:srgbClr val="AEABAB"/>
              </a:solidFill>
            </c:spPr>
            <c:extLst>
              <c:ext xmlns:c16="http://schemas.microsoft.com/office/drawing/2014/chart" uri="{C3380CC4-5D6E-409C-BE32-E72D297353CC}">
                <c16:uniqueId val="{000001AB-EF8A-4CB3-A00B-D024167C78BD}"/>
              </c:ext>
            </c:extLst>
          </c:dPt>
          <c:dPt>
            <c:idx val="213"/>
            <c:invertIfNegative val="1"/>
            <c:bubble3D val="0"/>
            <c:spPr>
              <a:solidFill>
                <a:srgbClr val="AEABAB"/>
              </a:solidFill>
            </c:spPr>
            <c:extLst>
              <c:ext xmlns:c16="http://schemas.microsoft.com/office/drawing/2014/chart" uri="{C3380CC4-5D6E-409C-BE32-E72D297353CC}">
                <c16:uniqueId val="{000001AD-EF8A-4CB3-A00B-D024167C78BD}"/>
              </c:ext>
            </c:extLst>
          </c:dPt>
          <c:dPt>
            <c:idx val="214"/>
            <c:invertIfNegative val="1"/>
            <c:bubble3D val="0"/>
            <c:spPr>
              <a:solidFill>
                <a:srgbClr val="AEABAB"/>
              </a:solidFill>
            </c:spPr>
            <c:extLst>
              <c:ext xmlns:c16="http://schemas.microsoft.com/office/drawing/2014/chart" uri="{C3380CC4-5D6E-409C-BE32-E72D297353CC}">
                <c16:uniqueId val="{000001AF-EF8A-4CB3-A00B-D024167C78BD}"/>
              </c:ext>
            </c:extLst>
          </c:dPt>
          <c:dPt>
            <c:idx val="215"/>
            <c:invertIfNegative val="1"/>
            <c:bubble3D val="0"/>
            <c:spPr>
              <a:solidFill>
                <a:srgbClr val="AEABAB"/>
              </a:solidFill>
            </c:spPr>
            <c:extLst>
              <c:ext xmlns:c16="http://schemas.microsoft.com/office/drawing/2014/chart" uri="{C3380CC4-5D6E-409C-BE32-E72D297353CC}">
                <c16:uniqueId val="{000001B1-EF8A-4CB3-A00B-D024167C78BD}"/>
              </c:ext>
            </c:extLst>
          </c:dPt>
          <c:dPt>
            <c:idx val="216"/>
            <c:invertIfNegative val="1"/>
            <c:bubble3D val="0"/>
            <c:spPr>
              <a:solidFill>
                <a:srgbClr val="AEABAB"/>
              </a:solidFill>
            </c:spPr>
            <c:extLst>
              <c:ext xmlns:c16="http://schemas.microsoft.com/office/drawing/2014/chart" uri="{C3380CC4-5D6E-409C-BE32-E72D297353CC}">
                <c16:uniqueId val="{000001B3-EF8A-4CB3-A00B-D024167C78BD}"/>
              </c:ext>
            </c:extLst>
          </c:dPt>
          <c:dPt>
            <c:idx val="217"/>
            <c:invertIfNegative val="1"/>
            <c:bubble3D val="0"/>
            <c:spPr>
              <a:solidFill>
                <a:srgbClr val="AEABAB"/>
              </a:solidFill>
            </c:spPr>
            <c:extLst>
              <c:ext xmlns:c16="http://schemas.microsoft.com/office/drawing/2014/chart" uri="{C3380CC4-5D6E-409C-BE32-E72D297353CC}">
                <c16:uniqueId val="{000001B5-EF8A-4CB3-A00B-D024167C78BD}"/>
              </c:ext>
            </c:extLst>
          </c:dPt>
          <c:dPt>
            <c:idx val="218"/>
            <c:invertIfNegative val="1"/>
            <c:bubble3D val="0"/>
            <c:spPr>
              <a:solidFill>
                <a:srgbClr val="AEABAB"/>
              </a:solidFill>
            </c:spPr>
            <c:extLst>
              <c:ext xmlns:c16="http://schemas.microsoft.com/office/drawing/2014/chart" uri="{C3380CC4-5D6E-409C-BE32-E72D297353CC}">
                <c16:uniqueId val="{000001B7-EF8A-4CB3-A00B-D024167C78BD}"/>
              </c:ext>
            </c:extLst>
          </c:dPt>
          <c:dPt>
            <c:idx val="219"/>
            <c:invertIfNegative val="1"/>
            <c:bubble3D val="0"/>
            <c:spPr>
              <a:solidFill>
                <a:srgbClr val="AEABAB"/>
              </a:solidFill>
            </c:spPr>
            <c:extLst>
              <c:ext xmlns:c16="http://schemas.microsoft.com/office/drawing/2014/chart" uri="{C3380CC4-5D6E-409C-BE32-E72D297353CC}">
                <c16:uniqueId val="{000001B9-EF8A-4CB3-A00B-D024167C78BD}"/>
              </c:ext>
            </c:extLst>
          </c:dPt>
          <c:dPt>
            <c:idx val="220"/>
            <c:invertIfNegative val="1"/>
            <c:bubble3D val="0"/>
            <c:spPr>
              <a:solidFill>
                <a:srgbClr val="AEABAB"/>
              </a:solidFill>
            </c:spPr>
            <c:extLst>
              <c:ext xmlns:c16="http://schemas.microsoft.com/office/drawing/2014/chart" uri="{C3380CC4-5D6E-409C-BE32-E72D297353CC}">
                <c16:uniqueId val="{000001BB-EF8A-4CB3-A00B-D024167C78BD}"/>
              </c:ext>
            </c:extLst>
          </c:dPt>
          <c:dPt>
            <c:idx val="221"/>
            <c:invertIfNegative val="1"/>
            <c:bubble3D val="0"/>
            <c:spPr>
              <a:solidFill>
                <a:srgbClr val="AEABAB"/>
              </a:solidFill>
            </c:spPr>
            <c:extLst>
              <c:ext xmlns:c16="http://schemas.microsoft.com/office/drawing/2014/chart" uri="{C3380CC4-5D6E-409C-BE32-E72D297353CC}">
                <c16:uniqueId val="{000001BD-EF8A-4CB3-A00B-D024167C78BD}"/>
              </c:ext>
            </c:extLst>
          </c:dPt>
          <c:dPt>
            <c:idx val="222"/>
            <c:invertIfNegative val="1"/>
            <c:bubble3D val="0"/>
            <c:spPr>
              <a:solidFill>
                <a:srgbClr val="AEABAB"/>
              </a:solidFill>
            </c:spPr>
            <c:extLst>
              <c:ext xmlns:c16="http://schemas.microsoft.com/office/drawing/2014/chart" uri="{C3380CC4-5D6E-409C-BE32-E72D297353CC}">
                <c16:uniqueId val="{000001BF-EF8A-4CB3-A00B-D024167C78BD}"/>
              </c:ext>
            </c:extLst>
          </c:dPt>
          <c:dPt>
            <c:idx val="223"/>
            <c:invertIfNegative val="1"/>
            <c:bubble3D val="0"/>
            <c:spPr>
              <a:solidFill>
                <a:srgbClr val="AEABAB"/>
              </a:solidFill>
            </c:spPr>
            <c:extLst>
              <c:ext xmlns:c16="http://schemas.microsoft.com/office/drawing/2014/chart" uri="{C3380CC4-5D6E-409C-BE32-E72D297353CC}">
                <c16:uniqueId val="{000001C1-EF8A-4CB3-A00B-D024167C78BD}"/>
              </c:ext>
            </c:extLst>
          </c:dPt>
          <c:dPt>
            <c:idx val="224"/>
            <c:invertIfNegative val="1"/>
            <c:bubble3D val="0"/>
            <c:spPr>
              <a:solidFill>
                <a:srgbClr val="AEABAB"/>
              </a:solidFill>
            </c:spPr>
            <c:extLst>
              <c:ext xmlns:c16="http://schemas.microsoft.com/office/drawing/2014/chart" uri="{C3380CC4-5D6E-409C-BE32-E72D297353CC}">
                <c16:uniqueId val="{000001C3-EF8A-4CB3-A00B-D024167C78BD}"/>
              </c:ext>
            </c:extLst>
          </c:dPt>
          <c:dPt>
            <c:idx val="225"/>
            <c:invertIfNegative val="1"/>
            <c:bubble3D val="0"/>
            <c:spPr>
              <a:solidFill>
                <a:srgbClr val="AEABAB"/>
              </a:solidFill>
            </c:spPr>
            <c:extLst>
              <c:ext xmlns:c16="http://schemas.microsoft.com/office/drawing/2014/chart" uri="{C3380CC4-5D6E-409C-BE32-E72D297353CC}">
                <c16:uniqueId val="{000001C5-EF8A-4CB3-A00B-D024167C78BD}"/>
              </c:ext>
            </c:extLst>
          </c:dPt>
          <c:dPt>
            <c:idx val="226"/>
            <c:invertIfNegative val="1"/>
            <c:bubble3D val="0"/>
            <c:spPr>
              <a:solidFill>
                <a:srgbClr val="AEABAB"/>
              </a:solidFill>
            </c:spPr>
            <c:extLst>
              <c:ext xmlns:c16="http://schemas.microsoft.com/office/drawing/2014/chart" uri="{C3380CC4-5D6E-409C-BE32-E72D297353CC}">
                <c16:uniqueId val="{000001C7-EF8A-4CB3-A00B-D024167C78BD}"/>
              </c:ext>
            </c:extLst>
          </c:dPt>
          <c:dPt>
            <c:idx val="227"/>
            <c:invertIfNegative val="1"/>
            <c:bubble3D val="0"/>
            <c:spPr>
              <a:solidFill>
                <a:srgbClr val="AEABAB"/>
              </a:solidFill>
            </c:spPr>
            <c:extLst>
              <c:ext xmlns:c16="http://schemas.microsoft.com/office/drawing/2014/chart" uri="{C3380CC4-5D6E-409C-BE32-E72D297353CC}">
                <c16:uniqueId val="{000001C9-EF8A-4CB3-A00B-D024167C78BD}"/>
              </c:ext>
            </c:extLst>
          </c:dPt>
          <c:dPt>
            <c:idx val="228"/>
            <c:invertIfNegative val="1"/>
            <c:bubble3D val="0"/>
            <c:spPr>
              <a:solidFill>
                <a:srgbClr val="AEABAB"/>
              </a:solidFill>
            </c:spPr>
            <c:extLst>
              <c:ext xmlns:c16="http://schemas.microsoft.com/office/drawing/2014/chart" uri="{C3380CC4-5D6E-409C-BE32-E72D297353CC}">
                <c16:uniqueId val="{000001CB-EF8A-4CB3-A00B-D024167C78BD}"/>
              </c:ext>
            </c:extLst>
          </c:dPt>
          <c:dPt>
            <c:idx val="229"/>
            <c:invertIfNegative val="1"/>
            <c:bubble3D val="0"/>
            <c:spPr>
              <a:solidFill>
                <a:srgbClr val="AEABAB"/>
              </a:solidFill>
            </c:spPr>
            <c:extLst>
              <c:ext xmlns:c16="http://schemas.microsoft.com/office/drawing/2014/chart" uri="{C3380CC4-5D6E-409C-BE32-E72D297353CC}">
                <c16:uniqueId val="{000001CD-EF8A-4CB3-A00B-D024167C78BD}"/>
              </c:ext>
            </c:extLst>
          </c:dPt>
          <c:dPt>
            <c:idx val="230"/>
            <c:invertIfNegative val="1"/>
            <c:bubble3D val="0"/>
            <c:spPr>
              <a:solidFill>
                <a:srgbClr val="AEABAB"/>
              </a:solidFill>
            </c:spPr>
            <c:extLst>
              <c:ext xmlns:c16="http://schemas.microsoft.com/office/drawing/2014/chart" uri="{C3380CC4-5D6E-409C-BE32-E72D297353CC}">
                <c16:uniqueId val="{000001CF-EF8A-4CB3-A00B-D024167C78BD}"/>
              </c:ext>
            </c:extLst>
          </c:dPt>
          <c:dPt>
            <c:idx val="231"/>
            <c:invertIfNegative val="1"/>
            <c:bubble3D val="0"/>
            <c:spPr>
              <a:solidFill>
                <a:srgbClr val="AEABAB"/>
              </a:solidFill>
            </c:spPr>
            <c:extLst>
              <c:ext xmlns:c16="http://schemas.microsoft.com/office/drawing/2014/chart" uri="{C3380CC4-5D6E-409C-BE32-E72D297353CC}">
                <c16:uniqueId val="{000001D1-EF8A-4CB3-A00B-D024167C78BD}"/>
              </c:ext>
            </c:extLst>
          </c:dPt>
          <c:dPt>
            <c:idx val="232"/>
            <c:invertIfNegative val="1"/>
            <c:bubble3D val="0"/>
            <c:spPr>
              <a:solidFill>
                <a:srgbClr val="AEABAB"/>
              </a:solidFill>
            </c:spPr>
            <c:extLst>
              <c:ext xmlns:c16="http://schemas.microsoft.com/office/drawing/2014/chart" uri="{C3380CC4-5D6E-409C-BE32-E72D297353CC}">
                <c16:uniqueId val="{000001D3-EF8A-4CB3-A00B-D024167C78BD}"/>
              </c:ext>
            </c:extLst>
          </c:dPt>
          <c:dPt>
            <c:idx val="233"/>
            <c:invertIfNegative val="1"/>
            <c:bubble3D val="0"/>
            <c:spPr>
              <a:solidFill>
                <a:srgbClr val="AEABAB"/>
              </a:solidFill>
            </c:spPr>
            <c:extLst>
              <c:ext xmlns:c16="http://schemas.microsoft.com/office/drawing/2014/chart" uri="{C3380CC4-5D6E-409C-BE32-E72D297353CC}">
                <c16:uniqueId val="{000001D5-EF8A-4CB3-A00B-D024167C78BD}"/>
              </c:ext>
            </c:extLst>
          </c:dPt>
          <c:dPt>
            <c:idx val="234"/>
            <c:invertIfNegative val="1"/>
            <c:bubble3D val="0"/>
            <c:spPr>
              <a:solidFill>
                <a:srgbClr val="AEABAB"/>
              </a:solidFill>
            </c:spPr>
            <c:extLst>
              <c:ext xmlns:c16="http://schemas.microsoft.com/office/drawing/2014/chart" uri="{C3380CC4-5D6E-409C-BE32-E72D297353CC}">
                <c16:uniqueId val="{000001D7-EF8A-4CB3-A00B-D024167C78BD}"/>
              </c:ext>
            </c:extLst>
          </c:dPt>
          <c:dPt>
            <c:idx val="235"/>
            <c:invertIfNegative val="1"/>
            <c:bubble3D val="0"/>
            <c:spPr>
              <a:solidFill>
                <a:srgbClr val="AEABAB"/>
              </a:solidFill>
            </c:spPr>
            <c:extLst>
              <c:ext xmlns:c16="http://schemas.microsoft.com/office/drawing/2014/chart" uri="{C3380CC4-5D6E-409C-BE32-E72D297353CC}">
                <c16:uniqueId val="{000001D9-EF8A-4CB3-A00B-D024167C78BD}"/>
              </c:ext>
            </c:extLst>
          </c:dPt>
          <c:dPt>
            <c:idx val="236"/>
            <c:invertIfNegative val="1"/>
            <c:bubble3D val="0"/>
            <c:spPr>
              <a:solidFill>
                <a:srgbClr val="AEABAB"/>
              </a:solidFill>
            </c:spPr>
            <c:extLst>
              <c:ext xmlns:c16="http://schemas.microsoft.com/office/drawing/2014/chart" uri="{C3380CC4-5D6E-409C-BE32-E72D297353CC}">
                <c16:uniqueId val="{000001DB-EF8A-4CB3-A00B-D024167C78BD}"/>
              </c:ext>
            </c:extLst>
          </c:dPt>
          <c:dPt>
            <c:idx val="237"/>
            <c:invertIfNegative val="1"/>
            <c:bubble3D val="0"/>
            <c:spPr>
              <a:solidFill>
                <a:srgbClr val="AEABAB"/>
              </a:solidFill>
            </c:spPr>
            <c:extLst>
              <c:ext xmlns:c16="http://schemas.microsoft.com/office/drawing/2014/chart" uri="{C3380CC4-5D6E-409C-BE32-E72D297353CC}">
                <c16:uniqueId val="{000001DD-EF8A-4CB3-A00B-D024167C78BD}"/>
              </c:ext>
            </c:extLst>
          </c:dPt>
          <c:dPt>
            <c:idx val="238"/>
            <c:invertIfNegative val="1"/>
            <c:bubble3D val="0"/>
            <c:spPr>
              <a:solidFill>
                <a:srgbClr val="AEABAB"/>
              </a:solidFill>
            </c:spPr>
            <c:extLst>
              <c:ext xmlns:c16="http://schemas.microsoft.com/office/drawing/2014/chart" uri="{C3380CC4-5D6E-409C-BE32-E72D297353CC}">
                <c16:uniqueId val="{000001DF-EF8A-4CB3-A00B-D024167C78BD}"/>
              </c:ext>
            </c:extLst>
          </c:dPt>
          <c:dPt>
            <c:idx val="239"/>
            <c:invertIfNegative val="1"/>
            <c:bubble3D val="0"/>
            <c:spPr>
              <a:solidFill>
                <a:srgbClr val="AEABAB"/>
              </a:solidFill>
            </c:spPr>
            <c:extLst>
              <c:ext xmlns:c16="http://schemas.microsoft.com/office/drawing/2014/chart" uri="{C3380CC4-5D6E-409C-BE32-E72D297353CC}">
                <c16:uniqueId val="{000001E1-EF8A-4CB3-A00B-D024167C78BD}"/>
              </c:ext>
            </c:extLst>
          </c:dPt>
          <c:dPt>
            <c:idx val="240"/>
            <c:invertIfNegative val="1"/>
            <c:bubble3D val="0"/>
            <c:spPr>
              <a:solidFill>
                <a:srgbClr val="AEABAB"/>
              </a:solidFill>
            </c:spPr>
            <c:extLst>
              <c:ext xmlns:c16="http://schemas.microsoft.com/office/drawing/2014/chart" uri="{C3380CC4-5D6E-409C-BE32-E72D297353CC}">
                <c16:uniqueId val="{000001E3-EF8A-4CB3-A00B-D024167C78BD}"/>
              </c:ext>
            </c:extLst>
          </c:dPt>
          <c:dPt>
            <c:idx val="241"/>
            <c:invertIfNegative val="1"/>
            <c:bubble3D val="0"/>
            <c:spPr>
              <a:solidFill>
                <a:srgbClr val="AEABAB"/>
              </a:solidFill>
            </c:spPr>
            <c:extLst>
              <c:ext xmlns:c16="http://schemas.microsoft.com/office/drawing/2014/chart" uri="{C3380CC4-5D6E-409C-BE32-E72D297353CC}">
                <c16:uniqueId val="{000001E5-EF8A-4CB3-A00B-D024167C78BD}"/>
              </c:ext>
            </c:extLst>
          </c:dPt>
          <c:dPt>
            <c:idx val="242"/>
            <c:invertIfNegative val="1"/>
            <c:bubble3D val="0"/>
            <c:spPr>
              <a:solidFill>
                <a:srgbClr val="AEABAB"/>
              </a:solidFill>
            </c:spPr>
            <c:extLst>
              <c:ext xmlns:c16="http://schemas.microsoft.com/office/drawing/2014/chart" uri="{C3380CC4-5D6E-409C-BE32-E72D297353CC}">
                <c16:uniqueId val="{000001E7-EF8A-4CB3-A00B-D024167C78BD}"/>
              </c:ext>
            </c:extLst>
          </c:dPt>
          <c:dPt>
            <c:idx val="243"/>
            <c:invertIfNegative val="1"/>
            <c:bubble3D val="0"/>
            <c:spPr>
              <a:solidFill>
                <a:srgbClr val="AEABAB"/>
              </a:solidFill>
            </c:spPr>
            <c:extLst>
              <c:ext xmlns:c16="http://schemas.microsoft.com/office/drawing/2014/chart" uri="{C3380CC4-5D6E-409C-BE32-E72D297353CC}">
                <c16:uniqueId val="{000001E9-EF8A-4CB3-A00B-D024167C78BD}"/>
              </c:ext>
            </c:extLst>
          </c:dPt>
          <c:dPt>
            <c:idx val="244"/>
            <c:invertIfNegative val="1"/>
            <c:bubble3D val="0"/>
            <c:spPr>
              <a:solidFill>
                <a:srgbClr val="AEABAB"/>
              </a:solidFill>
            </c:spPr>
            <c:extLst>
              <c:ext xmlns:c16="http://schemas.microsoft.com/office/drawing/2014/chart" uri="{C3380CC4-5D6E-409C-BE32-E72D297353CC}">
                <c16:uniqueId val="{000001EB-EF8A-4CB3-A00B-D024167C78BD}"/>
              </c:ext>
            </c:extLst>
          </c:dPt>
          <c:dPt>
            <c:idx val="245"/>
            <c:invertIfNegative val="1"/>
            <c:bubble3D val="0"/>
            <c:spPr>
              <a:solidFill>
                <a:srgbClr val="AEABAB"/>
              </a:solidFill>
            </c:spPr>
            <c:extLst>
              <c:ext xmlns:c16="http://schemas.microsoft.com/office/drawing/2014/chart" uri="{C3380CC4-5D6E-409C-BE32-E72D297353CC}">
                <c16:uniqueId val="{000001ED-EF8A-4CB3-A00B-D024167C78BD}"/>
              </c:ext>
            </c:extLst>
          </c:dPt>
          <c:dPt>
            <c:idx val="246"/>
            <c:invertIfNegative val="1"/>
            <c:bubble3D val="0"/>
            <c:spPr>
              <a:solidFill>
                <a:srgbClr val="AEABAB"/>
              </a:solidFill>
            </c:spPr>
            <c:extLst>
              <c:ext xmlns:c16="http://schemas.microsoft.com/office/drawing/2014/chart" uri="{C3380CC4-5D6E-409C-BE32-E72D297353CC}">
                <c16:uniqueId val="{000001EF-EF8A-4CB3-A00B-D024167C78BD}"/>
              </c:ext>
            </c:extLst>
          </c:dPt>
          <c:dPt>
            <c:idx val="247"/>
            <c:invertIfNegative val="1"/>
            <c:bubble3D val="0"/>
            <c:spPr>
              <a:solidFill>
                <a:srgbClr val="AEABAB"/>
              </a:solidFill>
            </c:spPr>
            <c:extLst>
              <c:ext xmlns:c16="http://schemas.microsoft.com/office/drawing/2014/chart" uri="{C3380CC4-5D6E-409C-BE32-E72D297353CC}">
                <c16:uniqueId val="{000001F1-EF8A-4CB3-A00B-D024167C78BD}"/>
              </c:ext>
            </c:extLst>
          </c:dPt>
          <c:dPt>
            <c:idx val="248"/>
            <c:invertIfNegative val="1"/>
            <c:bubble3D val="0"/>
            <c:spPr>
              <a:solidFill>
                <a:srgbClr val="AEABAB"/>
              </a:solidFill>
            </c:spPr>
            <c:extLst>
              <c:ext xmlns:c16="http://schemas.microsoft.com/office/drawing/2014/chart" uri="{C3380CC4-5D6E-409C-BE32-E72D297353CC}">
                <c16:uniqueId val="{000001F3-EF8A-4CB3-A00B-D024167C78BD}"/>
              </c:ext>
            </c:extLst>
          </c:dPt>
          <c:dPt>
            <c:idx val="249"/>
            <c:invertIfNegative val="1"/>
            <c:bubble3D val="0"/>
            <c:spPr>
              <a:solidFill>
                <a:srgbClr val="AEABAB"/>
              </a:solidFill>
            </c:spPr>
            <c:extLst>
              <c:ext xmlns:c16="http://schemas.microsoft.com/office/drawing/2014/chart" uri="{C3380CC4-5D6E-409C-BE32-E72D297353CC}">
                <c16:uniqueId val="{000001F5-EF8A-4CB3-A00B-D024167C78BD}"/>
              </c:ext>
            </c:extLst>
          </c:dPt>
          <c:dPt>
            <c:idx val="250"/>
            <c:invertIfNegative val="1"/>
            <c:bubble3D val="0"/>
            <c:spPr>
              <a:solidFill>
                <a:srgbClr val="AEABAB"/>
              </a:solidFill>
            </c:spPr>
            <c:extLst>
              <c:ext xmlns:c16="http://schemas.microsoft.com/office/drawing/2014/chart" uri="{C3380CC4-5D6E-409C-BE32-E72D297353CC}">
                <c16:uniqueId val="{000001F7-EF8A-4CB3-A00B-D024167C78BD}"/>
              </c:ext>
            </c:extLst>
          </c:dPt>
          <c:dPt>
            <c:idx val="251"/>
            <c:invertIfNegative val="1"/>
            <c:bubble3D val="0"/>
            <c:spPr>
              <a:solidFill>
                <a:srgbClr val="AEABAB"/>
              </a:solidFill>
            </c:spPr>
            <c:extLst>
              <c:ext xmlns:c16="http://schemas.microsoft.com/office/drawing/2014/chart" uri="{C3380CC4-5D6E-409C-BE32-E72D297353CC}">
                <c16:uniqueId val="{000001F9-EF8A-4CB3-A00B-D024167C78BD}"/>
              </c:ext>
            </c:extLst>
          </c:dPt>
          <c:dPt>
            <c:idx val="252"/>
            <c:invertIfNegative val="1"/>
            <c:bubble3D val="0"/>
            <c:spPr>
              <a:solidFill>
                <a:srgbClr val="AEABAB"/>
              </a:solidFill>
            </c:spPr>
            <c:extLst>
              <c:ext xmlns:c16="http://schemas.microsoft.com/office/drawing/2014/chart" uri="{C3380CC4-5D6E-409C-BE32-E72D297353CC}">
                <c16:uniqueId val="{000001FB-EF8A-4CB3-A00B-D024167C78BD}"/>
              </c:ext>
            </c:extLst>
          </c:dPt>
          <c:dPt>
            <c:idx val="253"/>
            <c:invertIfNegative val="1"/>
            <c:bubble3D val="0"/>
            <c:spPr>
              <a:solidFill>
                <a:srgbClr val="AEABAB"/>
              </a:solidFill>
            </c:spPr>
            <c:extLst>
              <c:ext xmlns:c16="http://schemas.microsoft.com/office/drawing/2014/chart" uri="{C3380CC4-5D6E-409C-BE32-E72D297353CC}">
                <c16:uniqueId val="{000001FD-EF8A-4CB3-A00B-D024167C78BD}"/>
              </c:ext>
            </c:extLst>
          </c:dPt>
          <c:dPt>
            <c:idx val="254"/>
            <c:invertIfNegative val="1"/>
            <c:bubble3D val="0"/>
            <c:spPr>
              <a:solidFill>
                <a:srgbClr val="AEABAB"/>
              </a:solidFill>
            </c:spPr>
            <c:extLst>
              <c:ext xmlns:c16="http://schemas.microsoft.com/office/drawing/2014/chart" uri="{C3380CC4-5D6E-409C-BE32-E72D297353CC}">
                <c16:uniqueId val="{000001FF-EF8A-4CB3-A00B-D024167C78BD}"/>
              </c:ext>
            </c:extLst>
          </c:dPt>
          <c:dPt>
            <c:idx val="255"/>
            <c:invertIfNegative val="1"/>
            <c:bubble3D val="0"/>
            <c:spPr>
              <a:solidFill>
                <a:srgbClr val="AEABAB"/>
              </a:solidFill>
            </c:spPr>
            <c:extLst>
              <c:ext xmlns:c16="http://schemas.microsoft.com/office/drawing/2014/chart" uri="{C3380CC4-5D6E-409C-BE32-E72D297353CC}">
                <c16:uniqueId val="{00000201-EF8A-4CB3-A00B-D024167C78BD}"/>
              </c:ext>
            </c:extLst>
          </c:dPt>
          <c:dPt>
            <c:idx val="256"/>
            <c:invertIfNegative val="1"/>
            <c:bubble3D val="0"/>
            <c:spPr>
              <a:solidFill>
                <a:srgbClr val="AEABAB"/>
              </a:solidFill>
            </c:spPr>
            <c:extLst>
              <c:ext xmlns:c16="http://schemas.microsoft.com/office/drawing/2014/chart" uri="{C3380CC4-5D6E-409C-BE32-E72D297353CC}">
                <c16:uniqueId val="{00000203-EF8A-4CB3-A00B-D024167C78BD}"/>
              </c:ext>
            </c:extLst>
          </c:dPt>
          <c:dPt>
            <c:idx val="257"/>
            <c:invertIfNegative val="1"/>
            <c:bubble3D val="0"/>
            <c:spPr>
              <a:solidFill>
                <a:srgbClr val="AEABAB"/>
              </a:solidFill>
            </c:spPr>
            <c:extLst>
              <c:ext xmlns:c16="http://schemas.microsoft.com/office/drawing/2014/chart" uri="{C3380CC4-5D6E-409C-BE32-E72D297353CC}">
                <c16:uniqueId val="{00000205-EF8A-4CB3-A00B-D024167C78BD}"/>
              </c:ext>
            </c:extLst>
          </c:dPt>
          <c:dPt>
            <c:idx val="258"/>
            <c:invertIfNegative val="1"/>
            <c:bubble3D val="0"/>
            <c:spPr>
              <a:solidFill>
                <a:srgbClr val="AEABAB"/>
              </a:solidFill>
            </c:spPr>
            <c:extLst>
              <c:ext xmlns:c16="http://schemas.microsoft.com/office/drawing/2014/chart" uri="{C3380CC4-5D6E-409C-BE32-E72D297353CC}">
                <c16:uniqueId val="{00000207-EF8A-4CB3-A00B-D024167C78BD}"/>
              </c:ext>
            </c:extLst>
          </c:dPt>
          <c:dPt>
            <c:idx val="259"/>
            <c:invertIfNegative val="1"/>
            <c:bubble3D val="0"/>
            <c:spPr>
              <a:solidFill>
                <a:srgbClr val="AEABAB"/>
              </a:solidFill>
            </c:spPr>
            <c:extLst>
              <c:ext xmlns:c16="http://schemas.microsoft.com/office/drawing/2014/chart" uri="{C3380CC4-5D6E-409C-BE32-E72D297353CC}">
                <c16:uniqueId val="{00000209-EF8A-4CB3-A00B-D024167C78BD}"/>
              </c:ext>
            </c:extLst>
          </c:dPt>
          <c:dPt>
            <c:idx val="260"/>
            <c:invertIfNegative val="1"/>
            <c:bubble3D val="0"/>
            <c:spPr>
              <a:solidFill>
                <a:srgbClr val="AEABAB"/>
              </a:solidFill>
            </c:spPr>
            <c:extLst>
              <c:ext xmlns:c16="http://schemas.microsoft.com/office/drawing/2014/chart" uri="{C3380CC4-5D6E-409C-BE32-E72D297353CC}">
                <c16:uniqueId val="{0000020B-EF8A-4CB3-A00B-D024167C78BD}"/>
              </c:ext>
            </c:extLst>
          </c:dPt>
          <c:dPt>
            <c:idx val="261"/>
            <c:invertIfNegative val="1"/>
            <c:bubble3D val="0"/>
            <c:spPr>
              <a:solidFill>
                <a:srgbClr val="AEABAB"/>
              </a:solidFill>
            </c:spPr>
            <c:extLst>
              <c:ext xmlns:c16="http://schemas.microsoft.com/office/drawing/2014/chart" uri="{C3380CC4-5D6E-409C-BE32-E72D297353CC}">
                <c16:uniqueId val="{0000020D-EF8A-4CB3-A00B-D024167C78BD}"/>
              </c:ext>
            </c:extLst>
          </c:dPt>
          <c:dPt>
            <c:idx val="262"/>
            <c:invertIfNegative val="1"/>
            <c:bubble3D val="0"/>
            <c:spPr>
              <a:solidFill>
                <a:srgbClr val="AEABAB"/>
              </a:solidFill>
            </c:spPr>
            <c:extLst>
              <c:ext xmlns:c16="http://schemas.microsoft.com/office/drawing/2014/chart" uri="{C3380CC4-5D6E-409C-BE32-E72D297353CC}">
                <c16:uniqueId val="{0000020F-EF8A-4CB3-A00B-D024167C78BD}"/>
              </c:ext>
            </c:extLst>
          </c:dPt>
          <c:cat>
            <c:strRef>
              <c:f>Sheet1!$A$2:$A$264</c:f>
              <c:strCache>
                <c:ptCount val="263"/>
                <c:pt idx="0">
                  <c:v>Mini Babybe</c:v>
                </c:pt>
                <c:pt idx="1">
                  <c:v>Galbani</c:v>
                </c:pt>
                <c:pt idx="2">
                  <c:v>St Moret</c:v>
                </c:pt>
                <c:pt idx="3">
                  <c:v>Soignon</c:v>
                </c:pt>
                <c:pt idx="4">
                  <c:v>Caprice Des</c:v>
                </c:pt>
                <c:pt idx="5">
                  <c:v>Le Rustique</c:v>
                </c:pt>
                <c:pt idx="6">
                  <c:v>La Vache Qu</c:v>
                </c:pt>
                <c:pt idx="7">
                  <c:v>Paysan Bret</c:v>
                </c:pt>
                <c:pt idx="8">
                  <c:v>Coeur De Li</c:v>
                </c:pt>
                <c:pt idx="9">
                  <c:v>Kiri</c:v>
                </c:pt>
                <c:pt idx="10">
                  <c:v>President</c:v>
                </c:pt>
                <c:pt idx="11">
                  <c:v>Salakis</c:v>
                </c:pt>
                <c:pt idx="12">
                  <c:v>Philadelphi</c:v>
                </c:pt>
                <c:pt idx="13">
                  <c:v>Coeur De Li</c:v>
                </c:pt>
                <c:pt idx="14">
                  <c:v>Ficello</c:v>
                </c:pt>
                <c:pt idx="15">
                  <c:v>Caprice Des</c:v>
                </c:pt>
                <c:pt idx="16">
                  <c:v>Boursin</c:v>
                </c:pt>
                <c:pt idx="17">
                  <c:v>Soignon</c:v>
                </c:pt>
                <c:pt idx="18">
                  <c:v>Soignon</c:v>
                </c:pt>
                <c:pt idx="19">
                  <c:v>St Moret</c:v>
                </c:pt>
                <c:pt idx="20">
                  <c:v>Petit Billy</c:v>
                </c:pt>
                <c:pt idx="21">
                  <c:v>St Moret</c:v>
                </c:pt>
                <c:pt idx="22">
                  <c:v>Tartare</c:v>
                </c:pt>
                <c:pt idx="23">
                  <c:v>La Vache Qu</c:v>
                </c:pt>
                <c:pt idx="24">
                  <c:v>Casa Azzurr</c:v>
                </c:pt>
                <c:pt idx="25">
                  <c:v>President</c:v>
                </c:pt>
                <c:pt idx="26">
                  <c:v>Aperivrais</c:v>
                </c:pt>
                <c:pt idx="27">
                  <c:v>Kiri</c:v>
                </c:pt>
                <c:pt idx="28">
                  <c:v>Boursin</c:v>
                </c:pt>
                <c:pt idx="29">
                  <c:v>Salakis</c:v>
                </c:pt>
                <c:pt idx="30">
                  <c:v>Caprice Des</c:v>
                </c:pt>
                <c:pt idx="31">
                  <c:v>Soignon</c:v>
                </c:pt>
                <c:pt idx="32">
                  <c:v>All Others</c:v>
                </c:pt>
                <c:pt idx="33">
                  <c:v>Boursin</c:v>
                </c:pt>
                <c:pt idx="34">
                  <c:v>Le Brebiou</c:v>
                </c:pt>
                <c:pt idx="35">
                  <c:v>Apericube</c:v>
                </c:pt>
                <c:pt idx="36">
                  <c:v>Paysan Bret</c:v>
                </c:pt>
                <c:pt idx="37">
                  <c:v>Carre Frais</c:v>
                </c:pt>
                <c:pt idx="38">
                  <c:v>Chavroux</c:v>
                </c:pt>
                <c:pt idx="39">
                  <c:v>President</c:v>
                </c:pt>
                <c:pt idx="40">
                  <c:v>President</c:v>
                </c:pt>
                <c:pt idx="41">
                  <c:v>All Others</c:v>
                </c:pt>
                <c:pt idx="42">
                  <c:v>Galbani</c:v>
                </c:pt>
                <c:pt idx="43">
                  <c:v>Tartare</c:v>
                </c:pt>
                <c:pt idx="44">
                  <c:v>Etorki</c:v>
                </c:pt>
                <c:pt idx="45">
                  <c:v>Boursin</c:v>
                </c:pt>
                <c:pt idx="46">
                  <c:v>Aperivrais</c:v>
                </c:pt>
                <c:pt idx="47">
                  <c:v>All Others</c:v>
                </c:pt>
                <c:pt idx="48">
                  <c:v>Istara</c:v>
                </c:pt>
                <c:pt idx="49">
                  <c:v>All Others</c:v>
                </c:pt>
                <c:pt idx="50">
                  <c:v>President</c:v>
                </c:pt>
                <c:pt idx="51">
                  <c:v>Tartare</c:v>
                </c:pt>
                <c:pt idx="52">
                  <c:v>Mini Babybe</c:v>
                </c:pt>
                <c:pt idx="53">
                  <c:v>Apericube</c:v>
                </c:pt>
                <c:pt idx="54">
                  <c:v>All Others</c:v>
                </c:pt>
                <c:pt idx="55">
                  <c:v>Islos</c:v>
                </c:pt>
                <c:pt idx="56">
                  <c:v>Casa Azzurr</c:v>
                </c:pt>
                <c:pt idx="57">
                  <c:v>Apericube</c:v>
                </c:pt>
                <c:pt idx="58">
                  <c:v>St Moret</c:v>
                </c:pt>
                <c:pt idx="59">
                  <c:v>La Vache Qu</c:v>
                </c:pt>
                <c:pt idx="60">
                  <c:v>Lou Perac</c:v>
                </c:pt>
                <c:pt idx="61">
                  <c:v>Lepetit</c:v>
                </c:pt>
                <c:pt idx="62">
                  <c:v>All Others</c:v>
                </c:pt>
                <c:pt idx="63">
                  <c:v>Carre Frais</c:v>
                </c:pt>
                <c:pt idx="64">
                  <c:v>All Others</c:v>
                </c:pt>
                <c:pt idx="65">
                  <c:v>Galbani</c:v>
                </c:pt>
                <c:pt idx="66">
                  <c:v>All Others</c:v>
                </c:pt>
                <c:pt idx="67">
                  <c:v>All Others</c:v>
                </c:pt>
                <c:pt idx="68">
                  <c:v>Soignon</c:v>
                </c:pt>
                <c:pt idx="69">
                  <c:v>All Others</c:v>
                </c:pt>
                <c:pt idx="70">
                  <c:v>Kiri</c:v>
                </c:pt>
                <c:pt idx="71">
                  <c:v>Salakis</c:v>
                </c:pt>
                <c:pt idx="72">
                  <c:v>P'Tit Louis</c:v>
                </c:pt>
                <c:pt idx="73">
                  <c:v>Violife</c:v>
                </c:pt>
                <c:pt idx="74">
                  <c:v>Violife</c:v>
                </c:pt>
                <c:pt idx="75">
                  <c:v>Paysan Bret</c:v>
                </c:pt>
                <c:pt idx="76">
                  <c:v>All Others</c:v>
                </c:pt>
                <c:pt idx="77">
                  <c:v>All Others</c:v>
                </c:pt>
                <c:pt idx="78">
                  <c:v>Galbani</c:v>
                </c:pt>
                <c:pt idx="79">
                  <c:v>All Others</c:v>
                </c:pt>
                <c:pt idx="80">
                  <c:v>Paysan Bret</c:v>
                </c:pt>
                <c:pt idx="81">
                  <c:v>All Others</c:v>
                </c:pt>
                <c:pt idx="82">
                  <c:v>St Moret</c:v>
                </c:pt>
                <c:pt idx="83">
                  <c:v>Lactalis: A</c:v>
                </c:pt>
                <c:pt idx="84">
                  <c:v>All Others</c:v>
                </c:pt>
                <c:pt idx="85">
                  <c:v>Istara</c:v>
                </c:pt>
                <c:pt idx="86">
                  <c:v>President</c:v>
                </c:pt>
                <c:pt idx="87">
                  <c:v>All Others</c:v>
                </c:pt>
                <c:pt idx="88">
                  <c:v>Casa Azzurr</c:v>
                </c:pt>
                <c:pt idx="89">
                  <c:v>Apericube</c:v>
                </c:pt>
                <c:pt idx="90">
                  <c:v>Casa Azzurr</c:v>
                </c:pt>
                <c:pt idx="91">
                  <c:v>Galbani</c:v>
                </c:pt>
                <c:pt idx="92">
                  <c:v>All Others</c:v>
                </c:pt>
                <c:pt idx="93">
                  <c:v>President</c:v>
                </c:pt>
                <c:pt idx="94">
                  <c:v>All Others</c:v>
                </c:pt>
                <c:pt idx="95">
                  <c:v>Lou Perac</c:v>
                </c:pt>
                <c:pt idx="96">
                  <c:v>Casa Azzurr</c:v>
                </c:pt>
                <c:pt idx="97">
                  <c:v>All Others</c:v>
                </c:pt>
                <c:pt idx="98">
                  <c:v>All Others</c:v>
                </c:pt>
                <c:pt idx="99">
                  <c:v>Apericube</c:v>
                </c:pt>
                <c:pt idx="100">
                  <c:v>All Others</c:v>
                </c:pt>
                <c:pt idx="101">
                  <c:v>All Others</c:v>
                </c:pt>
                <c:pt idx="102">
                  <c:v>All Others</c:v>
                </c:pt>
                <c:pt idx="103">
                  <c:v>Soignon</c:v>
                </c:pt>
                <c:pt idx="104">
                  <c:v>Paysan Bret</c:v>
                </c:pt>
                <c:pt idx="105">
                  <c:v>All Others</c:v>
                </c:pt>
                <c:pt idx="106">
                  <c:v>President</c:v>
                </c:pt>
                <c:pt idx="107">
                  <c:v>President</c:v>
                </c:pt>
                <c:pt idx="108">
                  <c:v>All Others</c:v>
                </c:pt>
                <c:pt idx="109">
                  <c:v>Soignon</c:v>
                </c:pt>
                <c:pt idx="110">
                  <c:v>All Others</c:v>
                </c:pt>
                <c:pt idx="111">
                  <c:v>All Others</c:v>
                </c:pt>
                <c:pt idx="112">
                  <c:v>Paysan Bret</c:v>
                </c:pt>
                <c:pt idx="113">
                  <c:v>All Others</c:v>
                </c:pt>
                <c:pt idx="114">
                  <c:v>All Others</c:v>
                </c:pt>
                <c:pt idx="115">
                  <c:v>Soignon</c:v>
                </c:pt>
                <c:pt idx="116">
                  <c:v>All Others</c:v>
                </c:pt>
                <c:pt idx="117">
                  <c:v>All Others</c:v>
                </c:pt>
                <c:pt idx="118">
                  <c:v>All Others</c:v>
                </c:pt>
                <c:pt idx="119">
                  <c:v>Triballat N</c:v>
                </c:pt>
                <c:pt idx="120">
                  <c:v>All Others</c:v>
                </c:pt>
                <c:pt idx="121">
                  <c:v>Lactalis: A</c:v>
                </c:pt>
                <c:pt idx="122">
                  <c:v>La Vache Qu</c:v>
                </c:pt>
                <c:pt idx="123">
                  <c:v>All Others</c:v>
                </c:pt>
                <c:pt idx="124">
                  <c:v>All Others</c:v>
                </c:pt>
                <c:pt idx="125">
                  <c:v>All Others</c:v>
                </c:pt>
                <c:pt idx="126">
                  <c:v>All Others</c:v>
                </c:pt>
                <c:pt idx="127">
                  <c:v>All Others</c:v>
                </c:pt>
                <c:pt idx="128">
                  <c:v>All Others</c:v>
                </c:pt>
                <c:pt idx="129">
                  <c:v>Coeur De Li</c:v>
                </c:pt>
                <c:pt idx="130">
                  <c:v>Boursin</c:v>
                </c:pt>
                <c:pt idx="131">
                  <c:v>Savencia: A</c:v>
                </c:pt>
                <c:pt idx="132">
                  <c:v>Soignon</c:v>
                </c:pt>
                <c:pt idx="133">
                  <c:v>All Others</c:v>
                </c:pt>
                <c:pt idx="134">
                  <c:v>All Others</c:v>
                </c:pt>
                <c:pt idx="135">
                  <c:v>St Moret</c:v>
                </c:pt>
                <c:pt idx="136">
                  <c:v>All Others</c:v>
                </c:pt>
                <c:pt idx="137">
                  <c:v>Boursin</c:v>
                </c:pt>
                <c:pt idx="138">
                  <c:v>Violife</c:v>
                </c:pt>
                <c:pt idx="139">
                  <c:v>All Others</c:v>
                </c:pt>
                <c:pt idx="140">
                  <c:v>All Others</c:v>
                </c:pt>
                <c:pt idx="141">
                  <c:v>Milleret: A</c:v>
                </c:pt>
                <c:pt idx="142">
                  <c:v>Paysan Bret</c:v>
                </c:pt>
                <c:pt idx="143">
                  <c:v>All Others</c:v>
                </c:pt>
                <c:pt idx="144">
                  <c:v>Paysan Bret</c:v>
                </c:pt>
                <c:pt idx="145">
                  <c:v>Galbani</c:v>
                </c:pt>
                <c:pt idx="146">
                  <c:v>Apericube</c:v>
                </c:pt>
                <c:pt idx="147">
                  <c:v>All Others</c:v>
                </c:pt>
                <c:pt idx="148">
                  <c:v>Milleret: A</c:v>
                </c:pt>
                <c:pt idx="149">
                  <c:v>All Others</c:v>
                </c:pt>
                <c:pt idx="150">
                  <c:v>Boursin</c:v>
                </c:pt>
                <c:pt idx="151">
                  <c:v>Pave D'Affi</c:v>
                </c:pt>
                <c:pt idx="152">
                  <c:v>Mini Babybe</c:v>
                </c:pt>
                <c:pt idx="153">
                  <c:v>All Others</c:v>
                </c:pt>
                <c:pt idx="154">
                  <c:v>All Others</c:v>
                </c:pt>
                <c:pt idx="155">
                  <c:v>Lou Perac</c:v>
                </c:pt>
                <c:pt idx="156">
                  <c:v>Lactalis: A</c:v>
                </c:pt>
                <c:pt idx="157">
                  <c:v>Violife</c:v>
                </c:pt>
                <c:pt idx="158">
                  <c:v>Istara</c:v>
                </c:pt>
                <c:pt idx="159">
                  <c:v>All Others</c:v>
                </c:pt>
                <c:pt idx="160">
                  <c:v>All Others</c:v>
                </c:pt>
                <c:pt idx="161">
                  <c:v>All Others</c:v>
                </c:pt>
                <c:pt idx="162">
                  <c:v>Le Rustique</c:v>
                </c:pt>
                <c:pt idx="163">
                  <c:v>All Others</c:v>
                </c:pt>
                <c:pt idx="164">
                  <c:v>All Others</c:v>
                </c:pt>
                <c:pt idx="165">
                  <c:v>Soignon</c:v>
                </c:pt>
                <c:pt idx="166">
                  <c:v>All Others</c:v>
                </c:pt>
                <c:pt idx="167">
                  <c:v>All Others</c:v>
                </c:pt>
                <c:pt idx="168">
                  <c:v>All Others</c:v>
                </c:pt>
                <c:pt idx="169">
                  <c:v>Mini Babybe</c:v>
                </c:pt>
                <c:pt idx="170">
                  <c:v>Eurial Autr</c:v>
                </c:pt>
                <c:pt idx="171">
                  <c:v>All Others</c:v>
                </c:pt>
                <c:pt idx="172">
                  <c:v>Philadelphi</c:v>
                </c:pt>
                <c:pt idx="173">
                  <c:v>Nurishh</c:v>
                </c:pt>
                <c:pt idx="174">
                  <c:v>All Others</c:v>
                </c:pt>
                <c:pt idx="175">
                  <c:v>Apericube</c:v>
                </c:pt>
                <c:pt idx="176">
                  <c:v>All Others</c:v>
                </c:pt>
                <c:pt idx="177">
                  <c:v>St Moret</c:v>
                </c:pt>
                <c:pt idx="178">
                  <c:v>Mini Babybe</c:v>
                </c:pt>
                <c:pt idx="179">
                  <c:v>All Others</c:v>
                </c:pt>
                <c:pt idx="180">
                  <c:v>All Others</c:v>
                </c:pt>
                <c:pt idx="181">
                  <c:v>Kiri</c:v>
                </c:pt>
                <c:pt idx="182">
                  <c:v>All Others</c:v>
                </c:pt>
                <c:pt idx="183">
                  <c:v>All Others</c:v>
                </c:pt>
                <c:pt idx="184">
                  <c:v>O'Tapas Ape</c:v>
                </c:pt>
                <c:pt idx="185">
                  <c:v>All Others</c:v>
                </c:pt>
                <c:pt idx="186">
                  <c:v>All Others</c:v>
                </c:pt>
                <c:pt idx="187">
                  <c:v>All Others</c:v>
                </c:pt>
                <c:pt idx="188">
                  <c:v>All Others</c:v>
                </c:pt>
                <c:pt idx="189">
                  <c:v>All Others</c:v>
                </c:pt>
                <c:pt idx="190">
                  <c:v>All Others</c:v>
                </c:pt>
                <c:pt idx="191">
                  <c:v>Leerdammer</c:v>
                </c:pt>
                <c:pt idx="192">
                  <c:v>La Vache Qu</c:v>
                </c:pt>
                <c:pt idx="193">
                  <c:v>All Others</c:v>
                </c:pt>
                <c:pt idx="194">
                  <c:v>Ficello</c:v>
                </c:pt>
                <c:pt idx="195">
                  <c:v>All Others</c:v>
                </c:pt>
                <c:pt idx="196">
                  <c:v>All Others</c:v>
                </c:pt>
                <c:pt idx="197">
                  <c:v>All Others</c:v>
                </c:pt>
                <c:pt idx="198">
                  <c:v>All Others</c:v>
                </c:pt>
                <c:pt idx="199">
                  <c:v>All Others</c:v>
                </c:pt>
                <c:pt idx="200">
                  <c:v>All Others</c:v>
                </c:pt>
                <c:pt idx="201">
                  <c:v>Lactalis: A</c:v>
                </c:pt>
                <c:pt idx="202">
                  <c:v>All Others</c:v>
                </c:pt>
                <c:pt idx="203">
                  <c:v>All Others</c:v>
                </c:pt>
                <c:pt idx="204">
                  <c:v>P'Tit Louis</c:v>
                </c:pt>
                <c:pt idx="205">
                  <c:v>All Others</c:v>
                </c:pt>
                <c:pt idx="206">
                  <c:v>Lactalis: A</c:v>
                </c:pt>
                <c:pt idx="207">
                  <c:v>Apericube</c:v>
                </c:pt>
                <c:pt idx="208">
                  <c:v>Violife</c:v>
                </c:pt>
                <c:pt idx="209">
                  <c:v>Chavroux</c:v>
                </c:pt>
                <c:pt idx="210">
                  <c:v>All Others</c:v>
                </c:pt>
                <c:pt idx="211">
                  <c:v>Lou Perac</c:v>
                </c:pt>
                <c:pt idx="212">
                  <c:v>Boursin</c:v>
                </c:pt>
                <c:pt idx="213">
                  <c:v>All Others</c:v>
                </c:pt>
                <c:pt idx="214">
                  <c:v>All Others</c:v>
                </c:pt>
                <c:pt idx="215">
                  <c:v>All Others</c:v>
                </c:pt>
                <c:pt idx="216">
                  <c:v>Kiri</c:v>
                </c:pt>
                <c:pt idx="217">
                  <c:v>Tartare</c:v>
                </c:pt>
                <c:pt idx="218">
                  <c:v>All Others</c:v>
                </c:pt>
                <c:pt idx="219">
                  <c:v>All Others</c:v>
                </c:pt>
                <c:pt idx="220">
                  <c:v>Lactalis: A</c:v>
                </c:pt>
                <c:pt idx="221">
                  <c:v>Ficello</c:v>
                </c:pt>
                <c:pt idx="222">
                  <c:v>All Others</c:v>
                </c:pt>
                <c:pt idx="223">
                  <c:v>All Others</c:v>
                </c:pt>
                <c:pt idx="224">
                  <c:v>All Others</c:v>
                </c:pt>
                <c:pt idx="225">
                  <c:v>All Others</c:v>
                </c:pt>
                <c:pt idx="226">
                  <c:v>All Others</c:v>
                </c:pt>
                <c:pt idx="227">
                  <c:v>All Others</c:v>
                </c:pt>
                <c:pt idx="228">
                  <c:v>All Others</c:v>
                </c:pt>
                <c:pt idx="229">
                  <c:v>All Others</c:v>
                </c:pt>
                <c:pt idx="230">
                  <c:v>All Others</c:v>
                </c:pt>
                <c:pt idx="231">
                  <c:v>All Others</c:v>
                </c:pt>
                <c:pt idx="232">
                  <c:v>All Others</c:v>
                </c:pt>
                <c:pt idx="233">
                  <c:v>All Others</c:v>
                </c:pt>
                <c:pt idx="234">
                  <c:v>All Others</c:v>
                </c:pt>
                <c:pt idx="235">
                  <c:v>All Others</c:v>
                </c:pt>
                <c:pt idx="236">
                  <c:v>Violife</c:v>
                </c:pt>
                <c:pt idx="237">
                  <c:v>All Others</c:v>
                </c:pt>
                <c:pt idx="238">
                  <c:v>All Others</c:v>
                </c:pt>
                <c:pt idx="239">
                  <c:v>All Others</c:v>
                </c:pt>
                <c:pt idx="240">
                  <c:v>Nurishh</c:v>
                </c:pt>
                <c:pt idx="241">
                  <c:v>All Others</c:v>
                </c:pt>
                <c:pt idx="242">
                  <c:v>All Others</c:v>
                </c:pt>
                <c:pt idx="243">
                  <c:v>All Others</c:v>
                </c:pt>
                <c:pt idx="244">
                  <c:v>Triballat R</c:v>
                </c:pt>
                <c:pt idx="245">
                  <c:v>All Others</c:v>
                </c:pt>
                <c:pt idx="246">
                  <c:v>All Others</c:v>
                </c:pt>
                <c:pt idx="247">
                  <c:v>All Others</c:v>
                </c:pt>
                <c:pt idx="248">
                  <c:v>All Others</c:v>
                </c:pt>
                <c:pt idx="249">
                  <c:v>All Others</c:v>
                </c:pt>
                <c:pt idx="250">
                  <c:v>Nurishh</c:v>
                </c:pt>
                <c:pt idx="251">
                  <c:v>All Others</c:v>
                </c:pt>
                <c:pt idx="252">
                  <c:v>All Others</c:v>
                </c:pt>
                <c:pt idx="253">
                  <c:v>All Others</c:v>
                </c:pt>
                <c:pt idx="254">
                  <c:v>O'Tapas Ape</c:v>
                </c:pt>
                <c:pt idx="255">
                  <c:v>Kiri</c:v>
                </c:pt>
                <c:pt idx="256">
                  <c:v>La Vache Qu</c:v>
                </c:pt>
                <c:pt idx="257">
                  <c:v>All Others</c:v>
                </c:pt>
                <c:pt idx="258">
                  <c:v>All Others</c:v>
                </c:pt>
                <c:pt idx="259">
                  <c:v>All Others</c:v>
                </c:pt>
                <c:pt idx="260">
                  <c:v>All Others</c:v>
                </c:pt>
                <c:pt idx="261">
                  <c:v>Carre Frais</c:v>
                </c:pt>
                <c:pt idx="262">
                  <c:v>Mini Babybe</c:v>
                </c:pt>
              </c:strCache>
            </c:strRef>
          </c:cat>
          <c:val>
            <c:numRef>
              <c:f>Sheet1!$C$2:$C$264</c:f>
              <c:numCache>
                <c:formatCode>General</c:formatCode>
                <c:ptCount val="263"/>
                <c:pt idx="0">
                  <c:v>0.28740928151298928</c:v>
                </c:pt>
                <c:pt idx="1">
                  <c:v>0.30744102310268207</c:v>
                </c:pt>
                <c:pt idx="2">
                  <c:v>0.34578569059684333</c:v>
                </c:pt>
                <c:pt idx="3">
                  <c:v>0.36451598857788398</c:v>
                </c:pt>
                <c:pt idx="4">
                  <c:v>0.38290398642957729</c:v>
                </c:pt>
                <c:pt idx="5">
                  <c:v>0.42904659413118174</c:v>
                </c:pt>
                <c:pt idx="6">
                  <c:v>0.4437069575492813</c:v>
                </c:pt>
                <c:pt idx="7">
                  <c:v>0.48566704460304322</c:v>
                </c:pt>
                <c:pt idx="8">
                  <c:v>0.4989162169992411</c:v>
                </c:pt>
                <c:pt idx="9">
                  <c:v>0.51186034137253877</c:v>
                </c:pt>
                <c:pt idx="10">
                  <c:v>0.52448614147397976</c:v>
                </c:pt>
                <c:pt idx="11">
                  <c:v>0.53653986189382019</c:v>
                </c:pt>
                <c:pt idx="12">
                  <c:v>0.56961711210665511</c:v>
                </c:pt>
                <c:pt idx="13">
                  <c:v>0.57975125724767462</c:v>
                </c:pt>
                <c:pt idx="14">
                  <c:v>0.58988262922484958</c:v>
                </c:pt>
                <c:pt idx="15">
                  <c:v>0.61721807645145432</c:v>
                </c:pt>
                <c:pt idx="16">
                  <c:v>0.6252881360906356</c:v>
                </c:pt>
                <c:pt idx="17">
                  <c:v>0.63316671640892841</c:v>
                </c:pt>
                <c:pt idx="18">
                  <c:v>0.6409697225534734</c:v>
                </c:pt>
                <c:pt idx="19">
                  <c:v>0.64866084136306201</c:v>
                </c:pt>
                <c:pt idx="20">
                  <c:v>0.65623631705673946</c:v>
                </c:pt>
                <c:pt idx="21">
                  <c:v>0.67780380184604505</c:v>
                </c:pt>
                <c:pt idx="22">
                  <c:v>0.68475110133909323</c:v>
                </c:pt>
                <c:pt idx="23">
                  <c:v>0.69161232357328151</c:v>
                </c:pt>
                <c:pt idx="24">
                  <c:v>0.70391296475496545</c:v>
                </c:pt>
                <c:pt idx="25">
                  <c:v>0.70973691453161436</c:v>
                </c:pt>
                <c:pt idx="26">
                  <c:v>0.71532027596779701</c:v>
                </c:pt>
                <c:pt idx="27">
                  <c:v>0.72086664732876193</c:v>
                </c:pt>
                <c:pt idx="28">
                  <c:v>0.72637803752060115</c:v>
                </c:pt>
                <c:pt idx="29">
                  <c:v>0.73185256865283721</c:v>
                </c:pt>
                <c:pt idx="30">
                  <c:v>0.73710771413825316</c:v>
                </c:pt>
                <c:pt idx="31">
                  <c:v>0.74232407900171693</c:v>
                </c:pt>
                <c:pt idx="32">
                  <c:v>0.74720366822758666</c:v>
                </c:pt>
                <c:pt idx="33">
                  <c:v>0.75201984589594018</c:v>
                </c:pt>
                <c:pt idx="34">
                  <c:v>0.76162519018008257</c:v>
                </c:pt>
                <c:pt idx="35">
                  <c:v>0.7662308912634157</c:v>
                </c:pt>
                <c:pt idx="36">
                  <c:v>0.77078486301487703</c:v>
                </c:pt>
                <c:pt idx="37">
                  <c:v>0.77532571136893225</c:v>
                </c:pt>
                <c:pt idx="38">
                  <c:v>0.77961597052393217</c:v>
                </c:pt>
                <c:pt idx="39">
                  <c:v>0.78382700890390833</c:v>
                </c:pt>
                <c:pt idx="40">
                  <c:v>0.78800337181785984</c:v>
                </c:pt>
                <c:pt idx="41">
                  <c:v>0.79216789965461654</c:v>
                </c:pt>
                <c:pt idx="42">
                  <c:v>0.79621909898465504</c:v>
                </c:pt>
                <c:pt idx="43">
                  <c:v>0.80021503156122475</c:v>
                </c:pt>
                <c:pt idx="44">
                  <c:v>0.80413449469067944</c:v>
                </c:pt>
                <c:pt idx="45">
                  <c:v>0.80804380410999466</c:v>
                </c:pt>
                <c:pt idx="46">
                  <c:v>0.815780712876922</c:v>
                </c:pt>
                <c:pt idx="47">
                  <c:v>0.81942080704395837</c:v>
                </c:pt>
                <c:pt idx="48">
                  <c:v>0.82299633234888192</c:v>
                </c:pt>
                <c:pt idx="49">
                  <c:v>0.82643440043804628</c:v>
                </c:pt>
                <c:pt idx="50">
                  <c:v>0.82986679118390683</c:v>
                </c:pt>
                <c:pt idx="51">
                  <c:v>0.8332276692400753</c:v>
                </c:pt>
                <c:pt idx="52">
                  <c:v>0.83654203675302419</c:v>
                </c:pt>
                <c:pt idx="53">
                  <c:v>0.839849242079036</c:v>
                </c:pt>
                <c:pt idx="54">
                  <c:v>0.84303798745342051</c:v>
                </c:pt>
                <c:pt idx="55">
                  <c:v>0.84621812946910624</c:v>
                </c:pt>
                <c:pt idx="56">
                  <c:v>0.85523979918974691</c:v>
                </c:pt>
                <c:pt idx="57">
                  <c:v>0.85815448173410858</c:v>
                </c:pt>
                <c:pt idx="58">
                  <c:v>0.86102407307107665</c:v>
                </c:pt>
                <c:pt idx="59">
                  <c:v>0.86383680363126358</c:v>
                </c:pt>
                <c:pt idx="60">
                  <c:v>0.86937271557898799</c:v>
                </c:pt>
                <c:pt idx="61">
                  <c:v>0.87211275430895052</c:v>
                </c:pt>
                <c:pt idx="62">
                  <c:v>0.87457768208397257</c:v>
                </c:pt>
                <c:pt idx="63">
                  <c:v>0.88164162914597788</c:v>
                </c:pt>
                <c:pt idx="64">
                  <c:v>0.88387022658801151</c:v>
                </c:pt>
                <c:pt idx="65">
                  <c:v>0.88607703176613295</c:v>
                </c:pt>
                <c:pt idx="66">
                  <c:v>0.88998728013068684</c:v>
                </c:pt>
                <c:pt idx="67">
                  <c:v>0.89178640838772405</c:v>
                </c:pt>
                <c:pt idx="68">
                  <c:v>0.89357892035621878</c:v>
                </c:pt>
                <c:pt idx="69">
                  <c:v>0.89531843650856613</c:v>
                </c:pt>
                <c:pt idx="70">
                  <c:v>0.90184056849596728</c:v>
                </c:pt>
                <c:pt idx="71">
                  <c:v>0.90486711653934948</c:v>
                </c:pt>
                <c:pt idx="72">
                  <c:v>0.90627837306905856</c:v>
                </c:pt>
                <c:pt idx="73">
                  <c:v>0.9076557183904953</c:v>
                </c:pt>
                <c:pt idx="74">
                  <c:v>0.90901891402554413</c:v>
                </c:pt>
                <c:pt idx="75">
                  <c:v>0.91158898183136539</c:v>
                </c:pt>
                <c:pt idx="76">
                  <c:v>0.91281137935248013</c:v>
                </c:pt>
                <c:pt idx="77">
                  <c:v>0.91395850840294801</c:v>
                </c:pt>
                <c:pt idx="78">
                  <c:v>0.91623839845813793</c:v>
                </c:pt>
                <c:pt idx="79">
                  <c:v>0.91954780921366386</c:v>
                </c:pt>
                <c:pt idx="80">
                  <c:v>0.92062890639432138</c:v>
                </c:pt>
                <c:pt idx="81">
                  <c:v>0.92268521830302064</c:v>
                </c:pt>
                <c:pt idx="82">
                  <c:v>0.92368512947443382</c:v>
                </c:pt>
                <c:pt idx="83">
                  <c:v>0.92468279154446131</c:v>
                </c:pt>
                <c:pt idx="84">
                  <c:v>0.92566228611591661</c:v>
                </c:pt>
                <c:pt idx="85">
                  <c:v>0.92663798123454555</c:v>
                </c:pt>
                <c:pt idx="86">
                  <c:v>0.92759850037780478</c:v>
                </c:pt>
                <c:pt idx="87">
                  <c:v>0.92854375620195106</c:v>
                </c:pt>
                <c:pt idx="88">
                  <c:v>0.93038446008072073</c:v>
                </c:pt>
                <c:pt idx="89">
                  <c:v>0.93129414516547515</c:v>
                </c:pt>
                <c:pt idx="90">
                  <c:v>0.93219085970437399</c:v>
                </c:pt>
                <c:pt idx="91">
                  <c:v>0.93308469189974941</c:v>
                </c:pt>
                <c:pt idx="92">
                  <c:v>0.93397620948593174</c:v>
                </c:pt>
                <c:pt idx="93">
                  <c:v>0.93486012816646125</c:v>
                </c:pt>
                <c:pt idx="94">
                  <c:v>0.93572253845024367</c:v>
                </c:pt>
                <c:pt idx="95">
                  <c:v>0.93658221924205309</c:v>
                </c:pt>
                <c:pt idx="96">
                  <c:v>0.93744013132306403</c:v>
                </c:pt>
                <c:pt idx="97">
                  <c:v>0.93827186211707014</c:v>
                </c:pt>
                <c:pt idx="98">
                  <c:v>0.9391013656456263</c:v>
                </c:pt>
                <c:pt idx="99">
                  <c:v>0.94073921368096425</c:v>
                </c:pt>
                <c:pt idx="100">
                  <c:v>0.94153847443845984</c:v>
                </c:pt>
                <c:pt idx="101">
                  <c:v>0.94233253824323893</c:v>
                </c:pt>
                <c:pt idx="102">
                  <c:v>0.94311780216589713</c:v>
                </c:pt>
                <c:pt idx="103">
                  <c:v>0.9438961440969118</c:v>
                </c:pt>
                <c:pt idx="104">
                  <c:v>0.94541022604822689</c:v>
                </c:pt>
                <c:pt idx="105">
                  <c:v>0.9461512285290512</c:v>
                </c:pt>
                <c:pt idx="106">
                  <c:v>0.94686161702790661</c:v>
                </c:pt>
                <c:pt idx="107">
                  <c:v>0.94756776935521991</c:v>
                </c:pt>
                <c:pt idx="108">
                  <c:v>0.94826171539443005</c:v>
                </c:pt>
                <c:pt idx="109">
                  <c:v>0.94893932815367388</c:v>
                </c:pt>
                <c:pt idx="110">
                  <c:v>0.94961093603057722</c:v>
                </c:pt>
                <c:pt idx="111">
                  <c:v>0.95027114554900138</c:v>
                </c:pt>
                <c:pt idx="112">
                  <c:v>0.95091606991237687</c:v>
                </c:pt>
                <c:pt idx="113">
                  <c:v>0.95155857048688031</c:v>
                </c:pt>
                <c:pt idx="114">
                  <c:v>0.95219642000706184</c:v>
                </c:pt>
                <c:pt idx="115">
                  <c:v>0.95283385464446346</c:v>
                </c:pt>
                <c:pt idx="116">
                  <c:v>0.95346539357920346</c:v>
                </c:pt>
                <c:pt idx="117">
                  <c:v>0.95408538130391385</c:v>
                </c:pt>
                <c:pt idx="118">
                  <c:v>0.95470084898991692</c:v>
                </c:pt>
                <c:pt idx="119">
                  <c:v>0.95584164561900742</c:v>
                </c:pt>
                <c:pt idx="120">
                  <c:v>0.95640435768415677</c:v>
                </c:pt>
                <c:pt idx="121">
                  <c:v>0.95694916428196342</c:v>
                </c:pt>
                <c:pt idx="122">
                  <c:v>0.95748438490396093</c:v>
                </c:pt>
                <c:pt idx="123">
                  <c:v>0.95799803162140396</c:v>
                </c:pt>
                <c:pt idx="124">
                  <c:v>0.95849942837887225</c:v>
                </c:pt>
                <c:pt idx="125">
                  <c:v>0.95899348826191722</c:v>
                </c:pt>
                <c:pt idx="126">
                  <c:v>0.95995169279598325</c:v>
                </c:pt>
                <c:pt idx="127">
                  <c:v>0.9604046137760115</c:v>
                </c:pt>
                <c:pt idx="128">
                  <c:v>0.96085264350642419</c:v>
                </c:pt>
                <c:pt idx="129">
                  <c:v>0.96129997448689175</c:v>
                </c:pt>
                <c:pt idx="130">
                  <c:v>0.96173710808534829</c:v>
                </c:pt>
                <c:pt idx="131">
                  <c:v>0.9621674507077761</c:v>
                </c:pt>
                <c:pt idx="132">
                  <c:v>0.96301158431330747</c:v>
                </c:pt>
                <c:pt idx="133">
                  <c:v>0.9634216631873278</c:v>
                </c:pt>
                <c:pt idx="134">
                  <c:v>0.96382796444445762</c:v>
                </c:pt>
                <c:pt idx="135">
                  <c:v>0.96422911242074238</c:v>
                </c:pt>
                <c:pt idx="136">
                  <c:v>0.96501033669528047</c:v>
                </c:pt>
                <c:pt idx="137">
                  <c:v>0.96538641701728545</c:v>
                </c:pt>
                <c:pt idx="138">
                  <c:v>0.96575819565994092</c:v>
                </c:pt>
                <c:pt idx="139">
                  <c:v>0.96612477734987989</c:v>
                </c:pt>
                <c:pt idx="140">
                  <c:v>0.96718340535261593</c:v>
                </c:pt>
                <c:pt idx="141">
                  <c:v>0.967533107864194</c:v>
                </c:pt>
                <c:pt idx="142">
                  <c:v>0.96786676096297097</c:v>
                </c:pt>
                <c:pt idx="143">
                  <c:v>0.96819716050731608</c:v>
                </c:pt>
                <c:pt idx="144">
                  <c:v>0.96852395712225692</c:v>
                </c:pt>
                <c:pt idx="145">
                  <c:v>0.9688505790497115</c:v>
                </c:pt>
                <c:pt idx="146">
                  <c:v>0.96916088953313551</c:v>
                </c:pt>
                <c:pt idx="147">
                  <c:v>0.96977618253165232</c:v>
                </c:pt>
                <c:pt idx="148">
                  <c:v>0.97036660439931133</c:v>
                </c:pt>
                <c:pt idx="149">
                  <c:v>0.97065335390802465</c:v>
                </c:pt>
                <c:pt idx="150">
                  <c:v>0.97093577990145274</c:v>
                </c:pt>
                <c:pt idx="151">
                  <c:v>0.97121700491841267</c:v>
                </c:pt>
                <c:pt idx="152">
                  <c:v>0.97149484536532615</c:v>
                </c:pt>
                <c:pt idx="153">
                  <c:v>0.97176903921096369</c:v>
                </c:pt>
                <c:pt idx="154">
                  <c:v>0.97204037254901354</c:v>
                </c:pt>
                <c:pt idx="155">
                  <c:v>0.97231043940278794</c:v>
                </c:pt>
                <c:pt idx="156">
                  <c:v>0.97257729637400214</c:v>
                </c:pt>
                <c:pt idx="157">
                  <c:v>0.97284277768126193</c:v>
                </c:pt>
                <c:pt idx="158">
                  <c:v>0.97335258127400703</c:v>
                </c:pt>
                <c:pt idx="159">
                  <c:v>0.97360175113723635</c:v>
                </c:pt>
                <c:pt idx="160">
                  <c:v>0.97384622627427209</c:v>
                </c:pt>
                <c:pt idx="161">
                  <c:v>0.97408805926307807</c:v>
                </c:pt>
                <c:pt idx="162">
                  <c:v>0.97432845108012223</c:v>
                </c:pt>
                <c:pt idx="163">
                  <c:v>0.97456283801482591</c:v>
                </c:pt>
                <c:pt idx="164">
                  <c:v>0.97479351284044635</c:v>
                </c:pt>
                <c:pt idx="165">
                  <c:v>0.97502305219740604</c:v>
                </c:pt>
                <c:pt idx="166">
                  <c:v>0.97525051714046618</c:v>
                </c:pt>
                <c:pt idx="167">
                  <c:v>0.97547651907582889</c:v>
                </c:pt>
                <c:pt idx="168">
                  <c:v>0.97570105800349405</c:v>
                </c:pt>
                <c:pt idx="169">
                  <c:v>0.97592400290784698</c:v>
                </c:pt>
                <c:pt idx="170">
                  <c:v>0.97636886642757104</c:v>
                </c:pt>
                <c:pt idx="171">
                  <c:v>0.9765906103554558</c:v>
                </c:pt>
                <c:pt idx="172">
                  <c:v>0.97680953744762455</c:v>
                </c:pt>
                <c:pt idx="173">
                  <c:v>0.97701769942345185</c:v>
                </c:pt>
                <c:pt idx="174">
                  <c:v>0.97722444206345316</c:v>
                </c:pt>
                <c:pt idx="175">
                  <c:v>0.97763637699201522</c:v>
                </c:pt>
                <c:pt idx="176">
                  <c:v>0.97783720209341918</c:v>
                </c:pt>
                <c:pt idx="177">
                  <c:v>0.97823679971826327</c:v>
                </c:pt>
                <c:pt idx="178">
                  <c:v>0.97843454595272161</c:v>
                </c:pt>
                <c:pt idx="179">
                  <c:v>0.97863146242162025</c:v>
                </c:pt>
                <c:pt idx="180">
                  <c:v>0.97882536553138066</c:v>
                </c:pt>
                <c:pt idx="181">
                  <c:v>0.97901863539900336</c:v>
                </c:pt>
                <c:pt idx="182">
                  <c:v>0.97921011471989183</c:v>
                </c:pt>
                <c:pt idx="183">
                  <c:v>0.97958630422157578</c:v>
                </c:pt>
                <c:pt idx="184">
                  <c:v>0.97977249924600451</c:v>
                </c:pt>
                <c:pt idx="185">
                  <c:v>0.97995454544263427</c:v>
                </c:pt>
                <c:pt idx="186">
                  <c:v>0.98013244281146517</c:v>
                </c:pt>
                <c:pt idx="187">
                  <c:v>0.98030597299313926</c:v>
                </c:pt>
                <c:pt idx="188">
                  <c:v>0.98047950317481336</c:v>
                </c:pt>
                <c:pt idx="189">
                  <c:v>0.98064912472398214</c:v>
                </c:pt>
                <c:pt idx="190">
                  <c:v>0.98081494682032455</c:v>
                </c:pt>
                <c:pt idx="191">
                  <c:v>0.98114453843504579</c:v>
                </c:pt>
                <c:pt idx="192">
                  <c:v>0.98146871473769248</c:v>
                </c:pt>
                <c:pt idx="193">
                  <c:v>0.9817841566660257</c:v>
                </c:pt>
                <c:pt idx="194">
                  <c:v>0.98193831837265955</c:v>
                </c:pt>
                <c:pt idx="195">
                  <c:v>0.98209049300913709</c:v>
                </c:pt>
                <c:pt idx="196">
                  <c:v>0.98238558384531971</c:v>
                </c:pt>
                <c:pt idx="197">
                  <c:v>0.98252983203710775</c:v>
                </c:pt>
                <c:pt idx="198">
                  <c:v>0.98281507486625186</c:v>
                </c:pt>
                <c:pt idx="199">
                  <c:v>0.98323604987222835</c:v>
                </c:pt>
                <c:pt idx="200">
                  <c:v>0.9833746425566483</c:v>
                </c:pt>
                <c:pt idx="201">
                  <c:v>0.98351301688171044</c:v>
                </c:pt>
                <c:pt idx="202">
                  <c:v>0.98365034308185495</c:v>
                </c:pt>
                <c:pt idx="203">
                  <c:v>0.98378454674318239</c:v>
                </c:pt>
                <c:pt idx="204">
                  <c:v>0.98391744024836281</c:v>
                </c:pt>
                <c:pt idx="205">
                  <c:v>0.98404996254263488</c:v>
                </c:pt>
                <c:pt idx="206">
                  <c:v>0.98456515961151858</c:v>
                </c:pt>
                <c:pt idx="207">
                  <c:v>0.98468993014858741</c:v>
                </c:pt>
                <c:pt idx="208">
                  <c:v>0.98493807372283482</c:v>
                </c:pt>
                <c:pt idx="209">
                  <c:v>0.98506063883038941</c:v>
                </c:pt>
                <c:pt idx="210">
                  <c:v>0.98518150073495292</c:v>
                </c:pt>
                <c:pt idx="211">
                  <c:v>0.98542202356761177</c:v>
                </c:pt>
                <c:pt idx="212">
                  <c:v>0.98554148797228514</c:v>
                </c:pt>
                <c:pt idx="213">
                  <c:v>0.98577814584431034</c:v>
                </c:pt>
                <c:pt idx="214">
                  <c:v>0.98589568868663469</c:v>
                </c:pt>
                <c:pt idx="215">
                  <c:v>0.98601303500553705</c:v>
                </c:pt>
                <c:pt idx="216">
                  <c:v>0.98613005378540264</c:v>
                </c:pt>
                <c:pt idx="217">
                  <c:v>0.98624707256526822</c:v>
                </c:pt>
                <c:pt idx="218">
                  <c:v>0.98647630621912685</c:v>
                </c:pt>
                <c:pt idx="219">
                  <c:v>0.98658987492113859</c:v>
                </c:pt>
                <c:pt idx="220">
                  <c:v>0.98670263569352634</c:v>
                </c:pt>
                <c:pt idx="221">
                  <c:v>0.98692684708215472</c:v>
                </c:pt>
                <c:pt idx="222">
                  <c:v>0.98703687836256948</c:v>
                </c:pt>
                <c:pt idx="223">
                  <c:v>0.98725545607976561</c:v>
                </c:pt>
                <c:pt idx="224">
                  <c:v>0.98746916438328203</c:v>
                </c:pt>
                <c:pt idx="225">
                  <c:v>0.98757450093750321</c:v>
                </c:pt>
                <c:pt idx="226">
                  <c:v>0.98767981565578866</c:v>
                </c:pt>
                <c:pt idx="227">
                  <c:v>0.98788437470221158</c:v>
                </c:pt>
                <c:pt idx="228">
                  <c:v>0.9879859773114138</c:v>
                </c:pt>
                <c:pt idx="229">
                  <c:v>0.98808720870970768</c:v>
                </c:pt>
                <c:pt idx="230">
                  <c:v>0.98818747932682705</c:v>
                </c:pt>
                <c:pt idx="231">
                  <c:v>0.98857915050698153</c:v>
                </c:pt>
                <c:pt idx="232">
                  <c:v>0.9886692455780256</c:v>
                </c:pt>
                <c:pt idx="233">
                  <c:v>0.98884434794707621</c:v>
                </c:pt>
                <c:pt idx="234">
                  <c:v>0.98901167672298773</c:v>
                </c:pt>
                <c:pt idx="235">
                  <c:v>0.98925556228975742</c:v>
                </c:pt>
                <c:pt idx="236">
                  <c:v>0.98933574384595568</c:v>
                </c:pt>
                <c:pt idx="237">
                  <c:v>0.98941570704279602</c:v>
                </c:pt>
                <c:pt idx="238">
                  <c:v>0.98972151932344854</c:v>
                </c:pt>
                <c:pt idx="239">
                  <c:v>0.99014432854803092</c:v>
                </c:pt>
                <c:pt idx="240">
                  <c:v>0.99021090631623587</c:v>
                </c:pt>
                <c:pt idx="241">
                  <c:v>0.99034139786848008</c:v>
                </c:pt>
                <c:pt idx="242">
                  <c:v>0.99040627243369384</c:v>
                </c:pt>
                <c:pt idx="243">
                  <c:v>0.99053410000177244</c:v>
                </c:pt>
                <c:pt idx="244">
                  <c:v>0.99072134315111882</c:v>
                </c:pt>
                <c:pt idx="245">
                  <c:v>0.99096217168687861</c:v>
                </c:pt>
                <c:pt idx="246">
                  <c:v>0.99119974666820665</c:v>
                </c:pt>
                <c:pt idx="247">
                  <c:v>0.99187277388093564</c:v>
                </c:pt>
                <c:pt idx="248">
                  <c:v>0.99192605356424823</c:v>
                </c:pt>
                <c:pt idx="249">
                  <c:v>0.99243629387570897</c:v>
                </c:pt>
                <c:pt idx="250">
                  <c:v>0.99263041534482732</c:v>
                </c:pt>
                <c:pt idx="251">
                  <c:v>0.9931420531561781</c:v>
                </c:pt>
                <c:pt idx="252">
                  <c:v>0.99356783206802712</c:v>
                </c:pt>
                <c:pt idx="253">
                  <c:v>0.99364943296005126</c:v>
                </c:pt>
                <c:pt idx="254">
                  <c:v>0.99380835490068598</c:v>
                </c:pt>
                <c:pt idx="255">
                  <c:v>0.99403730468737939</c:v>
                </c:pt>
                <c:pt idx="256">
                  <c:v>0.99432322443053289</c:v>
                </c:pt>
                <c:pt idx="257">
                  <c:v>0.99484368395994061</c:v>
                </c:pt>
                <c:pt idx="258">
                  <c:v>0.99528592716737063</c:v>
                </c:pt>
                <c:pt idx="259">
                  <c:v>0.99548380441744377</c:v>
                </c:pt>
                <c:pt idx="260">
                  <c:v>0.99553942054588518</c:v>
                </c:pt>
                <c:pt idx="261">
                  <c:v>0.9971147959689457</c:v>
                </c:pt>
                <c:pt idx="262">
                  <c:v>0.9985648986284141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17</c:f>
              <c:strCache>
                <c:ptCount val="1216"/>
                <c:pt idx="0">
                  <c:v>Private Lab</c:v>
                </c:pt>
                <c:pt idx="1">
                  <c:v>Private Lab</c:v>
                </c:pt>
                <c:pt idx="2">
                  <c:v>Private Lab</c:v>
                </c:pt>
                <c:pt idx="3">
                  <c:v>Private Lab</c:v>
                </c:pt>
                <c:pt idx="4">
                  <c:v>Private Lab</c:v>
                </c:pt>
                <c:pt idx="5">
                  <c:v>Caprice Des</c:v>
                </c:pt>
                <c:pt idx="6">
                  <c:v>Private Lab</c:v>
                </c:pt>
                <c:pt idx="7">
                  <c:v>Private Lab</c:v>
                </c:pt>
                <c:pt idx="8">
                  <c:v>Private Lab</c:v>
                </c:pt>
                <c:pt idx="9">
                  <c:v>Private Lab</c:v>
                </c:pt>
                <c:pt idx="10">
                  <c:v>Private Lab</c:v>
                </c:pt>
                <c:pt idx="11">
                  <c:v>Private Lab</c:v>
                </c:pt>
                <c:pt idx="12">
                  <c:v>Private Lab</c:v>
                </c:pt>
                <c:pt idx="13">
                  <c:v>Mini Babybe</c:v>
                </c:pt>
                <c:pt idx="14">
                  <c:v>Coeur De Li</c:v>
                </c:pt>
                <c:pt idx="15">
                  <c:v>Private Lab</c:v>
                </c:pt>
                <c:pt idx="16">
                  <c:v>President</c:v>
                </c:pt>
                <c:pt idx="17">
                  <c:v>Chaussee Au</c:v>
                </c:pt>
                <c:pt idx="18">
                  <c:v>Entremont</c:v>
                </c:pt>
                <c:pt idx="19">
                  <c:v>Private Lab</c:v>
                </c:pt>
                <c:pt idx="20">
                  <c:v>Private Lab</c:v>
                </c:pt>
                <c:pt idx="21">
                  <c:v>Soignon</c:v>
                </c:pt>
                <c:pt idx="22">
                  <c:v>Private Lab</c:v>
                </c:pt>
                <c:pt idx="23">
                  <c:v>Private Lab</c:v>
                </c:pt>
                <c:pt idx="24">
                  <c:v>Galbani</c:v>
                </c:pt>
                <c:pt idx="25">
                  <c:v>Soignon</c:v>
                </c:pt>
                <c:pt idx="26">
                  <c:v>St Moret</c:v>
                </c:pt>
                <c:pt idx="27">
                  <c:v>Entremont</c:v>
                </c:pt>
                <c:pt idx="28">
                  <c:v>Galbani</c:v>
                </c:pt>
                <c:pt idx="29">
                  <c:v>Private Lab</c:v>
                </c:pt>
                <c:pt idx="30">
                  <c:v>Private Lab</c:v>
                </c:pt>
                <c:pt idx="31">
                  <c:v>Galbani</c:v>
                </c:pt>
                <c:pt idx="32">
                  <c:v>Private Lab</c:v>
                </c:pt>
                <c:pt idx="33">
                  <c:v>President</c:v>
                </c:pt>
                <c:pt idx="34">
                  <c:v>Salakis</c:v>
                </c:pt>
                <c:pt idx="35">
                  <c:v>Private Lab</c:v>
                </c:pt>
                <c:pt idx="36">
                  <c:v>President</c:v>
                </c:pt>
                <c:pt idx="37">
                  <c:v>Caprice Des</c:v>
                </c:pt>
                <c:pt idx="38">
                  <c:v>St Moret</c:v>
                </c:pt>
                <c:pt idx="39">
                  <c:v>Private Lab</c:v>
                </c:pt>
                <c:pt idx="40">
                  <c:v>Private Lab</c:v>
                </c:pt>
                <c:pt idx="41">
                  <c:v>President</c:v>
                </c:pt>
                <c:pt idx="42">
                  <c:v>Private Lab</c:v>
                </c:pt>
                <c:pt idx="43">
                  <c:v>Private Lab</c:v>
                </c:pt>
                <c:pt idx="44">
                  <c:v>La Vache Qu</c:v>
                </c:pt>
                <c:pt idx="45">
                  <c:v>Private Lab</c:v>
                </c:pt>
                <c:pt idx="46">
                  <c:v>President</c:v>
                </c:pt>
                <c:pt idx="47">
                  <c:v>Private Lab</c:v>
                </c:pt>
                <c:pt idx="48">
                  <c:v>Private Lab</c:v>
                </c:pt>
                <c:pt idx="49">
                  <c:v>Private Lab</c:v>
                </c:pt>
                <c:pt idx="50">
                  <c:v>Coeur De Li</c:v>
                </c:pt>
                <c:pt idx="51">
                  <c:v>President</c:v>
                </c:pt>
                <c:pt idx="52">
                  <c:v>Private Lab</c:v>
                </c:pt>
                <c:pt idx="53">
                  <c:v>Leerdammer</c:v>
                </c:pt>
                <c:pt idx="54">
                  <c:v>La Vache Qu</c:v>
                </c:pt>
                <c:pt idx="55">
                  <c:v>Leerdammer</c:v>
                </c:pt>
                <c:pt idx="56">
                  <c:v>Private Lab</c:v>
                </c:pt>
                <c:pt idx="57">
                  <c:v>St Moret</c:v>
                </c:pt>
                <c:pt idx="58">
                  <c:v>Le Rustique</c:v>
                </c:pt>
                <c:pt idx="59">
                  <c:v>Leerdammer</c:v>
                </c:pt>
                <c:pt idx="60">
                  <c:v>La Vache Qu</c:v>
                </c:pt>
                <c:pt idx="61">
                  <c:v>Private Lab</c:v>
                </c:pt>
                <c:pt idx="62">
                  <c:v>Private Lab</c:v>
                </c:pt>
                <c:pt idx="63">
                  <c:v>Entremont</c:v>
                </c:pt>
                <c:pt idx="64">
                  <c:v>Tartare</c:v>
                </c:pt>
                <c:pt idx="65">
                  <c:v>Societe</c:v>
                </c:pt>
                <c:pt idx="66">
                  <c:v>Private Lab</c:v>
                </c:pt>
                <c:pt idx="67">
                  <c:v>Entremont</c:v>
                </c:pt>
                <c:pt idx="68">
                  <c:v>Chaussee Au</c:v>
                </c:pt>
                <c:pt idx="69">
                  <c:v>Private Lab</c:v>
                </c:pt>
                <c:pt idx="70">
                  <c:v>Mini Babybe</c:v>
                </c:pt>
                <c:pt idx="71">
                  <c:v>Private Lab</c:v>
                </c:pt>
                <c:pt idx="72">
                  <c:v>Private Lab</c:v>
                </c:pt>
                <c:pt idx="73">
                  <c:v>President</c:v>
                </c:pt>
                <c:pt idx="74">
                  <c:v>Private Lab</c:v>
                </c:pt>
                <c:pt idx="75">
                  <c:v>Private Lab</c:v>
                </c:pt>
                <c:pt idx="76">
                  <c:v>President</c:v>
                </c:pt>
                <c:pt idx="77">
                  <c:v>Salakis</c:v>
                </c:pt>
                <c:pt idx="78">
                  <c:v>Private Lab</c:v>
                </c:pt>
                <c:pt idx="79">
                  <c:v>St Moret</c:v>
                </c:pt>
                <c:pt idx="80">
                  <c:v>Soignon</c:v>
                </c:pt>
                <c:pt idx="81">
                  <c:v>Galbani</c:v>
                </c:pt>
                <c:pt idx="82">
                  <c:v>Galbani</c:v>
                </c:pt>
                <c:pt idx="83">
                  <c:v>Islos</c:v>
                </c:pt>
                <c:pt idx="84">
                  <c:v>Private Lab</c:v>
                </c:pt>
                <c:pt idx="85">
                  <c:v>Private Lab</c:v>
                </c:pt>
                <c:pt idx="86">
                  <c:v>Juraflore</c:v>
                </c:pt>
                <c:pt idx="87">
                  <c:v>President</c:v>
                </c:pt>
                <c:pt idx="88">
                  <c:v>Kiri</c:v>
                </c:pt>
                <c:pt idx="89">
                  <c:v>Private Lab</c:v>
                </c:pt>
                <c:pt idx="90">
                  <c:v>Private Lab</c:v>
                </c:pt>
                <c:pt idx="91">
                  <c:v>Private Lab</c:v>
                </c:pt>
                <c:pt idx="92">
                  <c:v>Entremont</c:v>
                </c:pt>
                <c:pt idx="93">
                  <c:v>All Others</c:v>
                </c:pt>
                <c:pt idx="94">
                  <c:v>Entremont</c:v>
                </c:pt>
                <c:pt idx="95">
                  <c:v>Private Lab</c:v>
                </c:pt>
                <c:pt idx="96">
                  <c:v>President</c:v>
                </c:pt>
                <c:pt idx="97">
                  <c:v>Private Lab</c:v>
                </c:pt>
                <c:pt idx="98">
                  <c:v>Saint Agur</c:v>
                </c:pt>
                <c:pt idx="99">
                  <c:v>Private Lab</c:v>
                </c:pt>
                <c:pt idx="100">
                  <c:v>Private Lab</c:v>
                </c:pt>
                <c:pt idx="101">
                  <c:v>Private Lab</c:v>
                </c:pt>
                <c:pt idx="102">
                  <c:v>All Others</c:v>
                </c:pt>
                <c:pt idx="103">
                  <c:v>Private Lab</c:v>
                </c:pt>
                <c:pt idx="104">
                  <c:v>Paysan Bret</c:v>
                </c:pt>
                <c:pt idx="105">
                  <c:v>President</c:v>
                </c:pt>
                <c:pt idx="106">
                  <c:v>Apericube</c:v>
                </c:pt>
                <c:pt idx="107">
                  <c:v>Private Lab</c:v>
                </c:pt>
                <c:pt idx="108">
                  <c:v>Private Lab</c:v>
                </c:pt>
                <c:pt idx="109">
                  <c:v>Paysan Bret</c:v>
                </c:pt>
                <c:pt idx="110">
                  <c:v>Galbani</c:v>
                </c:pt>
                <c:pt idx="111">
                  <c:v>Kiri</c:v>
                </c:pt>
                <c:pt idx="112">
                  <c:v>Leerdammer</c:v>
                </c:pt>
                <c:pt idx="113">
                  <c:v>Private Lab</c:v>
                </c:pt>
                <c:pt idx="114">
                  <c:v>Private Lab</c:v>
                </c:pt>
                <c:pt idx="115">
                  <c:v>President</c:v>
                </c:pt>
                <c:pt idx="116">
                  <c:v>Saint Albra</c:v>
                </c:pt>
                <c:pt idx="117">
                  <c:v>Apericube</c:v>
                </c:pt>
                <c:pt idx="118">
                  <c:v>Private Lab</c:v>
                </c:pt>
                <c:pt idx="119">
                  <c:v>L'Ortolan</c:v>
                </c:pt>
                <c:pt idx="120">
                  <c:v>Entremont</c:v>
                </c:pt>
                <c:pt idx="121">
                  <c:v>Private Lab</c:v>
                </c:pt>
                <c:pt idx="122">
                  <c:v>Istara</c:v>
                </c:pt>
                <c:pt idx="123">
                  <c:v>Bresse Bleu</c:v>
                </c:pt>
                <c:pt idx="124">
                  <c:v>Ficello</c:v>
                </c:pt>
                <c:pt idx="125">
                  <c:v>Private Lab</c:v>
                </c:pt>
                <c:pt idx="126">
                  <c:v>Private Lab</c:v>
                </c:pt>
                <c:pt idx="127">
                  <c:v>Private Lab</c:v>
                </c:pt>
                <c:pt idx="128">
                  <c:v>Parmareggio</c:v>
                </c:pt>
                <c:pt idx="129">
                  <c:v>Kiri</c:v>
                </c:pt>
                <c:pt idx="130">
                  <c:v>Private Lab</c:v>
                </c:pt>
                <c:pt idx="131">
                  <c:v>Saint Agur</c:v>
                </c:pt>
                <c:pt idx="132">
                  <c:v>Casa Azzurr</c:v>
                </c:pt>
                <c:pt idx="133">
                  <c:v>Leerdammer</c:v>
                </c:pt>
                <c:pt idx="134">
                  <c:v>President</c:v>
                </c:pt>
                <c:pt idx="135">
                  <c:v>Private Lab</c:v>
                </c:pt>
                <c:pt idx="136">
                  <c:v>Saint Albra</c:v>
                </c:pt>
                <c:pt idx="137">
                  <c:v>Entremont</c:v>
                </c:pt>
                <c:pt idx="138">
                  <c:v>Carre Frais</c:v>
                </c:pt>
                <c:pt idx="139">
                  <c:v>Leerdammer</c:v>
                </c:pt>
                <c:pt idx="140">
                  <c:v>St Moret</c:v>
                </c:pt>
                <c:pt idx="141">
                  <c:v>Private Lab</c:v>
                </c:pt>
                <c:pt idx="142">
                  <c:v>Coeur De Li</c:v>
                </c:pt>
                <c:pt idx="143">
                  <c:v>Boursin</c:v>
                </c:pt>
                <c:pt idx="144">
                  <c:v>Private Lab</c:v>
                </c:pt>
                <c:pt idx="145">
                  <c:v>L'Ortolan</c:v>
                </c:pt>
                <c:pt idx="146">
                  <c:v>Les Mousque</c:v>
                </c:pt>
                <c:pt idx="147">
                  <c:v>President</c:v>
                </c:pt>
                <c:pt idx="148">
                  <c:v>Casa Azzurr</c:v>
                </c:pt>
                <c:pt idx="149">
                  <c:v>Apericube</c:v>
                </c:pt>
                <c:pt idx="150">
                  <c:v>President</c:v>
                </c:pt>
                <c:pt idx="151">
                  <c:v>All Others</c:v>
                </c:pt>
                <c:pt idx="152">
                  <c:v>Carre Frais</c:v>
                </c:pt>
                <c:pt idx="153">
                  <c:v>Boursin</c:v>
                </c:pt>
                <c:pt idx="154">
                  <c:v>Private Lab</c:v>
                </c:pt>
                <c:pt idx="155">
                  <c:v>Private Lab</c:v>
                </c:pt>
                <c:pt idx="156">
                  <c:v>Tartare</c:v>
                </c:pt>
                <c:pt idx="157">
                  <c:v>Coeur De Li</c:v>
                </c:pt>
                <c:pt idx="158">
                  <c:v>Kiri</c:v>
                </c:pt>
                <c:pt idx="159">
                  <c:v>Entremont</c:v>
                </c:pt>
                <c:pt idx="160">
                  <c:v>Lepetit</c:v>
                </c:pt>
                <c:pt idx="161">
                  <c:v>Private Lab</c:v>
                </c:pt>
                <c:pt idx="162">
                  <c:v>Private Lab</c:v>
                </c:pt>
                <c:pt idx="163">
                  <c:v>Apericube</c:v>
                </c:pt>
                <c:pt idx="164">
                  <c:v>Lou Perac</c:v>
                </c:pt>
                <c:pt idx="165">
                  <c:v>Entremont</c:v>
                </c:pt>
                <c:pt idx="166">
                  <c:v>Private Lab</c:v>
                </c:pt>
                <c:pt idx="167">
                  <c:v>Kiri</c:v>
                </c:pt>
                <c:pt idx="168">
                  <c:v>Salakis</c:v>
                </c:pt>
                <c:pt idx="169">
                  <c:v>Entremont</c:v>
                </c:pt>
                <c:pt idx="170">
                  <c:v>Salakis</c:v>
                </c:pt>
                <c:pt idx="171">
                  <c:v>Port Salut</c:v>
                </c:pt>
                <c:pt idx="172">
                  <c:v>Boursin</c:v>
                </c:pt>
                <c:pt idx="173">
                  <c:v>Private Lab</c:v>
                </c:pt>
                <c:pt idx="174">
                  <c:v>Casa Azzurr</c:v>
                </c:pt>
                <c:pt idx="175">
                  <c:v>Galbani</c:v>
                </c:pt>
                <c:pt idx="176">
                  <c:v>President</c:v>
                </c:pt>
                <c:pt idx="177">
                  <c:v>Private Lab</c:v>
                </c:pt>
                <c:pt idx="178">
                  <c:v>Entremont</c:v>
                </c:pt>
                <c:pt idx="179">
                  <c:v>Boursin</c:v>
                </c:pt>
                <c:pt idx="180">
                  <c:v>Coeur De Li</c:v>
                </c:pt>
                <c:pt idx="181">
                  <c:v>Private Lab</c:v>
                </c:pt>
                <c:pt idx="182">
                  <c:v>Private Lab</c:v>
                </c:pt>
                <c:pt idx="183">
                  <c:v>Private Lab</c:v>
                </c:pt>
                <c:pt idx="184">
                  <c:v>Private Lab</c:v>
                </c:pt>
                <c:pt idx="185">
                  <c:v>Private Lab</c:v>
                </c:pt>
                <c:pt idx="186">
                  <c:v>Soignon</c:v>
                </c:pt>
                <c:pt idx="187">
                  <c:v>Private Lab</c:v>
                </c:pt>
                <c:pt idx="188">
                  <c:v>Private Lab</c:v>
                </c:pt>
                <c:pt idx="189">
                  <c:v>Private Lab</c:v>
                </c:pt>
                <c:pt idx="190">
                  <c:v>Caprice Des</c:v>
                </c:pt>
                <c:pt idx="191">
                  <c:v>Private Lab</c:v>
                </c:pt>
                <c:pt idx="192">
                  <c:v>Pave D'Affi</c:v>
                </c:pt>
                <c:pt idx="193">
                  <c:v>St Moret</c:v>
                </c:pt>
                <c:pt idx="194">
                  <c:v>Private Lab</c:v>
                </c:pt>
                <c:pt idx="195">
                  <c:v>Soignon</c:v>
                </c:pt>
                <c:pt idx="196">
                  <c:v>Private Lab</c:v>
                </c:pt>
                <c:pt idx="197">
                  <c:v>President</c:v>
                </c:pt>
                <c:pt idx="198">
                  <c:v>President</c:v>
                </c:pt>
                <c:pt idx="199">
                  <c:v>Private Lab</c:v>
                </c:pt>
                <c:pt idx="200">
                  <c:v>Petit Billy</c:v>
                </c:pt>
                <c:pt idx="201">
                  <c:v>Private Lab</c:v>
                </c:pt>
                <c:pt idx="202">
                  <c:v>Casa Azzurr</c:v>
                </c:pt>
                <c:pt idx="203">
                  <c:v>Galbani</c:v>
                </c:pt>
                <c:pt idx="204">
                  <c:v>All Others</c:v>
                </c:pt>
                <c:pt idx="205">
                  <c:v>Istara</c:v>
                </c:pt>
                <c:pt idx="206">
                  <c:v>Philadelphi</c:v>
                </c:pt>
                <c:pt idx="207">
                  <c:v>Private Lab</c:v>
                </c:pt>
                <c:pt idx="208">
                  <c:v>Casa Azzurr</c:v>
                </c:pt>
                <c:pt idx="209">
                  <c:v>President</c:v>
                </c:pt>
                <c:pt idx="210">
                  <c:v>Private Lab</c:v>
                </c:pt>
                <c:pt idx="211">
                  <c:v>Le Rustique</c:v>
                </c:pt>
                <c:pt idx="212">
                  <c:v>President</c:v>
                </c:pt>
                <c:pt idx="213">
                  <c:v>Aperivrais</c:v>
                </c:pt>
                <c:pt idx="214">
                  <c:v>Private Lab</c:v>
                </c:pt>
                <c:pt idx="215">
                  <c:v>Private Lab</c:v>
                </c:pt>
                <c:pt idx="216">
                  <c:v>Apericube</c:v>
                </c:pt>
                <c:pt idx="217">
                  <c:v>St Moret</c:v>
                </c:pt>
                <c:pt idx="218">
                  <c:v>Galbani</c:v>
                </c:pt>
                <c:pt idx="219">
                  <c:v>Apericube</c:v>
                </c:pt>
                <c:pt idx="220">
                  <c:v>Ficello</c:v>
                </c:pt>
                <c:pt idx="221">
                  <c:v>Casa Azzurr</c:v>
                </c:pt>
                <c:pt idx="222">
                  <c:v>Private Lab</c:v>
                </c:pt>
                <c:pt idx="223">
                  <c:v>All Others</c:v>
                </c:pt>
                <c:pt idx="224">
                  <c:v>Private Lab</c:v>
                </c:pt>
                <c:pt idx="225">
                  <c:v>Private Lab</c:v>
                </c:pt>
                <c:pt idx="226">
                  <c:v>Private Lab</c:v>
                </c:pt>
                <c:pt idx="227">
                  <c:v>Boursin</c:v>
                </c:pt>
                <c:pt idx="228">
                  <c:v>President</c:v>
                </c:pt>
                <c:pt idx="229">
                  <c:v>Leerdammer</c:v>
                </c:pt>
                <c:pt idx="230">
                  <c:v>Private Lab</c:v>
                </c:pt>
                <c:pt idx="231">
                  <c:v>President</c:v>
                </c:pt>
                <c:pt idx="232">
                  <c:v>Saint Agur</c:v>
                </c:pt>
                <c:pt idx="233">
                  <c:v>Babybel</c:v>
                </c:pt>
                <c:pt idx="234">
                  <c:v>Private Lab</c:v>
                </c:pt>
                <c:pt idx="235">
                  <c:v>Societe</c:v>
                </c:pt>
                <c:pt idx="236">
                  <c:v>Private Lab</c:v>
                </c:pt>
                <c:pt idx="237">
                  <c:v>Private Lab</c:v>
                </c:pt>
                <c:pt idx="238">
                  <c:v>Apericube</c:v>
                </c:pt>
                <c:pt idx="239">
                  <c:v>Private Lab</c:v>
                </c:pt>
                <c:pt idx="240">
                  <c:v>Saint Agur</c:v>
                </c:pt>
                <c:pt idx="241">
                  <c:v>Private Lab</c:v>
                </c:pt>
                <c:pt idx="242">
                  <c:v>Coeur De Li</c:v>
                </c:pt>
                <c:pt idx="243">
                  <c:v>Galbani</c:v>
                </c:pt>
                <c:pt idx="244">
                  <c:v>Private Lab</c:v>
                </c:pt>
                <c:pt idx="245">
                  <c:v>Richesmonts</c:v>
                </c:pt>
                <c:pt idx="246">
                  <c:v>Private Lab</c:v>
                </c:pt>
                <c:pt idx="247">
                  <c:v>Private Lab</c:v>
                </c:pt>
                <c:pt idx="248">
                  <c:v>Les Mousque</c:v>
                </c:pt>
                <c:pt idx="249">
                  <c:v>Private Lab</c:v>
                </c:pt>
                <c:pt idx="250">
                  <c:v>Soignon</c:v>
                </c:pt>
                <c:pt idx="251">
                  <c:v>Private Lab</c:v>
                </c:pt>
                <c:pt idx="252">
                  <c:v>Private Lab</c:v>
                </c:pt>
                <c:pt idx="253">
                  <c:v>Chavroux</c:v>
                </c:pt>
                <c:pt idx="254">
                  <c:v>Entremont</c:v>
                </c:pt>
                <c:pt idx="255">
                  <c:v>Etorki</c:v>
                </c:pt>
                <c:pt idx="256">
                  <c:v>Salakis</c:v>
                </c:pt>
                <c:pt idx="257">
                  <c:v>Apericube</c:v>
                </c:pt>
                <c:pt idx="258">
                  <c:v>Vieux Pane</c:v>
                </c:pt>
                <c:pt idx="259">
                  <c:v>President</c:v>
                </c:pt>
                <c:pt idx="260">
                  <c:v>Caprice Des</c:v>
                </c:pt>
                <c:pt idx="261">
                  <c:v>Private Lab</c:v>
                </c:pt>
                <c:pt idx="262">
                  <c:v>Soignon</c:v>
                </c:pt>
                <c:pt idx="263">
                  <c:v>Boursin</c:v>
                </c:pt>
                <c:pt idx="264">
                  <c:v>Savencia: A</c:v>
                </c:pt>
                <c:pt idx="265">
                  <c:v>Entremont</c:v>
                </c:pt>
                <c:pt idx="266">
                  <c:v>Leerdammer</c:v>
                </c:pt>
                <c:pt idx="267">
                  <c:v>Leerdammer</c:v>
                </c:pt>
                <c:pt idx="268">
                  <c:v>Private Lab</c:v>
                </c:pt>
                <c:pt idx="269">
                  <c:v>P'Tit Louis</c:v>
                </c:pt>
                <c:pt idx="270">
                  <c:v>Pave D'Affi</c:v>
                </c:pt>
                <c:pt idx="271">
                  <c:v>Saint Agur</c:v>
                </c:pt>
                <c:pt idx="272">
                  <c:v>Apericube</c:v>
                </c:pt>
                <c:pt idx="273">
                  <c:v>Private Lab</c:v>
                </c:pt>
                <c:pt idx="274">
                  <c:v>Private Lab</c:v>
                </c:pt>
                <c:pt idx="275">
                  <c:v>All Others</c:v>
                </c:pt>
                <c:pt idx="276">
                  <c:v>Le Rustique</c:v>
                </c:pt>
                <c:pt idx="277">
                  <c:v>Fol Epi</c:v>
                </c:pt>
                <c:pt idx="278">
                  <c:v>Lactalis: A</c:v>
                </c:pt>
                <c:pt idx="279">
                  <c:v>Private Lab</c:v>
                </c:pt>
                <c:pt idx="280">
                  <c:v>La Vache Qu</c:v>
                </c:pt>
                <c:pt idx="281">
                  <c:v>Galbani</c:v>
                </c:pt>
                <c:pt idx="282">
                  <c:v>Private Lab</c:v>
                </c:pt>
                <c:pt idx="283">
                  <c:v>Private Lab</c:v>
                </c:pt>
                <c:pt idx="284">
                  <c:v>Parmareggio</c:v>
                </c:pt>
                <c:pt idx="285">
                  <c:v>La Vache Qu</c:v>
                </c:pt>
                <c:pt idx="286">
                  <c:v>Societe</c:v>
                </c:pt>
                <c:pt idx="287">
                  <c:v>Casa Azzurr</c:v>
                </c:pt>
                <c:pt idx="288">
                  <c:v>Apericube</c:v>
                </c:pt>
                <c:pt idx="289">
                  <c:v>Philadelphi</c:v>
                </c:pt>
                <c:pt idx="290">
                  <c:v>Private Lab</c:v>
                </c:pt>
                <c:pt idx="291">
                  <c:v>Pochat</c:v>
                </c:pt>
                <c:pt idx="292">
                  <c:v>Private Lab</c:v>
                </c:pt>
                <c:pt idx="293">
                  <c:v>Casa Azzurr</c:v>
                </c:pt>
                <c:pt idx="294">
                  <c:v>Private Lab</c:v>
                </c:pt>
                <c:pt idx="295">
                  <c:v>Soignon</c:v>
                </c:pt>
                <c:pt idx="296">
                  <c:v>Casa Azzurr</c:v>
                </c:pt>
                <c:pt idx="297">
                  <c:v>Private Lab</c:v>
                </c:pt>
                <c:pt idx="298">
                  <c:v>Private Lab</c:v>
                </c:pt>
                <c:pt idx="299">
                  <c:v>Paysan Bret</c:v>
                </c:pt>
                <c:pt idx="300">
                  <c:v>Aperivrais</c:v>
                </c:pt>
                <c:pt idx="301">
                  <c:v>Le Brebiou</c:v>
                </c:pt>
                <c:pt idx="302">
                  <c:v>Private Lab</c:v>
                </c:pt>
                <c:pt idx="303">
                  <c:v>Societe</c:v>
                </c:pt>
                <c:pt idx="304">
                  <c:v>Tartare</c:v>
                </c:pt>
                <c:pt idx="305">
                  <c:v>Private Lab</c:v>
                </c:pt>
                <c:pt idx="306">
                  <c:v>Soignon</c:v>
                </c:pt>
                <c:pt idx="307">
                  <c:v>Bresse Bleu</c:v>
                </c:pt>
                <c:pt idx="308">
                  <c:v>President</c:v>
                </c:pt>
                <c:pt idx="309">
                  <c:v>St Moret</c:v>
                </c:pt>
                <c:pt idx="310">
                  <c:v>Ficello</c:v>
                </c:pt>
                <c:pt idx="311">
                  <c:v>Private Lab</c:v>
                </c:pt>
                <c:pt idx="312">
                  <c:v>Private Lab</c:v>
                </c:pt>
                <c:pt idx="313">
                  <c:v>Boursin</c:v>
                </c:pt>
                <c:pt idx="314">
                  <c:v>Private Lab</c:v>
                </c:pt>
                <c:pt idx="315">
                  <c:v>Private Lab</c:v>
                </c:pt>
                <c:pt idx="316">
                  <c:v>Lactalis: A</c:v>
                </c:pt>
                <c:pt idx="317">
                  <c:v>All Others</c:v>
                </c:pt>
                <c:pt idx="318">
                  <c:v>Carre Frais</c:v>
                </c:pt>
                <c:pt idx="319">
                  <c:v>Private Lab</c:v>
                </c:pt>
                <c:pt idx="320">
                  <c:v>Private Lab</c:v>
                </c:pt>
                <c:pt idx="321">
                  <c:v>Salakis</c:v>
                </c:pt>
                <c:pt idx="322">
                  <c:v>Pave D'Affi</c:v>
                </c:pt>
                <c:pt idx="323">
                  <c:v>Private Lab</c:v>
                </c:pt>
                <c:pt idx="324">
                  <c:v>President</c:v>
                </c:pt>
                <c:pt idx="325">
                  <c:v>Private Lab</c:v>
                </c:pt>
                <c:pt idx="326">
                  <c:v>Pochat</c:v>
                </c:pt>
                <c:pt idx="327">
                  <c:v>Private Lab</c:v>
                </c:pt>
                <c:pt idx="328">
                  <c:v>All Others</c:v>
                </c:pt>
                <c:pt idx="329">
                  <c:v>Aperivrais</c:v>
                </c:pt>
                <c:pt idx="330">
                  <c:v>Private Lab</c:v>
                </c:pt>
                <c:pt idx="331">
                  <c:v>All Others</c:v>
                </c:pt>
                <c:pt idx="332">
                  <c:v>Paysan Bret</c:v>
                </c:pt>
                <c:pt idx="333">
                  <c:v>Savencia: A</c:v>
                </c:pt>
                <c:pt idx="334">
                  <c:v>Paysan Bret</c:v>
                </c:pt>
                <c:pt idx="335">
                  <c:v>Paysan Bret</c:v>
                </c:pt>
                <c:pt idx="336">
                  <c:v>Galbani</c:v>
                </c:pt>
                <c:pt idx="337">
                  <c:v>Private Lab</c:v>
                </c:pt>
                <c:pt idx="338">
                  <c:v>President</c:v>
                </c:pt>
                <c:pt idx="339">
                  <c:v>Caprice Des</c:v>
                </c:pt>
                <c:pt idx="340">
                  <c:v>Soignon</c:v>
                </c:pt>
                <c:pt idx="341">
                  <c:v>Private Lab</c:v>
                </c:pt>
                <c:pt idx="342">
                  <c:v>Le Rustique</c:v>
                </c:pt>
                <c:pt idx="343">
                  <c:v>Galbani</c:v>
                </c:pt>
                <c:pt idx="344">
                  <c:v>Private Lab</c:v>
                </c:pt>
                <c:pt idx="345">
                  <c:v>Soignon</c:v>
                </c:pt>
                <c:pt idx="346">
                  <c:v>Private Lab</c:v>
                </c:pt>
                <c:pt idx="347">
                  <c:v>Private Lab</c:v>
                </c:pt>
                <c:pt idx="348">
                  <c:v>Private Lab</c:v>
                </c:pt>
                <c:pt idx="349">
                  <c:v>Galbani</c:v>
                </c:pt>
                <c:pt idx="350">
                  <c:v>Galbani</c:v>
                </c:pt>
                <c:pt idx="351">
                  <c:v>President</c:v>
                </c:pt>
                <c:pt idx="352">
                  <c:v>President</c:v>
                </c:pt>
                <c:pt idx="353">
                  <c:v>Private Lab</c:v>
                </c:pt>
                <c:pt idx="354">
                  <c:v>All Others</c:v>
                </c:pt>
                <c:pt idx="355">
                  <c:v>Les Mousque</c:v>
                </c:pt>
                <c:pt idx="356">
                  <c:v>Boursin</c:v>
                </c:pt>
                <c:pt idx="357">
                  <c:v>Kiri</c:v>
                </c:pt>
                <c:pt idx="358">
                  <c:v>Les Mousque</c:v>
                </c:pt>
                <c:pt idx="359">
                  <c:v>Savencia: A</c:v>
                </c:pt>
                <c:pt idx="360">
                  <c:v>All Others</c:v>
                </c:pt>
                <c:pt idx="361">
                  <c:v>Chavroux</c:v>
                </c:pt>
                <c:pt idx="362">
                  <c:v>Boursin</c:v>
                </c:pt>
                <c:pt idx="363">
                  <c:v>Mini Babybe</c:v>
                </c:pt>
                <c:pt idx="364">
                  <c:v>Private Lab</c:v>
                </c:pt>
                <c:pt idx="365">
                  <c:v>Galbani</c:v>
                </c:pt>
                <c:pt idx="366">
                  <c:v>L'Ortolan</c:v>
                </c:pt>
                <c:pt idx="367">
                  <c:v>La Vache Qu</c:v>
                </c:pt>
                <c:pt idx="368">
                  <c:v>Private Lab</c:v>
                </c:pt>
                <c:pt idx="369">
                  <c:v>Milleret: A</c:v>
                </c:pt>
                <c:pt idx="370">
                  <c:v>Private Lab</c:v>
                </c:pt>
                <c:pt idx="371">
                  <c:v>President</c:v>
                </c:pt>
                <c:pt idx="372">
                  <c:v>St Moret</c:v>
                </c:pt>
                <c:pt idx="373">
                  <c:v>Private Lab</c:v>
                </c:pt>
                <c:pt idx="374">
                  <c:v>All Others</c:v>
                </c:pt>
                <c:pt idx="375">
                  <c:v>Soignon</c:v>
                </c:pt>
                <c:pt idx="376">
                  <c:v>Societe</c:v>
                </c:pt>
                <c:pt idx="377">
                  <c:v>Private Lab</c:v>
                </c:pt>
                <c:pt idx="378">
                  <c:v>Lactalis: A</c:v>
                </c:pt>
                <c:pt idx="379">
                  <c:v>Lou Perac</c:v>
                </c:pt>
                <c:pt idx="380">
                  <c:v>St Moret</c:v>
                </c:pt>
                <c:pt idx="381">
                  <c:v>Private Lab</c:v>
                </c:pt>
                <c:pt idx="382">
                  <c:v>Tartare</c:v>
                </c:pt>
                <c:pt idx="383">
                  <c:v>Paysan Bret</c:v>
                </c:pt>
                <c:pt idx="384">
                  <c:v>Boursin</c:v>
                </c:pt>
                <c:pt idx="385">
                  <c:v>Pave D'Affi</c:v>
                </c:pt>
                <c:pt idx="386">
                  <c:v>St Moret</c:v>
                </c:pt>
                <c:pt idx="387">
                  <c:v>Fauquet</c:v>
                </c:pt>
                <c:pt idx="388">
                  <c:v>Entremont</c:v>
                </c:pt>
                <c:pt idx="389">
                  <c:v>Galbani</c:v>
                </c:pt>
                <c:pt idx="390">
                  <c:v>Le Rustique</c:v>
                </c:pt>
                <c:pt idx="391">
                  <c:v>All Others</c:v>
                </c:pt>
                <c:pt idx="392">
                  <c:v>Eurial Autr</c:v>
                </c:pt>
                <c:pt idx="393">
                  <c:v>Private Lab</c:v>
                </c:pt>
                <c:pt idx="394">
                  <c:v>All Others</c:v>
                </c:pt>
                <c:pt idx="395">
                  <c:v>Casa Azzurr</c:v>
                </c:pt>
                <c:pt idx="396">
                  <c:v>Private Lab</c:v>
                </c:pt>
                <c:pt idx="397">
                  <c:v>Private Lab</c:v>
                </c:pt>
                <c:pt idx="398">
                  <c:v>Casa Azzurr</c:v>
                </c:pt>
                <c:pt idx="399">
                  <c:v>Leerdammer</c:v>
                </c:pt>
                <c:pt idx="400">
                  <c:v>Private Lab</c:v>
                </c:pt>
                <c:pt idx="401">
                  <c:v>All Others</c:v>
                </c:pt>
                <c:pt idx="402">
                  <c:v>All Others</c:v>
                </c:pt>
                <c:pt idx="403">
                  <c:v>Private Lab</c:v>
                </c:pt>
                <c:pt idx="404">
                  <c:v>Societe</c:v>
                </c:pt>
                <c:pt idx="405">
                  <c:v>Galbani</c:v>
                </c:pt>
                <c:pt idx="406">
                  <c:v>Kiri</c:v>
                </c:pt>
                <c:pt idx="407">
                  <c:v>Soignon</c:v>
                </c:pt>
                <c:pt idx="408">
                  <c:v>Tartare</c:v>
                </c:pt>
                <c:pt idx="409">
                  <c:v>Galbani</c:v>
                </c:pt>
                <c:pt idx="410">
                  <c:v>Private Lab</c:v>
                </c:pt>
                <c:pt idx="411">
                  <c:v>Boursin</c:v>
                </c:pt>
                <c:pt idx="412">
                  <c:v>All Others</c:v>
                </c:pt>
                <c:pt idx="413">
                  <c:v>Private Lab</c:v>
                </c:pt>
                <c:pt idx="414">
                  <c:v>Boursin</c:v>
                </c:pt>
                <c:pt idx="415">
                  <c:v>Aperivrais</c:v>
                </c:pt>
                <c:pt idx="416">
                  <c:v>All Others</c:v>
                </c:pt>
                <c:pt idx="417">
                  <c:v>Eurial Autr</c:v>
                </c:pt>
                <c:pt idx="418">
                  <c:v>Vieux Pane</c:v>
                </c:pt>
                <c:pt idx="419">
                  <c:v>Fol Epi</c:v>
                </c:pt>
                <c:pt idx="420">
                  <c:v>Private Lab</c:v>
                </c:pt>
                <c:pt idx="421">
                  <c:v>Aperivrais</c:v>
                </c:pt>
                <c:pt idx="422">
                  <c:v>Etorki</c:v>
                </c:pt>
                <c:pt idx="423">
                  <c:v>Boursin</c:v>
                </c:pt>
                <c:pt idx="424">
                  <c:v>Savencia: A</c:v>
                </c:pt>
                <c:pt idx="425">
                  <c:v>Boursin</c:v>
                </c:pt>
                <c:pt idx="426">
                  <c:v>Boursin</c:v>
                </c:pt>
                <c:pt idx="427">
                  <c:v>Casa Azzurr</c:v>
                </c:pt>
                <c:pt idx="428">
                  <c:v>Private Lab</c:v>
                </c:pt>
                <c:pt idx="429">
                  <c:v>Private Lab</c:v>
                </c:pt>
                <c:pt idx="430">
                  <c:v>All Others</c:v>
                </c:pt>
                <c:pt idx="431">
                  <c:v>All Others</c:v>
                </c:pt>
                <c:pt idx="432">
                  <c:v>Salakis</c:v>
                </c:pt>
                <c:pt idx="433">
                  <c:v>Mini Babybe</c:v>
                </c:pt>
                <c:pt idx="434">
                  <c:v>Private Lab</c:v>
                </c:pt>
                <c:pt idx="435">
                  <c:v>Vieux Pane</c:v>
                </c:pt>
                <c:pt idx="436">
                  <c:v>St Moret</c:v>
                </c:pt>
                <c:pt idx="437">
                  <c:v>Private Lab</c:v>
                </c:pt>
                <c:pt idx="438">
                  <c:v>Societe</c:v>
                </c:pt>
                <c:pt idx="439">
                  <c:v>Private Lab</c:v>
                </c:pt>
                <c:pt idx="440">
                  <c:v>Islos</c:v>
                </c:pt>
                <c:pt idx="441">
                  <c:v>Savencia: A</c:v>
                </c:pt>
                <c:pt idx="442">
                  <c:v>Private Lab</c:v>
                </c:pt>
                <c:pt idx="443">
                  <c:v>All Others</c:v>
                </c:pt>
                <c:pt idx="444">
                  <c:v>Caprice Des</c:v>
                </c:pt>
                <c:pt idx="445">
                  <c:v>Apericube</c:v>
                </c:pt>
                <c:pt idx="446">
                  <c:v>Lou Perac</c:v>
                </c:pt>
                <c:pt idx="447">
                  <c:v>La Belle Et</c:v>
                </c:pt>
                <c:pt idx="448">
                  <c:v>Leerdammer</c:v>
                </c:pt>
                <c:pt idx="449">
                  <c:v>All Others</c:v>
                </c:pt>
                <c:pt idx="450">
                  <c:v>Casa Azzurr</c:v>
                </c:pt>
                <c:pt idx="451">
                  <c:v>Casa Azzurr</c:v>
                </c:pt>
                <c:pt idx="452">
                  <c:v>Islos</c:v>
                </c:pt>
                <c:pt idx="453">
                  <c:v>Pave D'Affi</c:v>
                </c:pt>
                <c:pt idx="454">
                  <c:v>Private Lab</c:v>
                </c:pt>
                <c:pt idx="455">
                  <c:v>Galbani</c:v>
                </c:pt>
                <c:pt idx="456">
                  <c:v>Private Lab</c:v>
                </c:pt>
                <c:pt idx="457">
                  <c:v>Caprice Des</c:v>
                </c:pt>
                <c:pt idx="458">
                  <c:v>Boursin</c:v>
                </c:pt>
                <c:pt idx="459">
                  <c:v>Lactalis: A</c:v>
                </c:pt>
                <c:pt idx="460">
                  <c:v>Saint Agur</c:v>
                </c:pt>
                <c:pt idx="461">
                  <c:v>Coeur De Li</c:v>
                </c:pt>
                <c:pt idx="462">
                  <c:v>Juraflore</c:v>
                </c:pt>
                <c:pt idx="463">
                  <c:v>President</c:v>
                </c:pt>
                <c:pt idx="464">
                  <c:v>Private Lab</c:v>
                </c:pt>
                <c:pt idx="465">
                  <c:v>President</c:v>
                </c:pt>
                <c:pt idx="466">
                  <c:v>Etoile Du V</c:v>
                </c:pt>
                <c:pt idx="467">
                  <c:v>Lou Perac</c:v>
                </c:pt>
                <c:pt idx="468">
                  <c:v>Les Mousque</c:v>
                </c:pt>
                <c:pt idx="469">
                  <c:v>Kiri</c:v>
                </c:pt>
                <c:pt idx="470">
                  <c:v>Private Lab</c:v>
                </c:pt>
                <c:pt idx="471">
                  <c:v>La Vache Qu</c:v>
                </c:pt>
                <c:pt idx="472">
                  <c:v>Private Lab</c:v>
                </c:pt>
                <c:pt idx="473">
                  <c:v>Paysan Bret</c:v>
                </c:pt>
                <c:pt idx="474">
                  <c:v>Paysan Bret</c:v>
                </c:pt>
                <c:pt idx="475">
                  <c:v>Private Lab</c:v>
                </c:pt>
                <c:pt idx="476">
                  <c:v>Bresse Bleu</c:v>
                </c:pt>
                <c:pt idx="477">
                  <c:v>Le Coq Crem</c:v>
                </c:pt>
                <c:pt idx="478">
                  <c:v>Private Lab</c:v>
                </c:pt>
                <c:pt idx="479">
                  <c:v>L'Ortolan</c:v>
                </c:pt>
                <c:pt idx="480">
                  <c:v>Tartare</c:v>
                </c:pt>
                <c:pt idx="481">
                  <c:v>All Others</c:v>
                </c:pt>
                <c:pt idx="482">
                  <c:v>Istara</c:v>
                </c:pt>
                <c:pt idx="483">
                  <c:v>All Others</c:v>
                </c:pt>
                <c:pt idx="484">
                  <c:v>Lactalis: A</c:v>
                </c:pt>
                <c:pt idx="485">
                  <c:v>Fol Epi</c:v>
                </c:pt>
                <c:pt idx="486">
                  <c:v>Private Lab</c:v>
                </c:pt>
                <c:pt idx="487">
                  <c:v>Private Lab</c:v>
                </c:pt>
                <c:pt idx="488">
                  <c:v>Pochat</c:v>
                </c:pt>
                <c:pt idx="489">
                  <c:v>All Others</c:v>
                </c:pt>
                <c:pt idx="490">
                  <c:v>Tartare</c:v>
                </c:pt>
                <c:pt idx="491">
                  <c:v>Juraflore</c:v>
                </c:pt>
                <c:pt idx="492">
                  <c:v>Salakis</c:v>
                </c:pt>
                <c:pt idx="493">
                  <c:v>All Others</c:v>
                </c:pt>
                <c:pt idx="494">
                  <c:v>Casa Azzurr</c:v>
                </c:pt>
                <c:pt idx="495">
                  <c:v>Tartare</c:v>
                </c:pt>
                <c:pt idx="496">
                  <c:v>Private Lab</c:v>
                </c:pt>
                <c:pt idx="497">
                  <c:v>Paysan Bret</c:v>
                </c:pt>
                <c:pt idx="498">
                  <c:v>Private Lab</c:v>
                </c:pt>
                <c:pt idx="499">
                  <c:v>All Others</c:v>
                </c:pt>
                <c:pt idx="500">
                  <c:v>L'Ortolan</c:v>
                </c:pt>
                <c:pt idx="501">
                  <c:v>La Belle Et</c:v>
                </c:pt>
                <c:pt idx="502">
                  <c:v>Private Lab</c:v>
                </c:pt>
                <c:pt idx="503">
                  <c:v>Private Lab</c:v>
                </c:pt>
                <c:pt idx="504">
                  <c:v>President</c:v>
                </c:pt>
                <c:pt idx="505">
                  <c:v>Entremont</c:v>
                </c:pt>
                <c:pt idx="506">
                  <c:v>St Moret</c:v>
                </c:pt>
                <c:pt idx="507">
                  <c:v>All Others</c:v>
                </c:pt>
                <c:pt idx="508">
                  <c:v>All Others</c:v>
                </c:pt>
                <c:pt idx="509">
                  <c:v>Soignon</c:v>
                </c:pt>
                <c:pt idx="510">
                  <c:v>All Others</c:v>
                </c:pt>
                <c:pt idx="511">
                  <c:v>All Others</c:v>
                </c:pt>
                <c:pt idx="512">
                  <c:v>Savencia: A</c:v>
                </c:pt>
                <c:pt idx="513">
                  <c:v>All Others</c:v>
                </c:pt>
                <c:pt idx="514">
                  <c:v>Private Lab</c:v>
                </c:pt>
                <c:pt idx="515">
                  <c:v>All Others</c:v>
                </c:pt>
                <c:pt idx="516">
                  <c:v>All Others</c:v>
                </c:pt>
                <c:pt idx="517">
                  <c:v>All Others</c:v>
                </c:pt>
                <c:pt idx="518">
                  <c:v>Paysan Bret</c:v>
                </c:pt>
                <c:pt idx="519">
                  <c:v>Galbani</c:v>
                </c:pt>
                <c:pt idx="520">
                  <c:v>Private Lab</c:v>
                </c:pt>
                <c:pt idx="521">
                  <c:v>Corsica</c:v>
                </c:pt>
                <c:pt idx="522">
                  <c:v>Le Saint Am</c:v>
                </c:pt>
                <c:pt idx="523">
                  <c:v>All Others</c:v>
                </c:pt>
                <c:pt idx="524">
                  <c:v>Les Mousque</c:v>
                </c:pt>
                <c:pt idx="525">
                  <c:v>All Others</c:v>
                </c:pt>
                <c:pt idx="526">
                  <c:v>Soignon</c:v>
                </c:pt>
                <c:pt idx="527">
                  <c:v>Savencia: A</c:v>
                </c:pt>
                <c:pt idx="528">
                  <c:v>Mini Babybe</c:v>
                </c:pt>
                <c:pt idx="529">
                  <c:v>Boursin</c:v>
                </c:pt>
                <c:pt idx="530">
                  <c:v>Lactalis: A</c:v>
                </c:pt>
                <c:pt idx="531">
                  <c:v>President</c:v>
                </c:pt>
                <c:pt idx="532">
                  <c:v>All Others</c:v>
                </c:pt>
                <c:pt idx="533">
                  <c:v>Paysan Bret</c:v>
                </c:pt>
                <c:pt idx="534">
                  <c:v>Savencia: A</c:v>
                </c:pt>
                <c:pt idx="535">
                  <c:v>All Others</c:v>
                </c:pt>
                <c:pt idx="536">
                  <c:v>All Others</c:v>
                </c:pt>
                <c:pt idx="537">
                  <c:v>Cousteron</c:v>
                </c:pt>
                <c:pt idx="538">
                  <c:v>President</c:v>
                </c:pt>
                <c:pt idx="539">
                  <c:v>Kiri</c:v>
                </c:pt>
                <c:pt idx="540">
                  <c:v>All Others</c:v>
                </c:pt>
                <c:pt idx="541">
                  <c:v>Galbani</c:v>
                </c:pt>
                <c:pt idx="542">
                  <c:v>Bresse Bleu</c:v>
                </c:pt>
                <c:pt idx="543">
                  <c:v>Pochat</c:v>
                </c:pt>
                <c:pt idx="544">
                  <c:v>Eurial Autr</c:v>
                </c:pt>
                <c:pt idx="545">
                  <c:v>P'Tit Louis</c:v>
                </c:pt>
                <c:pt idx="546">
                  <c:v>All Others</c:v>
                </c:pt>
                <c:pt idx="547">
                  <c:v>Soignon</c:v>
                </c:pt>
                <c:pt idx="548">
                  <c:v>Raguin</c:v>
                </c:pt>
                <c:pt idx="549">
                  <c:v>All Others</c:v>
                </c:pt>
                <c:pt idx="550">
                  <c:v>Private Lab</c:v>
                </c:pt>
                <c:pt idx="551">
                  <c:v>Milleret: A</c:v>
                </c:pt>
                <c:pt idx="552">
                  <c:v>All Others</c:v>
                </c:pt>
                <c:pt idx="553">
                  <c:v>All Others</c:v>
                </c:pt>
                <c:pt idx="554">
                  <c:v>Entremont</c:v>
                </c:pt>
                <c:pt idx="555">
                  <c:v>All Others</c:v>
                </c:pt>
                <c:pt idx="556">
                  <c:v>Apericube</c:v>
                </c:pt>
                <c:pt idx="557">
                  <c:v>Etoile Du Q</c:v>
                </c:pt>
                <c:pt idx="558">
                  <c:v>All Others</c:v>
                </c:pt>
                <c:pt idx="559">
                  <c:v>All Others</c:v>
                </c:pt>
                <c:pt idx="560">
                  <c:v>Triballat N</c:v>
                </c:pt>
                <c:pt idx="561">
                  <c:v>Savencia: A</c:v>
                </c:pt>
                <c:pt idx="562">
                  <c:v>Savencia: A</c:v>
                </c:pt>
                <c:pt idx="563">
                  <c:v>Richesmonts</c:v>
                </c:pt>
                <c:pt idx="564">
                  <c:v>President</c:v>
                </c:pt>
                <c:pt idx="565">
                  <c:v>Boursin</c:v>
                </c:pt>
                <c:pt idx="566">
                  <c:v>Raguin</c:v>
                </c:pt>
                <c:pt idx="567">
                  <c:v>All Others</c:v>
                </c:pt>
                <c:pt idx="568">
                  <c:v>Lactalis: A</c:v>
                </c:pt>
                <c:pt idx="569">
                  <c:v>All Others</c:v>
                </c:pt>
                <c:pt idx="570">
                  <c:v>Richesmonts</c:v>
                </c:pt>
                <c:pt idx="571">
                  <c:v>Entremont</c:v>
                </c:pt>
                <c:pt idx="572">
                  <c:v>Apericube</c:v>
                </c:pt>
                <c:pt idx="573">
                  <c:v>Etoile Du V</c:v>
                </c:pt>
                <c:pt idx="574">
                  <c:v>Entremont</c:v>
                </c:pt>
                <c:pt idx="575">
                  <c:v>Violife</c:v>
                </c:pt>
                <c:pt idx="576">
                  <c:v>Triballat N</c:v>
                </c:pt>
                <c:pt idx="577">
                  <c:v>Chaussee Au</c:v>
                </c:pt>
                <c:pt idx="578">
                  <c:v>Saint Albra</c:v>
                </c:pt>
                <c:pt idx="579">
                  <c:v>Soignon</c:v>
                </c:pt>
                <c:pt idx="580">
                  <c:v>Private Lab</c:v>
                </c:pt>
                <c:pt idx="581">
                  <c:v>Entremont</c:v>
                </c:pt>
                <c:pt idx="582">
                  <c:v>All Others</c:v>
                </c:pt>
                <c:pt idx="583">
                  <c:v>Boursin</c:v>
                </c:pt>
                <c:pt idx="584">
                  <c:v>Caprice Des</c:v>
                </c:pt>
                <c:pt idx="585">
                  <c:v>Chavroux</c:v>
                </c:pt>
                <c:pt idx="586">
                  <c:v>All Others</c:v>
                </c:pt>
                <c:pt idx="587">
                  <c:v>All Others</c:v>
                </c:pt>
                <c:pt idx="588">
                  <c:v>All Others</c:v>
                </c:pt>
                <c:pt idx="589">
                  <c:v>Lactalis: A</c:v>
                </c:pt>
                <c:pt idx="590">
                  <c:v>All Others</c:v>
                </c:pt>
                <c:pt idx="591">
                  <c:v>Private Lab</c:v>
                </c:pt>
                <c:pt idx="592">
                  <c:v>Etorki</c:v>
                </c:pt>
                <c:pt idx="593">
                  <c:v>Paysan Bret</c:v>
                </c:pt>
                <c:pt idx="594">
                  <c:v>Private Lab</c:v>
                </c:pt>
                <c:pt idx="595">
                  <c:v>All Others</c:v>
                </c:pt>
                <c:pt idx="596">
                  <c:v>L'Ortolan</c:v>
                </c:pt>
                <c:pt idx="597">
                  <c:v>All Others</c:v>
                </c:pt>
                <c:pt idx="598">
                  <c:v>La Belle Et</c:v>
                </c:pt>
                <c:pt idx="599">
                  <c:v>All Others</c:v>
                </c:pt>
                <c:pt idx="600">
                  <c:v>Private Lab</c:v>
                </c:pt>
                <c:pt idx="601">
                  <c:v>Boursin</c:v>
                </c:pt>
                <c:pt idx="602">
                  <c:v>Raguin</c:v>
                </c:pt>
                <c:pt idx="603">
                  <c:v>Raguin</c:v>
                </c:pt>
                <c:pt idx="604">
                  <c:v>Etoile Du V</c:v>
                </c:pt>
                <c:pt idx="605">
                  <c:v>Chavroux</c:v>
                </c:pt>
                <c:pt idx="606">
                  <c:v>Carre Frais</c:v>
                </c:pt>
                <c:pt idx="607">
                  <c:v>Le Brebiou</c:v>
                </c:pt>
                <c:pt idx="608">
                  <c:v>Salakis</c:v>
                </c:pt>
                <c:pt idx="609">
                  <c:v>Triballat N</c:v>
                </c:pt>
                <c:pt idx="610">
                  <c:v>All Others</c:v>
                </c:pt>
                <c:pt idx="611">
                  <c:v>All Others</c:v>
                </c:pt>
                <c:pt idx="612">
                  <c:v>Richesmonts</c:v>
                </c:pt>
                <c:pt idx="613">
                  <c:v>Societe</c:v>
                </c:pt>
                <c:pt idx="614">
                  <c:v>Lactalis: A</c:v>
                </c:pt>
                <c:pt idx="615">
                  <c:v>All Others</c:v>
                </c:pt>
                <c:pt idx="616">
                  <c:v>Milleret: A</c:v>
                </c:pt>
                <c:pt idx="617">
                  <c:v>Lactalis: A</c:v>
                </c:pt>
                <c:pt idx="618">
                  <c:v>All Others</c:v>
                </c:pt>
                <c:pt idx="619">
                  <c:v>Paysan Bret</c:v>
                </c:pt>
                <c:pt idx="620">
                  <c:v>All Others</c:v>
                </c:pt>
                <c:pt idx="621">
                  <c:v>All Others</c:v>
                </c:pt>
                <c:pt idx="622">
                  <c:v>All Others</c:v>
                </c:pt>
                <c:pt idx="623">
                  <c:v>Entremont</c:v>
                </c:pt>
                <c:pt idx="624">
                  <c:v>All Others</c:v>
                </c:pt>
                <c:pt idx="625">
                  <c:v>Paysan Bret</c:v>
                </c:pt>
                <c:pt idx="626">
                  <c:v>Entremont</c:v>
                </c:pt>
                <c:pt idx="627">
                  <c:v>Societe</c:v>
                </c:pt>
                <c:pt idx="628">
                  <c:v>Savencia: A</c:v>
                </c:pt>
                <c:pt idx="629">
                  <c:v>All Others</c:v>
                </c:pt>
                <c:pt idx="630">
                  <c:v>All Others</c:v>
                </c:pt>
                <c:pt idx="631">
                  <c:v>Fauquet</c:v>
                </c:pt>
                <c:pt idx="632">
                  <c:v>All Others</c:v>
                </c:pt>
                <c:pt idx="633">
                  <c:v>All Others</c:v>
                </c:pt>
                <c:pt idx="634">
                  <c:v>All Others</c:v>
                </c:pt>
                <c:pt idx="635">
                  <c:v>All Others</c:v>
                </c:pt>
                <c:pt idx="636">
                  <c:v>Salakis</c:v>
                </c:pt>
                <c:pt idx="637">
                  <c:v>Lactalis: A</c:v>
                </c:pt>
                <c:pt idx="638">
                  <c:v>All Others</c:v>
                </c:pt>
                <c:pt idx="639">
                  <c:v>Milleret: A</c:v>
                </c:pt>
                <c:pt idx="640">
                  <c:v>Milleret: A</c:v>
                </c:pt>
                <c:pt idx="641">
                  <c:v>All Others</c:v>
                </c:pt>
                <c:pt idx="642">
                  <c:v>All Others</c:v>
                </c:pt>
                <c:pt idx="643">
                  <c:v>All Others</c:v>
                </c:pt>
                <c:pt idx="644">
                  <c:v>All Others</c:v>
                </c:pt>
                <c:pt idx="645">
                  <c:v>Istara</c:v>
                </c:pt>
                <c:pt idx="646">
                  <c:v>All Others</c:v>
                </c:pt>
                <c:pt idx="647">
                  <c:v>Savencia: A</c:v>
                </c:pt>
                <c:pt idx="648">
                  <c:v>All Others</c:v>
                </c:pt>
                <c:pt idx="649">
                  <c:v>Lactalis: A</c:v>
                </c:pt>
                <c:pt idx="650">
                  <c:v>Les Mousque</c:v>
                </c:pt>
                <c:pt idx="651">
                  <c:v>Milleret: A</c:v>
                </c:pt>
                <c:pt idx="652">
                  <c:v>All Others</c:v>
                </c:pt>
                <c:pt idx="653">
                  <c:v>President</c:v>
                </c:pt>
                <c:pt idx="654">
                  <c:v>All Others</c:v>
                </c:pt>
                <c:pt idx="655">
                  <c:v>All Others</c:v>
                </c:pt>
                <c:pt idx="656">
                  <c:v>All Others</c:v>
                </c:pt>
                <c:pt idx="657">
                  <c:v>All Others</c:v>
                </c:pt>
                <c:pt idx="658">
                  <c:v>All Others</c:v>
                </c:pt>
                <c:pt idx="659">
                  <c:v>Saint Agur</c:v>
                </c:pt>
                <c:pt idx="660">
                  <c:v>Etoile Du V</c:v>
                </c:pt>
                <c:pt idx="661">
                  <c:v>All Others</c:v>
                </c:pt>
                <c:pt idx="662">
                  <c:v>All Others</c:v>
                </c:pt>
                <c:pt idx="663">
                  <c:v>All Others</c:v>
                </c:pt>
                <c:pt idx="664">
                  <c:v>Casa Azzurr</c:v>
                </c:pt>
                <c:pt idx="665">
                  <c:v>Nurishh</c:v>
                </c:pt>
                <c:pt idx="666">
                  <c:v>Aperivrais</c:v>
                </c:pt>
                <c:pt idx="667">
                  <c:v>All Others</c:v>
                </c:pt>
                <c:pt idx="668">
                  <c:v>All Others</c:v>
                </c:pt>
                <c:pt idx="669">
                  <c:v>All Others</c:v>
                </c:pt>
                <c:pt idx="670">
                  <c:v>All Others</c:v>
                </c:pt>
                <c:pt idx="671">
                  <c:v>All Others</c:v>
                </c:pt>
                <c:pt idx="672">
                  <c:v>Violife</c:v>
                </c:pt>
                <c:pt idx="673">
                  <c:v>All Others</c:v>
                </c:pt>
                <c:pt idx="674">
                  <c:v>All Others</c:v>
                </c:pt>
                <c:pt idx="675">
                  <c:v>La Belle Et</c:v>
                </c:pt>
                <c:pt idx="676">
                  <c:v>Violife</c:v>
                </c:pt>
                <c:pt idx="677">
                  <c:v>All Others</c:v>
                </c:pt>
                <c:pt idx="678">
                  <c:v>Private Lab</c:v>
                </c:pt>
                <c:pt idx="679">
                  <c:v>Tartare</c:v>
                </c:pt>
                <c:pt idx="680">
                  <c:v>Paysan Bret</c:v>
                </c:pt>
                <c:pt idx="681">
                  <c:v>All Others</c:v>
                </c:pt>
                <c:pt idx="682">
                  <c:v>All Others</c:v>
                </c:pt>
                <c:pt idx="683">
                  <c:v>All Others</c:v>
                </c:pt>
                <c:pt idx="684">
                  <c:v>All Others</c:v>
                </c:pt>
                <c:pt idx="685">
                  <c:v>All Others</c:v>
                </c:pt>
                <c:pt idx="686">
                  <c:v>All Others</c:v>
                </c:pt>
                <c:pt idx="687">
                  <c:v>All Others</c:v>
                </c:pt>
                <c:pt idx="688">
                  <c:v>Etoile Du V</c:v>
                </c:pt>
                <c:pt idx="689">
                  <c:v>All Others</c:v>
                </c:pt>
                <c:pt idx="690">
                  <c:v>All Others</c:v>
                </c:pt>
                <c:pt idx="691">
                  <c:v>All Others</c:v>
                </c:pt>
                <c:pt idx="692">
                  <c:v>All Others</c:v>
                </c:pt>
                <c:pt idx="693">
                  <c:v>All Others</c:v>
                </c:pt>
                <c:pt idx="694">
                  <c:v>Etoile Du V</c:v>
                </c:pt>
                <c:pt idx="695">
                  <c:v>Lactalis: A</c:v>
                </c:pt>
                <c:pt idx="696">
                  <c:v>All Others</c:v>
                </c:pt>
                <c:pt idx="697">
                  <c:v>All Others</c:v>
                </c:pt>
                <c:pt idx="698">
                  <c:v>Nurishh</c:v>
                </c:pt>
                <c:pt idx="699">
                  <c:v>All Others</c:v>
                </c:pt>
                <c:pt idx="700">
                  <c:v>Triballat N</c:v>
                </c:pt>
                <c:pt idx="701">
                  <c:v>Milleret: A</c:v>
                </c:pt>
                <c:pt idx="702">
                  <c:v>All Others</c:v>
                </c:pt>
                <c:pt idx="703">
                  <c:v>Rians</c:v>
                </c:pt>
                <c:pt idx="704">
                  <c:v>All Others</c:v>
                </c:pt>
                <c:pt idx="705">
                  <c:v>All Others</c:v>
                </c:pt>
                <c:pt idx="706">
                  <c:v>Savencia: A</c:v>
                </c:pt>
                <c:pt idx="707">
                  <c:v>Savencia: A</c:v>
                </c:pt>
                <c:pt idx="708">
                  <c:v>All Others</c:v>
                </c:pt>
                <c:pt idx="709">
                  <c:v>All Others</c:v>
                </c:pt>
                <c:pt idx="710">
                  <c:v>L'Ortolan</c:v>
                </c:pt>
                <c:pt idx="711">
                  <c:v>All Others</c:v>
                </c:pt>
                <c:pt idx="712">
                  <c:v>All Others</c:v>
                </c:pt>
                <c:pt idx="713">
                  <c:v>All Others</c:v>
                </c:pt>
                <c:pt idx="714">
                  <c:v>All Others</c:v>
                </c:pt>
                <c:pt idx="715">
                  <c:v>Entremont</c:v>
                </c:pt>
                <c:pt idx="716">
                  <c:v>All Others</c:v>
                </c:pt>
                <c:pt idx="717">
                  <c:v>La Belle Et</c:v>
                </c:pt>
                <c:pt idx="718">
                  <c:v>All Others</c:v>
                </c:pt>
                <c:pt idx="719">
                  <c:v>All Others</c:v>
                </c:pt>
                <c:pt idx="720">
                  <c:v>All Others</c:v>
                </c:pt>
                <c:pt idx="721">
                  <c:v>All Others</c:v>
                </c:pt>
                <c:pt idx="722">
                  <c:v>All Others</c:v>
                </c:pt>
                <c:pt idx="723">
                  <c:v>All Others</c:v>
                </c:pt>
                <c:pt idx="724">
                  <c:v>All Others</c:v>
                </c:pt>
                <c:pt idx="725">
                  <c:v>Entremont</c:v>
                </c:pt>
                <c:pt idx="726">
                  <c:v>Etoile Du V</c:v>
                </c:pt>
                <c:pt idx="727">
                  <c:v>All Others</c:v>
                </c:pt>
                <c:pt idx="728">
                  <c:v>All Others</c:v>
                </c:pt>
                <c:pt idx="729">
                  <c:v>Etoile Du V</c:v>
                </c:pt>
                <c:pt idx="730">
                  <c:v>All Others</c:v>
                </c:pt>
                <c:pt idx="731">
                  <c:v>Lactalis: A</c:v>
                </c:pt>
                <c:pt idx="732">
                  <c:v>All Others</c:v>
                </c:pt>
                <c:pt idx="733">
                  <c:v>All Others</c:v>
                </c:pt>
                <c:pt idx="734">
                  <c:v>All Others</c:v>
                </c:pt>
                <c:pt idx="735">
                  <c:v>All Others</c:v>
                </c:pt>
                <c:pt idx="736">
                  <c:v>All Others</c:v>
                </c:pt>
                <c:pt idx="737">
                  <c:v>Lactalis: A</c:v>
                </c:pt>
                <c:pt idx="738">
                  <c:v>All Others</c:v>
                </c:pt>
                <c:pt idx="739">
                  <c:v>All Others</c:v>
                </c:pt>
                <c:pt idx="740">
                  <c:v>All Others</c:v>
                </c:pt>
                <c:pt idx="741">
                  <c:v>All Others</c:v>
                </c:pt>
                <c:pt idx="742">
                  <c:v>All Others</c:v>
                </c:pt>
                <c:pt idx="743">
                  <c:v>All Others</c:v>
                </c:pt>
                <c:pt idx="744">
                  <c:v>All Others</c:v>
                </c:pt>
                <c:pt idx="745">
                  <c:v>All Others</c:v>
                </c:pt>
                <c:pt idx="746">
                  <c:v>All Others</c:v>
                </c:pt>
                <c:pt idx="747">
                  <c:v>All Others</c:v>
                </c:pt>
                <c:pt idx="748">
                  <c:v>Soignon</c:v>
                </c:pt>
                <c:pt idx="749">
                  <c:v>All Others</c:v>
                </c:pt>
                <c:pt idx="750">
                  <c:v>All Others</c:v>
                </c:pt>
                <c:pt idx="751">
                  <c:v>All Others</c:v>
                </c:pt>
                <c:pt idx="752">
                  <c:v>Private Lab</c:v>
                </c:pt>
                <c:pt idx="753">
                  <c:v>All Others</c:v>
                </c:pt>
                <c:pt idx="754">
                  <c:v>Paysan Bret</c:v>
                </c:pt>
                <c:pt idx="755">
                  <c:v>All Others</c:v>
                </c:pt>
                <c:pt idx="756">
                  <c:v>Savencia: A</c:v>
                </c:pt>
                <c:pt idx="757">
                  <c:v>All Others</c:v>
                </c:pt>
                <c:pt idx="758">
                  <c:v>All Others</c:v>
                </c:pt>
                <c:pt idx="759">
                  <c:v>All Others</c:v>
                </c:pt>
                <c:pt idx="760">
                  <c:v>Entremont</c:v>
                </c:pt>
                <c:pt idx="761">
                  <c:v>All Others</c:v>
                </c:pt>
                <c:pt idx="762">
                  <c:v>All Others</c:v>
                </c:pt>
                <c:pt idx="763">
                  <c:v>All Others</c:v>
                </c:pt>
                <c:pt idx="764">
                  <c:v>All Others</c:v>
                </c:pt>
                <c:pt idx="765">
                  <c:v>All Others</c:v>
                </c:pt>
                <c:pt idx="766">
                  <c:v>All Others</c:v>
                </c:pt>
                <c:pt idx="767">
                  <c:v>Fol Epi</c:v>
                </c:pt>
                <c:pt idx="768">
                  <c:v>All Others</c:v>
                </c:pt>
                <c:pt idx="769">
                  <c:v>All Others</c:v>
                </c:pt>
                <c:pt idx="770">
                  <c:v>All Others</c:v>
                </c:pt>
                <c:pt idx="771">
                  <c:v>Casa Azzurr</c:v>
                </c:pt>
                <c:pt idx="772">
                  <c:v>La Belle Et</c:v>
                </c:pt>
                <c:pt idx="773">
                  <c:v>All Others</c:v>
                </c:pt>
                <c:pt idx="774">
                  <c:v>Nurishh</c:v>
                </c:pt>
                <c:pt idx="775">
                  <c:v>All Others</c:v>
                </c:pt>
                <c:pt idx="776">
                  <c:v>All Others</c:v>
                </c:pt>
                <c:pt idx="777">
                  <c:v>Milleret: A</c:v>
                </c:pt>
                <c:pt idx="778">
                  <c:v>All Others</c:v>
                </c:pt>
                <c:pt idx="779">
                  <c:v>La Belle Et</c:v>
                </c:pt>
                <c:pt idx="780">
                  <c:v>All Others</c:v>
                </c:pt>
                <c:pt idx="781">
                  <c:v>All Others</c:v>
                </c:pt>
                <c:pt idx="782">
                  <c:v>All Others</c:v>
                </c:pt>
                <c:pt idx="783">
                  <c:v>All Others</c:v>
                </c:pt>
                <c:pt idx="784">
                  <c:v>All Others</c:v>
                </c:pt>
                <c:pt idx="785">
                  <c:v>Nurishh</c:v>
                </c:pt>
                <c:pt idx="786">
                  <c:v>All Others</c:v>
                </c:pt>
                <c:pt idx="787">
                  <c:v>All Others</c:v>
                </c:pt>
                <c:pt idx="788">
                  <c:v>All Others</c:v>
                </c:pt>
                <c:pt idx="789">
                  <c:v>All Others</c:v>
                </c:pt>
                <c:pt idx="790">
                  <c:v>All Others</c:v>
                </c:pt>
                <c:pt idx="791">
                  <c:v>All Others</c:v>
                </c:pt>
                <c:pt idx="792">
                  <c:v>All Others</c:v>
                </c:pt>
                <c:pt idx="793">
                  <c:v>Nurishh</c:v>
                </c:pt>
                <c:pt idx="794">
                  <c:v>All Others</c:v>
                </c:pt>
                <c:pt idx="795">
                  <c:v>La Belle Et</c:v>
                </c:pt>
                <c:pt idx="796">
                  <c:v>Lactalis: A</c:v>
                </c:pt>
                <c:pt idx="797">
                  <c:v>All Others</c:v>
                </c:pt>
                <c:pt idx="798">
                  <c:v>Violife</c:v>
                </c:pt>
                <c:pt idx="799">
                  <c:v>All Others</c:v>
                </c:pt>
                <c:pt idx="800">
                  <c:v>All Others</c:v>
                </c:pt>
                <c:pt idx="801">
                  <c:v>All Others</c:v>
                </c:pt>
                <c:pt idx="802">
                  <c:v>All Others</c:v>
                </c:pt>
                <c:pt idx="803">
                  <c:v>La Belle Et</c:v>
                </c:pt>
                <c:pt idx="804">
                  <c:v>Nurishh</c:v>
                </c:pt>
                <c:pt idx="805">
                  <c:v>Other Suppl</c:v>
                </c:pt>
                <c:pt idx="806">
                  <c:v>All Others</c:v>
                </c:pt>
                <c:pt idx="807">
                  <c:v>All Others</c:v>
                </c:pt>
                <c:pt idx="808">
                  <c:v>All Others</c:v>
                </c:pt>
                <c:pt idx="809">
                  <c:v>All Others</c:v>
                </c:pt>
                <c:pt idx="810">
                  <c:v>All Others</c:v>
                </c:pt>
                <c:pt idx="811">
                  <c:v>Aperivrais</c:v>
                </c:pt>
                <c:pt idx="812">
                  <c:v>All Others</c:v>
                </c:pt>
                <c:pt idx="813">
                  <c:v>All Others</c:v>
                </c:pt>
                <c:pt idx="814">
                  <c:v>Private Lab</c:v>
                </c:pt>
                <c:pt idx="815">
                  <c:v>All Others</c:v>
                </c:pt>
                <c:pt idx="816">
                  <c:v>All Others</c:v>
                </c:pt>
                <c:pt idx="817">
                  <c:v>All Others</c:v>
                </c:pt>
                <c:pt idx="818">
                  <c:v>Milleret</c:v>
                </c:pt>
                <c:pt idx="819">
                  <c:v>Tartare</c:v>
                </c:pt>
                <c:pt idx="820">
                  <c:v>All Others</c:v>
                </c:pt>
                <c:pt idx="821">
                  <c:v>All Others</c:v>
                </c:pt>
                <c:pt idx="822">
                  <c:v>Milleret: A</c:v>
                </c:pt>
                <c:pt idx="823">
                  <c:v>All Others</c:v>
                </c:pt>
                <c:pt idx="824">
                  <c:v>All Others</c:v>
                </c:pt>
                <c:pt idx="825">
                  <c:v>All Others</c:v>
                </c:pt>
                <c:pt idx="826">
                  <c:v>Paysan Bret</c:v>
                </c:pt>
                <c:pt idx="827">
                  <c:v>All Others</c:v>
                </c:pt>
                <c:pt idx="828">
                  <c:v>All Others</c:v>
                </c:pt>
                <c:pt idx="829">
                  <c:v>Savencia: A</c:v>
                </c:pt>
                <c:pt idx="830">
                  <c:v>All Others</c:v>
                </c:pt>
                <c:pt idx="831">
                  <c:v>All Others</c:v>
                </c:pt>
                <c:pt idx="832">
                  <c:v>All Others</c:v>
                </c:pt>
                <c:pt idx="833">
                  <c:v>All Others</c:v>
                </c:pt>
                <c:pt idx="834">
                  <c:v>All Others</c:v>
                </c:pt>
                <c:pt idx="835">
                  <c:v>All Others</c:v>
                </c:pt>
                <c:pt idx="836">
                  <c:v>Petit Billy</c:v>
                </c:pt>
                <c:pt idx="837">
                  <c:v>All Others</c:v>
                </c:pt>
                <c:pt idx="838">
                  <c:v>All Others</c:v>
                </c:pt>
                <c:pt idx="839">
                  <c:v>All Others</c:v>
                </c:pt>
                <c:pt idx="840">
                  <c:v>All Others</c:v>
                </c:pt>
                <c:pt idx="841">
                  <c:v>All Others</c:v>
                </c:pt>
                <c:pt idx="842">
                  <c:v>All Others</c:v>
                </c:pt>
                <c:pt idx="843">
                  <c:v>All Others</c:v>
                </c:pt>
                <c:pt idx="844">
                  <c:v>All Others</c:v>
                </c:pt>
                <c:pt idx="845">
                  <c:v>All Others</c:v>
                </c:pt>
                <c:pt idx="846">
                  <c:v>All Others</c:v>
                </c:pt>
                <c:pt idx="847">
                  <c:v>All Others</c:v>
                </c:pt>
                <c:pt idx="848">
                  <c:v>All Others</c:v>
                </c:pt>
                <c:pt idx="849">
                  <c:v>Corsica</c:v>
                </c:pt>
                <c:pt idx="850">
                  <c:v>Eurial Autr</c:v>
                </c:pt>
                <c:pt idx="851">
                  <c:v>All Others</c:v>
                </c:pt>
                <c:pt idx="852">
                  <c:v>All Others</c:v>
                </c:pt>
                <c:pt idx="853">
                  <c:v>All Others</c:v>
                </c:pt>
                <c:pt idx="854">
                  <c:v>All Others</c:v>
                </c:pt>
                <c:pt idx="855">
                  <c:v>All Others</c:v>
                </c:pt>
                <c:pt idx="856">
                  <c:v>Apericube</c:v>
                </c:pt>
                <c:pt idx="857">
                  <c:v>Lactalis: A</c:v>
                </c:pt>
                <c:pt idx="858">
                  <c:v>All Others</c:v>
                </c:pt>
                <c:pt idx="859">
                  <c:v>All Others</c:v>
                </c:pt>
                <c:pt idx="860">
                  <c:v>All Others</c:v>
                </c:pt>
                <c:pt idx="861">
                  <c:v>All Others</c:v>
                </c:pt>
                <c:pt idx="862">
                  <c:v>All Others</c:v>
                </c:pt>
                <c:pt idx="863">
                  <c:v>All Others</c:v>
                </c:pt>
                <c:pt idx="864">
                  <c:v>Entremont</c:v>
                </c:pt>
                <c:pt idx="865">
                  <c:v>All Others</c:v>
                </c:pt>
                <c:pt idx="866">
                  <c:v>All Others</c:v>
                </c:pt>
                <c:pt idx="867">
                  <c:v>All Others</c:v>
                </c:pt>
                <c:pt idx="868">
                  <c:v>All Others</c:v>
                </c:pt>
                <c:pt idx="869">
                  <c:v>All Others</c:v>
                </c:pt>
                <c:pt idx="870">
                  <c:v>Richesmonts</c:v>
                </c:pt>
                <c:pt idx="871">
                  <c:v>All Others</c:v>
                </c:pt>
                <c:pt idx="872">
                  <c:v>All Others</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Lactalis: A</c:v>
                </c:pt>
                <c:pt idx="883">
                  <c:v>All Others</c:v>
                </c:pt>
                <c:pt idx="884">
                  <c:v>All Others</c:v>
                </c:pt>
                <c:pt idx="885">
                  <c:v>All Others</c:v>
                </c:pt>
                <c:pt idx="886">
                  <c:v>All Others</c:v>
                </c:pt>
                <c:pt idx="887">
                  <c:v>Baillon</c:v>
                </c:pt>
                <c:pt idx="888">
                  <c:v>All Others</c:v>
                </c:pt>
                <c:pt idx="889">
                  <c:v>La Belle Et</c:v>
                </c:pt>
                <c:pt idx="890">
                  <c:v>All Others</c:v>
                </c:pt>
                <c:pt idx="891">
                  <c:v>All Others</c:v>
                </c:pt>
                <c:pt idx="892">
                  <c:v>All Others</c:v>
                </c:pt>
                <c:pt idx="893">
                  <c:v>All Others</c:v>
                </c:pt>
                <c:pt idx="894">
                  <c:v>All Others</c:v>
                </c:pt>
                <c:pt idx="895">
                  <c:v>La Belle Et</c:v>
                </c:pt>
                <c:pt idx="896">
                  <c:v>All Others</c:v>
                </c:pt>
                <c:pt idx="897">
                  <c:v>All Others</c:v>
                </c:pt>
                <c:pt idx="898">
                  <c:v>All Others</c:v>
                </c:pt>
                <c:pt idx="899">
                  <c:v>All Others</c:v>
                </c:pt>
                <c:pt idx="900">
                  <c:v>All Others</c:v>
                </c:pt>
                <c:pt idx="901">
                  <c:v>All Others</c:v>
                </c:pt>
                <c:pt idx="902">
                  <c:v>All Others</c:v>
                </c:pt>
                <c:pt idx="903">
                  <c:v>All Others</c:v>
                </c:pt>
                <c:pt idx="904">
                  <c:v>All Others</c:v>
                </c:pt>
                <c:pt idx="905">
                  <c:v>All Others</c:v>
                </c:pt>
                <c:pt idx="906">
                  <c:v>La Belle Et</c:v>
                </c:pt>
                <c:pt idx="907">
                  <c:v>All Others</c:v>
                </c:pt>
                <c:pt idx="908">
                  <c:v>All Others</c:v>
                </c:pt>
                <c:pt idx="909">
                  <c:v>All Others</c:v>
                </c:pt>
                <c:pt idx="910">
                  <c:v>All Others</c:v>
                </c:pt>
                <c:pt idx="911">
                  <c:v>La Belle Et</c:v>
                </c:pt>
                <c:pt idx="912">
                  <c:v>Lindahls Pr</c:v>
                </c:pt>
                <c:pt idx="913">
                  <c:v>All Others</c:v>
                </c:pt>
                <c:pt idx="914">
                  <c:v>All Others</c:v>
                </c:pt>
                <c:pt idx="915">
                  <c:v>All Others</c:v>
                </c:pt>
                <c:pt idx="916">
                  <c:v>Mini Babybe</c:v>
                </c:pt>
                <c:pt idx="917">
                  <c:v>All Others</c:v>
                </c:pt>
                <c:pt idx="918">
                  <c:v>All Others</c:v>
                </c:pt>
                <c:pt idx="919">
                  <c:v>All Others</c:v>
                </c:pt>
                <c:pt idx="920">
                  <c:v>Private Lab</c:v>
                </c:pt>
                <c:pt idx="921">
                  <c:v>All Others</c:v>
                </c:pt>
                <c:pt idx="922">
                  <c:v>All Others</c:v>
                </c:pt>
                <c:pt idx="923">
                  <c:v>All Others</c:v>
                </c:pt>
                <c:pt idx="924">
                  <c:v>All Others</c:v>
                </c:pt>
                <c:pt idx="925">
                  <c:v>All Others</c:v>
                </c:pt>
                <c:pt idx="926">
                  <c:v>All Others</c:v>
                </c:pt>
                <c:pt idx="927">
                  <c:v>All Others</c:v>
                </c:pt>
                <c:pt idx="928">
                  <c:v>Lactalis: A</c:v>
                </c:pt>
                <c:pt idx="929">
                  <c:v>All Others</c:v>
                </c:pt>
                <c:pt idx="930">
                  <c:v>All Others</c:v>
                </c:pt>
                <c:pt idx="931">
                  <c:v>All Others</c:v>
                </c:pt>
                <c:pt idx="932">
                  <c:v>All Others</c:v>
                </c:pt>
                <c:pt idx="933">
                  <c:v>All Others</c:v>
                </c:pt>
                <c:pt idx="934">
                  <c:v>All Others</c:v>
                </c:pt>
                <c:pt idx="935">
                  <c:v>All Others</c:v>
                </c:pt>
                <c:pt idx="936">
                  <c:v>All Others</c:v>
                </c:pt>
                <c:pt idx="937">
                  <c:v>All Others</c:v>
                </c:pt>
                <c:pt idx="938">
                  <c:v>All Others</c:v>
                </c:pt>
                <c:pt idx="939">
                  <c:v>La Table M</c:v>
                </c:pt>
                <c:pt idx="940">
                  <c:v>La Belle Et</c:v>
                </c:pt>
                <c:pt idx="941">
                  <c:v>Casa Azzurr</c:v>
                </c:pt>
                <c:pt idx="942">
                  <c:v>All Others</c:v>
                </c:pt>
                <c:pt idx="943">
                  <c:v>Entremont</c:v>
                </c:pt>
                <c:pt idx="944">
                  <c:v>All Others</c:v>
                </c:pt>
                <c:pt idx="945">
                  <c:v>Etoile Du V</c:v>
                </c:pt>
                <c:pt idx="946">
                  <c:v>All Others</c:v>
                </c:pt>
                <c:pt idx="947">
                  <c:v>All Others</c:v>
                </c:pt>
                <c:pt idx="948">
                  <c:v>Other Suppl</c:v>
                </c:pt>
                <c:pt idx="949">
                  <c:v>All Others</c:v>
                </c:pt>
                <c:pt idx="950">
                  <c:v>All Others</c:v>
                </c:pt>
                <c:pt idx="951">
                  <c:v>All Others</c:v>
                </c:pt>
                <c:pt idx="952">
                  <c:v>All Others</c:v>
                </c:pt>
                <c:pt idx="953">
                  <c:v>All Others</c:v>
                </c:pt>
                <c:pt idx="954">
                  <c:v>Lactalis: A</c:v>
                </c:pt>
                <c:pt idx="955">
                  <c:v>All Others</c:v>
                </c:pt>
                <c:pt idx="956">
                  <c:v>All Others</c:v>
                </c:pt>
                <c:pt idx="957">
                  <c:v>All Others</c:v>
                </c:pt>
                <c:pt idx="958">
                  <c:v>All Others</c:v>
                </c:pt>
                <c:pt idx="959">
                  <c:v>Paysan Bret</c:v>
                </c:pt>
                <c:pt idx="960">
                  <c:v>All Others</c:v>
                </c:pt>
                <c:pt idx="961">
                  <c:v>Dodin</c:v>
                </c:pt>
                <c:pt idx="962">
                  <c:v>La Belle Et</c:v>
                </c:pt>
                <c:pt idx="963">
                  <c:v>Paysan Bret</c:v>
                </c:pt>
                <c:pt idx="964">
                  <c:v>Raguin</c:v>
                </c:pt>
                <c:pt idx="965">
                  <c:v>All Others</c:v>
                </c:pt>
                <c:pt idx="966">
                  <c:v>All Others</c:v>
                </c:pt>
                <c:pt idx="967">
                  <c:v>All Others</c:v>
                </c:pt>
                <c:pt idx="968">
                  <c:v>All Others</c:v>
                </c:pt>
                <c:pt idx="969">
                  <c:v>L'Ortolan</c:v>
                </c:pt>
                <c:pt idx="970">
                  <c:v>All Others</c:v>
                </c:pt>
                <c:pt idx="971">
                  <c:v>All Others</c:v>
                </c:pt>
                <c:pt idx="972">
                  <c:v>All Others</c:v>
                </c:pt>
                <c:pt idx="973">
                  <c:v>Raguin</c:v>
                </c:pt>
                <c:pt idx="974">
                  <c:v>All Others</c:v>
                </c:pt>
                <c:pt idx="975">
                  <c:v>Boursin</c:v>
                </c:pt>
                <c:pt idx="976">
                  <c:v>All Others</c:v>
                </c:pt>
                <c:pt idx="977">
                  <c:v>All Others</c:v>
                </c:pt>
                <c:pt idx="978">
                  <c:v>Raguin</c:v>
                </c:pt>
                <c:pt idx="979">
                  <c:v>All Others</c:v>
                </c:pt>
                <c:pt idx="980">
                  <c:v>All Others</c:v>
                </c:pt>
                <c:pt idx="981">
                  <c:v>All Others</c:v>
                </c:pt>
                <c:pt idx="982">
                  <c:v>All Others</c:v>
                </c:pt>
                <c:pt idx="983">
                  <c:v>Raguin</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Other Suppl</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La Belle Et</c:v>
                </c:pt>
                <c:pt idx="1005">
                  <c:v>All Others</c:v>
                </c:pt>
                <c:pt idx="1006">
                  <c:v>Raguin</c:v>
                </c:pt>
                <c:pt idx="1007">
                  <c:v>All Others</c:v>
                </c:pt>
                <c:pt idx="1008">
                  <c:v>All Others</c:v>
                </c:pt>
                <c:pt idx="1009">
                  <c:v>All Others</c:v>
                </c:pt>
                <c:pt idx="1010">
                  <c:v>La Belle Et</c:v>
                </c:pt>
                <c:pt idx="1011">
                  <c:v>All Others</c:v>
                </c:pt>
                <c:pt idx="1012">
                  <c:v>All Others</c:v>
                </c:pt>
                <c:pt idx="1013">
                  <c:v>All Others</c:v>
                </c:pt>
                <c:pt idx="1014">
                  <c:v>All Others</c:v>
                </c:pt>
                <c:pt idx="1015">
                  <c:v>All Others</c:v>
                </c:pt>
                <c:pt idx="1016">
                  <c:v>All Others</c:v>
                </c:pt>
                <c:pt idx="1017">
                  <c:v>All Others</c:v>
                </c:pt>
                <c:pt idx="1018">
                  <c:v>Raguin</c:v>
                </c:pt>
                <c:pt idx="1019">
                  <c:v>All Others</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Etoile Du V</c:v>
                </c:pt>
                <c:pt idx="1033">
                  <c:v>Limiano</c:v>
                </c:pt>
                <c:pt idx="1034">
                  <c:v>All Others</c:v>
                </c:pt>
                <c:pt idx="1035">
                  <c:v>All Others</c:v>
                </c:pt>
                <c:pt idx="1036">
                  <c:v>All Others</c:v>
                </c:pt>
                <c:pt idx="1037">
                  <c:v>All Others</c:v>
                </c:pt>
                <c:pt idx="1038">
                  <c:v>All Others</c:v>
                </c:pt>
                <c:pt idx="1039">
                  <c:v>All Others</c:v>
                </c:pt>
                <c:pt idx="1040">
                  <c:v>Private Lab</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All Others</c:v>
                </c:pt>
                <c:pt idx="1051">
                  <c:v>All Others</c:v>
                </c:pt>
                <c:pt idx="1052">
                  <c:v>Other Suppl</c:v>
                </c:pt>
                <c:pt idx="1053">
                  <c:v>All Others</c:v>
                </c:pt>
                <c:pt idx="1054">
                  <c:v>All Others</c:v>
                </c:pt>
                <c:pt idx="1055">
                  <c:v>All Others</c:v>
                </c:pt>
                <c:pt idx="1056">
                  <c:v>Lactalis: A</c:v>
                </c:pt>
                <c:pt idx="1057">
                  <c:v>All Others</c:v>
                </c:pt>
                <c:pt idx="1058">
                  <c:v>All Others</c:v>
                </c:pt>
                <c:pt idx="1059">
                  <c:v>All Others</c:v>
                </c:pt>
                <c:pt idx="1060">
                  <c:v>All Others</c:v>
                </c:pt>
                <c:pt idx="1061">
                  <c:v>Raguin</c:v>
                </c:pt>
                <c:pt idx="1062">
                  <c:v>All Others</c:v>
                </c:pt>
                <c:pt idx="1063">
                  <c:v>All Others</c:v>
                </c:pt>
                <c:pt idx="1064">
                  <c:v>All Others</c:v>
                </c:pt>
                <c:pt idx="1065">
                  <c:v>President</c:v>
                </c:pt>
                <c:pt idx="1066">
                  <c:v>All Others</c:v>
                </c:pt>
                <c:pt idx="1067">
                  <c:v>All Others</c:v>
                </c:pt>
                <c:pt idx="1068">
                  <c:v>All Others</c:v>
                </c:pt>
                <c:pt idx="1069">
                  <c:v>All Others</c:v>
                </c:pt>
                <c:pt idx="1070">
                  <c:v>Raguin</c:v>
                </c:pt>
                <c:pt idx="1071">
                  <c:v>All Others</c:v>
                </c:pt>
                <c:pt idx="1072">
                  <c:v>All Others</c:v>
                </c:pt>
                <c:pt idx="1073">
                  <c:v>Limiano</c:v>
                </c:pt>
                <c:pt idx="1074">
                  <c:v>All Others</c:v>
                </c:pt>
                <c:pt idx="1075">
                  <c:v>All Others</c:v>
                </c:pt>
                <c:pt idx="1076">
                  <c:v>All Others</c:v>
                </c:pt>
                <c:pt idx="1077">
                  <c:v>All Others</c:v>
                </c:pt>
                <c:pt idx="1078">
                  <c:v>All Others</c:v>
                </c:pt>
                <c:pt idx="1079">
                  <c:v>Private Lab</c:v>
                </c:pt>
                <c:pt idx="1080">
                  <c:v>Other Suppl</c:v>
                </c:pt>
                <c:pt idx="1081">
                  <c:v>All Others</c:v>
                </c:pt>
                <c:pt idx="1082">
                  <c:v>All Others</c:v>
                </c:pt>
                <c:pt idx="1083">
                  <c:v>Lincet</c:v>
                </c:pt>
                <c:pt idx="1084">
                  <c:v>All Others</c:v>
                </c:pt>
                <c:pt idx="1085">
                  <c:v>All Others</c:v>
                </c:pt>
                <c:pt idx="1086">
                  <c:v>All Others</c:v>
                </c:pt>
                <c:pt idx="1087">
                  <c:v>All Others</c:v>
                </c:pt>
                <c:pt idx="1088">
                  <c:v>All Others</c:v>
                </c:pt>
                <c:pt idx="1089">
                  <c:v>All Others</c:v>
                </c:pt>
                <c:pt idx="1090">
                  <c:v>All Others</c:v>
                </c:pt>
                <c:pt idx="1091">
                  <c:v>All Others</c:v>
                </c:pt>
                <c:pt idx="1092">
                  <c:v>Lactalis: A</c:v>
                </c:pt>
                <c:pt idx="1093">
                  <c:v>All Others</c:v>
                </c:pt>
                <c:pt idx="1094">
                  <c:v>All Others</c:v>
                </c:pt>
                <c:pt idx="1095">
                  <c:v>All Others</c:v>
                </c:pt>
                <c:pt idx="1096">
                  <c:v>All Others</c:v>
                </c:pt>
                <c:pt idx="1097">
                  <c:v>All Others</c:v>
                </c:pt>
                <c:pt idx="1098">
                  <c:v>All Others</c:v>
                </c:pt>
                <c:pt idx="1099">
                  <c:v>All Others</c:v>
                </c:pt>
                <c:pt idx="1100">
                  <c:v>Private Lab</c:v>
                </c:pt>
                <c:pt idx="1101">
                  <c:v>All Others</c:v>
                </c:pt>
                <c:pt idx="1102">
                  <c:v>All Others</c:v>
                </c:pt>
                <c:pt idx="1103">
                  <c:v>All Others</c:v>
                </c:pt>
                <c:pt idx="1104">
                  <c:v>Private Lab</c:v>
                </c:pt>
                <c:pt idx="1105">
                  <c:v>All Others</c:v>
                </c:pt>
                <c:pt idx="1106">
                  <c:v>All Others</c:v>
                </c:pt>
                <c:pt idx="1107">
                  <c:v>All Others</c:v>
                </c:pt>
                <c:pt idx="1108">
                  <c:v>All Others</c:v>
                </c:pt>
                <c:pt idx="1109">
                  <c:v>All Others</c:v>
                </c:pt>
                <c:pt idx="1110">
                  <c:v>All Others</c:v>
                </c:pt>
                <c:pt idx="1111">
                  <c:v>All Others</c:v>
                </c:pt>
                <c:pt idx="1112">
                  <c:v>All Others</c:v>
                </c:pt>
                <c:pt idx="1113">
                  <c:v>All Others</c:v>
                </c:pt>
                <c:pt idx="1114">
                  <c:v>Private Lab</c:v>
                </c:pt>
                <c:pt idx="1115">
                  <c:v>All Others</c:v>
                </c:pt>
                <c:pt idx="1116">
                  <c:v>All Others</c:v>
                </c:pt>
                <c:pt idx="1117">
                  <c:v>All Others</c:v>
                </c:pt>
                <c:pt idx="1118">
                  <c:v>All Others</c:v>
                </c:pt>
                <c:pt idx="1119">
                  <c:v>Private Lab</c:v>
                </c:pt>
                <c:pt idx="1120">
                  <c:v>Entremont</c:v>
                </c:pt>
                <c:pt idx="1121">
                  <c:v>All Others</c:v>
                </c:pt>
                <c:pt idx="1122">
                  <c:v>Private Lab</c:v>
                </c:pt>
                <c:pt idx="1123">
                  <c:v>Raguin</c:v>
                </c:pt>
                <c:pt idx="1124">
                  <c:v>All Others</c:v>
                </c:pt>
                <c:pt idx="1125">
                  <c:v>Private Lab</c:v>
                </c:pt>
                <c:pt idx="1126">
                  <c:v>Private Lab</c:v>
                </c:pt>
                <c:pt idx="1127">
                  <c:v>Mini Babybe</c:v>
                </c:pt>
                <c:pt idx="1128">
                  <c:v>Lactalis: A</c:v>
                </c:pt>
                <c:pt idx="1129">
                  <c:v>All Others</c:v>
                </c:pt>
                <c:pt idx="1130">
                  <c:v>Private Lab</c:v>
                </c:pt>
                <c:pt idx="1131">
                  <c:v>All Others</c:v>
                </c:pt>
                <c:pt idx="1132">
                  <c:v>All Others</c:v>
                </c:pt>
                <c:pt idx="1133">
                  <c:v>All Others</c:v>
                </c:pt>
                <c:pt idx="1134">
                  <c:v>All Others</c:v>
                </c:pt>
                <c:pt idx="1135">
                  <c:v>Pochat</c:v>
                </c:pt>
                <c:pt idx="1136">
                  <c:v>All Others</c:v>
                </c:pt>
                <c:pt idx="1137">
                  <c:v>All Others</c:v>
                </c:pt>
                <c:pt idx="1138">
                  <c:v>All Others</c:v>
                </c:pt>
                <c:pt idx="1139">
                  <c:v>All Others</c:v>
                </c:pt>
                <c:pt idx="1140">
                  <c:v>All Others</c:v>
                </c:pt>
                <c:pt idx="1141">
                  <c:v>All Others</c:v>
                </c:pt>
                <c:pt idx="1142">
                  <c:v>Etoile Du V</c:v>
                </c:pt>
                <c:pt idx="1143">
                  <c:v>All Others</c:v>
                </c:pt>
                <c:pt idx="1144">
                  <c:v>All Others</c:v>
                </c:pt>
                <c:pt idx="1145">
                  <c:v>Raguin</c:v>
                </c:pt>
                <c:pt idx="1146">
                  <c:v>All Others</c:v>
                </c:pt>
                <c:pt idx="1147">
                  <c:v>All Others</c:v>
                </c:pt>
                <c:pt idx="1148">
                  <c:v>All Others</c:v>
                </c:pt>
                <c:pt idx="1149">
                  <c:v>All Others</c:v>
                </c:pt>
                <c:pt idx="1150">
                  <c:v>All Others</c:v>
                </c:pt>
                <c:pt idx="1151">
                  <c:v>All Others</c:v>
                </c:pt>
                <c:pt idx="1152">
                  <c:v>All Others</c:v>
                </c:pt>
                <c:pt idx="1153">
                  <c:v>All Others</c:v>
                </c:pt>
                <c:pt idx="1154">
                  <c:v>All Others</c:v>
                </c:pt>
                <c:pt idx="1155">
                  <c:v>All Others</c:v>
                </c:pt>
                <c:pt idx="1156">
                  <c:v>Entremont</c:v>
                </c:pt>
                <c:pt idx="1157">
                  <c:v>Kiri</c:v>
                </c:pt>
                <c:pt idx="1158">
                  <c:v>Richesmonts</c:v>
                </c:pt>
                <c:pt idx="1159">
                  <c:v>Pochat</c:v>
                </c:pt>
                <c:pt idx="1160">
                  <c:v>All Others</c:v>
                </c:pt>
                <c:pt idx="1161">
                  <c:v>Private Lab</c:v>
                </c:pt>
                <c:pt idx="1162">
                  <c:v>Other Suppl</c:v>
                </c:pt>
                <c:pt idx="1163">
                  <c:v>All Others</c:v>
                </c:pt>
                <c:pt idx="1164">
                  <c:v>All Others</c:v>
                </c:pt>
                <c:pt idx="1165">
                  <c:v>Apericube</c:v>
                </c:pt>
                <c:pt idx="1166">
                  <c:v>Private Lab</c:v>
                </c:pt>
                <c:pt idx="1167">
                  <c:v>Caprice Des</c:v>
                </c:pt>
                <c:pt idx="1168">
                  <c:v>Private Lab</c:v>
                </c:pt>
                <c:pt idx="1169">
                  <c:v>All Others</c:v>
                </c:pt>
                <c:pt idx="1170">
                  <c:v>All Others</c:v>
                </c:pt>
                <c:pt idx="1171">
                  <c:v>Milleret: A</c:v>
                </c:pt>
                <c:pt idx="1172">
                  <c:v>All Others</c:v>
                </c:pt>
                <c:pt idx="1173">
                  <c:v>All Others</c:v>
                </c:pt>
                <c:pt idx="1174">
                  <c:v>All Others</c:v>
                </c:pt>
                <c:pt idx="1175">
                  <c:v>All Others</c:v>
                </c:pt>
                <c:pt idx="1176">
                  <c:v>All Others</c:v>
                </c:pt>
                <c:pt idx="1177">
                  <c:v>Entremont</c:v>
                </c:pt>
                <c:pt idx="1178">
                  <c:v>All Others</c:v>
                </c:pt>
                <c:pt idx="1179">
                  <c:v>All Others</c:v>
                </c:pt>
                <c:pt idx="1180">
                  <c:v>All Others</c:v>
                </c:pt>
                <c:pt idx="1181">
                  <c:v>Private Lab</c:v>
                </c:pt>
                <c:pt idx="1182">
                  <c:v>Mini Babybe</c:v>
                </c:pt>
                <c:pt idx="1183">
                  <c:v>All Others</c:v>
                </c:pt>
                <c:pt idx="1184">
                  <c:v>Boursin</c:v>
                </c:pt>
                <c:pt idx="1185">
                  <c:v>All Others</c:v>
                </c:pt>
                <c:pt idx="1186">
                  <c:v>All Others</c:v>
                </c:pt>
                <c:pt idx="1187">
                  <c:v>All Others</c:v>
                </c:pt>
                <c:pt idx="1188">
                  <c:v>All Others</c:v>
                </c:pt>
                <c:pt idx="1189">
                  <c:v>Entremont</c:v>
                </c:pt>
                <c:pt idx="1190">
                  <c:v>Entremont</c:v>
                </c:pt>
                <c:pt idx="1191">
                  <c:v>All Others</c:v>
                </c:pt>
                <c:pt idx="1192">
                  <c:v>All Others</c:v>
                </c:pt>
                <c:pt idx="1193">
                  <c:v>All Others</c:v>
                </c:pt>
                <c:pt idx="1194">
                  <c:v>All Others</c:v>
                </c:pt>
                <c:pt idx="1195">
                  <c:v>Entremont</c:v>
                </c:pt>
                <c:pt idx="1196">
                  <c:v>Pochat</c:v>
                </c:pt>
                <c:pt idx="1197">
                  <c:v>Private Lab</c:v>
                </c:pt>
                <c:pt idx="1198">
                  <c:v>Richesmonts</c:v>
                </c:pt>
                <c:pt idx="1199">
                  <c:v>O'Tapas Ape</c:v>
                </c:pt>
                <c:pt idx="1200">
                  <c:v>Richesmonts</c:v>
                </c:pt>
                <c:pt idx="1201">
                  <c:v>Private Lab</c:v>
                </c:pt>
                <c:pt idx="1202">
                  <c:v>Entremont</c:v>
                </c:pt>
                <c:pt idx="1203">
                  <c:v>All Others</c:v>
                </c:pt>
                <c:pt idx="1204">
                  <c:v>All Others</c:v>
                </c:pt>
                <c:pt idx="1205">
                  <c:v>O'Tapas Ape</c:v>
                </c:pt>
                <c:pt idx="1206">
                  <c:v>Richesmonts</c:v>
                </c:pt>
                <c:pt idx="1207">
                  <c:v>President</c:v>
                </c:pt>
                <c:pt idx="1208">
                  <c:v>Entremont</c:v>
                </c:pt>
                <c:pt idx="1209">
                  <c:v>All Others</c:v>
                </c:pt>
                <c:pt idx="1210">
                  <c:v>All Others</c:v>
                </c:pt>
                <c:pt idx="1211">
                  <c:v>All Others</c:v>
                </c:pt>
                <c:pt idx="1212">
                  <c:v>All Others</c:v>
                </c:pt>
                <c:pt idx="1213">
                  <c:v>All Others</c:v>
                </c:pt>
                <c:pt idx="1214">
                  <c:v>Saint Agur</c:v>
                </c:pt>
                <c:pt idx="1215">
                  <c:v>Private Lab</c:v>
                </c:pt>
              </c:strCache>
            </c:strRef>
          </c:cat>
          <c:val>
            <c:numRef>
              <c:f>Sheet1!$B$2:$B$1217</c:f>
              <c:numCache>
                <c:formatCode>General</c:formatCode>
                <c:ptCount val="1216"/>
                <c:pt idx="0">
                  <c:v>1</c:v>
                </c:pt>
                <c:pt idx="1">
                  <c:v>1</c:v>
                </c:pt>
                <c:pt idx="2">
                  <c:v>0.99</c:v>
                </c:pt>
                <c:pt idx="3">
                  <c:v>1</c:v>
                </c:pt>
                <c:pt idx="4">
                  <c:v>1</c:v>
                </c:pt>
                <c:pt idx="5">
                  <c:v>0.99</c:v>
                </c:pt>
                <c:pt idx="6">
                  <c:v>1</c:v>
                </c:pt>
                <c:pt idx="7">
                  <c:v>0.99</c:v>
                </c:pt>
                <c:pt idx="8">
                  <c:v>0.98</c:v>
                </c:pt>
                <c:pt idx="9">
                  <c:v>0.99</c:v>
                </c:pt>
                <c:pt idx="10">
                  <c:v>1</c:v>
                </c:pt>
                <c:pt idx="11">
                  <c:v>1</c:v>
                </c:pt>
                <c:pt idx="12">
                  <c:v>1</c:v>
                </c:pt>
                <c:pt idx="13">
                  <c:v>0.99</c:v>
                </c:pt>
                <c:pt idx="14">
                  <c:v>1</c:v>
                </c:pt>
                <c:pt idx="15">
                  <c:v>1</c:v>
                </c:pt>
                <c:pt idx="16">
                  <c:v>1</c:v>
                </c:pt>
                <c:pt idx="17">
                  <c:v>1</c:v>
                </c:pt>
                <c:pt idx="18">
                  <c:v>0.96</c:v>
                </c:pt>
                <c:pt idx="19">
                  <c:v>0.81</c:v>
                </c:pt>
                <c:pt idx="20">
                  <c:v>0.99</c:v>
                </c:pt>
                <c:pt idx="21">
                  <c:v>1</c:v>
                </c:pt>
                <c:pt idx="22">
                  <c:v>1</c:v>
                </c:pt>
                <c:pt idx="23">
                  <c:v>0.97</c:v>
                </c:pt>
                <c:pt idx="24">
                  <c:v>0.99</c:v>
                </c:pt>
                <c:pt idx="25">
                  <c:v>0.99</c:v>
                </c:pt>
                <c:pt idx="26">
                  <c:v>0.98</c:v>
                </c:pt>
                <c:pt idx="27">
                  <c:v>0.98</c:v>
                </c:pt>
                <c:pt idx="28">
                  <c:v>0.97</c:v>
                </c:pt>
                <c:pt idx="29">
                  <c:v>0.99</c:v>
                </c:pt>
                <c:pt idx="30">
                  <c:v>1</c:v>
                </c:pt>
                <c:pt idx="31">
                  <c:v>0.97</c:v>
                </c:pt>
                <c:pt idx="32">
                  <c:v>0.99</c:v>
                </c:pt>
                <c:pt idx="33">
                  <c:v>0.99</c:v>
                </c:pt>
                <c:pt idx="34">
                  <c:v>0.98</c:v>
                </c:pt>
                <c:pt idx="35">
                  <c:v>0.99</c:v>
                </c:pt>
                <c:pt idx="36">
                  <c:v>0.99</c:v>
                </c:pt>
                <c:pt idx="37">
                  <c:v>0.99</c:v>
                </c:pt>
                <c:pt idx="38">
                  <c:v>0.99</c:v>
                </c:pt>
                <c:pt idx="39">
                  <c:v>1</c:v>
                </c:pt>
                <c:pt idx="40">
                  <c:v>0.99</c:v>
                </c:pt>
                <c:pt idx="41">
                  <c:v>1</c:v>
                </c:pt>
                <c:pt idx="42">
                  <c:v>1</c:v>
                </c:pt>
                <c:pt idx="43">
                  <c:v>1</c:v>
                </c:pt>
                <c:pt idx="44">
                  <c:v>0.98</c:v>
                </c:pt>
                <c:pt idx="45">
                  <c:v>0.98</c:v>
                </c:pt>
                <c:pt idx="46">
                  <c:v>0.99</c:v>
                </c:pt>
                <c:pt idx="47">
                  <c:v>0.99</c:v>
                </c:pt>
                <c:pt idx="48">
                  <c:v>0.99</c:v>
                </c:pt>
                <c:pt idx="49">
                  <c:v>0.99</c:v>
                </c:pt>
                <c:pt idx="50">
                  <c:v>0.99</c:v>
                </c:pt>
                <c:pt idx="51">
                  <c:v>1</c:v>
                </c:pt>
                <c:pt idx="52">
                  <c:v>1</c:v>
                </c:pt>
                <c:pt idx="53">
                  <c:v>0.99</c:v>
                </c:pt>
                <c:pt idx="54">
                  <c:v>0.97</c:v>
                </c:pt>
                <c:pt idx="55">
                  <c:v>0.97</c:v>
                </c:pt>
                <c:pt idx="56">
                  <c:v>0.99</c:v>
                </c:pt>
                <c:pt idx="57">
                  <c:v>1</c:v>
                </c:pt>
                <c:pt idx="58">
                  <c:v>0.99</c:v>
                </c:pt>
                <c:pt idx="59">
                  <c:v>0.99</c:v>
                </c:pt>
                <c:pt idx="60">
                  <c:v>1</c:v>
                </c:pt>
                <c:pt idx="61">
                  <c:v>0.96</c:v>
                </c:pt>
                <c:pt idx="62">
                  <c:v>0.9</c:v>
                </c:pt>
                <c:pt idx="63">
                  <c:v>0.97</c:v>
                </c:pt>
                <c:pt idx="64">
                  <c:v>0.99</c:v>
                </c:pt>
                <c:pt idx="65">
                  <c:v>0.99</c:v>
                </c:pt>
                <c:pt idx="66">
                  <c:v>1</c:v>
                </c:pt>
                <c:pt idx="67">
                  <c:v>0.98</c:v>
                </c:pt>
                <c:pt idx="68">
                  <c:v>0.98</c:v>
                </c:pt>
                <c:pt idx="69">
                  <c:v>0.95</c:v>
                </c:pt>
                <c:pt idx="70">
                  <c:v>0.99</c:v>
                </c:pt>
                <c:pt idx="71">
                  <c:v>1</c:v>
                </c:pt>
                <c:pt idx="72">
                  <c:v>0.92</c:v>
                </c:pt>
                <c:pt idx="73">
                  <c:v>0.97</c:v>
                </c:pt>
                <c:pt idx="74">
                  <c:v>0.99</c:v>
                </c:pt>
                <c:pt idx="75">
                  <c:v>0.95</c:v>
                </c:pt>
                <c:pt idx="76">
                  <c:v>0.99</c:v>
                </c:pt>
                <c:pt idx="77">
                  <c:v>1</c:v>
                </c:pt>
                <c:pt idx="78">
                  <c:v>0.99</c:v>
                </c:pt>
                <c:pt idx="79">
                  <c:v>1</c:v>
                </c:pt>
                <c:pt idx="80">
                  <c:v>0.95</c:v>
                </c:pt>
                <c:pt idx="81">
                  <c:v>0.98</c:v>
                </c:pt>
                <c:pt idx="82">
                  <c:v>0.93</c:v>
                </c:pt>
                <c:pt idx="83">
                  <c:v>0.89</c:v>
                </c:pt>
                <c:pt idx="84">
                  <c:v>1</c:v>
                </c:pt>
                <c:pt idx="85">
                  <c:v>0.97</c:v>
                </c:pt>
                <c:pt idx="86">
                  <c:v>0.96</c:v>
                </c:pt>
                <c:pt idx="87">
                  <c:v>0.99</c:v>
                </c:pt>
                <c:pt idx="88">
                  <c:v>0.99</c:v>
                </c:pt>
                <c:pt idx="89">
                  <c:v>0.97</c:v>
                </c:pt>
                <c:pt idx="90">
                  <c:v>0.99</c:v>
                </c:pt>
                <c:pt idx="91">
                  <c:v>0.98</c:v>
                </c:pt>
                <c:pt idx="92">
                  <c:v>0.98</c:v>
                </c:pt>
                <c:pt idx="93">
                  <c:v>0.42</c:v>
                </c:pt>
                <c:pt idx="94">
                  <c:v>0.92</c:v>
                </c:pt>
                <c:pt idx="95">
                  <c:v>1</c:v>
                </c:pt>
                <c:pt idx="96">
                  <c:v>0.98</c:v>
                </c:pt>
                <c:pt idx="97">
                  <c:v>0.99</c:v>
                </c:pt>
                <c:pt idx="98">
                  <c:v>0.99</c:v>
                </c:pt>
                <c:pt idx="99">
                  <c:v>0.99</c:v>
                </c:pt>
                <c:pt idx="100">
                  <c:v>1</c:v>
                </c:pt>
                <c:pt idx="101">
                  <c:v>0.99</c:v>
                </c:pt>
                <c:pt idx="102">
                  <c:v>0.93</c:v>
                </c:pt>
                <c:pt idx="103">
                  <c:v>0.99</c:v>
                </c:pt>
                <c:pt idx="104">
                  <c:v>0.88</c:v>
                </c:pt>
                <c:pt idx="105">
                  <c:v>0.81</c:v>
                </c:pt>
                <c:pt idx="106">
                  <c:v>0.97</c:v>
                </c:pt>
                <c:pt idx="107">
                  <c:v>0.99</c:v>
                </c:pt>
                <c:pt idx="108">
                  <c:v>0.98</c:v>
                </c:pt>
                <c:pt idx="109">
                  <c:v>1</c:v>
                </c:pt>
                <c:pt idx="110">
                  <c:v>0.96</c:v>
                </c:pt>
                <c:pt idx="111">
                  <c:v>0.89</c:v>
                </c:pt>
                <c:pt idx="112">
                  <c:v>0.94</c:v>
                </c:pt>
                <c:pt idx="113">
                  <c:v>1</c:v>
                </c:pt>
                <c:pt idx="114">
                  <c:v>0.75</c:v>
                </c:pt>
                <c:pt idx="115">
                  <c:v>0.96</c:v>
                </c:pt>
                <c:pt idx="116">
                  <c:v>0.99</c:v>
                </c:pt>
                <c:pt idx="117">
                  <c:v>0.96</c:v>
                </c:pt>
                <c:pt idx="118">
                  <c:v>0.92</c:v>
                </c:pt>
                <c:pt idx="119">
                  <c:v>0.93</c:v>
                </c:pt>
                <c:pt idx="120">
                  <c:v>0.96</c:v>
                </c:pt>
                <c:pt idx="121">
                  <c:v>0.99</c:v>
                </c:pt>
                <c:pt idx="122">
                  <c:v>0.97</c:v>
                </c:pt>
                <c:pt idx="123">
                  <c:v>0.93</c:v>
                </c:pt>
                <c:pt idx="124">
                  <c:v>0.71</c:v>
                </c:pt>
                <c:pt idx="125">
                  <c:v>0.98</c:v>
                </c:pt>
                <c:pt idx="126">
                  <c:v>0.99</c:v>
                </c:pt>
                <c:pt idx="127">
                  <c:v>0.99</c:v>
                </c:pt>
                <c:pt idx="128">
                  <c:v>0.98</c:v>
                </c:pt>
                <c:pt idx="129">
                  <c:v>0.96</c:v>
                </c:pt>
                <c:pt idx="130">
                  <c:v>0.99</c:v>
                </c:pt>
                <c:pt idx="131">
                  <c:v>0.99</c:v>
                </c:pt>
                <c:pt idx="132">
                  <c:v>0.94</c:v>
                </c:pt>
                <c:pt idx="133">
                  <c:v>0.93</c:v>
                </c:pt>
                <c:pt idx="134">
                  <c:v>0.98</c:v>
                </c:pt>
                <c:pt idx="135">
                  <c:v>0.85</c:v>
                </c:pt>
                <c:pt idx="136">
                  <c:v>0.98</c:v>
                </c:pt>
                <c:pt idx="137">
                  <c:v>0.95</c:v>
                </c:pt>
                <c:pt idx="138">
                  <c:v>0.99</c:v>
                </c:pt>
                <c:pt idx="139">
                  <c:v>0.98</c:v>
                </c:pt>
                <c:pt idx="140">
                  <c:v>0.88</c:v>
                </c:pt>
                <c:pt idx="141">
                  <c:v>0.96</c:v>
                </c:pt>
                <c:pt idx="142">
                  <c:v>0.95</c:v>
                </c:pt>
                <c:pt idx="143">
                  <c:v>0.99</c:v>
                </c:pt>
                <c:pt idx="144">
                  <c:v>0.99</c:v>
                </c:pt>
                <c:pt idx="145">
                  <c:v>0.84</c:v>
                </c:pt>
                <c:pt idx="146">
                  <c:v>0.92</c:v>
                </c:pt>
                <c:pt idx="147">
                  <c:v>0.99</c:v>
                </c:pt>
                <c:pt idx="148">
                  <c:v>0.92</c:v>
                </c:pt>
                <c:pt idx="149">
                  <c:v>0.94</c:v>
                </c:pt>
                <c:pt idx="150">
                  <c:v>0.92</c:v>
                </c:pt>
                <c:pt idx="151">
                  <c:v>0.7</c:v>
                </c:pt>
                <c:pt idx="152">
                  <c:v>0.97</c:v>
                </c:pt>
                <c:pt idx="153">
                  <c:v>0.99</c:v>
                </c:pt>
                <c:pt idx="154">
                  <c:v>0.91</c:v>
                </c:pt>
                <c:pt idx="155">
                  <c:v>0.76</c:v>
                </c:pt>
                <c:pt idx="156">
                  <c:v>0.97</c:v>
                </c:pt>
                <c:pt idx="157">
                  <c:v>0.98</c:v>
                </c:pt>
                <c:pt idx="158">
                  <c:v>0.99</c:v>
                </c:pt>
                <c:pt idx="159">
                  <c:v>0.89</c:v>
                </c:pt>
                <c:pt idx="160">
                  <c:v>0.96</c:v>
                </c:pt>
                <c:pt idx="161">
                  <c:v>0.96</c:v>
                </c:pt>
                <c:pt idx="162">
                  <c:v>0.99</c:v>
                </c:pt>
                <c:pt idx="163">
                  <c:v>0.94</c:v>
                </c:pt>
                <c:pt idx="164">
                  <c:v>0.96</c:v>
                </c:pt>
                <c:pt idx="165">
                  <c:v>0.91</c:v>
                </c:pt>
                <c:pt idx="166">
                  <c:v>0.99</c:v>
                </c:pt>
                <c:pt idx="167">
                  <c:v>0.99</c:v>
                </c:pt>
                <c:pt idx="168">
                  <c:v>0.97</c:v>
                </c:pt>
                <c:pt idx="169">
                  <c:v>0.88</c:v>
                </c:pt>
                <c:pt idx="170">
                  <c:v>0.9</c:v>
                </c:pt>
                <c:pt idx="171">
                  <c:v>0.99</c:v>
                </c:pt>
                <c:pt idx="172">
                  <c:v>0.97</c:v>
                </c:pt>
                <c:pt idx="173">
                  <c:v>0.95</c:v>
                </c:pt>
                <c:pt idx="174">
                  <c:v>0.67</c:v>
                </c:pt>
                <c:pt idx="175">
                  <c:v>0.91</c:v>
                </c:pt>
                <c:pt idx="176">
                  <c:v>0.89</c:v>
                </c:pt>
                <c:pt idx="177">
                  <c:v>0.9</c:v>
                </c:pt>
                <c:pt idx="178">
                  <c:v>0.94</c:v>
                </c:pt>
                <c:pt idx="179">
                  <c:v>1</c:v>
                </c:pt>
                <c:pt idx="180">
                  <c:v>0.98</c:v>
                </c:pt>
                <c:pt idx="181">
                  <c:v>0.84</c:v>
                </c:pt>
                <c:pt idx="182">
                  <c:v>0.91</c:v>
                </c:pt>
                <c:pt idx="183">
                  <c:v>0.96</c:v>
                </c:pt>
                <c:pt idx="184">
                  <c:v>0.96</c:v>
                </c:pt>
                <c:pt idx="185">
                  <c:v>0.96</c:v>
                </c:pt>
                <c:pt idx="186">
                  <c:v>0.99</c:v>
                </c:pt>
                <c:pt idx="187">
                  <c:v>0.99</c:v>
                </c:pt>
                <c:pt idx="188">
                  <c:v>0.95</c:v>
                </c:pt>
                <c:pt idx="189">
                  <c:v>0.8</c:v>
                </c:pt>
                <c:pt idx="190">
                  <c:v>0.84</c:v>
                </c:pt>
                <c:pt idx="191">
                  <c:v>0.64</c:v>
                </c:pt>
                <c:pt idx="192">
                  <c:v>0.99</c:v>
                </c:pt>
                <c:pt idx="193">
                  <c:v>0.97</c:v>
                </c:pt>
                <c:pt idx="194">
                  <c:v>0.94</c:v>
                </c:pt>
                <c:pt idx="195">
                  <c:v>0.95</c:v>
                </c:pt>
                <c:pt idx="196">
                  <c:v>0.87</c:v>
                </c:pt>
                <c:pt idx="197">
                  <c:v>0.98</c:v>
                </c:pt>
                <c:pt idx="198">
                  <c:v>0.81</c:v>
                </c:pt>
                <c:pt idx="199">
                  <c:v>0.95</c:v>
                </c:pt>
                <c:pt idx="200">
                  <c:v>0.94</c:v>
                </c:pt>
                <c:pt idx="201">
                  <c:v>0.95</c:v>
                </c:pt>
                <c:pt idx="202">
                  <c:v>0.47</c:v>
                </c:pt>
                <c:pt idx="203">
                  <c:v>0.9</c:v>
                </c:pt>
                <c:pt idx="204">
                  <c:v>0.9</c:v>
                </c:pt>
                <c:pt idx="205">
                  <c:v>0.79</c:v>
                </c:pt>
                <c:pt idx="206">
                  <c:v>0.69</c:v>
                </c:pt>
                <c:pt idx="207">
                  <c:v>0.56999999999999995</c:v>
                </c:pt>
                <c:pt idx="208">
                  <c:v>0.61</c:v>
                </c:pt>
                <c:pt idx="209">
                  <c:v>0.95</c:v>
                </c:pt>
                <c:pt idx="210">
                  <c:v>0.86</c:v>
                </c:pt>
                <c:pt idx="211">
                  <c:v>0.94</c:v>
                </c:pt>
                <c:pt idx="212">
                  <c:v>0.96</c:v>
                </c:pt>
                <c:pt idx="213">
                  <c:v>0.99</c:v>
                </c:pt>
                <c:pt idx="214">
                  <c:v>0.85</c:v>
                </c:pt>
                <c:pt idx="215">
                  <c:v>0.99</c:v>
                </c:pt>
                <c:pt idx="216">
                  <c:v>0.91</c:v>
                </c:pt>
                <c:pt idx="217">
                  <c:v>0.9</c:v>
                </c:pt>
                <c:pt idx="218">
                  <c:v>0.91</c:v>
                </c:pt>
                <c:pt idx="219">
                  <c:v>0.88</c:v>
                </c:pt>
                <c:pt idx="220">
                  <c:v>0.84</c:v>
                </c:pt>
                <c:pt idx="221">
                  <c:v>0.68</c:v>
                </c:pt>
                <c:pt idx="222">
                  <c:v>0.91</c:v>
                </c:pt>
                <c:pt idx="223">
                  <c:v>0.89</c:v>
                </c:pt>
                <c:pt idx="224">
                  <c:v>0.97</c:v>
                </c:pt>
                <c:pt idx="225">
                  <c:v>0.98</c:v>
                </c:pt>
                <c:pt idx="226">
                  <c:v>0.95</c:v>
                </c:pt>
                <c:pt idx="227">
                  <c:v>0.98</c:v>
                </c:pt>
                <c:pt idx="228">
                  <c:v>0.99</c:v>
                </c:pt>
                <c:pt idx="229">
                  <c:v>0.89</c:v>
                </c:pt>
                <c:pt idx="230">
                  <c:v>0.94</c:v>
                </c:pt>
                <c:pt idx="231">
                  <c:v>0.98</c:v>
                </c:pt>
                <c:pt idx="232">
                  <c:v>0.79</c:v>
                </c:pt>
                <c:pt idx="233">
                  <c:v>0.99</c:v>
                </c:pt>
                <c:pt idx="234">
                  <c:v>0.9</c:v>
                </c:pt>
                <c:pt idx="235">
                  <c:v>0.97</c:v>
                </c:pt>
                <c:pt idx="236">
                  <c:v>0.8</c:v>
                </c:pt>
                <c:pt idx="237">
                  <c:v>0.94</c:v>
                </c:pt>
                <c:pt idx="238">
                  <c:v>0.93</c:v>
                </c:pt>
                <c:pt idx="239">
                  <c:v>0.99</c:v>
                </c:pt>
                <c:pt idx="240">
                  <c:v>0.76</c:v>
                </c:pt>
                <c:pt idx="241">
                  <c:v>0.54</c:v>
                </c:pt>
                <c:pt idx="242">
                  <c:v>0.94</c:v>
                </c:pt>
                <c:pt idx="243">
                  <c:v>0.87</c:v>
                </c:pt>
                <c:pt idx="244">
                  <c:v>0.86</c:v>
                </c:pt>
                <c:pt idx="245">
                  <c:v>0.59</c:v>
                </c:pt>
                <c:pt idx="246">
                  <c:v>0.97</c:v>
                </c:pt>
                <c:pt idx="247">
                  <c:v>0.88</c:v>
                </c:pt>
                <c:pt idx="248">
                  <c:v>0.62</c:v>
                </c:pt>
                <c:pt idx="249">
                  <c:v>0.99</c:v>
                </c:pt>
                <c:pt idx="250">
                  <c:v>0.91</c:v>
                </c:pt>
                <c:pt idx="251">
                  <c:v>0.96</c:v>
                </c:pt>
                <c:pt idx="252">
                  <c:v>0.92</c:v>
                </c:pt>
                <c:pt idx="253">
                  <c:v>0.99</c:v>
                </c:pt>
                <c:pt idx="254">
                  <c:v>0.94</c:v>
                </c:pt>
                <c:pt idx="255">
                  <c:v>0.9</c:v>
                </c:pt>
                <c:pt idx="256">
                  <c:v>0.95</c:v>
                </c:pt>
                <c:pt idx="257">
                  <c:v>0.91</c:v>
                </c:pt>
                <c:pt idx="258">
                  <c:v>0.97</c:v>
                </c:pt>
                <c:pt idx="259">
                  <c:v>0.96</c:v>
                </c:pt>
                <c:pt idx="260">
                  <c:v>0.77</c:v>
                </c:pt>
                <c:pt idx="261">
                  <c:v>0.97</c:v>
                </c:pt>
                <c:pt idx="262">
                  <c:v>0.95</c:v>
                </c:pt>
                <c:pt idx="263">
                  <c:v>0.93</c:v>
                </c:pt>
                <c:pt idx="264">
                  <c:v>0.74</c:v>
                </c:pt>
                <c:pt idx="265">
                  <c:v>0.38</c:v>
                </c:pt>
                <c:pt idx="266">
                  <c:v>0.91</c:v>
                </c:pt>
                <c:pt idx="267">
                  <c:v>0.87</c:v>
                </c:pt>
                <c:pt idx="268">
                  <c:v>0.91</c:v>
                </c:pt>
                <c:pt idx="269">
                  <c:v>0.92</c:v>
                </c:pt>
                <c:pt idx="270">
                  <c:v>0.98</c:v>
                </c:pt>
                <c:pt idx="271">
                  <c:v>0.7</c:v>
                </c:pt>
                <c:pt idx="272">
                  <c:v>0.9</c:v>
                </c:pt>
                <c:pt idx="273">
                  <c:v>0.94</c:v>
                </c:pt>
                <c:pt idx="274">
                  <c:v>0.98</c:v>
                </c:pt>
                <c:pt idx="275">
                  <c:v>0.67</c:v>
                </c:pt>
                <c:pt idx="276">
                  <c:v>0.89</c:v>
                </c:pt>
                <c:pt idx="277">
                  <c:v>0.92</c:v>
                </c:pt>
                <c:pt idx="278">
                  <c:v>0.84</c:v>
                </c:pt>
                <c:pt idx="279">
                  <c:v>0.77</c:v>
                </c:pt>
                <c:pt idx="280">
                  <c:v>0.95</c:v>
                </c:pt>
                <c:pt idx="281">
                  <c:v>0.44</c:v>
                </c:pt>
                <c:pt idx="282">
                  <c:v>0.78</c:v>
                </c:pt>
                <c:pt idx="283">
                  <c:v>0.92</c:v>
                </c:pt>
                <c:pt idx="284">
                  <c:v>0.6</c:v>
                </c:pt>
                <c:pt idx="285">
                  <c:v>0.86</c:v>
                </c:pt>
                <c:pt idx="286">
                  <c:v>0.93</c:v>
                </c:pt>
                <c:pt idx="287">
                  <c:v>0.33</c:v>
                </c:pt>
                <c:pt idx="288">
                  <c:v>0.8</c:v>
                </c:pt>
                <c:pt idx="289">
                  <c:v>0.74</c:v>
                </c:pt>
                <c:pt idx="290">
                  <c:v>0.84</c:v>
                </c:pt>
                <c:pt idx="291">
                  <c:v>0.6</c:v>
                </c:pt>
                <c:pt idx="292">
                  <c:v>0.92</c:v>
                </c:pt>
                <c:pt idx="293">
                  <c:v>0.4</c:v>
                </c:pt>
                <c:pt idx="294">
                  <c:v>0.79</c:v>
                </c:pt>
                <c:pt idx="295">
                  <c:v>0.93</c:v>
                </c:pt>
                <c:pt idx="296">
                  <c:v>0.84</c:v>
                </c:pt>
                <c:pt idx="297">
                  <c:v>0.85</c:v>
                </c:pt>
                <c:pt idx="298">
                  <c:v>0.89</c:v>
                </c:pt>
                <c:pt idx="299">
                  <c:v>0.71</c:v>
                </c:pt>
                <c:pt idx="300">
                  <c:v>0.98</c:v>
                </c:pt>
                <c:pt idx="301">
                  <c:v>0.87</c:v>
                </c:pt>
                <c:pt idx="302">
                  <c:v>0.96</c:v>
                </c:pt>
                <c:pt idx="303">
                  <c:v>0.9</c:v>
                </c:pt>
                <c:pt idx="304">
                  <c:v>0.82</c:v>
                </c:pt>
                <c:pt idx="305">
                  <c:v>0.92</c:v>
                </c:pt>
                <c:pt idx="306">
                  <c:v>0.86</c:v>
                </c:pt>
                <c:pt idx="307">
                  <c:v>0.77</c:v>
                </c:pt>
                <c:pt idx="308">
                  <c:v>0.97</c:v>
                </c:pt>
                <c:pt idx="309">
                  <c:v>0.95</c:v>
                </c:pt>
                <c:pt idx="310">
                  <c:v>0.9</c:v>
                </c:pt>
                <c:pt idx="311">
                  <c:v>0.87</c:v>
                </c:pt>
                <c:pt idx="312">
                  <c:v>0.92</c:v>
                </c:pt>
                <c:pt idx="313">
                  <c:v>0.97</c:v>
                </c:pt>
                <c:pt idx="314">
                  <c:v>0.92</c:v>
                </c:pt>
                <c:pt idx="315">
                  <c:v>0.79</c:v>
                </c:pt>
                <c:pt idx="316">
                  <c:v>0.62</c:v>
                </c:pt>
                <c:pt idx="317">
                  <c:v>0.86</c:v>
                </c:pt>
                <c:pt idx="318">
                  <c:v>0.78</c:v>
                </c:pt>
                <c:pt idx="319">
                  <c:v>0.68</c:v>
                </c:pt>
                <c:pt idx="320">
                  <c:v>0.45</c:v>
                </c:pt>
                <c:pt idx="321">
                  <c:v>0.5</c:v>
                </c:pt>
                <c:pt idx="322">
                  <c:v>0.87</c:v>
                </c:pt>
                <c:pt idx="323">
                  <c:v>0.87</c:v>
                </c:pt>
                <c:pt idx="324">
                  <c:v>0.91</c:v>
                </c:pt>
                <c:pt idx="325">
                  <c:v>0.72</c:v>
                </c:pt>
                <c:pt idx="326">
                  <c:v>0.76</c:v>
                </c:pt>
                <c:pt idx="327">
                  <c:v>0.95</c:v>
                </c:pt>
                <c:pt idx="328">
                  <c:v>0.69</c:v>
                </c:pt>
                <c:pt idx="329">
                  <c:v>0.97</c:v>
                </c:pt>
                <c:pt idx="330">
                  <c:v>0.59</c:v>
                </c:pt>
                <c:pt idx="331">
                  <c:v>0.87</c:v>
                </c:pt>
                <c:pt idx="332">
                  <c:v>0.42</c:v>
                </c:pt>
                <c:pt idx="333">
                  <c:v>0.77</c:v>
                </c:pt>
                <c:pt idx="334">
                  <c:v>0.53</c:v>
                </c:pt>
                <c:pt idx="335">
                  <c:v>0.67</c:v>
                </c:pt>
                <c:pt idx="336">
                  <c:v>0.93</c:v>
                </c:pt>
                <c:pt idx="337">
                  <c:v>0.85</c:v>
                </c:pt>
                <c:pt idx="338">
                  <c:v>0.9</c:v>
                </c:pt>
                <c:pt idx="339">
                  <c:v>0.9</c:v>
                </c:pt>
                <c:pt idx="340">
                  <c:v>0.85</c:v>
                </c:pt>
                <c:pt idx="341">
                  <c:v>0.79</c:v>
                </c:pt>
                <c:pt idx="342">
                  <c:v>0.71</c:v>
                </c:pt>
                <c:pt idx="343">
                  <c:v>0.33</c:v>
                </c:pt>
                <c:pt idx="344">
                  <c:v>0.73</c:v>
                </c:pt>
                <c:pt idx="345">
                  <c:v>0.85</c:v>
                </c:pt>
                <c:pt idx="346">
                  <c:v>0.9</c:v>
                </c:pt>
                <c:pt idx="347">
                  <c:v>0.8</c:v>
                </c:pt>
                <c:pt idx="348">
                  <c:v>0.74</c:v>
                </c:pt>
                <c:pt idx="349">
                  <c:v>0.57999999999999996</c:v>
                </c:pt>
                <c:pt idx="350">
                  <c:v>0.85</c:v>
                </c:pt>
                <c:pt idx="351">
                  <c:v>0.86</c:v>
                </c:pt>
                <c:pt idx="352">
                  <c:v>0.95</c:v>
                </c:pt>
                <c:pt idx="353">
                  <c:v>0.8</c:v>
                </c:pt>
                <c:pt idx="354">
                  <c:v>0.41</c:v>
                </c:pt>
                <c:pt idx="355">
                  <c:v>0.89</c:v>
                </c:pt>
                <c:pt idx="356">
                  <c:v>0.9</c:v>
                </c:pt>
                <c:pt idx="357">
                  <c:v>0.83</c:v>
                </c:pt>
                <c:pt idx="358">
                  <c:v>0.67</c:v>
                </c:pt>
                <c:pt idx="359">
                  <c:v>0.79</c:v>
                </c:pt>
                <c:pt idx="360">
                  <c:v>0.73</c:v>
                </c:pt>
                <c:pt idx="361">
                  <c:v>0.85</c:v>
                </c:pt>
                <c:pt idx="362">
                  <c:v>0.95</c:v>
                </c:pt>
                <c:pt idx="363">
                  <c:v>0.73</c:v>
                </c:pt>
                <c:pt idx="364">
                  <c:v>0.75</c:v>
                </c:pt>
                <c:pt idx="365">
                  <c:v>0.56999999999999995</c:v>
                </c:pt>
                <c:pt idx="366">
                  <c:v>0.69</c:v>
                </c:pt>
                <c:pt idx="367">
                  <c:v>0.84</c:v>
                </c:pt>
                <c:pt idx="368">
                  <c:v>0.7</c:v>
                </c:pt>
                <c:pt idx="369">
                  <c:v>0.78</c:v>
                </c:pt>
                <c:pt idx="370">
                  <c:v>0.66</c:v>
                </c:pt>
                <c:pt idx="371">
                  <c:v>0.71</c:v>
                </c:pt>
                <c:pt idx="372">
                  <c:v>0.89</c:v>
                </c:pt>
                <c:pt idx="373">
                  <c:v>0.78</c:v>
                </c:pt>
                <c:pt idx="374">
                  <c:v>0.59</c:v>
                </c:pt>
                <c:pt idx="375">
                  <c:v>0.81</c:v>
                </c:pt>
                <c:pt idx="376">
                  <c:v>0.82</c:v>
                </c:pt>
                <c:pt idx="377">
                  <c:v>0.93</c:v>
                </c:pt>
                <c:pt idx="378">
                  <c:v>0.56000000000000005</c:v>
                </c:pt>
                <c:pt idx="379">
                  <c:v>0.74</c:v>
                </c:pt>
                <c:pt idx="380">
                  <c:v>0.91</c:v>
                </c:pt>
                <c:pt idx="381">
                  <c:v>0.74</c:v>
                </c:pt>
                <c:pt idx="382">
                  <c:v>0.79</c:v>
                </c:pt>
                <c:pt idx="383">
                  <c:v>0.56999999999999995</c:v>
                </c:pt>
                <c:pt idx="384">
                  <c:v>0.96</c:v>
                </c:pt>
                <c:pt idx="385">
                  <c:v>0.8</c:v>
                </c:pt>
                <c:pt idx="386">
                  <c:v>0.2</c:v>
                </c:pt>
                <c:pt idx="387">
                  <c:v>0.55000000000000004</c:v>
                </c:pt>
                <c:pt idx="388">
                  <c:v>0.39</c:v>
                </c:pt>
                <c:pt idx="389">
                  <c:v>0.52</c:v>
                </c:pt>
                <c:pt idx="390">
                  <c:v>0.61</c:v>
                </c:pt>
                <c:pt idx="391">
                  <c:v>0.74</c:v>
                </c:pt>
                <c:pt idx="392">
                  <c:v>0.41</c:v>
                </c:pt>
                <c:pt idx="393">
                  <c:v>0.75</c:v>
                </c:pt>
                <c:pt idx="394">
                  <c:v>0.42</c:v>
                </c:pt>
                <c:pt idx="395">
                  <c:v>0.21</c:v>
                </c:pt>
                <c:pt idx="396">
                  <c:v>0.81</c:v>
                </c:pt>
                <c:pt idx="397">
                  <c:v>0.9</c:v>
                </c:pt>
                <c:pt idx="398">
                  <c:v>0.65</c:v>
                </c:pt>
                <c:pt idx="399">
                  <c:v>0.92</c:v>
                </c:pt>
                <c:pt idx="400">
                  <c:v>0.64</c:v>
                </c:pt>
                <c:pt idx="401">
                  <c:v>0.5</c:v>
                </c:pt>
                <c:pt idx="402">
                  <c:v>0.22</c:v>
                </c:pt>
                <c:pt idx="403">
                  <c:v>0.74</c:v>
                </c:pt>
                <c:pt idx="404">
                  <c:v>0.7</c:v>
                </c:pt>
                <c:pt idx="405">
                  <c:v>0.28000000000000003</c:v>
                </c:pt>
                <c:pt idx="406">
                  <c:v>0.87</c:v>
                </c:pt>
                <c:pt idx="407">
                  <c:v>0.81</c:v>
                </c:pt>
                <c:pt idx="408">
                  <c:v>0.79</c:v>
                </c:pt>
                <c:pt idx="409">
                  <c:v>0.59</c:v>
                </c:pt>
                <c:pt idx="410">
                  <c:v>0.82</c:v>
                </c:pt>
                <c:pt idx="411">
                  <c:v>0.85</c:v>
                </c:pt>
                <c:pt idx="412">
                  <c:v>0.2</c:v>
                </c:pt>
                <c:pt idx="413">
                  <c:v>0.73</c:v>
                </c:pt>
                <c:pt idx="414">
                  <c:v>0.85</c:v>
                </c:pt>
                <c:pt idx="415">
                  <c:v>0.89</c:v>
                </c:pt>
                <c:pt idx="416">
                  <c:v>0.14000000000000001</c:v>
                </c:pt>
                <c:pt idx="417">
                  <c:v>0.77</c:v>
                </c:pt>
                <c:pt idx="418">
                  <c:v>0.9</c:v>
                </c:pt>
                <c:pt idx="419">
                  <c:v>0.92</c:v>
                </c:pt>
                <c:pt idx="420">
                  <c:v>0.61</c:v>
                </c:pt>
                <c:pt idx="421">
                  <c:v>0.89</c:v>
                </c:pt>
                <c:pt idx="422">
                  <c:v>0.45</c:v>
                </c:pt>
                <c:pt idx="423">
                  <c:v>0.84</c:v>
                </c:pt>
                <c:pt idx="424">
                  <c:v>0.63</c:v>
                </c:pt>
                <c:pt idx="425">
                  <c:v>0.86</c:v>
                </c:pt>
                <c:pt idx="426">
                  <c:v>0.86</c:v>
                </c:pt>
                <c:pt idx="427">
                  <c:v>0.3</c:v>
                </c:pt>
                <c:pt idx="428">
                  <c:v>0.76</c:v>
                </c:pt>
                <c:pt idx="429">
                  <c:v>0.76</c:v>
                </c:pt>
                <c:pt idx="430">
                  <c:v>0.39</c:v>
                </c:pt>
                <c:pt idx="431">
                  <c:v>0.11</c:v>
                </c:pt>
                <c:pt idx="432">
                  <c:v>0.43</c:v>
                </c:pt>
                <c:pt idx="433">
                  <c:v>0.75</c:v>
                </c:pt>
                <c:pt idx="434">
                  <c:v>0.86</c:v>
                </c:pt>
                <c:pt idx="435">
                  <c:v>0.62</c:v>
                </c:pt>
                <c:pt idx="436">
                  <c:v>0.66</c:v>
                </c:pt>
                <c:pt idx="437">
                  <c:v>0.62</c:v>
                </c:pt>
                <c:pt idx="438">
                  <c:v>0.67</c:v>
                </c:pt>
                <c:pt idx="439">
                  <c:v>0.64</c:v>
                </c:pt>
                <c:pt idx="440">
                  <c:v>0.46</c:v>
                </c:pt>
                <c:pt idx="441">
                  <c:v>0.47</c:v>
                </c:pt>
                <c:pt idx="442">
                  <c:v>0.64</c:v>
                </c:pt>
                <c:pt idx="443">
                  <c:v>0.21</c:v>
                </c:pt>
                <c:pt idx="444">
                  <c:v>0.62</c:v>
                </c:pt>
                <c:pt idx="445">
                  <c:v>0.5</c:v>
                </c:pt>
                <c:pt idx="446">
                  <c:v>0.53</c:v>
                </c:pt>
                <c:pt idx="447">
                  <c:v>0.05</c:v>
                </c:pt>
                <c:pt idx="448">
                  <c:v>0.87</c:v>
                </c:pt>
                <c:pt idx="449">
                  <c:v>0.43</c:v>
                </c:pt>
                <c:pt idx="450">
                  <c:v>0.51</c:v>
                </c:pt>
                <c:pt idx="451">
                  <c:v>0.31</c:v>
                </c:pt>
                <c:pt idx="452">
                  <c:v>0.56000000000000005</c:v>
                </c:pt>
                <c:pt idx="453">
                  <c:v>0.49</c:v>
                </c:pt>
                <c:pt idx="454">
                  <c:v>0.67</c:v>
                </c:pt>
                <c:pt idx="455">
                  <c:v>0.36</c:v>
                </c:pt>
                <c:pt idx="456">
                  <c:v>0.81</c:v>
                </c:pt>
                <c:pt idx="457">
                  <c:v>0.61</c:v>
                </c:pt>
                <c:pt idx="458">
                  <c:v>0.83</c:v>
                </c:pt>
                <c:pt idx="459">
                  <c:v>0.56000000000000005</c:v>
                </c:pt>
                <c:pt idx="460">
                  <c:v>0.69</c:v>
                </c:pt>
                <c:pt idx="461">
                  <c:v>0.82</c:v>
                </c:pt>
                <c:pt idx="462">
                  <c:v>0.48</c:v>
                </c:pt>
                <c:pt idx="463">
                  <c:v>0.95</c:v>
                </c:pt>
                <c:pt idx="464">
                  <c:v>0.54</c:v>
                </c:pt>
                <c:pt idx="465">
                  <c:v>0.56999999999999995</c:v>
                </c:pt>
                <c:pt idx="466">
                  <c:v>0.44</c:v>
                </c:pt>
                <c:pt idx="467">
                  <c:v>0.7</c:v>
                </c:pt>
                <c:pt idx="468">
                  <c:v>0.55000000000000004</c:v>
                </c:pt>
                <c:pt idx="469">
                  <c:v>0.6</c:v>
                </c:pt>
                <c:pt idx="470">
                  <c:v>0.26</c:v>
                </c:pt>
                <c:pt idx="471">
                  <c:v>0.64</c:v>
                </c:pt>
                <c:pt idx="472">
                  <c:v>0.43</c:v>
                </c:pt>
                <c:pt idx="473">
                  <c:v>0.52</c:v>
                </c:pt>
                <c:pt idx="474">
                  <c:v>0.24</c:v>
                </c:pt>
                <c:pt idx="475">
                  <c:v>0.7</c:v>
                </c:pt>
                <c:pt idx="476">
                  <c:v>0.56000000000000005</c:v>
                </c:pt>
                <c:pt idx="477">
                  <c:v>0.59</c:v>
                </c:pt>
                <c:pt idx="478">
                  <c:v>0.7</c:v>
                </c:pt>
                <c:pt idx="479">
                  <c:v>0.26</c:v>
                </c:pt>
                <c:pt idx="480">
                  <c:v>0.52</c:v>
                </c:pt>
                <c:pt idx="481">
                  <c:v>0.06</c:v>
                </c:pt>
                <c:pt idx="482">
                  <c:v>0.39</c:v>
                </c:pt>
                <c:pt idx="483">
                  <c:v>0.27</c:v>
                </c:pt>
                <c:pt idx="484">
                  <c:v>0.24</c:v>
                </c:pt>
                <c:pt idx="485">
                  <c:v>0.85</c:v>
                </c:pt>
                <c:pt idx="486">
                  <c:v>0.39</c:v>
                </c:pt>
                <c:pt idx="487">
                  <c:v>0.56000000000000005</c:v>
                </c:pt>
                <c:pt idx="488">
                  <c:v>0.43</c:v>
                </c:pt>
                <c:pt idx="489">
                  <c:v>0.44</c:v>
                </c:pt>
                <c:pt idx="490">
                  <c:v>0.56000000000000005</c:v>
                </c:pt>
                <c:pt idx="491">
                  <c:v>0.38</c:v>
                </c:pt>
                <c:pt idx="492">
                  <c:v>0.28000000000000003</c:v>
                </c:pt>
                <c:pt idx="493">
                  <c:v>0.4</c:v>
                </c:pt>
                <c:pt idx="494">
                  <c:v>0.67</c:v>
                </c:pt>
                <c:pt idx="495">
                  <c:v>0.66</c:v>
                </c:pt>
                <c:pt idx="496">
                  <c:v>0.33</c:v>
                </c:pt>
                <c:pt idx="497">
                  <c:v>0.5</c:v>
                </c:pt>
                <c:pt idx="498">
                  <c:v>0.33</c:v>
                </c:pt>
                <c:pt idx="499">
                  <c:v>0.24</c:v>
                </c:pt>
                <c:pt idx="500">
                  <c:v>0.45</c:v>
                </c:pt>
                <c:pt idx="501">
                  <c:v>0.05</c:v>
                </c:pt>
                <c:pt idx="502">
                  <c:v>0.72</c:v>
                </c:pt>
                <c:pt idx="503">
                  <c:v>0.44</c:v>
                </c:pt>
                <c:pt idx="504">
                  <c:v>0.18</c:v>
                </c:pt>
                <c:pt idx="505">
                  <c:v>0.33</c:v>
                </c:pt>
                <c:pt idx="506">
                  <c:v>0.84</c:v>
                </c:pt>
                <c:pt idx="507">
                  <c:v>0.31</c:v>
                </c:pt>
                <c:pt idx="508">
                  <c:v>0.31</c:v>
                </c:pt>
                <c:pt idx="509">
                  <c:v>0.72</c:v>
                </c:pt>
                <c:pt idx="510">
                  <c:v>0.14000000000000001</c:v>
                </c:pt>
                <c:pt idx="511">
                  <c:v>0.06</c:v>
                </c:pt>
                <c:pt idx="512">
                  <c:v>0.39</c:v>
                </c:pt>
                <c:pt idx="513">
                  <c:v>0.12</c:v>
                </c:pt>
                <c:pt idx="514">
                  <c:v>0.5</c:v>
                </c:pt>
                <c:pt idx="515">
                  <c:v>0.35</c:v>
                </c:pt>
                <c:pt idx="516">
                  <c:v>0.01</c:v>
                </c:pt>
                <c:pt idx="517">
                  <c:v>0.15</c:v>
                </c:pt>
                <c:pt idx="518">
                  <c:v>0.18</c:v>
                </c:pt>
                <c:pt idx="519">
                  <c:v>0.43</c:v>
                </c:pt>
                <c:pt idx="520">
                  <c:v>0.54</c:v>
                </c:pt>
                <c:pt idx="521">
                  <c:v>0.23</c:v>
                </c:pt>
                <c:pt idx="522">
                  <c:v>0.35</c:v>
                </c:pt>
                <c:pt idx="523">
                  <c:v>0.08</c:v>
                </c:pt>
                <c:pt idx="524">
                  <c:v>0.56999999999999995</c:v>
                </c:pt>
                <c:pt idx="525">
                  <c:v>0.15</c:v>
                </c:pt>
                <c:pt idx="526">
                  <c:v>0.6</c:v>
                </c:pt>
                <c:pt idx="527">
                  <c:v>0.17</c:v>
                </c:pt>
                <c:pt idx="528">
                  <c:v>0.59</c:v>
                </c:pt>
                <c:pt idx="529">
                  <c:v>0.51</c:v>
                </c:pt>
                <c:pt idx="530">
                  <c:v>0.11</c:v>
                </c:pt>
                <c:pt idx="531">
                  <c:v>0.42</c:v>
                </c:pt>
                <c:pt idx="532">
                  <c:v>0.09</c:v>
                </c:pt>
                <c:pt idx="533">
                  <c:v>0.22</c:v>
                </c:pt>
                <c:pt idx="534">
                  <c:v>0.41</c:v>
                </c:pt>
                <c:pt idx="535">
                  <c:v>0.53</c:v>
                </c:pt>
                <c:pt idx="536">
                  <c:v>0.17</c:v>
                </c:pt>
                <c:pt idx="537">
                  <c:v>0.96</c:v>
                </c:pt>
                <c:pt idx="538">
                  <c:v>0.38</c:v>
                </c:pt>
                <c:pt idx="539">
                  <c:v>0.57999999999999996</c:v>
                </c:pt>
                <c:pt idx="540">
                  <c:v>0.16</c:v>
                </c:pt>
                <c:pt idx="541">
                  <c:v>0.56000000000000005</c:v>
                </c:pt>
                <c:pt idx="542">
                  <c:v>0.13</c:v>
                </c:pt>
                <c:pt idx="543">
                  <c:v>0.33</c:v>
                </c:pt>
                <c:pt idx="544">
                  <c:v>0.46</c:v>
                </c:pt>
                <c:pt idx="545">
                  <c:v>0.35</c:v>
                </c:pt>
                <c:pt idx="546">
                  <c:v>0.23</c:v>
                </c:pt>
                <c:pt idx="547">
                  <c:v>0.46</c:v>
                </c:pt>
                <c:pt idx="548">
                  <c:v>0.04</c:v>
                </c:pt>
                <c:pt idx="549">
                  <c:v>0.18</c:v>
                </c:pt>
                <c:pt idx="550">
                  <c:v>0.47</c:v>
                </c:pt>
                <c:pt idx="551">
                  <c:v>0.13</c:v>
                </c:pt>
                <c:pt idx="552">
                  <c:v>0.24</c:v>
                </c:pt>
                <c:pt idx="553">
                  <c:v>0.12</c:v>
                </c:pt>
                <c:pt idx="554">
                  <c:v>0.69</c:v>
                </c:pt>
                <c:pt idx="555">
                  <c:v>0.04</c:v>
                </c:pt>
                <c:pt idx="556">
                  <c:v>0.24</c:v>
                </c:pt>
                <c:pt idx="557">
                  <c:v>0.19</c:v>
                </c:pt>
                <c:pt idx="558">
                  <c:v>0.1</c:v>
                </c:pt>
                <c:pt idx="559">
                  <c:v>0.37</c:v>
                </c:pt>
                <c:pt idx="560">
                  <c:v>0.6</c:v>
                </c:pt>
                <c:pt idx="561">
                  <c:v>0.31</c:v>
                </c:pt>
                <c:pt idx="562">
                  <c:v>0.11</c:v>
                </c:pt>
                <c:pt idx="563">
                  <c:v>0.14000000000000001</c:v>
                </c:pt>
                <c:pt idx="564">
                  <c:v>0.35</c:v>
                </c:pt>
                <c:pt idx="565">
                  <c:v>0.67</c:v>
                </c:pt>
                <c:pt idx="566">
                  <c:v>0.06</c:v>
                </c:pt>
                <c:pt idx="567">
                  <c:v>0.28000000000000003</c:v>
                </c:pt>
                <c:pt idx="568">
                  <c:v>0.08</c:v>
                </c:pt>
                <c:pt idx="569">
                  <c:v>0.18</c:v>
                </c:pt>
                <c:pt idx="570">
                  <c:v>0.37</c:v>
                </c:pt>
                <c:pt idx="571">
                  <c:v>0.37</c:v>
                </c:pt>
                <c:pt idx="572">
                  <c:v>0.23</c:v>
                </c:pt>
                <c:pt idx="573">
                  <c:v>0.23</c:v>
                </c:pt>
                <c:pt idx="574">
                  <c:v>0.28999999999999998</c:v>
                </c:pt>
                <c:pt idx="575">
                  <c:v>0.26</c:v>
                </c:pt>
                <c:pt idx="576">
                  <c:v>0.21</c:v>
                </c:pt>
                <c:pt idx="577">
                  <c:v>0.3</c:v>
                </c:pt>
                <c:pt idx="578">
                  <c:v>0.37</c:v>
                </c:pt>
                <c:pt idx="579">
                  <c:v>0.62</c:v>
                </c:pt>
                <c:pt idx="580">
                  <c:v>0.67</c:v>
                </c:pt>
                <c:pt idx="581">
                  <c:v>0.28000000000000003</c:v>
                </c:pt>
                <c:pt idx="582">
                  <c:v>7.0000000000000007E-2</c:v>
                </c:pt>
                <c:pt idx="583">
                  <c:v>0.7</c:v>
                </c:pt>
                <c:pt idx="584">
                  <c:v>0.11</c:v>
                </c:pt>
                <c:pt idx="585">
                  <c:v>0.74</c:v>
                </c:pt>
                <c:pt idx="586">
                  <c:v>0.17</c:v>
                </c:pt>
                <c:pt idx="587">
                  <c:v>0.16</c:v>
                </c:pt>
                <c:pt idx="588">
                  <c:v>0.03</c:v>
                </c:pt>
                <c:pt idx="589">
                  <c:v>0.35</c:v>
                </c:pt>
                <c:pt idx="590">
                  <c:v>0.13</c:v>
                </c:pt>
                <c:pt idx="591">
                  <c:v>0.18</c:v>
                </c:pt>
                <c:pt idx="592">
                  <c:v>0.41</c:v>
                </c:pt>
                <c:pt idx="593">
                  <c:v>0.06</c:v>
                </c:pt>
                <c:pt idx="594">
                  <c:v>0.33</c:v>
                </c:pt>
                <c:pt idx="595">
                  <c:v>0.22</c:v>
                </c:pt>
                <c:pt idx="596">
                  <c:v>0.23</c:v>
                </c:pt>
                <c:pt idx="597">
                  <c:v>0.15</c:v>
                </c:pt>
                <c:pt idx="598">
                  <c:v>0.03</c:v>
                </c:pt>
                <c:pt idx="599">
                  <c:v>0.12</c:v>
                </c:pt>
                <c:pt idx="600">
                  <c:v>0.44</c:v>
                </c:pt>
                <c:pt idx="601">
                  <c:v>0.4</c:v>
                </c:pt>
                <c:pt idx="602">
                  <c:v>0.05</c:v>
                </c:pt>
                <c:pt idx="603">
                  <c:v>0.04</c:v>
                </c:pt>
                <c:pt idx="604">
                  <c:v>0.09</c:v>
                </c:pt>
                <c:pt idx="605">
                  <c:v>0.28000000000000003</c:v>
                </c:pt>
                <c:pt idx="606">
                  <c:v>0.26</c:v>
                </c:pt>
                <c:pt idx="607">
                  <c:v>0.44</c:v>
                </c:pt>
                <c:pt idx="608">
                  <c:v>0.24</c:v>
                </c:pt>
                <c:pt idx="609">
                  <c:v>0.53</c:v>
                </c:pt>
                <c:pt idx="610">
                  <c:v>0.02</c:v>
                </c:pt>
                <c:pt idx="611">
                  <c:v>0.15</c:v>
                </c:pt>
                <c:pt idx="612">
                  <c:v>0.37</c:v>
                </c:pt>
                <c:pt idx="613">
                  <c:v>0.36</c:v>
                </c:pt>
                <c:pt idx="614">
                  <c:v>0.19</c:v>
                </c:pt>
                <c:pt idx="615">
                  <c:v>0.05</c:v>
                </c:pt>
                <c:pt idx="616">
                  <c:v>0.28000000000000003</c:v>
                </c:pt>
                <c:pt idx="617">
                  <c:v>0.12</c:v>
                </c:pt>
                <c:pt idx="618">
                  <c:v>7.0000000000000007E-2</c:v>
                </c:pt>
                <c:pt idx="619">
                  <c:v>0.15</c:v>
                </c:pt>
                <c:pt idx="620">
                  <c:v>0.01</c:v>
                </c:pt>
                <c:pt idx="621">
                  <c:v>0.09</c:v>
                </c:pt>
                <c:pt idx="622">
                  <c:v>0.11</c:v>
                </c:pt>
                <c:pt idx="623">
                  <c:v>0.14000000000000001</c:v>
                </c:pt>
                <c:pt idx="624">
                  <c:v>0.16</c:v>
                </c:pt>
                <c:pt idx="625">
                  <c:v>0.09</c:v>
                </c:pt>
                <c:pt idx="626">
                  <c:v>0.31</c:v>
                </c:pt>
                <c:pt idx="627">
                  <c:v>0.28999999999999998</c:v>
                </c:pt>
                <c:pt idx="628">
                  <c:v>0.2</c:v>
                </c:pt>
                <c:pt idx="629">
                  <c:v>0.16</c:v>
                </c:pt>
                <c:pt idx="630">
                  <c:v>0.06</c:v>
                </c:pt>
                <c:pt idx="631">
                  <c:v>0.08</c:v>
                </c:pt>
                <c:pt idx="632">
                  <c:v>0.44</c:v>
                </c:pt>
                <c:pt idx="633">
                  <c:v>0.06</c:v>
                </c:pt>
                <c:pt idx="634">
                  <c:v>0.02</c:v>
                </c:pt>
                <c:pt idx="635">
                  <c:v>0.18</c:v>
                </c:pt>
                <c:pt idx="636">
                  <c:v>0.23</c:v>
                </c:pt>
                <c:pt idx="637">
                  <c:v>0.06</c:v>
                </c:pt>
                <c:pt idx="638">
                  <c:v>0.16</c:v>
                </c:pt>
                <c:pt idx="639">
                  <c:v>0.1</c:v>
                </c:pt>
                <c:pt idx="640">
                  <c:v>0.12</c:v>
                </c:pt>
                <c:pt idx="641">
                  <c:v>0.06</c:v>
                </c:pt>
                <c:pt idx="642">
                  <c:v>0.14000000000000001</c:v>
                </c:pt>
                <c:pt idx="643">
                  <c:v>0.03</c:v>
                </c:pt>
                <c:pt idx="644">
                  <c:v>0.05</c:v>
                </c:pt>
                <c:pt idx="645">
                  <c:v>0.14000000000000001</c:v>
                </c:pt>
                <c:pt idx="646">
                  <c:v>0.16</c:v>
                </c:pt>
                <c:pt idx="647">
                  <c:v>0.27</c:v>
                </c:pt>
                <c:pt idx="648">
                  <c:v>0.08</c:v>
                </c:pt>
                <c:pt idx="649">
                  <c:v>0.09</c:v>
                </c:pt>
                <c:pt idx="650">
                  <c:v>0.32</c:v>
                </c:pt>
                <c:pt idx="651">
                  <c:v>0.13</c:v>
                </c:pt>
                <c:pt idx="652">
                  <c:v>0.03</c:v>
                </c:pt>
                <c:pt idx="653">
                  <c:v>0.31</c:v>
                </c:pt>
                <c:pt idx="654">
                  <c:v>7.0000000000000007E-2</c:v>
                </c:pt>
                <c:pt idx="655">
                  <c:v>0.1</c:v>
                </c:pt>
                <c:pt idx="656">
                  <c:v>7.0000000000000007E-2</c:v>
                </c:pt>
                <c:pt idx="657">
                  <c:v>0.21</c:v>
                </c:pt>
                <c:pt idx="658">
                  <c:v>0.05</c:v>
                </c:pt>
                <c:pt idx="659">
                  <c:v>0.41</c:v>
                </c:pt>
                <c:pt idx="660">
                  <c:v>0.06</c:v>
                </c:pt>
                <c:pt idx="661">
                  <c:v>0.12</c:v>
                </c:pt>
                <c:pt idx="662">
                  <c:v>0.05</c:v>
                </c:pt>
                <c:pt idx="663">
                  <c:v>0.09</c:v>
                </c:pt>
                <c:pt idx="664">
                  <c:v>0.14000000000000001</c:v>
                </c:pt>
                <c:pt idx="665">
                  <c:v>0.24</c:v>
                </c:pt>
                <c:pt idx="666">
                  <c:v>0.28000000000000003</c:v>
                </c:pt>
                <c:pt idx="667">
                  <c:v>0.12</c:v>
                </c:pt>
                <c:pt idx="668">
                  <c:v>0.14000000000000001</c:v>
                </c:pt>
                <c:pt idx="669">
                  <c:v>0.18</c:v>
                </c:pt>
                <c:pt idx="670">
                  <c:v>7.0000000000000007E-2</c:v>
                </c:pt>
                <c:pt idx="671">
                  <c:v>0.51</c:v>
                </c:pt>
                <c:pt idx="672">
                  <c:v>0.24</c:v>
                </c:pt>
                <c:pt idx="673">
                  <c:v>7.0000000000000007E-2</c:v>
                </c:pt>
                <c:pt idx="674">
                  <c:v>0.04</c:v>
                </c:pt>
                <c:pt idx="675">
                  <c:v>0.01</c:v>
                </c:pt>
                <c:pt idx="676">
                  <c:v>0.16</c:v>
                </c:pt>
                <c:pt idx="677">
                  <c:v>0.04</c:v>
                </c:pt>
                <c:pt idx="678">
                  <c:v>0.19</c:v>
                </c:pt>
                <c:pt idx="679">
                  <c:v>0.26</c:v>
                </c:pt>
                <c:pt idx="680">
                  <c:v>0.08</c:v>
                </c:pt>
                <c:pt idx="681">
                  <c:v>0.05</c:v>
                </c:pt>
                <c:pt idx="682">
                  <c:v>0.05</c:v>
                </c:pt>
                <c:pt idx="683">
                  <c:v>7.0000000000000007E-2</c:v>
                </c:pt>
                <c:pt idx="684">
                  <c:v>0.04</c:v>
                </c:pt>
                <c:pt idx="685">
                  <c:v>0.11</c:v>
                </c:pt>
                <c:pt idx="686">
                  <c:v>0.15</c:v>
                </c:pt>
                <c:pt idx="687">
                  <c:v>0.1</c:v>
                </c:pt>
                <c:pt idx="688">
                  <c:v>0.04</c:v>
                </c:pt>
                <c:pt idx="689">
                  <c:v>0.05</c:v>
                </c:pt>
                <c:pt idx="690">
                  <c:v>0.11</c:v>
                </c:pt>
                <c:pt idx="691">
                  <c:v>0.05</c:v>
                </c:pt>
                <c:pt idx="692">
                  <c:v>0.08</c:v>
                </c:pt>
                <c:pt idx="693">
                  <c:v>0.03</c:v>
                </c:pt>
                <c:pt idx="694">
                  <c:v>0.06</c:v>
                </c:pt>
                <c:pt idx="695">
                  <c:v>0.28000000000000003</c:v>
                </c:pt>
                <c:pt idx="696">
                  <c:v>0.15</c:v>
                </c:pt>
                <c:pt idx="697">
                  <c:v>0.14000000000000001</c:v>
                </c:pt>
                <c:pt idx="698">
                  <c:v>0.25</c:v>
                </c:pt>
                <c:pt idx="699">
                  <c:v>0.05</c:v>
                </c:pt>
                <c:pt idx="700">
                  <c:v>0.18</c:v>
                </c:pt>
                <c:pt idx="701">
                  <c:v>0.1</c:v>
                </c:pt>
                <c:pt idx="702">
                  <c:v>0.05</c:v>
                </c:pt>
                <c:pt idx="703">
                  <c:v>0.26</c:v>
                </c:pt>
                <c:pt idx="704">
                  <c:v>7.0000000000000007E-2</c:v>
                </c:pt>
                <c:pt idx="705">
                  <c:v>0.04</c:v>
                </c:pt>
                <c:pt idx="706">
                  <c:v>0.11</c:v>
                </c:pt>
                <c:pt idx="707">
                  <c:v>0.26</c:v>
                </c:pt>
                <c:pt idx="708">
                  <c:v>0.06</c:v>
                </c:pt>
                <c:pt idx="709">
                  <c:v>0.03</c:v>
                </c:pt>
                <c:pt idx="710">
                  <c:v>0.11</c:v>
                </c:pt>
                <c:pt idx="711">
                  <c:v>0.06</c:v>
                </c:pt>
                <c:pt idx="712">
                  <c:v>7.0000000000000007E-2</c:v>
                </c:pt>
                <c:pt idx="713">
                  <c:v>0.04</c:v>
                </c:pt>
                <c:pt idx="714">
                  <c:v>0.05</c:v>
                </c:pt>
                <c:pt idx="715">
                  <c:v>0.44</c:v>
                </c:pt>
                <c:pt idx="716">
                  <c:v>0.14000000000000001</c:v>
                </c:pt>
                <c:pt idx="717">
                  <c:v>0.05</c:v>
                </c:pt>
                <c:pt idx="718">
                  <c:v>0.36</c:v>
                </c:pt>
                <c:pt idx="719">
                  <c:v>0.04</c:v>
                </c:pt>
                <c:pt idx="720">
                  <c:v>0.05</c:v>
                </c:pt>
                <c:pt idx="721">
                  <c:v>0.09</c:v>
                </c:pt>
                <c:pt idx="722">
                  <c:v>0.03</c:v>
                </c:pt>
                <c:pt idx="723">
                  <c:v>0.06</c:v>
                </c:pt>
                <c:pt idx="724">
                  <c:v>0.06</c:v>
                </c:pt>
                <c:pt idx="725">
                  <c:v>0.4</c:v>
                </c:pt>
                <c:pt idx="726">
                  <c:v>0.06</c:v>
                </c:pt>
                <c:pt idx="727">
                  <c:v>0.1</c:v>
                </c:pt>
                <c:pt idx="728">
                  <c:v>0.09</c:v>
                </c:pt>
                <c:pt idx="729">
                  <c:v>0.09</c:v>
                </c:pt>
                <c:pt idx="730">
                  <c:v>0.08</c:v>
                </c:pt>
                <c:pt idx="731">
                  <c:v>0.18</c:v>
                </c:pt>
                <c:pt idx="732">
                  <c:v>0.14000000000000001</c:v>
                </c:pt>
                <c:pt idx="733">
                  <c:v>0.05</c:v>
                </c:pt>
                <c:pt idx="734">
                  <c:v>0.05</c:v>
                </c:pt>
                <c:pt idx="735">
                  <c:v>0.11</c:v>
                </c:pt>
                <c:pt idx="736">
                  <c:v>0.06</c:v>
                </c:pt>
                <c:pt idx="737">
                  <c:v>0.04</c:v>
                </c:pt>
                <c:pt idx="738">
                  <c:v>0.1</c:v>
                </c:pt>
                <c:pt idx="739">
                  <c:v>0.01</c:v>
                </c:pt>
                <c:pt idx="740">
                  <c:v>7.0000000000000007E-2</c:v>
                </c:pt>
                <c:pt idx="741">
                  <c:v>0.08</c:v>
                </c:pt>
                <c:pt idx="742">
                  <c:v>0.06</c:v>
                </c:pt>
                <c:pt idx="743">
                  <c:v>0.02</c:v>
                </c:pt>
                <c:pt idx="744">
                  <c:v>0.11</c:v>
                </c:pt>
                <c:pt idx="745">
                  <c:v>0.14000000000000001</c:v>
                </c:pt>
                <c:pt idx="746">
                  <c:v>0.08</c:v>
                </c:pt>
                <c:pt idx="747">
                  <c:v>0.03</c:v>
                </c:pt>
                <c:pt idx="748">
                  <c:v>0.53</c:v>
                </c:pt>
                <c:pt idx="749">
                  <c:v>0.02</c:v>
                </c:pt>
                <c:pt idx="750">
                  <c:v>0.05</c:v>
                </c:pt>
                <c:pt idx="751">
                  <c:v>0.09</c:v>
                </c:pt>
                <c:pt idx="752">
                  <c:v>0.16</c:v>
                </c:pt>
                <c:pt idx="753">
                  <c:v>0.08</c:v>
                </c:pt>
                <c:pt idx="754">
                  <c:v>0.06</c:v>
                </c:pt>
                <c:pt idx="755">
                  <c:v>0.14000000000000001</c:v>
                </c:pt>
                <c:pt idx="756">
                  <c:v>0.04</c:v>
                </c:pt>
                <c:pt idx="757">
                  <c:v>0.13</c:v>
                </c:pt>
                <c:pt idx="758">
                  <c:v>7.0000000000000007E-2</c:v>
                </c:pt>
                <c:pt idx="759">
                  <c:v>0.06</c:v>
                </c:pt>
                <c:pt idx="760">
                  <c:v>0.2</c:v>
                </c:pt>
                <c:pt idx="761">
                  <c:v>0.05</c:v>
                </c:pt>
                <c:pt idx="762">
                  <c:v>0.11</c:v>
                </c:pt>
                <c:pt idx="763">
                  <c:v>0.05</c:v>
                </c:pt>
                <c:pt idx="764">
                  <c:v>0.11</c:v>
                </c:pt>
                <c:pt idx="765">
                  <c:v>0.1</c:v>
                </c:pt>
                <c:pt idx="766">
                  <c:v>0.03</c:v>
                </c:pt>
                <c:pt idx="767">
                  <c:v>0.15</c:v>
                </c:pt>
                <c:pt idx="768">
                  <c:v>0.11</c:v>
                </c:pt>
                <c:pt idx="769">
                  <c:v>0.12</c:v>
                </c:pt>
                <c:pt idx="770">
                  <c:v>0.03</c:v>
                </c:pt>
                <c:pt idx="771">
                  <c:v>0.06</c:v>
                </c:pt>
                <c:pt idx="772">
                  <c:v>0.03</c:v>
                </c:pt>
                <c:pt idx="773">
                  <c:v>7.0000000000000007E-2</c:v>
                </c:pt>
                <c:pt idx="774">
                  <c:v>0.17</c:v>
                </c:pt>
                <c:pt idx="775">
                  <c:v>7.0000000000000007E-2</c:v>
                </c:pt>
                <c:pt idx="776">
                  <c:v>0.02</c:v>
                </c:pt>
                <c:pt idx="777">
                  <c:v>0.06</c:v>
                </c:pt>
                <c:pt idx="778">
                  <c:v>0.12</c:v>
                </c:pt>
                <c:pt idx="779">
                  <c:v>0.03</c:v>
                </c:pt>
                <c:pt idx="780">
                  <c:v>0.04</c:v>
                </c:pt>
                <c:pt idx="781">
                  <c:v>0.02</c:v>
                </c:pt>
                <c:pt idx="782">
                  <c:v>0.02</c:v>
                </c:pt>
                <c:pt idx="783">
                  <c:v>7.0000000000000007E-2</c:v>
                </c:pt>
                <c:pt idx="784">
                  <c:v>0.04</c:v>
                </c:pt>
                <c:pt idx="785">
                  <c:v>0.11</c:v>
                </c:pt>
                <c:pt idx="786">
                  <c:v>0.01</c:v>
                </c:pt>
                <c:pt idx="787">
                  <c:v>0.03</c:v>
                </c:pt>
                <c:pt idx="788">
                  <c:v>0.06</c:v>
                </c:pt>
                <c:pt idx="789">
                  <c:v>0.04</c:v>
                </c:pt>
                <c:pt idx="790">
                  <c:v>0.01</c:v>
                </c:pt>
                <c:pt idx="791">
                  <c:v>0.01</c:v>
                </c:pt>
                <c:pt idx="792">
                  <c:v>0.08</c:v>
                </c:pt>
                <c:pt idx="793">
                  <c:v>0.14000000000000001</c:v>
                </c:pt>
                <c:pt idx="794">
                  <c:v>0.03</c:v>
                </c:pt>
                <c:pt idx="795">
                  <c:v>0.04</c:v>
                </c:pt>
                <c:pt idx="796">
                  <c:v>0.12</c:v>
                </c:pt>
                <c:pt idx="797">
                  <c:v>0.1</c:v>
                </c:pt>
                <c:pt idx="798">
                  <c:v>0.12</c:v>
                </c:pt>
                <c:pt idx="799">
                  <c:v>0.05</c:v>
                </c:pt>
                <c:pt idx="800">
                  <c:v>0.02</c:v>
                </c:pt>
                <c:pt idx="801">
                  <c:v>7.0000000000000007E-2</c:v>
                </c:pt>
                <c:pt idx="802">
                  <c:v>0.03</c:v>
                </c:pt>
                <c:pt idx="803">
                  <c:v>0.04</c:v>
                </c:pt>
                <c:pt idx="804">
                  <c:v>0.11</c:v>
                </c:pt>
                <c:pt idx="805">
                  <c:v>0.04</c:v>
                </c:pt>
                <c:pt idx="806">
                  <c:v>0.06</c:v>
                </c:pt>
                <c:pt idx="807">
                  <c:v>7.0000000000000007E-2</c:v>
                </c:pt>
                <c:pt idx="808">
                  <c:v>0.11</c:v>
                </c:pt>
                <c:pt idx="809">
                  <c:v>0.04</c:v>
                </c:pt>
                <c:pt idx="810">
                  <c:v>0.04</c:v>
                </c:pt>
                <c:pt idx="811">
                  <c:v>0.09</c:v>
                </c:pt>
                <c:pt idx="812">
                  <c:v>0.1</c:v>
                </c:pt>
                <c:pt idx="813">
                  <c:v>0.04</c:v>
                </c:pt>
                <c:pt idx="814">
                  <c:v>0.25</c:v>
                </c:pt>
                <c:pt idx="815">
                  <c:v>0.02</c:v>
                </c:pt>
                <c:pt idx="816">
                  <c:v>0.04</c:v>
                </c:pt>
                <c:pt idx="817">
                  <c:v>0.13</c:v>
                </c:pt>
                <c:pt idx="818">
                  <c:v>0.11</c:v>
                </c:pt>
                <c:pt idx="819">
                  <c:v>0.13</c:v>
                </c:pt>
                <c:pt idx="820">
                  <c:v>0.04</c:v>
                </c:pt>
                <c:pt idx="821">
                  <c:v>0.06</c:v>
                </c:pt>
                <c:pt idx="822">
                  <c:v>0.04</c:v>
                </c:pt>
                <c:pt idx="823">
                  <c:v>0.17</c:v>
                </c:pt>
                <c:pt idx="824">
                  <c:v>0.04</c:v>
                </c:pt>
                <c:pt idx="825">
                  <c:v>0.09</c:v>
                </c:pt>
                <c:pt idx="826">
                  <c:v>0.13</c:v>
                </c:pt>
                <c:pt idx="827">
                  <c:v>0.01</c:v>
                </c:pt>
                <c:pt idx="828">
                  <c:v>0.11</c:v>
                </c:pt>
                <c:pt idx="829">
                  <c:v>0.03</c:v>
                </c:pt>
                <c:pt idx="830">
                  <c:v>0.03</c:v>
                </c:pt>
                <c:pt idx="831">
                  <c:v>0.04</c:v>
                </c:pt>
                <c:pt idx="832">
                  <c:v>0.03</c:v>
                </c:pt>
                <c:pt idx="833">
                  <c:v>0.06</c:v>
                </c:pt>
                <c:pt idx="834">
                  <c:v>0.04</c:v>
                </c:pt>
                <c:pt idx="835">
                  <c:v>0.03</c:v>
                </c:pt>
                <c:pt idx="836">
                  <c:v>0.12</c:v>
                </c:pt>
                <c:pt idx="837">
                  <c:v>0.03</c:v>
                </c:pt>
                <c:pt idx="838">
                  <c:v>0.04</c:v>
                </c:pt>
                <c:pt idx="839">
                  <c:v>0.04</c:v>
                </c:pt>
                <c:pt idx="840">
                  <c:v>0.04</c:v>
                </c:pt>
                <c:pt idx="841">
                  <c:v>0.02</c:v>
                </c:pt>
                <c:pt idx="842">
                  <c:v>0.04</c:v>
                </c:pt>
                <c:pt idx="843">
                  <c:v>0.02</c:v>
                </c:pt>
                <c:pt idx="844">
                  <c:v>0.12</c:v>
                </c:pt>
                <c:pt idx="845">
                  <c:v>0.04</c:v>
                </c:pt>
                <c:pt idx="846">
                  <c:v>0.02</c:v>
                </c:pt>
                <c:pt idx="847">
                  <c:v>0.03</c:v>
                </c:pt>
                <c:pt idx="848">
                  <c:v>0.13</c:v>
                </c:pt>
                <c:pt idx="849">
                  <c:v>0.06</c:v>
                </c:pt>
                <c:pt idx="850">
                  <c:v>0.36</c:v>
                </c:pt>
                <c:pt idx="851">
                  <c:v>0.02</c:v>
                </c:pt>
                <c:pt idx="852">
                  <c:v>0.04</c:v>
                </c:pt>
                <c:pt idx="853">
                  <c:v>0.06</c:v>
                </c:pt>
                <c:pt idx="854">
                  <c:v>0.23</c:v>
                </c:pt>
                <c:pt idx="855">
                  <c:v>0.05</c:v>
                </c:pt>
                <c:pt idx="856">
                  <c:v>0.27</c:v>
                </c:pt>
                <c:pt idx="857">
                  <c:v>0.04</c:v>
                </c:pt>
                <c:pt idx="858">
                  <c:v>7.0000000000000007E-2</c:v>
                </c:pt>
                <c:pt idx="859">
                  <c:v>0.02</c:v>
                </c:pt>
                <c:pt idx="860">
                  <c:v>7.0000000000000007E-2</c:v>
                </c:pt>
                <c:pt idx="861">
                  <c:v>0.04</c:v>
                </c:pt>
                <c:pt idx="862">
                  <c:v>0.01</c:v>
                </c:pt>
                <c:pt idx="863">
                  <c:v>0.03</c:v>
                </c:pt>
                <c:pt idx="864">
                  <c:v>0.3</c:v>
                </c:pt>
                <c:pt idx="865">
                  <c:v>0.03</c:v>
                </c:pt>
                <c:pt idx="866">
                  <c:v>0.11</c:v>
                </c:pt>
                <c:pt idx="867">
                  <c:v>0.03</c:v>
                </c:pt>
                <c:pt idx="868">
                  <c:v>0.01</c:v>
                </c:pt>
                <c:pt idx="869">
                  <c:v>0.02</c:v>
                </c:pt>
                <c:pt idx="870">
                  <c:v>0.14000000000000001</c:v>
                </c:pt>
                <c:pt idx="871">
                  <c:v>0.03</c:v>
                </c:pt>
                <c:pt idx="872">
                  <c:v>0.04</c:v>
                </c:pt>
                <c:pt idx="873">
                  <c:v>0.03</c:v>
                </c:pt>
                <c:pt idx="874">
                  <c:v>0.04</c:v>
                </c:pt>
                <c:pt idx="875">
                  <c:v>7.0000000000000007E-2</c:v>
                </c:pt>
                <c:pt idx="876">
                  <c:v>0.04</c:v>
                </c:pt>
                <c:pt idx="877">
                  <c:v>0.03</c:v>
                </c:pt>
                <c:pt idx="878">
                  <c:v>0.04</c:v>
                </c:pt>
                <c:pt idx="879">
                  <c:v>0.01</c:v>
                </c:pt>
                <c:pt idx="880">
                  <c:v>0.04</c:v>
                </c:pt>
                <c:pt idx="881">
                  <c:v>0.01</c:v>
                </c:pt>
                <c:pt idx="882">
                  <c:v>0.02</c:v>
                </c:pt>
                <c:pt idx="883">
                  <c:v>0.01</c:v>
                </c:pt>
                <c:pt idx="884">
                  <c:v>0.02</c:v>
                </c:pt>
                <c:pt idx="885">
                  <c:v>0.01</c:v>
                </c:pt>
                <c:pt idx="886">
                  <c:v>0.1</c:v>
                </c:pt>
                <c:pt idx="887">
                  <c:v>0.02</c:v>
                </c:pt>
                <c:pt idx="888">
                  <c:v>0.04</c:v>
                </c:pt>
                <c:pt idx="889">
                  <c:v>0.02</c:v>
                </c:pt>
                <c:pt idx="890">
                  <c:v>0.01</c:v>
                </c:pt>
                <c:pt idx="891">
                  <c:v>0.02</c:v>
                </c:pt>
                <c:pt idx="892">
                  <c:v>0.04</c:v>
                </c:pt>
                <c:pt idx="893">
                  <c:v>0.01</c:v>
                </c:pt>
                <c:pt idx="894">
                  <c:v>0.04</c:v>
                </c:pt>
                <c:pt idx="895">
                  <c:v>0.02</c:v>
                </c:pt>
                <c:pt idx="896">
                  <c:v>0.03</c:v>
                </c:pt>
                <c:pt idx="897">
                  <c:v>0.01</c:v>
                </c:pt>
                <c:pt idx="898">
                  <c:v>0.02</c:v>
                </c:pt>
                <c:pt idx="899">
                  <c:v>0.02</c:v>
                </c:pt>
                <c:pt idx="900">
                  <c:v>0.03</c:v>
                </c:pt>
                <c:pt idx="901">
                  <c:v>0.04</c:v>
                </c:pt>
                <c:pt idx="902">
                  <c:v>0.03</c:v>
                </c:pt>
                <c:pt idx="903">
                  <c:v>0.01</c:v>
                </c:pt>
                <c:pt idx="904">
                  <c:v>0.06</c:v>
                </c:pt>
                <c:pt idx="905">
                  <c:v>0.04</c:v>
                </c:pt>
                <c:pt idx="906">
                  <c:v>0.02</c:v>
                </c:pt>
                <c:pt idx="907">
                  <c:v>0.06</c:v>
                </c:pt>
                <c:pt idx="908">
                  <c:v>0.02</c:v>
                </c:pt>
                <c:pt idx="909">
                  <c:v>0.01</c:v>
                </c:pt>
                <c:pt idx="910">
                  <c:v>0.09</c:v>
                </c:pt>
                <c:pt idx="911">
                  <c:v>0.03</c:v>
                </c:pt>
                <c:pt idx="912">
                  <c:v>0.1</c:v>
                </c:pt>
                <c:pt idx="913">
                  <c:v>0.01</c:v>
                </c:pt>
                <c:pt idx="914">
                  <c:v>0.01</c:v>
                </c:pt>
                <c:pt idx="915">
                  <c:v>0.04</c:v>
                </c:pt>
                <c:pt idx="916">
                  <c:v>0.09</c:v>
                </c:pt>
                <c:pt idx="917">
                  <c:v>0.08</c:v>
                </c:pt>
                <c:pt idx="918">
                  <c:v>0.01</c:v>
                </c:pt>
                <c:pt idx="919">
                  <c:v>0.04</c:v>
                </c:pt>
                <c:pt idx="920">
                  <c:v>0.37</c:v>
                </c:pt>
                <c:pt idx="921">
                  <c:v>0.01</c:v>
                </c:pt>
                <c:pt idx="922">
                  <c:v>0.01</c:v>
                </c:pt>
                <c:pt idx="923">
                  <c:v>0.06</c:v>
                </c:pt>
                <c:pt idx="924">
                  <c:v>0.02</c:v>
                </c:pt>
                <c:pt idx="925">
                  <c:v>0.02</c:v>
                </c:pt>
                <c:pt idx="926">
                  <c:v>0.01</c:v>
                </c:pt>
                <c:pt idx="927">
                  <c:v>0.01</c:v>
                </c:pt>
                <c:pt idx="928">
                  <c:v>0.17</c:v>
                </c:pt>
                <c:pt idx="929">
                  <c:v>0.03</c:v>
                </c:pt>
                <c:pt idx="930">
                  <c:v>0.03</c:v>
                </c:pt>
                <c:pt idx="931">
                  <c:v>0.02</c:v>
                </c:pt>
                <c:pt idx="932">
                  <c:v>0.02</c:v>
                </c:pt>
                <c:pt idx="933">
                  <c:v>0.02</c:v>
                </c:pt>
                <c:pt idx="934">
                  <c:v>0.02</c:v>
                </c:pt>
                <c:pt idx="935">
                  <c:v>0.01</c:v>
                </c:pt>
                <c:pt idx="936">
                  <c:v>0.02</c:v>
                </c:pt>
                <c:pt idx="937">
                  <c:v>0.02</c:v>
                </c:pt>
                <c:pt idx="938">
                  <c:v>0.03</c:v>
                </c:pt>
                <c:pt idx="939">
                  <c:v>0.02</c:v>
                </c:pt>
                <c:pt idx="940">
                  <c:v>0.03</c:v>
                </c:pt>
                <c:pt idx="941">
                  <c:v>0.15</c:v>
                </c:pt>
                <c:pt idx="942">
                  <c:v>0.02</c:v>
                </c:pt>
                <c:pt idx="943">
                  <c:v>0.1</c:v>
                </c:pt>
                <c:pt idx="944">
                  <c:v>0.02</c:v>
                </c:pt>
                <c:pt idx="945">
                  <c:v>0.01</c:v>
                </c:pt>
                <c:pt idx="946">
                  <c:v>0.01</c:v>
                </c:pt>
                <c:pt idx="947">
                  <c:v>0.01</c:v>
                </c:pt>
                <c:pt idx="948">
                  <c:v>0.03</c:v>
                </c:pt>
                <c:pt idx="949">
                  <c:v>0.03</c:v>
                </c:pt>
                <c:pt idx="950">
                  <c:v>0.02</c:v>
                </c:pt>
                <c:pt idx="951">
                  <c:v>0.01</c:v>
                </c:pt>
                <c:pt idx="952">
                  <c:v>0.01</c:v>
                </c:pt>
                <c:pt idx="953">
                  <c:v>0.01</c:v>
                </c:pt>
                <c:pt idx="954">
                  <c:v>0.01</c:v>
                </c:pt>
                <c:pt idx="955">
                  <c:v>0.09</c:v>
                </c:pt>
                <c:pt idx="956">
                  <c:v>0.02</c:v>
                </c:pt>
                <c:pt idx="957">
                  <c:v>0.01</c:v>
                </c:pt>
                <c:pt idx="958">
                  <c:v>7.0000000000000007E-2</c:v>
                </c:pt>
                <c:pt idx="959">
                  <c:v>0.03</c:v>
                </c:pt>
                <c:pt idx="960">
                  <c:v>0.01</c:v>
                </c:pt>
                <c:pt idx="961">
                  <c:v>0.08</c:v>
                </c:pt>
                <c:pt idx="962">
                  <c:v>0.02</c:v>
                </c:pt>
                <c:pt idx="963">
                  <c:v>0.03</c:v>
                </c:pt>
                <c:pt idx="964">
                  <c:v>0.01</c:v>
                </c:pt>
                <c:pt idx="965">
                  <c:v>0.01</c:v>
                </c:pt>
                <c:pt idx="966">
                  <c:v>0.01</c:v>
                </c:pt>
                <c:pt idx="967">
                  <c:v>0.01</c:v>
                </c:pt>
                <c:pt idx="968">
                  <c:v>0.02</c:v>
                </c:pt>
                <c:pt idx="969">
                  <c:v>0.02</c:v>
                </c:pt>
                <c:pt idx="970">
                  <c:v>0.02</c:v>
                </c:pt>
                <c:pt idx="971">
                  <c:v>0.01</c:v>
                </c:pt>
                <c:pt idx="972">
                  <c:v>0.01</c:v>
                </c:pt>
                <c:pt idx="973">
                  <c:v>0.02</c:v>
                </c:pt>
                <c:pt idx="974">
                  <c:v>0.01</c:v>
                </c:pt>
                <c:pt idx="975">
                  <c:v>0.28999999999999998</c:v>
                </c:pt>
                <c:pt idx="976">
                  <c:v>0.03</c:v>
                </c:pt>
                <c:pt idx="977">
                  <c:v>0.01</c:v>
                </c:pt>
                <c:pt idx="978">
                  <c:v>0.01</c:v>
                </c:pt>
                <c:pt idx="979">
                  <c:v>0.02</c:v>
                </c:pt>
                <c:pt idx="980">
                  <c:v>0.03</c:v>
                </c:pt>
                <c:pt idx="981">
                  <c:v>0.01</c:v>
                </c:pt>
                <c:pt idx="982">
                  <c:v>0.01</c:v>
                </c:pt>
                <c:pt idx="983">
                  <c:v>0.01</c:v>
                </c:pt>
                <c:pt idx="984">
                  <c:v>0.04</c:v>
                </c:pt>
                <c:pt idx="985">
                  <c:v>0.01</c:v>
                </c:pt>
                <c:pt idx="986">
                  <c:v>0.01</c:v>
                </c:pt>
                <c:pt idx="987">
                  <c:v>0.01</c:v>
                </c:pt>
                <c:pt idx="988">
                  <c:v>0.02</c:v>
                </c:pt>
                <c:pt idx="989">
                  <c:v>0.03</c:v>
                </c:pt>
                <c:pt idx="990">
                  <c:v>0.05</c:v>
                </c:pt>
                <c:pt idx="991">
                  <c:v>0.01</c:v>
                </c:pt>
                <c:pt idx="992">
                  <c:v>0.01</c:v>
                </c:pt>
                <c:pt idx="993">
                  <c:v>0.01</c:v>
                </c:pt>
                <c:pt idx="994">
                  <c:v>0.02</c:v>
                </c:pt>
                <c:pt idx="995">
                  <c:v>0.01</c:v>
                </c:pt>
                <c:pt idx="996">
                  <c:v>0.02</c:v>
                </c:pt>
                <c:pt idx="997">
                  <c:v>0.02</c:v>
                </c:pt>
                <c:pt idx="998">
                  <c:v>0.03</c:v>
                </c:pt>
                <c:pt idx="999">
                  <c:v>0.05</c:v>
                </c:pt>
                <c:pt idx="1000">
                  <c:v>0.01</c:v>
                </c:pt>
                <c:pt idx="1001">
                  <c:v>0.01</c:v>
                </c:pt>
                <c:pt idx="1002">
                  <c:v>0.02</c:v>
                </c:pt>
                <c:pt idx="1003">
                  <c:v>0.02</c:v>
                </c:pt>
                <c:pt idx="1004">
                  <c:v>0.02</c:v>
                </c:pt>
                <c:pt idx="1005">
                  <c:v>0.01</c:v>
                </c:pt>
                <c:pt idx="1006">
                  <c:v>0.02</c:v>
                </c:pt>
                <c:pt idx="1007">
                  <c:v>0.01</c:v>
                </c:pt>
                <c:pt idx="1008">
                  <c:v>0.01</c:v>
                </c:pt>
                <c:pt idx="1009">
                  <c:v>0.01</c:v>
                </c:pt>
                <c:pt idx="1010">
                  <c:v>0.01</c:v>
                </c:pt>
                <c:pt idx="1011">
                  <c:v>0.03</c:v>
                </c:pt>
                <c:pt idx="1012">
                  <c:v>0.02</c:v>
                </c:pt>
                <c:pt idx="1013">
                  <c:v>0.02</c:v>
                </c:pt>
                <c:pt idx="1014">
                  <c:v>0.03</c:v>
                </c:pt>
                <c:pt idx="1015">
                  <c:v>0.02</c:v>
                </c:pt>
                <c:pt idx="1016">
                  <c:v>0.01</c:v>
                </c:pt>
                <c:pt idx="1017">
                  <c:v>0.02</c:v>
                </c:pt>
                <c:pt idx="1018">
                  <c:v>0.01</c:v>
                </c:pt>
                <c:pt idx="1019">
                  <c:v>0.02</c:v>
                </c:pt>
                <c:pt idx="1020">
                  <c:v>0.01</c:v>
                </c:pt>
                <c:pt idx="1021">
                  <c:v>0.02</c:v>
                </c:pt>
                <c:pt idx="1022">
                  <c:v>0.01</c:v>
                </c:pt>
                <c:pt idx="1023">
                  <c:v>0.02</c:v>
                </c:pt>
                <c:pt idx="1024">
                  <c:v>0.01</c:v>
                </c:pt>
                <c:pt idx="1025">
                  <c:v>0.02</c:v>
                </c:pt>
                <c:pt idx="1026">
                  <c:v>0.03</c:v>
                </c:pt>
                <c:pt idx="1027">
                  <c:v>0.01</c:v>
                </c:pt>
                <c:pt idx="1028">
                  <c:v>0.02</c:v>
                </c:pt>
                <c:pt idx="1029">
                  <c:v>0.01</c:v>
                </c:pt>
                <c:pt idx="1030">
                  <c:v>0.02</c:v>
                </c:pt>
                <c:pt idx="1031">
                  <c:v>0.02</c:v>
                </c:pt>
                <c:pt idx="1032">
                  <c:v>0.03</c:v>
                </c:pt>
                <c:pt idx="1033">
                  <c:v>0.01</c:v>
                </c:pt>
                <c:pt idx="1034">
                  <c:v>0.02</c:v>
                </c:pt>
                <c:pt idx="1035">
                  <c:v>0.01</c:v>
                </c:pt>
                <c:pt idx="1036">
                  <c:v>0.01</c:v>
                </c:pt>
                <c:pt idx="1037">
                  <c:v>0.01</c:v>
                </c:pt>
                <c:pt idx="1038">
                  <c:v>0.01</c:v>
                </c:pt>
                <c:pt idx="1039">
                  <c:v>0.01</c:v>
                </c:pt>
                <c:pt idx="1040">
                  <c:v>0.06</c:v>
                </c:pt>
                <c:pt idx="1041">
                  <c:v>0.01</c:v>
                </c:pt>
                <c:pt idx="1042">
                  <c:v>0.03</c:v>
                </c:pt>
                <c:pt idx="1043">
                  <c:v>0.01</c:v>
                </c:pt>
                <c:pt idx="1044">
                  <c:v>0.02</c:v>
                </c:pt>
                <c:pt idx="1045">
                  <c:v>0.01</c:v>
                </c:pt>
                <c:pt idx="1046">
                  <c:v>0.04</c:v>
                </c:pt>
                <c:pt idx="1047">
                  <c:v>0.03</c:v>
                </c:pt>
                <c:pt idx="1048">
                  <c:v>0.01</c:v>
                </c:pt>
                <c:pt idx="1049">
                  <c:v>0.01</c:v>
                </c:pt>
                <c:pt idx="1050">
                  <c:v>0.01</c:v>
                </c:pt>
                <c:pt idx="1051">
                  <c:v>0.02</c:v>
                </c:pt>
                <c:pt idx="1052">
                  <c:v>0.04</c:v>
                </c:pt>
                <c:pt idx="1053">
                  <c:v>0.02</c:v>
                </c:pt>
                <c:pt idx="1054">
                  <c:v>0.02</c:v>
                </c:pt>
                <c:pt idx="1055">
                  <c:v>0.02</c:v>
                </c:pt>
                <c:pt idx="1056">
                  <c:v>0.02</c:v>
                </c:pt>
                <c:pt idx="1057">
                  <c:v>0.01</c:v>
                </c:pt>
                <c:pt idx="1058">
                  <c:v>0.01</c:v>
                </c:pt>
                <c:pt idx="1059">
                  <c:v>0.01</c:v>
                </c:pt>
                <c:pt idx="1060">
                  <c:v>0.01</c:v>
                </c:pt>
                <c:pt idx="1061">
                  <c:v>0.01</c:v>
                </c:pt>
                <c:pt idx="1062">
                  <c:v>0.02</c:v>
                </c:pt>
                <c:pt idx="1063">
                  <c:v>0.02</c:v>
                </c:pt>
                <c:pt idx="1064">
                  <c:v>0.01</c:v>
                </c:pt>
                <c:pt idx="1065">
                  <c:v>0.11</c:v>
                </c:pt>
                <c:pt idx="1066">
                  <c:v>0.01</c:v>
                </c:pt>
                <c:pt idx="1067">
                  <c:v>0.02</c:v>
                </c:pt>
                <c:pt idx="1068">
                  <c:v>0.01</c:v>
                </c:pt>
                <c:pt idx="1069">
                  <c:v>0.01</c:v>
                </c:pt>
                <c:pt idx="1070">
                  <c:v>0.01</c:v>
                </c:pt>
                <c:pt idx="1071">
                  <c:v>0.01</c:v>
                </c:pt>
                <c:pt idx="1072">
                  <c:v>0.03</c:v>
                </c:pt>
                <c:pt idx="1073">
                  <c:v>0.01</c:v>
                </c:pt>
                <c:pt idx="1074">
                  <c:v>0.01</c:v>
                </c:pt>
                <c:pt idx="1075">
                  <c:v>0.01</c:v>
                </c:pt>
                <c:pt idx="1076">
                  <c:v>0.01</c:v>
                </c:pt>
                <c:pt idx="1077">
                  <c:v>0.01</c:v>
                </c:pt>
                <c:pt idx="1078">
                  <c:v>0.01</c:v>
                </c:pt>
                <c:pt idx="1079">
                  <c:v>0.02</c:v>
                </c:pt>
                <c:pt idx="1080">
                  <c:v>0.02</c:v>
                </c:pt>
                <c:pt idx="1081">
                  <c:v>0.01</c:v>
                </c:pt>
                <c:pt idx="1082">
                  <c:v>0.01</c:v>
                </c:pt>
                <c:pt idx="1083">
                  <c:v>0.01</c:v>
                </c:pt>
                <c:pt idx="1084">
                  <c:v>0.01</c:v>
                </c:pt>
                <c:pt idx="1085">
                  <c:v>0.01</c:v>
                </c:pt>
                <c:pt idx="1086">
                  <c:v>0.01</c:v>
                </c:pt>
                <c:pt idx="1087">
                  <c:v>0.01</c:v>
                </c:pt>
                <c:pt idx="1088">
                  <c:v>0.01</c:v>
                </c:pt>
                <c:pt idx="1089">
                  <c:v>0.01</c:v>
                </c:pt>
                <c:pt idx="1090">
                  <c:v>0.04</c:v>
                </c:pt>
                <c:pt idx="1091">
                  <c:v>0.02</c:v>
                </c:pt>
                <c:pt idx="1092">
                  <c:v>0.01</c:v>
                </c:pt>
                <c:pt idx="1093">
                  <c:v>0.01</c:v>
                </c:pt>
                <c:pt idx="1094">
                  <c:v>0.01</c:v>
                </c:pt>
                <c:pt idx="1095">
                  <c:v>0.01</c:v>
                </c:pt>
                <c:pt idx="1096">
                  <c:v>0.01</c:v>
                </c:pt>
                <c:pt idx="1097">
                  <c:v>0.01</c:v>
                </c:pt>
                <c:pt idx="1098">
                  <c:v>0.01</c:v>
                </c:pt>
                <c:pt idx="1099">
                  <c:v>0.01</c:v>
                </c:pt>
                <c:pt idx="1100">
                  <c:v>0.05</c:v>
                </c:pt>
                <c:pt idx="1101">
                  <c:v>0.01</c:v>
                </c:pt>
                <c:pt idx="1102">
                  <c:v>0.01</c:v>
                </c:pt>
                <c:pt idx="1103">
                  <c:v>0.01</c:v>
                </c:pt>
                <c:pt idx="1104">
                  <c:v>0.02</c:v>
                </c:pt>
                <c:pt idx="1105">
                  <c:v>0.01</c:v>
                </c:pt>
                <c:pt idx="1106">
                  <c:v>0.04</c:v>
                </c:pt>
                <c:pt idx="1107">
                  <c:v>0.03</c:v>
                </c:pt>
                <c:pt idx="1108">
                  <c:v>0.01</c:v>
                </c:pt>
                <c:pt idx="1109">
                  <c:v>0.04</c:v>
                </c:pt>
                <c:pt idx="1110">
                  <c:v>0.01</c:v>
                </c:pt>
                <c:pt idx="1111">
                  <c:v>0.01</c:v>
                </c:pt>
                <c:pt idx="1112">
                  <c:v>0.02</c:v>
                </c:pt>
                <c:pt idx="1113">
                  <c:v>0.01</c:v>
                </c:pt>
                <c:pt idx="1114">
                  <c:v>0.05</c:v>
                </c:pt>
                <c:pt idx="1115">
                  <c:v>0.02</c:v>
                </c:pt>
                <c:pt idx="1116">
                  <c:v>0.01</c:v>
                </c:pt>
                <c:pt idx="1117">
                  <c:v>0.01</c:v>
                </c:pt>
                <c:pt idx="1118">
                  <c:v>0.01</c:v>
                </c:pt>
                <c:pt idx="1119">
                  <c:v>0.04</c:v>
                </c:pt>
                <c:pt idx="1120">
                  <c:v>0.03</c:v>
                </c:pt>
                <c:pt idx="1121">
                  <c:v>0.02</c:v>
                </c:pt>
                <c:pt idx="1122">
                  <c:v>0.05</c:v>
                </c:pt>
                <c:pt idx="1123">
                  <c:v>0.01</c:v>
                </c:pt>
                <c:pt idx="1124">
                  <c:v>0.03</c:v>
                </c:pt>
                <c:pt idx="1125">
                  <c:v>0.04</c:v>
                </c:pt>
                <c:pt idx="1126">
                  <c:v>0.06</c:v>
                </c:pt>
                <c:pt idx="1127">
                  <c:v>0.11</c:v>
                </c:pt>
                <c:pt idx="1128">
                  <c:v>0.01</c:v>
                </c:pt>
                <c:pt idx="1129">
                  <c:v>0.01</c:v>
                </c:pt>
                <c:pt idx="1130">
                  <c:v>0.06</c:v>
                </c:pt>
                <c:pt idx="1131">
                  <c:v>0.02</c:v>
                </c:pt>
                <c:pt idx="1132">
                  <c:v>0.03</c:v>
                </c:pt>
                <c:pt idx="1133">
                  <c:v>0.03</c:v>
                </c:pt>
                <c:pt idx="1134">
                  <c:v>0.01</c:v>
                </c:pt>
                <c:pt idx="1135">
                  <c:v>0.01</c:v>
                </c:pt>
                <c:pt idx="1136">
                  <c:v>0.01</c:v>
                </c:pt>
                <c:pt idx="1137">
                  <c:v>0.01</c:v>
                </c:pt>
                <c:pt idx="1138">
                  <c:v>0.01</c:v>
                </c:pt>
                <c:pt idx="1139">
                  <c:v>0.01</c:v>
                </c:pt>
                <c:pt idx="1140">
                  <c:v>0.01</c:v>
                </c:pt>
                <c:pt idx="1141">
                  <c:v>0.01</c:v>
                </c:pt>
                <c:pt idx="1142">
                  <c:v>0.01</c:v>
                </c:pt>
                <c:pt idx="1143">
                  <c:v>0.02</c:v>
                </c:pt>
                <c:pt idx="1144">
                  <c:v>0.01</c:v>
                </c:pt>
                <c:pt idx="1145">
                  <c:v>0.01</c:v>
                </c:pt>
                <c:pt idx="1146">
                  <c:v>0.01</c:v>
                </c:pt>
                <c:pt idx="1147">
                  <c:v>0.01</c:v>
                </c:pt>
                <c:pt idx="1148">
                  <c:v>0.01</c:v>
                </c:pt>
                <c:pt idx="1149">
                  <c:v>0.01</c:v>
                </c:pt>
                <c:pt idx="1150">
                  <c:v>0.01</c:v>
                </c:pt>
                <c:pt idx="1151">
                  <c:v>0.01</c:v>
                </c:pt>
                <c:pt idx="1152">
                  <c:v>0.01</c:v>
                </c:pt>
                <c:pt idx="1153">
                  <c:v>0.01</c:v>
                </c:pt>
                <c:pt idx="1154">
                  <c:v>0.01</c:v>
                </c:pt>
                <c:pt idx="1155">
                  <c:v>0.01</c:v>
                </c:pt>
                <c:pt idx="1156">
                  <c:v>0.02</c:v>
                </c:pt>
                <c:pt idx="1157">
                  <c:v>0.09</c:v>
                </c:pt>
                <c:pt idx="1158">
                  <c:v>0.02</c:v>
                </c:pt>
                <c:pt idx="1159">
                  <c:v>0.02</c:v>
                </c:pt>
                <c:pt idx="1160">
                  <c:v>0.01</c:v>
                </c:pt>
                <c:pt idx="1161">
                  <c:v>0.05</c:v>
                </c:pt>
                <c:pt idx="1162">
                  <c:v>0.01</c:v>
                </c:pt>
                <c:pt idx="1163">
                  <c:v>0.01</c:v>
                </c:pt>
                <c:pt idx="1164">
                  <c:v>0.01</c:v>
                </c:pt>
                <c:pt idx="1165">
                  <c:v>0.04</c:v>
                </c:pt>
                <c:pt idx="1166">
                  <c:v>0.04</c:v>
                </c:pt>
                <c:pt idx="1167">
                  <c:v>0.04</c:v>
                </c:pt>
                <c:pt idx="1168">
                  <c:v>0.03</c:v>
                </c:pt>
                <c:pt idx="1169">
                  <c:v>0.01</c:v>
                </c:pt>
                <c:pt idx="1170">
                  <c:v>0.01</c:v>
                </c:pt>
                <c:pt idx="1171">
                  <c:v>0.01</c:v>
                </c:pt>
                <c:pt idx="1172">
                  <c:v>0.02</c:v>
                </c:pt>
                <c:pt idx="1173">
                  <c:v>0.01</c:v>
                </c:pt>
                <c:pt idx="1174">
                  <c:v>0.01</c:v>
                </c:pt>
                <c:pt idx="1175">
                  <c:v>0.01</c:v>
                </c:pt>
                <c:pt idx="1176">
                  <c:v>0.01</c:v>
                </c:pt>
                <c:pt idx="1177">
                  <c:v>0.03</c:v>
                </c:pt>
                <c:pt idx="1178">
                  <c:v>0.01</c:v>
                </c:pt>
                <c:pt idx="1179">
                  <c:v>0.02</c:v>
                </c:pt>
                <c:pt idx="1180">
                  <c:v>0.01</c:v>
                </c:pt>
                <c:pt idx="1181">
                  <c:v>0.01</c:v>
                </c:pt>
                <c:pt idx="1182">
                  <c:v>0.02</c:v>
                </c:pt>
                <c:pt idx="1183">
                  <c:v>0.01</c:v>
                </c:pt>
                <c:pt idx="1184">
                  <c:v>0.06</c:v>
                </c:pt>
                <c:pt idx="1185">
                  <c:v>0.01</c:v>
                </c:pt>
                <c:pt idx="1186">
                  <c:v>0.01</c:v>
                </c:pt>
                <c:pt idx="1187">
                  <c:v>0.01</c:v>
                </c:pt>
                <c:pt idx="1188">
                  <c:v>0.01</c:v>
                </c:pt>
                <c:pt idx="1189">
                  <c:v>0.02</c:v>
                </c:pt>
                <c:pt idx="1190">
                  <c:v>0.02</c:v>
                </c:pt>
                <c:pt idx="1191">
                  <c:v>0.01</c:v>
                </c:pt>
                <c:pt idx="1192">
                  <c:v>0.01</c:v>
                </c:pt>
                <c:pt idx="1193">
                  <c:v>0.01</c:v>
                </c:pt>
                <c:pt idx="1194">
                  <c:v>0.01</c:v>
                </c:pt>
                <c:pt idx="1195">
                  <c:v>0.01</c:v>
                </c:pt>
                <c:pt idx="1196">
                  <c:v>0.01</c:v>
                </c:pt>
                <c:pt idx="1197">
                  <c:v>0.02</c:v>
                </c:pt>
                <c:pt idx="1198">
                  <c:v>0.02</c:v>
                </c:pt>
                <c:pt idx="1199">
                  <c:v>0.02</c:v>
                </c:pt>
                <c:pt idx="1200">
                  <c:v>0.01</c:v>
                </c:pt>
                <c:pt idx="1201">
                  <c:v>0.01</c:v>
                </c:pt>
                <c:pt idx="1202">
                  <c:v>0.02</c:v>
                </c:pt>
                <c:pt idx="1203">
                  <c:v>0.01</c:v>
                </c:pt>
                <c:pt idx="1204">
                  <c:v>0.02</c:v>
                </c:pt>
                <c:pt idx="1205">
                  <c:v>0.02</c:v>
                </c:pt>
                <c:pt idx="1206">
                  <c:v>0.01</c:v>
                </c:pt>
                <c:pt idx="1207">
                  <c:v>0.02</c:v>
                </c:pt>
                <c:pt idx="1208">
                  <c:v>0.03</c:v>
                </c:pt>
                <c:pt idx="1209">
                  <c:v>0.01</c:v>
                </c:pt>
                <c:pt idx="1210">
                  <c:v>0.01</c:v>
                </c:pt>
                <c:pt idx="1211">
                  <c:v>0.01</c:v>
                </c:pt>
                <c:pt idx="1212">
                  <c:v>0.01</c:v>
                </c:pt>
                <c:pt idx="1213">
                  <c:v>0.01</c:v>
                </c:pt>
                <c:pt idx="1214">
                  <c:v>0.01</c:v>
                </c:pt>
                <c:pt idx="121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invertIfNegative val="1"/>
            <c:bubble3D val="0"/>
            <c:spPr>
              <a:solidFill>
                <a:srgbClr val="00A097"/>
              </a:solidFill>
            </c:spPr>
            <c:extLst>
              <c:ext xmlns:c16="http://schemas.microsoft.com/office/drawing/2014/chart" uri="{C3380CC4-5D6E-409C-BE32-E72D297353CC}">
                <c16:uniqueId val="{000001A7-280A-4CC8-864C-E6F154A5A56B}"/>
              </c:ext>
            </c:extLst>
          </c:dPt>
          <c:dPt>
            <c:idx val="211"/>
            <c:invertIfNegative val="1"/>
            <c:bubble3D val="0"/>
            <c:spPr>
              <a:solidFill>
                <a:srgbClr val="00A097"/>
              </a:solidFill>
            </c:spPr>
            <c:extLst>
              <c:ext xmlns:c16="http://schemas.microsoft.com/office/drawing/2014/chart" uri="{C3380CC4-5D6E-409C-BE32-E72D297353CC}">
                <c16:uniqueId val="{000001A9-280A-4CC8-864C-E6F154A5A56B}"/>
              </c:ext>
            </c:extLst>
          </c:dPt>
          <c:dPt>
            <c:idx val="212"/>
            <c:invertIfNegative val="1"/>
            <c:bubble3D val="0"/>
            <c:spPr>
              <a:solidFill>
                <a:srgbClr val="00A097"/>
              </a:solidFill>
            </c:spPr>
            <c:extLst>
              <c:ext xmlns:c16="http://schemas.microsoft.com/office/drawing/2014/chart" uri="{C3380CC4-5D6E-409C-BE32-E72D297353CC}">
                <c16:uniqueId val="{000001AB-280A-4CC8-864C-E6F154A5A56B}"/>
              </c:ext>
            </c:extLst>
          </c:dPt>
          <c:dPt>
            <c:idx val="213"/>
            <c:invertIfNegative val="1"/>
            <c:bubble3D val="0"/>
            <c:spPr>
              <a:solidFill>
                <a:srgbClr val="00A097"/>
              </a:solidFill>
            </c:spPr>
            <c:extLst>
              <c:ext xmlns:c16="http://schemas.microsoft.com/office/drawing/2014/chart" uri="{C3380CC4-5D6E-409C-BE32-E72D297353CC}">
                <c16:uniqueId val="{000001AD-280A-4CC8-864C-E6F154A5A56B}"/>
              </c:ext>
            </c:extLst>
          </c:dPt>
          <c:dPt>
            <c:idx val="214"/>
            <c:invertIfNegative val="1"/>
            <c:bubble3D val="0"/>
            <c:spPr>
              <a:solidFill>
                <a:srgbClr val="00A097"/>
              </a:solidFill>
            </c:spPr>
            <c:extLst>
              <c:ext xmlns:c16="http://schemas.microsoft.com/office/drawing/2014/chart" uri="{C3380CC4-5D6E-409C-BE32-E72D297353CC}">
                <c16:uniqueId val="{000001AF-280A-4CC8-864C-E6F154A5A56B}"/>
              </c:ext>
            </c:extLst>
          </c:dPt>
          <c:dPt>
            <c:idx val="215"/>
            <c:invertIfNegative val="1"/>
            <c:bubble3D val="0"/>
            <c:spPr>
              <a:solidFill>
                <a:srgbClr val="00A097"/>
              </a:solidFill>
            </c:spPr>
            <c:extLst>
              <c:ext xmlns:c16="http://schemas.microsoft.com/office/drawing/2014/chart" uri="{C3380CC4-5D6E-409C-BE32-E72D297353CC}">
                <c16:uniqueId val="{000001B1-280A-4CC8-864C-E6F154A5A56B}"/>
              </c:ext>
            </c:extLst>
          </c:dPt>
          <c:dPt>
            <c:idx val="216"/>
            <c:invertIfNegative val="1"/>
            <c:bubble3D val="0"/>
            <c:spPr>
              <a:solidFill>
                <a:srgbClr val="00A097"/>
              </a:solidFill>
            </c:spPr>
            <c:extLst>
              <c:ext xmlns:c16="http://schemas.microsoft.com/office/drawing/2014/chart" uri="{C3380CC4-5D6E-409C-BE32-E72D297353CC}">
                <c16:uniqueId val="{000001B3-280A-4CC8-864C-E6F154A5A56B}"/>
              </c:ext>
            </c:extLst>
          </c:dPt>
          <c:dPt>
            <c:idx val="217"/>
            <c:invertIfNegative val="1"/>
            <c:bubble3D val="0"/>
            <c:spPr>
              <a:solidFill>
                <a:srgbClr val="00A097"/>
              </a:solidFill>
            </c:spPr>
            <c:extLst>
              <c:ext xmlns:c16="http://schemas.microsoft.com/office/drawing/2014/chart" uri="{C3380CC4-5D6E-409C-BE32-E72D297353CC}">
                <c16:uniqueId val="{000001B5-280A-4CC8-864C-E6F154A5A56B}"/>
              </c:ext>
            </c:extLst>
          </c:dPt>
          <c:dPt>
            <c:idx val="218"/>
            <c:invertIfNegative val="1"/>
            <c:bubble3D val="0"/>
            <c:spPr>
              <a:solidFill>
                <a:srgbClr val="00A097"/>
              </a:solidFill>
            </c:spPr>
            <c:extLst>
              <c:ext xmlns:c16="http://schemas.microsoft.com/office/drawing/2014/chart" uri="{C3380CC4-5D6E-409C-BE32-E72D297353CC}">
                <c16:uniqueId val="{000001B7-280A-4CC8-864C-E6F154A5A56B}"/>
              </c:ext>
            </c:extLst>
          </c:dPt>
          <c:dPt>
            <c:idx val="219"/>
            <c:invertIfNegative val="1"/>
            <c:bubble3D val="0"/>
            <c:spPr>
              <a:solidFill>
                <a:srgbClr val="00A097"/>
              </a:solidFill>
            </c:spPr>
            <c:extLst>
              <c:ext xmlns:c16="http://schemas.microsoft.com/office/drawing/2014/chart" uri="{C3380CC4-5D6E-409C-BE32-E72D297353CC}">
                <c16:uniqueId val="{000001B9-280A-4CC8-864C-E6F154A5A56B}"/>
              </c:ext>
            </c:extLst>
          </c:dPt>
          <c:dPt>
            <c:idx val="220"/>
            <c:invertIfNegative val="1"/>
            <c:bubble3D val="0"/>
            <c:spPr>
              <a:solidFill>
                <a:srgbClr val="00A097"/>
              </a:solidFill>
            </c:spPr>
            <c:extLst>
              <c:ext xmlns:c16="http://schemas.microsoft.com/office/drawing/2014/chart" uri="{C3380CC4-5D6E-409C-BE32-E72D297353CC}">
                <c16:uniqueId val="{000001BB-280A-4CC8-864C-E6F154A5A56B}"/>
              </c:ext>
            </c:extLst>
          </c:dPt>
          <c:dPt>
            <c:idx val="221"/>
            <c:invertIfNegative val="1"/>
            <c:bubble3D val="0"/>
            <c:spPr>
              <a:solidFill>
                <a:srgbClr val="00A097"/>
              </a:solidFill>
            </c:spPr>
            <c:extLst>
              <c:ext xmlns:c16="http://schemas.microsoft.com/office/drawing/2014/chart" uri="{C3380CC4-5D6E-409C-BE32-E72D297353CC}">
                <c16:uniqueId val="{000001BD-280A-4CC8-864C-E6F154A5A56B}"/>
              </c:ext>
            </c:extLst>
          </c:dPt>
          <c:dPt>
            <c:idx val="222"/>
            <c:invertIfNegative val="1"/>
            <c:bubble3D val="0"/>
            <c:spPr>
              <a:solidFill>
                <a:srgbClr val="00A097"/>
              </a:solidFill>
            </c:spPr>
            <c:extLst>
              <c:ext xmlns:c16="http://schemas.microsoft.com/office/drawing/2014/chart" uri="{C3380CC4-5D6E-409C-BE32-E72D297353CC}">
                <c16:uniqueId val="{000001BF-280A-4CC8-864C-E6F154A5A56B}"/>
              </c:ext>
            </c:extLst>
          </c:dPt>
          <c:dPt>
            <c:idx val="223"/>
            <c:invertIfNegative val="1"/>
            <c:bubble3D val="0"/>
            <c:spPr>
              <a:solidFill>
                <a:srgbClr val="00A097"/>
              </a:solidFill>
            </c:spPr>
            <c:extLst>
              <c:ext xmlns:c16="http://schemas.microsoft.com/office/drawing/2014/chart" uri="{C3380CC4-5D6E-409C-BE32-E72D297353CC}">
                <c16:uniqueId val="{000001C1-280A-4CC8-864C-E6F154A5A56B}"/>
              </c:ext>
            </c:extLst>
          </c:dPt>
          <c:dPt>
            <c:idx val="224"/>
            <c:invertIfNegative val="1"/>
            <c:bubble3D val="0"/>
            <c:spPr>
              <a:solidFill>
                <a:srgbClr val="00A097"/>
              </a:solidFill>
            </c:spPr>
            <c:extLst>
              <c:ext xmlns:c16="http://schemas.microsoft.com/office/drawing/2014/chart" uri="{C3380CC4-5D6E-409C-BE32-E72D297353CC}">
                <c16:uniqueId val="{000001C3-280A-4CC8-864C-E6F154A5A56B}"/>
              </c:ext>
            </c:extLst>
          </c:dPt>
          <c:dPt>
            <c:idx val="225"/>
            <c:invertIfNegative val="1"/>
            <c:bubble3D val="0"/>
            <c:spPr>
              <a:solidFill>
                <a:srgbClr val="00A097"/>
              </a:solidFill>
            </c:spPr>
            <c:extLst>
              <c:ext xmlns:c16="http://schemas.microsoft.com/office/drawing/2014/chart" uri="{C3380CC4-5D6E-409C-BE32-E72D297353CC}">
                <c16:uniqueId val="{000001C5-280A-4CC8-864C-E6F154A5A56B}"/>
              </c:ext>
            </c:extLst>
          </c:dPt>
          <c:dPt>
            <c:idx val="226"/>
            <c:invertIfNegative val="1"/>
            <c:bubble3D val="0"/>
            <c:spPr>
              <a:solidFill>
                <a:srgbClr val="00A097"/>
              </a:solidFill>
            </c:spPr>
            <c:extLst>
              <c:ext xmlns:c16="http://schemas.microsoft.com/office/drawing/2014/chart" uri="{C3380CC4-5D6E-409C-BE32-E72D297353CC}">
                <c16:uniqueId val="{000001C7-280A-4CC8-864C-E6F154A5A56B}"/>
              </c:ext>
            </c:extLst>
          </c:dPt>
          <c:dPt>
            <c:idx val="227"/>
            <c:invertIfNegative val="1"/>
            <c:bubble3D val="0"/>
            <c:spPr>
              <a:solidFill>
                <a:srgbClr val="00A097"/>
              </a:solidFill>
            </c:spPr>
            <c:extLst>
              <c:ext xmlns:c16="http://schemas.microsoft.com/office/drawing/2014/chart" uri="{C3380CC4-5D6E-409C-BE32-E72D297353CC}">
                <c16:uniqueId val="{000001C9-280A-4CC8-864C-E6F154A5A56B}"/>
              </c:ext>
            </c:extLst>
          </c:dPt>
          <c:dPt>
            <c:idx val="228"/>
            <c:invertIfNegative val="1"/>
            <c:bubble3D val="0"/>
            <c:spPr>
              <a:solidFill>
                <a:srgbClr val="00A097"/>
              </a:solidFill>
            </c:spPr>
            <c:extLst>
              <c:ext xmlns:c16="http://schemas.microsoft.com/office/drawing/2014/chart" uri="{C3380CC4-5D6E-409C-BE32-E72D297353CC}">
                <c16:uniqueId val="{000001CB-280A-4CC8-864C-E6F154A5A56B}"/>
              </c:ext>
            </c:extLst>
          </c:dPt>
          <c:dPt>
            <c:idx val="229"/>
            <c:invertIfNegative val="1"/>
            <c:bubble3D val="0"/>
            <c:spPr>
              <a:solidFill>
                <a:srgbClr val="00A097"/>
              </a:solidFill>
            </c:spPr>
            <c:extLst>
              <c:ext xmlns:c16="http://schemas.microsoft.com/office/drawing/2014/chart" uri="{C3380CC4-5D6E-409C-BE32-E72D297353CC}">
                <c16:uniqueId val="{000001CD-280A-4CC8-864C-E6F154A5A56B}"/>
              </c:ext>
            </c:extLst>
          </c:dPt>
          <c:dPt>
            <c:idx val="230"/>
            <c:invertIfNegative val="1"/>
            <c:bubble3D val="0"/>
            <c:spPr>
              <a:solidFill>
                <a:srgbClr val="00A097"/>
              </a:solidFill>
            </c:spPr>
            <c:extLst>
              <c:ext xmlns:c16="http://schemas.microsoft.com/office/drawing/2014/chart" uri="{C3380CC4-5D6E-409C-BE32-E72D297353CC}">
                <c16:uniqueId val="{000001CF-280A-4CC8-864C-E6F154A5A56B}"/>
              </c:ext>
            </c:extLst>
          </c:dPt>
          <c:dPt>
            <c:idx val="231"/>
            <c:invertIfNegative val="1"/>
            <c:bubble3D val="0"/>
            <c:spPr>
              <a:solidFill>
                <a:srgbClr val="00A097"/>
              </a:solidFill>
            </c:spPr>
            <c:extLst>
              <c:ext xmlns:c16="http://schemas.microsoft.com/office/drawing/2014/chart" uri="{C3380CC4-5D6E-409C-BE32-E72D297353CC}">
                <c16:uniqueId val="{000001D1-280A-4CC8-864C-E6F154A5A56B}"/>
              </c:ext>
            </c:extLst>
          </c:dPt>
          <c:dPt>
            <c:idx val="232"/>
            <c:invertIfNegative val="1"/>
            <c:bubble3D val="0"/>
            <c:spPr>
              <a:solidFill>
                <a:srgbClr val="00A097"/>
              </a:solidFill>
            </c:spPr>
            <c:extLst>
              <c:ext xmlns:c16="http://schemas.microsoft.com/office/drawing/2014/chart" uri="{C3380CC4-5D6E-409C-BE32-E72D297353CC}">
                <c16:uniqueId val="{000001D3-280A-4CC8-864C-E6F154A5A56B}"/>
              </c:ext>
            </c:extLst>
          </c:dPt>
          <c:dPt>
            <c:idx val="233"/>
            <c:invertIfNegative val="1"/>
            <c:bubble3D val="0"/>
            <c:spPr>
              <a:solidFill>
                <a:srgbClr val="00A097"/>
              </a:solidFill>
            </c:spPr>
            <c:extLst>
              <c:ext xmlns:c16="http://schemas.microsoft.com/office/drawing/2014/chart" uri="{C3380CC4-5D6E-409C-BE32-E72D297353CC}">
                <c16:uniqueId val="{000001D5-280A-4CC8-864C-E6F154A5A56B}"/>
              </c:ext>
            </c:extLst>
          </c:dPt>
          <c:dPt>
            <c:idx val="234"/>
            <c:invertIfNegative val="1"/>
            <c:bubble3D val="0"/>
            <c:spPr>
              <a:solidFill>
                <a:srgbClr val="00A097"/>
              </a:solidFill>
            </c:spPr>
            <c:extLst>
              <c:ext xmlns:c16="http://schemas.microsoft.com/office/drawing/2014/chart" uri="{C3380CC4-5D6E-409C-BE32-E72D297353CC}">
                <c16:uniqueId val="{000001D7-280A-4CC8-864C-E6F154A5A56B}"/>
              </c:ext>
            </c:extLst>
          </c:dPt>
          <c:dPt>
            <c:idx val="235"/>
            <c:invertIfNegative val="1"/>
            <c:bubble3D val="0"/>
            <c:spPr>
              <a:solidFill>
                <a:srgbClr val="00A097"/>
              </a:solidFill>
            </c:spPr>
            <c:extLst>
              <c:ext xmlns:c16="http://schemas.microsoft.com/office/drawing/2014/chart" uri="{C3380CC4-5D6E-409C-BE32-E72D297353CC}">
                <c16:uniqueId val="{000001D9-280A-4CC8-864C-E6F154A5A56B}"/>
              </c:ext>
            </c:extLst>
          </c:dPt>
          <c:dPt>
            <c:idx val="236"/>
            <c:invertIfNegative val="1"/>
            <c:bubble3D val="0"/>
            <c:spPr>
              <a:solidFill>
                <a:srgbClr val="00A097"/>
              </a:solidFill>
            </c:spPr>
            <c:extLst>
              <c:ext xmlns:c16="http://schemas.microsoft.com/office/drawing/2014/chart" uri="{C3380CC4-5D6E-409C-BE32-E72D297353CC}">
                <c16:uniqueId val="{000001DB-280A-4CC8-864C-E6F154A5A56B}"/>
              </c:ext>
            </c:extLst>
          </c:dPt>
          <c:dPt>
            <c:idx val="237"/>
            <c:invertIfNegative val="1"/>
            <c:bubble3D val="0"/>
            <c:spPr>
              <a:solidFill>
                <a:srgbClr val="00A097"/>
              </a:solidFill>
            </c:spPr>
            <c:extLst>
              <c:ext xmlns:c16="http://schemas.microsoft.com/office/drawing/2014/chart" uri="{C3380CC4-5D6E-409C-BE32-E72D297353CC}">
                <c16:uniqueId val="{000001DD-280A-4CC8-864C-E6F154A5A56B}"/>
              </c:ext>
            </c:extLst>
          </c:dPt>
          <c:dPt>
            <c:idx val="238"/>
            <c:invertIfNegative val="1"/>
            <c:bubble3D val="0"/>
            <c:spPr>
              <a:solidFill>
                <a:srgbClr val="00A097"/>
              </a:solidFill>
            </c:spPr>
            <c:extLst>
              <c:ext xmlns:c16="http://schemas.microsoft.com/office/drawing/2014/chart" uri="{C3380CC4-5D6E-409C-BE32-E72D297353CC}">
                <c16:uniqueId val="{000001DF-280A-4CC8-864C-E6F154A5A56B}"/>
              </c:ext>
            </c:extLst>
          </c:dPt>
          <c:dPt>
            <c:idx val="239"/>
            <c:invertIfNegative val="1"/>
            <c:bubble3D val="0"/>
            <c:spPr>
              <a:solidFill>
                <a:srgbClr val="00A097"/>
              </a:solidFill>
            </c:spPr>
            <c:extLst>
              <c:ext xmlns:c16="http://schemas.microsoft.com/office/drawing/2014/chart" uri="{C3380CC4-5D6E-409C-BE32-E72D297353CC}">
                <c16:uniqueId val="{000001E1-280A-4CC8-864C-E6F154A5A56B}"/>
              </c:ext>
            </c:extLst>
          </c:dPt>
          <c:dPt>
            <c:idx val="240"/>
            <c:invertIfNegative val="1"/>
            <c:bubble3D val="0"/>
            <c:spPr>
              <a:solidFill>
                <a:srgbClr val="00A097"/>
              </a:solidFill>
            </c:spPr>
            <c:extLst>
              <c:ext xmlns:c16="http://schemas.microsoft.com/office/drawing/2014/chart" uri="{C3380CC4-5D6E-409C-BE32-E72D297353CC}">
                <c16:uniqueId val="{000001E3-280A-4CC8-864C-E6F154A5A56B}"/>
              </c:ext>
            </c:extLst>
          </c:dPt>
          <c:dPt>
            <c:idx val="241"/>
            <c:invertIfNegative val="1"/>
            <c:bubble3D val="0"/>
            <c:spPr>
              <a:solidFill>
                <a:srgbClr val="00A097"/>
              </a:solidFill>
            </c:spPr>
            <c:extLst>
              <c:ext xmlns:c16="http://schemas.microsoft.com/office/drawing/2014/chart" uri="{C3380CC4-5D6E-409C-BE32-E72D297353CC}">
                <c16:uniqueId val="{000001E5-280A-4CC8-864C-E6F154A5A56B}"/>
              </c:ext>
            </c:extLst>
          </c:dPt>
          <c:dPt>
            <c:idx val="242"/>
            <c:invertIfNegative val="1"/>
            <c:bubble3D val="0"/>
            <c:spPr>
              <a:solidFill>
                <a:srgbClr val="00A097"/>
              </a:solidFill>
            </c:spPr>
            <c:extLst>
              <c:ext xmlns:c16="http://schemas.microsoft.com/office/drawing/2014/chart" uri="{C3380CC4-5D6E-409C-BE32-E72D297353CC}">
                <c16:uniqueId val="{000001E7-280A-4CC8-864C-E6F154A5A56B}"/>
              </c:ext>
            </c:extLst>
          </c:dPt>
          <c:dPt>
            <c:idx val="243"/>
            <c:invertIfNegative val="1"/>
            <c:bubble3D val="0"/>
            <c:spPr>
              <a:solidFill>
                <a:srgbClr val="00A097"/>
              </a:solidFill>
            </c:spPr>
            <c:extLst>
              <c:ext xmlns:c16="http://schemas.microsoft.com/office/drawing/2014/chart" uri="{C3380CC4-5D6E-409C-BE32-E72D297353CC}">
                <c16:uniqueId val="{000001E9-280A-4CC8-864C-E6F154A5A56B}"/>
              </c:ext>
            </c:extLst>
          </c:dPt>
          <c:dPt>
            <c:idx val="244"/>
            <c:invertIfNegative val="1"/>
            <c:bubble3D val="0"/>
            <c:spPr>
              <a:solidFill>
                <a:srgbClr val="00A097"/>
              </a:solidFill>
            </c:spPr>
            <c:extLst>
              <c:ext xmlns:c16="http://schemas.microsoft.com/office/drawing/2014/chart" uri="{C3380CC4-5D6E-409C-BE32-E72D297353CC}">
                <c16:uniqueId val="{000001EB-280A-4CC8-864C-E6F154A5A56B}"/>
              </c:ext>
            </c:extLst>
          </c:dPt>
          <c:dPt>
            <c:idx val="245"/>
            <c:invertIfNegative val="1"/>
            <c:bubble3D val="0"/>
            <c:spPr>
              <a:solidFill>
                <a:srgbClr val="00A097"/>
              </a:solidFill>
            </c:spPr>
            <c:extLst>
              <c:ext xmlns:c16="http://schemas.microsoft.com/office/drawing/2014/chart" uri="{C3380CC4-5D6E-409C-BE32-E72D297353CC}">
                <c16:uniqueId val="{000001ED-280A-4CC8-864C-E6F154A5A56B}"/>
              </c:ext>
            </c:extLst>
          </c:dPt>
          <c:dPt>
            <c:idx val="246"/>
            <c:invertIfNegative val="1"/>
            <c:bubble3D val="0"/>
            <c:spPr>
              <a:solidFill>
                <a:srgbClr val="00A097"/>
              </a:solidFill>
            </c:spPr>
            <c:extLst>
              <c:ext xmlns:c16="http://schemas.microsoft.com/office/drawing/2014/chart" uri="{C3380CC4-5D6E-409C-BE32-E72D297353CC}">
                <c16:uniqueId val="{000001EF-280A-4CC8-864C-E6F154A5A56B}"/>
              </c:ext>
            </c:extLst>
          </c:dPt>
          <c:dPt>
            <c:idx val="247"/>
            <c:invertIfNegative val="1"/>
            <c:bubble3D val="0"/>
            <c:spPr>
              <a:solidFill>
                <a:srgbClr val="00A097"/>
              </a:solidFill>
            </c:spPr>
            <c:extLst>
              <c:ext xmlns:c16="http://schemas.microsoft.com/office/drawing/2014/chart" uri="{C3380CC4-5D6E-409C-BE32-E72D297353CC}">
                <c16:uniqueId val="{000001F1-280A-4CC8-864C-E6F154A5A56B}"/>
              </c:ext>
            </c:extLst>
          </c:dPt>
          <c:dPt>
            <c:idx val="248"/>
            <c:invertIfNegative val="1"/>
            <c:bubble3D val="0"/>
            <c:spPr>
              <a:solidFill>
                <a:srgbClr val="7ECAC4"/>
              </a:solidFill>
            </c:spPr>
            <c:extLst>
              <c:ext xmlns:c16="http://schemas.microsoft.com/office/drawing/2014/chart" uri="{C3380CC4-5D6E-409C-BE32-E72D297353CC}">
                <c16:uniqueId val="{000001F3-280A-4CC8-864C-E6F154A5A56B}"/>
              </c:ext>
            </c:extLst>
          </c:dPt>
          <c:dPt>
            <c:idx val="249"/>
            <c:invertIfNegative val="1"/>
            <c:bubble3D val="0"/>
            <c:spPr>
              <a:solidFill>
                <a:srgbClr val="7ECAC4"/>
              </a:solidFill>
            </c:spPr>
            <c:extLst>
              <c:ext xmlns:c16="http://schemas.microsoft.com/office/drawing/2014/chart" uri="{C3380CC4-5D6E-409C-BE32-E72D297353CC}">
                <c16:uniqueId val="{000001F5-280A-4CC8-864C-E6F154A5A56B}"/>
              </c:ext>
            </c:extLst>
          </c:dPt>
          <c:dPt>
            <c:idx val="250"/>
            <c:invertIfNegative val="1"/>
            <c:bubble3D val="0"/>
            <c:spPr>
              <a:solidFill>
                <a:srgbClr val="7ECAC4"/>
              </a:solidFill>
            </c:spPr>
            <c:extLst>
              <c:ext xmlns:c16="http://schemas.microsoft.com/office/drawing/2014/chart" uri="{C3380CC4-5D6E-409C-BE32-E72D297353CC}">
                <c16:uniqueId val="{000001F7-280A-4CC8-864C-E6F154A5A56B}"/>
              </c:ext>
            </c:extLst>
          </c:dPt>
          <c:dPt>
            <c:idx val="251"/>
            <c:invertIfNegative val="1"/>
            <c:bubble3D val="0"/>
            <c:spPr>
              <a:solidFill>
                <a:srgbClr val="7ECAC4"/>
              </a:solidFill>
            </c:spPr>
            <c:extLst>
              <c:ext xmlns:c16="http://schemas.microsoft.com/office/drawing/2014/chart" uri="{C3380CC4-5D6E-409C-BE32-E72D297353CC}">
                <c16:uniqueId val="{000001F9-280A-4CC8-864C-E6F154A5A56B}"/>
              </c:ext>
            </c:extLst>
          </c:dPt>
          <c:dPt>
            <c:idx val="252"/>
            <c:invertIfNegative val="1"/>
            <c:bubble3D val="0"/>
            <c:spPr>
              <a:solidFill>
                <a:srgbClr val="7ECAC4"/>
              </a:solidFill>
            </c:spPr>
            <c:extLst>
              <c:ext xmlns:c16="http://schemas.microsoft.com/office/drawing/2014/chart" uri="{C3380CC4-5D6E-409C-BE32-E72D297353CC}">
                <c16:uniqueId val="{000001FB-280A-4CC8-864C-E6F154A5A56B}"/>
              </c:ext>
            </c:extLst>
          </c:dPt>
          <c:dPt>
            <c:idx val="253"/>
            <c:invertIfNegative val="1"/>
            <c:bubble3D val="0"/>
            <c:spPr>
              <a:solidFill>
                <a:srgbClr val="7ECAC4"/>
              </a:solidFill>
            </c:spPr>
            <c:extLst>
              <c:ext xmlns:c16="http://schemas.microsoft.com/office/drawing/2014/chart" uri="{C3380CC4-5D6E-409C-BE32-E72D297353CC}">
                <c16:uniqueId val="{000001FD-280A-4CC8-864C-E6F154A5A56B}"/>
              </c:ext>
            </c:extLst>
          </c:dPt>
          <c:dPt>
            <c:idx val="254"/>
            <c:invertIfNegative val="1"/>
            <c:bubble3D val="0"/>
            <c:spPr>
              <a:solidFill>
                <a:srgbClr val="7ECAC4"/>
              </a:solidFill>
            </c:spPr>
            <c:extLst>
              <c:ext xmlns:c16="http://schemas.microsoft.com/office/drawing/2014/chart" uri="{C3380CC4-5D6E-409C-BE32-E72D297353CC}">
                <c16:uniqueId val="{000001FF-280A-4CC8-864C-E6F154A5A56B}"/>
              </c:ext>
            </c:extLst>
          </c:dPt>
          <c:dPt>
            <c:idx val="255"/>
            <c:invertIfNegative val="1"/>
            <c:bubble3D val="0"/>
            <c:spPr>
              <a:solidFill>
                <a:srgbClr val="7ECAC4"/>
              </a:solidFill>
            </c:spPr>
            <c:extLst>
              <c:ext xmlns:c16="http://schemas.microsoft.com/office/drawing/2014/chart" uri="{C3380CC4-5D6E-409C-BE32-E72D297353CC}">
                <c16:uniqueId val="{00000201-280A-4CC8-864C-E6F154A5A56B}"/>
              </c:ext>
            </c:extLst>
          </c:dPt>
          <c:dPt>
            <c:idx val="256"/>
            <c:invertIfNegative val="1"/>
            <c:bubble3D val="0"/>
            <c:spPr>
              <a:solidFill>
                <a:srgbClr val="7ECAC4"/>
              </a:solidFill>
            </c:spPr>
            <c:extLst>
              <c:ext xmlns:c16="http://schemas.microsoft.com/office/drawing/2014/chart" uri="{C3380CC4-5D6E-409C-BE32-E72D297353CC}">
                <c16:uniqueId val="{00000203-280A-4CC8-864C-E6F154A5A56B}"/>
              </c:ext>
            </c:extLst>
          </c:dPt>
          <c:dPt>
            <c:idx val="257"/>
            <c:invertIfNegative val="1"/>
            <c:bubble3D val="0"/>
            <c:spPr>
              <a:solidFill>
                <a:srgbClr val="7ECAC4"/>
              </a:solidFill>
            </c:spPr>
            <c:extLst>
              <c:ext xmlns:c16="http://schemas.microsoft.com/office/drawing/2014/chart" uri="{C3380CC4-5D6E-409C-BE32-E72D297353CC}">
                <c16:uniqueId val="{00000205-280A-4CC8-864C-E6F154A5A56B}"/>
              </c:ext>
            </c:extLst>
          </c:dPt>
          <c:dPt>
            <c:idx val="258"/>
            <c:invertIfNegative val="1"/>
            <c:bubble3D val="0"/>
            <c:spPr>
              <a:solidFill>
                <a:srgbClr val="7ECAC4"/>
              </a:solidFill>
            </c:spPr>
            <c:extLst>
              <c:ext xmlns:c16="http://schemas.microsoft.com/office/drawing/2014/chart" uri="{C3380CC4-5D6E-409C-BE32-E72D297353CC}">
                <c16:uniqueId val="{00000207-280A-4CC8-864C-E6F154A5A56B}"/>
              </c:ext>
            </c:extLst>
          </c:dPt>
          <c:dPt>
            <c:idx val="259"/>
            <c:invertIfNegative val="1"/>
            <c:bubble3D val="0"/>
            <c:spPr>
              <a:solidFill>
                <a:srgbClr val="7ECAC4"/>
              </a:solidFill>
            </c:spPr>
            <c:extLst>
              <c:ext xmlns:c16="http://schemas.microsoft.com/office/drawing/2014/chart" uri="{C3380CC4-5D6E-409C-BE32-E72D297353CC}">
                <c16:uniqueId val="{00000209-280A-4CC8-864C-E6F154A5A56B}"/>
              </c:ext>
            </c:extLst>
          </c:dPt>
          <c:dPt>
            <c:idx val="260"/>
            <c:invertIfNegative val="1"/>
            <c:bubble3D val="0"/>
            <c:spPr>
              <a:solidFill>
                <a:srgbClr val="7ECAC4"/>
              </a:solidFill>
            </c:spPr>
            <c:extLst>
              <c:ext xmlns:c16="http://schemas.microsoft.com/office/drawing/2014/chart" uri="{C3380CC4-5D6E-409C-BE32-E72D297353CC}">
                <c16:uniqueId val="{0000020B-280A-4CC8-864C-E6F154A5A56B}"/>
              </c:ext>
            </c:extLst>
          </c:dPt>
          <c:dPt>
            <c:idx val="261"/>
            <c:invertIfNegative val="1"/>
            <c:bubble3D val="0"/>
            <c:spPr>
              <a:solidFill>
                <a:srgbClr val="7ECAC4"/>
              </a:solidFill>
            </c:spPr>
            <c:extLst>
              <c:ext xmlns:c16="http://schemas.microsoft.com/office/drawing/2014/chart" uri="{C3380CC4-5D6E-409C-BE32-E72D297353CC}">
                <c16:uniqueId val="{0000020D-280A-4CC8-864C-E6F154A5A56B}"/>
              </c:ext>
            </c:extLst>
          </c:dPt>
          <c:dPt>
            <c:idx val="262"/>
            <c:invertIfNegative val="1"/>
            <c:bubble3D val="0"/>
            <c:spPr>
              <a:solidFill>
                <a:srgbClr val="7ECAC4"/>
              </a:solidFill>
            </c:spPr>
            <c:extLst>
              <c:ext xmlns:c16="http://schemas.microsoft.com/office/drawing/2014/chart" uri="{C3380CC4-5D6E-409C-BE32-E72D297353CC}">
                <c16:uniqueId val="{0000020F-280A-4CC8-864C-E6F154A5A56B}"/>
              </c:ext>
            </c:extLst>
          </c:dPt>
          <c:dPt>
            <c:idx val="263"/>
            <c:invertIfNegative val="1"/>
            <c:bubble3D val="0"/>
            <c:spPr>
              <a:solidFill>
                <a:srgbClr val="7ECAC4"/>
              </a:solidFill>
            </c:spPr>
            <c:extLst>
              <c:ext xmlns:c16="http://schemas.microsoft.com/office/drawing/2014/chart" uri="{C3380CC4-5D6E-409C-BE32-E72D297353CC}">
                <c16:uniqueId val="{00000211-280A-4CC8-864C-E6F154A5A56B}"/>
              </c:ext>
            </c:extLst>
          </c:dPt>
          <c:dPt>
            <c:idx val="264"/>
            <c:invertIfNegative val="1"/>
            <c:bubble3D val="0"/>
            <c:spPr>
              <a:solidFill>
                <a:srgbClr val="7ECAC4"/>
              </a:solidFill>
            </c:spPr>
            <c:extLst>
              <c:ext xmlns:c16="http://schemas.microsoft.com/office/drawing/2014/chart" uri="{C3380CC4-5D6E-409C-BE32-E72D297353CC}">
                <c16:uniqueId val="{00000213-280A-4CC8-864C-E6F154A5A56B}"/>
              </c:ext>
            </c:extLst>
          </c:dPt>
          <c:dPt>
            <c:idx val="265"/>
            <c:invertIfNegative val="1"/>
            <c:bubble3D val="0"/>
            <c:spPr>
              <a:solidFill>
                <a:srgbClr val="7ECAC4"/>
              </a:solidFill>
            </c:spPr>
            <c:extLst>
              <c:ext xmlns:c16="http://schemas.microsoft.com/office/drawing/2014/chart" uri="{C3380CC4-5D6E-409C-BE32-E72D297353CC}">
                <c16:uniqueId val="{00000215-280A-4CC8-864C-E6F154A5A56B}"/>
              </c:ext>
            </c:extLst>
          </c:dPt>
          <c:dPt>
            <c:idx val="266"/>
            <c:invertIfNegative val="1"/>
            <c:bubble3D val="0"/>
            <c:spPr>
              <a:solidFill>
                <a:srgbClr val="7ECAC4"/>
              </a:solidFill>
            </c:spPr>
            <c:extLst>
              <c:ext xmlns:c16="http://schemas.microsoft.com/office/drawing/2014/chart" uri="{C3380CC4-5D6E-409C-BE32-E72D297353CC}">
                <c16:uniqueId val="{00000217-280A-4CC8-864C-E6F154A5A56B}"/>
              </c:ext>
            </c:extLst>
          </c:dPt>
          <c:dPt>
            <c:idx val="267"/>
            <c:invertIfNegative val="1"/>
            <c:bubble3D val="0"/>
            <c:spPr>
              <a:solidFill>
                <a:srgbClr val="7ECAC4"/>
              </a:solidFill>
            </c:spPr>
            <c:extLst>
              <c:ext xmlns:c16="http://schemas.microsoft.com/office/drawing/2014/chart" uri="{C3380CC4-5D6E-409C-BE32-E72D297353CC}">
                <c16:uniqueId val="{00000219-280A-4CC8-864C-E6F154A5A56B}"/>
              </c:ext>
            </c:extLst>
          </c:dPt>
          <c:dPt>
            <c:idx val="268"/>
            <c:invertIfNegative val="1"/>
            <c:bubble3D val="0"/>
            <c:spPr>
              <a:solidFill>
                <a:srgbClr val="7ECAC4"/>
              </a:solidFill>
            </c:spPr>
            <c:extLst>
              <c:ext xmlns:c16="http://schemas.microsoft.com/office/drawing/2014/chart" uri="{C3380CC4-5D6E-409C-BE32-E72D297353CC}">
                <c16:uniqueId val="{0000021B-280A-4CC8-864C-E6F154A5A56B}"/>
              </c:ext>
            </c:extLst>
          </c:dPt>
          <c:dPt>
            <c:idx val="269"/>
            <c:invertIfNegative val="1"/>
            <c:bubble3D val="0"/>
            <c:spPr>
              <a:solidFill>
                <a:srgbClr val="7ECAC4"/>
              </a:solidFill>
            </c:spPr>
            <c:extLst>
              <c:ext xmlns:c16="http://schemas.microsoft.com/office/drawing/2014/chart" uri="{C3380CC4-5D6E-409C-BE32-E72D297353CC}">
                <c16:uniqueId val="{0000021D-280A-4CC8-864C-E6F154A5A56B}"/>
              </c:ext>
            </c:extLst>
          </c:dPt>
          <c:dPt>
            <c:idx val="270"/>
            <c:invertIfNegative val="1"/>
            <c:bubble3D val="0"/>
            <c:spPr>
              <a:solidFill>
                <a:srgbClr val="7ECAC4"/>
              </a:solidFill>
            </c:spPr>
            <c:extLst>
              <c:ext xmlns:c16="http://schemas.microsoft.com/office/drawing/2014/chart" uri="{C3380CC4-5D6E-409C-BE32-E72D297353CC}">
                <c16:uniqueId val="{0000021F-280A-4CC8-864C-E6F154A5A56B}"/>
              </c:ext>
            </c:extLst>
          </c:dPt>
          <c:dPt>
            <c:idx val="271"/>
            <c:invertIfNegative val="1"/>
            <c:bubble3D val="0"/>
            <c:spPr>
              <a:solidFill>
                <a:srgbClr val="7ECAC4"/>
              </a:solidFill>
            </c:spPr>
            <c:extLst>
              <c:ext xmlns:c16="http://schemas.microsoft.com/office/drawing/2014/chart" uri="{C3380CC4-5D6E-409C-BE32-E72D297353CC}">
                <c16:uniqueId val="{00000221-280A-4CC8-864C-E6F154A5A56B}"/>
              </c:ext>
            </c:extLst>
          </c:dPt>
          <c:dPt>
            <c:idx val="272"/>
            <c:invertIfNegative val="1"/>
            <c:bubble3D val="0"/>
            <c:spPr>
              <a:solidFill>
                <a:srgbClr val="7ECAC4"/>
              </a:solidFill>
            </c:spPr>
            <c:extLst>
              <c:ext xmlns:c16="http://schemas.microsoft.com/office/drawing/2014/chart" uri="{C3380CC4-5D6E-409C-BE32-E72D297353CC}">
                <c16:uniqueId val="{00000223-280A-4CC8-864C-E6F154A5A56B}"/>
              </c:ext>
            </c:extLst>
          </c:dPt>
          <c:dPt>
            <c:idx val="273"/>
            <c:invertIfNegative val="1"/>
            <c:bubble3D val="0"/>
            <c:spPr>
              <a:solidFill>
                <a:srgbClr val="7ECAC4"/>
              </a:solidFill>
            </c:spPr>
            <c:extLst>
              <c:ext xmlns:c16="http://schemas.microsoft.com/office/drawing/2014/chart" uri="{C3380CC4-5D6E-409C-BE32-E72D297353CC}">
                <c16:uniqueId val="{00000225-280A-4CC8-864C-E6F154A5A56B}"/>
              </c:ext>
            </c:extLst>
          </c:dPt>
          <c:dPt>
            <c:idx val="274"/>
            <c:invertIfNegative val="1"/>
            <c:bubble3D val="0"/>
            <c:spPr>
              <a:solidFill>
                <a:srgbClr val="7ECAC4"/>
              </a:solidFill>
            </c:spPr>
            <c:extLst>
              <c:ext xmlns:c16="http://schemas.microsoft.com/office/drawing/2014/chart" uri="{C3380CC4-5D6E-409C-BE32-E72D297353CC}">
                <c16:uniqueId val="{00000227-280A-4CC8-864C-E6F154A5A56B}"/>
              </c:ext>
            </c:extLst>
          </c:dPt>
          <c:dPt>
            <c:idx val="275"/>
            <c:invertIfNegative val="1"/>
            <c:bubble3D val="0"/>
            <c:spPr>
              <a:solidFill>
                <a:srgbClr val="7ECAC4"/>
              </a:solidFill>
            </c:spPr>
            <c:extLst>
              <c:ext xmlns:c16="http://schemas.microsoft.com/office/drawing/2014/chart" uri="{C3380CC4-5D6E-409C-BE32-E72D297353CC}">
                <c16:uniqueId val="{00000229-280A-4CC8-864C-E6F154A5A56B}"/>
              </c:ext>
            </c:extLst>
          </c:dPt>
          <c:dPt>
            <c:idx val="276"/>
            <c:invertIfNegative val="1"/>
            <c:bubble3D val="0"/>
            <c:spPr>
              <a:solidFill>
                <a:srgbClr val="7ECAC4"/>
              </a:solidFill>
            </c:spPr>
            <c:extLst>
              <c:ext xmlns:c16="http://schemas.microsoft.com/office/drawing/2014/chart" uri="{C3380CC4-5D6E-409C-BE32-E72D297353CC}">
                <c16:uniqueId val="{0000022B-280A-4CC8-864C-E6F154A5A56B}"/>
              </c:ext>
            </c:extLst>
          </c:dPt>
          <c:dPt>
            <c:idx val="277"/>
            <c:invertIfNegative val="1"/>
            <c:bubble3D val="0"/>
            <c:spPr>
              <a:solidFill>
                <a:srgbClr val="7ECAC4"/>
              </a:solidFill>
            </c:spPr>
            <c:extLst>
              <c:ext xmlns:c16="http://schemas.microsoft.com/office/drawing/2014/chart" uri="{C3380CC4-5D6E-409C-BE32-E72D297353CC}">
                <c16:uniqueId val="{0000022D-280A-4CC8-864C-E6F154A5A56B}"/>
              </c:ext>
            </c:extLst>
          </c:dPt>
          <c:dPt>
            <c:idx val="278"/>
            <c:invertIfNegative val="1"/>
            <c:bubble3D val="0"/>
            <c:spPr>
              <a:solidFill>
                <a:srgbClr val="7ECAC4"/>
              </a:solidFill>
            </c:spPr>
            <c:extLst>
              <c:ext xmlns:c16="http://schemas.microsoft.com/office/drawing/2014/chart" uri="{C3380CC4-5D6E-409C-BE32-E72D297353CC}">
                <c16:uniqueId val="{0000022F-280A-4CC8-864C-E6F154A5A56B}"/>
              </c:ext>
            </c:extLst>
          </c:dPt>
          <c:dPt>
            <c:idx val="279"/>
            <c:invertIfNegative val="1"/>
            <c:bubble3D val="0"/>
            <c:spPr>
              <a:solidFill>
                <a:srgbClr val="7ECAC4"/>
              </a:solidFill>
            </c:spPr>
            <c:extLst>
              <c:ext xmlns:c16="http://schemas.microsoft.com/office/drawing/2014/chart" uri="{C3380CC4-5D6E-409C-BE32-E72D297353CC}">
                <c16:uniqueId val="{00000231-280A-4CC8-864C-E6F154A5A56B}"/>
              </c:ext>
            </c:extLst>
          </c:dPt>
          <c:dPt>
            <c:idx val="280"/>
            <c:invertIfNegative val="1"/>
            <c:bubble3D val="0"/>
            <c:spPr>
              <a:solidFill>
                <a:srgbClr val="7ECAC4"/>
              </a:solidFill>
            </c:spPr>
            <c:extLst>
              <c:ext xmlns:c16="http://schemas.microsoft.com/office/drawing/2014/chart" uri="{C3380CC4-5D6E-409C-BE32-E72D297353CC}">
                <c16:uniqueId val="{00000233-280A-4CC8-864C-E6F154A5A56B}"/>
              </c:ext>
            </c:extLst>
          </c:dPt>
          <c:dPt>
            <c:idx val="281"/>
            <c:invertIfNegative val="1"/>
            <c:bubble3D val="0"/>
            <c:spPr>
              <a:solidFill>
                <a:srgbClr val="7ECAC4"/>
              </a:solidFill>
            </c:spPr>
            <c:extLst>
              <c:ext xmlns:c16="http://schemas.microsoft.com/office/drawing/2014/chart" uri="{C3380CC4-5D6E-409C-BE32-E72D297353CC}">
                <c16:uniqueId val="{00000235-280A-4CC8-864C-E6F154A5A56B}"/>
              </c:ext>
            </c:extLst>
          </c:dPt>
          <c:dPt>
            <c:idx val="282"/>
            <c:invertIfNegative val="1"/>
            <c:bubble3D val="0"/>
            <c:spPr>
              <a:solidFill>
                <a:srgbClr val="7ECAC4"/>
              </a:solidFill>
            </c:spPr>
            <c:extLst>
              <c:ext xmlns:c16="http://schemas.microsoft.com/office/drawing/2014/chart" uri="{C3380CC4-5D6E-409C-BE32-E72D297353CC}">
                <c16:uniqueId val="{00000237-280A-4CC8-864C-E6F154A5A56B}"/>
              </c:ext>
            </c:extLst>
          </c:dPt>
          <c:dPt>
            <c:idx val="283"/>
            <c:invertIfNegative val="1"/>
            <c:bubble3D val="0"/>
            <c:spPr>
              <a:solidFill>
                <a:srgbClr val="7ECAC4"/>
              </a:solidFill>
            </c:spPr>
            <c:extLst>
              <c:ext xmlns:c16="http://schemas.microsoft.com/office/drawing/2014/chart" uri="{C3380CC4-5D6E-409C-BE32-E72D297353CC}">
                <c16:uniqueId val="{00000239-280A-4CC8-864C-E6F154A5A56B}"/>
              </c:ext>
            </c:extLst>
          </c:dPt>
          <c:dPt>
            <c:idx val="284"/>
            <c:invertIfNegative val="1"/>
            <c:bubble3D val="0"/>
            <c:spPr>
              <a:solidFill>
                <a:srgbClr val="7ECAC4"/>
              </a:solidFill>
            </c:spPr>
            <c:extLst>
              <c:ext xmlns:c16="http://schemas.microsoft.com/office/drawing/2014/chart" uri="{C3380CC4-5D6E-409C-BE32-E72D297353CC}">
                <c16:uniqueId val="{0000023B-280A-4CC8-864C-E6F154A5A56B}"/>
              </c:ext>
            </c:extLst>
          </c:dPt>
          <c:dPt>
            <c:idx val="285"/>
            <c:invertIfNegative val="1"/>
            <c:bubble3D val="0"/>
            <c:spPr>
              <a:solidFill>
                <a:srgbClr val="7ECAC4"/>
              </a:solidFill>
            </c:spPr>
            <c:extLst>
              <c:ext xmlns:c16="http://schemas.microsoft.com/office/drawing/2014/chart" uri="{C3380CC4-5D6E-409C-BE32-E72D297353CC}">
                <c16:uniqueId val="{0000023D-280A-4CC8-864C-E6F154A5A56B}"/>
              </c:ext>
            </c:extLst>
          </c:dPt>
          <c:dPt>
            <c:idx val="286"/>
            <c:invertIfNegative val="1"/>
            <c:bubble3D val="0"/>
            <c:spPr>
              <a:solidFill>
                <a:srgbClr val="7ECAC4"/>
              </a:solidFill>
            </c:spPr>
            <c:extLst>
              <c:ext xmlns:c16="http://schemas.microsoft.com/office/drawing/2014/chart" uri="{C3380CC4-5D6E-409C-BE32-E72D297353CC}">
                <c16:uniqueId val="{0000023F-280A-4CC8-864C-E6F154A5A56B}"/>
              </c:ext>
            </c:extLst>
          </c:dPt>
          <c:dPt>
            <c:idx val="287"/>
            <c:invertIfNegative val="1"/>
            <c:bubble3D val="0"/>
            <c:spPr>
              <a:solidFill>
                <a:srgbClr val="7ECAC4"/>
              </a:solidFill>
            </c:spPr>
            <c:extLst>
              <c:ext xmlns:c16="http://schemas.microsoft.com/office/drawing/2014/chart" uri="{C3380CC4-5D6E-409C-BE32-E72D297353CC}">
                <c16:uniqueId val="{00000241-280A-4CC8-864C-E6F154A5A56B}"/>
              </c:ext>
            </c:extLst>
          </c:dPt>
          <c:dPt>
            <c:idx val="288"/>
            <c:invertIfNegative val="1"/>
            <c:bubble3D val="0"/>
            <c:spPr>
              <a:solidFill>
                <a:srgbClr val="7ECAC4"/>
              </a:solidFill>
            </c:spPr>
            <c:extLst>
              <c:ext xmlns:c16="http://schemas.microsoft.com/office/drawing/2014/chart" uri="{C3380CC4-5D6E-409C-BE32-E72D297353CC}">
                <c16:uniqueId val="{00000243-280A-4CC8-864C-E6F154A5A56B}"/>
              </c:ext>
            </c:extLst>
          </c:dPt>
          <c:dPt>
            <c:idx val="289"/>
            <c:invertIfNegative val="1"/>
            <c:bubble3D val="0"/>
            <c:spPr>
              <a:solidFill>
                <a:srgbClr val="7ECAC4"/>
              </a:solidFill>
            </c:spPr>
            <c:extLst>
              <c:ext xmlns:c16="http://schemas.microsoft.com/office/drawing/2014/chart" uri="{C3380CC4-5D6E-409C-BE32-E72D297353CC}">
                <c16:uniqueId val="{00000245-280A-4CC8-864C-E6F154A5A56B}"/>
              </c:ext>
            </c:extLst>
          </c:dPt>
          <c:dPt>
            <c:idx val="290"/>
            <c:invertIfNegative val="1"/>
            <c:bubble3D val="0"/>
            <c:spPr>
              <a:solidFill>
                <a:srgbClr val="7ECAC4"/>
              </a:solidFill>
            </c:spPr>
            <c:extLst>
              <c:ext xmlns:c16="http://schemas.microsoft.com/office/drawing/2014/chart" uri="{C3380CC4-5D6E-409C-BE32-E72D297353CC}">
                <c16:uniqueId val="{00000247-280A-4CC8-864C-E6F154A5A56B}"/>
              </c:ext>
            </c:extLst>
          </c:dPt>
          <c:dPt>
            <c:idx val="291"/>
            <c:invertIfNegative val="1"/>
            <c:bubble3D val="0"/>
            <c:spPr>
              <a:solidFill>
                <a:srgbClr val="7ECAC4"/>
              </a:solidFill>
            </c:spPr>
            <c:extLst>
              <c:ext xmlns:c16="http://schemas.microsoft.com/office/drawing/2014/chart" uri="{C3380CC4-5D6E-409C-BE32-E72D297353CC}">
                <c16:uniqueId val="{00000249-280A-4CC8-864C-E6F154A5A56B}"/>
              </c:ext>
            </c:extLst>
          </c:dPt>
          <c:dPt>
            <c:idx val="292"/>
            <c:invertIfNegative val="1"/>
            <c:bubble3D val="0"/>
            <c:spPr>
              <a:solidFill>
                <a:srgbClr val="7ECAC4"/>
              </a:solidFill>
            </c:spPr>
            <c:extLst>
              <c:ext xmlns:c16="http://schemas.microsoft.com/office/drawing/2014/chart" uri="{C3380CC4-5D6E-409C-BE32-E72D297353CC}">
                <c16:uniqueId val="{0000024B-280A-4CC8-864C-E6F154A5A56B}"/>
              </c:ext>
            </c:extLst>
          </c:dPt>
          <c:dPt>
            <c:idx val="293"/>
            <c:invertIfNegative val="1"/>
            <c:bubble3D val="0"/>
            <c:spPr>
              <a:solidFill>
                <a:srgbClr val="7ECAC4"/>
              </a:solidFill>
            </c:spPr>
            <c:extLst>
              <c:ext xmlns:c16="http://schemas.microsoft.com/office/drawing/2014/chart" uri="{C3380CC4-5D6E-409C-BE32-E72D297353CC}">
                <c16:uniqueId val="{0000024D-280A-4CC8-864C-E6F154A5A56B}"/>
              </c:ext>
            </c:extLst>
          </c:dPt>
          <c:dPt>
            <c:idx val="294"/>
            <c:invertIfNegative val="1"/>
            <c:bubble3D val="0"/>
            <c:spPr>
              <a:solidFill>
                <a:srgbClr val="7ECAC4"/>
              </a:solidFill>
            </c:spPr>
            <c:extLst>
              <c:ext xmlns:c16="http://schemas.microsoft.com/office/drawing/2014/chart" uri="{C3380CC4-5D6E-409C-BE32-E72D297353CC}">
                <c16:uniqueId val="{0000024F-280A-4CC8-864C-E6F154A5A56B}"/>
              </c:ext>
            </c:extLst>
          </c:dPt>
          <c:dPt>
            <c:idx val="295"/>
            <c:invertIfNegative val="1"/>
            <c:bubble3D val="0"/>
            <c:spPr>
              <a:solidFill>
                <a:srgbClr val="7ECAC4"/>
              </a:solidFill>
            </c:spPr>
            <c:extLst>
              <c:ext xmlns:c16="http://schemas.microsoft.com/office/drawing/2014/chart" uri="{C3380CC4-5D6E-409C-BE32-E72D297353CC}">
                <c16:uniqueId val="{00000251-280A-4CC8-864C-E6F154A5A56B}"/>
              </c:ext>
            </c:extLst>
          </c:dPt>
          <c:dPt>
            <c:idx val="296"/>
            <c:invertIfNegative val="1"/>
            <c:bubble3D val="0"/>
            <c:spPr>
              <a:solidFill>
                <a:srgbClr val="7ECAC4"/>
              </a:solidFill>
            </c:spPr>
            <c:extLst>
              <c:ext xmlns:c16="http://schemas.microsoft.com/office/drawing/2014/chart" uri="{C3380CC4-5D6E-409C-BE32-E72D297353CC}">
                <c16:uniqueId val="{00000253-280A-4CC8-864C-E6F154A5A56B}"/>
              </c:ext>
            </c:extLst>
          </c:dPt>
          <c:dPt>
            <c:idx val="297"/>
            <c:invertIfNegative val="1"/>
            <c:bubble3D val="0"/>
            <c:spPr>
              <a:solidFill>
                <a:srgbClr val="7ECAC4"/>
              </a:solidFill>
            </c:spPr>
            <c:extLst>
              <c:ext xmlns:c16="http://schemas.microsoft.com/office/drawing/2014/chart" uri="{C3380CC4-5D6E-409C-BE32-E72D297353CC}">
                <c16:uniqueId val="{00000255-280A-4CC8-864C-E6F154A5A56B}"/>
              </c:ext>
            </c:extLst>
          </c:dPt>
          <c:dPt>
            <c:idx val="298"/>
            <c:invertIfNegative val="1"/>
            <c:bubble3D val="0"/>
            <c:spPr>
              <a:solidFill>
                <a:srgbClr val="7ECAC4"/>
              </a:solidFill>
            </c:spPr>
            <c:extLst>
              <c:ext xmlns:c16="http://schemas.microsoft.com/office/drawing/2014/chart" uri="{C3380CC4-5D6E-409C-BE32-E72D297353CC}">
                <c16:uniqueId val="{00000257-280A-4CC8-864C-E6F154A5A56B}"/>
              </c:ext>
            </c:extLst>
          </c:dPt>
          <c:dPt>
            <c:idx val="299"/>
            <c:invertIfNegative val="1"/>
            <c:bubble3D val="0"/>
            <c:spPr>
              <a:solidFill>
                <a:srgbClr val="7ECAC4"/>
              </a:solidFill>
            </c:spPr>
            <c:extLst>
              <c:ext xmlns:c16="http://schemas.microsoft.com/office/drawing/2014/chart" uri="{C3380CC4-5D6E-409C-BE32-E72D297353CC}">
                <c16:uniqueId val="{00000259-280A-4CC8-864C-E6F154A5A56B}"/>
              </c:ext>
            </c:extLst>
          </c:dPt>
          <c:dPt>
            <c:idx val="300"/>
            <c:invertIfNegative val="1"/>
            <c:bubble3D val="0"/>
            <c:spPr>
              <a:solidFill>
                <a:srgbClr val="7ECAC4"/>
              </a:solidFill>
            </c:spPr>
            <c:extLst>
              <c:ext xmlns:c16="http://schemas.microsoft.com/office/drawing/2014/chart" uri="{C3380CC4-5D6E-409C-BE32-E72D297353CC}">
                <c16:uniqueId val="{0000025B-280A-4CC8-864C-E6F154A5A56B}"/>
              </c:ext>
            </c:extLst>
          </c:dPt>
          <c:dPt>
            <c:idx val="301"/>
            <c:invertIfNegative val="1"/>
            <c:bubble3D val="0"/>
            <c:spPr>
              <a:solidFill>
                <a:srgbClr val="7ECAC4"/>
              </a:solidFill>
            </c:spPr>
            <c:extLst>
              <c:ext xmlns:c16="http://schemas.microsoft.com/office/drawing/2014/chart" uri="{C3380CC4-5D6E-409C-BE32-E72D297353CC}">
                <c16:uniqueId val="{0000025D-280A-4CC8-864C-E6F154A5A56B}"/>
              </c:ext>
            </c:extLst>
          </c:dPt>
          <c:dPt>
            <c:idx val="302"/>
            <c:invertIfNegative val="1"/>
            <c:bubble3D val="0"/>
            <c:spPr>
              <a:solidFill>
                <a:srgbClr val="7ECAC4"/>
              </a:solidFill>
            </c:spPr>
            <c:extLst>
              <c:ext xmlns:c16="http://schemas.microsoft.com/office/drawing/2014/chart" uri="{C3380CC4-5D6E-409C-BE32-E72D297353CC}">
                <c16:uniqueId val="{0000025F-280A-4CC8-864C-E6F154A5A56B}"/>
              </c:ext>
            </c:extLst>
          </c:dPt>
          <c:dPt>
            <c:idx val="303"/>
            <c:invertIfNegative val="1"/>
            <c:bubble3D val="0"/>
            <c:spPr>
              <a:solidFill>
                <a:srgbClr val="7ECAC4"/>
              </a:solidFill>
            </c:spPr>
            <c:extLst>
              <c:ext xmlns:c16="http://schemas.microsoft.com/office/drawing/2014/chart" uri="{C3380CC4-5D6E-409C-BE32-E72D297353CC}">
                <c16:uniqueId val="{00000261-280A-4CC8-864C-E6F154A5A56B}"/>
              </c:ext>
            </c:extLst>
          </c:dPt>
          <c:dPt>
            <c:idx val="304"/>
            <c:invertIfNegative val="1"/>
            <c:bubble3D val="0"/>
            <c:spPr>
              <a:solidFill>
                <a:srgbClr val="7ECAC4"/>
              </a:solidFill>
            </c:spPr>
            <c:extLst>
              <c:ext xmlns:c16="http://schemas.microsoft.com/office/drawing/2014/chart" uri="{C3380CC4-5D6E-409C-BE32-E72D297353CC}">
                <c16:uniqueId val="{00000263-280A-4CC8-864C-E6F154A5A56B}"/>
              </c:ext>
            </c:extLst>
          </c:dPt>
          <c:dPt>
            <c:idx val="305"/>
            <c:invertIfNegative val="1"/>
            <c:bubble3D val="0"/>
            <c:spPr>
              <a:solidFill>
                <a:srgbClr val="7ECAC4"/>
              </a:solidFill>
            </c:spPr>
            <c:extLst>
              <c:ext xmlns:c16="http://schemas.microsoft.com/office/drawing/2014/chart" uri="{C3380CC4-5D6E-409C-BE32-E72D297353CC}">
                <c16:uniqueId val="{00000265-280A-4CC8-864C-E6F154A5A56B}"/>
              </c:ext>
            </c:extLst>
          </c:dPt>
          <c:dPt>
            <c:idx val="306"/>
            <c:invertIfNegative val="1"/>
            <c:bubble3D val="0"/>
            <c:spPr>
              <a:solidFill>
                <a:srgbClr val="7ECAC4"/>
              </a:solidFill>
            </c:spPr>
            <c:extLst>
              <c:ext xmlns:c16="http://schemas.microsoft.com/office/drawing/2014/chart" uri="{C3380CC4-5D6E-409C-BE32-E72D297353CC}">
                <c16:uniqueId val="{00000267-280A-4CC8-864C-E6F154A5A56B}"/>
              </c:ext>
            </c:extLst>
          </c:dPt>
          <c:dPt>
            <c:idx val="307"/>
            <c:invertIfNegative val="1"/>
            <c:bubble3D val="0"/>
            <c:spPr>
              <a:solidFill>
                <a:srgbClr val="7ECAC4"/>
              </a:solidFill>
            </c:spPr>
            <c:extLst>
              <c:ext xmlns:c16="http://schemas.microsoft.com/office/drawing/2014/chart" uri="{C3380CC4-5D6E-409C-BE32-E72D297353CC}">
                <c16:uniqueId val="{00000269-280A-4CC8-864C-E6F154A5A56B}"/>
              </c:ext>
            </c:extLst>
          </c:dPt>
          <c:dPt>
            <c:idx val="308"/>
            <c:invertIfNegative val="1"/>
            <c:bubble3D val="0"/>
            <c:spPr>
              <a:solidFill>
                <a:srgbClr val="7ECAC4"/>
              </a:solidFill>
            </c:spPr>
            <c:extLst>
              <c:ext xmlns:c16="http://schemas.microsoft.com/office/drawing/2014/chart" uri="{C3380CC4-5D6E-409C-BE32-E72D297353CC}">
                <c16:uniqueId val="{0000026B-280A-4CC8-864C-E6F154A5A56B}"/>
              </c:ext>
            </c:extLst>
          </c:dPt>
          <c:dPt>
            <c:idx val="309"/>
            <c:invertIfNegative val="1"/>
            <c:bubble3D val="0"/>
            <c:spPr>
              <a:solidFill>
                <a:srgbClr val="7ECAC4"/>
              </a:solidFill>
            </c:spPr>
            <c:extLst>
              <c:ext xmlns:c16="http://schemas.microsoft.com/office/drawing/2014/chart" uri="{C3380CC4-5D6E-409C-BE32-E72D297353CC}">
                <c16:uniqueId val="{0000026D-280A-4CC8-864C-E6F154A5A56B}"/>
              </c:ext>
            </c:extLst>
          </c:dPt>
          <c:dPt>
            <c:idx val="310"/>
            <c:invertIfNegative val="1"/>
            <c:bubble3D val="0"/>
            <c:spPr>
              <a:solidFill>
                <a:srgbClr val="7ECAC4"/>
              </a:solidFill>
            </c:spPr>
            <c:extLst>
              <c:ext xmlns:c16="http://schemas.microsoft.com/office/drawing/2014/chart" uri="{C3380CC4-5D6E-409C-BE32-E72D297353CC}">
                <c16:uniqueId val="{0000026F-280A-4CC8-864C-E6F154A5A56B}"/>
              </c:ext>
            </c:extLst>
          </c:dPt>
          <c:dPt>
            <c:idx val="311"/>
            <c:invertIfNegative val="1"/>
            <c:bubble3D val="0"/>
            <c:spPr>
              <a:solidFill>
                <a:srgbClr val="7ECAC4"/>
              </a:solidFill>
            </c:spPr>
            <c:extLst>
              <c:ext xmlns:c16="http://schemas.microsoft.com/office/drawing/2014/chart" uri="{C3380CC4-5D6E-409C-BE32-E72D297353CC}">
                <c16:uniqueId val="{00000271-280A-4CC8-864C-E6F154A5A56B}"/>
              </c:ext>
            </c:extLst>
          </c:dPt>
          <c:dPt>
            <c:idx val="312"/>
            <c:invertIfNegative val="1"/>
            <c:bubble3D val="0"/>
            <c:spPr>
              <a:solidFill>
                <a:srgbClr val="7ECAC4"/>
              </a:solidFill>
            </c:spPr>
            <c:extLst>
              <c:ext xmlns:c16="http://schemas.microsoft.com/office/drawing/2014/chart" uri="{C3380CC4-5D6E-409C-BE32-E72D297353CC}">
                <c16:uniqueId val="{00000273-280A-4CC8-864C-E6F154A5A56B}"/>
              </c:ext>
            </c:extLst>
          </c:dPt>
          <c:dPt>
            <c:idx val="313"/>
            <c:invertIfNegative val="1"/>
            <c:bubble3D val="0"/>
            <c:spPr>
              <a:solidFill>
                <a:srgbClr val="7ECAC4"/>
              </a:solidFill>
            </c:spPr>
            <c:extLst>
              <c:ext xmlns:c16="http://schemas.microsoft.com/office/drawing/2014/chart" uri="{C3380CC4-5D6E-409C-BE32-E72D297353CC}">
                <c16:uniqueId val="{00000275-280A-4CC8-864C-E6F154A5A56B}"/>
              </c:ext>
            </c:extLst>
          </c:dPt>
          <c:dPt>
            <c:idx val="314"/>
            <c:invertIfNegative val="1"/>
            <c:bubble3D val="0"/>
            <c:spPr>
              <a:solidFill>
                <a:srgbClr val="7ECAC4"/>
              </a:solidFill>
            </c:spPr>
            <c:extLst>
              <c:ext xmlns:c16="http://schemas.microsoft.com/office/drawing/2014/chart" uri="{C3380CC4-5D6E-409C-BE32-E72D297353CC}">
                <c16:uniqueId val="{00000277-280A-4CC8-864C-E6F154A5A56B}"/>
              </c:ext>
            </c:extLst>
          </c:dPt>
          <c:dPt>
            <c:idx val="315"/>
            <c:invertIfNegative val="1"/>
            <c:bubble3D val="0"/>
            <c:spPr>
              <a:solidFill>
                <a:srgbClr val="7ECAC4"/>
              </a:solidFill>
            </c:spPr>
            <c:extLst>
              <c:ext xmlns:c16="http://schemas.microsoft.com/office/drawing/2014/chart" uri="{C3380CC4-5D6E-409C-BE32-E72D297353CC}">
                <c16:uniqueId val="{00000279-280A-4CC8-864C-E6F154A5A56B}"/>
              </c:ext>
            </c:extLst>
          </c:dPt>
          <c:dPt>
            <c:idx val="316"/>
            <c:invertIfNegative val="1"/>
            <c:bubble3D val="0"/>
            <c:spPr>
              <a:solidFill>
                <a:srgbClr val="7ECAC4"/>
              </a:solidFill>
            </c:spPr>
            <c:extLst>
              <c:ext xmlns:c16="http://schemas.microsoft.com/office/drawing/2014/chart" uri="{C3380CC4-5D6E-409C-BE32-E72D297353CC}">
                <c16:uniqueId val="{0000027B-280A-4CC8-864C-E6F154A5A56B}"/>
              </c:ext>
            </c:extLst>
          </c:dPt>
          <c:dPt>
            <c:idx val="317"/>
            <c:invertIfNegative val="1"/>
            <c:bubble3D val="0"/>
            <c:spPr>
              <a:solidFill>
                <a:srgbClr val="7ECAC4"/>
              </a:solidFill>
            </c:spPr>
            <c:extLst>
              <c:ext xmlns:c16="http://schemas.microsoft.com/office/drawing/2014/chart" uri="{C3380CC4-5D6E-409C-BE32-E72D297353CC}">
                <c16:uniqueId val="{0000027D-280A-4CC8-864C-E6F154A5A56B}"/>
              </c:ext>
            </c:extLst>
          </c:dPt>
          <c:dPt>
            <c:idx val="318"/>
            <c:invertIfNegative val="1"/>
            <c:bubble3D val="0"/>
            <c:spPr>
              <a:solidFill>
                <a:srgbClr val="7ECAC4"/>
              </a:solidFill>
            </c:spPr>
            <c:extLst>
              <c:ext xmlns:c16="http://schemas.microsoft.com/office/drawing/2014/chart" uri="{C3380CC4-5D6E-409C-BE32-E72D297353CC}">
                <c16:uniqueId val="{0000027F-280A-4CC8-864C-E6F154A5A56B}"/>
              </c:ext>
            </c:extLst>
          </c:dPt>
          <c:dPt>
            <c:idx val="319"/>
            <c:invertIfNegative val="1"/>
            <c:bubble3D val="0"/>
            <c:spPr>
              <a:solidFill>
                <a:srgbClr val="7ECAC4"/>
              </a:solidFill>
            </c:spPr>
            <c:extLst>
              <c:ext xmlns:c16="http://schemas.microsoft.com/office/drawing/2014/chart" uri="{C3380CC4-5D6E-409C-BE32-E72D297353CC}">
                <c16:uniqueId val="{00000281-280A-4CC8-864C-E6F154A5A56B}"/>
              </c:ext>
            </c:extLst>
          </c:dPt>
          <c:dPt>
            <c:idx val="320"/>
            <c:invertIfNegative val="1"/>
            <c:bubble3D val="0"/>
            <c:spPr>
              <a:solidFill>
                <a:srgbClr val="7ECAC4"/>
              </a:solidFill>
            </c:spPr>
            <c:extLst>
              <c:ext xmlns:c16="http://schemas.microsoft.com/office/drawing/2014/chart" uri="{C3380CC4-5D6E-409C-BE32-E72D297353CC}">
                <c16:uniqueId val="{00000283-280A-4CC8-864C-E6F154A5A56B}"/>
              </c:ext>
            </c:extLst>
          </c:dPt>
          <c:dPt>
            <c:idx val="321"/>
            <c:invertIfNegative val="1"/>
            <c:bubble3D val="0"/>
            <c:spPr>
              <a:solidFill>
                <a:srgbClr val="7ECAC4"/>
              </a:solidFill>
            </c:spPr>
            <c:extLst>
              <c:ext xmlns:c16="http://schemas.microsoft.com/office/drawing/2014/chart" uri="{C3380CC4-5D6E-409C-BE32-E72D297353CC}">
                <c16:uniqueId val="{00000285-280A-4CC8-864C-E6F154A5A56B}"/>
              </c:ext>
            </c:extLst>
          </c:dPt>
          <c:dPt>
            <c:idx val="322"/>
            <c:invertIfNegative val="1"/>
            <c:bubble3D val="0"/>
            <c:spPr>
              <a:solidFill>
                <a:srgbClr val="7ECAC4"/>
              </a:solidFill>
            </c:spPr>
            <c:extLst>
              <c:ext xmlns:c16="http://schemas.microsoft.com/office/drawing/2014/chart" uri="{C3380CC4-5D6E-409C-BE32-E72D297353CC}">
                <c16:uniqueId val="{00000287-280A-4CC8-864C-E6F154A5A56B}"/>
              </c:ext>
            </c:extLst>
          </c:dPt>
          <c:dPt>
            <c:idx val="323"/>
            <c:invertIfNegative val="1"/>
            <c:bubble3D val="0"/>
            <c:spPr>
              <a:solidFill>
                <a:srgbClr val="7ECAC4"/>
              </a:solidFill>
            </c:spPr>
            <c:extLst>
              <c:ext xmlns:c16="http://schemas.microsoft.com/office/drawing/2014/chart" uri="{C3380CC4-5D6E-409C-BE32-E72D297353CC}">
                <c16:uniqueId val="{00000289-280A-4CC8-864C-E6F154A5A56B}"/>
              </c:ext>
            </c:extLst>
          </c:dPt>
          <c:dPt>
            <c:idx val="324"/>
            <c:invertIfNegative val="1"/>
            <c:bubble3D val="0"/>
            <c:spPr>
              <a:solidFill>
                <a:srgbClr val="7ECAC4"/>
              </a:solidFill>
            </c:spPr>
            <c:extLst>
              <c:ext xmlns:c16="http://schemas.microsoft.com/office/drawing/2014/chart" uri="{C3380CC4-5D6E-409C-BE32-E72D297353CC}">
                <c16:uniqueId val="{0000028B-280A-4CC8-864C-E6F154A5A56B}"/>
              </c:ext>
            </c:extLst>
          </c:dPt>
          <c:dPt>
            <c:idx val="325"/>
            <c:invertIfNegative val="1"/>
            <c:bubble3D val="0"/>
            <c:spPr>
              <a:solidFill>
                <a:srgbClr val="7ECAC4"/>
              </a:solidFill>
            </c:spPr>
            <c:extLst>
              <c:ext xmlns:c16="http://schemas.microsoft.com/office/drawing/2014/chart" uri="{C3380CC4-5D6E-409C-BE32-E72D297353CC}">
                <c16:uniqueId val="{0000028D-280A-4CC8-864C-E6F154A5A56B}"/>
              </c:ext>
            </c:extLst>
          </c:dPt>
          <c:dPt>
            <c:idx val="326"/>
            <c:invertIfNegative val="1"/>
            <c:bubble3D val="0"/>
            <c:spPr>
              <a:solidFill>
                <a:srgbClr val="7ECAC4"/>
              </a:solidFill>
            </c:spPr>
            <c:extLst>
              <c:ext xmlns:c16="http://schemas.microsoft.com/office/drawing/2014/chart" uri="{C3380CC4-5D6E-409C-BE32-E72D297353CC}">
                <c16:uniqueId val="{0000028F-280A-4CC8-864C-E6F154A5A56B}"/>
              </c:ext>
            </c:extLst>
          </c:dPt>
          <c:dPt>
            <c:idx val="327"/>
            <c:invertIfNegative val="1"/>
            <c:bubble3D val="0"/>
            <c:spPr>
              <a:solidFill>
                <a:srgbClr val="7ECAC4"/>
              </a:solidFill>
            </c:spPr>
            <c:extLst>
              <c:ext xmlns:c16="http://schemas.microsoft.com/office/drawing/2014/chart" uri="{C3380CC4-5D6E-409C-BE32-E72D297353CC}">
                <c16:uniqueId val="{00000291-280A-4CC8-864C-E6F154A5A56B}"/>
              </c:ext>
            </c:extLst>
          </c:dPt>
          <c:dPt>
            <c:idx val="328"/>
            <c:invertIfNegative val="1"/>
            <c:bubble3D val="0"/>
            <c:spPr>
              <a:solidFill>
                <a:srgbClr val="7ECAC4"/>
              </a:solidFill>
            </c:spPr>
            <c:extLst>
              <c:ext xmlns:c16="http://schemas.microsoft.com/office/drawing/2014/chart" uri="{C3380CC4-5D6E-409C-BE32-E72D297353CC}">
                <c16:uniqueId val="{00000293-280A-4CC8-864C-E6F154A5A56B}"/>
              </c:ext>
            </c:extLst>
          </c:dPt>
          <c:dPt>
            <c:idx val="329"/>
            <c:invertIfNegative val="1"/>
            <c:bubble3D val="0"/>
            <c:spPr>
              <a:solidFill>
                <a:srgbClr val="7ECAC4"/>
              </a:solidFill>
            </c:spPr>
            <c:extLst>
              <c:ext xmlns:c16="http://schemas.microsoft.com/office/drawing/2014/chart" uri="{C3380CC4-5D6E-409C-BE32-E72D297353CC}">
                <c16:uniqueId val="{00000295-280A-4CC8-864C-E6F154A5A56B}"/>
              </c:ext>
            </c:extLst>
          </c:dPt>
          <c:dPt>
            <c:idx val="330"/>
            <c:invertIfNegative val="1"/>
            <c:bubble3D val="0"/>
            <c:spPr>
              <a:solidFill>
                <a:srgbClr val="7ECAC4"/>
              </a:solidFill>
            </c:spPr>
            <c:extLst>
              <c:ext xmlns:c16="http://schemas.microsoft.com/office/drawing/2014/chart" uri="{C3380CC4-5D6E-409C-BE32-E72D297353CC}">
                <c16:uniqueId val="{00000297-280A-4CC8-864C-E6F154A5A56B}"/>
              </c:ext>
            </c:extLst>
          </c:dPt>
          <c:dPt>
            <c:idx val="331"/>
            <c:invertIfNegative val="1"/>
            <c:bubble3D val="0"/>
            <c:spPr>
              <a:solidFill>
                <a:srgbClr val="7ECAC4"/>
              </a:solidFill>
            </c:spPr>
            <c:extLst>
              <c:ext xmlns:c16="http://schemas.microsoft.com/office/drawing/2014/chart" uri="{C3380CC4-5D6E-409C-BE32-E72D297353CC}">
                <c16:uniqueId val="{00000299-280A-4CC8-864C-E6F154A5A56B}"/>
              </c:ext>
            </c:extLst>
          </c:dPt>
          <c:dPt>
            <c:idx val="332"/>
            <c:invertIfNegative val="1"/>
            <c:bubble3D val="0"/>
            <c:spPr>
              <a:solidFill>
                <a:srgbClr val="7ECAC4"/>
              </a:solidFill>
            </c:spPr>
            <c:extLst>
              <c:ext xmlns:c16="http://schemas.microsoft.com/office/drawing/2014/chart" uri="{C3380CC4-5D6E-409C-BE32-E72D297353CC}">
                <c16:uniqueId val="{0000029B-280A-4CC8-864C-E6F154A5A56B}"/>
              </c:ext>
            </c:extLst>
          </c:dPt>
          <c:dPt>
            <c:idx val="333"/>
            <c:invertIfNegative val="1"/>
            <c:bubble3D val="0"/>
            <c:spPr>
              <a:solidFill>
                <a:srgbClr val="7ECAC4"/>
              </a:solidFill>
            </c:spPr>
            <c:extLst>
              <c:ext xmlns:c16="http://schemas.microsoft.com/office/drawing/2014/chart" uri="{C3380CC4-5D6E-409C-BE32-E72D297353CC}">
                <c16:uniqueId val="{0000029D-280A-4CC8-864C-E6F154A5A56B}"/>
              </c:ext>
            </c:extLst>
          </c:dPt>
          <c:dPt>
            <c:idx val="334"/>
            <c:invertIfNegative val="1"/>
            <c:bubble3D val="0"/>
            <c:spPr>
              <a:solidFill>
                <a:srgbClr val="7ECAC4"/>
              </a:solidFill>
            </c:spPr>
            <c:extLst>
              <c:ext xmlns:c16="http://schemas.microsoft.com/office/drawing/2014/chart" uri="{C3380CC4-5D6E-409C-BE32-E72D297353CC}">
                <c16:uniqueId val="{0000029F-280A-4CC8-864C-E6F154A5A56B}"/>
              </c:ext>
            </c:extLst>
          </c:dPt>
          <c:dPt>
            <c:idx val="335"/>
            <c:invertIfNegative val="1"/>
            <c:bubble3D val="0"/>
            <c:spPr>
              <a:solidFill>
                <a:srgbClr val="7ECAC4"/>
              </a:solidFill>
            </c:spPr>
            <c:extLst>
              <c:ext xmlns:c16="http://schemas.microsoft.com/office/drawing/2014/chart" uri="{C3380CC4-5D6E-409C-BE32-E72D297353CC}">
                <c16:uniqueId val="{000002A1-280A-4CC8-864C-E6F154A5A56B}"/>
              </c:ext>
            </c:extLst>
          </c:dPt>
          <c:dPt>
            <c:idx val="336"/>
            <c:invertIfNegative val="1"/>
            <c:bubble3D val="0"/>
            <c:spPr>
              <a:solidFill>
                <a:srgbClr val="7ECAC4"/>
              </a:solidFill>
            </c:spPr>
            <c:extLst>
              <c:ext xmlns:c16="http://schemas.microsoft.com/office/drawing/2014/chart" uri="{C3380CC4-5D6E-409C-BE32-E72D297353CC}">
                <c16:uniqueId val="{000002A3-280A-4CC8-864C-E6F154A5A56B}"/>
              </c:ext>
            </c:extLst>
          </c:dPt>
          <c:dPt>
            <c:idx val="337"/>
            <c:invertIfNegative val="1"/>
            <c:bubble3D val="0"/>
            <c:spPr>
              <a:solidFill>
                <a:srgbClr val="7ECAC4"/>
              </a:solidFill>
            </c:spPr>
            <c:extLst>
              <c:ext xmlns:c16="http://schemas.microsoft.com/office/drawing/2014/chart" uri="{C3380CC4-5D6E-409C-BE32-E72D297353CC}">
                <c16:uniqueId val="{000002A5-280A-4CC8-864C-E6F154A5A56B}"/>
              </c:ext>
            </c:extLst>
          </c:dPt>
          <c:dPt>
            <c:idx val="338"/>
            <c:invertIfNegative val="1"/>
            <c:bubble3D val="0"/>
            <c:spPr>
              <a:solidFill>
                <a:srgbClr val="7ECAC4"/>
              </a:solidFill>
            </c:spPr>
            <c:extLst>
              <c:ext xmlns:c16="http://schemas.microsoft.com/office/drawing/2014/chart" uri="{C3380CC4-5D6E-409C-BE32-E72D297353CC}">
                <c16:uniqueId val="{000002A7-280A-4CC8-864C-E6F154A5A56B}"/>
              </c:ext>
            </c:extLst>
          </c:dPt>
          <c:dPt>
            <c:idx val="339"/>
            <c:invertIfNegative val="1"/>
            <c:bubble3D val="0"/>
            <c:spPr>
              <a:solidFill>
                <a:srgbClr val="7ECAC4"/>
              </a:solidFill>
            </c:spPr>
            <c:extLst>
              <c:ext xmlns:c16="http://schemas.microsoft.com/office/drawing/2014/chart" uri="{C3380CC4-5D6E-409C-BE32-E72D297353CC}">
                <c16:uniqueId val="{000002A9-280A-4CC8-864C-E6F154A5A56B}"/>
              </c:ext>
            </c:extLst>
          </c:dPt>
          <c:dPt>
            <c:idx val="340"/>
            <c:invertIfNegative val="1"/>
            <c:bubble3D val="0"/>
            <c:spPr>
              <a:solidFill>
                <a:srgbClr val="7ECAC4"/>
              </a:solidFill>
            </c:spPr>
            <c:extLst>
              <c:ext xmlns:c16="http://schemas.microsoft.com/office/drawing/2014/chart" uri="{C3380CC4-5D6E-409C-BE32-E72D297353CC}">
                <c16:uniqueId val="{000002AB-280A-4CC8-864C-E6F154A5A56B}"/>
              </c:ext>
            </c:extLst>
          </c:dPt>
          <c:dPt>
            <c:idx val="341"/>
            <c:invertIfNegative val="1"/>
            <c:bubble3D val="0"/>
            <c:spPr>
              <a:solidFill>
                <a:srgbClr val="7ECAC4"/>
              </a:solidFill>
            </c:spPr>
            <c:extLst>
              <c:ext xmlns:c16="http://schemas.microsoft.com/office/drawing/2014/chart" uri="{C3380CC4-5D6E-409C-BE32-E72D297353CC}">
                <c16:uniqueId val="{000002AD-280A-4CC8-864C-E6F154A5A56B}"/>
              </c:ext>
            </c:extLst>
          </c:dPt>
          <c:dPt>
            <c:idx val="342"/>
            <c:invertIfNegative val="1"/>
            <c:bubble3D val="0"/>
            <c:spPr>
              <a:solidFill>
                <a:srgbClr val="7ECAC4"/>
              </a:solidFill>
            </c:spPr>
            <c:extLst>
              <c:ext xmlns:c16="http://schemas.microsoft.com/office/drawing/2014/chart" uri="{C3380CC4-5D6E-409C-BE32-E72D297353CC}">
                <c16:uniqueId val="{000002AF-280A-4CC8-864C-E6F154A5A56B}"/>
              </c:ext>
            </c:extLst>
          </c:dPt>
          <c:dPt>
            <c:idx val="343"/>
            <c:invertIfNegative val="1"/>
            <c:bubble3D val="0"/>
            <c:spPr>
              <a:solidFill>
                <a:srgbClr val="7ECAC4"/>
              </a:solidFill>
            </c:spPr>
            <c:extLst>
              <c:ext xmlns:c16="http://schemas.microsoft.com/office/drawing/2014/chart" uri="{C3380CC4-5D6E-409C-BE32-E72D297353CC}">
                <c16:uniqueId val="{000002B1-280A-4CC8-864C-E6F154A5A56B}"/>
              </c:ext>
            </c:extLst>
          </c:dPt>
          <c:dPt>
            <c:idx val="344"/>
            <c:invertIfNegative val="1"/>
            <c:bubble3D val="0"/>
            <c:spPr>
              <a:solidFill>
                <a:srgbClr val="7ECAC4"/>
              </a:solidFill>
            </c:spPr>
            <c:extLst>
              <c:ext xmlns:c16="http://schemas.microsoft.com/office/drawing/2014/chart" uri="{C3380CC4-5D6E-409C-BE32-E72D297353CC}">
                <c16:uniqueId val="{000002B3-280A-4CC8-864C-E6F154A5A56B}"/>
              </c:ext>
            </c:extLst>
          </c:dPt>
          <c:dPt>
            <c:idx val="345"/>
            <c:invertIfNegative val="1"/>
            <c:bubble3D val="0"/>
            <c:spPr>
              <a:solidFill>
                <a:srgbClr val="7ECAC4"/>
              </a:solidFill>
            </c:spPr>
            <c:extLst>
              <c:ext xmlns:c16="http://schemas.microsoft.com/office/drawing/2014/chart" uri="{C3380CC4-5D6E-409C-BE32-E72D297353CC}">
                <c16:uniqueId val="{000002B5-280A-4CC8-864C-E6F154A5A56B}"/>
              </c:ext>
            </c:extLst>
          </c:dPt>
          <c:dPt>
            <c:idx val="346"/>
            <c:invertIfNegative val="1"/>
            <c:bubble3D val="0"/>
            <c:spPr>
              <a:solidFill>
                <a:srgbClr val="7ECAC4"/>
              </a:solidFill>
            </c:spPr>
            <c:extLst>
              <c:ext xmlns:c16="http://schemas.microsoft.com/office/drawing/2014/chart" uri="{C3380CC4-5D6E-409C-BE32-E72D297353CC}">
                <c16:uniqueId val="{000002B7-280A-4CC8-864C-E6F154A5A56B}"/>
              </c:ext>
            </c:extLst>
          </c:dPt>
          <c:dPt>
            <c:idx val="347"/>
            <c:invertIfNegative val="1"/>
            <c:bubble3D val="0"/>
            <c:spPr>
              <a:solidFill>
                <a:srgbClr val="7ECAC4"/>
              </a:solidFill>
            </c:spPr>
            <c:extLst>
              <c:ext xmlns:c16="http://schemas.microsoft.com/office/drawing/2014/chart" uri="{C3380CC4-5D6E-409C-BE32-E72D297353CC}">
                <c16:uniqueId val="{000002B9-280A-4CC8-864C-E6F154A5A56B}"/>
              </c:ext>
            </c:extLst>
          </c:dPt>
          <c:dPt>
            <c:idx val="348"/>
            <c:invertIfNegative val="1"/>
            <c:bubble3D val="0"/>
            <c:spPr>
              <a:solidFill>
                <a:srgbClr val="7ECAC4"/>
              </a:solidFill>
            </c:spPr>
            <c:extLst>
              <c:ext xmlns:c16="http://schemas.microsoft.com/office/drawing/2014/chart" uri="{C3380CC4-5D6E-409C-BE32-E72D297353CC}">
                <c16:uniqueId val="{000002BB-280A-4CC8-864C-E6F154A5A56B}"/>
              </c:ext>
            </c:extLst>
          </c:dPt>
          <c:dPt>
            <c:idx val="349"/>
            <c:invertIfNegative val="1"/>
            <c:bubble3D val="0"/>
            <c:spPr>
              <a:solidFill>
                <a:srgbClr val="7ECAC4"/>
              </a:solidFill>
            </c:spPr>
            <c:extLst>
              <c:ext xmlns:c16="http://schemas.microsoft.com/office/drawing/2014/chart" uri="{C3380CC4-5D6E-409C-BE32-E72D297353CC}">
                <c16:uniqueId val="{000002BD-280A-4CC8-864C-E6F154A5A56B}"/>
              </c:ext>
            </c:extLst>
          </c:dPt>
          <c:dPt>
            <c:idx val="350"/>
            <c:invertIfNegative val="1"/>
            <c:bubble3D val="0"/>
            <c:spPr>
              <a:solidFill>
                <a:srgbClr val="7ECAC4"/>
              </a:solidFill>
            </c:spPr>
            <c:extLst>
              <c:ext xmlns:c16="http://schemas.microsoft.com/office/drawing/2014/chart" uri="{C3380CC4-5D6E-409C-BE32-E72D297353CC}">
                <c16:uniqueId val="{000002BF-280A-4CC8-864C-E6F154A5A56B}"/>
              </c:ext>
            </c:extLst>
          </c:dPt>
          <c:dPt>
            <c:idx val="351"/>
            <c:invertIfNegative val="1"/>
            <c:bubble3D val="0"/>
            <c:spPr>
              <a:solidFill>
                <a:srgbClr val="7ECAC4"/>
              </a:solidFill>
            </c:spPr>
            <c:extLst>
              <c:ext xmlns:c16="http://schemas.microsoft.com/office/drawing/2014/chart" uri="{C3380CC4-5D6E-409C-BE32-E72D297353CC}">
                <c16:uniqueId val="{000002C1-280A-4CC8-864C-E6F154A5A56B}"/>
              </c:ext>
            </c:extLst>
          </c:dPt>
          <c:dPt>
            <c:idx val="352"/>
            <c:invertIfNegative val="1"/>
            <c:bubble3D val="0"/>
            <c:spPr>
              <a:solidFill>
                <a:srgbClr val="7ECAC4"/>
              </a:solidFill>
            </c:spPr>
            <c:extLst>
              <c:ext xmlns:c16="http://schemas.microsoft.com/office/drawing/2014/chart" uri="{C3380CC4-5D6E-409C-BE32-E72D297353CC}">
                <c16:uniqueId val="{000002C3-280A-4CC8-864C-E6F154A5A56B}"/>
              </c:ext>
            </c:extLst>
          </c:dPt>
          <c:dPt>
            <c:idx val="353"/>
            <c:invertIfNegative val="1"/>
            <c:bubble3D val="0"/>
            <c:spPr>
              <a:solidFill>
                <a:srgbClr val="7ECAC4"/>
              </a:solidFill>
            </c:spPr>
            <c:extLst>
              <c:ext xmlns:c16="http://schemas.microsoft.com/office/drawing/2014/chart" uri="{C3380CC4-5D6E-409C-BE32-E72D297353CC}">
                <c16:uniqueId val="{000002C5-280A-4CC8-864C-E6F154A5A56B}"/>
              </c:ext>
            </c:extLst>
          </c:dPt>
          <c:dPt>
            <c:idx val="354"/>
            <c:invertIfNegative val="1"/>
            <c:bubble3D val="0"/>
            <c:spPr>
              <a:solidFill>
                <a:srgbClr val="7ECAC4"/>
              </a:solidFill>
            </c:spPr>
            <c:extLst>
              <c:ext xmlns:c16="http://schemas.microsoft.com/office/drawing/2014/chart" uri="{C3380CC4-5D6E-409C-BE32-E72D297353CC}">
                <c16:uniqueId val="{000002C7-280A-4CC8-864C-E6F154A5A56B}"/>
              </c:ext>
            </c:extLst>
          </c:dPt>
          <c:dPt>
            <c:idx val="355"/>
            <c:invertIfNegative val="1"/>
            <c:bubble3D val="0"/>
            <c:spPr>
              <a:solidFill>
                <a:srgbClr val="7ECAC4"/>
              </a:solidFill>
            </c:spPr>
            <c:extLst>
              <c:ext xmlns:c16="http://schemas.microsoft.com/office/drawing/2014/chart" uri="{C3380CC4-5D6E-409C-BE32-E72D297353CC}">
                <c16:uniqueId val="{000002C9-280A-4CC8-864C-E6F154A5A56B}"/>
              </c:ext>
            </c:extLst>
          </c:dPt>
          <c:dPt>
            <c:idx val="356"/>
            <c:invertIfNegative val="1"/>
            <c:bubble3D val="0"/>
            <c:spPr>
              <a:solidFill>
                <a:srgbClr val="7ECAC4"/>
              </a:solidFill>
            </c:spPr>
            <c:extLst>
              <c:ext xmlns:c16="http://schemas.microsoft.com/office/drawing/2014/chart" uri="{C3380CC4-5D6E-409C-BE32-E72D297353CC}">
                <c16:uniqueId val="{000002CB-280A-4CC8-864C-E6F154A5A56B}"/>
              </c:ext>
            </c:extLst>
          </c:dPt>
          <c:dPt>
            <c:idx val="357"/>
            <c:invertIfNegative val="1"/>
            <c:bubble3D val="0"/>
            <c:spPr>
              <a:solidFill>
                <a:srgbClr val="7ECAC4"/>
              </a:solidFill>
            </c:spPr>
            <c:extLst>
              <c:ext xmlns:c16="http://schemas.microsoft.com/office/drawing/2014/chart" uri="{C3380CC4-5D6E-409C-BE32-E72D297353CC}">
                <c16:uniqueId val="{000002CD-280A-4CC8-864C-E6F154A5A56B}"/>
              </c:ext>
            </c:extLst>
          </c:dPt>
          <c:dPt>
            <c:idx val="358"/>
            <c:invertIfNegative val="1"/>
            <c:bubble3D val="0"/>
            <c:spPr>
              <a:solidFill>
                <a:srgbClr val="7ECAC4"/>
              </a:solidFill>
            </c:spPr>
            <c:extLst>
              <c:ext xmlns:c16="http://schemas.microsoft.com/office/drawing/2014/chart" uri="{C3380CC4-5D6E-409C-BE32-E72D297353CC}">
                <c16:uniqueId val="{000002CF-280A-4CC8-864C-E6F154A5A56B}"/>
              </c:ext>
            </c:extLst>
          </c:dPt>
          <c:dPt>
            <c:idx val="359"/>
            <c:invertIfNegative val="1"/>
            <c:bubble3D val="0"/>
            <c:spPr>
              <a:solidFill>
                <a:srgbClr val="7ECAC4"/>
              </a:solidFill>
            </c:spPr>
            <c:extLst>
              <c:ext xmlns:c16="http://schemas.microsoft.com/office/drawing/2014/chart" uri="{C3380CC4-5D6E-409C-BE32-E72D297353CC}">
                <c16:uniqueId val="{000002D1-280A-4CC8-864C-E6F154A5A56B}"/>
              </c:ext>
            </c:extLst>
          </c:dPt>
          <c:dPt>
            <c:idx val="360"/>
            <c:invertIfNegative val="1"/>
            <c:bubble3D val="0"/>
            <c:spPr>
              <a:solidFill>
                <a:srgbClr val="7ECAC4"/>
              </a:solidFill>
            </c:spPr>
            <c:extLst>
              <c:ext xmlns:c16="http://schemas.microsoft.com/office/drawing/2014/chart" uri="{C3380CC4-5D6E-409C-BE32-E72D297353CC}">
                <c16:uniqueId val="{000002D3-280A-4CC8-864C-E6F154A5A56B}"/>
              </c:ext>
            </c:extLst>
          </c:dPt>
          <c:dPt>
            <c:idx val="361"/>
            <c:invertIfNegative val="1"/>
            <c:bubble3D val="0"/>
            <c:spPr>
              <a:solidFill>
                <a:srgbClr val="7ECAC4"/>
              </a:solidFill>
            </c:spPr>
            <c:extLst>
              <c:ext xmlns:c16="http://schemas.microsoft.com/office/drawing/2014/chart" uri="{C3380CC4-5D6E-409C-BE32-E72D297353CC}">
                <c16:uniqueId val="{000002D5-280A-4CC8-864C-E6F154A5A56B}"/>
              </c:ext>
            </c:extLst>
          </c:dPt>
          <c:dPt>
            <c:idx val="362"/>
            <c:invertIfNegative val="1"/>
            <c:bubble3D val="0"/>
            <c:spPr>
              <a:solidFill>
                <a:srgbClr val="7ECAC4"/>
              </a:solidFill>
            </c:spPr>
            <c:extLst>
              <c:ext xmlns:c16="http://schemas.microsoft.com/office/drawing/2014/chart" uri="{C3380CC4-5D6E-409C-BE32-E72D297353CC}">
                <c16:uniqueId val="{000002D7-280A-4CC8-864C-E6F154A5A56B}"/>
              </c:ext>
            </c:extLst>
          </c:dPt>
          <c:dPt>
            <c:idx val="363"/>
            <c:invertIfNegative val="1"/>
            <c:bubble3D val="0"/>
            <c:spPr>
              <a:solidFill>
                <a:srgbClr val="7ECAC4"/>
              </a:solidFill>
            </c:spPr>
            <c:extLst>
              <c:ext xmlns:c16="http://schemas.microsoft.com/office/drawing/2014/chart" uri="{C3380CC4-5D6E-409C-BE32-E72D297353CC}">
                <c16:uniqueId val="{000002D9-280A-4CC8-864C-E6F154A5A56B}"/>
              </c:ext>
            </c:extLst>
          </c:dPt>
          <c:dPt>
            <c:idx val="364"/>
            <c:invertIfNegative val="1"/>
            <c:bubble3D val="0"/>
            <c:spPr>
              <a:solidFill>
                <a:srgbClr val="7ECAC4"/>
              </a:solidFill>
            </c:spPr>
            <c:extLst>
              <c:ext xmlns:c16="http://schemas.microsoft.com/office/drawing/2014/chart" uri="{C3380CC4-5D6E-409C-BE32-E72D297353CC}">
                <c16:uniqueId val="{000002DB-280A-4CC8-864C-E6F154A5A56B}"/>
              </c:ext>
            </c:extLst>
          </c:dPt>
          <c:dPt>
            <c:idx val="365"/>
            <c:invertIfNegative val="1"/>
            <c:bubble3D val="0"/>
            <c:spPr>
              <a:solidFill>
                <a:srgbClr val="7ECAC4"/>
              </a:solidFill>
            </c:spPr>
            <c:extLst>
              <c:ext xmlns:c16="http://schemas.microsoft.com/office/drawing/2014/chart" uri="{C3380CC4-5D6E-409C-BE32-E72D297353CC}">
                <c16:uniqueId val="{000002DD-280A-4CC8-864C-E6F154A5A56B}"/>
              </c:ext>
            </c:extLst>
          </c:dPt>
          <c:dPt>
            <c:idx val="366"/>
            <c:invertIfNegative val="1"/>
            <c:bubble3D val="0"/>
            <c:spPr>
              <a:solidFill>
                <a:srgbClr val="7ECAC4"/>
              </a:solidFill>
            </c:spPr>
            <c:extLst>
              <c:ext xmlns:c16="http://schemas.microsoft.com/office/drawing/2014/chart" uri="{C3380CC4-5D6E-409C-BE32-E72D297353CC}">
                <c16:uniqueId val="{000002DF-280A-4CC8-864C-E6F154A5A56B}"/>
              </c:ext>
            </c:extLst>
          </c:dPt>
          <c:dPt>
            <c:idx val="367"/>
            <c:invertIfNegative val="1"/>
            <c:bubble3D val="0"/>
            <c:spPr>
              <a:solidFill>
                <a:srgbClr val="7ECAC4"/>
              </a:solidFill>
            </c:spPr>
            <c:extLst>
              <c:ext xmlns:c16="http://schemas.microsoft.com/office/drawing/2014/chart" uri="{C3380CC4-5D6E-409C-BE32-E72D297353CC}">
                <c16:uniqueId val="{000002E1-280A-4CC8-864C-E6F154A5A56B}"/>
              </c:ext>
            </c:extLst>
          </c:dPt>
          <c:dPt>
            <c:idx val="368"/>
            <c:invertIfNegative val="1"/>
            <c:bubble3D val="0"/>
            <c:spPr>
              <a:solidFill>
                <a:srgbClr val="7ECAC4"/>
              </a:solidFill>
            </c:spPr>
            <c:extLst>
              <c:ext xmlns:c16="http://schemas.microsoft.com/office/drawing/2014/chart" uri="{C3380CC4-5D6E-409C-BE32-E72D297353CC}">
                <c16:uniqueId val="{000002E3-280A-4CC8-864C-E6F154A5A56B}"/>
              </c:ext>
            </c:extLst>
          </c:dPt>
          <c:dPt>
            <c:idx val="369"/>
            <c:invertIfNegative val="1"/>
            <c:bubble3D val="0"/>
            <c:spPr>
              <a:solidFill>
                <a:srgbClr val="7ECAC4"/>
              </a:solidFill>
            </c:spPr>
            <c:extLst>
              <c:ext xmlns:c16="http://schemas.microsoft.com/office/drawing/2014/chart" uri="{C3380CC4-5D6E-409C-BE32-E72D297353CC}">
                <c16:uniqueId val="{000002E5-280A-4CC8-864C-E6F154A5A56B}"/>
              </c:ext>
            </c:extLst>
          </c:dPt>
          <c:dPt>
            <c:idx val="370"/>
            <c:invertIfNegative val="1"/>
            <c:bubble3D val="0"/>
            <c:spPr>
              <a:solidFill>
                <a:srgbClr val="7ECAC4"/>
              </a:solidFill>
            </c:spPr>
            <c:extLst>
              <c:ext xmlns:c16="http://schemas.microsoft.com/office/drawing/2014/chart" uri="{C3380CC4-5D6E-409C-BE32-E72D297353CC}">
                <c16:uniqueId val="{000002E7-280A-4CC8-864C-E6F154A5A56B}"/>
              </c:ext>
            </c:extLst>
          </c:dPt>
          <c:dPt>
            <c:idx val="371"/>
            <c:invertIfNegative val="1"/>
            <c:bubble3D val="0"/>
            <c:spPr>
              <a:solidFill>
                <a:srgbClr val="7ECAC4"/>
              </a:solidFill>
            </c:spPr>
            <c:extLst>
              <c:ext xmlns:c16="http://schemas.microsoft.com/office/drawing/2014/chart" uri="{C3380CC4-5D6E-409C-BE32-E72D297353CC}">
                <c16:uniqueId val="{000002E9-280A-4CC8-864C-E6F154A5A56B}"/>
              </c:ext>
            </c:extLst>
          </c:dPt>
          <c:dPt>
            <c:idx val="372"/>
            <c:invertIfNegative val="1"/>
            <c:bubble3D val="0"/>
            <c:spPr>
              <a:solidFill>
                <a:srgbClr val="7ECAC4"/>
              </a:solidFill>
            </c:spPr>
            <c:extLst>
              <c:ext xmlns:c16="http://schemas.microsoft.com/office/drawing/2014/chart" uri="{C3380CC4-5D6E-409C-BE32-E72D297353CC}">
                <c16:uniqueId val="{000002EB-280A-4CC8-864C-E6F154A5A56B}"/>
              </c:ext>
            </c:extLst>
          </c:dPt>
          <c:dPt>
            <c:idx val="373"/>
            <c:invertIfNegative val="1"/>
            <c:bubble3D val="0"/>
            <c:spPr>
              <a:solidFill>
                <a:srgbClr val="7ECAC4"/>
              </a:solidFill>
            </c:spPr>
            <c:extLst>
              <c:ext xmlns:c16="http://schemas.microsoft.com/office/drawing/2014/chart" uri="{C3380CC4-5D6E-409C-BE32-E72D297353CC}">
                <c16:uniqueId val="{000002ED-280A-4CC8-864C-E6F154A5A56B}"/>
              </c:ext>
            </c:extLst>
          </c:dPt>
          <c:dPt>
            <c:idx val="374"/>
            <c:invertIfNegative val="1"/>
            <c:bubble3D val="0"/>
            <c:spPr>
              <a:solidFill>
                <a:srgbClr val="7ECAC4"/>
              </a:solidFill>
            </c:spPr>
            <c:extLst>
              <c:ext xmlns:c16="http://schemas.microsoft.com/office/drawing/2014/chart" uri="{C3380CC4-5D6E-409C-BE32-E72D297353CC}">
                <c16:uniqueId val="{000002EF-280A-4CC8-864C-E6F154A5A56B}"/>
              </c:ext>
            </c:extLst>
          </c:dPt>
          <c:dPt>
            <c:idx val="375"/>
            <c:invertIfNegative val="1"/>
            <c:bubble3D val="0"/>
            <c:spPr>
              <a:solidFill>
                <a:srgbClr val="7ECAC4"/>
              </a:solidFill>
            </c:spPr>
            <c:extLst>
              <c:ext xmlns:c16="http://schemas.microsoft.com/office/drawing/2014/chart" uri="{C3380CC4-5D6E-409C-BE32-E72D297353CC}">
                <c16:uniqueId val="{000002F1-280A-4CC8-864C-E6F154A5A56B}"/>
              </c:ext>
            </c:extLst>
          </c:dPt>
          <c:dPt>
            <c:idx val="376"/>
            <c:invertIfNegative val="1"/>
            <c:bubble3D val="0"/>
            <c:spPr>
              <a:solidFill>
                <a:srgbClr val="7ECAC4"/>
              </a:solidFill>
            </c:spPr>
            <c:extLst>
              <c:ext xmlns:c16="http://schemas.microsoft.com/office/drawing/2014/chart" uri="{C3380CC4-5D6E-409C-BE32-E72D297353CC}">
                <c16:uniqueId val="{000002F3-280A-4CC8-864C-E6F154A5A56B}"/>
              </c:ext>
            </c:extLst>
          </c:dPt>
          <c:dPt>
            <c:idx val="377"/>
            <c:invertIfNegative val="1"/>
            <c:bubble3D val="0"/>
            <c:spPr>
              <a:solidFill>
                <a:srgbClr val="7ECAC4"/>
              </a:solidFill>
            </c:spPr>
            <c:extLst>
              <c:ext xmlns:c16="http://schemas.microsoft.com/office/drawing/2014/chart" uri="{C3380CC4-5D6E-409C-BE32-E72D297353CC}">
                <c16:uniqueId val="{000002F5-280A-4CC8-864C-E6F154A5A56B}"/>
              </c:ext>
            </c:extLst>
          </c:dPt>
          <c:dPt>
            <c:idx val="378"/>
            <c:invertIfNegative val="1"/>
            <c:bubble3D val="0"/>
            <c:spPr>
              <a:solidFill>
                <a:srgbClr val="7ECAC4"/>
              </a:solidFill>
            </c:spPr>
            <c:extLst>
              <c:ext xmlns:c16="http://schemas.microsoft.com/office/drawing/2014/chart" uri="{C3380CC4-5D6E-409C-BE32-E72D297353CC}">
                <c16:uniqueId val="{000002F7-280A-4CC8-864C-E6F154A5A56B}"/>
              </c:ext>
            </c:extLst>
          </c:dPt>
          <c:dPt>
            <c:idx val="379"/>
            <c:invertIfNegative val="1"/>
            <c:bubble3D val="0"/>
            <c:spPr>
              <a:solidFill>
                <a:srgbClr val="7ECAC4"/>
              </a:solidFill>
            </c:spPr>
            <c:extLst>
              <c:ext xmlns:c16="http://schemas.microsoft.com/office/drawing/2014/chart" uri="{C3380CC4-5D6E-409C-BE32-E72D297353CC}">
                <c16:uniqueId val="{000002F9-280A-4CC8-864C-E6F154A5A56B}"/>
              </c:ext>
            </c:extLst>
          </c:dPt>
          <c:dPt>
            <c:idx val="380"/>
            <c:invertIfNegative val="1"/>
            <c:bubble3D val="0"/>
            <c:spPr>
              <a:solidFill>
                <a:srgbClr val="7ECAC4"/>
              </a:solidFill>
            </c:spPr>
            <c:extLst>
              <c:ext xmlns:c16="http://schemas.microsoft.com/office/drawing/2014/chart" uri="{C3380CC4-5D6E-409C-BE32-E72D297353CC}">
                <c16:uniqueId val="{000002FB-280A-4CC8-864C-E6F154A5A56B}"/>
              </c:ext>
            </c:extLst>
          </c:dPt>
          <c:dPt>
            <c:idx val="381"/>
            <c:invertIfNegative val="1"/>
            <c:bubble3D val="0"/>
            <c:spPr>
              <a:solidFill>
                <a:srgbClr val="7ECAC4"/>
              </a:solidFill>
            </c:spPr>
            <c:extLst>
              <c:ext xmlns:c16="http://schemas.microsoft.com/office/drawing/2014/chart" uri="{C3380CC4-5D6E-409C-BE32-E72D297353CC}">
                <c16:uniqueId val="{000002FD-280A-4CC8-864C-E6F154A5A56B}"/>
              </c:ext>
            </c:extLst>
          </c:dPt>
          <c:dPt>
            <c:idx val="382"/>
            <c:invertIfNegative val="1"/>
            <c:bubble3D val="0"/>
            <c:spPr>
              <a:solidFill>
                <a:srgbClr val="7ECAC4"/>
              </a:solidFill>
            </c:spPr>
            <c:extLst>
              <c:ext xmlns:c16="http://schemas.microsoft.com/office/drawing/2014/chart" uri="{C3380CC4-5D6E-409C-BE32-E72D297353CC}">
                <c16:uniqueId val="{000002FF-280A-4CC8-864C-E6F154A5A56B}"/>
              </c:ext>
            </c:extLst>
          </c:dPt>
          <c:dPt>
            <c:idx val="383"/>
            <c:invertIfNegative val="1"/>
            <c:bubble3D val="0"/>
            <c:spPr>
              <a:solidFill>
                <a:srgbClr val="7ECAC4"/>
              </a:solidFill>
            </c:spPr>
            <c:extLst>
              <c:ext xmlns:c16="http://schemas.microsoft.com/office/drawing/2014/chart" uri="{C3380CC4-5D6E-409C-BE32-E72D297353CC}">
                <c16:uniqueId val="{00000301-280A-4CC8-864C-E6F154A5A56B}"/>
              </c:ext>
            </c:extLst>
          </c:dPt>
          <c:dPt>
            <c:idx val="384"/>
            <c:invertIfNegative val="1"/>
            <c:bubble3D val="0"/>
            <c:spPr>
              <a:solidFill>
                <a:srgbClr val="7ECAC4"/>
              </a:solidFill>
            </c:spPr>
            <c:extLst>
              <c:ext xmlns:c16="http://schemas.microsoft.com/office/drawing/2014/chart" uri="{C3380CC4-5D6E-409C-BE32-E72D297353CC}">
                <c16:uniqueId val="{00000303-280A-4CC8-864C-E6F154A5A56B}"/>
              </c:ext>
            </c:extLst>
          </c:dPt>
          <c:dPt>
            <c:idx val="385"/>
            <c:invertIfNegative val="1"/>
            <c:bubble3D val="0"/>
            <c:spPr>
              <a:solidFill>
                <a:srgbClr val="7ECAC4"/>
              </a:solidFill>
            </c:spPr>
            <c:extLst>
              <c:ext xmlns:c16="http://schemas.microsoft.com/office/drawing/2014/chart" uri="{C3380CC4-5D6E-409C-BE32-E72D297353CC}">
                <c16:uniqueId val="{00000305-280A-4CC8-864C-E6F154A5A56B}"/>
              </c:ext>
            </c:extLst>
          </c:dPt>
          <c:dPt>
            <c:idx val="386"/>
            <c:invertIfNegative val="1"/>
            <c:bubble3D val="0"/>
            <c:spPr>
              <a:solidFill>
                <a:srgbClr val="7ECAC4"/>
              </a:solidFill>
            </c:spPr>
            <c:extLst>
              <c:ext xmlns:c16="http://schemas.microsoft.com/office/drawing/2014/chart" uri="{C3380CC4-5D6E-409C-BE32-E72D297353CC}">
                <c16:uniqueId val="{00000307-280A-4CC8-864C-E6F154A5A56B}"/>
              </c:ext>
            </c:extLst>
          </c:dPt>
          <c:dPt>
            <c:idx val="387"/>
            <c:invertIfNegative val="1"/>
            <c:bubble3D val="0"/>
            <c:spPr>
              <a:solidFill>
                <a:srgbClr val="7ECAC4"/>
              </a:solidFill>
            </c:spPr>
            <c:extLst>
              <c:ext xmlns:c16="http://schemas.microsoft.com/office/drawing/2014/chart" uri="{C3380CC4-5D6E-409C-BE32-E72D297353CC}">
                <c16:uniqueId val="{00000309-280A-4CC8-864C-E6F154A5A56B}"/>
              </c:ext>
            </c:extLst>
          </c:dPt>
          <c:dPt>
            <c:idx val="388"/>
            <c:invertIfNegative val="1"/>
            <c:bubble3D val="0"/>
            <c:spPr>
              <a:solidFill>
                <a:srgbClr val="7ECAC4"/>
              </a:solidFill>
            </c:spPr>
            <c:extLst>
              <c:ext xmlns:c16="http://schemas.microsoft.com/office/drawing/2014/chart" uri="{C3380CC4-5D6E-409C-BE32-E72D297353CC}">
                <c16:uniqueId val="{0000030B-280A-4CC8-864C-E6F154A5A56B}"/>
              </c:ext>
            </c:extLst>
          </c:dPt>
          <c:dPt>
            <c:idx val="389"/>
            <c:invertIfNegative val="1"/>
            <c:bubble3D val="0"/>
            <c:spPr>
              <a:solidFill>
                <a:srgbClr val="7ECAC4"/>
              </a:solidFill>
            </c:spPr>
            <c:extLst>
              <c:ext xmlns:c16="http://schemas.microsoft.com/office/drawing/2014/chart" uri="{C3380CC4-5D6E-409C-BE32-E72D297353CC}">
                <c16:uniqueId val="{0000030D-280A-4CC8-864C-E6F154A5A56B}"/>
              </c:ext>
            </c:extLst>
          </c:dPt>
          <c:dPt>
            <c:idx val="390"/>
            <c:invertIfNegative val="1"/>
            <c:bubble3D val="0"/>
            <c:spPr>
              <a:solidFill>
                <a:srgbClr val="7ECAC4"/>
              </a:solidFill>
            </c:spPr>
            <c:extLst>
              <c:ext xmlns:c16="http://schemas.microsoft.com/office/drawing/2014/chart" uri="{C3380CC4-5D6E-409C-BE32-E72D297353CC}">
                <c16:uniqueId val="{0000030F-280A-4CC8-864C-E6F154A5A56B}"/>
              </c:ext>
            </c:extLst>
          </c:dPt>
          <c:dPt>
            <c:idx val="391"/>
            <c:invertIfNegative val="1"/>
            <c:bubble3D val="0"/>
            <c:spPr>
              <a:solidFill>
                <a:srgbClr val="7ECAC4"/>
              </a:solidFill>
            </c:spPr>
            <c:extLst>
              <c:ext xmlns:c16="http://schemas.microsoft.com/office/drawing/2014/chart" uri="{C3380CC4-5D6E-409C-BE32-E72D297353CC}">
                <c16:uniqueId val="{00000311-280A-4CC8-864C-E6F154A5A56B}"/>
              </c:ext>
            </c:extLst>
          </c:dPt>
          <c:dPt>
            <c:idx val="392"/>
            <c:invertIfNegative val="1"/>
            <c:bubble3D val="0"/>
            <c:spPr>
              <a:solidFill>
                <a:srgbClr val="7ECAC4"/>
              </a:solidFill>
            </c:spPr>
            <c:extLst>
              <c:ext xmlns:c16="http://schemas.microsoft.com/office/drawing/2014/chart" uri="{C3380CC4-5D6E-409C-BE32-E72D297353CC}">
                <c16:uniqueId val="{00000313-280A-4CC8-864C-E6F154A5A56B}"/>
              </c:ext>
            </c:extLst>
          </c:dPt>
          <c:dPt>
            <c:idx val="393"/>
            <c:invertIfNegative val="1"/>
            <c:bubble3D val="0"/>
            <c:spPr>
              <a:solidFill>
                <a:srgbClr val="7ECAC4"/>
              </a:solidFill>
            </c:spPr>
            <c:extLst>
              <c:ext xmlns:c16="http://schemas.microsoft.com/office/drawing/2014/chart" uri="{C3380CC4-5D6E-409C-BE32-E72D297353CC}">
                <c16:uniqueId val="{00000315-280A-4CC8-864C-E6F154A5A56B}"/>
              </c:ext>
            </c:extLst>
          </c:dPt>
          <c:dPt>
            <c:idx val="394"/>
            <c:invertIfNegative val="1"/>
            <c:bubble3D val="0"/>
            <c:spPr>
              <a:solidFill>
                <a:srgbClr val="7ECAC4"/>
              </a:solidFill>
            </c:spPr>
            <c:extLst>
              <c:ext xmlns:c16="http://schemas.microsoft.com/office/drawing/2014/chart" uri="{C3380CC4-5D6E-409C-BE32-E72D297353CC}">
                <c16:uniqueId val="{00000317-280A-4CC8-864C-E6F154A5A56B}"/>
              </c:ext>
            </c:extLst>
          </c:dPt>
          <c:dPt>
            <c:idx val="395"/>
            <c:invertIfNegative val="1"/>
            <c:bubble3D val="0"/>
            <c:spPr>
              <a:solidFill>
                <a:srgbClr val="7ECAC4"/>
              </a:solidFill>
            </c:spPr>
            <c:extLst>
              <c:ext xmlns:c16="http://schemas.microsoft.com/office/drawing/2014/chart" uri="{C3380CC4-5D6E-409C-BE32-E72D297353CC}">
                <c16:uniqueId val="{00000319-280A-4CC8-864C-E6F154A5A56B}"/>
              </c:ext>
            </c:extLst>
          </c:dPt>
          <c:dPt>
            <c:idx val="396"/>
            <c:invertIfNegative val="1"/>
            <c:bubble3D val="0"/>
            <c:spPr>
              <a:solidFill>
                <a:srgbClr val="7ECAC4"/>
              </a:solidFill>
            </c:spPr>
            <c:extLst>
              <c:ext xmlns:c16="http://schemas.microsoft.com/office/drawing/2014/chart" uri="{C3380CC4-5D6E-409C-BE32-E72D297353CC}">
                <c16:uniqueId val="{0000031B-280A-4CC8-864C-E6F154A5A56B}"/>
              </c:ext>
            </c:extLst>
          </c:dPt>
          <c:dPt>
            <c:idx val="397"/>
            <c:invertIfNegative val="1"/>
            <c:bubble3D val="0"/>
            <c:spPr>
              <a:solidFill>
                <a:srgbClr val="7ECAC4"/>
              </a:solidFill>
            </c:spPr>
            <c:extLst>
              <c:ext xmlns:c16="http://schemas.microsoft.com/office/drawing/2014/chart" uri="{C3380CC4-5D6E-409C-BE32-E72D297353CC}">
                <c16:uniqueId val="{0000031D-280A-4CC8-864C-E6F154A5A56B}"/>
              </c:ext>
            </c:extLst>
          </c:dPt>
          <c:dPt>
            <c:idx val="398"/>
            <c:invertIfNegative val="1"/>
            <c:bubble3D val="0"/>
            <c:spPr>
              <a:solidFill>
                <a:srgbClr val="7ECAC4"/>
              </a:solidFill>
            </c:spPr>
            <c:extLst>
              <c:ext xmlns:c16="http://schemas.microsoft.com/office/drawing/2014/chart" uri="{C3380CC4-5D6E-409C-BE32-E72D297353CC}">
                <c16:uniqueId val="{0000031F-280A-4CC8-864C-E6F154A5A56B}"/>
              </c:ext>
            </c:extLst>
          </c:dPt>
          <c:dPt>
            <c:idx val="399"/>
            <c:invertIfNegative val="1"/>
            <c:bubble3D val="0"/>
            <c:spPr>
              <a:solidFill>
                <a:srgbClr val="7ECAC4"/>
              </a:solidFill>
            </c:spPr>
            <c:extLst>
              <c:ext xmlns:c16="http://schemas.microsoft.com/office/drawing/2014/chart" uri="{C3380CC4-5D6E-409C-BE32-E72D297353CC}">
                <c16:uniqueId val="{00000321-280A-4CC8-864C-E6F154A5A56B}"/>
              </c:ext>
            </c:extLst>
          </c:dPt>
          <c:dPt>
            <c:idx val="400"/>
            <c:invertIfNegative val="1"/>
            <c:bubble3D val="0"/>
            <c:spPr>
              <a:solidFill>
                <a:srgbClr val="7ECAC4"/>
              </a:solidFill>
            </c:spPr>
            <c:extLst>
              <c:ext xmlns:c16="http://schemas.microsoft.com/office/drawing/2014/chart" uri="{C3380CC4-5D6E-409C-BE32-E72D297353CC}">
                <c16:uniqueId val="{00000323-280A-4CC8-864C-E6F154A5A56B}"/>
              </c:ext>
            </c:extLst>
          </c:dPt>
          <c:dPt>
            <c:idx val="401"/>
            <c:invertIfNegative val="1"/>
            <c:bubble3D val="0"/>
            <c:spPr>
              <a:solidFill>
                <a:srgbClr val="7ECAC4"/>
              </a:solidFill>
            </c:spPr>
            <c:extLst>
              <c:ext xmlns:c16="http://schemas.microsoft.com/office/drawing/2014/chart" uri="{C3380CC4-5D6E-409C-BE32-E72D297353CC}">
                <c16:uniqueId val="{00000325-280A-4CC8-864C-E6F154A5A56B}"/>
              </c:ext>
            </c:extLst>
          </c:dPt>
          <c:dPt>
            <c:idx val="402"/>
            <c:invertIfNegative val="1"/>
            <c:bubble3D val="0"/>
            <c:spPr>
              <a:solidFill>
                <a:srgbClr val="7ECAC4"/>
              </a:solidFill>
            </c:spPr>
            <c:extLst>
              <c:ext xmlns:c16="http://schemas.microsoft.com/office/drawing/2014/chart" uri="{C3380CC4-5D6E-409C-BE32-E72D297353CC}">
                <c16:uniqueId val="{00000327-280A-4CC8-864C-E6F154A5A56B}"/>
              </c:ext>
            </c:extLst>
          </c:dPt>
          <c:dPt>
            <c:idx val="403"/>
            <c:invertIfNegative val="1"/>
            <c:bubble3D val="0"/>
            <c:spPr>
              <a:solidFill>
                <a:srgbClr val="7ECAC4"/>
              </a:solidFill>
            </c:spPr>
            <c:extLst>
              <c:ext xmlns:c16="http://schemas.microsoft.com/office/drawing/2014/chart" uri="{C3380CC4-5D6E-409C-BE32-E72D297353CC}">
                <c16:uniqueId val="{00000329-280A-4CC8-864C-E6F154A5A56B}"/>
              </c:ext>
            </c:extLst>
          </c:dPt>
          <c:dPt>
            <c:idx val="404"/>
            <c:invertIfNegative val="1"/>
            <c:bubble3D val="0"/>
            <c:spPr>
              <a:solidFill>
                <a:srgbClr val="7ECAC4"/>
              </a:solidFill>
            </c:spPr>
            <c:extLst>
              <c:ext xmlns:c16="http://schemas.microsoft.com/office/drawing/2014/chart" uri="{C3380CC4-5D6E-409C-BE32-E72D297353CC}">
                <c16:uniqueId val="{0000032B-280A-4CC8-864C-E6F154A5A56B}"/>
              </c:ext>
            </c:extLst>
          </c:dPt>
          <c:dPt>
            <c:idx val="405"/>
            <c:invertIfNegative val="1"/>
            <c:bubble3D val="0"/>
            <c:spPr>
              <a:solidFill>
                <a:srgbClr val="7ECAC4"/>
              </a:solidFill>
            </c:spPr>
            <c:extLst>
              <c:ext xmlns:c16="http://schemas.microsoft.com/office/drawing/2014/chart" uri="{C3380CC4-5D6E-409C-BE32-E72D297353CC}">
                <c16:uniqueId val="{0000032D-280A-4CC8-864C-E6F154A5A56B}"/>
              </c:ext>
            </c:extLst>
          </c:dPt>
          <c:dPt>
            <c:idx val="406"/>
            <c:invertIfNegative val="1"/>
            <c:bubble3D val="0"/>
            <c:spPr>
              <a:solidFill>
                <a:srgbClr val="7ECAC4"/>
              </a:solidFill>
            </c:spPr>
            <c:extLst>
              <c:ext xmlns:c16="http://schemas.microsoft.com/office/drawing/2014/chart" uri="{C3380CC4-5D6E-409C-BE32-E72D297353CC}">
                <c16:uniqueId val="{0000032F-280A-4CC8-864C-E6F154A5A56B}"/>
              </c:ext>
            </c:extLst>
          </c:dPt>
          <c:dPt>
            <c:idx val="407"/>
            <c:invertIfNegative val="1"/>
            <c:bubble3D val="0"/>
            <c:spPr>
              <a:solidFill>
                <a:srgbClr val="7ECAC4"/>
              </a:solidFill>
            </c:spPr>
            <c:extLst>
              <c:ext xmlns:c16="http://schemas.microsoft.com/office/drawing/2014/chart" uri="{C3380CC4-5D6E-409C-BE32-E72D297353CC}">
                <c16:uniqueId val="{00000331-280A-4CC8-864C-E6F154A5A56B}"/>
              </c:ext>
            </c:extLst>
          </c:dPt>
          <c:dPt>
            <c:idx val="408"/>
            <c:invertIfNegative val="1"/>
            <c:bubble3D val="0"/>
            <c:spPr>
              <a:solidFill>
                <a:srgbClr val="7ECAC4"/>
              </a:solidFill>
            </c:spPr>
            <c:extLst>
              <c:ext xmlns:c16="http://schemas.microsoft.com/office/drawing/2014/chart" uri="{C3380CC4-5D6E-409C-BE32-E72D297353CC}">
                <c16:uniqueId val="{00000333-280A-4CC8-864C-E6F154A5A56B}"/>
              </c:ext>
            </c:extLst>
          </c:dPt>
          <c:dPt>
            <c:idx val="409"/>
            <c:invertIfNegative val="1"/>
            <c:bubble3D val="0"/>
            <c:spPr>
              <a:solidFill>
                <a:srgbClr val="7ECAC4"/>
              </a:solidFill>
            </c:spPr>
            <c:extLst>
              <c:ext xmlns:c16="http://schemas.microsoft.com/office/drawing/2014/chart" uri="{C3380CC4-5D6E-409C-BE32-E72D297353CC}">
                <c16:uniqueId val="{00000335-280A-4CC8-864C-E6F154A5A56B}"/>
              </c:ext>
            </c:extLst>
          </c:dPt>
          <c:dPt>
            <c:idx val="410"/>
            <c:invertIfNegative val="1"/>
            <c:bubble3D val="0"/>
            <c:spPr>
              <a:solidFill>
                <a:srgbClr val="7ECAC4"/>
              </a:solidFill>
            </c:spPr>
            <c:extLst>
              <c:ext xmlns:c16="http://schemas.microsoft.com/office/drawing/2014/chart" uri="{C3380CC4-5D6E-409C-BE32-E72D297353CC}">
                <c16:uniqueId val="{00000337-280A-4CC8-864C-E6F154A5A56B}"/>
              </c:ext>
            </c:extLst>
          </c:dPt>
          <c:dPt>
            <c:idx val="411"/>
            <c:invertIfNegative val="1"/>
            <c:bubble3D val="0"/>
            <c:spPr>
              <a:solidFill>
                <a:srgbClr val="7ECAC4"/>
              </a:solidFill>
            </c:spPr>
            <c:extLst>
              <c:ext xmlns:c16="http://schemas.microsoft.com/office/drawing/2014/chart" uri="{C3380CC4-5D6E-409C-BE32-E72D297353CC}">
                <c16:uniqueId val="{00000339-280A-4CC8-864C-E6F154A5A56B}"/>
              </c:ext>
            </c:extLst>
          </c:dPt>
          <c:dPt>
            <c:idx val="412"/>
            <c:invertIfNegative val="1"/>
            <c:bubble3D val="0"/>
            <c:spPr>
              <a:solidFill>
                <a:srgbClr val="7ECAC4"/>
              </a:solidFill>
            </c:spPr>
            <c:extLst>
              <c:ext xmlns:c16="http://schemas.microsoft.com/office/drawing/2014/chart" uri="{C3380CC4-5D6E-409C-BE32-E72D297353CC}">
                <c16:uniqueId val="{0000033B-280A-4CC8-864C-E6F154A5A56B}"/>
              </c:ext>
            </c:extLst>
          </c:dPt>
          <c:dPt>
            <c:idx val="413"/>
            <c:invertIfNegative val="1"/>
            <c:bubble3D val="0"/>
            <c:spPr>
              <a:solidFill>
                <a:srgbClr val="7ECAC4"/>
              </a:solidFill>
            </c:spPr>
            <c:extLst>
              <c:ext xmlns:c16="http://schemas.microsoft.com/office/drawing/2014/chart" uri="{C3380CC4-5D6E-409C-BE32-E72D297353CC}">
                <c16:uniqueId val="{0000033D-280A-4CC8-864C-E6F154A5A56B}"/>
              </c:ext>
            </c:extLst>
          </c:dPt>
          <c:dPt>
            <c:idx val="414"/>
            <c:invertIfNegative val="1"/>
            <c:bubble3D val="0"/>
            <c:spPr>
              <a:solidFill>
                <a:srgbClr val="7ECAC4"/>
              </a:solidFill>
            </c:spPr>
            <c:extLst>
              <c:ext xmlns:c16="http://schemas.microsoft.com/office/drawing/2014/chart" uri="{C3380CC4-5D6E-409C-BE32-E72D297353CC}">
                <c16:uniqueId val="{0000033F-280A-4CC8-864C-E6F154A5A56B}"/>
              </c:ext>
            </c:extLst>
          </c:dPt>
          <c:dPt>
            <c:idx val="415"/>
            <c:invertIfNegative val="1"/>
            <c:bubble3D val="0"/>
            <c:spPr>
              <a:solidFill>
                <a:srgbClr val="7ECAC4"/>
              </a:solidFill>
            </c:spPr>
            <c:extLst>
              <c:ext xmlns:c16="http://schemas.microsoft.com/office/drawing/2014/chart" uri="{C3380CC4-5D6E-409C-BE32-E72D297353CC}">
                <c16:uniqueId val="{00000341-280A-4CC8-864C-E6F154A5A56B}"/>
              </c:ext>
            </c:extLst>
          </c:dPt>
          <c:dPt>
            <c:idx val="416"/>
            <c:invertIfNegative val="1"/>
            <c:bubble3D val="0"/>
            <c:spPr>
              <a:solidFill>
                <a:srgbClr val="7ECAC4"/>
              </a:solidFill>
            </c:spPr>
            <c:extLst>
              <c:ext xmlns:c16="http://schemas.microsoft.com/office/drawing/2014/chart" uri="{C3380CC4-5D6E-409C-BE32-E72D297353CC}">
                <c16:uniqueId val="{00000343-280A-4CC8-864C-E6F154A5A56B}"/>
              </c:ext>
            </c:extLst>
          </c:dPt>
          <c:dPt>
            <c:idx val="417"/>
            <c:invertIfNegative val="1"/>
            <c:bubble3D val="0"/>
            <c:spPr>
              <a:solidFill>
                <a:srgbClr val="7ECAC4"/>
              </a:solidFill>
            </c:spPr>
            <c:extLst>
              <c:ext xmlns:c16="http://schemas.microsoft.com/office/drawing/2014/chart" uri="{C3380CC4-5D6E-409C-BE32-E72D297353CC}">
                <c16:uniqueId val="{00000345-280A-4CC8-864C-E6F154A5A56B}"/>
              </c:ext>
            </c:extLst>
          </c:dPt>
          <c:dPt>
            <c:idx val="418"/>
            <c:invertIfNegative val="1"/>
            <c:bubble3D val="0"/>
            <c:spPr>
              <a:solidFill>
                <a:srgbClr val="7ECAC4"/>
              </a:solidFill>
            </c:spPr>
            <c:extLst>
              <c:ext xmlns:c16="http://schemas.microsoft.com/office/drawing/2014/chart" uri="{C3380CC4-5D6E-409C-BE32-E72D297353CC}">
                <c16:uniqueId val="{00000347-280A-4CC8-864C-E6F154A5A56B}"/>
              </c:ext>
            </c:extLst>
          </c:dPt>
          <c:dPt>
            <c:idx val="419"/>
            <c:invertIfNegative val="1"/>
            <c:bubble3D val="0"/>
            <c:spPr>
              <a:solidFill>
                <a:srgbClr val="7ECAC4"/>
              </a:solidFill>
            </c:spPr>
            <c:extLst>
              <c:ext xmlns:c16="http://schemas.microsoft.com/office/drawing/2014/chart" uri="{C3380CC4-5D6E-409C-BE32-E72D297353CC}">
                <c16:uniqueId val="{00000349-280A-4CC8-864C-E6F154A5A56B}"/>
              </c:ext>
            </c:extLst>
          </c:dPt>
          <c:dPt>
            <c:idx val="420"/>
            <c:invertIfNegative val="1"/>
            <c:bubble3D val="0"/>
            <c:spPr>
              <a:solidFill>
                <a:srgbClr val="7ECAC4"/>
              </a:solidFill>
            </c:spPr>
            <c:extLst>
              <c:ext xmlns:c16="http://schemas.microsoft.com/office/drawing/2014/chart" uri="{C3380CC4-5D6E-409C-BE32-E72D297353CC}">
                <c16:uniqueId val="{0000034B-280A-4CC8-864C-E6F154A5A56B}"/>
              </c:ext>
            </c:extLst>
          </c:dPt>
          <c:dPt>
            <c:idx val="421"/>
            <c:invertIfNegative val="1"/>
            <c:bubble3D val="0"/>
            <c:spPr>
              <a:solidFill>
                <a:srgbClr val="7ECAC4"/>
              </a:solidFill>
            </c:spPr>
            <c:extLst>
              <c:ext xmlns:c16="http://schemas.microsoft.com/office/drawing/2014/chart" uri="{C3380CC4-5D6E-409C-BE32-E72D297353CC}">
                <c16:uniqueId val="{0000034D-280A-4CC8-864C-E6F154A5A56B}"/>
              </c:ext>
            </c:extLst>
          </c:dPt>
          <c:dPt>
            <c:idx val="422"/>
            <c:invertIfNegative val="1"/>
            <c:bubble3D val="0"/>
            <c:spPr>
              <a:solidFill>
                <a:srgbClr val="7ECAC4"/>
              </a:solidFill>
            </c:spPr>
            <c:extLst>
              <c:ext xmlns:c16="http://schemas.microsoft.com/office/drawing/2014/chart" uri="{C3380CC4-5D6E-409C-BE32-E72D297353CC}">
                <c16:uniqueId val="{0000034F-280A-4CC8-864C-E6F154A5A56B}"/>
              </c:ext>
            </c:extLst>
          </c:dPt>
          <c:dPt>
            <c:idx val="423"/>
            <c:invertIfNegative val="1"/>
            <c:bubble3D val="0"/>
            <c:spPr>
              <a:solidFill>
                <a:srgbClr val="7ECAC4"/>
              </a:solidFill>
            </c:spPr>
            <c:extLst>
              <c:ext xmlns:c16="http://schemas.microsoft.com/office/drawing/2014/chart" uri="{C3380CC4-5D6E-409C-BE32-E72D297353CC}">
                <c16:uniqueId val="{00000351-280A-4CC8-864C-E6F154A5A56B}"/>
              </c:ext>
            </c:extLst>
          </c:dPt>
          <c:dPt>
            <c:idx val="424"/>
            <c:invertIfNegative val="1"/>
            <c:bubble3D val="0"/>
            <c:spPr>
              <a:solidFill>
                <a:srgbClr val="7ECAC4"/>
              </a:solidFill>
            </c:spPr>
            <c:extLst>
              <c:ext xmlns:c16="http://schemas.microsoft.com/office/drawing/2014/chart" uri="{C3380CC4-5D6E-409C-BE32-E72D297353CC}">
                <c16:uniqueId val="{00000353-280A-4CC8-864C-E6F154A5A56B}"/>
              </c:ext>
            </c:extLst>
          </c:dPt>
          <c:dPt>
            <c:idx val="425"/>
            <c:invertIfNegative val="1"/>
            <c:bubble3D val="0"/>
            <c:spPr>
              <a:solidFill>
                <a:srgbClr val="7ECAC4"/>
              </a:solidFill>
            </c:spPr>
            <c:extLst>
              <c:ext xmlns:c16="http://schemas.microsoft.com/office/drawing/2014/chart" uri="{C3380CC4-5D6E-409C-BE32-E72D297353CC}">
                <c16:uniqueId val="{00000355-280A-4CC8-864C-E6F154A5A56B}"/>
              </c:ext>
            </c:extLst>
          </c:dPt>
          <c:dPt>
            <c:idx val="426"/>
            <c:invertIfNegative val="1"/>
            <c:bubble3D val="0"/>
            <c:spPr>
              <a:solidFill>
                <a:srgbClr val="7ECAC4"/>
              </a:solidFill>
            </c:spPr>
            <c:extLst>
              <c:ext xmlns:c16="http://schemas.microsoft.com/office/drawing/2014/chart" uri="{C3380CC4-5D6E-409C-BE32-E72D297353CC}">
                <c16:uniqueId val="{00000357-280A-4CC8-864C-E6F154A5A56B}"/>
              </c:ext>
            </c:extLst>
          </c:dPt>
          <c:dPt>
            <c:idx val="427"/>
            <c:invertIfNegative val="1"/>
            <c:bubble3D val="0"/>
            <c:spPr>
              <a:solidFill>
                <a:srgbClr val="7ECAC4"/>
              </a:solidFill>
            </c:spPr>
            <c:extLst>
              <c:ext xmlns:c16="http://schemas.microsoft.com/office/drawing/2014/chart" uri="{C3380CC4-5D6E-409C-BE32-E72D297353CC}">
                <c16:uniqueId val="{00000359-280A-4CC8-864C-E6F154A5A56B}"/>
              </c:ext>
            </c:extLst>
          </c:dPt>
          <c:dPt>
            <c:idx val="428"/>
            <c:invertIfNegative val="1"/>
            <c:bubble3D val="0"/>
            <c:spPr>
              <a:solidFill>
                <a:srgbClr val="7ECAC4"/>
              </a:solidFill>
            </c:spPr>
            <c:extLst>
              <c:ext xmlns:c16="http://schemas.microsoft.com/office/drawing/2014/chart" uri="{C3380CC4-5D6E-409C-BE32-E72D297353CC}">
                <c16:uniqueId val="{0000035B-280A-4CC8-864C-E6F154A5A56B}"/>
              </c:ext>
            </c:extLst>
          </c:dPt>
          <c:dPt>
            <c:idx val="429"/>
            <c:invertIfNegative val="1"/>
            <c:bubble3D val="0"/>
            <c:spPr>
              <a:solidFill>
                <a:srgbClr val="7ECAC4"/>
              </a:solidFill>
            </c:spPr>
            <c:extLst>
              <c:ext xmlns:c16="http://schemas.microsoft.com/office/drawing/2014/chart" uri="{C3380CC4-5D6E-409C-BE32-E72D297353CC}">
                <c16:uniqueId val="{0000035D-280A-4CC8-864C-E6F154A5A56B}"/>
              </c:ext>
            </c:extLst>
          </c:dPt>
          <c:dPt>
            <c:idx val="430"/>
            <c:invertIfNegative val="1"/>
            <c:bubble3D val="0"/>
            <c:spPr>
              <a:solidFill>
                <a:srgbClr val="7ECAC4"/>
              </a:solidFill>
            </c:spPr>
            <c:extLst>
              <c:ext xmlns:c16="http://schemas.microsoft.com/office/drawing/2014/chart" uri="{C3380CC4-5D6E-409C-BE32-E72D297353CC}">
                <c16:uniqueId val="{0000035F-280A-4CC8-864C-E6F154A5A56B}"/>
              </c:ext>
            </c:extLst>
          </c:dPt>
          <c:dPt>
            <c:idx val="431"/>
            <c:invertIfNegative val="1"/>
            <c:bubble3D val="0"/>
            <c:spPr>
              <a:solidFill>
                <a:srgbClr val="7ECAC4"/>
              </a:solidFill>
            </c:spPr>
            <c:extLst>
              <c:ext xmlns:c16="http://schemas.microsoft.com/office/drawing/2014/chart" uri="{C3380CC4-5D6E-409C-BE32-E72D297353CC}">
                <c16:uniqueId val="{00000361-280A-4CC8-864C-E6F154A5A56B}"/>
              </c:ext>
            </c:extLst>
          </c:dPt>
          <c:dPt>
            <c:idx val="432"/>
            <c:invertIfNegative val="1"/>
            <c:bubble3D val="0"/>
            <c:spPr>
              <a:solidFill>
                <a:srgbClr val="7ECAC4"/>
              </a:solidFill>
            </c:spPr>
            <c:extLst>
              <c:ext xmlns:c16="http://schemas.microsoft.com/office/drawing/2014/chart" uri="{C3380CC4-5D6E-409C-BE32-E72D297353CC}">
                <c16:uniqueId val="{00000363-280A-4CC8-864C-E6F154A5A56B}"/>
              </c:ext>
            </c:extLst>
          </c:dPt>
          <c:dPt>
            <c:idx val="433"/>
            <c:invertIfNegative val="1"/>
            <c:bubble3D val="0"/>
            <c:spPr>
              <a:solidFill>
                <a:srgbClr val="7ECAC4"/>
              </a:solidFill>
            </c:spPr>
            <c:extLst>
              <c:ext xmlns:c16="http://schemas.microsoft.com/office/drawing/2014/chart" uri="{C3380CC4-5D6E-409C-BE32-E72D297353CC}">
                <c16:uniqueId val="{00000365-280A-4CC8-864C-E6F154A5A56B}"/>
              </c:ext>
            </c:extLst>
          </c:dPt>
          <c:dPt>
            <c:idx val="434"/>
            <c:invertIfNegative val="1"/>
            <c:bubble3D val="0"/>
            <c:spPr>
              <a:solidFill>
                <a:srgbClr val="7ECAC4"/>
              </a:solidFill>
            </c:spPr>
            <c:extLst>
              <c:ext xmlns:c16="http://schemas.microsoft.com/office/drawing/2014/chart" uri="{C3380CC4-5D6E-409C-BE32-E72D297353CC}">
                <c16:uniqueId val="{00000367-280A-4CC8-864C-E6F154A5A56B}"/>
              </c:ext>
            </c:extLst>
          </c:dPt>
          <c:dPt>
            <c:idx val="435"/>
            <c:invertIfNegative val="1"/>
            <c:bubble3D val="0"/>
            <c:spPr>
              <a:solidFill>
                <a:srgbClr val="7ECAC4"/>
              </a:solidFill>
            </c:spPr>
            <c:extLst>
              <c:ext xmlns:c16="http://schemas.microsoft.com/office/drawing/2014/chart" uri="{C3380CC4-5D6E-409C-BE32-E72D297353CC}">
                <c16:uniqueId val="{00000369-280A-4CC8-864C-E6F154A5A56B}"/>
              </c:ext>
            </c:extLst>
          </c:dPt>
          <c:dPt>
            <c:idx val="436"/>
            <c:invertIfNegative val="1"/>
            <c:bubble3D val="0"/>
            <c:spPr>
              <a:solidFill>
                <a:srgbClr val="7ECAC4"/>
              </a:solidFill>
            </c:spPr>
            <c:extLst>
              <c:ext xmlns:c16="http://schemas.microsoft.com/office/drawing/2014/chart" uri="{C3380CC4-5D6E-409C-BE32-E72D297353CC}">
                <c16:uniqueId val="{0000036B-280A-4CC8-864C-E6F154A5A56B}"/>
              </c:ext>
            </c:extLst>
          </c:dPt>
          <c:dPt>
            <c:idx val="437"/>
            <c:invertIfNegative val="1"/>
            <c:bubble3D val="0"/>
            <c:spPr>
              <a:solidFill>
                <a:srgbClr val="7ECAC4"/>
              </a:solidFill>
            </c:spPr>
            <c:extLst>
              <c:ext xmlns:c16="http://schemas.microsoft.com/office/drawing/2014/chart" uri="{C3380CC4-5D6E-409C-BE32-E72D297353CC}">
                <c16:uniqueId val="{0000036D-280A-4CC8-864C-E6F154A5A56B}"/>
              </c:ext>
            </c:extLst>
          </c:dPt>
          <c:dPt>
            <c:idx val="438"/>
            <c:invertIfNegative val="1"/>
            <c:bubble3D val="0"/>
            <c:spPr>
              <a:solidFill>
                <a:srgbClr val="7ECAC4"/>
              </a:solidFill>
            </c:spPr>
            <c:extLst>
              <c:ext xmlns:c16="http://schemas.microsoft.com/office/drawing/2014/chart" uri="{C3380CC4-5D6E-409C-BE32-E72D297353CC}">
                <c16:uniqueId val="{0000036F-280A-4CC8-864C-E6F154A5A56B}"/>
              </c:ext>
            </c:extLst>
          </c:dPt>
          <c:dPt>
            <c:idx val="439"/>
            <c:invertIfNegative val="1"/>
            <c:bubble3D val="0"/>
            <c:spPr>
              <a:solidFill>
                <a:srgbClr val="7ECAC4"/>
              </a:solidFill>
            </c:spPr>
            <c:extLst>
              <c:ext xmlns:c16="http://schemas.microsoft.com/office/drawing/2014/chart" uri="{C3380CC4-5D6E-409C-BE32-E72D297353CC}">
                <c16:uniqueId val="{00000371-280A-4CC8-864C-E6F154A5A56B}"/>
              </c:ext>
            </c:extLst>
          </c:dPt>
          <c:dPt>
            <c:idx val="440"/>
            <c:invertIfNegative val="1"/>
            <c:bubble3D val="0"/>
            <c:spPr>
              <a:solidFill>
                <a:srgbClr val="7ECAC4"/>
              </a:solidFill>
            </c:spPr>
            <c:extLst>
              <c:ext xmlns:c16="http://schemas.microsoft.com/office/drawing/2014/chart" uri="{C3380CC4-5D6E-409C-BE32-E72D297353CC}">
                <c16:uniqueId val="{00000373-280A-4CC8-864C-E6F154A5A56B}"/>
              </c:ext>
            </c:extLst>
          </c:dPt>
          <c:dPt>
            <c:idx val="441"/>
            <c:invertIfNegative val="1"/>
            <c:bubble3D val="0"/>
            <c:spPr>
              <a:solidFill>
                <a:srgbClr val="7ECAC4"/>
              </a:solidFill>
            </c:spPr>
            <c:extLst>
              <c:ext xmlns:c16="http://schemas.microsoft.com/office/drawing/2014/chart" uri="{C3380CC4-5D6E-409C-BE32-E72D297353CC}">
                <c16:uniqueId val="{00000375-280A-4CC8-864C-E6F154A5A56B}"/>
              </c:ext>
            </c:extLst>
          </c:dPt>
          <c:dPt>
            <c:idx val="442"/>
            <c:invertIfNegative val="1"/>
            <c:bubble3D val="0"/>
            <c:spPr>
              <a:solidFill>
                <a:srgbClr val="7ECAC4"/>
              </a:solidFill>
            </c:spPr>
            <c:extLst>
              <c:ext xmlns:c16="http://schemas.microsoft.com/office/drawing/2014/chart" uri="{C3380CC4-5D6E-409C-BE32-E72D297353CC}">
                <c16:uniqueId val="{00000377-280A-4CC8-864C-E6F154A5A56B}"/>
              </c:ext>
            </c:extLst>
          </c:dPt>
          <c:dPt>
            <c:idx val="443"/>
            <c:invertIfNegative val="1"/>
            <c:bubble3D val="0"/>
            <c:spPr>
              <a:solidFill>
                <a:srgbClr val="7ECAC4"/>
              </a:solidFill>
            </c:spPr>
            <c:extLst>
              <c:ext xmlns:c16="http://schemas.microsoft.com/office/drawing/2014/chart" uri="{C3380CC4-5D6E-409C-BE32-E72D297353CC}">
                <c16:uniqueId val="{00000379-280A-4CC8-864C-E6F154A5A56B}"/>
              </c:ext>
            </c:extLst>
          </c:dPt>
          <c:dPt>
            <c:idx val="444"/>
            <c:invertIfNegative val="1"/>
            <c:bubble3D val="0"/>
            <c:spPr>
              <a:solidFill>
                <a:srgbClr val="7ECAC4"/>
              </a:solidFill>
            </c:spPr>
            <c:extLst>
              <c:ext xmlns:c16="http://schemas.microsoft.com/office/drawing/2014/chart" uri="{C3380CC4-5D6E-409C-BE32-E72D297353CC}">
                <c16:uniqueId val="{0000037B-280A-4CC8-864C-E6F154A5A56B}"/>
              </c:ext>
            </c:extLst>
          </c:dPt>
          <c:dPt>
            <c:idx val="445"/>
            <c:invertIfNegative val="1"/>
            <c:bubble3D val="0"/>
            <c:spPr>
              <a:solidFill>
                <a:srgbClr val="7ECAC4"/>
              </a:solidFill>
            </c:spPr>
            <c:extLst>
              <c:ext xmlns:c16="http://schemas.microsoft.com/office/drawing/2014/chart" uri="{C3380CC4-5D6E-409C-BE32-E72D297353CC}">
                <c16:uniqueId val="{0000037D-280A-4CC8-864C-E6F154A5A56B}"/>
              </c:ext>
            </c:extLst>
          </c:dPt>
          <c:dPt>
            <c:idx val="446"/>
            <c:invertIfNegative val="1"/>
            <c:bubble3D val="0"/>
            <c:spPr>
              <a:solidFill>
                <a:srgbClr val="7ECAC4"/>
              </a:solidFill>
            </c:spPr>
            <c:extLst>
              <c:ext xmlns:c16="http://schemas.microsoft.com/office/drawing/2014/chart" uri="{C3380CC4-5D6E-409C-BE32-E72D297353CC}">
                <c16:uniqueId val="{0000037F-280A-4CC8-864C-E6F154A5A56B}"/>
              </c:ext>
            </c:extLst>
          </c:dPt>
          <c:dPt>
            <c:idx val="447"/>
            <c:invertIfNegative val="1"/>
            <c:bubble3D val="0"/>
            <c:spPr>
              <a:solidFill>
                <a:srgbClr val="7ECAC4"/>
              </a:solidFill>
            </c:spPr>
            <c:extLst>
              <c:ext xmlns:c16="http://schemas.microsoft.com/office/drawing/2014/chart" uri="{C3380CC4-5D6E-409C-BE32-E72D297353CC}">
                <c16:uniqueId val="{00000381-280A-4CC8-864C-E6F154A5A56B}"/>
              </c:ext>
            </c:extLst>
          </c:dPt>
          <c:dPt>
            <c:idx val="448"/>
            <c:invertIfNegative val="1"/>
            <c:bubble3D val="0"/>
            <c:spPr>
              <a:solidFill>
                <a:srgbClr val="7ECAC4"/>
              </a:solidFill>
            </c:spPr>
            <c:extLst>
              <c:ext xmlns:c16="http://schemas.microsoft.com/office/drawing/2014/chart" uri="{C3380CC4-5D6E-409C-BE32-E72D297353CC}">
                <c16:uniqueId val="{00000383-280A-4CC8-864C-E6F154A5A56B}"/>
              </c:ext>
            </c:extLst>
          </c:dPt>
          <c:dPt>
            <c:idx val="449"/>
            <c:invertIfNegative val="1"/>
            <c:bubble3D val="0"/>
            <c:spPr>
              <a:solidFill>
                <a:srgbClr val="7ECAC4"/>
              </a:solidFill>
            </c:spPr>
            <c:extLst>
              <c:ext xmlns:c16="http://schemas.microsoft.com/office/drawing/2014/chart" uri="{C3380CC4-5D6E-409C-BE32-E72D297353CC}">
                <c16:uniqueId val="{00000385-280A-4CC8-864C-E6F154A5A56B}"/>
              </c:ext>
            </c:extLst>
          </c:dPt>
          <c:dPt>
            <c:idx val="450"/>
            <c:invertIfNegative val="1"/>
            <c:bubble3D val="0"/>
            <c:spPr>
              <a:solidFill>
                <a:srgbClr val="7ECAC4"/>
              </a:solidFill>
            </c:spPr>
            <c:extLst>
              <c:ext xmlns:c16="http://schemas.microsoft.com/office/drawing/2014/chart" uri="{C3380CC4-5D6E-409C-BE32-E72D297353CC}">
                <c16:uniqueId val="{00000387-280A-4CC8-864C-E6F154A5A56B}"/>
              </c:ext>
            </c:extLst>
          </c:dPt>
          <c:dPt>
            <c:idx val="451"/>
            <c:invertIfNegative val="1"/>
            <c:bubble3D val="0"/>
            <c:spPr>
              <a:solidFill>
                <a:srgbClr val="7ECAC4"/>
              </a:solidFill>
            </c:spPr>
            <c:extLst>
              <c:ext xmlns:c16="http://schemas.microsoft.com/office/drawing/2014/chart" uri="{C3380CC4-5D6E-409C-BE32-E72D297353CC}">
                <c16:uniqueId val="{00000389-280A-4CC8-864C-E6F154A5A56B}"/>
              </c:ext>
            </c:extLst>
          </c:dPt>
          <c:dPt>
            <c:idx val="452"/>
            <c:invertIfNegative val="1"/>
            <c:bubble3D val="0"/>
            <c:spPr>
              <a:solidFill>
                <a:srgbClr val="7ECAC4"/>
              </a:solidFill>
            </c:spPr>
            <c:extLst>
              <c:ext xmlns:c16="http://schemas.microsoft.com/office/drawing/2014/chart" uri="{C3380CC4-5D6E-409C-BE32-E72D297353CC}">
                <c16:uniqueId val="{0000038B-280A-4CC8-864C-E6F154A5A56B}"/>
              </c:ext>
            </c:extLst>
          </c:dPt>
          <c:dPt>
            <c:idx val="453"/>
            <c:invertIfNegative val="1"/>
            <c:bubble3D val="0"/>
            <c:spPr>
              <a:solidFill>
                <a:srgbClr val="7ECAC4"/>
              </a:solidFill>
            </c:spPr>
            <c:extLst>
              <c:ext xmlns:c16="http://schemas.microsoft.com/office/drawing/2014/chart" uri="{C3380CC4-5D6E-409C-BE32-E72D297353CC}">
                <c16:uniqueId val="{0000038D-280A-4CC8-864C-E6F154A5A56B}"/>
              </c:ext>
            </c:extLst>
          </c:dPt>
          <c:dPt>
            <c:idx val="454"/>
            <c:invertIfNegative val="1"/>
            <c:bubble3D val="0"/>
            <c:spPr>
              <a:solidFill>
                <a:srgbClr val="7ECAC4"/>
              </a:solidFill>
            </c:spPr>
            <c:extLst>
              <c:ext xmlns:c16="http://schemas.microsoft.com/office/drawing/2014/chart" uri="{C3380CC4-5D6E-409C-BE32-E72D297353CC}">
                <c16:uniqueId val="{0000038F-280A-4CC8-864C-E6F154A5A56B}"/>
              </c:ext>
            </c:extLst>
          </c:dPt>
          <c:dPt>
            <c:idx val="455"/>
            <c:invertIfNegative val="1"/>
            <c:bubble3D val="0"/>
            <c:spPr>
              <a:solidFill>
                <a:srgbClr val="7ECAC4"/>
              </a:solidFill>
            </c:spPr>
            <c:extLst>
              <c:ext xmlns:c16="http://schemas.microsoft.com/office/drawing/2014/chart" uri="{C3380CC4-5D6E-409C-BE32-E72D297353CC}">
                <c16:uniqueId val="{00000391-280A-4CC8-864C-E6F154A5A56B}"/>
              </c:ext>
            </c:extLst>
          </c:dPt>
          <c:dPt>
            <c:idx val="456"/>
            <c:invertIfNegative val="1"/>
            <c:bubble3D val="0"/>
            <c:spPr>
              <a:solidFill>
                <a:srgbClr val="7ECAC4"/>
              </a:solidFill>
            </c:spPr>
            <c:extLst>
              <c:ext xmlns:c16="http://schemas.microsoft.com/office/drawing/2014/chart" uri="{C3380CC4-5D6E-409C-BE32-E72D297353CC}">
                <c16:uniqueId val="{00000393-280A-4CC8-864C-E6F154A5A56B}"/>
              </c:ext>
            </c:extLst>
          </c:dPt>
          <c:dPt>
            <c:idx val="457"/>
            <c:invertIfNegative val="1"/>
            <c:bubble3D val="0"/>
            <c:spPr>
              <a:solidFill>
                <a:srgbClr val="7ECAC4"/>
              </a:solidFill>
            </c:spPr>
            <c:extLst>
              <c:ext xmlns:c16="http://schemas.microsoft.com/office/drawing/2014/chart" uri="{C3380CC4-5D6E-409C-BE32-E72D297353CC}">
                <c16:uniqueId val="{00000395-280A-4CC8-864C-E6F154A5A56B}"/>
              </c:ext>
            </c:extLst>
          </c:dPt>
          <c:dPt>
            <c:idx val="458"/>
            <c:invertIfNegative val="1"/>
            <c:bubble3D val="0"/>
            <c:spPr>
              <a:solidFill>
                <a:srgbClr val="7ECAC4"/>
              </a:solidFill>
            </c:spPr>
            <c:extLst>
              <c:ext xmlns:c16="http://schemas.microsoft.com/office/drawing/2014/chart" uri="{C3380CC4-5D6E-409C-BE32-E72D297353CC}">
                <c16:uniqueId val="{00000397-280A-4CC8-864C-E6F154A5A56B}"/>
              </c:ext>
            </c:extLst>
          </c:dPt>
          <c:dPt>
            <c:idx val="459"/>
            <c:invertIfNegative val="1"/>
            <c:bubble3D val="0"/>
            <c:spPr>
              <a:solidFill>
                <a:srgbClr val="7ECAC4"/>
              </a:solidFill>
            </c:spPr>
            <c:extLst>
              <c:ext xmlns:c16="http://schemas.microsoft.com/office/drawing/2014/chart" uri="{C3380CC4-5D6E-409C-BE32-E72D297353CC}">
                <c16:uniqueId val="{00000399-280A-4CC8-864C-E6F154A5A56B}"/>
              </c:ext>
            </c:extLst>
          </c:dPt>
          <c:dPt>
            <c:idx val="460"/>
            <c:invertIfNegative val="1"/>
            <c:bubble3D val="0"/>
            <c:spPr>
              <a:solidFill>
                <a:srgbClr val="AEABAB"/>
              </a:solidFill>
            </c:spPr>
            <c:extLst>
              <c:ext xmlns:c16="http://schemas.microsoft.com/office/drawing/2014/chart" uri="{C3380CC4-5D6E-409C-BE32-E72D297353CC}">
                <c16:uniqueId val="{0000039B-280A-4CC8-864C-E6F154A5A56B}"/>
              </c:ext>
            </c:extLst>
          </c:dPt>
          <c:dPt>
            <c:idx val="461"/>
            <c:invertIfNegative val="1"/>
            <c:bubble3D val="0"/>
            <c:spPr>
              <a:solidFill>
                <a:srgbClr val="AEABAB"/>
              </a:solidFill>
            </c:spPr>
            <c:extLst>
              <c:ext xmlns:c16="http://schemas.microsoft.com/office/drawing/2014/chart" uri="{C3380CC4-5D6E-409C-BE32-E72D297353CC}">
                <c16:uniqueId val="{0000039D-280A-4CC8-864C-E6F154A5A56B}"/>
              </c:ext>
            </c:extLst>
          </c:dPt>
          <c:dPt>
            <c:idx val="462"/>
            <c:invertIfNegative val="1"/>
            <c:bubble3D val="0"/>
            <c:spPr>
              <a:solidFill>
                <a:srgbClr val="AEABAB"/>
              </a:solidFill>
            </c:spPr>
            <c:extLst>
              <c:ext xmlns:c16="http://schemas.microsoft.com/office/drawing/2014/chart" uri="{C3380CC4-5D6E-409C-BE32-E72D297353CC}">
                <c16:uniqueId val="{0000039F-280A-4CC8-864C-E6F154A5A56B}"/>
              </c:ext>
            </c:extLst>
          </c:dPt>
          <c:dPt>
            <c:idx val="463"/>
            <c:invertIfNegative val="1"/>
            <c:bubble3D val="0"/>
            <c:spPr>
              <a:solidFill>
                <a:srgbClr val="AEABAB"/>
              </a:solidFill>
            </c:spPr>
            <c:extLst>
              <c:ext xmlns:c16="http://schemas.microsoft.com/office/drawing/2014/chart" uri="{C3380CC4-5D6E-409C-BE32-E72D297353CC}">
                <c16:uniqueId val="{000003A1-280A-4CC8-864C-E6F154A5A56B}"/>
              </c:ext>
            </c:extLst>
          </c:dPt>
          <c:dPt>
            <c:idx val="464"/>
            <c:invertIfNegative val="1"/>
            <c:bubble3D val="0"/>
            <c:spPr>
              <a:solidFill>
                <a:srgbClr val="AEABAB"/>
              </a:solidFill>
            </c:spPr>
            <c:extLst>
              <c:ext xmlns:c16="http://schemas.microsoft.com/office/drawing/2014/chart" uri="{C3380CC4-5D6E-409C-BE32-E72D297353CC}">
                <c16:uniqueId val="{000003A3-280A-4CC8-864C-E6F154A5A56B}"/>
              </c:ext>
            </c:extLst>
          </c:dPt>
          <c:dPt>
            <c:idx val="465"/>
            <c:invertIfNegative val="1"/>
            <c:bubble3D val="0"/>
            <c:spPr>
              <a:solidFill>
                <a:srgbClr val="AEABAB"/>
              </a:solidFill>
            </c:spPr>
            <c:extLst>
              <c:ext xmlns:c16="http://schemas.microsoft.com/office/drawing/2014/chart" uri="{C3380CC4-5D6E-409C-BE32-E72D297353CC}">
                <c16:uniqueId val="{000003A5-280A-4CC8-864C-E6F154A5A56B}"/>
              </c:ext>
            </c:extLst>
          </c:dPt>
          <c:dPt>
            <c:idx val="466"/>
            <c:invertIfNegative val="1"/>
            <c:bubble3D val="0"/>
            <c:spPr>
              <a:solidFill>
                <a:srgbClr val="AEABAB"/>
              </a:solidFill>
            </c:spPr>
            <c:extLst>
              <c:ext xmlns:c16="http://schemas.microsoft.com/office/drawing/2014/chart" uri="{C3380CC4-5D6E-409C-BE32-E72D297353CC}">
                <c16:uniqueId val="{000003A7-280A-4CC8-864C-E6F154A5A56B}"/>
              </c:ext>
            </c:extLst>
          </c:dPt>
          <c:dPt>
            <c:idx val="467"/>
            <c:invertIfNegative val="1"/>
            <c:bubble3D val="0"/>
            <c:spPr>
              <a:solidFill>
                <a:srgbClr val="AEABAB"/>
              </a:solidFill>
            </c:spPr>
            <c:extLst>
              <c:ext xmlns:c16="http://schemas.microsoft.com/office/drawing/2014/chart" uri="{C3380CC4-5D6E-409C-BE32-E72D297353CC}">
                <c16:uniqueId val="{000003A9-280A-4CC8-864C-E6F154A5A56B}"/>
              </c:ext>
            </c:extLst>
          </c:dPt>
          <c:dPt>
            <c:idx val="468"/>
            <c:invertIfNegative val="1"/>
            <c:bubble3D val="0"/>
            <c:spPr>
              <a:solidFill>
                <a:srgbClr val="AEABAB"/>
              </a:solidFill>
            </c:spPr>
            <c:extLst>
              <c:ext xmlns:c16="http://schemas.microsoft.com/office/drawing/2014/chart" uri="{C3380CC4-5D6E-409C-BE32-E72D297353CC}">
                <c16:uniqueId val="{000003AB-280A-4CC8-864C-E6F154A5A56B}"/>
              </c:ext>
            </c:extLst>
          </c:dPt>
          <c:dPt>
            <c:idx val="469"/>
            <c:invertIfNegative val="1"/>
            <c:bubble3D val="0"/>
            <c:spPr>
              <a:solidFill>
                <a:srgbClr val="AEABAB"/>
              </a:solidFill>
            </c:spPr>
            <c:extLst>
              <c:ext xmlns:c16="http://schemas.microsoft.com/office/drawing/2014/chart" uri="{C3380CC4-5D6E-409C-BE32-E72D297353CC}">
                <c16:uniqueId val="{000003AD-280A-4CC8-864C-E6F154A5A56B}"/>
              </c:ext>
            </c:extLst>
          </c:dPt>
          <c:dPt>
            <c:idx val="470"/>
            <c:invertIfNegative val="1"/>
            <c:bubble3D val="0"/>
            <c:spPr>
              <a:solidFill>
                <a:srgbClr val="AEABAB"/>
              </a:solidFill>
            </c:spPr>
            <c:extLst>
              <c:ext xmlns:c16="http://schemas.microsoft.com/office/drawing/2014/chart" uri="{C3380CC4-5D6E-409C-BE32-E72D297353CC}">
                <c16:uniqueId val="{000003AF-280A-4CC8-864C-E6F154A5A56B}"/>
              </c:ext>
            </c:extLst>
          </c:dPt>
          <c:dPt>
            <c:idx val="471"/>
            <c:invertIfNegative val="1"/>
            <c:bubble3D val="0"/>
            <c:spPr>
              <a:solidFill>
                <a:srgbClr val="AEABAB"/>
              </a:solidFill>
            </c:spPr>
            <c:extLst>
              <c:ext xmlns:c16="http://schemas.microsoft.com/office/drawing/2014/chart" uri="{C3380CC4-5D6E-409C-BE32-E72D297353CC}">
                <c16:uniqueId val="{000003B1-280A-4CC8-864C-E6F154A5A56B}"/>
              </c:ext>
            </c:extLst>
          </c:dPt>
          <c:dPt>
            <c:idx val="472"/>
            <c:invertIfNegative val="1"/>
            <c:bubble3D val="0"/>
            <c:spPr>
              <a:solidFill>
                <a:srgbClr val="AEABAB"/>
              </a:solidFill>
            </c:spPr>
            <c:extLst>
              <c:ext xmlns:c16="http://schemas.microsoft.com/office/drawing/2014/chart" uri="{C3380CC4-5D6E-409C-BE32-E72D297353CC}">
                <c16:uniqueId val="{000003B3-280A-4CC8-864C-E6F154A5A56B}"/>
              </c:ext>
            </c:extLst>
          </c:dPt>
          <c:dPt>
            <c:idx val="473"/>
            <c:invertIfNegative val="1"/>
            <c:bubble3D val="0"/>
            <c:spPr>
              <a:solidFill>
                <a:srgbClr val="AEABAB"/>
              </a:solidFill>
            </c:spPr>
            <c:extLst>
              <c:ext xmlns:c16="http://schemas.microsoft.com/office/drawing/2014/chart" uri="{C3380CC4-5D6E-409C-BE32-E72D297353CC}">
                <c16:uniqueId val="{000003B5-280A-4CC8-864C-E6F154A5A56B}"/>
              </c:ext>
            </c:extLst>
          </c:dPt>
          <c:dPt>
            <c:idx val="474"/>
            <c:invertIfNegative val="1"/>
            <c:bubble3D val="0"/>
            <c:spPr>
              <a:solidFill>
                <a:srgbClr val="AEABAB"/>
              </a:solidFill>
            </c:spPr>
            <c:extLst>
              <c:ext xmlns:c16="http://schemas.microsoft.com/office/drawing/2014/chart" uri="{C3380CC4-5D6E-409C-BE32-E72D297353CC}">
                <c16:uniqueId val="{000003B7-280A-4CC8-864C-E6F154A5A56B}"/>
              </c:ext>
            </c:extLst>
          </c:dPt>
          <c:dPt>
            <c:idx val="475"/>
            <c:invertIfNegative val="1"/>
            <c:bubble3D val="0"/>
            <c:spPr>
              <a:solidFill>
                <a:srgbClr val="AEABAB"/>
              </a:solidFill>
            </c:spPr>
            <c:extLst>
              <c:ext xmlns:c16="http://schemas.microsoft.com/office/drawing/2014/chart" uri="{C3380CC4-5D6E-409C-BE32-E72D297353CC}">
                <c16:uniqueId val="{000003B9-280A-4CC8-864C-E6F154A5A56B}"/>
              </c:ext>
            </c:extLst>
          </c:dPt>
          <c:dPt>
            <c:idx val="476"/>
            <c:invertIfNegative val="1"/>
            <c:bubble3D val="0"/>
            <c:spPr>
              <a:solidFill>
                <a:srgbClr val="AEABAB"/>
              </a:solidFill>
            </c:spPr>
            <c:extLst>
              <c:ext xmlns:c16="http://schemas.microsoft.com/office/drawing/2014/chart" uri="{C3380CC4-5D6E-409C-BE32-E72D297353CC}">
                <c16:uniqueId val="{000003BB-280A-4CC8-864C-E6F154A5A56B}"/>
              </c:ext>
            </c:extLst>
          </c:dPt>
          <c:dPt>
            <c:idx val="477"/>
            <c:invertIfNegative val="1"/>
            <c:bubble3D val="0"/>
            <c:spPr>
              <a:solidFill>
                <a:srgbClr val="AEABAB"/>
              </a:solidFill>
            </c:spPr>
            <c:extLst>
              <c:ext xmlns:c16="http://schemas.microsoft.com/office/drawing/2014/chart" uri="{C3380CC4-5D6E-409C-BE32-E72D297353CC}">
                <c16:uniqueId val="{000003BD-280A-4CC8-864C-E6F154A5A56B}"/>
              </c:ext>
            </c:extLst>
          </c:dPt>
          <c:dPt>
            <c:idx val="478"/>
            <c:invertIfNegative val="1"/>
            <c:bubble3D val="0"/>
            <c:spPr>
              <a:solidFill>
                <a:srgbClr val="AEABAB"/>
              </a:solidFill>
            </c:spPr>
            <c:extLst>
              <c:ext xmlns:c16="http://schemas.microsoft.com/office/drawing/2014/chart" uri="{C3380CC4-5D6E-409C-BE32-E72D297353CC}">
                <c16:uniqueId val="{000003BF-280A-4CC8-864C-E6F154A5A56B}"/>
              </c:ext>
            </c:extLst>
          </c:dPt>
          <c:dPt>
            <c:idx val="479"/>
            <c:invertIfNegative val="1"/>
            <c:bubble3D val="0"/>
            <c:spPr>
              <a:solidFill>
                <a:srgbClr val="AEABAB"/>
              </a:solidFill>
            </c:spPr>
            <c:extLst>
              <c:ext xmlns:c16="http://schemas.microsoft.com/office/drawing/2014/chart" uri="{C3380CC4-5D6E-409C-BE32-E72D297353CC}">
                <c16:uniqueId val="{000003C1-280A-4CC8-864C-E6F154A5A56B}"/>
              </c:ext>
            </c:extLst>
          </c:dPt>
          <c:dPt>
            <c:idx val="480"/>
            <c:invertIfNegative val="1"/>
            <c:bubble3D val="0"/>
            <c:spPr>
              <a:solidFill>
                <a:srgbClr val="AEABAB"/>
              </a:solidFill>
            </c:spPr>
            <c:extLst>
              <c:ext xmlns:c16="http://schemas.microsoft.com/office/drawing/2014/chart" uri="{C3380CC4-5D6E-409C-BE32-E72D297353CC}">
                <c16:uniqueId val="{000003C3-280A-4CC8-864C-E6F154A5A56B}"/>
              </c:ext>
            </c:extLst>
          </c:dPt>
          <c:dPt>
            <c:idx val="481"/>
            <c:invertIfNegative val="1"/>
            <c:bubble3D val="0"/>
            <c:spPr>
              <a:solidFill>
                <a:srgbClr val="AEABAB"/>
              </a:solidFill>
            </c:spPr>
            <c:extLst>
              <c:ext xmlns:c16="http://schemas.microsoft.com/office/drawing/2014/chart" uri="{C3380CC4-5D6E-409C-BE32-E72D297353CC}">
                <c16:uniqueId val="{000003C5-280A-4CC8-864C-E6F154A5A56B}"/>
              </c:ext>
            </c:extLst>
          </c:dPt>
          <c:dPt>
            <c:idx val="482"/>
            <c:invertIfNegative val="1"/>
            <c:bubble3D val="0"/>
            <c:spPr>
              <a:solidFill>
                <a:srgbClr val="AEABAB"/>
              </a:solidFill>
            </c:spPr>
            <c:extLst>
              <c:ext xmlns:c16="http://schemas.microsoft.com/office/drawing/2014/chart" uri="{C3380CC4-5D6E-409C-BE32-E72D297353CC}">
                <c16:uniqueId val="{000003C7-280A-4CC8-864C-E6F154A5A56B}"/>
              </c:ext>
            </c:extLst>
          </c:dPt>
          <c:dPt>
            <c:idx val="483"/>
            <c:invertIfNegative val="1"/>
            <c:bubble3D val="0"/>
            <c:spPr>
              <a:solidFill>
                <a:srgbClr val="AEABAB"/>
              </a:solidFill>
            </c:spPr>
            <c:extLst>
              <c:ext xmlns:c16="http://schemas.microsoft.com/office/drawing/2014/chart" uri="{C3380CC4-5D6E-409C-BE32-E72D297353CC}">
                <c16:uniqueId val="{000003C9-280A-4CC8-864C-E6F154A5A56B}"/>
              </c:ext>
            </c:extLst>
          </c:dPt>
          <c:dPt>
            <c:idx val="484"/>
            <c:invertIfNegative val="1"/>
            <c:bubble3D val="0"/>
            <c:spPr>
              <a:solidFill>
                <a:srgbClr val="AEABAB"/>
              </a:solidFill>
            </c:spPr>
            <c:extLst>
              <c:ext xmlns:c16="http://schemas.microsoft.com/office/drawing/2014/chart" uri="{C3380CC4-5D6E-409C-BE32-E72D297353CC}">
                <c16:uniqueId val="{000003CB-280A-4CC8-864C-E6F154A5A56B}"/>
              </c:ext>
            </c:extLst>
          </c:dPt>
          <c:dPt>
            <c:idx val="485"/>
            <c:invertIfNegative val="1"/>
            <c:bubble3D val="0"/>
            <c:spPr>
              <a:solidFill>
                <a:srgbClr val="AEABAB"/>
              </a:solidFill>
            </c:spPr>
            <c:extLst>
              <c:ext xmlns:c16="http://schemas.microsoft.com/office/drawing/2014/chart" uri="{C3380CC4-5D6E-409C-BE32-E72D297353CC}">
                <c16:uniqueId val="{000003CD-280A-4CC8-864C-E6F154A5A56B}"/>
              </c:ext>
            </c:extLst>
          </c:dPt>
          <c:dPt>
            <c:idx val="486"/>
            <c:invertIfNegative val="1"/>
            <c:bubble3D val="0"/>
            <c:spPr>
              <a:solidFill>
                <a:srgbClr val="AEABAB"/>
              </a:solidFill>
            </c:spPr>
            <c:extLst>
              <c:ext xmlns:c16="http://schemas.microsoft.com/office/drawing/2014/chart" uri="{C3380CC4-5D6E-409C-BE32-E72D297353CC}">
                <c16:uniqueId val="{000003CF-280A-4CC8-864C-E6F154A5A56B}"/>
              </c:ext>
            </c:extLst>
          </c:dPt>
          <c:dPt>
            <c:idx val="487"/>
            <c:invertIfNegative val="1"/>
            <c:bubble3D val="0"/>
            <c:spPr>
              <a:solidFill>
                <a:srgbClr val="AEABAB"/>
              </a:solidFill>
            </c:spPr>
            <c:extLst>
              <c:ext xmlns:c16="http://schemas.microsoft.com/office/drawing/2014/chart" uri="{C3380CC4-5D6E-409C-BE32-E72D297353CC}">
                <c16:uniqueId val="{000003D1-280A-4CC8-864C-E6F154A5A56B}"/>
              </c:ext>
            </c:extLst>
          </c:dPt>
          <c:dPt>
            <c:idx val="488"/>
            <c:invertIfNegative val="1"/>
            <c:bubble3D val="0"/>
            <c:spPr>
              <a:solidFill>
                <a:srgbClr val="AEABAB"/>
              </a:solidFill>
            </c:spPr>
            <c:extLst>
              <c:ext xmlns:c16="http://schemas.microsoft.com/office/drawing/2014/chart" uri="{C3380CC4-5D6E-409C-BE32-E72D297353CC}">
                <c16:uniqueId val="{000003D3-280A-4CC8-864C-E6F154A5A56B}"/>
              </c:ext>
            </c:extLst>
          </c:dPt>
          <c:dPt>
            <c:idx val="489"/>
            <c:invertIfNegative val="1"/>
            <c:bubble3D val="0"/>
            <c:spPr>
              <a:solidFill>
                <a:srgbClr val="AEABAB"/>
              </a:solidFill>
            </c:spPr>
            <c:extLst>
              <c:ext xmlns:c16="http://schemas.microsoft.com/office/drawing/2014/chart" uri="{C3380CC4-5D6E-409C-BE32-E72D297353CC}">
                <c16:uniqueId val="{000003D5-280A-4CC8-864C-E6F154A5A56B}"/>
              </c:ext>
            </c:extLst>
          </c:dPt>
          <c:dPt>
            <c:idx val="490"/>
            <c:invertIfNegative val="1"/>
            <c:bubble3D val="0"/>
            <c:spPr>
              <a:solidFill>
                <a:srgbClr val="AEABAB"/>
              </a:solidFill>
            </c:spPr>
            <c:extLst>
              <c:ext xmlns:c16="http://schemas.microsoft.com/office/drawing/2014/chart" uri="{C3380CC4-5D6E-409C-BE32-E72D297353CC}">
                <c16:uniqueId val="{000003D7-280A-4CC8-864C-E6F154A5A56B}"/>
              </c:ext>
            </c:extLst>
          </c:dPt>
          <c:dPt>
            <c:idx val="491"/>
            <c:invertIfNegative val="1"/>
            <c:bubble3D val="0"/>
            <c:spPr>
              <a:solidFill>
                <a:srgbClr val="AEABAB"/>
              </a:solidFill>
            </c:spPr>
            <c:extLst>
              <c:ext xmlns:c16="http://schemas.microsoft.com/office/drawing/2014/chart" uri="{C3380CC4-5D6E-409C-BE32-E72D297353CC}">
                <c16:uniqueId val="{000003D9-280A-4CC8-864C-E6F154A5A56B}"/>
              </c:ext>
            </c:extLst>
          </c:dPt>
          <c:dPt>
            <c:idx val="492"/>
            <c:invertIfNegative val="1"/>
            <c:bubble3D val="0"/>
            <c:spPr>
              <a:solidFill>
                <a:srgbClr val="AEABAB"/>
              </a:solidFill>
            </c:spPr>
            <c:extLst>
              <c:ext xmlns:c16="http://schemas.microsoft.com/office/drawing/2014/chart" uri="{C3380CC4-5D6E-409C-BE32-E72D297353CC}">
                <c16:uniqueId val="{000003DB-280A-4CC8-864C-E6F154A5A56B}"/>
              </c:ext>
            </c:extLst>
          </c:dPt>
          <c:dPt>
            <c:idx val="493"/>
            <c:invertIfNegative val="1"/>
            <c:bubble3D val="0"/>
            <c:spPr>
              <a:solidFill>
                <a:srgbClr val="AEABAB"/>
              </a:solidFill>
            </c:spPr>
            <c:extLst>
              <c:ext xmlns:c16="http://schemas.microsoft.com/office/drawing/2014/chart" uri="{C3380CC4-5D6E-409C-BE32-E72D297353CC}">
                <c16:uniqueId val="{000003DD-280A-4CC8-864C-E6F154A5A56B}"/>
              </c:ext>
            </c:extLst>
          </c:dPt>
          <c:dPt>
            <c:idx val="494"/>
            <c:invertIfNegative val="1"/>
            <c:bubble3D val="0"/>
            <c:spPr>
              <a:solidFill>
                <a:srgbClr val="AEABAB"/>
              </a:solidFill>
            </c:spPr>
            <c:extLst>
              <c:ext xmlns:c16="http://schemas.microsoft.com/office/drawing/2014/chart" uri="{C3380CC4-5D6E-409C-BE32-E72D297353CC}">
                <c16:uniqueId val="{000003DF-280A-4CC8-864C-E6F154A5A56B}"/>
              </c:ext>
            </c:extLst>
          </c:dPt>
          <c:dPt>
            <c:idx val="495"/>
            <c:invertIfNegative val="1"/>
            <c:bubble3D val="0"/>
            <c:spPr>
              <a:solidFill>
                <a:srgbClr val="AEABAB"/>
              </a:solidFill>
            </c:spPr>
            <c:extLst>
              <c:ext xmlns:c16="http://schemas.microsoft.com/office/drawing/2014/chart" uri="{C3380CC4-5D6E-409C-BE32-E72D297353CC}">
                <c16:uniqueId val="{000003E1-280A-4CC8-864C-E6F154A5A56B}"/>
              </c:ext>
            </c:extLst>
          </c:dPt>
          <c:dPt>
            <c:idx val="496"/>
            <c:invertIfNegative val="1"/>
            <c:bubble3D val="0"/>
            <c:spPr>
              <a:solidFill>
                <a:srgbClr val="AEABAB"/>
              </a:solidFill>
            </c:spPr>
            <c:extLst>
              <c:ext xmlns:c16="http://schemas.microsoft.com/office/drawing/2014/chart" uri="{C3380CC4-5D6E-409C-BE32-E72D297353CC}">
                <c16:uniqueId val="{000003E3-280A-4CC8-864C-E6F154A5A56B}"/>
              </c:ext>
            </c:extLst>
          </c:dPt>
          <c:dPt>
            <c:idx val="497"/>
            <c:invertIfNegative val="1"/>
            <c:bubble3D val="0"/>
            <c:spPr>
              <a:solidFill>
                <a:srgbClr val="AEABAB"/>
              </a:solidFill>
            </c:spPr>
            <c:extLst>
              <c:ext xmlns:c16="http://schemas.microsoft.com/office/drawing/2014/chart" uri="{C3380CC4-5D6E-409C-BE32-E72D297353CC}">
                <c16:uniqueId val="{000003E5-280A-4CC8-864C-E6F154A5A56B}"/>
              </c:ext>
            </c:extLst>
          </c:dPt>
          <c:dPt>
            <c:idx val="498"/>
            <c:invertIfNegative val="1"/>
            <c:bubble3D val="0"/>
            <c:spPr>
              <a:solidFill>
                <a:srgbClr val="AEABAB"/>
              </a:solidFill>
            </c:spPr>
            <c:extLst>
              <c:ext xmlns:c16="http://schemas.microsoft.com/office/drawing/2014/chart" uri="{C3380CC4-5D6E-409C-BE32-E72D297353CC}">
                <c16:uniqueId val="{000003E7-280A-4CC8-864C-E6F154A5A56B}"/>
              </c:ext>
            </c:extLst>
          </c:dPt>
          <c:dPt>
            <c:idx val="499"/>
            <c:invertIfNegative val="1"/>
            <c:bubble3D val="0"/>
            <c:spPr>
              <a:solidFill>
                <a:srgbClr val="AEABAB"/>
              </a:solidFill>
            </c:spPr>
            <c:extLst>
              <c:ext xmlns:c16="http://schemas.microsoft.com/office/drawing/2014/chart" uri="{C3380CC4-5D6E-409C-BE32-E72D297353CC}">
                <c16:uniqueId val="{000003E9-280A-4CC8-864C-E6F154A5A56B}"/>
              </c:ext>
            </c:extLst>
          </c:dPt>
          <c:dPt>
            <c:idx val="500"/>
            <c:invertIfNegative val="1"/>
            <c:bubble3D val="0"/>
            <c:spPr>
              <a:solidFill>
                <a:srgbClr val="AEABAB"/>
              </a:solidFill>
            </c:spPr>
            <c:extLst>
              <c:ext xmlns:c16="http://schemas.microsoft.com/office/drawing/2014/chart" uri="{C3380CC4-5D6E-409C-BE32-E72D297353CC}">
                <c16:uniqueId val="{000003EB-280A-4CC8-864C-E6F154A5A56B}"/>
              </c:ext>
            </c:extLst>
          </c:dPt>
          <c:dPt>
            <c:idx val="501"/>
            <c:invertIfNegative val="1"/>
            <c:bubble3D val="0"/>
            <c:spPr>
              <a:solidFill>
                <a:srgbClr val="AEABAB"/>
              </a:solidFill>
            </c:spPr>
            <c:extLst>
              <c:ext xmlns:c16="http://schemas.microsoft.com/office/drawing/2014/chart" uri="{C3380CC4-5D6E-409C-BE32-E72D297353CC}">
                <c16:uniqueId val="{000003ED-280A-4CC8-864C-E6F154A5A56B}"/>
              </c:ext>
            </c:extLst>
          </c:dPt>
          <c:dPt>
            <c:idx val="502"/>
            <c:invertIfNegative val="1"/>
            <c:bubble3D val="0"/>
            <c:spPr>
              <a:solidFill>
                <a:srgbClr val="AEABAB"/>
              </a:solidFill>
            </c:spPr>
            <c:extLst>
              <c:ext xmlns:c16="http://schemas.microsoft.com/office/drawing/2014/chart" uri="{C3380CC4-5D6E-409C-BE32-E72D297353CC}">
                <c16:uniqueId val="{000003EF-280A-4CC8-864C-E6F154A5A56B}"/>
              </c:ext>
            </c:extLst>
          </c:dPt>
          <c:dPt>
            <c:idx val="503"/>
            <c:invertIfNegative val="1"/>
            <c:bubble3D val="0"/>
            <c:spPr>
              <a:solidFill>
                <a:srgbClr val="AEABAB"/>
              </a:solidFill>
            </c:spPr>
            <c:extLst>
              <c:ext xmlns:c16="http://schemas.microsoft.com/office/drawing/2014/chart" uri="{C3380CC4-5D6E-409C-BE32-E72D297353CC}">
                <c16:uniqueId val="{000003F1-280A-4CC8-864C-E6F154A5A56B}"/>
              </c:ext>
            </c:extLst>
          </c:dPt>
          <c:dPt>
            <c:idx val="504"/>
            <c:invertIfNegative val="1"/>
            <c:bubble3D val="0"/>
            <c:spPr>
              <a:solidFill>
                <a:srgbClr val="AEABAB"/>
              </a:solidFill>
            </c:spPr>
            <c:extLst>
              <c:ext xmlns:c16="http://schemas.microsoft.com/office/drawing/2014/chart" uri="{C3380CC4-5D6E-409C-BE32-E72D297353CC}">
                <c16:uniqueId val="{000003F3-280A-4CC8-864C-E6F154A5A56B}"/>
              </c:ext>
            </c:extLst>
          </c:dPt>
          <c:dPt>
            <c:idx val="505"/>
            <c:invertIfNegative val="1"/>
            <c:bubble3D val="0"/>
            <c:spPr>
              <a:solidFill>
                <a:srgbClr val="AEABAB"/>
              </a:solidFill>
            </c:spPr>
            <c:extLst>
              <c:ext xmlns:c16="http://schemas.microsoft.com/office/drawing/2014/chart" uri="{C3380CC4-5D6E-409C-BE32-E72D297353CC}">
                <c16:uniqueId val="{000003F5-280A-4CC8-864C-E6F154A5A56B}"/>
              </c:ext>
            </c:extLst>
          </c:dPt>
          <c:dPt>
            <c:idx val="506"/>
            <c:invertIfNegative val="1"/>
            <c:bubble3D val="0"/>
            <c:spPr>
              <a:solidFill>
                <a:srgbClr val="AEABAB"/>
              </a:solidFill>
            </c:spPr>
            <c:extLst>
              <c:ext xmlns:c16="http://schemas.microsoft.com/office/drawing/2014/chart" uri="{C3380CC4-5D6E-409C-BE32-E72D297353CC}">
                <c16:uniqueId val="{000003F7-280A-4CC8-864C-E6F154A5A56B}"/>
              </c:ext>
            </c:extLst>
          </c:dPt>
          <c:dPt>
            <c:idx val="507"/>
            <c:invertIfNegative val="1"/>
            <c:bubble3D val="0"/>
            <c:spPr>
              <a:solidFill>
                <a:srgbClr val="AEABAB"/>
              </a:solidFill>
            </c:spPr>
            <c:extLst>
              <c:ext xmlns:c16="http://schemas.microsoft.com/office/drawing/2014/chart" uri="{C3380CC4-5D6E-409C-BE32-E72D297353CC}">
                <c16:uniqueId val="{000003F9-280A-4CC8-864C-E6F154A5A56B}"/>
              </c:ext>
            </c:extLst>
          </c:dPt>
          <c:dPt>
            <c:idx val="508"/>
            <c:invertIfNegative val="1"/>
            <c:bubble3D val="0"/>
            <c:spPr>
              <a:solidFill>
                <a:srgbClr val="AEABAB"/>
              </a:solidFill>
            </c:spPr>
            <c:extLst>
              <c:ext xmlns:c16="http://schemas.microsoft.com/office/drawing/2014/chart" uri="{C3380CC4-5D6E-409C-BE32-E72D297353CC}">
                <c16:uniqueId val="{000003FB-280A-4CC8-864C-E6F154A5A56B}"/>
              </c:ext>
            </c:extLst>
          </c:dPt>
          <c:dPt>
            <c:idx val="509"/>
            <c:invertIfNegative val="1"/>
            <c:bubble3D val="0"/>
            <c:spPr>
              <a:solidFill>
                <a:srgbClr val="AEABAB"/>
              </a:solidFill>
            </c:spPr>
            <c:extLst>
              <c:ext xmlns:c16="http://schemas.microsoft.com/office/drawing/2014/chart" uri="{C3380CC4-5D6E-409C-BE32-E72D297353CC}">
                <c16:uniqueId val="{000003FD-280A-4CC8-864C-E6F154A5A56B}"/>
              </c:ext>
            </c:extLst>
          </c:dPt>
          <c:dPt>
            <c:idx val="510"/>
            <c:invertIfNegative val="1"/>
            <c:bubble3D val="0"/>
            <c:spPr>
              <a:solidFill>
                <a:srgbClr val="AEABAB"/>
              </a:solidFill>
            </c:spPr>
            <c:extLst>
              <c:ext xmlns:c16="http://schemas.microsoft.com/office/drawing/2014/chart" uri="{C3380CC4-5D6E-409C-BE32-E72D297353CC}">
                <c16:uniqueId val="{000003FF-280A-4CC8-864C-E6F154A5A56B}"/>
              </c:ext>
            </c:extLst>
          </c:dPt>
          <c:dPt>
            <c:idx val="511"/>
            <c:invertIfNegative val="1"/>
            <c:bubble3D val="0"/>
            <c:spPr>
              <a:solidFill>
                <a:srgbClr val="AEABAB"/>
              </a:solidFill>
            </c:spPr>
            <c:extLst>
              <c:ext xmlns:c16="http://schemas.microsoft.com/office/drawing/2014/chart" uri="{C3380CC4-5D6E-409C-BE32-E72D297353CC}">
                <c16:uniqueId val="{00000401-280A-4CC8-864C-E6F154A5A56B}"/>
              </c:ext>
            </c:extLst>
          </c:dPt>
          <c:dPt>
            <c:idx val="512"/>
            <c:invertIfNegative val="1"/>
            <c:bubble3D val="0"/>
            <c:spPr>
              <a:solidFill>
                <a:srgbClr val="AEABAB"/>
              </a:solidFill>
            </c:spPr>
            <c:extLst>
              <c:ext xmlns:c16="http://schemas.microsoft.com/office/drawing/2014/chart" uri="{C3380CC4-5D6E-409C-BE32-E72D297353CC}">
                <c16:uniqueId val="{00000403-280A-4CC8-864C-E6F154A5A56B}"/>
              </c:ext>
            </c:extLst>
          </c:dPt>
          <c:dPt>
            <c:idx val="513"/>
            <c:invertIfNegative val="1"/>
            <c:bubble3D val="0"/>
            <c:spPr>
              <a:solidFill>
                <a:srgbClr val="AEABAB"/>
              </a:solidFill>
            </c:spPr>
            <c:extLst>
              <c:ext xmlns:c16="http://schemas.microsoft.com/office/drawing/2014/chart" uri="{C3380CC4-5D6E-409C-BE32-E72D297353CC}">
                <c16:uniqueId val="{00000405-280A-4CC8-864C-E6F154A5A56B}"/>
              </c:ext>
            </c:extLst>
          </c:dPt>
          <c:dPt>
            <c:idx val="514"/>
            <c:invertIfNegative val="1"/>
            <c:bubble3D val="0"/>
            <c:spPr>
              <a:solidFill>
                <a:srgbClr val="AEABAB"/>
              </a:solidFill>
            </c:spPr>
            <c:extLst>
              <c:ext xmlns:c16="http://schemas.microsoft.com/office/drawing/2014/chart" uri="{C3380CC4-5D6E-409C-BE32-E72D297353CC}">
                <c16:uniqueId val="{00000407-280A-4CC8-864C-E6F154A5A56B}"/>
              </c:ext>
            </c:extLst>
          </c:dPt>
          <c:dPt>
            <c:idx val="515"/>
            <c:invertIfNegative val="1"/>
            <c:bubble3D val="0"/>
            <c:spPr>
              <a:solidFill>
                <a:srgbClr val="AEABAB"/>
              </a:solidFill>
            </c:spPr>
            <c:extLst>
              <c:ext xmlns:c16="http://schemas.microsoft.com/office/drawing/2014/chart" uri="{C3380CC4-5D6E-409C-BE32-E72D297353CC}">
                <c16:uniqueId val="{00000409-280A-4CC8-864C-E6F154A5A56B}"/>
              </c:ext>
            </c:extLst>
          </c:dPt>
          <c:dPt>
            <c:idx val="516"/>
            <c:invertIfNegative val="1"/>
            <c:bubble3D val="0"/>
            <c:spPr>
              <a:solidFill>
                <a:srgbClr val="AEABAB"/>
              </a:solidFill>
            </c:spPr>
            <c:extLst>
              <c:ext xmlns:c16="http://schemas.microsoft.com/office/drawing/2014/chart" uri="{C3380CC4-5D6E-409C-BE32-E72D297353CC}">
                <c16:uniqueId val="{0000040B-280A-4CC8-864C-E6F154A5A56B}"/>
              </c:ext>
            </c:extLst>
          </c:dPt>
          <c:dPt>
            <c:idx val="517"/>
            <c:invertIfNegative val="1"/>
            <c:bubble3D val="0"/>
            <c:spPr>
              <a:solidFill>
                <a:srgbClr val="AEABAB"/>
              </a:solidFill>
            </c:spPr>
            <c:extLst>
              <c:ext xmlns:c16="http://schemas.microsoft.com/office/drawing/2014/chart" uri="{C3380CC4-5D6E-409C-BE32-E72D297353CC}">
                <c16:uniqueId val="{0000040D-280A-4CC8-864C-E6F154A5A56B}"/>
              </c:ext>
            </c:extLst>
          </c:dPt>
          <c:dPt>
            <c:idx val="518"/>
            <c:invertIfNegative val="1"/>
            <c:bubble3D val="0"/>
            <c:spPr>
              <a:solidFill>
                <a:srgbClr val="AEABAB"/>
              </a:solidFill>
            </c:spPr>
            <c:extLst>
              <c:ext xmlns:c16="http://schemas.microsoft.com/office/drawing/2014/chart" uri="{C3380CC4-5D6E-409C-BE32-E72D297353CC}">
                <c16:uniqueId val="{0000040F-280A-4CC8-864C-E6F154A5A56B}"/>
              </c:ext>
            </c:extLst>
          </c:dPt>
          <c:dPt>
            <c:idx val="519"/>
            <c:invertIfNegative val="1"/>
            <c:bubble3D val="0"/>
            <c:spPr>
              <a:solidFill>
                <a:srgbClr val="AEABAB"/>
              </a:solidFill>
            </c:spPr>
            <c:extLst>
              <c:ext xmlns:c16="http://schemas.microsoft.com/office/drawing/2014/chart" uri="{C3380CC4-5D6E-409C-BE32-E72D297353CC}">
                <c16:uniqueId val="{00000411-280A-4CC8-864C-E6F154A5A56B}"/>
              </c:ext>
            </c:extLst>
          </c:dPt>
          <c:dPt>
            <c:idx val="520"/>
            <c:invertIfNegative val="1"/>
            <c:bubble3D val="0"/>
            <c:spPr>
              <a:solidFill>
                <a:srgbClr val="AEABAB"/>
              </a:solidFill>
            </c:spPr>
            <c:extLst>
              <c:ext xmlns:c16="http://schemas.microsoft.com/office/drawing/2014/chart" uri="{C3380CC4-5D6E-409C-BE32-E72D297353CC}">
                <c16:uniqueId val="{00000413-280A-4CC8-864C-E6F154A5A56B}"/>
              </c:ext>
            </c:extLst>
          </c:dPt>
          <c:dPt>
            <c:idx val="521"/>
            <c:invertIfNegative val="1"/>
            <c:bubble3D val="0"/>
            <c:spPr>
              <a:solidFill>
                <a:srgbClr val="AEABAB"/>
              </a:solidFill>
            </c:spPr>
            <c:extLst>
              <c:ext xmlns:c16="http://schemas.microsoft.com/office/drawing/2014/chart" uri="{C3380CC4-5D6E-409C-BE32-E72D297353CC}">
                <c16:uniqueId val="{00000415-280A-4CC8-864C-E6F154A5A56B}"/>
              </c:ext>
            </c:extLst>
          </c:dPt>
          <c:dPt>
            <c:idx val="522"/>
            <c:invertIfNegative val="1"/>
            <c:bubble3D val="0"/>
            <c:spPr>
              <a:solidFill>
                <a:srgbClr val="AEABAB"/>
              </a:solidFill>
            </c:spPr>
            <c:extLst>
              <c:ext xmlns:c16="http://schemas.microsoft.com/office/drawing/2014/chart" uri="{C3380CC4-5D6E-409C-BE32-E72D297353CC}">
                <c16:uniqueId val="{00000417-280A-4CC8-864C-E6F154A5A56B}"/>
              </c:ext>
            </c:extLst>
          </c:dPt>
          <c:dPt>
            <c:idx val="523"/>
            <c:invertIfNegative val="1"/>
            <c:bubble3D val="0"/>
            <c:spPr>
              <a:solidFill>
                <a:srgbClr val="AEABAB"/>
              </a:solidFill>
            </c:spPr>
            <c:extLst>
              <c:ext xmlns:c16="http://schemas.microsoft.com/office/drawing/2014/chart" uri="{C3380CC4-5D6E-409C-BE32-E72D297353CC}">
                <c16:uniqueId val="{00000419-280A-4CC8-864C-E6F154A5A56B}"/>
              </c:ext>
            </c:extLst>
          </c:dPt>
          <c:dPt>
            <c:idx val="524"/>
            <c:invertIfNegative val="1"/>
            <c:bubble3D val="0"/>
            <c:spPr>
              <a:solidFill>
                <a:srgbClr val="AEABAB"/>
              </a:solidFill>
            </c:spPr>
            <c:extLst>
              <c:ext xmlns:c16="http://schemas.microsoft.com/office/drawing/2014/chart" uri="{C3380CC4-5D6E-409C-BE32-E72D297353CC}">
                <c16:uniqueId val="{0000041B-280A-4CC8-864C-E6F154A5A56B}"/>
              </c:ext>
            </c:extLst>
          </c:dPt>
          <c:dPt>
            <c:idx val="525"/>
            <c:invertIfNegative val="1"/>
            <c:bubble3D val="0"/>
            <c:spPr>
              <a:solidFill>
                <a:srgbClr val="AEABAB"/>
              </a:solidFill>
            </c:spPr>
            <c:extLst>
              <c:ext xmlns:c16="http://schemas.microsoft.com/office/drawing/2014/chart" uri="{C3380CC4-5D6E-409C-BE32-E72D297353CC}">
                <c16:uniqueId val="{0000041D-280A-4CC8-864C-E6F154A5A56B}"/>
              </c:ext>
            </c:extLst>
          </c:dPt>
          <c:dPt>
            <c:idx val="526"/>
            <c:invertIfNegative val="1"/>
            <c:bubble3D val="0"/>
            <c:spPr>
              <a:solidFill>
                <a:srgbClr val="AEABAB"/>
              </a:solidFill>
            </c:spPr>
            <c:extLst>
              <c:ext xmlns:c16="http://schemas.microsoft.com/office/drawing/2014/chart" uri="{C3380CC4-5D6E-409C-BE32-E72D297353CC}">
                <c16:uniqueId val="{0000041F-280A-4CC8-864C-E6F154A5A56B}"/>
              </c:ext>
            </c:extLst>
          </c:dPt>
          <c:dPt>
            <c:idx val="527"/>
            <c:invertIfNegative val="1"/>
            <c:bubble3D val="0"/>
            <c:spPr>
              <a:solidFill>
                <a:srgbClr val="AEABAB"/>
              </a:solidFill>
            </c:spPr>
            <c:extLst>
              <c:ext xmlns:c16="http://schemas.microsoft.com/office/drawing/2014/chart" uri="{C3380CC4-5D6E-409C-BE32-E72D297353CC}">
                <c16:uniqueId val="{00000421-280A-4CC8-864C-E6F154A5A56B}"/>
              </c:ext>
            </c:extLst>
          </c:dPt>
          <c:dPt>
            <c:idx val="528"/>
            <c:invertIfNegative val="1"/>
            <c:bubble3D val="0"/>
            <c:spPr>
              <a:solidFill>
                <a:srgbClr val="AEABAB"/>
              </a:solidFill>
            </c:spPr>
            <c:extLst>
              <c:ext xmlns:c16="http://schemas.microsoft.com/office/drawing/2014/chart" uri="{C3380CC4-5D6E-409C-BE32-E72D297353CC}">
                <c16:uniqueId val="{00000423-280A-4CC8-864C-E6F154A5A56B}"/>
              </c:ext>
            </c:extLst>
          </c:dPt>
          <c:dPt>
            <c:idx val="529"/>
            <c:invertIfNegative val="1"/>
            <c:bubble3D val="0"/>
            <c:spPr>
              <a:solidFill>
                <a:srgbClr val="AEABAB"/>
              </a:solidFill>
            </c:spPr>
            <c:extLst>
              <c:ext xmlns:c16="http://schemas.microsoft.com/office/drawing/2014/chart" uri="{C3380CC4-5D6E-409C-BE32-E72D297353CC}">
                <c16:uniqueId val="{00000425-280A-4CC8-864C-E6F154A5A56B}"/>
              </c:ext>
            </c:extLst>
          </c:dPt>
          <c:dPt>
            <c:idx val="530"/>
            <c:invertIfNegative val="1"/>
            <c:bubble3D val="0"/>
            <c:spPr>
              <a:solidFill>
                <a:srgbClr val="AEABAB"/>
              </a:solidFill>
            </c:spPr>
            <c:extLst>
              <c:ext xmlns:c16="http://schemas.microsoft.com/office/drawing/2014/chart" uri="{C3380CC4-5D6E-409C-BE32-E72D297353CC}">
                <c16:uniqueId val="{00000427-280A-4CC8-864C-E6F154A5A56B}"/>
              </c:ext>
            </c:extLst>
          </c:dPt>
          <c:dPt>
            <c:idx val="531"/>
            <c:invertIfNegative val="1"/>
            <c:bubble3D val="0"/>
            <c:spPr>
              <a:solidFill>
                <a:srgbClr val="AEABAB"/>
              </a:solidFill>
            </c:spPr>
            <c:extLst>
              <c:ext xmlns:c16="http://schemas.microsoft.com/office/drawing/2014/chart" uri="{C3380CC4-5D6E-409C-BE32-E72D297353CC}">
                <c16:uniqueId val="{00000429-280A-4CC8-864C-E6F154A5A56B}"/>
              </c:ext>
            </c:extLst>
          </c:dPt>
          <c:dPt>
            <c:idx val="532"/>
            <c:invertIfNegative val="1"/>
            <c:bubble3D val="0"/>
            <c:spPr>
              <a:solidFill>
                <a:srgbClr val="AEABAB"/>
              </a:solidFill>
            </c:spPr>
            <c:extLst>
              <c:ext xmlns:c16="http://schemas.microsoft.com/office/drawing/2014/chart" uri="{C3380CC4-5D6E-409C-BE32-E72D297353CC}">
                <c16:uniqueId val="{0000042B-280A-4CC8-864C-E6F154A5A56B}"/>
              </c:ext>
            </c:extLst>
          </c:dPt>
          <c:dPt>
            <c:idx val="533"/>
            <c:invertIfNegative val="1"/>
            <c:bubble3D val="0"/>
            <c:spPr>
              <a:solidFill>
                <a:srgbClr val="AEABAB"/>
              </a:solidFill>
            </c:spPr>
            <c:extLst>
              <c:ext xmlns:c16="http://schemas.microsoft.com/office/drawing/2014/chart" uri="{C3380CC4-5D6E-409C-BE32-E72D297353CC}">
                <c16:uniqueId val="{0000042D-280A-4CC8-864C-E6F154A5A56B}"/>
              </c:ext>
            </c:extLst>
          </c:dPt>
          <c:dPt>
            <c:idx val="534"/>
            <c:invertIfNegative val="1"/>
            <c:bubble3D val="0"/>
            <c:spPr>
              <a:solidFill>
                <a:srgbClr val="AEABAB"/>
              </a:solidFill>
            </c:spPr>
            <c:extLst>
              <c:ext xmlns:c16="http://schemas.microsoft.com/office/drawing/2014/chart" uri="{C3380CC4-5D6E-409C-BE32-E72D297353CC}">
                <c16:uniqueId val="{0000042F-280A-4CC8-864C-E6F154A5A56B}"/>
              </c:ext>
            </c:extLst>
          </c:dPt>
          <c:dPt>
            <c:idx val="535"/>
            <c:invertIfNegative val="1"/>
            <c:bubble3D val="0"/>
            <c:spPr>
              <a:solidFill>
                <a:srgbClr val="AEABAB"/>
              </a:solidFill>
            </c:spPr>
            <c:extLst>
              <c:ext xmlns:c16="http://schemas.microsoft.com/office/drawing/2014/chart" uri="{C3380CC4-5D6E-409C-BE32-E72D297353CC}">
                <c16:uniqueId val="{00000431-280A-4CC8-864C-E6F154A5A56B}"/>
              </c:ext>
            </c:extLst>
          </c:dPt>
          <c:dPt>
            <c:idx val="536"/>
            <c:invertIfNegative val="1"/>
            <c:bubble3D val="0"/>
            <c:spPr>
              <a:solidFill>
                <a:srgbClr val="AEABAB"/>
              </a:solidFill>
            </c:spPr>
            <c:extLst>
              <c:ext xmlns:c16="http://schemas.microsoft.com/office/drawing/2014/chart" uri="{C3380CC4-5D6E-409C-BE32-E72D297353CC}">
                <c16:uniqueId val="{00000433-280A-4CC8-864C-E6F154A5A56B}"/>
              </c:ext>
            </c:extLst>
          </c:dPt>
          <c:dPt>
            <c:idx val="537"/>
            <c:invertIfNegative val="1"/>
            <c:bubble3D val="0"/>
            <c:spPr>
              <a:solidFill>
                <a:srgbClr val="AEABAB"/>
              </a:solidFill>
            </c:spPr>
            <c:extLst>
              <c:ext xmlns:c16="http://schemas.microsoft.com/office/drawing/2014/chart" uri="{C3380CC4-5D6E-409C-BE32-E72D297353CC}">
                <c16:uniqueId val="{00000435-280A-4CC8-864C-E6F154A5A56B}"/>
              </c:ext>
            </c:extLst>
          </c:dPt>
          <c:dPt>
            <c:idx val="538"/>
            <c:invertIfNegative val="1"/>
            <c:bubble3D val="0"/>
            <c:spPr>
              <a:solidFill>
                <a:srgbClr val="AEABAB"/>
              </a:solidFill>
            </c:spPr>
            <c:extLst>
              <c:ext xmlns:c16="http://schemas.microsoft.com/office/drawing/2014/chart" uri="{C3380CC4-5D6E-409C-BE32-E72D297353CC}">
                <c16:uniqueId val="{00000437-280A-4CC8-864C-E6F154A5A56B}"/>
              </c:ext>
            </c:extLst>
          </c:dPt>
          <c:dPt>
            <c:idx val="539"/>
            <c:invertIfNegative val="1"/>
            <c:bubble3D val="0"/>
            <c:spPr>
              <a:solidFill>
                <a:srgbClr val="AEABAB"/>
              </a:solidFill>
            </c:spPr>
            <c:extLst>
              <c:ext xmlns:c16="http://schemas.microsoft.com/office/drawing/2014/chart" uri="{C3380CC4-5D6E-409C-BE32-E72D297353CC}">
                <c16:uniqueId val="{00000439-280A-4CC8-864C-E6F154A5A56B}"/>
              </c:ext>
            </c:extLst>
          </c:dPt>
          <c:dPt>
            <c:idx val="540"/>
            <c:invertIfNegative val="1"/>
            <c:bubble3D val="0"/>
            <c:spPr>
              <a:solidFill>
                <a:srgbClr val="AEABAB"/>
              </a:solidFill>
            </c:spPr>
            <c:extLst>
              <c:ext xmlns:c16="http://schemas.microsoft.com/office/drawing/2014/chart" uri="{C3380CC4-5D6E-409C-BE32-E72D297353CC}">
                <c16:uniqueId val="{0000043B-280A-4CC8-864C-E6F154A5A56B}"/>
              </c:ext>
            </c:extLst>
          </c:dPt>
          <c:dPt>
            <c:idx val="541"/>
            <c:invertIfNegative val="1"/>
            <c:bubble3D val="0"/>
            <c:spPr>
              <a:solidFill>
                <a:srgbClr val="AEABAB"/>
              </a:solidFill>
            </c:spPr>
            <c:extLst>
              <c:ext xmlns:c16="http://schemas.microsoft.com/office/drawing/2014/chart" uri="{C3380CC4-5D6E-409C-BE32-E72D297353CC}">
                <c16:uniqueId val="{0000043D-280A-4CC8-864C-E6F154A5A56B}"/>
              </c:ext>
            </c:extLst>
          </c:dPt>
          <c:dPt>
            <c:idx val="542"/>
            <c:invertIfNegative val="1"/>
            <c:bubble3D val="0"/>
            <c:spPr>
              <a:solidFill>
                <a:srgbClr val="AEABAB"/>
              </a:solidFill>
            </c:spPr>
            <c:extLst>
              <c:ext xmlns:c16="http://schemas.microsoft.com/office/drawing/2014/chart" uri="{C3380CC4-5D6E-409C-BE32-E72D297353CC}">
                <c16:uniqueId val="{0000043F-280A-4CC8-864C-E6F154A5A56B}"/>
              </c:ext>
            </c:extLst>
          </c:dPt>
          <c:dPt>
            <c:idx val="543"/>
            <c:invertIfNegative val="1"/>
            <c:bubble3D val="0"/>
            <c:spPr>
              <a:solidFill>
                <a:srgbClr val="AEABAB"/>
              </a:solidFill>
            </c:spPr>
            <c:extLst>
              <c:ext xmlns:c16="http://schemas.microsoft.com/office/drawing/2014/chart" uri="{C3380CC4-5D6E-409C-BE32-E72D297353CC}">
                <c16:uniqueId val="{00000441-280A-4CC8-864C-E6F154A5A56B}"/>
              </c:ext>
            </c:extLst>
          </c:dPt>
          <c:dPt>
            <c:idx val="544"/>
            <c:invertIfNegative val="1"/>
            <c:bubble3D val="0"/>
            <c:spPr>
              <a:solidFill>
                <a:srgbClr val="AEABAB"/>
              </a:solidFill>
            </c:spPr>
            <c:extLst>
              <c:ext xmlns:c16="http://schemas.microsoft.com/office/drawing/2014/chart" uri="{C3380CC4-5D6E-409C-BE32-E72D297353CC}">
                <c16:uniqueId val="{00000443-280A-4CC8-864C-E6F154A5A56B}"/>
              </c:ext>
            </c:extLst>
          </c:dPt>
          <c:dPt>
            <c:idx val="545"/>
            <c:invertIfNegative val="1"/>
            <c:bubble3D val="0"/>
            <c:spPr>
              <a:solidFill>
                <a:srgbClr val="AEABAB"/>
              </a:solidFill>
            </c:spPr>
            <c:extLst>
              <c:ext xmlns:c16="http://schemas.microsoft.com/office/drawing/2014/chart" uri="{C3380CC4-5D6E-409C-BE32-E72D297353CC}">
                <c16:uniqueId val="{00000445-280A-4CC8-864C-E6F154A5A56B}"/>
              </c:ext>
            </c:extLst>
          </c:dPt>
          <c:dPt>
            <c:idx val="546"/>
            <c:invertIfNegative val="1"/>
            <c:bubble3D val="0"/>
            <c:spPr>
              <a:solidFill>
                <a:srgbClr val="AEABAB"/>
              </a:solidFill>
            </c:spPr>
            <c:extLst>
              <c:ext xmlns:c16="http://schemas.microsoft.com/office/drawing/2014/chart" uri="{C3380CC4-5D6E-409C-BE32-E72D297353CC}">
                <c16:uniqueId val="{00000447-280A-4CC8-864C-E6F154A5A56B}"/>
              </c:ext>
            </c:extLst>
          </c:dPt>
          <c:dPt>
            <c:idx val="547"/>
            <c:invertIfNegative val="1"/>
            <c:bubble3D val="0"/>
            <c:spPr>
              <a:solidFill>
                <a:srgbClr val="AEABAB"/>
              </a:solidFill>
            </c:spPr>
            <c:extLst>
              <c:ext xmlns:c16="http://schemas.microsoft.com/office/drawing/2014/chart" uri="{C3380CC4-5D6E-409C-BE32-E72D297353CC}">
                <c16:uniqueId val="{00000449-280A-4CC8-864C-E6F154A5A56B}"/>
              </c:ext>
            </c:extLst>
          </c:dPt>
          <c:dPt>
            <c:idx val="548"/>
            <c:invertIfNegative val="1"/>
            <c:bubble3D val="0"/>
            <c:spPr>
              <a:solidFill>
                <a:srgbClr val="AEABAB"/>
              </a:solidFill>
            </c:spPr>
            <c:extLst>
              <c:ext xmlns:c16="http://schemas.microsoft.com/office/drawing/2014/chart" uri="{C3380CC4-5D6E-409C-BE32-E72D297353CC}">
                <c16:uniqueId val="{0000044B-280A-4CC8-864C-E6F154A5A56B}"/>
              </c:ext>
            </c:extLst>
          </c:dPt>
          <c:dPt>
            <c:idx val="549"/>
            <c:invertIfNegative val="1"/>
            <c:bubble3D val="0"/>
            <c:spPr>
              <a:solidFill>
                <a:srgbClr val="AEABAB"/>
              </a:solidFill>
            </c:spPr>
            <c:extLst>
              <c:ext xmlns:c16="http://schemas.microsoft.com/office/drawing/2014/chart" uri="{C3380CC4-5D6E-409C-BE32-E72D297353CC}">
                <c16:uniqueId val="{0000044D-280A-4CC8-864C-E6F154A5A56B}"/>
              </c:ext>
            </c:extLst>
          </c:dPt>
          <c:dPt>
            <c:idx val="550"/>
            <c:invertIfNegative val="1"/>
            <c:bubble3D val="0"/>
            <c:spPr>
              <a:solidFill>
                <a:srgbClr val="AEABAB"/>
              </a:solidFill>
            </c:spPr>
            <c:extLst>
              <c:ext xmlns:c16="http://schemas.microsoft.com/office/drawing/2014/chart" uri="{C3380CC4-5D6E-409C-BE32-E72D297353CC}">
                <c16:uniqueId val="{0000044F-280A-4CC8-864C-E6F154A5A56B}"/>
              </c:ext>
            </c:extLst>
          </c:dPt>
          <c:dPt>
            <c:idx val="551"/>
            <c:invertIfNegative val="1"/>
            <c:bubble3D val="0"/>
            <c:spPr>
              <a:solidFill>
                <a:srgbClr val="AEABAB"/>
              </a:solidFill>
            </c:spPr>
            <c:extLst>
              <c:ext xmlns:c16="http://schemas.microsoft.com/office/drawing/2014/chart" uri="{C3380CC4-5D6E-409C-BE32-E72D297353CC}">
                <c16:uniqueId val="{00000451-280A-4CC8-864C-E6F154A5A56B}"/>
              </c:ext>
            </c:extLst>
          </c:dPt>
          <c:dPt>
            <c:idx val="552"/>
            <c:invertIfNegative val="1"/>
            <c:bubble3D val="0"/>
            <c:spPr>
              <a:solidFill>
                <a:srgbClr val="AEABAB"/>
              </a:solidFill>
            </c:spPr>
            <c:extLst>
              <c:ext xmlns:c16="http://schemas.microsoft.com/office/drawing/2014/chart" uri="{C3380CC4-5D6E-409C-BE32-E72D297353CC}">
                <c16:uniqueId val="{00000453-280A-4CC8-864C-E6F154A5A56B}"/>
              </c:ext>
            </c:extLst>
          </c:dPt>
          <c:dPt>
            <c:idx val="553"/>
            <c:invertIfNegative val="1"/>
            <c:bubble3D val="0"/>
            <c:spPr>
              <a:solidFill>
                <a:srgbClr val="AEABAB"/>
              </a:solidFill>
            </c:spPr>
            <c:extLst>
              <c:ext xmlns:c16="http://schemas.microsoft.com/office/drawing/2014/chart" uri="{C3380CC4-5D6E-409C-BE32-E72D297353CC}">
                <c16:uniqueId val="{00000455-280A-4CC8-864C-E6F154A5A56B}"/>
              </c:ext>
            </c:extLst>
          </c:dPt>
          <c:dPt>
            <c:idx val="554"/>
            <c:invertIfNegative val="1"/>
            <c:bubble3D val="0"/>
            <c:spPr>
              <a:solidFill>
                <a:srgbClr val="AEABAB"/>
              </a:solidFill>
            </c:spPr>
            <c:extLst>
              <c:ext xmlns:c16="http://schemas.microsoft.com/office/drawing/2014/chart" uri="{C3380CC4-5D6E-409C-BE32-E72D297353CC}">
                <c16:uniqueId val="{00000457-280A-4CC8-864C-E6F154A5A56B}"/>
              </c:ext>
            </c:extLst>
          </c:dPt>
          <c:dPt>
            <c:idx val="555"/>
            <c:invertIfNegative val="1"/>
            <c:bubble3D val="0"/>
            <c:spPr>
              <a:solidFill>
                <a:srgbClr val="AEABAB"/>
              </a:solidFill>
            </c:spPr>
            <c:extLst>
              <c:ext xmlns:c16="http://schemas.microsoft.com/office/drawing/2014/chart" uri="{C3380CC4-5D6E-409C-BE32-E72D297353CC}">
                <c16:uniqueId val="{00000459-280A-4CC8-864C-E6F154A5A56B}"/>
              </c:ext>
            </c:extLst>
          </c:dPt>
          <c:dPt>
            <c:idx val="556"/>
            <c:invertIfNegative val="1"/>
            <c:bubble3D val="0"/>
            <c:spPr>
              <a:solidFill>
                <a:srgbClr val="AEABAB"/>
              </a:solidFill>
            </c:spPr>
            <c:extLst>
              <c:ext xmlns:c16="http://schemas.microsoft.com/office/drawing/2014/chart" uri="{C3380CC4-5D6E-409C-BE32-E72D297353CC}">
                <c16:uniqueId val="{0000045B-280A-4CC8-864C-E6F154A5A56B}"/>
              </c:ext>
            </c:extLst>
          </c:dPt>
          <c:dPt>
            <c:idx val="557"/>
            <c:invertIfNegative val="1"/>
            <c:bubble3D val="0"/>
            <c:spPr>
              <a:solidFill>
                <a:srgbClr val="AEABAB"/>
              </a:solidFill>
            </c:spPr>
            <c:extLst>
              <c:ext xmlns:c16="http://schemas.microsoft.com/office/drawing/2014/chart" uri="{C3380CC4-5D6E-409C-BE32-E72D297353CC}">
                <c16:uniqueId val="{0000045D-280A-4CC8-864C-E6F154A5A56B}"/>
              </c:ext>
            </c:extLst>
          </c:dPt>
          <c:dPt>
            <c:idx val="558"/>
            <c:invertIfNegative val="1"/>
            <c:bubble3D val="0"/>
            <c:spPr>
              <a:solidFill>
                <a:srgbClr val="AEABAB"/>
              </a:solidFill>
            </c:spPr>
            <c:extLst>
              <c:ext xmlns:c16="http://schemas.microsoft.com/office/drawing/2014/chart" uri="{C3380CC4-5D6E-409C-BE32-E72D297353CC}">
                <c16:uniqueId val="{0000045F-280A-4CC8-864C-E6F154A5A56B}"/>
              </c:ext>
            </c:extLst>
          </c:dPt>
          <c:dPt>
            <c:idx val="559"/>
            <c:invertIfNegative val="1"/>
            <c:bubble3D val="0"/>
            <c:spPr>
              <a:solidFill>
                <a:srgbClr val="AEABAB"/>
              </a:solidFill>
            </c:spPr>
            <c:extLst>
              <c:ext xmlns:c16="http://schemas.microsoft.com/office/drawing/2014/chart" uri="{C3380CC4-5D6E-409C-BE32-E72D297353CC}">
                <c16:uniqueId val="{00000461-280A-4CC8-864C-E6F154A5A56B}"/>
              </c:ext>
            </c:extLst>
          </c:dPt>
          <c:dPt>
            <c:idx val="560"/>
            <c:invertIfNegative val="1"/>
            <c:bubble3D val="0"/>
            <c:spPr>
              <a:solidFill>
                <a:srgbClr val="AEABAB"/>
              </a:solidFill>
            </c:spPr>
            <c:extLst>
              <c:ext xmlns:c16="http://schemas.microsoft.com/office/drawing/2014/chart" uri="{C3380CC4-5D6E-409C-BE32-E72D297353CC}">
                <c16:uniqueId val="{00000463-280A-4CC8-864C-E6F154A5A56B}"/>
              </c:ext>
            </c:extLst>
          </c:dPt>
          <c:dPt>
            <c:idx val="561"/>
            <c:invertIfNegative val="1"/>
            <c:bubble3D val="0"/>
            <c:spPr>
              <a:solidFill>
                <a:srgbClr val="AEABAB"/>
              </a:solidFill>
            </c:spPr>
            <c:extLst>
              <c:ext xmlns:c16="http://schemas.microsoft.com/office/drawing/2014/chart" uri="{C3380CC4-5D6E-409C-BE32-E72D297353CC}">
                <c16:uniqueId val="{00000465-280A-4CC8-864C-E6F154A5A56B}"/>
              </c:ext>
            </c:extLst>
          </c:dPt>
          <c:dPt>
            <c:idx val="562"/>
            <c:invertIfNegative val="1"/>
            <c:bubble3D val="0"/>
            <c:spPr>
              <a:solidFill>
                <a:srgbClr val="AEABAB"/>
              </a:solidFill>
            </c:spPr>
            <c:extLst>
              <c:ext xmlns:c16="http://schemas.microsoft.com/office/drawing/2014/chart" uri="{C3380CC4-5D6E-409C-BE32-E72D297353CC}">
                <c16:uniqueId val="{00000467-280A-4CC8-864C-E6F154A5A56B}"/>
              </c:ext>
            </c:extLst>
          </c:dPt>
          <c:dPt>
            <c:idx val="563"/>
            <c:invertIfNegative val="1"/>
            <c:bubble3D val="0"/>
            <c:spPr>
              <a:solidFill>
                <a:srgbClr val="AEABAB"/>
              </a:solidFill>
            </c:spPr>
            <c:extLst>
              <c:ext xmlns:c16="http://schemas.microsoft.com/office/drawing/2014/chart" uri="{C3380CC4-5D6E-409C-BE32-E72D297353CC}">
                <c16:uniqueId val="{00000469-280A-4CC8-864C-E6F154A5A56B}"/>
              </c:ext>
            </c:extLst>
          </c:dPt>
          <c:dPt>
            <c:idx val="564"/>
            <c:invertIfNegative val="1"/>
            <c:bubble3D val="0"/>
            <c:spPr>
              <a:solidFill>
                <a:srgbClr val="AEABAB"/>
              </a:solidFill>
            </c:spPr>
            <c:extLst>
              <c:ext xmlns:c16="http://schemas.microsoft.com/office/drawing/2014/chart" uri="{C3380CC4-5D6E-409C-BE32-E72D297353CC}">
                <c16:uniqueId val="{0000046B-280A-4CC8-864C-E6F154A5A56B}"/>
              </c:ext>
            </c:extLst>
          </c:dPt>
          <c:dPt>
            <c:idx val="565"/>
            <c:invertIfNegative val="1"/>
            <c:bubble3D val="0"/>
            <c:spPr>
              <a:solidFill>
                <a:srgbClr val="AEABAB"/>
              </a:solidFill>
            </c:spPr>
            <c:extLst>
              <c:ext xmlns:c16="http://schemas.microsoft.com/office/drawing/2014/chart" uri="{C3380CC4-5D6E-409C-BE32-E72D297353CC}">
                <c16:uniqueId val="{0000046D-280A-4CC8-864C-E6F154A5A56B}"/>
              </c:ext>
            </c:extLst>
          </c:dPt>
          <c:dPt>
            <c:idx val="566"/>
            <c:invertIfNegative val="1"/>
            <c:bubble3D val="0"/>
            <c:spPr>
              <a:solidFill>
                <a:srgbClr val="AEABAB"/>
              </a:solidFill>
            </c:spPr>
            <c:extLst>
              <c:ext xmlns:c16="http://schemas.microsoft.com/office/drawing/2014/chart" uri="{C3380CC4-5D6E-409C-BE32-E72D297353CC}">
                <c16:uniqueId val="{0000046F-280A-4CC8-864C-E6F154A5A56B}"/>
              </c:ext>
            </c:extLst>
          </c:dPt>
          <c:dPt>
            <c:idx val="567"/>
            <c:invertIfNegative val="1"/>
            <c:bubble3D val="0"/>
            <c:spPr>
              <a:solidFill>
                <a:srgbClr val="AEABAB"/>
              </a:solidFill>
            </c:spPr>
            <c:extLst>
              <c:ext xmlns:c16="http://schemas.microsoft.com/office/drawing/2014/chart" uri="{C3380CC4-5D6E-409C-BE32-E72D297353CC}">
                <c16:uniqueId val="{00000471-280A-4CC8-864C-E6F154A5A56B}"/>
              </c:ext>
            </c:extLst>
          </c:dPt>
          <c:dPt>
            <c:idx val="568"/>
            <c:invertIfNegative val="1"/>
            <c:bubble3D val="0"/>
            <c:spPr>
              <a:solidFill>
                <a:srgbClr val="AEABAB"/>
              </a:solidFill>
            </c:spPr>
            <c:extLst>
              <c:ext xmlns:c16="http://schemas.microsoft.com/office/drawing/2014/chart" uri="{C3380CC4-5D6E-409C-BE32-E72D297353CC}">
                <c16:uniqueId val="{00000473-280A-4CC8-864C-E6F154A5A56B}"/>
              </c:ext>
            </c:extLst>
          </c:dPt>
          <c:dPt>
            <c:idx val="569"/>
            <c:invertIfNegative val="1"/>
            <c:bubble3D val="0"/>
            <c:spPr>
              <a:solidFill>
                <a:srgbClr val="AEABAB"/>
              </a:solidFill>
            </c:spPr>
            <c:extLst>
              <c:ext xmlns:c16="http://schemas.microsoft.com/office/drawing/2014/chart" uri="{C3380CC4-5D6E-409C-BE32-E72D297353CC}">
                <c16:uniqueId val="{00000475-280A-4CC8-864C-E6F154A5A56B}"/>
              </c:ext>
            </c:extLst>
          </c:dPt>
          <c:dPt>
            <c:idx val="570"/>
            <c:invertIfNegative val="1"/>
            <c:bubble3D val="0"/>
            <c:spPr>
              <a:solidFill>
                <a:srgbClr val="AEABAB"/>
              </a:solidFill>
            </c:spPr>
            <c:extLst>
              <c:ext xmlns:c16="http://schemas.microsoft.com/office/drawing/2014/chart" uri="{C3380CC4-5D6E-409C-BE32-E72D297353CC}">
                <c16:uniqueId val="{00000477-280A-4CC8-864C-E6F154A5A56B}"/>
              </c:ext>
            </c:extLst>
          </c:dPt>
          <c:dPt>
            <c:idx val="571"/>
            <c:invertIfNegative val="1"/>
            <c:bubble3D val="0"/>
            <c:spPr>
              <a:solidFill>
                <a:srgbClr val="AEABAB"/>
              </a:solidFill>
            </c:spPr>
            <c:extLst>
              <c:ext xmlns:c16="http://schemas.microsoft.com/office/drawing/2014/chart" uri="{C3380CC4-5D6E-409C-BE32-E72D297353CC}">
                <c16:uniqueId val="{00000479-280A-4CC8-864C-E6F154A5A56B}"/>
              </c:ext>
            </c:extLst>
          </c:dPt>
          <c:dPt>
            <c:idx val="572"/>
            <c:invertIfNegative val="1"/>
            <c:bubble3D val="0"/>
            <c:spPr>
              <a:solidFill>
                <a:srgbClr val="AEABAB"/>
              </a:solidFill>
            </c:spPr>
            <c:extLst>
              <c:ext xmlns:c16="http://schemas.microsoft.com/office/drawing/2014/chart" uri="{C3380CC4-5D6E-409C-BE32-E72D297353CC}">
                <c16:uniqueId val="{0000047B-280A-4CC8-864C-E6F154A5A56B}"/>
              </c:ext>
            </c:extLst>
          </c:dPt>
          <c:dPt>
            <c:idx val="573"/>
            <c:invertIfNegative val="1"/>
            <c:bubble3D val="0"/>
            <c:spPr>
              <a:solidFill>
                <a:srgbClr val="AEABAB"/>
              </a:solidFill>
            </c:spPr>
            <c:extLst>
              <c:ext xmlns:c16="http://schemas.microsoft.com/office/drawing/2014/chart" uri="{C3380CC4-5D6E-409C-BE32-E72D297353CC}">
                <c16:uniqueId val="{0000047D-280A-4CC8-864C-E6F154A5A56B}"/>
              </c:ext>
            </c:extLst>
          </c:dPt>
          <c:dPt>
            <c:idx val="574"/>
            <c:invertIfNegative val="1"/>
            <c:bubble3D val="0"/>
            <c:spPr>
              <a:solidFill>
                <a:srgbClr val="AEABAB"/>
              </a:solidFill>
            </c:spPr>
            <c:extLst>
              <c:ext xmlns:c16="http://schemas.microsoft.com/office/drawing/2014/chart" uri="{C3380CC4-5D6E-409C-BE32-E72D297353CC}">
                <c16:uniqueId val="{0000047F-280A-4CC8-864C-E6F154A5A56B}"/>
              </c:ext>
            </c:extLst>
          </c:dPt>
          <c:dPt>
            <c:idx val="575"/>
            <c:invertIfNegative val="1"/>
            <c:bubble3D val="0"/>
            <c:spPr>
              <a:solidFill>
                <a:srgbClr val="AEABAB"/>
              </a:solidFill>
            </c:spPr>
            <c:extLst>
              <c:ext xmlns:c16="http://schemas.microsoft.com/office/drawing/2014/chart" uri="{C3380CC4-5D6E-409C-BE32-E72D297353CC}">
                <c16:uniqueId val="{00000481-280A-4CC8-864C-E6F154A5A56B}"/>
              </c:ext>
            </c:extLst>
          </c:dPt>
          <c:dPt>
            <c:idx val="576"/>
            <c:invertIfNegative val="1"/>
            <c:bubble3D val="0"/>
            <c:spPr>
              <a:solidFill>
                <a:srgbClr val="AEABAB"/>
              </a:solidFill>
            </c:spPr>
            <c:extLst>
              <c:ext xmlns:c16="http://schemas.microsoft.com/office/drawing/2014/chart" uri="{C3380CC4-5D6E-409C-BE32-E72D297353CC}">
                <c16:uniqueId val="{00000483-280A-4CC8-864C-E6F154A5A56B}"/>
              </c:ext>
            </c:extLst>
          </c:dPt>
          <c:dPt>
            <c:idx val="577"/>
            <c:invertIfNegative val="1"/>
            <c:bubble3D val="0"/>
            <c:spPr>
              <a:solidFill>
                <a:srgbClr val="AEABAB"/>
              </a:solidFill>
            </c:spPr>
            <c:extLst>
              <c:ext xmlns:c16="http://schemas.microsoft.com/office/drawing/2014/chart" uri="{C3380CC4-5D6E-409C-BE32-E72D297353CC}">
                <c16:uniqueId val="{00000485-280A-4CC8-864C-E6F154A5A56B}"/>
              </c:ext>
            </c:extLst>
          </c:dPt>
          <c:dPt>
            <c:idx val="578"/>
            <c:invertIfNegative val="1"/>
            <c:bubble3D val="0"/>
            <c:spPr>
              <a:solidFill>
                <a:srgbClr val="AEABAB"/>
              </a:solidFill>
            </c:spPr>
            <c:extLst>
              <c:ext xmlns:c16="http://schemas.microsoft.com/office/drawing/2014/chart" uri="{C3380CC4-5D6E-409C-BE32-E72D297353CC}">
                <c16:uniqueId val="{00000487-280A-4CC8-864C-E6F154A5A56B}"/>
              </c:ext>
            </c:extLst>
          </c:dPt>
          <c:dPt>
            <c:idx val="579"/>
            <c:invertIfNegative val="1"/>
            <c:bubble3D val="0"/>
            <c:spPr>
              <a:solidFill>
                <a:srgbClr val="AEABAB"/>
              </a:solidFill>
            </c:spPr>
            <c:extLst>
              <c:ext xmlns:c16="http://schemas.microsoft.com/office/drawing/2014/chart" uri="{C3380CC4-5D6E-409C-BE32-E72D297353CC}">
                <c16:uniqueId val="{00000489-280A-4CC8-864C-E6F154A5A56B}"/>
              </c:ext>
            </c:extLst>
          </c:dPt>
          <c:dPt>
            <c:idx val="580"/>
            <c:invertIfNegative val="1"/>
            <c:bubble3D val="0"/>
            <c:spPr>
              <a:solidFill>
                <a:srgbClr val="AEABAB"/>
              </a:solidFill>
            </c:spPr>
            <c:extLst>
              <c:ext xmlns:c16="http://schemas.microsoft.com/office/drawing/2014/chart" uri="{C3380CC4-5D6E-409C-BE32-E72D297353CC}">
                <c16:uniqueId val="{0000048B-280A-4CC8-864C-E6F154A5A56B}"/>
              </c:ext>
            </c:extLst>
          </c:dPt>
          <c:dPt>
            <c:idx val="581"/>
            <c:invertIfNegative val="1"/>
            <c:bubble3D val="0"/>
            <c:spPr>
              <a:solidFill>
                <a:srgbClr val="AEABAB"/>
              </a:solidFill>
            </c:spPr>
            <c:extLst>
              <c:ext xmlns:c16="http://schemas.microsoft.com/office/drawing/2014/chart" uri="{C3380CC4-5D6E-409C-BE32-E72D297353CC}">
                <c16:uniqueId val="{0000048D-280A-4CC8-864C-E6F154A5A56B}"/>
              </c:ext>
            </c:extLst>
          </c:dPt>
          <c:dPt>
            <c:idx val="582"/>
            <c:invertIfNegative val="1"/>
            <c:bubble3D val="0"/>
            <c:spPr>
              <a:solidFill>
                <a:srgbClr val="AEABAB"/>
              </a:solidFill>
            </c:spPr>
            <c:extLst>
              <c:ext xmlns:c16="http://schemas.microsoft.com/office/drawing/2014/chart" uri="{C3380CC4-5D6E-409C-BE32-E72D297353CC}">
                <c16:uniqueId val="{0000048F-280A-4CC8-864C-E6F154A5A56B}"/>
              </c:ext>
            </c:extLst>
          </c:dPt>
          <c:dPt>
            <c:idx val="583"/>
            <c:invertIfNegative val="1"/>
            <c:bubble3D val="0"/>
            <c:spPr>
              <a:solidFill>
                <a:srgbClr val="AEABAB"/>
              </a:solidFill>
            </c:spPr>
            <c:extLst>
              <c:ext xmlns:c16="http://schemas.microsoft.com/office/drawing/2014/chart" uri="{C3380CC4-5D6E-409C-BE32-E72D297353CC}">
                <c16:uniqueId val="{00000491-280A-4CC8-864C-E6F154A5A56B}"/>
              </c:ext>
            </c:extLst>
          </c:dPt>
          <c:dPt>
            <c:idx val="584"/>
            <c:invertIfNegative val="1"/>
            <c:bubble3D val="0"/>
            <c:spPr>
              <a:solidFill>
                <a:srgbClr val="AEABAB"/>
              </a:solidFill>
            </c:spPr>
            <c:extLst>
              <c:ext xmlns:c16="http://schemas.microsoft.com/office/drawing/2014/chart" uri="{C3380CC4-5D6E-409C-BE32-E72D297353CC}">
                <c16:uniqueId val="{00000493-280A-4CC8-864C-E6F154A5A56B}"/>
              </c:ext>
            </c:extLst>
          </c:dPt>
          <c:dPt>
            <c:idx val="585"/>
            <c:invertIfNegative val="1"/>
            <c:bubble3D val="0"/>
            <c:spPr>
              <a:solidFill>
                <a:srgbClr val="AEABAB"/>
              </a:solidFill>
            </c:spPr>
            <c:extLst>
              <c:ext xmlns:c16="http://schemas.microsoft.com/office/drawing/2014/chart" uri="{C3380CC4-5D6E-409C-BE32-E72D297353CC}">
                <c16:uniqueId val="{00000495-280A-4CC8-864C-E6F154A5A56B}"/>
              </c:ext>
            </c:extLst>
          </c:dPt>
          <c:dPt>
            <c:idx val="586"/>
            <c:invertIfNegative val="1"/>
            <c:bubble3D val="0"/>
            <c:spPr>
              <a:solidFill>
                <a:srgbClr val="AEABAB"/>
              </a:solidFill>
            </c:spPr>
            <c:extLst>
              <c:ext xmlns:c16="http://schemas.microsoft.com/office/drawing/2014/chart" uri="{C3380CC4-5D6E-409C-BE32-E72D297353CC}">
                <c16:uniqueId val="{00000497-280A-4CC8-864C-E6F154A5A56B}"/>
              </c:ext>
            </c:extLst>
          </c:dPt>
          <c:dPt>
            <c:idx val="587"/>
            <c:invertIfNegative val="1"/>
            <c:bubble3D val="0"/>
            <c:spPr>
              <a:solidFill>
                <a:srgbClr val="AEABAB"/>
              </a:solidFill>
            </c:spPr>
            <c:extLst>
              <c:ext xmlns:c16="http://schemas.microsoft.com/office/drawing/2014/chart" uri="{C3380CC4-5D6E-409C-BE32-E72D297353CC}">
                <c16:uniqueId val="{00000499-280A-4CC8-864C-E6F154A5A56B}"/>
              </c:ext>
            </c:extLst>
          </c:dPt>
          <c:dPt>
            <c:idx val="588"/>
            <c:invertIfNegative val="1"/>
            <c:bubble3D val="0"/>
            <c:spPr>
              <a:solidFill>
                <a:srgbClr val="AEABAB"/>
              </a:solidFill>
            </c:spPr>
            <c:extLst>
              <c:ext xmlns:c16="http://schemas.microsoft.com/office/drawing/2014/chart" uri="{C3380CC4-5D6E-409C-BE32-E72D297353CC}">
                <c16:uniqueId val="{0000049B-280A-4CC8-864C-E6F154A5A56B}"/>
              </c:ext>
            </c:extLst>
          </c:dPt>
          <c:dPt>
            <c:idx val="589"/>
            <c:invertIfNegative val="1"/>
            <c:bubble3D val="0"/>
            <c:spPr>
              <a:solidFill>
                <a:srgbClr val="AEABAB"/>
              </a:solidFill>
            </c:spPr>
            <c:extLst>
              <c:ext xmlns:c16="http://schemas.microsoft.com/office/drawing/2014/chart" uri="{C3380CC4-5D6E-409C-BE32-E72D297353CC}">
                <c16:uniqueId val="{0000049D-280A-4CC8-864C-E6F154A5A56B}"/>
              </c:ext>
            </c:extLst>
          </c:dPt>
          <c:dPt>
            <c:idx val="590"/>
            <c:invertIfNegative val="1"/>
            <c:bubble3D val="0"/>
            <c:spPr>
              <a:solidFill>
                <a:srgbClr val="AEABAB"/>
              </a:solidFill>
            </c:spPr>
            <c:extLst>
              <c:ext xmlns:c16="http://schemas.microsoft.com/office/drawing/2014/chart" uri="{C3380CC4-5D6E-409C-BE32-E72D297353CC}">
                <c16:uniqueId val="{0000049F-280A-4CC8-864C-E6F154A5A56B}"/>
              </c:ext>
            </c:extLst>
          </c:dPt>
          <c:dPt>
            <c:idx val="591"/>
            <c:invertIfNegative val="1"/>
            <c:bubble3D val="0"/>
            <c:spPr>
              <a:solidFill>
                <a:srgbClr val="AEABAB"/>
              </a:solidFill>
            </c:spPr>
            <c:extLst>
              <c:ext xmlns:c16="http://schemas.microsoft.com/office/drawing/2014/chart" uri="{C3380CC4-5D6E-409C-BE32-E72D297353CC}">
                <c16:uniqueId val="{000004A1-280A-4CC8-864C-E6F154A5A56B}"/>
              </c:ext>
            </c:extLst>
          </c:dPt>
          <c:dPt>
            <c:idx val="592"/>
            <c:invertIfNegative val="1"/>
            <c:bubble3D val="0"/>
            <c:spPr>
              <a:solidFill>
                <a:srgbClr val="AEABAB"/>
              </a:solidFill>
            </c:spPr>
            <c:extLst>
              <c:ext xmlns:c16="http://schemas.microsoft.com/office/drawing/2014/chart" uri="{C3380CC4-5D6E-409C-BE32-E72D297353CC}">
                <c16:uniqueId val="{000004A3-280A-4CC8-864C-E6F154A5A56B}"/>
              </c:ext>
            </c:extLst>
          </c:dPt>
          <c:dPt>
            <c:idx val="593"/>
            <c:invertIfNegative val="1"/>
            <c:bubble3D val="0"/>
            <c:spPr>
              <a:solidFill>
                <a:srgbClr val="AEABAB"/>
              </a:solidFill>
            </c:spPr>
            <c:extLst>
              <c:ext xmlns:c16="http://schemas.microsoft.com/office/drawing/2014/chart" uri="{C3380CC4-5D6E-409C-BE32-E72D297353CC}">
                <c16:uniqueId val="{000004A5-280A-4CC8-864C-E6F154A5A56B}"/>
              </c:ext>
            </c:extLst>
          </c:dPt>
          <c:dPt>
            <c:idx val="594"/>
            <c:invertIfNegative val="1"/>
            <c:bubble3D val="0"/>
            <c:spPr>
              <a:solidFill>
                <a:srgbClr val="AEABAB"/>
              </a:solidFill>
            </c:spPr>
            <c:extLst>
              <c:ext xmlns:c16="http://schemas.microsoft.com/office/drawing/2014/chart" uri="{C3380CC4-5D6E-409C-BE32-E72D297353CC}">
                <c16:uniqueId val="{000004A7-280A-4CC8-864C-E6F154A5A56B}"/>
              </c:ext>
            </c:extLst>
          </c:dPt>
          <c:dPt>
            <c:idx val="595"/>
            <c:invertIfNegative val="1"/>
            <c:bubble3D val="0"/>
            <c:spPr>
              <a:solidFill>
                <a:srgbClr val="AEABAB"/>
              </a:solidFill>
            </c:spPr>
            <c:extLst>
              <c:ext xmlns:c16="http://schemas.microsoft.com/office/drawing/2014/chart" uri="{C3380CC4-5D6E-409C-BE32-E72D297353CC}">
                <c16:uniqueId val="{000004A9-280A-4CC8-864C-E6F154A5A56B}"/>
              </c:ext>
            </c:extLst>
          </c:dPt>
          <c:dPt>
            <c:idx val="596"/>
            <c:invertIfNegative val="1"/>
            <c:bubble3D val="0"/>
            <c:spPr>
              <a:solidFill>
                <a:srgbClr val="AEABAB"/>
              </a:solidFill>
            </c:spPr>
            <c:extLst>
              <c:ext xmlns:c16="http://schemas.microsoft.com/office/drawing/2014/chart" uri="{C3380CC4-5D6E-409C-BE32-E72D297353CC}">
                <c16:uniqueId val="{000004AB-280A-4CC8-864C-E6F154A5A56B}"/>
              </c:ext>
            </c:extLst>
          </c:dPt>
          <c:dPt>
            <c:idx val="597"/>
            <c:invertIfNegative val="1"/>
            <c:bubble3D val="0"/>
            <c:spPr>
              <a:solidFill>
                <a:srgbClr val="AEABAB"/>
              </a:solidFill>
            </c:spPr>
            <c:extLst>
              <c:ext xmlns:c16="http://schemas.microsoft.com/office/drawing/2014/chart" uri="{C3380CC4-5D6E-409C-BE32-E72D297353CC}">
                <c16:uniqueId val="{000004AD-280A-4CC8-864C-E6F154A5A56B}"/>
              </c:ext>
            </c:extLst>
          </c:dPt>
          <c:dPt>
            <c:idx val="598"/>
            <c:invertIfNegative val="1"/>
            <c:bubble3D val="0"/>
            <c:spPr>
              <a:solidFill>
                <a:srgbClr val="AEABAB"/>
              </a:solidFill>
            </c:spPr>
            <c:extLst>
              <c:ext xmlns:c16="http://schemas.microsoft.com/office/drawing/2014/chart" uri="{C3380CC4-5D6E-409C-BE32-E72D297353CC}">
                <c16:uniqueId val="{000004AF-280A-4CC8-864C-E6F154A5A56B}"/>
              </c:ext>
            </c:extLst>
          </c:dPt>
          <c:dPt>
            <c:idx val="599"/>
            <c:invertIfNegative val="1"/>
            <c:bubble3D val="0"/>
            <c:spPr>
              <a:solidFill>
                <a:srgbClr val="AEABAB"/>
              </a:solidFill>
            </c:spPr>
            <c:extLst>
              <c:ext xmlns:c16="http://schemas.microsoft.com/office/drawing/2014/chart" uri="{C3380CC4-5D6E-409C-BE32-E72D297353CC}">
                <c16:uniqueId val="{000004B1-280A-4CC8-864C-E6F154A5A56B}"/>
              </c:ext>
            </c:extLst>
          </c:dPt>
          <c:dPt>
            <c:idx val="600"/>
            <c:invertIfNegative val="1"/>
            <c:bubble3D val="0"/>
            <c:spPr>
              <a:solidFill>
                <a:srgbClr val="AEABAB"/>
              </a:solidFill>
            </c:spPr>
            <c:extLst>
              <c:ext xmlns:c16="http://schemas.microsoft.com/office/drawing/2014/chart" uri="{C3380CC4-5D6E-409C-BE32-E72D297353CC}">
                <c16:uniqueId val="{000004B3-280A-4CC8-864C-E6F154A5A56B}"/>
              </c:ext>
            </c:extLst>
          </c:dPt>
          <c:dPt>
            <c:idx val="601"/>
            <c:invertIfNegative val="1"/>
            <c:bubble3D val="0"/>
            <c:spPr>
              <a:solidFill>
                <a:srgbClr val="AEABAB"/>
              </a:solidFill>
            </c:spPr>
            <c:extLst>
              <c:ext xmlns:c16="http://schemas.microsoft.com/office/drawing/2014/chart" uri="{C3380CC4-5D6E-409C-BE32-E72D297353CC}">
                <c16:uniqueId val="{000004B5-280A-4CC8-864C-E6F154A5A56B}"/>
              </c:ext>
            </c:extLst>
          </c:dPt>
          <c:dPt>
            <c:idx val="602"/>
            <c:invertIfNegative val="1"/>
            <c:bubble3D val="0"/>
            <c:spPr>
              <a:solidFill>
                <a:srgbClr val="AEABAB"/>
              </a:solidFill>
            </c:spPr>
            <c:extLst>
              <c:ext xmlns:c16="http://schemas.microsoft.com/office/drawing/2014/chart" uri="{C3380CC4-5D6E-409C-BE32-E72D297353CC}">
                <c16:uniqueId val="{000004B7-280A-4CC8-864C-E6F154A5A56B}"/>
              </c:ext>
            </c:extLst>
          </c:dPt>
          <c:dPt>
            <c:idx val="603"/>
            <c:invertIfNegative val="1"/>
            <c:bubble3D val="0"/>
            <c:spPr>
              <a:solidFill>
                <a:srgbClr val="AEABAB"/>
              </a:solidFill>
            </c:spPr>
            <c:extLst>
              <c:ext xmlns:c16="http://schemas.microsoft.com/office/drawing/2014/chart" uri="{C3380CC4-5D6E-409C-BE32-E72D297353CC}">
                <c16:uniqueId val="{000004B9-280A-4CC8-864C-E6F154A5A56B}"/>
              </c:ext>
            </c:extLst>
          </c:dPt>
          <c:dPt>
            <c:idx val="604"/>
            <c:invertIfNegative val="1"/>
            <c:bubble3D val="0"/>
            <c:spPr>
              <a:solidFill>
                <a:srgbClr val="AEABAB"/>
              </a:solidFill>
            </c:spPr>
            <c:extLst>
              <c:ext xmlns:c16="http://schemas.microsoft.com/office/drawing/2014/chart" uri="{C3380CC4-5D6E-409C-BE32-E72D297353CC}">
                <c16:uniqueId val="{000004BB-280A-4CC8-864C-E6F154A5A56B}"/>
              </c:ext>
            </c:extLst>
          </c:dPt>
          <c:dPt>
            <c:idx val="605"/>
            <c:invertIfNegative val="1"/>
            <c:bubble3D val="0"/>
            <c:spPr>
              <a:solidFill>
                <a:srgbClr val="AEABAB"/>
              </a:solidFill>
            </c:spPr>
            <c:extLst>
              <c:ext xmlns:c16="http://schemas.microsoft.com/office/drawing/2014/chart" uri="{C3380CC4-5D6E-409C-BE32-E72D297353CC}">
                <c16:uniqueId val="{000004BD-280A-4CC8-864C-E6F154A5A56B}"/>
              </c:ext>
            </c:extLst>
          </c:dPt>
          <c:dPt>
            <c:idx val="606"/>
            <c:invertIfNegative val="1"/>
            <c:bubble3D val="0"/>
            <c:spPr>
              <a:solidFill>
                <a:srgbClr val="AEABAB"/>
              </a:solidFill>
            </c:spPr>
            <c:extLst>
              <c:ext xmlns:c16="http://schemas.microsoft.com/office/drawing/2014/chart" uri="{C3380CC4-5D6E-409C-BE32-E72D297353CC}">
                <c16:uniqueId val="{000004BF-280A-4CC8-864C-E6F154A5A56B}"/>
              </c:ext>
            </c:extLst>
          </c:dPt>
          <c:dPt>
            <c:idx val="607"/>
            <c:invertIfNegative val="1"/>
            <c:bubble3D val="0"/>
            <c:spPr>
              <a:solidFill>
                <a:srgbClr val="AEABAB"/>
              </a:solidFill>
            </c:spPr>
            <c:extLst>
              <c:ext xmlns:c16="http://schemas.microsoft.com/office/drawing/2014/chart" uri="{C3380CC4-5D6E-409C-BE32-E72D297353CC}">
                <c16:uniqueId val="{000004C1-280A-4CC8-864C-E6F154A5A56B}"/>
              </c:ext>
            </c:extLst>
          </c:dPt>
          <c:dPt>
            <c:idx val="608"/>
            <c:invertIfNegative val="1"/>
            <c:bubble3D val="0"/>
            <c:spPr>
              <a:solidFill>
                <a:srgbClr val="AEABAB"/>
              </a:solidFill>
            </c:spPr>
            <c:extLst>
              <c:ext xmlns:c16="http://schemas.microsoft.com/office/drawing/2014/chart" uri="{C3380CC4-5D6E-409C-BE32-E72D297353CC}">
                <c16:uniqueId val="{000004C3-280A-4CC8-864C-E6F154A5A56B}"/>
              </c:ext>
            </c:extLst>
          </c:dPt>
          <c:dPt>
            <c:idx val="609"/>
            <c:invertIfNegative val="1"/>
            <c:bubble3D val="0"/>
            <c:spPr>
              <a:solidFill>
                <a:srgbClr val="AEABAB"/>
              </a:solidFill>
            </c:spPr>
            <c:extLst>
              <c:ext xmlns:c16="http://schemas.microsoft.com/office/drawing/2014/chart" uri="{C3380CC4-5D6E-409C-BE32-E72D297353CC}">
                <c16:uniqueId val="{000004C5-280A-4CC8-864C-E6F154A5A56B}"/>
              </c:ext>
            </c:extLst>
          </c:dPt>
          <c:dPt>
            <c:idx val="610"/>
            <c:invertIfNegative val="1"/>
            <c:bubble3D val="0"/>
            <c:spPr>
              <a:solidFill>
                <a:srgbClr val="AEABAB"/>
              </a:solidFill>
            </c:spPr>
            <c:extLst>
              <c:ext xmlns:c16="http://schemas.microsoft.com/office/drawing/2014/chart" uri="{C3380CC4-5D6E-409C-BE32-E72D297353CC}">
                <c16:uniqueId val="{000004C7-280A-4CC8-864C-E6F154A5A56B}"/>
              </c:ext>
            </c:extLst>
          </c:dPt>
          <c:dPt>
            <c:idx val="611"/>
            <c:invertIfNegative val="1"/>
            <c:bubble3D val="0"/>
            <c:spPr>
              <a:solidFill>
                <a:srgbClr val="AEABAB"/>
              </a:solidFill>
            </c:spPr>
            <c:extLst>
              <c:ext xmlns:c16="http://schemas.microsoft.com/office/drawing/2014/chart" uri="{C3380CC4-5D6E-409C-BE32-E72D297353CC}">
                <c16:uniqueId val="{000004C9-280A-4CC8-864C-E6F154A5A56B}"/>
              </c:ext>
            </c:extLst>
          </c:dPt>
          <c:dPt>
            <c:idx val="612"/>
            <c:invertIfNegative val="1"/>
            <c:bubble3D val="0"/>
            <c:spPr>
              <a:solidFill>
                <a:srgbClr val="AEABAB"/>
              </a:solidFill>
            </c:spPr>
            <c:extLst>
              <c:ext xmlns:c16="http://schemas.microsoft.com/office/drawing/2014/chart" uri="{C3380CC4-5D6E-409C-BE32-E72D297353CC}">
                <c16:uniqueId val="{000004CB-280A-4CC8-864C-E6F154A5A56B}"/>
              </c:ext>
            </c:extLst>
          </c:dPt>
          <c:dPt>
            <c:idx val="613"/>
            <c:invertIfNegative val="1"/>
            <c:bubble3D val="0"/>
            <c:spPr>
              <a:solidFill>
                <a:srgbClr val="AEABAB"/>
              </a:solidFill>
            </c:spPr>
            <c:extLst>
              <c:ext xmlns:c16="http://schemas.microsoft.com/office/drawing/2014/chart" uri="{C3380CC4-5D6E-409C-BE32-E72D297353CC}">
                <c16:uniqueId val="{000004CD-280A-4CC8-864C-E6F154A5A56B}"/>
              </c:ext>
            </c:extLst>
          </c:dPt>
          <c:dPt>
            <c:idx val="614"/>
            <c:invertIfNegative val="1"/>
            <c:bubble3D val="0"/>
            <c:spPr>
              <a:solidFill>
                <a:srgbClr val="AEABAB"/>
              </a:solidFill>
            </c:spPr>
            <c:extLst>
              <c:ext xmlns:c16="http://schemas.microsoft.com/office/drawing/2014/chart" uri="{C3380CC4-5D6E-409C-BE32-E72D297353CC}">
                <c16:uniqueId val="{000004CF-280A-4CC8-864C-E6F154A5A56B}"/>
              </c:ext>
            </c:extLst>
          </c:dPt>
          <c:dPt>
            <c:idx val="615"/>
            <c:invertIfNegative val="1"/>
            <c:bubble3D val="0"/>
            <c:spPr>
              <a:solidFill>
                <a:srgbClr val="AEABAB"/>
              </a:solidFill>
            </c:spPr>
            <c:extLst>
              <c:ext xmlns:c16="http://schemas.microsoft.com/office/drawing/2014/chart" uri="{C3380CC4-5D6E-409C-BE32-E72D297353CC}">
                <c16:uniqueId val="{000004D1-280A-4CC8-864C-E6F154A5A56B}"/>
              </c:ext>
            </c:extLst>
          </c:dPt>
          <c:dPt>
            <c:idx val="616"/>
            <c:invertIfNegative val="1"/>
            <c:bubble3D val="0"/>
            <c:spPr>
              <a:solidFill>
                <a:srgbClr val="AEABAB"/>
              </a:solidFill>
            </c:spPr>
            <c:extLst>
              <c:ext xmlns:c16="http://schemas.microsoft.com/office/drawing/2014/chart" uri="{C3380CC4-5D6E-409C-BE32-E72D297353CC}">
                <c16:uniqueId val="{000004D3-280A-4CC8-864C-E6F154A5A56B}"/>
              </c:ext>
            </c:extLst>
          </c:dPt>
          <c:dPt>
            <c:idx val="617"/>
            <c:invertIfNegative val="1"/>
            <c:bubble3D val="0"/>
            <c:spPr>
              <a:solidFill>
                <a:srgbClr val="AEABAB"/>
              </a:solidFill>
            </c:spPr>
            <c:extLst>
              <c:ext xmlns:c16="http://schemas.microsoft.com/office/drawing/2014/chart" uri="{C3380CC4-5D6E-409C-BE32-E72D297353CC}">
                <c16:uniqueId val="{000004D5-280A-4CC8-864C-E6F154A5A56B}"/>
              </c:ext>
            </c:extLst>
          </c:dPt>
          <c:dPt>
            <c:idx val="618"/>
            <c:invertIfNegative val="1"/>
            <c:bubble3D val="0"/>
            <c:spPr>
              <a:solidFill>
                <a:srgbClr val="AEABAB"/>
              </a:solidFill>
            </c:spPr>
            <c:extLst>
              <c:ext xmlns:c16="http://schemas.microsoft.com/office/drawing/2014/chart" uri="{C3380CC4-5D6E-409C-BE32-E72D297353CC}">
                <c16:uniqueId val="{000004D7-280A-4CC8-864C-E6F154A5A56B}"/>
              </c:ext>
            </c:extLst>
          </c:dPt>
          <c:dPt>
            <c:idx val="619"/>
            <c:invertIfNegative val="1"/>
            <c:bubble3D val="0"/>
            <c:spPr>
              <a:solidFill>
                <a:srgbClr val="AEABAB"/>
              </a:solidFill>
            </c:spPr>
            <c:extLst>
              <c:ext xmlns:c16="http://schemas.microsoft.com/office/drawing/2014/chart" uri="{C3380CC4-5D6E-409C-BE32-E72D297353CC}">
                <c16:uniqueId val="{000004D9-280A-4CC8-864C-E6F154A5A56B}"/>
              </c:ext>
            </c:extLst>
          </c:dPt>
          <c:dPt>
            <c:idx val="620"/>
            <c:invertIfNegative val="1"/>
            <c:bubble3D val="0"/>
            <c:spPr>
              <a:solidFill>
                <a:srgbClr val="AEABAB"/>
              </a:solidFill>
            </c:spPr>
            <c:extLst>
              <c:ext xmlns:c16="http://schemas.microsoft.com/office/drawing/2014/chart" uri="{C3380CC4-5D6E-409C-BE32-E72D297353CC}">
                <c16:uniqueId val="{000004DB-280A-4CC8-864C-E6F154A5A56B}"/>
              </c:ext>
            </c:extLst>
          </c:dPt>
          <c:dPt>
            <c:idx val="621"/>
            <c:invertIfNegative val="1"/>
            <c:bubble3D val="0"/>
            <c:spPr>
              <a:solidFill>
                <a:srgbClr val="AEABAB"/>
              </a:solidFill>
            </c:spPr>
            <c:extLst>
              <c:ext xmlns:c16="http://schemas.microsoft.com/office/drawing/2014/chart" uri="{C3380CC4-5D6E-409C-BE32-E72D297353CC}">
                <c16:uniqueId val="{000004DD-280A-4CC8-864C-E6F154A5A56B}"/>
              </c:ext>
            </c:extLst>
          </c:dPt>
          <c:dPt>
            <c:idx val="622"/>
            <c:invertIfNegative val="1"/>
            <c:bubble3D val="0"/>
            <c:spPr>
              <a:solidFill>
                <a:srgbClr val="AEABAB"/>
              </a:solidFill>
            </c:spPr>
            <c:extLst>
              <c:ext xmlns:c16="http://schemas.microsoft.com/office/drawing/2014/chart" uri="{C3380CC4-5D6E-409C-BE32-E72D297353CC}">
                <c16:uniqueId val="{000004DF-280A-4CC8-864C-E6F154A5A56B}"/>
              </c:ext>
            </c:extLst>
          </c:dPt>
          <c:dPt>
            <c:idx val="623"/>
            <c:invertIfNegative val="1"/>
            <c:bubble3D val="0"/>
            <c:spPr>
              <a:solidFill>
                <a:srgbClr val="AEABAB"/>
              </a:solidFill>
            </c:spPr>
            <c:extLst>
              <c:ext xmlns:c16="http://schemas.microsoft.com/office/drawing/2014/chart" uri="{C3380CC4-5D6E-409C-BE32-E72D297353CC}">
                <c16:uniqueId val="{000004E1-280A-4CC8-864C-E6F154A5A56B}"/>
              </c:ext>
            </c:extLst>
          </c:dPt>
          <c:dPt>
            <c:idx val="624"/>
            <c:invertIfNegative val="1"/>
            <c:bubble3D val="0"/>
            <c:spPr>
              <a:solidFill>
                <a:srgbClr val="AEABAB"/>
              </a:solidFill>
            </c:spPr>
            <c:extLst>
              <c:ext xmlns:c16="http://schemas.microsoft.com/office/drawing/2014/chart" uri="{C3380CC4-5D6E-409C-BE32-E72D297353CC}">
                <c16:uniqueId val="{000004E3-280A-4CC8-864C-E6F154A5A56B}"/>
              </c:ext>
            </c:extLst>
          </c:dPt>
          <c:dPt>
            <c:idx val="625"/>
            <c:invertIfNegative val="1"/>
            <c:bubble3D val="0"/>
            <c:spPr>
              <a:solidFill>
                <a:srgbClr val="AEABAB"/>
              </a:solidFill>
            </c:spPr>
            <c:extLst>
              <c:ext xmlns:c16="http://schemas.microsoft.com/office/drawing/2014/chart" uri="{C3380CC4-5D6E-409C-BE32-E72D297353CC}">
                <c16:uniqueId val="{000004E5-280A-4CC8-864C-E6F154A5A56B}"/>
              </c:ext>
            </c:extLst>
          </c:dPt>
          <c:dPt>
            <c:idx val="626"/>
            <c:invertIfNegative val="1"/>
            <c:bubble3D val="0"/>
            <c:spPr>
              <a:solidFill>
                <a:srgbClr val="AEABAB"/>
              </a:solidFill>
            </c:spPr>
            <c:extLst>
              <c:ext xmlns:c16="http://schemas.microsoft.com/office/drawing/2014/chart" uri="{C3380CC4-5D6E-409C-BE32-E72D297353CC}">
                <c16:uniqueId val="{000004E7-280A-4CC8-864C-E6F154A5A56B}"/>
              </c:ext>
            </c:extLst>
          </c:dPt>
          <c:dPt>
            <c:idx val="627"/>
            <c:invertIfNegative val="1"/>
            <c:bubble3D val="0"/>
            <c:spPr>
              <a:solidFill>
                <a:srgbClr val="AEABAB"/>
              </a:solidFill>
            </c:spPr>
            <c:extLst>
              <c:ext xmlns:c16="http://schemas.microsoft.com/office/drawing/2014/chart" uri="{C3380CC4-5D6E-409C-BE32-E72D297353CC}">
                <c16:uniqueId val="{000004E9-280A-4CC8-864C-E6F154A5A56B}"/>
              </c:ext>
            </c:extLst>
          </c:dPt>
          <c:dPt>
            <c:idx val="628"/>
            <c:invertIfNegative val="1"/>
            <c:bubble3D val="0"/>
            <c:spPr>
              <a:solidFill>
                <a:srgbClr val="AEABAB"/>
              </a:solidFill>
            </c:spPr>
            <c:extLst>
              <c:ext xmlns:c16="http://schemas.microsoft.com/office/drawing/2014/chart" uri="{C3380CC4-5D6E-409C-BE32-E72D297353CC}">
                <c16:uniqueId val="{000004EB-280A-4CC8-864C-E6F154A5A56B}"/>
              </c:ext>
            </c:extLst>
          </c:dPt>
          <c:dPt>
            <c:idx val="629"/>
            <c:invertIfNegative val="1"/>
            <c:bubble3D val="0"/>
            <c:spPr>
              <a:solidFill>
                <a:srgbClr val="AEABAB"/>
              </a:solidFill>
            </c:spPr>
            <c:extLst>
              <c:ext xmlns:c16="http://schemas.microsoft.com/office/drawing/2014/chart" uri="{C3380CC4-5D6E-409C-BE32-E72D297353CC}">
                <c16:uniqueId val="{000004ED-280A-4CC8-864C-E6F154A5A56B}"/>
              </c:ext>
            </c:extLst>
          </c:dPt>
          <c:dPt>
            <c:idx val="630"/>
            <c:invertIfNegative val="1"/>
            <c:bubble3D val="0"/>
            <c:spPr>
              <a:solidFill>
                <a:srgbClr val="AEABAB"/>
              </a:solidFill>
            </c:spPr>
            <c:extLst>
              <c:ext xmlns:c16="http://schemas.microsoft.com/office/drawing/2014/chart" uri="{C3380CC4-5D6E-409C-BE32-E72D297353CC}">
                <c16:uniqueId val="{000004EF-280A-4CC8-864C-E6F154A5A56B}"/>
              </c:ext>
            </c:extLst>
          </c:dPt>
          <c:dPt>
            <c:idx val="631"/>
            <c:invertIfNegative val="1"/>
            <c:bubble3D val="0"/>
            <c:spPr>
              <a:solidFill>
                <a:srgbClr val="AEABAB"/>
              </a:solidFill>
            </c:spPr>
            <c:extLst>
              <c:ext xmlns:c16="http://schemas.microsoft.com/office/drawing/2014/chart" uri="{C3380CC4-5D6E-409C-BE32-E72D297353CC}">
                <c16:uniqueId val="{000004F1-280A-4CC8-864C-E6F154A5A56B}"/>
              </c:ext>
            </c:extLst>
          </c:dPt>
          <c:dPt>
            <c:idx val="632"/>
            <c:invertIfNegative val="1"/>
            <c:bubble3D val="0"/>
            <c:spPr>
              <a:solidFill>
                <a:srgbClr val="AEABAB"/>
              </a:solidFill>
            </c:spPr>
            <c:extLst>
              <c:ext xmlns:c16="http://schemas.microsoft.com/office/drawing/2014/chart" uri="{C3380CC4-5D6E-409C-BE32-E72D297353CC}">
                <c16:uniqueId val="{000004F3-280A-4CC8-864C-E6F154A5A56B}"/>
              </c:ext>
            </c:extLst>
          </c:dPt>
          <c:dPt>
            <c:idx val="633"/>
            <c:invertIfNegative val="1"/>
            <c:bubble3D val="0"/>
            <c:spPr>
              <a:solidFill>
                <a:srgbClr val="AEABAB"/>
              </a:solidFill>
            </c:spPr>
            <c:extLst>
              <c:ext xmlns:c16="http://schemas.microsoft.com/office/drawing/2014/chart" uri="{C3380CC4-5D6E-409C-BE32-E72D297353CC}">
                <c16:uniqueId val="{000004F5-280A-4CC8-864C-E6F154A5A56B}"/>
              </c:ext>
            </c:extLst>
          </c:dPt>
          <c:dPt>
            <c:idx val="634"/>
            <c:invertIfNegative val="1"/>
            <c:bubble3D val="0"/>
            <c:spPr>
              <a:solidFill>
                <a:srgbClr val="AEABAB"/>
              </a:solidFill>
            </c:spPr>
            <c:extLst>
              <c:ext xmlns:c16="http://schemas.microsoft.com/office/drawing/2014/chart" uri="{C3380CC4-5D6E-409C-BE32-E72D297353CC}">
                <c16:uniqueId val="{000004F7-280A-4CC8-864C-E6F154A5A56B}"/>
              </c:ext>
            </c:extLst>
          </c:dPt>
          <c:dPt>
            <c:idx val="635"/>
            <c:invertIfNegative val="1"/>
            <c:bubble3D val="0"/>
            <c:spPr>
              <a:solidFill>
                <a:srgbClr val="AEABAB"/>
              </a:solidFill>
            </c:spPr>
            <c:extLst>
              <c:ext xmlns:c16="http://schemas.microsoft.com/office/drawing/2014/chart" uri="{C3380CC4-5D6E-409C-BE32-E72D297353CC}">
                <c16:uniqueId val="{000004F9-280A-4CC8-864C-E6F154A5A56B}"/>
              </c:ext>
            </c:extLst>
          </c:dPt>
          <c:dPt>
            <c:idx val="636"/>
            <c:invertIfNegative val="1"/>
            <c:bubble3D val="0"/>
            <c:spPr>
              <a:solidFill>
                <a:srgbClr val="AEABAB"/>
              </a:solidFill>
            </c:spPr>
            <c:extLst>
              <c:ext xmlns:c16="http://schemas.microsoft.com/office/drawing/2014/chart" uri="{C3380CC4-5D6E-409C-BE32-E72D297353CC}">
                <c16:uniqueId val="{000004FB-280A-4CC8-864C-E6F154A5A56B}"/>
              </c:ext>
            </c:extLst>
          </c:dPt>
          <c:dPt>
            <c:idx val="637"/>
            <c:invertIfNegative val="1"/>
            <c:bubble3D val="0"/>
            <c:spPr>
              <a:solidFill>
                <a:srgbClr val="AEABAB"/>
              </a:solidFill>
            </c:spPr>
            <c:extLst>
              <c:ext xmlns:c16="http://schemas.microsoft.com/office/drawing/2014/chart" uri="{C3380CC4-5D6E-409C-BE32-E72D297353CC}">
                <c16:uniqueId val="{000004FD-280A-4CC8-864C-E6F154A5A56B}"/>
              </c:ext>
            </c:extLst>
          </c:dPt>
          <c:dPt>
            <c:idx val="638"/>
            <c:invertIfNegative val="1"/>
            <c:bubble3D val="0"/>
            <c:spPr>
              <a:solidFill>
                <a:srgbClr val="AEABAB"/>
              </a:solidFill>
            </c:spPr>
            <c:extLst>
              <c:ext xmlns:c16="http://schemas.microsoft.com/office/drawing/2014/chart" uri="{C3380CC4-5D6E-409C-BE32-E72D297353CC}">
                <c16:uniqueId val="{000004FF-280A-4CC8-864C-E6F154A5A56B}"/>
              </c:ext>
            </c:extLst>
          </c:dPt>
          <c:dPt>
            <c:idx val="639"/>
            <c:invertIfNegative val="1"/>
            <c:bubble3D val="0"/>
            <c:spPr>
              <a:solidFill>
                <a:srgbClr val="AEABAB"/>
              </a:solidFill>
            </c:spPr>
            <c:extLst>
              <c:ext xmlns:c16="http://schemas.microsoft.com/office/drawing/2014/chart" uri="{C3380CC4-5D6E-409C-BE32-E72D297353CC}">
                <c16:uniqueId val="{00000501-280A-4CC8-864C-E6F154A5A56B}"/>
              </c:ext>
            </c:extLst>
          </c:dPt>
          <c:dPt>
            <c:idx val="640"/>
            <c:invertIfNegative val="1"/>
            <c:bubble3D val="0"/>
            <c:spPr>
              <a:solidFill>
                <a:srgbClr val="AEABAB"/>
              </a:solidFill>
            </c:spPr>
            <c:extLst>
              <c:ext xmlns:c16="http://schemas.microsoft.com/office/drawing/2014/chart" uri="{C3380CC4-5D6E-409C-BE32-E72D297353CC}">
                <c16:uniqueId val="{00000503-280A-4CC8-864C-E6F154A5A56B}"/>
              </c:ext>
            </c:extLst>
          </c:dPt>
          <c:dPt>
            <c:idx val="641"/>
            <c:invertIfNegative val="1"/>
            <c:bubble3D val="0"/>
            <c:spPr>
              <a:solidFill>
                <a:srgbClr val="AEABAB"/>
              </a:solidFill>
            </c:spPr>
            <c:extLst>
              <c:ext xmlns:c16="http://schemas.microsoft.com/office/drawing/2014/chart" uri="{C3380CC4-5D6E-409C-BE32-E72D297353CC}">
                <c16:uniqueId val="{00000505-280A-4CC8-864C-E6F154A5A56B}"/>
              </c:ext>
            </c:extLst>
          </c:dPt>
          <c:dPt>
            <c:idx val="642"/>
            <c:invertIfNegative val="1"/>
            <c:bubble3D val="0"/>
            <c:spPr>
              <a:solidFill>
                <a:srgbClr val="AEABAB"/>
              </a:solidFill>
            </c:spPr>
            <c:extLst>
              <c:ext xmlns:c16="http://schemas.microsoft.com/office/drawing/2014/chart" uri="{C3380CC4-5D6E-409C-BE32-E72D297353CC}">
                <c16:uniqueId val="{00000507-280A-4CC8-864C-E6F154A5A56B}"/>
              </c:ext>
            </c:extLst>
          </c:dPt>
          <c:dPt>
            <c:idx val="643"/>
            <c:invertIfNegative val="1"/>
            <c:bubble3D val="0"/>
            <c:spPr>
              <a:solidFill>
                <a:srgbClr val="AEABAB"/>
              </a:solidFill>
            </c:spPr>
            <c:extLst>
              <c:ext xmlns:c16="http://schemas.microsoft.com/office/drawing/2014/chart" uri="{C3380CC4-5D6E-409C-BE32-E72D297353CC}">
                <c16:uniqueId val="{00000509-280A-4CC8-864C-E6F154A5A56B}"/>
              </c:ext>
            </c:extLst>
          </c:dPt>
          <c:dPt>
            <c:idx val="644"/>
            <c:invertIfNegative val="1"/>
            <c:bubble3D val="0"/>
            <c:spPr>
              <a:solidFill>
                <a:srgbClr val="AEABAB"/>
              </a:solidFill>
            </c:spPr>
            <c:extLst>
              <c:ext xmlns:c16="http://schemas.microsoft.com/office/drawing/2014/chart" uri="{C3380CC4-5D6E-409C-BE32-E72D297353CC}">
                <c16:uniqueId val="{0000050B-280A-4CC8-864C-E6F154A5A56B}"/>
              </c:ext>
            </c:extLst>
          </c:dPt>
          <c:dPt>
            <c:idx val="645"/>
            <c:invertIfNegative val="1"/>
            <c:bubble3D val="0"/>
            <c:spPr>
              <a:solidFill>
                <a:srgbClr val="AEABAB"/>
              </a:solidFill>
            </c:spPr>
            <c:extLst>
              <c:ext xmlns:c16="http://schemas.microsoft.com/office/drawing/2014/chart" uri="{C3380CC4-5D6E-409C-BE32-E72D297353CC}">
                <c16:uniqueId val="{0000050D-280A-4CC8-864C-E6F154A5A56B}"/>
              </c:ext>
            </c:extLst>
          </c:dPt>
          <c:dPt>
            <c:idx val="646"/>
            <c:invertIfNegative val="1"/>
            <c:bubble3D val="0"/>
            <c:spPr>
              <a:solidFill>
                <a:srgbClr val="AEABAB"/>
              </a:solidFill>
            </c:spPr>
            <c:extLst>
              <c:ext xmlns:c16="http://schemas.microsoft.com/office/drawing/2014/chart" uri="{C3380CC4-5D6E-409C-BE32-E72D297353CC}">
                <c16:uniqueId val="{0000050F-280A-4CC8-864C-E6F154A5A56B}"/>
              </c:ext>
            </c:extLst>
          </c:dPt>
          <c:dPt>
            <c:idx val="647"/>
            <c:invertIfNegative val="1"/>
            <c:bubble3D val="0"/>
            <c:spPr>
              <a:solidFill>
                <a:srgbClr val="AEABAB"/>
              </a:solidFill>
            </c:spPr>
            <c:extLst>
              <c:ext xmlns:c16="http://schemas.microsoft.com/office/drawing/2014/chart" uri="{C3380CC4-5D6E-409C-BE32-E72D297353CC}">
                <c16:uniqueId val="{00000511-280A-4CC8-864C-E6F154A5A56B}"/>
              </c:ext>
            </c:extLst>
          </c:dPt>
          <c:dPt>
            <c:idx val="648"/>
            <c:invertIfNegative val="1"/>
            <c:bubble3D val="0"/>
            <c:spPr>
              <a:solidFill>
                <a:srgbClr val="AEABAB"/>
              </a:solidFill>
            </c:spPr>
            <c:extLst>
              <c:ext xmlns:c16="http://schemas.microsoft.com/office/drawing/2014/chart" uri="{C3380CC4-5D6E-409C-BE32-E72D297353CC}">
                <c16:uniqueId val="{00000513-280A-4CC8-864C-E6F154A5A56B}"/>
              </c:ext>
            </c:extLst>
          </c:dPt>
          <c:dPt>
            <c:idx val="649"/>
            <c:invertIfNegative val="1"/>
            <c:bubble3D val="0"/>
            <c:spPr>
              <a:solidFill>
                <a:srgbClr val="AEABAB"/>
              </a:solidFill>
            </c:spPr>
            <c:extLst>
              <c:ext xmlns:c16="http://schemas.microsoft.com/office/drawing/2014/chart" uri="{C3380CC4-5D6E-409C-BE32-E72D297353CC}">
                <c16:uniqueId val="{00000515-280A-4CC8-864C-E6F154A5A56B}"/>
              </c:ext>
            </c:extLst>
          </c:dPt>
          <c:dPt>
            <c:idx val="650"/>
            <c:invertIfNegative val="1"/>
            <c:bubble3D val="0"/>
            <c:spPr>
              <a:solidFill>
                <a:srgbClr val="AEABAB"/>
              </a:solidFill>
            </c:spPr>
            <c:extLst>
              <c:ext xmlns:c16="http://schemas.microsoft.com/office/drawing/2014/chart" uri="{C3380CC4-5D6E-409C-BE32-E72D297353CC}">
                <c16:uniqueId val="{00000517-280A-4CC8-864C-E6F154A5A56B}"/>
              </c:ext>
            </c:extLst>
          </c:dPt>
          <c:dPt>
            <c:idx val="651"/>
            <c:invertIfNegative val="1"/>
            <c:bubble3D val="0"/>
            <c:spPr>
              <a:solidFill>
                <a:srgbClr val="AEABAB"/>
              </a:solidFill>
            </c:spPr>
            <c:extLst>
              <c:ext xmlns:c16="http://schemas.microsoft.com/office/drawing/2014/chart" uri="{C3380CC4-5D6E-409C-BE32-E72D297353CC}">
                <c16:uniqueId val="{00000519-280A-4CC8-864C-E6F154A5A56B}"/>
              </c:ext>
            </c:extLst>
          </c:dPt>
          <c:dPt>
            <c:idx val="652"/>
            <c:invertIfNegative val="1"/>
            <c:bubble3D val="0"/>
            <c:spPr>
              <a:solidFill>
                <a:srgbClr val="AEABAB"/>
              </a:solidFill>
            </c:spPr>
            <c:extLst>
              <c:ext xmlns:c16="http://schemas.microsoft.com/office/drawing/2014/chart" uri="{C3380CC4-5D6E-409C-BE32-E72D297353CC}">
                <c16:uniqueId val="{0000051B-280A-4CC8-864C-E6F154A5A56B}"/>
              </c:ext>
            </c:extLst>
          </c:dPt>
          <c:dPt>
            <c:idx val="653"/>
            <c:invertIfNegative val="1"/>
            <c:bubble3D val="0"/>
            <c:spPr>
              <a:solidFill>
                <a:srgbClr val="AEABAB"/>
              </a:solidFill>
            </c:spPr>
            <c:extLst>
              <c:ext xmlns:c16="http://schemas.microsoft.com/office/drawing/2014/chart" uri="{C3380CC4-5D6E-409C-BE32-E72D297353CC}">
                <c16:uniqueId val="{0000051D-280A-4CC8-864C-E6F154A5A56B}"/>
              </c:ext>
            </c:extLst>
          </c:dPt>
          <c:dPt>
            <c:idx val="654"/>
            <c:invertIfNegative val="1"/>
            <c:bubble3D val="0"/>
            <c:spPr>
              <a:solidFill>
                <a:srgbClr val="AEABAB"/>
              </a:solidFill>
            </c:spPr>
            <c:extLst>
              <c:ext xmlns:c16="http://schemas.microsoft.com/office/drawing/2014/chart" uri="{C3380CC4-5D6E-409C-BE32-E72D297353CC}">
                <c16:uniqueId val="{0000051F-280A-4CC8-864C-E6F154A5A56B}"/>
              </c:ext>
            </c:extLst>
          </c:dPt>
          <c:dPt>
            <c:idx val="655"/>
            <c:invertIfNegative val="1"/>
            <c:bubble3D val="0"/>
            <c:spPr>
              <a:solidFill>
                <a:srgbClr val="AEABAB"/>
              </a:solidFill>
            </c:spPr>
            <c:extLst>
              <c:ext xmlns:c16="http://schemas.microsoft.com/office/drawing/2014/chart" uri="{C3380CC4-5D6E-409C-BE32-E72D297353CC}">
                <c16:uniqueId val="{00000521-280A-4CC8-864C-E6F154A5A56B}"/>
              </c:ext>
            </c:extLst>
          </c:dPt>
          <c:dPt>
            <c:idx val="656"/>
            <c:invertIfNegative val="1"/>
            <c:bubble3D val="0"/>
            <c:spPr>
              <a:solidFill>
                <a:srgbClr val="AEABAB"/>
              </a:solidFill>
            </c:spPr>
            <c:extLst>
              <c:ext xmlns:c16="http://schemas.microsoft.com/office/drawing/2014/chart" uri="{C3380CC4-5D6E-409C-BE32-E72D297353CC}">
                <c16:uniqueId val="{00000523-280A-4CC8-864C-E6F154A5A56B}"/>
              </c:ext>
            </c:extLst>
          </c:dPt>
          <c:dPt>
            <c:idx val="657"/>
            <c:invertIfNegative val="1"/>
            <c:bubble3D val="0"/>
            <c:spPr>
              <a:solidFill>
                <a:srgbClr val="AEABAB"/>
              </a:solidFill>
            </c:spPr>
            <c:extLst>
              <c:ext xmlns:c16="http://schemas.microsoft.com/office/drawing/2014/chart" uri="{C3380CC4-5D6E-409C-BE32-E72D297353CC}">
                <c16:uniqueId val="{00000525-280A-4CC8-864C-E6F154A5A56B}"/>
              </c:ext>
            </c:extLst>
          </c:dPt>
          <c:dPt>
            <c:idx val="658"/>
            <c:invertIfNegative val="1"/>
            <c:bubble3D val="0"/>
            <c:spPr>
              <a:solidFill>
                <a:srgbClr val="AEABAB"/>
              </a:solidFill>
            </c:spPr>
            <c:extLst>
              <c:ext xmlns:c16="http://schemas.microsoft.com/office/drawing/2014/chart" uri="{C3380CC4-5D6E-409C-BE32-E72D297353CC}">
                <c16:uniqueId val="{00000527-280A-4CC8-864C-E6F154A5A56B}"/>
              </c:ext>
            </c:extLst>
          </c:dPt>
          <c:dPt>
            <c:idx val="659"/>
            <c:invertIfNegative val="1"/>
            <c:bubble3D val="0"/>
            <c:spPr>
              <a:solidFill>
                <a:srgbClr val="AEABAB"/>
              </a:solidFill>
            </c:spPr>
            <c:extLst>
              <c:ext xmlns:c16="http://schemas.microsoft.com/office/drawing/2014/chart" uri="{C3380CC4-5D6E-409C-BE32-E72D297353CC}">
                <c16:uniqueId val="{00000529-280A-4CC8-864C-E6F154A5A56B}"/>
              </c:ext>
            </c:extLst>
          </c:dPt>
          <c:dPt>
            <c:idx val="660"/>
            <c:invertIfNegative val="1"/>
            <c:bubble3D val="0"/>
            <c:spPr>
              <a:solidFill>
                <a:srgbClr val="AEABAB"/>
              </a:solidFill>
            </c:spPr>
            <c:extLst>
              <c:ext xmlns:c16="http://schemas.microsoft.com/office/drawing/2014/chart" uri="{C3380CC4-5D6E-409C-BE32-E72D297353CC}">
                <c16:uniqueId val="{0000052B-280A-4CC8-864C-E6F154A5A56B}"/>
              </c:ext>
            </c:extLst>
          </c:dPt>
          <c:dPt>
            <c:idx val="661"/>
            <c:invertIfNegative val="1"/>
            <c:bubble3D val="0"/>
            <c:spPr>
              <a:solidFill>
                <a:srgbClr val="AEABAB"/>
              </a:solidFill>
            </c:spPr>
            <c:extLst>
              <c:ext xmlns:c16="http://schemas.microsoft.com/office/drawing/2014/chart" uri="{C3380CC4-5D6E-409C-BE32-E72D297353CC}">
                <c16:uniqueId val="{0000052D-280A-4CC8-864C-E6F154A5A56B}"/>
              </c:ext>
            </c:extLst>
          </c:dPt>
          <c:dPt>
            <c:idx val="662"/>
            <c:invertIfNegative val="1"/>
            <c:bubble3D val="0"/>
            <c:spPr>
              <a:solidFill>
                <a:srgbClr val="AEABAB"/>
              </a:solidFill>
            </c:spPr>
            <c:extLst>
              <c:ext xmlns:c16="http://schemas.microsoft.com/office/drawing/2014/chart" uri="{C3380CC4-5D6E-409C-BE32-E72D297353CC}">
                <c16:uniqueId val="{0000052F-280A-4CC8-864C-E6F154A5A56B}"/>
              </c:ext>
            </c:extLst>
          </c:dPt>
          <c:dPt>
            <c:idx val="663"/>
            <c:invertIfNegative val="1"/>
            <c:bubble3D val="0"/>
            <c:spPr>
              <a:solidFill>
                <a:srgbClr val="AEABAB"/>
              </a:solidFill>
            </c:spPr>
            <c:extLst>
              <c:ext xmlns:c16="http://schemas.microsoft.com/office/drawing/2014/chart" uri="{C3380CC4-5D6E-409C-BE32-E72D297353CC}">
                <c16:uniqueId val="{00000531-280A-4CC8-864C-E6F154A5A56B}"/>
              </c:ext>
            </c:extLst>
          </c:dPt>
          <c:dPt>
            <c:idx val="664"/>
            <c:invertIfNegative val="1"/>
            <c:bubble3D val="0"/>
            <c:spPr>
              <a:solidFill>
                <a:srgbClr val="AEABAB"/>
              </a:solidFill>
            </c:spPr>
            <c:extLst>
              <c:ext xmlns:c16="http://schemas.microsoft.com/office/drawing/2014/chart" uri="{C3380CC4-5D6E-409C-BE32-E72D297353CC}">
                <c16:uniqueId val="{00000533-280A-4CC8-864C-E6F154A5A56B}"/>
              </c:ext>
            </c:extLst>
          </c:dPt>
          <c:dPt>
            <c:idx val="665"/>
            <c:invertIfNegative val="1"/>
            <c:bubble3D val="0"/>
            <c:spPr>
              <a:solidFill>
                <a:srgbClr val="AEABAB"/>
              </a:solidFill>
            </c:spPr>
            <c:extLst>
              <c:ext xmlns:c16="http://schemas.microsoft.com/office/drawing/2014/chart" uri="{C3380CC4-5D6E-409C-BE32-E72D297353CC}">
                <c16:uniqueId val="{00000535-280A-4CC8-864C-E6F154A5A56B}"/>
              </c:ext>
            </c:extLst>
          </c:dPt>
          <c:dPt>
            <c:idx val="666"/>
            <c:invertIfNegative val="1"/>
            <c:bubble3D val="0"/>
            <c:spPr>
              <a:solidFill>
                <a:srgbClr val="AEABAB"/>
              </a:solidFill>
            </c:spPr>
            <c:extLst>
              <c:ext xmlns:c16="http://schemas.microsoft.com/office/drawing/2014/chart" uri="{C3380CC4-5D6E-409C-BE32-E72D297353CC}">
                <c16:uniqueId val="{00000537-280A-4CC8-864C-E6F154A5A56B}"/>
              </c:ext>
            </c:extLst>
          </c:dPt>
          <c:dPt>
            <c:idx val="667"/>
            <c:invertIfNegative val="1"/>
            <c:bubble3D val="0"/>
            <c:spPr>
              <a:solidFill>
                <a:srgbClr val="AEABAB"/>
              </a:solidFill>
            </c:spPr>
            <c:extLst>
              <c:ext xmlns:c16="http://schemas.microsoft.com/office/drawing/2014/chart" uri="{C3380CC4-5D6E-409C-BE32-E72D297353CC}">
                <c16:uniqueId val="{00000539-280A-4CC8-864C-E6F154A5A56B}"/>
              </c:ext>
            </c:extLst>
          </c:dPt>
          <c:dPt>
            <c:idx val="668"/>
            <c:invertIfNegative val="1"/>
            <c:bubble3D val="0"/>
            <c:spPr>
              <a:solidFill>
                <a:srgbClr val="AEABAB"/>
              </a:solidFill>
            </c:spPr>
            <c:extLst>
              <c:ext xmlns:c16="http://schemas.microsoft.com/office/drawing/2014/chart" uri="{C3380CC4-5D6E-409C-BE32-E72D297353CC}">
                <c16:uniqueId val="{0000053B-280A-4CC8-864C-E6F154A5A56B}"/>
              </c:ext>
            </c:extLst>
          </c:dPt>
          <c:dPt>
            <c:idx val="669"/>
            <c:invertIfNegative val="1"/>
            <c:bubble3D val="0"/>
            <c:spPr>
              <a:solidFill>
                <a:srgbClr val="AEABAB"/>
              </a:solidFill>
            </c:spPr>
            <c:extLst>
              <c:ext xmlns:c16="http://schemas.microsoft.com/office/drawing/2014/chart" uri="{C3380CC4-5D6E-409C-BE32-E72D297353CC}">
                <c16:uniqueId val="{0000053D-280A-4CC8-864C-E6F154A5A56B}"/>
              </c:ext>
            </c:extLst>
          </c:dPt>
          <c:dPt>
            <c:idx val="670"/>
            <c:invertIfNegative val="1"/>
            <c:bubble3D val="0"/>
            <c:spPr>
              <a:solidFill>
                <a:srgbClr val="AEABAB"/>
              </a:solidFill>
            </c:spPr>
            <c:extLst>
              <c:ext xmlns:c16="http://schemas.microsoft.com/office/drawing/2014/chart" uri="{C3380CC4-5D6E-409C-BE32-E72D297353CC}">
                <c16:uniqueId val="{0000053F-280A-4CC8-864C-E6F154A5A56B}"/>
              </c:ext>
            </c:extLst>
          </c:dPt>
          <c:dPt>
            <c:idx val="671"/>
            <c:invertIfNegative val="1"/>
            <c:bubble3D val="0"/>
            <c:spPr>
              <a:solidFill>
                <a:srgbClr val="AEABAB"/>
              </a:solidFill>
            </c:spPr>
            <c:extLst>
              <c:ext xmlns:c16="http://schemas.microsoft.com/office/drawing/2014/chart" uri="{C3380CC4-5D6E-409C-BE32-E72D297353CC}">
                <c16:uniqueId val="{00000541-280A-4CC8-864C-E6F154A5A56B}"/>
              </c:ext>
            </c:extLst>
          </c:dPt>
          <c:dPt>
            <c:idx val="672"/>
            <c:invertIfNegative val="1"/>
            <c:bubble3D val="0"/>
            <c:spPr>
              <a:solidFill>
                <a:srgbClr val="AEABAB"/>
              </a:solidFill>
            </c:spPr>
            <c:extLst>
              <c:ext xmlns:c16="http://schemas.microsoft.com/office/drawing/2014/chart" uri="{C3380CC4-5D6E-409C-BE32-E72D297353CC}">
                <c16:uniqueId val="{00000543-280A-4CC8-864C-E6F154A5A56B}"/>
              </c:ext>
            </c:extLst>
          </c:dPt>
          <c:dPt>
            <c:idx val="673"/>
            <c:invertIfNegative val="1"/>
            <c:bubble3D val="0"/>
            <c:spPr>
              <a:solidFill>
                <a:srgbClr val="AEABAB"/>
              </a:solidFill>
            </c:spPr>
            <c:extLst>
              <c:ext xmlns:c16="http://schemas.microsoft.com/office/drawing/2014/chart" uri="{C3380CC4-5D6E-409C-BE32-E72D297353CC}">
                <c16:uniqueId val="{00000545-280A-4CC8-864C-E6F154A5A56B}"/>
              </c:ext>
            </c:extLst>
          </c:dPt>
          <c:dPt>
            <c:idx val="674"/>
            <c:invertIfNegative val="1"/>
            <c:bubble3D val="0"/>
            <c:spPr>
              <a:solidFill>
                <a:srgbClr val="AEABAB"/>
              </a:solidFill>
            </c:spPr>
            <c:extLst>
              <c:ext xmlns:c16="http://schemas.microsoft.com/office/drawing/2014/chart" uri="{C3380CC4-5D6E-409C-BE32-E72D297353CC}">
                <c16:uniqueId val="{00000547-280A-4CC8-864C-E6F154A5A56B}"/>
              </c:ext>
            </c:extLst>
          </c:dPt>
          <c:dPt>
            <c:idx val="675"/>
            <c:invertIfNegative val="1"/>
            <c:bubble3D val="0"/>
            <c:spPr>
              <a:solidFill>
                <a:srgbClr val="AEABAB"/>
              </a:solidFill>
            </c:spPr>
            <c:extLst>
              <c:ext xmlns:c16="http://schemas.microsoft.com/office/drawing/2014/chart" uri="{C3380CC4-5D6E-409C-BE32-E72D297353CC}">
                <c16:uniqueId val="{00000549-280A-4CC8-864C-E6F154A5A56B}"/>
              </c:ext>
            </c:extLst>
          </c:dPt>
          <c:dPt>
            <c:idx val="676"/>
            <c:invertIfNegative val="1"/>
            <c:bubble3D val="0"/>
            <c:spPr>
              <a:solidFill>
                <a:srgbClr val="AEABAB"/>
              </a:solidFill>
            </c:spPr>
            <c:extLst>
              <c:ext xmlns:c16="http://schemas.microsoft.com/office/drawing/2014/chart" uri="{C3380CC4-5D6E-409C-BE32-E72D297353CC}">
                <c16:uniqueId val="{0000054B-280A-4CC8-864C-E6F154A5A56B}"/>
              </c:ext>
            </c:extLst>
          </c:dPt>
          <c:dPt>
            <c:idx val="677"/>
            <c:invertIfNegative val="1"/>
            <c:bubble3D val="0"/>
            <c:spPr>
              <a:solidFill>
                <a:srgbClr val="AEABAB"/>
              </a:solidFill>
            </c:spPr>
            <c:extLst>
              <c:ext xmlns:c16="http://schemas.microsoft.com/office/drawing/2014/chart" uri="{C3380CC4-5D6E-409C-BE32-E72D297353CC}">
                <c16:uniqueId val="{0000054D-280A-4CC8-864C-E6F154A5A56B}"/>
              </c:ext>
            </c:extLst>
          </c:dPt>
          <c:dPt>
            <c:idx val="678"/>
            <c:invertIfNegative val="1"/>
            <c:bubble3D val="0"/>
            <c:spPr>
              <a:solidFill>
                <a:srgbClr val="AEABAB"/>
              </a:solidFill>
            </c:spPr>
            <c:extLst>
              <c:ext xmlns:c16="http://schemas.microsoft.com/office/drawing/2014/chart" uri="{C3380CC4-5D6E-409C-BE32-E72D297353CC}">
                <c16:uniqueId val="{0000054F-280A-4CC8-864C-E6F154A5A56B}"/>
              </c:ext>
            </c:extLst>
          </c:dPt>
          <c:dPt>
            <c:idx val="679"/>
            <c:invertIfNegative val="1"/>
            <c:bubble3D val="0"/>
            <c:spPr>
              <a:solidFill>
                <a:srgbClr val="AEABAB"/>
              </a:solidFill>
            </c:spPr>
            <c:extLst>
              <c:ext xmlns:c16="http://schemas.microsoft.com/office/drawing/2014/chart" uri="{C3380CC4-5D6E-409C-BE32-E72D297353CC}">
                <c16:uniqueId val="{00000551-280A-4CC8-864C-E6F154A5A56B}"/>
              </c:ext>
            </c:extLst>
          </c:dPt>
          <c:dPt>
            <c:idx val="680"/>
            <c:invertIfNegative val="1"/>
            <c:bubble3D val="0"/>
            <c:spPr>
              <a:solidFill>
                <a:srgbClr val="AEABAB"/>
              </a:solidFill>
            </c:spPr>
            <c:extLst>
              <c:ext xmlns:c16="http://schemas.microsoft.com/office/drawing/2014/chart" uri="{C3380CC4-5D6E-409C-BE32-E72D297353CC}">
                <c16:uniqueId val="{00000553-280A-4CC8-864C-E6F154A5A56B}"/>
              </c:ext>
            </c:extLst>
          </c:dPt>
          <c:dPt>
            <c:idx val="681"/>
            <c:invertIfNegative val="1"/>
            <c:bubble3D val="0"/>
            <c:spPr>
              <a:solidFill>
                <a:srgbClr val="AEABAB"/>
              </a:solidFill>
            </c:spPr>
            <c:extLst>
              <c:ext xmlns:c16="http://schemas.microsoft.com/office/drawing/2014/chart" uri="{C3380CC4-5D6E-409C-BE32-E72D297353CC}">
                <c16:uniqueId val="{00000555-280A-4CC8-864C-E6F154A5A56B}"/>
              </c:ext>
            </c:extLst>
          </c:dPt>
          <c:dPt>
            <c:idx val="682"/>
            <c:invertIfNegative val="1"/>
            <c:bubble3D val="0"/>
            <c:spPr>
              <a:solidFill>
                <a:srgbClr val="AEABAB"/>
              </a:solidFill>
            </c:spPr>
            <c:extLst>
              <c:ext xmlns:c16="http://schemas.microsoft.com/office/drawing/2014/chart" uri="{C3380CC4-5D6E-409C-BE32-E72D297353CC}">
                <c16:uniqueId val="{00000557-280A-4CC8-864C-E6F154A5A56B}"/>
              </c:ext>
            </c:extLst>
          </c:dPt>
          <c:dPt>
            <c:idx val="683"/>
            <c:invertIfNegative val="1"/>
            <c:bubble3D val="0"/>
            <c:spPr>
              <a:solidFill>
                <a:srgbClr val="AEABAB"/>
              </a:solidFill>
            </c:spPr>
            <c:extLst>
              <c:ext xmlns:c16="http://schemas.microsoft.com/office/drawing/2014/chart" uri="{C3380CC4-5D6E-409C-BE32-E72D297353CC}">
                <c16:uniqueId val="{00000559-280A-4CC8-864C-E6F154A5A56B}"/>
              </c:ext>
            </c:extLst>
          </c:dPt>
          <c:dPt>
            <c:idx val="684"/>
            <c:invertIfNegative val="1"/>
            <c:bubble3D val="0"/>
            <c:spPr>
              <a:solidFill>
                <a:srgbClr val="AEABAB"/>
              </a:solidFill>
            </c:spPr>
            <c:extLst>
              <c:ext xmlns:c16="http://schemas.microsoft.com/office/drawing/2014/chart" uri="{C3380CC4-5D6E-409C-BE32-E72D297353CC}">
                <c16:uniqueId val="{0000055B-280A-4CC8-864C-E6F154A5A56B}"/>
              </c:ext>
            </c:extLst>
          </c:dPt>
          <c:dPt>
            <c:idx val="685"/>
            <c:invertIfNegative val="1"/>
            <c:bubble3D val="0"/>
            <c:spPr>
              <a:solidFill>
                <a:srgbClr val="AEABAB"/>
              </a:solidFill>
            </c:spPr>
            <c:extLst>
              <c:ext xmlns:c16="http://schemas.microsoft.com/office/drawing/2014/chart" uri="{C3380CC4-5D6E-409C-BE32-E72D297353CC}">
                <c16:uniqueId val="{0000055D-280A-4CC8-864C-E6F154A5A56B}"/>
              </c:ext>
            </c:extLst>
          </c:dPt>
          <c:dPt>
            <c:idx val="686"/>
            <c:invertIfNegative val="1"/>
            <c:bubble3D val="0"/>
            <c:spPr>
              <a:solidFill>
                <a:srgbClr val="AEABAB"/>
              </a:solidFill>
            </c:spPr>
            <c:extLst>
              <c:ext xmlns:c16="http://schemas.microsoft.com/office/drawing/2014/chart" uri="{C3380CC4-5D6E-409C-BE32-E72D297353CC}">
                <c16:uniqueId val="{0000055F-280A-4CC8-864C-E6F154A5A56B}"/>
              </c:ext>
            </c:extLst>
          </c:dPt>
          <c:dPt>
            <c:idx val="687"/>
            <c:invertIfNegative val="1"/>
            <c:bubble3D val="0"/>
            <c:spPr>
              <a:solidFill>
                <a:srgbClr val="AEABAB"/>
              </a:solidFill>
            </c:spPr>
            <c:extLst>
              <c:ext xmlns:c16="http://schemas.microsoft.com/office/drawing/2014/chart" uri="{C3380CC4-5D6E-409C-BE32-E72D297353CC}">
                <c16:uniqueId val="{00000561-280A-4CC8-864C-E6F154A5A56B}"/>
              </c:ext>
            </c:extLst>
          </c:dPt>
          <c:dPt>
            <c:idx val="688"/>
            <c:invertIfNegative val="1"/>
            <c:bubble3D val="0"/>
            <c:spPr>
              <a:solidFill>
                <a:srgbClr val="AEABAB"/>
              </a:solidFill>
            </c:spPr>
            <c:extLst>
              <c:ext xmlns:c16="http://schemas.microsoft.com/office/drawing/2014/chart" uri="{C3380CC4-5D6E-409C-BE32-E72D297353CC}">
                <c16:uniqueId val="{00000563-280A-4CC8-864C-E6F154A5A56B}"/>
              </c:ext>
            </c:extLst>
          </c:dPt>
          <c:dPt>
            <c:idx val="689"/>
            <c:invertIfNegative val="1"/>
            <c:bubble3D val="0"/>
            <c:spPr>
              <a:solidFill>
                <a:srgbClr val="AEABAB"/>
              </a:solidFill>
            </c:spPr>
            <c:extLst>
              <c:ext xmlns:c16="http://schemas.microsoft.com/office/drawing/2014/chart" uri="{C3380CC4-5D6E-409C-BE32-E72D297353CC}">
                <c16:uniqueId val="{00000565-280A-4CC8-864C-E6F154A5A56B}"/>
              </c:ext>
            </c:extLst>
          </c:dPt>
          <c:dPt>
            <c:idx val="690"/>
            <c:invertIfNegative val="1"/>
            <c:bubble3D val="0"/>
            <c:spPr>
              <a:solidFill>
                <a:srgbClr val="AEABAB"/>
              </a:solidFill>
            </c:spPr>
            <c:extLst>
              <c:ext xmlns:c16="http://schemas.microsoft.com/office/drawing/2014/chart" uri="{C3380CC4-5D6E-409C-BE32-E72D297353CC}">
                <c16:uniqueId val="{00000567-280A-4CC8-864C-E6F154A5A56B}"/>
              </c:ext>
            </c:extLst>
          </c:dPt>
          <c:dPt>
            <c:idx val="691"/>
            <c:invertIfNegative val="1"/>
            <c:bubble3D val="0"/>
            <c:spPr>
              <a:solidFill>
                <a:srgbClr val="AEABAB"/>
              </a:solidFill>
            </c:spPr>
            <c:extLst>
              <c:ext xmlns:c16="http://schemas.microsoft.com/office/drawing/2014/chart" uri="{C3380CC4-5D6E-409C-BE32-E72D297353CC}">
                <c16:uniqueId val="{00000569-280A-4CC8-864C-E6F154A5A56B}"/>
              </c:ext>
            </c:extLst>
          </c:dPt>
          <c:dPt>
            <c:idx val="692"/>
            <c:invertIfNegative val="1"/>
            <c:bubble3D val="0"/>
            <c:spPr>
              <a:solidFill>
                <a:srgbClr val="AEABAB"/>
              </a:solidFill>
            </c:spPr>
            <c:extLst>
              <c:ext xmlns:c16="http://schemas.microsoft.com/office/drawing/2014/chart" uri="{C3380CC4-5D6E-409C-BE32-E72D297353CC}">
                <c16:uniqueId val="{0000056B-280A-4CC8-864C-E6F154A5A56B}"/>
              </c:ext>
            </c:extLst>
          </c:dPt>
          <c:dPt>
            <c:idx val="693"/>
            <c:invertIfNegative val="1"/>
            <c:bubble3D val="0"/>
            <c:spPr>
              <a:solidFill>
                <a:srgbClr val="AEABAB"/>
              </a:solidFill>
            </c:spPr>
            <c:extLst>
              <c:ext xmlns:c16="http://schemas.microsoft.com/office/drawing/2014/chart" uri="{C3380CC4-5D6E-409C-BE32-E72D297353CC}">
                <c16:uniqueId val="{0000056D-280A-4CC8-864C-E6F154A5A56B}"/>
              </c:ext>
            </c:extLst>
          </c:dPt>
          <c:dPt>
            <c:idx val="694"/>
            <c:invertIfNegative val="1"/>
            <c:bubble3D val="0"/>
            <c:spPr>
              <a:solidFill>
                <a:srgbClr val="AEABAB"/>
              </a:solidFill>
            </c:spPr>
            <c:extLst>
              <c:ext xmlns:c16="http://schemas.microsoft.com/office/drawing/2014/chart" uri="{C3380CC4-5D6E-409C-BE32-E72D297353CC}">
                <c16:uniqueId val="{0000056F-280A-4CC8-864C-E6F154A5A56B}"/>
              </c:ext>
            </c:extLst>
          </c:dPt>
          <c:dPt>
            <c:idx val="695"/>
            <c:invertIfNegative val="1"/>
            <c:bubble3D val="0"/>
            <c:spPr>
              <a:solidFill>
                <a:srgbClr val="AEABAB"/>
              </a:solidFill>
            </c:spPr>
            <c:extLst>
              <c:ext xmlns:c16="http://schemas.microsoft.com/office/drawing/2014/chart" uri="{C3380CC4-5D6E-409C-BE32-E72D297353CC}">
                <c16:uniqueId val="{00000571-280A-4CC8-864C-E6F154A5A56B}"/>
              </c:ext>
            </c:extLst>
          </c:dPt>
          <c:dPt>
            <c:idx val="696"/>
            <c:invertIfNegative val="1"/>
            <c:bubble3D val="0"/>
            <c:spPr>
              <a:solidFill>
                <a:srgbClr val="AEABAB"/>
              </a:solidFill>
            </c:spPr>
            <c:extLst>
              <c:ext xmlns:c16="http://schemas.microsoft.com/office/drawing/2014/chart" uri="{C3380CC4-5D6E-409C-BE32-E72D297353CC}">
                <c16:uniqueId val="{00000573-280A-4CC8-864C-E6F154A5A56B}"/>
              </c:ext>
            </c:extLst>
          </c:dPt>
          <c:dPt>
            <c:idx val="697"/>
            <c:invertIfNegative val="1"/>
            <c:bubble3D val="0"/>
            <c:spPr>
              <a:solidFill>
                <a:srgbClr val="AEABAB"/>
              </a:solidFill>
            </c:spPr>
            <c:extLst>
              <c:ext xmlns:c16="http://schemas.microsoft.com/office/drawing/2014/chart" uri="{C3380CC4-5D6E-409C-BE32-E72D297353CC}">
                <c16:uniqueId val="{00000575-280A-4CC8-864C-E6F154A5A56B}"/>
              </c:ext>
            </c:extLst>
          </c:dPt>
          <c:dPt>
            <c:idx val="698"/>
            <c:invertIfNegative val="1"/>
            <c:bubble3D val="0"/>
            <c:spPr>
              <a:solidFill>
                <a:srgbClr val="AEABAB"/>
              </a:solidFill>
            </c:spPr>
            <c:extLst>
              <c:ext xmlns:c16="http://schemas.microsoft.com/office/drawing/2014/chart" uri="{C3380CC4-5D6E-409C-BE32-E72D297353CC}">
                <c16:uniqueId val="{00000577-280A-4CC8-864C-E6F154A5A56B}"/>
              </c:ext>
            </c:extLst>
          </c:dPt>
          <c:dPt>
            <c:idx val="699"/>
            <c:invertIfNegative val="1"/>
            <c:bubble3D val="0"/>
            <c:spPr>
              <a:solidFill>
                <a:srgbClr val="AEABAB"/>
              </a:solidFill>
            </c:spPr>
            <c:extLst>
              <c:ext xmlns:c16="http://schemas.microsoft.com/office/drawing/2014/chart" uri="{C3380CC4-5D6E-409C-BE32-E72D297353CC}">
                <c16:uniqueId val="{00000579-280A-4CC8-864C-E6F154A5A56B}"/>
              </c:ext>
            </c:extLst>
          </c:dPt>
          <c:dPt>
            <c:idx val="700"/>
            <c:invertIfNegative val="1"/>
            <c:bubble3D val="0"/>
            <c:spPr>
              <a:solidFill>
                <a:srgbClr val="AEABAB"/>
              </a:solidFill>
            </c:spPr>
            <c:extLst>
              <c:ext xmlns:c16="http://schemas.microsoft.com/office/drawing/2014/chart" uri="{C3380CC4-5D6E-409C-BE32-E72D297353CC}">
                <c16:uniqueId val="{0000057B-280A-4CC8-864C-E6F154A5A56B}"/>
              </c:ext>
            </c:extLst>
          </c:dPt>
          <c:dPt>
            <c:idx val="701"/>
            <c:invertIfNegative val="1"/>
            <c:bubble3D val="0"/>
            <c:spPr>
              <a:solidFill>
                <a:srgbClr val="AEABAB"/>
              </a:solidFill>
            </c:spPr>
            <c:extLst>
              <c:ext xmlns:c16="http://schemas.microsoft.com/office/drawing/2014/chart" uri="{C3380CC4-5D6E-409C-BE32-E72D297353CC}">
                <c16:uniqueId val="{0000057D-280A-4CC8-864C-E6F154A5A56B}"/>
              </c:ext>
            </c:extLst>
          </c:dPt>
          <c:dPt>
            <c:idx val="702"/>
            <c:invertIfNegative val="1"/>
            <c:bubble3D val="0"/>
            <c:spPr>
              <a:solidFill>
                <a:srgbClr val="AEABAB"/>
              </a:solidFill>
            </c:spPr>
            <c:extLst>
              <c:ext xmlns:c16="http://schemas.microsoft.com/office/drawing/2014/chart" uri="{C3380CC4-5D6E-409C-BE32-E72D297353CC}">
                <c16:uniqueId val="{0000057F-280A-4CC8-864C-E6F154A5A56B}"/>
              </c:ext>
            </c:extLst>
          </c:dPt>
          <c:dPt>
            <c:idx val="703"/>
            <c:invertIfNegative val="1"/>
            <c:bubble3D val="0"/>
            <c:spPr>
              <a:solidFill>
                <a:srgbClr val="AEABAB"/>
              </a:solidFill>
            </c:spPr>
            <c:extLst>
              <c:ext xmlns:c16="http://schemas.microsoft.com/office/drawing/2014/chart" uri="{C3380CC4-5D6E-409C-BE32-E72D297353CC}">
                <c16:uniqueId val="{00000581-280A-4CC8-864C-E6F154A5A56B}"/>
              </c:ext>
            </c:extLst>
          </c:dPt>
          <c:dPt>
            <c:idx val="704"/>
            <c:invertIfNegative val="1"/>
            <c:bubble3D val="0"/>
            <c:spPr>
              <a:solidFill>
                <a:srgbClr val="AEABAB"/>
              </a:solidFill>
            </c:spPr>
            <c:extLst>
              <c:ext xmlns:c16="http://schemas.microsoft.com/office/drawing/2014/chart" uri="{C3380CC4-5D6E-409C-BE32-E72D297353CC}">
                <c16:uniqueId val="{00000583-280A-4CC8-864C-E6F154A5A56B}"/>
              </c:ext>
            </c:extLst>
          </c:dPt>
          <c:dPt>
            <c:idx val="705"/>
            <c:invertIfNegative val="1"/>
            <c:bubble3D val="0"/>
            <c:spPr>
              <a:solidFill>
                <a:srgbClr val="AEABAB"/>
              </a:solidFill>
            </c:spPr>
            <c:extLst>
              <c:ext xmlns:c16="http://schemas.microsoft.com/office/drawing/2014/chart" uri="{C3380CC4-5D6E-409C-BE32-E72D297353CC}">
                <c16:uniqueId val="{00000585-280A-4CC8-864C-E6F154A5A56B}"/>
              </c:ext>
            </c:extLst>
          </c:dPt>
          <c:dPt>
            <c:idx val="706"/>
            <c:invertIfNegative val="1"/>
            <c:bubble3D val="0"/>
            <c:spPr>
              <a:solidFill>
                <a:srgbClr val="AEABAB"/>
              </a:solidFill>
            </c:spPr>
            <c:extLst>
              <c:ext xmlns:c16="http://schemas.microsoft.com/office/drawing/2014/chart" uri="{C3380CC4-5D6E-409C-BE32-E72D297353CC}">
                <c16:uniqueId val="{00000587-280A-4CC8-864C-E6F154A5A56B}"/>
              </c:ext>
            </c:extLst>
          </c:dPt>
          <c:dPt>
            <c:idx val="707"/>
            <c:invertIfNegative val="1"/>
            <c:bubble3D val="0"/>
            <c:spPr>
              <a:solidFill>
                <a:srgbClr val="AEABAB"/>
              </a:solidFill>
            </c:spPr>
            <c:extLst>
              <c:ext xmlns:c16="http://schemas.microsoft.com/office/drawing/2014/chart" uri="{C3380CC4-5D6E-409C-BE32-E72D297353CC}">
                <c16:uniqueId val="{00000589-280A-4CC8-864C-E6F154A5A56B}"/>
              </c:ext>
            </c:extLst>
          </c:dPt>
          <c:dPt>
            <c:idx val="708"/>
            <c:invertIfNegative val="1"/>
            <c:bubble3D val="0"/>
            <c:spPr>
              <a:solidFill>
                <a:srgbClr val="AEABAB"/>
              </a:solidFill>
            </c:spPr>
            <c:extLst>
              <c:ext xmlns:c16="http://schemas.microsoft.com/office/drawing/2014/chart" uri="{C3380CC4-5D6E-409C-BE32-E72D297353CC}">
                <c16:uniqueId val="{0000058B-280A-4CC8-864C-E6F154A5A56B}"/>
              </c:ext>
            </c:extLst>
          </c:dPt>
          <c:dPt>
            <c:idx val="709"/>
            <c:invertIfNegative val="1"/>
            <c:bubble3D val="0"/>
            <c:spPr>
              <a:solidFill>
                <a:srgbClr val="AEABAB"/>
              </a:solidFill>
            </c:spPr>
            <c:extLst>
              <c:ext xmlns:c16="http://schemas.microsoft.com/office/drawing/2014/chart" uri="{C3380CC4-5D6E-409C-BE32-E72D297353CC}">
                <c16:uniqueId val="{0000058D-280A-4CC8-864C-E6F154A5A56B}"/>
              </c:ext>
            </c:extLst>
          </c:dPt>
          <c:dPt>
            <c:idx val="710"/>
            <c:invertIfNegative val="1"/>
            <c:bubble3D val="0"/>
            <c:spPr>
              <a:solidFill>
                <a:srgbClr val="AEABAB"/>
              </a:solidFill>
            </c:spPr>
            <c:extLst>
              <c:ext xmlns:c16="http://schemas.microsoft.com/office/drawing/2014/chart" uri="{C3380CC4-5D6E-409C-BE32-E72D297353CC}">
                <c16:uniqueId val="{0000058F-280A-4CC8-864C-E6F154A5A56B}"/>
              </c:ext>
            </c:extLst>
          </c:dPt>
          <c:dPt>
            <c:idx val="711"/>
            <c:invertIfNegative val="1"/>
            <c:bubble3D val="0"/>
            <c:spPr>
              <a:solidFill>
                <a:srgbClr val="AEABAB"/>
              </a:solidFill>
            </c:spPr>
            <c:extLst>
              <c:ext xmlns:c16="http://schemas.microsoft.com/office/drawing/2014/chart" uri="{C3380CC4-5D6E-409C-BE32-E72D297353CC}">
                <c16:uniqueId val="{00000591-280A-4CC8-864C-E6F154A5A56B}"/>
              </c:ext>
            </c:extLst>
          </c:dPt>
          <c:dPt>
            <c:idx val="712"/>
            <c:invertIfNegative val="1"/>
            <c:bubble3D val="0"/>
            <c:spPr>
              <a:solidFill>
                <a:srgbClr val="AEABAB"/>
              </a:solidFill>
            </c:spPr>
            <c:extLst>
              <c:ext xmlns:c16="http://schemas.microsoft.com/office/drawing/2014/chart" uri="{C3380CC4-5D6E-409C-BE32-E72D297353CC}">
                <c16:uniqueId val="{00000593-280A-4CC8-864C-E6F154A5A56B}"/>
              </c:ext>
            </c:extLst>
          </c:dPt>
          <c:dPt>
            <c:idx val="713"/>
            <c:invertIfNegative val="1"/>
            <c:bubble3D val="0"/>
            <c:spPr>
              <a:solidFill>
                <a:srgbClr val="AEABAB"/>
              </a:solidFill>
            </c:spPr>
            <c:extLst>
              <c:ext xmlns:c16="http://schemas.microsoft.com/office/drawing/2014/chart" uri="{C3380CC4-5D6E-409C-BE32-E72D297353CC}">
                <c16:uniqueId val="{00000595-280A-4CC8-864C-E6F154A5A56B}"/>
              </c:ext>
            </c:extLst>
          </c:dPt>
          <c:dPt>
            <c:idx val="714"/>
            <c:invertIfNegative val="1"/>
            <c:bubble3D val="0"/>
            <c:spPr>
              <a:solidFill>
                <a:srgbClr val="AEABAB"/>
              </a:solidFill>
            </c:spPr>
            <c:extLst>
              <c:ext xmlns:c16="http://schemas.microsoft.com/office/drawing/2014/chart" uri="{C3380CC4-5D6E-409C-BE32-E72D297353CC}">
                <c16:uniqueId val="{00000597-280A-4CC8-864C-E6F154A5A56B}"/>
              </c:ext>
            </c:extLst>
          </c:dPt>
          <c:dPt>
            <c:idx val="715"/>
            <c:invertIfNegative val="1"/>
            <c:bubble3D val="0"/>
            <c:spPr>
              <a:solidFill>
                <a:srgbClr val="AEABAB"/>
              </a:solidFill>
            </c:spPr>
            <c:extLst>
              <c:ext xmlns:c16="http://schemas.microsoft.com/office/drawing/2014/chart" uri="{C3380CC4-5D6E-409C-BE32-E72D297353CC}">
                <c16:uniqueId val="{00000599-280A-4CC8-864C-E6F154A5A56B}"/>
              </c:ext>
            </c:extLst>
          </c:dPt>
          <c:dPt>
            <c:idx val="716"/>
            <c:invertIfNegative val="1"/>
            <c:bubble3D val="0"/>
            <c:spPr>
              <a:solidFill>
                <a:srgbClr val="AEABAB"/>
              </a:solidFill>
            </c:spPr>
            <c:extLst>
              <c:ext xmlns:c16="http://schemas.microsoft.com/office/drawing/2014/chart" uri="{C3380CC4-5D6E-409C-BE32-E72D297353CC}">
                <c16:uniqueId val="{0000059B-280A-4CC8-864C-E6F154A5A56B}"/>
              </c:ext>
            </c:extLst>
          </c:dPt>
          <c:dPt>
            <c:idx val="717"/>
            <c:invertIfNegative val="1"/>
            <c:bubble3D val="0"/>
            <c:spPr>
              <a:solidFill>
                <a:srgbClr val="AEABAB"/>
              </a:solidFill>
            </c:spPr>
            <c:extLst>
              <c:ext xmlns:c16="http://schemas.microsoft.com/office/drawing/2014/chart" uri="{C3380CC4-5D6E-409C-BE32-E72D297353CC}">
                <c16:uniqueId val="{0000059D-280A-4CC8-864C-E6F154A5A56B}"/>
              </c:ext>
            </c:extLst>
          </c:dPt>
          <c:dPt>
            <c:idx val="718"/>
            <c:invertIfNegative val="1"/>
            <c:bubble3D val="0"/>
            <c:spPr>
              <a:solidFill>
                <a:srgbClr val="AEABAB"/>
              </a:solidFill>
            </c:spPr>
            <c:extLst>
              <c:ext xmlns:c16="http://schemas.microsoft.com/office/drawing/2014/chart" uri="{C3380CC4-5D6E-409C-BE32-E72D297353CC}">
                <c16:uniqueId val="{0000059F-280A-4CC8-864C-E6F154A5A56B}"/>
              </c:ext>
            </c:extLst>
          </c:dPt>
          <c:dPt>
            <c:idx val="719"/>
            <c:invertIfNegative val="1"/>
            <c:bubble3D val="0"/>
            <c:spPr>
              <a:solidFill>
                <a:srgbClr val="AEABAB"/>
              </a:solidFill>
            </c:spPr>
            <c:extLst>
              <c:ext xmlns:c16="http://schemas.microsoft.com/office/drawing/2014/chart" uri="{C3380CC4-5D6E-409C-BE32-E72D297353CC}">
                <c16:uniqueId val="{000005A1-280A-4CC8-864C-E6F154A5A56B}"/>
              </c:ext>
            </c:extLst>
          </c:dPt>
          <c:dPt>
            <c:idx val="720"/>
            <c:invertIfNegative val="1"/>
            <c:bubble3D val="0"/>
            <c:spPr>
              <a:solidFill>
                <a:srgbClr val="AEABAB"/>
              </a:solidFill>
            </c:spPr>
            <c:extLst>
              <c:ext xmlns:c16="http://schemas.microsoft.com/office/drawing/2014/chart" uri="{C3380CC4-5D6E-409C-BE32-E72D297353CC}">
                <c16:uniqueId val="{000005A3-280A-4CC8-864C-E6F154A5A56B}"/>
              </c:ext>
            </c:extLst>
          </c:dPt>
          <c:dPt>
            <c:idx val="721"/>
            <c:invertIfNegative val="1"/>
            <c:bubble3D val="0"/>
            <c:spPr>
              <a:solidFill>
                <a:srgbClr val="AEABAB"/>
              </a:solidFill>
            </c:spPr>
            <c:extLst>
              <c:ext xmlns:c16="http://schemas.microsoft.com/office/drawing/2014/chart" uri="{C3380CC4-5D6E-409C-BE32-E72D297353CC}">
                <c16:uniqueId val="{000005A5-280A-4CC8-864C-E6F154A5A56B}"/>
              </c:ext>
            </c:extLst>
          </c:dPt>
          <c:dPt>
            <c:idx val="722"/>
            <c:invertIfNegative val="1"/>
            <c:bubble3D val="0"/>
            <c:spPr>
              <a:solidFill>
                <a:srgbClr val="AEABAB"/>
              </a:solidFill>
            </c:spPr>
            <c:extLst>
              <c:ext xmlns:c16="http://schemas.microsoft.com/office/drawing/2014/chart" uri="{C3380CC4-5D6E-409C-BE32-E72D297353CC}">
                <c16:uniqueId val="{000005A7-280A-4CC8-864C-E6F154A5A56B}"/>
              </c:ext>
            </c:extLst>
          </c:dPt>
          <c:dPt>
            <c:idx val="723"/>
            <c:invertIfNegative val="1"/>
            <c:bubble3D val="0"/>
            <c:spPr>
              <a:solidFill>
                <a:srgbClr val="AEABAB"/>
              </a:solidFill>
            </c:spPr>
            <c:extLst>
              <c:ext xmlns:c16="http://schemas.microsoft.com/office/drawing/2014/chart" uri="{C3380CC4-5D6E-409C-BE32-E72D297353CC}">
                <c16:uniqueId val="{000005A9-280A-4CC8-864C-E6F154A5A56B}"/>
              </c:ext>
            </c:extLst>
          </c:dPt>
          <c:dPt>
            <c:idx val="724"/>
            <c:invertIfNegative val="1"/>
            <c:bubble3D val="0"/>
            <c:spPr>
              <a:solidFill>
                <a:srgbClr val="AEABAB"/>
              </a:solidFill>
            </c:spPr>
            <c:extLst>
              <c:ext xmlns:c16="http://schemas.microsoft.com/office/drawing/2014/chart" uri="{C3380CC4-5D6E-409C-BE32-E72D297353CC}">
                <c16:uniqueId val="{000005AB-280A-4CC8-864C-E6F154A5A56B}"/>
              </c:ext>
            </c:extLst>
          </c:dPt>
          <c:dPt>
            <c:idx val="725"/>
            <c:invertIfNegative val="1"/>
            <c:bubble3D val="0"/>
            <c:spPr>
              <a:solidFill>
                <a:srgbClr val="AEABAB"/>
              </a:solidFill>
            </c:spPr>
            <c:extLst>
              <c:ext xmlns:c16="http://schemas.microsoft.com/office/drawing/2014/chart" uri="{C3380CC4-5D6E-409C-BE32-E72D297353CC}">
                <c16:uniqueId val="{000005AD-280A-4CC8-864C-E6F154A5A56B}"/>
              </c:ext>
            </c:extLst>
          </c:dPt>
          <c:dPt>
            <c:idx val="726"/>
            <c:invertIfNegative val="1"/>
            <c:bubble3D val="0"/>
            <c:spPr>
              <a:solidFill>
                <a:srgbClr val="AEABAB"/>
              </a:solidFill>
            </c:spPr>
            <c:extLst>
              <c:ext xmlns:c16="http://schemas.microsoft.com/office/drawing/2014/chart" uri="{C3380CC4-5D6E-409C-BE32-E72D297353CC}">
                <c16:uniqueId val="{000005AF-280A-4CC8-864C-E6F154A5A56B}"/>
              </c:ext>
            </c:extLst>
          </c:dPt>
          <c:dPt>
            <c:idx val="727"/>
            <c:invertIfNegative val="1"/>
            <c:bubble3D val="0"/>
            <c:spPr>
              <a:solidFill>
                <a:srgbClr val="AEABAB"/>
              </a:solidFill>
            </c:spPr>
            <c:extLst>
              <c:ext xmlns:c16="http://schemas.microsoft.com/office/drawing/2014/chart" uri="{C3380CC4-5D6E-409C-BE32-E72D297353CC}">
                <c16:uniqueId val="{000005B1-280A-4CC8-864C-E6F154A5A56B}"/>
              </c:ext>
            </c:extLst>
          </c:dPt>
          <c:dPt>
            <c:idx val="728"/>
            <c:invertIfNegative val="1"/>
            <c:bubble3D val="0"/>
            <c:spPr>
              <a:solidFill>
                <a:srgbClr val="AEABAB"/>
              </a:solidFill>
            </c:spPr>
            <c:extLst>
              <c:ext xmlns:c16="http://schemas.microsoft.com/office/drawing/2014/chart" uri="{C3380CC4-5D6E-409C-BE32-E72D297353CC}">
                <c16:uniqueId val="{000005B3-280A-4CC8-864C-E6F154A5A56B}"/>
              </c:ext>
            </c:extLst>
          </c:dPt>
          <c:dPt>
            <c:idx val="729"/>
            <c:invertIfNegative val="1"/>
            <c:bubble3D val="0"/>
            <c:spPr>
              <a:solidFill>
                <a:srgbClr val="AEABAB"/>
              </a:solidFill>
            </c:spPr>
            <c:extLst>
              <c:ext xmlns:c16="http://schemas.microsoft.com/office/drawing/2014/chart" uri="{C3380CC4-5D6E-409C-BE32-E72D297353CC}">
                <c16:uniqueId val="{000005B5-280A-4CC8-864C-E6F154A5A56B}"/>
              </c:ext>
            </c:extLst>
          </c:dPt>
          <c:dPt>
            <c:idx val="730"/>
            <c:invertIfNegative val="1"/>
            <c:bubble3D val="0"/>
            <c:spPr>
              <a:solidFill>
                <a:srgbClr val="AEABAB"/>
              </a:solidFill>
            </c:spPr>
            <c:extLst>
              <c:ext xmlns:c16="http://schemas.microsoft.com/office/drawing/2014/chart" uri="{C3380CC4-5D6E-409C-BE32-E72D297353CC}">
                <c16:uniqueId val="{000005B7-280A-4CC8-864C-E6F154A5A56B}"/>
              </c:ext>
            </c:extLst>
          </c:dPt>
          <c:dPt>
            <c:idx val="731"/>
            <c:invertIfNegative val="1"/>
            <c:bubble3D val="0"/>
            <c:spPr>
              <a:solidFill>
                <a:srgbClr val="AEABAB"/>
              </a:solidFill>
            </c:spPr>
            <c:extLst>
              <c:ext xmlns:c16="http://schemas.microsoft.com/office/drawing/2014/chart" uri="{C3380CC4-5D6E-409C-BE32-E72D297353CC}">
                <c16:uniqueId val="{000005B9-280A-4CC8-864C-E6F154A5A56B}"/>
              </c:ext>
            </c:extLst>
          </c:dPt>
          <c:dPt>
            <c:idx val="732"/>
            <c:invertIfNegative val="1"/>
            <c:bubble3D val="0"/>
            <c:spPr>
              <a:solidFill>
                <a:srgbClr val="AEABAB"/>
              </a:solidFill>
            </c:spPr>
            <c:extLst>
              <c:ext xmlns:c16="http://schemas.microsoft.com/office/drawing/2014/chart" uri="{C3380CC4-5D6E-409C-BE32-E72D297353CC}">
                <c16:uniqueId val="{000005BB-280A-4CC8-864C-E6F154A5A56B}"/>
              </c:ext>
            </c:extLst>
          </c:dPt>
          <c:dPt>
            <c:idx val="733"/>
            <c:invertIfNegative val="1"/>
            <c:bubble3D val="0"/>
            <c:spPr>
              <a:solidFill>
                <a:srgbClr val="AEABAB"/>
              </a:solidFill>
            </c:spPr>
            <c:extLst>
              <c:ext xmlns:c16="http://schemas.microsoft.com/office/drawing/2014/chart" uri="{C3380CC4-5D6E-409C-BE32-E72D297353CC}">
                <c16:uniqueId val="{000005BD-280A-4CC8-864C-E6F154A5A56B}"/>
              </c:ext>
            </c:extLst>
          </c:dPt>
          <c:dPt>
            <c:idx val="734"/>
            <c:invertIfNegative val="1"/>
            <c:bubble3D val="0"/>
            <c:spPr>
              <a:solidFill>
                <a:srgbClr val="AEABAB"/>
              </a:solidFill>
            </c:spPr>
            <c:extLst>
              <c:ext xmlns:c16="http://schemas.microsoft.com/office/drawing/2014/chart" uri="{C3380CC4-5D6E-409C-BE32-E72D297353CC}">
                <c16:uniqueId val="{000005BF-280A-4CC8-864C-E6F154A5A56B}"/>
              </c:ext>
            </c:extLst>
          </c:dPt>
          <c:dPt>
            <c:idx val="735"/>
            <c:invertIfNegative val="1"/>
            <c:bubble3D val="0"/>
            <c:spPr>
              <a:solidFill>
                <a:srgbClr val="AEABAB"/>
              </a:solidFill>
            </c:spPr>
            <c:extLst>
              <c:ext xmlns:c16="http://schemas.microsoft.com/office/drawing/2014/chart" uri="{C3380CC4-5D6E-409C-BE32-E72D297353CC}">
                <c16:uniqueId val="{000005C1-280A-4CC8-864C-E6F154A5A56B}"/>
              </c:ext>
            </c:extLst>
          </c:dPt>
          <c:dPt>
            <c:idx val="736"/>
            <c:invertIfNegative val="1"/>
            <c:bubble3D val="0"/>
            <c:spPr>
              <a:solidFill>
                <a:srgbClr val="AEABAB"/>
              </a:solidFill>
            </c:spPr>
            <c:extLst>
              <c:ext xmlns:c16="http://schemas.microsoft.com/office/drawing/2014/chart" uri="{C3380CC4-5D6E-409C-BE32-E72D297353CC}">
                <c16:uniqueId val="{000005C3-280A-4CC8-864C-E6F154A5A56B}"/>
              </c:ext>
            </c:extLst>
          </c:dPt>
          <c:dPt>
            <c:idx val="737"/>
            <c:invertIfNegative val="1"/>
            <c:bubble3D val="0"/>
            <c:spPr>
              <a:solidFill>
                <a:srgbClr val="AEABAB"/>
              </a:solidFill>
            </c:spPr>
            <c:extLst>
              <c:ext xmlns:c16="http://schemas.microsoft.com/office/drawing/2014/chart" uri="{C3380CC4-5D6E-409C-BE32-E72D297353CC}">
                <c16:uniqueId val="{000005C5-280A-4CC8-864C-E6F154A5A56B}"/>
              </c:ext>
            </c:extLst>
          </c:dPt>
          <c:dPt>
            <c:idx val="738"/>
            <c:invertIfNegative val="1"/>
            <c:bubble3D val="0"/>
            <c:spPr>
              <a:solidFill>
                <a:srgbClr val="AEABAB"/>
              </a:solidFill>
            </c:spPr>
            <c:extLst>
              <c:ext xmlns:c16="http://schemas.microsoft.com/office/drawing/2014/chart" uri="{C3380CC4-5D6E-409C-BE32-E72D297353CC}">
                <c16:uniqueId val="{000005C7-280A-4CC8-864C-E6F154A5A56B}"/>
              </c:ext>
            </c:extLst>
          </c:dPt>
          <c:dPt>
            <c:idx val="739"/>
            <c:invertIfNegative val="1"/>
            <c:bubble3D val="0"/>
            <c:spPr>
              <a:solidFill>
                <a:srgbClr val="AEABAB"/>
              </a:solidFill>
            </c:spPr>
            <c:extLst>
              <c:ext xmlns:c16="http://schemas.microsoft.com/office/drawing/2014/chart" uri="{C3380CC4-5D6E-409C-BE32-E72D297353CC}">
                <c16:uniqueId val="{000005C9-280A-4CC8-864C-E6F154A5A56B}"/>
              </c:ext>
            </c:extLst>
          </c:dPt>
          <c:dPt>
            <c:idx val="740"/>
            <c:invertIfNegative val="1"/>
            <c:bubble3D val="0"/>
            <c:spPr>
              <a:solidFill>
                <a:srgbClr val="AEABAB"/>
              </a:solidFill>
            </c:spPr>
            <c:extLst>
              <c:ext xmlns:c16="http://schemas.microsoft.com/office/drawing/2014/chart" uri="{C3380CC4-5D6E-409C-BE32-E72D297353CC}">
                <c16:uniqueId val="{000005CB-280A-4CC8-864C-E6F154A5A56B}"/>
              </c:ext>
            </c:extLst>
          </c:dPt>
          <c:dPt>
            <c:idx val="741"/>
            <c:invertIfNegative val="1"/>
            <c:bubble3D val="0"/>
            <c:spPr>
              <a:solidFill>
                <a:srgbClr val="AEABAB"/>
              </a:solidFill>
            </c:spPr>
            <c:extLst>
              <c:ext xmlns:c16="http://schemas.microsoft.com/office/drawing/2014/chart" uri="{C3380CC4-5D6E-409C-BE32-E72D297353CC}">
                <c16:uniqueId val="{000005CD-280A-4CC8-864C-E6F154A5A56B}"/>
              </c:ext>
            </c:extLst>
          </c:dPt>
          <c:dPt>
            <c:idx val="742"/>
            <c:invertIfNegative val="1"/>
            <c:bubble3D val="0"/>
            <c:spPr>
              <a:solidFill>
                <a:srgbClr val="AEABAB"/>
              </a:solidFill>
            </c:spPr>
            <c:extLst>
              <c:ext xmlns:c16="http://schemas.microsoft.com/office/drawing/2014/chart" uri="{C3380CC4-5D6E-409C-BE32-E72D297353CC}">
                <c16:uniqueId val="{000005CF-280A-4CC8-864C-E6F154A5A56B}"/>
              </c:ext>
            </c:extLst>
          </c:dPt>
          <c:dPt>
            <c:idx val="743"/>
            <c:invertIfNegative val="1"/>
            <c:bubble3D val="0"/>
            <c:spPr>
              <a:solidFill>
                <a:srgbClr val="AEABAB"/>
              </a:solidFill>
            </c:spPr>
            <c:extLst>
              <c:ext xmlns:c16="http://schemas.microsoft.com/office/drawing/2014/chart" uri="{C3380CC4-5D6E-409C-BE32-E72D297353CC}">
                <c16:uniqueId val="{000005D1-280A-4CC8-864C-E6F154A5A56B}"/>
              </c:ext>
            </c:extLst>
          </c:dPt>
          <c:dPt>
            <c:idx val="744"/>
            <c:invertIfNegative val="1"/>
            <c:bubble3D val="0"/>
            <c:spPr>
              <a:solidFill>
                <a:srgbClr val="AEABAB"/>
              </a:solidFill>
            </c:spPr>
            <c:extLst>
              <c:ext xmlns:c16="http://schemas.microsoft.com/office/drawing/2014/chart" uri="{C3380CC4-5D6E-409C-BE32-E72D297353CC}">
                <c16:uniqueId val="{000005D3-280A-4CC8-864C-E6F154A5A56B}"/>
              </c:ext>
            </c:extLst>
          </c:dPt>
          <c:dPt>
            <c:idx val="745"/>
            <c:invertIfNegative val="1"/>
            <c:bubble3D val="0"/>
            <c:spPr>
              <a:solidFill>
                <a:srgbClr val="AEABAB"/>
              </a:solidFill>
            </c:spPr>
            <c:extLst>
              <c:ext xmlns:c16="http://schemas.microsoft.com/office/drawing/2014/chart" uri="{C3380CC4-5D6E-409C-BE32-E72D297353CC}">
                <c16:uniqueId val="{000005D5-280A-4CC8-864C-E6F154A5A56B}"/>
              </c:ext>
            </c:extLst>
          </c:dPt>
          <c:dPt>
            <c:idx val="746"/>
            <c:invertIfNegative val="1"/>
            <c:bubble3D val="0"/>
            <c:spPr>
              <a:solidFill>
                <a:srgbClr val="AEABAB"/>
              </a:solidFill>
            </c:spPr>
            <c:extLst>
              <c:ext xmlns:c16="http://schemas.microsoft.com/office/drawing/2014/chart" uri="{C3380CC4-5D6E-409C-BE32-E72D297353CC}">
                <c16:uniqueId val="{000005D7-280A-4CC8-864C-E6F154A5A56B}"/>
              </c:ext>
            </c:extLst>
          </c:dPt>
          <c:dPt>
            <c:idx val="747"/>
            <c:invertIfNegative val="1"/>
            <c:bubble3D val="0"/>
            <c:spPr>
              <a:solidFill>
                <a:srgbClr val="AEABAB"/>
              </a:solidFill>
            </c:spPr>
            <c:extLst>
              <c:ext xmlns:c16="http://schemas.microsoft.com/office/drawing/2014/chart" uri="{C3380CC4-5D6E-409C-BE32-E72D297353CC}">
                <c16:uniqueId val="{000005D9-280A-4CC8-864C-E6F154A5A56B}"/>
              </c:ext>
            </c:extLst>
          </c:dPt>
          <c:dPt>
            <c:idx val="748"/>
            <c:invertIfNegative val="1"/>
            <c:bubble3D val="0"/>
            <c:spPr>
              <a:solidFill>
                <a:srgbClr val="AEABAB"/>
              </a:solidFill>
            </c:spPr>
            <c:extLst>
              <c:ext xmlns:c16="http://schemas.microsoft.com/office/drawing/2014/chart" uri="{C3380CC4-5D6E-409C-BE32-E72D297353CC}">
                <c16:uniqueId val="{000005DB-280A-4CC8-864C-E6F154A5A56B}"/>
              </c:ext>
            </c:extLst>
          </c:dPt>
          <c:dPt>
            <c:idx val="749"/>
            <c:invertIfNegative val="1"/>
            <c:bubble3D val="0"/>
            <c:spPr>
              <a:solidFill>
                <a:srgbClr val="AEABAB"/>
              </a:solidFill>
            </c:spPr>
            <c:extLst>
              <c:ext xmlns:c16="http://schemas.microsoft.com/office/drawing/2014/chart" uri="{C3380CC4-5D6E-409C-BE32-E72D297353CC}">
                <c16:uniqueId val="{000005DD-280A-4CC8-864C-E6F154A5A56B}"/>
              </c:ext>
            </c:extLst>
          </c:dPt>
          <c:dPt>
            <c:idx val="750"/>
            <c:invertIfNegative val="1"/>
            <c:bubble3D val="0"/>
            <c:spPr>
              <a:solidFill>
                <a:srgbClr val="AEABAB"/>
              </a:solidFill>
            </c:spPr>
            <c:extLst>
              <c:ext xmlns:c16="http://schemas.microsoft.com/office/drawing/2014/chart" uri="{C3380CC4-5D6E-409C-BE32-E72D297353CC}">
                <c16:uniqueId val="{000005DF-280A-4CC8-864C-E6F154A5A56B}"/>
              </c:ext>
            </c:extLst>
          </c:dPt>
          <c:dPt>
            <c:idx val="751"/>
            <c:invertIfNegative val="1"/>
            <c:bubble3D val="0"/>
            <c:spPr>
              <a:solidFill>
                <a:srgbClr val="AEABAB"/>
              </a:solidFill>
            </c:spPr>
            <c:extLst>
              <c:ext xmlns:c16="http://schemas.microsoft.com/office/drawing/2014/chart" uri="{C3380CC4-5D6E-409C-BE32-E72D297353CC}">
                <c16:uniqueId val="{000005E1-280A-4CC8-864C-E6F154A5A56B}"/>
              </c:ext>
            </c:extLst>
          </c:dPt>
          <c:dPt>
            <c:idx val="752"/>
            <c:invertIfNegative val="1"/>
            <c:bubble3D val="0"/>
            <c:spPr>
              <a:solidFill>
                <a:srgbClr val="AEABAB"/>
              </a:solidFill>
            </c:spPr>
            <c:extLst>
              <c:ext xmlns:c16="http://schemas.microsoft.com/office/drawing/2014/chart" uri="{C3380CC4-5D6E-409C-BE32-E72D297353CC}">
                <c16:uniqueId val="{000005E3-280A-4CC8-864C-E6F154A5A56B}"/>
              </c:ext>
            </c:extLst>
          </c:dPt>
          <c:dPt>
            <c:idx val="753"/>
            <c:invertIfNegative val="1"/>
            <c:bubble3D val="0"/>
            <c:spPr>
              <a:solidFill>
                <a:srgbClr val="AEABAB"/>
              </a:solidFill>
            </c:spPr>
            <c:extLst>
              <c:ext xmlns:c16="http://schemas.microsoft.com/office/drawing/2014/chart" uri="{C3380CC4-5D6E-409C-BE32-E72D297353CC}">
                <c16:uniqueId val="{000005E5-280A-4CC8-864C-E6F154A5A56B}"/>
              </c:ext>
            </c:extLst>
          </c:dPt>
          <c:dPt>
            <c:idx val="754"/>
            <c:invertIfNegative val="1"/>
            <c:bubble3D val="0"/>
            <c:spPr>
              <a:solidFill>
                <a:srgbClr val="AEABAB"/>
              </a:solidFill>
            </c:spPr>
            <c:extLst>
              <c:ext xmlns:c16="http://schemas.microsoft.com/office/drawing/2014/chart" uri="{C3380CC4-5D6E-409C-BE32-E72D297353CC}">
                <c16:uniqueId val="{000005E7-280A-4CC8-864C-E6F154A5A56B}"/>
              </c:ext>
            </c:extLst>
          </c:dPt>
          <c:dPt>
            <c:idx val="755"/>
            <c:invertIfNegative val="1"/>
            <c:bubble3D val="0"/>
            <c:spPr>
              <a:solidFill>
                <a:srgbClr val="AEABAB"/>
              </a:solidFill>
            </c:spPr>
            <c:extLst>
              <c:ext xmlns:c16="http://schemas.microsoft.com/office/drawing/2014/chart" uri="{C3380CC4-5D6E-409C-BE32-E72D297353CC}">
                <c16:uniqueId val="{000005E9-280A-4CC8-864C-E6F154A5A56B}"/>
              </c:ext>
            </c:extLst>
          </c:dPt>
          <c:dPt>
            <c:idx val="756"/>
            <c:invertIfNegative val="1"/>
            <c:bubble3D val="0"/>
            <c:spPr>
              <a:solidFill>
                <a:srgbClr val="AEABAB"/>
              </a:solidFill>
            </c:spPr>
            <c:extLst>
              <c:ext xmlns:c16="http://schemas.microsoft.com/office/drawing/2014/chart" uri="{C3380CC4-5D6E-409C-BE32-E72D297353CC}">
                <c16:uniqueId val="{000005EB-280A-4CC8-864C-E6F154A5A56B}"/>
              </c:ext>
            </c:extLst>
          </c:dPt>
          <c:dPt>
            <c:idx val="757"/>
            <c:invertIfNegative val="1"/>
            <c:bubble3D val="0"/>
            <c:spPr>
              <a:solidFill>
                <a:srgbClr val="AEABAB"/>
              </a:solidFill>
            </c:spPr>
            <c:extLst>
              <c:ext xmlns:c16="http://schemas.microsoft.com/office/drawing/2014/chart" uri="{C3380CC4-5D6E-409C-BE32-E72D297353CC}">
                <c16:uniqueId val="{000005ED-280A-4CC8-864C-E6F154A5A56B}"/>
              </c:ext>
            </c:extLst>
          </c:dPt>
          <c:dPt>
            <c:idx val="758"/>
            <c:invertIfNegative val="1"/>
            <c:bubble3D val="0"/>
            <c:spPr>
              <a:solidFill>
                <a:srgbClr val="AEABAB"/>
              </a:solidFill>
            </c:spPr>
            <c:extLst>
              <c:ext xmlns:c16="http://schemas.microsoft.com/office/drawing/2014/chart" uri="{C3380CC4-5D6E-409C-BE32-E72D297353CC}">
                <c16:uniqueId val="{000005EF-280A-4CC8-864C-E6F154A5A56B}"/>
              </c:ext>
            </c:extLst>
          </c:dPt>
          <c:dPt>
            <c:idx val="759"/>
            <c:invertIfNegative val="1"/>
            <c:bubble3D val="0"/>
            <c:spPr>
              <a:solidFill>
                <a:srgbClr val="AEABAB"/>
              </a:solidFill>
            </c:spPr>
            <c:extLst>
              <c:ext xmlns:c16="http://schemas.microsoft.com/office/drawing/2014/chart" uri="{C3380CC4-5D6E-409C-BE32-E72D297353CC}">
                <c16:uniqueId val="{000005F1-280A-4CC8-864C-E6F154A5A56B}"/>
              </c:ext>
            </c:extLst>
          </c:dPt>
          <c:dPt>
            <c:idx val="760"/>
            <c:invertIfNegative val="1"/>
            <c:bubble3D val="0"/>
            <c:spPr>
              <a:solidFill>
                <a:srgbClr val="AEABAB"/>
              </a:solidFill>
            </c:spPr>
            <c:extLst>
              <c:ext xmlns:c16="http://schemas.microsoft.com/office/drawing/2014/chart" uri="{C3380CC4-5D6E-409C-BE32-E72D297353CC}">
                <c16:uniqueId val="{000005F3-280A-4CC8-864C-E6F154A5A56B}"/>
              </c:ext>
            </c:extLst>
          </c:dPt>
          <c:dPt>
            <c:idx val="761"/>
            <c:invertIfNegative val="1"/>
            <c:bubble3D val="0"/>
            <c:spPr>
              <a:solidFill>
                <a:srgbClr val="AEABAB"/>
              </a:solidFill>
            </c:spPr>
            <c:extLst>
              <c:ext xmlns:c16="http://schemas.microsoft.com/office/drawing/2014/chart" uri="{C3380CC4-5D6E-409C-BE32-E72D297353CC}">
                <c16:uniqueId val="{000005F5-280A-4CC8-864C-E6F154A5A56B}"/>
              </c:ext>
            </c:extLst>
          </c:dPt>
          <c:dPt>
            <c:idx val="762"/>
            <c:invertIfNegative val="1"/>
            <c:bubble3D val="0"/>
            <c:spPr>
              <a:solidFill>
                <a:srgbClr val="AEABAB"/>
              </a:solidFill>
            </c:spPr>
            <c:extLst>
              <c:ext xmlns:c16="http://schemas.microsoft.com/office/drawing/2014/chart" uri="{C3380CC4-5D6E-409C-BE32-E72D297353CC}">
                <c16:uniqueId val="{000005F7-280A-4CC8-864C-E6F154A5A56B}"/>
              </c:ext>
            </c:extLst>
          </c:dPt>
          <c:dPt>
            <c:idx val="763"/>
            <c:invertIfNegative val="1"/>
            <c:bubble3D val="0"/>
            <c:spPr>
              <a:solidFill>
                <a:srgbClr val="AEABAB"/>
              </a:solidFill>
            </c:spPr>
            <c:extLst>
              <c:ext xmlns:c16="http://schemas.microsoft.com/office/drawing/2014/chart" uri="{C3380CC4-5D6E-409C-BE32-E72D297353CC}">
                <c16:uniqueId val="{000005F9-280A-4CC8-864C-E6F154A5A56B}"/>
              </c:ext>
            </c:extLst>
          </c:dPt>
          <c:dPt>
            <c:idx val="764"/>
            <c:invertIfNegative val="1"/>
            <c:bubble3D val="0"/>
            <c:spPr>
              <a:solidFill>
                <a:srgbClr val="AEABAB"/>
              </a:solidFill>
            </c:spPr>
            <c:extLst>
              <c:ext xmlns:c16="http://schemas.microsoft.com/office/drawing/2014/chart" uri="{C3380CC4-5D6E-409C-BE32-E72D297353CC}">
                <c16:uniqueId val="{000005FB-280A-4CC8-864C-E6F154A5A56B}"/>
              </c:ext>
            </c:extLst>
          </c:dPt>
          <c:dPt>
            <c:idx val="765"/>
            <c:invertIfNegative val="1"/>
            <c:bubble3D val="0"/>
            <c:spPr>
              <a:solidFill>
                <a:srgbClr val="AEABAB"/>
              </a:solidFill>
            </c:spPr>
            <c:extLst>
              <c:ext xmlns:c16="http://schemas.microsoft.com/office/drawing/2014/chart" uri="{C3380CC4-5D6E-409C-BE32-E72D297353CC}">
                <c16:uniqueId val="{000005FD-280A-4CC8-864C-E6F154A5A56B}"/>
              </c:ext>
            </c:extLst>
          </c:dPt>
          <c:dPt>
            <c:idx val="766"/>
            <c:invertIfNegative val="1"/>
            <c:bubble3D val="0"/>
            <c:spPr>
              <a:solidFill>
                <a:srgbClr val="AEABAB"/>
              </a:solidFill>
            </c:spPr>
            <c:extLst>
              <c:ext xmlns:c16="http://schemas.microsoft.com/office/drawing/2014/chart" uri="{C3380CC4-5D6E-409C-BE32-E72D297353CC}">
                <c16:uniqueId val="{000005FF-280A-4CC8-864C-E6F154A5A56B}"/>
              </c:ext>
            </c:extLst>
          </c:dPt>
          <c:dPt>
            <c:idx val="767"/>
            <c:invertIfNegative val="1"/>
            <c:bubble3D val="0"/>
            <c:spPr>
              <a:solidFill>
                <a:srgbClr val="AEABAB"/>
              </a:solidFill>
            </c:spPr>
            <c:extLst>
              <c:ext xmlns:c16="http://schemas.microsoft.com/office/drawing/2014/chart" uri="{C3380CC4-5D6E-409C-BE32-E72D297353CC}">
                <c16:uniqueId val="{00000601-280A-4CC8-864C-E6F154A5A56B}"/>
              </c:ext>
            </c:extLst>
          </c:dPt>
          <c:dPt>
            <c:idx val="768"/>
            <c:invertIfNegative val="1"/>
            <c:bubble3D val="0"/>
            <c:spPr>
              <a:solidFill>
                <a:srgbClr val="AEABAB"/>
              </a:solidFill>
            </c:spPr>
            <c:extLst>
              <c:ext xmlns:c16="http://schemas.microsoft.com/office/drawing/2014/chart" uri="{C3380CC4-5D6E-409C-BE32-E72D297353CC}">
                <c16:uniqueId val="{00000603-280A-4CC8-864C-E6F154A5A56B}"/>
              </c:ext>
            </c:extLst>
          </c:dPt>
          <c:dPt>
            <c:idx val="769"/>
            <c:invertIfNegative val="1"/>
            <c:bubble3D val="0"/>
            <c:spPr>
              <a:solidFill>
                <a:srgbClr val="AEABAB"/>
              </a:solidFill>
            </c:spPr>
            <c:extLst>
              <c:ext xmlns:c16="http://schemas.microsoft.com/office/drawing/2014/chart" uri="{C3380CC4-5D6E-409C-BE32-E72D297353CC}">
                <c16:uniqueId val="{00000605-280A-4CC8-864C-E6F154A5A56B}"/>
              </c:ext>
            </c:extLst>
          </c:dPt>
          <c:dPt>
            <c:idx val="770"/>
            <c:invertIfNegative val="1"/>
            <c:bubble3D val="0"/>
            <c:spPr>
              <a:solidFill>
                <a:srgbClr val="AEABAB"/>
              </a:solidFill>
            </c:spPr>
            <c:extLst>
              <c:ext xmlns:c16="http://schemas.microsoft.com/office/drawing/2014/chart" uri="{C3380CC4-5D6E-409C-BE32-E72D297353CC}">
                <c16:uniqueId val="{00000607-280A-4CC8-864C-E6F154A5A56B}"/>
              </c:ext>
            </c:extLst>
          </c:dPt>
          <c:dPt>
            <c:idx val="771"/>
            <c:invertIfNegative val="1"/>
            <c:bubble3D val="0"/>
            <c:spPr>
              <a:solidFill>
                <a:srgbClr val="AEABAB"/>
              </a:solidFill>
            </c:spPr>
            <c:extLst>
              <c:ext xmlns:c16="http://schemas.microsoft.com/office/drawing/2014/chart" uri="{C3380CC4-5D6E-409C-BE32-E72D297353CC}">
                <c16:uniqueId val="{00000609-280A-4CC8-864C-E6F154A5A56B}"/>
              </c:ext>
            </c:extLst>
          </c:dPt>
          <c:dPt>
            <c:idx val="772"/>
            <c:invertIfNegative val="1"/>
            <c:bubble3D val="0"/>
            <c:spPr>
              <a:solidFill>
                <a:srgbClr val="AEABAB"/>
              </a:solidFill>
            </c:spPr>
            <c:extLst>
              <c:ext xmlns:c16="http://schemas.microsoft.com/office/drawing/2014/chart" uri="{C3380CC4-5D6E-409C-BE32-E72D297353CC}">
                <c16:uniqueId val="{0000060B-280A-4CC8-864C-E6F154A5A56B}"/>
              </c:ext>
            </c:extLst>
          </c:dPt>
          <c:dPt>
            <c:idx val="773"/>
            <c:invertIfNegative val="1"/>
            <c:bubble3D val="0"/>
            <c:spPr>
              <a:solidFill>
                <a:srgbClr val="AEABAB"/>
              </a:solidFill>
            </c:spPr>
            <c:extLst>
              <c:ext xmlns:c16="http://schemas.microsoft.com/office/drawing/2014/chart" uri="{C3380CC4-5D6E-409C-BE32-E72D297353CC}">
                <c16:uniqueId val="{0000060D-280A-4CC8-864C-E6F154A5A56B}"/>
              </c:ext>
            </c:extLst>
          </c:dPt>
          <c:dPt>
            <c:idx val="774"/>
            <c:invertIfNegative val="1"/>
            <c:bubble3D val="0"/>
            <c:spPr>
              <a:solidFill>
                <a:srgbClr val="AEABAB"/>
              </a:solidFill>
            </c:spPr>
            <c:extLst>
              <c:ext xmlns:c16="http://schemas.microsoft.com/office/drawing/2014/chart" uri="{C3380CC4-5D6E-409C-BE32-E72D297353CC}">
                <c16:uniqueId val="{0000060F-280A-4CC8-864C-E6F154A5A56B}"/>
              </c:ext>
            </c:extLst>
          </c:dPt>
          <c:dPt>
            <c:idx val="775"/>
            <c:invertIfNegative val="1"/>
            <c:bubble3D val="0"/>
            <c:spPr>
              <a:solidFill>
                <a:srgbClr val="AEABAB"/>
              </a:solidFill>
            </c:spPr>
            <c:extLst>
              <c:ext xmlns:c16="http://schemas.microsoft.com/office/drawing/2014/chart" uri="{C3380CC4-5D6E-409C-BE32-E72D297353CC}">
                <c16:uniqueId val="{00000611-280A-4CC8-864C-E6F154A5A56B}"/>
              </c:ext>
            </c:extLst>
          </c:dPt>
          <c:dPt>
            <c:idx val="776"/>
            <c:invertIfNegative val="1"/>
            <c:bubble3D val="0"/>
            <c:spPr>
              <a:solidFill>
                <a:srgbClr val="AEABAB"/>
              </a:solidFill>
            </c:spPr>
            <c:extLst>
              <c:ext xmlns:c16="http://schemas.microsoft.com/office/drawing/2014/chart" uri="{C3380CC4-5D6E-409C-BE32-E72D297353CC}">
                <c16:uniqueId val="{00000613-280A-4CC8-864C-E6F154A5A56B}"/>
              </c:ext>
            </c:extLst>
          </c:dPt>
          <c:dPt>
            <c:idx val="777"/>
            <c:invertIfNegative val="1"/>
            <c:bubble3D val="0"/>
            <c:spPr>
              <a:solidFill>
                <a:srgbClr val="AEABAB"/>
              </a:solidFill>
            </c:spPr>
            <c:extLst>
              <c:ext xmlns:c16="http://schemas.microsoft.com/office/drawing/2014/chart" uri="{C3380CC4-5D6E-409C-BE32-E72D297353CC}">
                <c16:uniqueId val="{00000615-280A-4CC8-864C-E6F154A5A56B}"/>
              </c:ext>
            </c:extLst>
          </c:dPt>
          <c:dPt>
            <c:idx val="778"/>
            <c:invertIfNegative val="1"/>
            <c:bubble3D val="0"/>
            <c:spPr>
              <a:solidFill>
                <a:srgbClr val="AEABAB"/>
              </a:solidFill>
            </c:spPr>
            <c:extLst>
              <c:ext xmlns:c16="http://schemas.microsoft.com/office/drawing/2014/chart" uri="{C3380CC4-5D6E-409C-BE32-E72D297353CC}">
                <c16:uniqueId val="{00000617-280A-4CC8-864C-E6F154A5A56B}"/>
              </c:ext>
            </c:extLst>
          </c:dPt>
          <c:dPt>
            <c:idx val="779"/>
            <c:invertIfNegative val="1"/>
            <c:bubble3D val="0"/>
            <c:spPr>
              <a:solidFill>
                <a:srgbClr val="AEABAB"/>
              </a:solidFill>
            </c:spPr>
            <c:extLst>
              <c:ext xmlns:c16="http://schemas.microsoft.com/office/drawing/2014/chart" uri="{C3380CC4-5D6E-409C-BE32-E72D297353CC}">
                <c16:uniqueId val="{00000619-280A-4CC8-864C-E6F154A5A56B}"/>
              </c:ext>
            </c:extLst>
          </c:dPt>
          <c:dPt>
            <c:idx val="780"/>
            <c:invertIfNegative val="1"/>
            <c:bubble3D val="0"/>
            <c:spPr>
              <a:solidFill>
                <a:srgbClr val="AEABAB"/>
              </a:solidFill>
            </c:spPr>
            <c:extLst>
              <c:ext xmlns:c16="http://schemas.microsoft.com/office/drawing/2014/chart" uri="{C3380CC4-5D6E-409C-BE32-E72D297353CC}">
                <c16:uniqueId val="{0000061B-280A-4CC8-864C-E6F154A5A56B}"/>
              </c:ext>
            </c:extLst>
          </c:dPt>
          <c:dPt>
            <c:idx val="781"/>
            <c:invertIfNegative val="1"/>
            <c:bubble3D val="0"/>
            <c:spPr>
              <a:solidFill>
                <a:srgbClr val="AEABAB"/>
              </a:solidFill>
            </c:spPr>
            <c:extLst>
              <c:ext xmlns:c16="http://schemas.microsoft.com/office/drawing/2014/chart" uri="{C3380CC4-5D6E-409C-BE32-E72D297353CC}">
                <c16:uniqueId val="{0000061D-280A-4CC8-864C-E6F154A5A56B}"/>
              </c:ext>
            </c:extLst>
          </c:dPt>
          <c:dPt>
            <c:idx val="782"/>
            <c:invertIfNegative val="1"/>
            <c:bubble3D val="0"/>
            <c:spPr>
              <a:solidFill>
                <a:srgbClr val="AEABAB"/>
              </a:solidFill>
            </c:spPr>
            <c:extLst>
              <c:ext xmlns:c16="http://schemas.microsoft.com/office/drawing/2014/chart" uri="{C3380CC4-5D6E-409C-BE32-E72D297353CC}">
                <c16:uniqueId val="{0000061F-280A-4CC8-864C-E6F154A5A56B}"/>
              </c:ext>
            </c:extLst>
          </c:dPt>
          <c:dPt>
            <c:idx val="783"/>
            <c:invertIfNegative val="1"/>
            <c:bubble3D val="0"/>
            <c:spPr>
              <a:solidFill>
                <a:srgbClr val="AEABAB"/>
              </a:solidFill>
            </c:spPr>
            <c:extLst>
              <c:ext xmlns:c16="http://schemas.microsoft.com/office/drawing/2014/chart" uri="{C3380CC4-5D6E-409C-BE32-E72D297353CC}">
                <c16:uniqueId val="{00000621-280A-4CC8-864C-E6F154A5A56B}"/>
              </c:ext>
            </c:extLst>
          </c:dPt>
          <c:dPt>
            <c:idx val="784"/>
            <c:invertIfNegative val="1"/>
            <c:bubble3D val="0"/>
            <c:spPr>
              <a:solidFill>
                <a:srgbClr val="AEABAB"/>
              </a:solidFill>
            </c:spPr>
            <c:extLst>
              <c:ext xmlns:c16="http://schemas.microsoft.com/office/drawing/2014/chart" uri="{C3380CC4-5D6E-409C-BE32-E72D297353CC}">
                <c16:uniqueId val="{00000623-280A-4CC8-864C-E6F154A5A56B}"/>
              </c:ext>
            </c:extLst>
          </c:dPt>
          <c:dPt>
            <c:idx val="785"/>
            <c:invertIfNegative val="1"/>
            <c:bubble3D val="0"/>
            <c:spPr>
              <a:solidFill>
                <a:srgbClr val="AEABAB"/>
              </a:solidFill>
            </c:spPr>
            <c:extLst>
              <c:ext xmlns:c16="http://schemas.microsoft.com/office/drawing/2014/chart" uri="{C3380CC4-5D6E-409C-BE32-E72D297353CC}">
                <c16:uniqueId val="{00000625-280A-4CC8-864C-E6F154A5A56B}"/>
              </c:ext>
            </c:extLst>
          </c:dPt>
          <c:dPt>
            <c:idx val="786"/>
            <c:invertIfNegative val="1"/>
            <c:bubble3D val="0"/>
            <c:spPr>
              <a:solidFill>
                <a:srgbClr val="AEABAB"/>
              </a:solidFill>
            </c:spPr>
            <c:extLst>
              <c:ext xmlns:c16="http://schemas.microsoft.com/office/drawing/2014/chart" uri="{C3380CC4-5D6E-409C-BE32-E72D297353CC}">
                <c16:uniqueId val="{00000627-280A-4CC8-864C-E6F154A5A56B}"/>
              </c:ext>
            </c:extLst>
          </c:dPt>
          <c:dPt>
            <c:idx val="787"/>
            <c:invertIfNegative val="1"/>
            <c:bubble3D val="0"/>
            <c:spPr>
              <a:solidFill>
                <a:srgbClr val="AEABAB"/>
              </a:solidFill>
            </c:spPr>
            <c:extLst>
              <c:ext xmlns:c16="http://schemas.microsoft.com/office/drawing/2014/chart" uri="{C3380CC4-5D6E-409C-BE32-E72D297353CC}">
                <c16:uniqueId val="{00000629-280A-4CC8-864C-E6F154A5A56B}"/>
              </c:ext>
            </c:extLst>
          </c:dPt>
          <c:dPt>
            <c:idx val="788"/>
            <c:invertIfNegative val="1"/>
            <c:bubble3D val="0"/>
            <c:spPr>
              <a:solidFill>
                <a:srgbClr val="AEABAB"/>
              </a:solidFill>
            </c:spPr>
            <c:extLst>
              <c:ext xmlns:c16="http://schemas.microsoft.com/office/drawing/2014/chart" uri="{C3380CC4-5D6E-409C-BE32-E72D297353CC}">
                <c16:uniqueId val="{0000062B-280A-4CC8-864C-E6F154A5A56B}"/>
              </c:ext>
            </c:extLst>
          </c:dPt>
          <c:dPt>
            <c:idx val="789"/>
            <c:invertIfNegative val="1"/>
            <c:bubble3D val="0"/>
            <c:spPr>
              <a:solidFill>
                <a:srgbClr val="AEABAB"/>
              </a:solidFill>
            </c:spPr>
            <c:extLst>
              <c:ext xmlns:c16="http://schemas.microsoft.com/office/drawing/2014/chart" uri="{C3380CC4-5D6E-409C-BE32-E72D297353CC}">
                <c16:uniqueId val="{0000062D-280A-4CC8-864C-E6F154A5A56B}"/>
              </c:ext>
            </c:extLst>
          </c:dPt>
          <c:dPt>
            <c:idx val="790"/>
            <c:invertIfNegative val="1"/>
            <c:bubble3D val="0"/>
            <c:spPr>
              <a:solidFill>
                <a:srgbClr val="AEABAB"/>
              </a:solidFill>
            </c:spPr>
            <c:extLst>
              <c:ext xmlns:c16="http://schemas.microsoft.com/office/drawing/2014/chart" uri="{C3380CC4-5D6E-409C-BE32-E72D297353CC}">
                <c16:uniqueId val="{0000062F-280A-4CC8-864C-E6F154A5A56B}"/>
              </c:ext>
            </c:extLst>
          </c:dPt>
          <c:dPt>
            <c:idx val="791"/>
            <c:invertIfNegative val="1"/>
            <c:bubble3D val="0"/>
            <c:spPr>
              <a:solidFill>
                <a:srgbClr val="AEABAB"/>
              </a:solidFill>
            </c:spPr>
            <c:extLst>
              <c:ext xmlns:c16="http://schemas.microsoft.com/office/drawing/2014/chart" uri="{C3380CC4-5D6E-409C-BE32-E72D297353CC}">
                <c16:uniqueId val="{00000631-280A-4CC8-864C-E6F154A5A56B}"/>
              </c:ext>
            </c:extLst>
          </c:dPt>
          <c:dPt>
            <c:idx val="792"/>
            <c:invertIfNegative val="1"/>
            <c:bubble3D val="0"/>
            <c:spPr>
              <a:solidFill>
                <a:srgbClr val="AEABAB"/>
              </a:solidFill>
            </c:spPr>
            <c:extLst>
              <c:ext xmlns:c16="http://schemas.microsoft.com/office/drawing/2014/chart" uri="{C3380CC4-5D6E-409C-BE32-E72D297353CC}">
                <c16:uniqueId val="{00000633-280A-4CC8-864C-E6F154A5A56B}"/>
              </c:ext>
            </c:extLst>
          </c:dPt>
          <c:dPt>
            <c:idx val="793"/>
            <c:invertIfNegative val="1"/>
            <c:bubble3D val="0"/>
            <c:spPr>
              <a:solidFill>
                <a:srgbClr val="AEABAB"/>
              </a:solidFill>
            </c:spPr>
            <c:extLst>
              <c:ext xmlns:c16="http://schemas.microsoft.com/office/drawing/2014/chart" uri="{C3380CC4-5D6E-409C-BE32-E72D297353CC}">
                <c16:uniqueId val="{00000635-280A-4CC8-864C-E6F154A5A56B}"/>
              </c:ext>
            </c:extLst>
          </c:dPt>
          <c:dPt>
            <c:idx val="794"/>
            <c:invertIfNegative val="1"/>
            <c:bubble3D val="0"/>
            <c:spPr>
              <a:solidFill>
                <a:srgbClr val="AEABAB"/>
              </a:solidFill>
            </c:spPr>
            <c:extLst>
              <c:ext xmlns:c16="http://schemas.microsoft.com/office/drawing/2014/chart" uri="{C3380CC4-5D6E-409C-BE32-E72D297353CC}">
                <c16:uniqueId val="{00000637-280A-4CC8-864C-E6F154A5A56B}"/>
              </c:ext>
            </c:extLst>
          </c:dPt>
          <c:dPt>
            <c:idx val="795"/>
            <c:invertIfNegative val="1"/>
            <c:bubble3D val="0"/>
            <c:spPr>
              <a:solidFill>
                <a:srgbClr val="AEABAB"/>
              </a:solidFill>
            </c:spPr>
            <c:extLst>
              <c:ext xmlns:c16="http://schemas.microsoft.com/office/drawing/2014/chart" uri="{C3380CC4-5D6E-409C-BE32-E72D297353CC}">
                <c16:uniqueId val="{00000639-280A-4CC8-864C-E6F154A5A56B}"/>
              </c:ext>
            </c:extLst>
          </c:dPt>
          <c:dPt>
            <c:idx val="796"/>
            <c:invertIfNegative val="1"/>
            <c:bubble3D val="0"/>
            <c:spPr>
              <a:solidFill>
                <a:srgbClr val="AEABAB"/>
              </a:solidFill>
            </c:spPr>
            <c:extLst>
              <c:ext xmlns:c16="http://schemas.microsoft.com/office/drawing/2014/chart" uri="{C3380CC4-5D6E-409C-BE32-E72D297353CC}">
                <c16:uniqueId val="{0000063B-280A-4CC8-864C-E6F154A5A56B}"/>
              </c:ext>
            </c:extLst>
          </c:dPt>
          <c:dPt>
            <c:idx val="797"/>
            <c:invertIfNegative val="1"/>
            <c:bubble3D val="0"/>
            <c:spPr>
              <a:solidFill>
                <a:srgbClr val="AEABAB"/>
              </a:solidFill>
            </c:spPr>
            <c:extLst>
              <c:ext xmlns:c16="http://schemas.microsoft.com/office/drawing/2014/chart" uri="{C3380CC4-5D6E-409C-BE32-E72D297353CC}">
                <c16:uniqueId val="{0000063D-280A-4CC8-864C-E6F154A5A56B}"/>
              </c:ext>
            </c:extLst>
          </c:dPt>
          <c:dPt>
            <c:idx val="798"/>
            <c:invertIfNegative val="1"/>
            <c:bubble3D val="0"/>
            <c:spPr>
              <a:solidFill>
                <a:srgbClr val="AEABAB"/>
              </a:solidFill>
            </c:spPr>
            <c:extLst>
              <c:ext xmlns:c16="http://schemas.microsoft.com/office/drawing/2014/chart" uri="{C3380CC4-5D6E-409C-BE32-E72D297353CC}">
                <c16:uniqueId val="{0000063F-280A-4CC8-864C-E6F154A5A56B}"/>
              </c:ext>
            </c:extLst>
          </c:dPt>
          <c:dPt>
            <c:idx val="799"/>
            <c:invertIfNegative val="1"/>
            <c:bubble3D val="0"/>
            <c:spPr>
              <a:solidFill>
                <a:srgbClr val="AEABAB"/>
              </a:solidFill>
            </c:spPr>
            <c:extLst>
              <c:ext xmlns:c16="http://schemas.microsoft.com/office/drawing/2014/chart" uri="{C3380CC4-5D6E-409C-BE32-E72D297353CC}">
                <c16:uniqueId val="{00000641-280A-4CC8-864C-E6F154A5A56B}"/>
              </c:ext>
            </c:extLst>
          </c:dPt>
          <c:dPt>
            <c:idx val="800"/>
            <c:invertIfNegative val="1"/>
            <c:bubble3D val="0"/>
            <c:spPr>
              <a:solidFill>
                <a:srgbClr val="AEABAB"/>
              </a:solidFill>
            </c:spPr>
            <c:extLst>
              <c:ext xmlns:c16="http://schemas.microsoft.com/office/drawing/2014/chart" uri="{C3380CC4-5D6E-409C-BE32-E72D297353CC}">
                <c16:uniqueId val="{00000643-280A-4CC8-864C-E6F154A5A56B}"/>
              </c:ext>
            </c:extLst>
          </c:dPt>
          <c:dPt>
            <c:idx val="801"/>
            <c:invertIfNegative val="1"/>
            <c:bubble3D val="0"/>
            <c:spPr>
              <a:solidFill>
                <a:srgbClr val="AEABAB"/>
              </a:solidFill>
            </c:spPr>
            <c:extLst>
              <c:ext xmlns:c16="http://schemas.microsoft.com/office/drawing/2014/chart" uri="{C3380CC4-5D6E-409C-BE32-E72D297353CC}">
                <c16:uniqueId val="{00000645-280A-4CC8-864C-E6F154A5A56B}"/>
              </c:ext>
            </c:extLst>
          </c:dPt>
          <c:dPt>
            <c:idx val="802"/>
            <c:invertIfNegative val="1"/>
            <c:bubble3D val="0"/>
            <c:spPr>
              <a:solidFill>
                <a:srgbClr val="AEABAB"/>
              </a:solidFill>
            </c:spPr>
            <c:extLst>
              <c:ext xmlns:c16="http://schemas.microsoft.com/office/drawing/2014/chart" uri="{C3380CC4-5D6E-409C-BE32-E72D297353CC}">
                <c16:uniqueId val="{00000647-280A-4CC8-864C-E6F154A5A56B}"/>
              </c:ext>
            </c:extLst>
          </c:dPt>
          <c:dPt>
            <c:idx val="803"/>
            <c:invertIfNegative val="1"/>
            <c:bubble3D val="0"/>
            <c:spPr>
              <a:solidFill>
                <a:srgbClr val="AEABAB"/>
              </a:solidFill>
            </c:spPr>
            <c:extLst>
              <c:ext xmlns:c16="http://schemas.microsoft.com/office/drawing/2014/chart" uri="{C3380CC4-5D6E-409C-BE32-E72D297353CC}">
                <c16:uniqueId val="{00000649-280A-4CC8-864C-E6F154A5A56B}"/>
              </c:ext>
            </c:extLst>
          </c:dPt>
          <c:dPt>
            <c:idx val="804"/>
            <c:invertIfNegative val="1"/>
            <c:bubble3D val="0"/>
            <c:spPr>
              <a:solidFill>
                <a:srgbClr val="AEABAB"/>
              </a:solidFill>
            </c:spPr>
            <c:extLst>
              <c:ext xmlns:c16="http://schemas.microsoft.com/office/drawing/2014/chart" uri="{C3380CC4-5D6E-409C-BE32-E72D297353CC}">
                <c16:uniqueId val="{0000064B-280A-4CC8-864C-E6F154A5A56B}"/>
              </c:ext>
            </c:extLst>
          </c:dPt>
          <c:dPt>
            <c:idx val="805"/>
            <c:invertIfNegative val="1"/>
            <c:bubble3D val="0"/>
            <c:spPr>
              <a:solidFill>
                <a:srgbClr val="AEABAB"/>
              </a:solidFill>
            </c:spPr>
            <c:extLst>
              <c:ext xmlns:c16="http://schemas.microsoft.com/office/drawing/2014/chart" uri="{C3380CC4-5D6E-409C-BE32-E72D297353CC}">
                <c16:uniqueId val="{0000064D-280A-4CC8-864C-E6F154A5A56B}"/>
              </c:ext>
            </c:extLst>
          </c:dPt>
          <c:dPt>
            <c:idx val="806"/>
            <c:invertIfNegative val="1"/>
            <c:bubble3D val="0"/>
            <c:spPr>
              <a:solidFill>
                <a:srgbClr val="AEABAB"/>
              </a:solidFill>
            </c:spPr>
            <c:extLst>
              <c:ext xmlns:c16="http://schemas.microsoft.com/office/drawing/2014/chart" uri="{C3380CC4-5D6E-409C-BE32-E72D297353CC}">
                <c16:uniqueId val="{0000064F-280A-4CC8-864C-E6F154A5A56B}"/>
              </c:ext>
            </c:extLst>
          </c:dPt>
          <c:dPt>
            <c:idx val="807"/>
            <c:invertIfNegative val="1"/>
            <c:bubble3D val="0"/>
            <c:spPr>
              <a:solidFill>
                <a:srgbClr val="AEABAB"/>
              </a:solidFill>
            </c:spPr>
            <c:extLst>
              <c:ext xmlns:c16="http://schemas.microsoft.com/office/drawing/2014/chart" uri="{C3380CC4-5D6E-409C-BE32-E72D297353CC}">
                <c16:uniqueId val="{00000651-280A-4CC8-864C-E6F154A5A56B}"/>
              </c:ext>
            </c:extLst>
          </c:dPt>
          <c:dPt>
            <c:idx val="808"/>
            <c:invertIfNegative val="1"/>
            <c:bubble3D val="0"/>
            <c:spPr>
              <a:solidFill>
                <a:srgbClr val="AEABAB"/>
              </a:solidFill>
            </c:spPr>
            <c:extLst>
              <c:ext xmlns:c16="http://schemas.microsoft.com/office/drawing/2014/chart" uri="{C3380CC4-5D6E-409C-BE32-E72D297353CC}">
                <c16:uniqueId val="{00000653-280A-4CC8-864C-E6F154A5A56B}"/>
              </c:ext>
            </c:extLst>
          </c:dPt>
          <c:dPt>
            <c:idx val="809"/>
            <c:invertIfNegative val="1"/>
            <c:bubble3D val="0"/>
            <c:spPr>
              <a:solidFill>
                <a:srgbClr val="AEABAB"/>
              </a:solidFill>
            </c:spPr>
            <c:extLst>
              <c:ext xmlns:c16="http://schemas.microsoft.com/office/drawing/2014/chart" uri="{C3380CC4-5D6E-409C-BE32-E72D297353CC}">
                <c16:uniqueId val="{00000655-280A-4CC8-864C-E6F154A5A56B}"/>
              </c:ext>
            </c:extLst>
          </c:dPt>
          <c:dPt>
            <c:idx val="810"/>
            <c:invertIfNegative val="1"/>
            <c:bubble3D val="0"/>
            <c:spPr>
              <a:solidFill>
                <a:srgbClr val="AEABAB"/>
              </a:solidFill>
            </c:spPr>
            <c:extLst>
              <c:ext xmlns:c16="http://schemas.microsoft.com/office/drawing/2014/chart" uri="{C3380CC4-5D6E-409C-BE32-E72D297353CC}">
                <c16:uniqueId val="{00000657-280A-4CC8-864C-E6F154A5A56B}"/>
              </c:ext>
            </c:extLst>
          </c:dPt>
          <c:dPt>
            <c:idx val="811"/>
            <c:invertIfNegative val="1"/>
            <c:bubble3D val="0"/>
            <c:spPr>
              <a:solidFill>
                <a:srgbClr val="AEABAB"/>
              </a:solidFill>
            </c:spPr>
            <c:extLst>
              <c:ext xmlns:c16="http://schemas.microsoft.com/office/drawing/2014/chart" uri="{C3380CC4-5D6E-409C-BE32-E72D297353CC}">
                <c16:uniqueId val="{00000659-280A-4CC8-864C-E6F154A5A56B}"/>
              </c:ext>
            </c:extLst>
          </c:dPt>
          <c:dPt>
            <c:idx val="812"/>
            <c:invertIfNegative val="1"/>
            <c:bubble3D val="0"/>
            <c:spPr>
              <a:solidFill>
                <a:srgbClr val="AEABAB"/>
              </a:solidFill>
            </c:spPr>
            <c:extLst>
              <c:ext xmlns:c16="http://schemas.microsoft.com/office/drawing/2014/chart" uri="{C3380CC4-5D6E-409C-BE32-E72D297353CC}">
                <c16:uniqueId val="{0000065B-280A-4CC8-864C-E6F154A5A56B}"/>
              </c:ext>
            </c:extLst>
          </c:dPt>
          <c:dPt>
            <c:idx val="813"/>
            <c:invertIfNegative val="1"/>
            <c:bubble3D val="0"/>
            <c:spPr>
              <a:solidFill>
                <a:srgbClr val="AEABAB"/>
              </a:solidFill>
            </c:spPr>
            <c:extLst>
              <c:ext xmlns:c16="http://schemas.microsoft.com/office/drawing/2014/chart" uri="{C3380CC4-5D6E-409C-BE32-E72D297353CC}">
                <c16:uniqueId val="{0000065D-280A-4CC8-864C-E6F154A5A56B}"/>
              </c:ext>
            </c:extLst>
          </c:dPt>
          <c:dPt>
            <c:idx val="814"/>
            <c:invertIfNegative val="1"/>
            <c:bubble3D val="0"/>
            <c:spPr>
              <a:solidFill>
                <a:srgbClr val="AEABAB"/>
              </a:solidFill>
            </c:spPr>
            <c:extLst>
              <c:ext xmlns:c16="http://schemas.microsoft.com/office/drawing/2014/chart" uri="{C3380CC4-5D6E-409C-BE32-E72D297353CC}">
                <c16:uniqueId val="{0000065F-280A-4CC8-864C-E6F154A5A56B}"/>
              </c:ext>
            </c:extLst>
          </c:dPt>
          <c:dPt>
            <c:idx val="815"/>
            <c:invertIfNegative val="1"/>
            <c:bubble3D val="0"/>
            <c:spPr>
              <a:solidFill>
                <a:srgbClr val="AEABAB"/>
              </a:solidFill>
            </c:spPr>
            <c:extLst>
              <c:ext xmlns:c16="http://schemas.microsoft.com/office/drawing/2014/chart" uri="{C3380CC4-5D6E-409C-BE32-E72D297353CC}">
                <c16:uniqueId val="{00000661-280A-4CC8-864C-E6F154A5A56B}"/>
              </c:ext>
            </c:extLst>
          </c:dPt>
          <c:dPt>
            <c:idx val="816"/>
            <c:invertIfNegative val="1"/>
            <c:bubble3D val="0"/>
            <c:spPr>
              <a:solidFill>
                <a:srgbClr val="AEABAB"/>
              </a:solidFill>
            </c:spPr>
            <c:extLst>
              <c:ext xmlns:c16="http://schemas.microsoft.com/office/drawing/2014/chart" uri="{C3380CC4-5D6E-409C-BE32-E72D297353CC}">
                <c16:uniqueId val="{00000663-280A-4CC8-864C-E6F154A5A56B}"/>
              </c:ext>
            </c:extLst>
          </c:dPt>
          <c:dPt>
            <c:idx val="817"/>
            <c:invertIfNegative val="1"/>
            <c:bubble3D val="0"/>
            <c:spPr>
              <a:solidFill>
                <a:srgbClr val="AEABAB"/>
              </a:solidFill>
            </c:spPr>
            <c:extLst>
              <c:ext xmlns:c16="http://schemas.microsoft.com/office/drawing/2014/chart" uri="{C3380CC4-5D6E-409C-BE32-E72D297353CC}">
                <c16:uniqueId val="{00000665-280A-4CC8-864C-E6F154A5A56B}"/>
              </c:ext>
            </c:extLst>
          </c:dPt>
          <c:dPt>
            <c:idx val="818"/>
            <c:invertIfNegative val="1"/>
            <c:bubble3D val="0"/>
            <c:spPr>
              <a:solidFill>
                <a:srgbClr val="AEABAB"/>
              </a:solidFill>
            </c:spPr>
            <c:extLst>
              <c:ext xmlns:c16="http://schemas.microsoft.com/office/drawing/2014/chart" uri="{C3380CC4-5D6E-409C-BE32-E72D297353CC}">
                <c16:uniqueId val="{00000667-280A-4CC8-864C-E6F154A5A56B}"/>
              </c:ext>
            </c:extLst>
          </c:dPt>
          <c:dPt>
            <c:idx val="819"/>
            <c:invertIfNegative val="1"/>
            <c:bubble3D val="0"/>
            <c:spPr>
              <a:solidFill>
                <a:srgbClr val="AEABAB"/>
              </a:solidFill>
            </c:spPr>
            <c:extLst>
              <c:ext xmlns:c16="http://schemas.microsoft.com/office/drawing/2014/chart" uri="{C3380CC4-5D6E-409C-BE32-E72D297353CC}">
                <c16:uniqueId val="{00000669-280A-4CC8-864C-E6F154A5A56B}"/>
              </c:ext>
            </c:extLst>
          </c:dPt>
          <c:dPt>
            <c:idx val="820"/>
            <c:invertIfNegative val="1"/>
            <c:bubble3D val="0"/>
            <c:spPr>
              <a:solidFill>
                <a:srgbClr val="AEABAB"/>
              </a:solidFill>
            </c:spPr>
            <c:extLst>
              <c:ext xmlns:c16="http://schemas.microsoft.com/office/drawing/2014/chart" uri="{C3380CC4-5D6E-409C-BE32-E72D297353CC}">
                <c16:uniqueId val="{0000066B-280A-4CC8-864C-E6F154A5A56B}"/>
              </c:ext>
            </c:extLst>
          </c:dPt>
          <c:dPt>
            <c:idx val="821"/>
            <c:invertIfNegative val="1"/>
            <c:bubble3D val="0"/>
            <c:spPr>
              <a:solidFill>
                <a:srgbClr val="AEABAB"/>
              </a:solidFill>
            </c:spPr>
            <c:extLst>
              <c:ext xmlns:c16="http://schemas.microsoft.com/office/drawing/2014/chart" uri="{C3380CC4-5D6E-409C-BE32-E72D297353CC}">
                <c16:uniqueId val="{0000066D-280A-4CC8-864C-E6F154A5A56B}"/>
              </c:ext>
            </c:extLst>
          </c:dPt>
          <c:dPt>
            <c:idx val="822"/>
            <c:invertIfNegative val="1"/>
            <c:bubble3D val="0"/>
            <c:spPr>
              <a:solidFill>
                <a:srgbClr val="AEABAB"/>
              </a:solidFill>
            </c:spPr>
            <c:extLst>
              <c:ext xmlns:c16="http://schemas.microsoft.com/office/drawing/2014/chart" uri="{C3380CC4-5D6E-409C-BE32-E72D297353CC}">
                <c16:uniqueId val="{0000066F-280A-4CC8-864C-E6F154A5A56B}"/>
              </c:ext>
            </c:extLst>
          </c:dPt>
          <c:dPt>
            <c:idx val="823"/>
            <c:invertIfNegative val="1"/>
            <c:bubble3D val="0"/>
            <c:spPr>
              <a:solidFill>
                <a:srgbClr val="AEABAB"/>
              </a:solidFill>
            </c:spPr>
            <c:extLst>
              <c:ext xmlns:c16="http://schemas.microsoft.com/office/drawing/2014/chart" uri="{C3380CC4-5D6E-409C-BE32-E72D297353CC}">
                <c16:uniqueId val="{00000671-280A-4CC8-864C-E6F154A5A56B}"/>
              </c:ext>
            </c:extLst>
          </c:dPt>
          <c:dPt>
            <c:idx val="824"/>
            <c:invertIfNegative val="1"/>
            <c:bubble3D val="0"/>
            <c:spPr>
              <a:solidFill>
                <a:srgbClr val="AEABAB"/>
              </a:solidFill>
            </c:spPr>
            <c:extLst>
              <c:ext xmlns:c16="http://schemas.microsoft.com/office/drawing/2014/chart" uri="{C3380CC4-5D6E-409C-BE32-E72D297353CC}">
                <c16:uniqueId val="{00000673-280A-4CC8-864C-E6F154A5A56B}"/>
              </c:ext>
            </c:extLst>
          </c:dPt>
          <c:dPt>
            <c:idx val="825"/>
            <c:invertIfNegative val="1"/>
            <c:bubble3D val="0"/>
            <c:spPr>
              <a:solidFill>
                <a:srgbClr val="AEABAB"/>
              </a:solidFill>
            </c:spPr>
            <c:extLst>
              <c:ext xmlns:c16="http://schemas.microsoft.com/office/drawing/2014/chart" uri="{C3380CC4-5D6E-409C-BE32-E72D297353CC}">
                <c16:uniqueId val="{00000675-280A-4CC8-864C-E6F154A5A56B}"/>
              </c:ext>
            </c:extLst>
          </c:dPt>
          <c:dPt>
            <c:idx val="826"/>
            <c:invertIfNegative val="1"/>
            <c:bubble3D val="0"/>
            <c:spPr>
              <a:solidFill>
                <a:srgbClr val="AEABAB"/>
              </a:solidFill>
            </c:spPr>
            <c:extLst>
              <c:ext xmlns:c16="http://schemas.microsoft.com/office/drawing/2014/chart" uri="{C3380CC4-5D6E-409C-BE32-E72D297353CC}">
                <c16:uniqueId val="{00000677-280A-4CC8-864C-E6F154A5A56B}"/>
              </c:ext>
            </c:extLst>
          </c:dPt>
          <c:dPt>
            <c:idx val="827"/>
            <c:invertIfNegative val="1"/>
            <c:bubble3D val="0"/>
            <c:spPr>
              <a:solidFill>
                <a:srgbClr val="AEABAB"/>
              </a:solidFill>
            </c:spPr>
            <c:extLst>
              <c:ext xmlns:c16="http://schemas.microsoft.com/office/drawing/2014/chart" uri="{C3380CC4-5D6E-409C-BE32-E72D297353CC}">
                <c16:uniqueId val="{00000679-280A-4CC8-864C-E6F154A5A56B}"/>
              </c:ext>
            </c:extLst>
          </c:dPt>
          <c:dPt>
            <c:idx val="828"/>
            <c:invertIfNegative val="1"/>
            <c:bubble3D val="0"/>
            <c:spPr>
              <a:solidFill>
                <a:srgbClr val="AEABAB"/>
              </a:solidFill>
            </c:spPr>
            <c:extLst>
              <c:ext xmlns:c16="http://schemas.microsoft.com/office/drawing/2014/chart" uri="{C3380CC4-5D6E-409C-BE32-E72D297353CC}">
                <c16:uniqueId val="{0000067B-280A-4CC8-864C-E6F154A5A56B}"/>
              </c:ext>
            </c:extLst>
          </c:dPt>
          <c:dPt>
            <c:idx val="829"/>
            <c:invertIfNegative val="1"/>
            <c:bubble3D val="0"/>
            <c:spPr>
              <a:solidFill>
                <a:srgbClr val="AEABAB"/>
              </a:solidFill>
            </c:spPr>
            <c:extLst>
              <c:ext xmlns:c16="http://schemas.microsoft.com/office/drawing/2014/chart" uri="{C3380CC4-5D6E-409C-BE32-E72D297353CC}">
                <c16:uniqueId val="{0000067D-280A-4CC8-864C-E6F154A5A56B}"/>
              </c:ext>
            </c:extLst>
          </c:dPt>
          <c:dPt>
            <c:idx val="830"/>
            <c:invertIfNegative val="1"/>
            <c:bubble3D val="0"/>
            <c:spPr>
              <a:solidFill>
                <a:srgbClr val="AEABAB"/>
              </a:solidFill>
            </c:spPr>
            <c:extLst>
              <c:ext xmlns:c16="http://schemas.microsoft.com/office/drawing/2014/chart" uri="{C3380CC4-5D6E-409C-BE32-E72D297353CC}">
                <c16:uniqueId val="{0000067F-280A-4CC8-864C-E6F154A5A56B}"/>
              </c:ext>
            </c:extLst>
          </c:dPt>
          <c:dPt>
            <c:idx val="831"/>
            <c:invertIfNegative val="1"/>
            <c:bubble3D val="0"/>
            <c:spPr>
              <a:solidFill>
                <a:srgbClr val="AEABAB"/>
              </a:solidFill>
            </c:spPr>
            <c:extLst>
              <c:ext xmlns:c16="http://schemas.microsoft.com/office/drawing/2014/chart" uri="{C3380CC4-5D6E-409C-BE32-E72D297353CC}">
                <c16:uniqueId val="{00000681-280A-4CC8-864C-E6F154A5A56B}"/>
              </c:ext>
            </c:extLst>
          </c:dPt>
          <c:dPt>
            <c:idx val="832"/>
            <c:invertIfNegative val="1"/>
            <c:bubble3D val="0"/>
            <c:spPr>
              <a:solidFill>
                <a:srgbClr val="AEABAB"/>
              </a:solidFill>
            </c:spPr>
            <c:extLst>
              <c:ext xmlns:c16="http://schemas.microsoft.com/office/drawing/2014/chart" uri="{C3380CC4-5D6E-409C-BE32-E72D297353CC}">
                <c16:uniqueId val="{00000683-280A-4CC8-864C-E6F154A5A56B}"/>
              </c:ext>
            </c:extLst>
          </c:dPt>
          <c:dPt>
            <c:idx val="833"/>
            <c:invertIfNegative val="1"/>
            <c:bubble3D val="0"/>
            <c:spPr>
              <a:solidFill>
                <a:srgbClr val="AEABAB"/>
              </a:solidFill>
            </c:spPr>
            <c:extLst>
              <c:ext xmlns:c16="http://schemas.microsoft.com/office/drawing/2014/chart" uri="{C3380CC4-5D6E-409C-BE32-E72D297353CC}">
                <c16:uniqueId val="{00000685-280A-4CC8-864C-E6F154A5A56B}"/>
              </c:ext>
            </c:extLst>
          </c:dPt>
          <c:dPt>
            <c:idx val="834"/>
            <c:invertIfNegative val="1"/>
            <c:bubble3D val="0"/>
            <c:spPr>
              <a:solidFill>
                <a:srgbClr val="AEABAB"/>
              </a:solidFill>
            </c:spPr>
            <c:extLst>
              <c:ext xmlns:c16="http://schemas.microsoft.com/office/drawing/2014/chart" uri="{C3380CC4-5D6E-409C-BE32-E72D297353CC}">
                <c16:uniqueId val="{00000687-280A-4CC8-864C-E6F154A5A56B}"/>
              </c:ext>
            </c:extLst>
          </c:dPt>
          <c:dPt>
            <c:idx val="835"/>
            <c:invertIfNegative val="1"/>
            <c:bubble3D val="0"/>
            <c:spPr>
              <a:solidFill>
                <a:srgbClr val="AEABAB"/>
              </a:solidFill>
            </c:spPr>
            <c:extLst>
              <c:ext xmlns:c16="http://schemas.microsoft.com/office/drawing/2014/chart" uri="{C3380CC4-5D6E-409C-BE32-E72D297353CC}">
                <c16:uniqueId val="{00000689-280A-4CC8-864C-E6F154A5A56B}"/>
              </c:ext>
            </c:extLst>
          </c:dPt>
          <c:dPt>
            <c:idx val="836"/>
            <c:invertIfNegative val="1"/>
            <c:bubble3D val="0"/>
            <c:spPr>
              <a:solidFill>
                <a:srgbClr val="AEABAB"/>
              </a:solidFill>
            </c:spPr>
            <c:extLst>
              <c:ext xmlns:c16="http://schemas.microsoft.com/office/drawing/2014/chart" uri="{C3380CC4-5D6E-409C-BE32-E72D297353CC}">
                <c16:uniqueId val="{0000068B-280A-4CC8-864C-E6F154A5A56B}"/>
              </c:ext>
            </c:extLst>
          </c:dPt>
          <c:dPt>
            <c:idx val="837"/>
            <c:invertIfNegative val="1"/>
            <c:bubble3D val="0"/>
            <c:spPr>
              <a:solidFill>
                <a:srgbClr val="AEABAB"/>
              </a:solidFill>
            </c:spPr>
            <c:extLst>
              <c:ext xmlns:c16="http://schemas.microsoft.com/office/drawing/2014/chart" uri="{C3380CC4-5D6E-409C-BE32-E72D297353CC}">
                <c16:uniqueId val="{0000068D-280A-4CC8-864C-E6F154A5A56B}"/>
              </c:ext>
            </c:extLst>
          </c:dPt>
          <c:dPt>
            <c:idx val="838"/>
            <c:invertIfNegative val="1"/>
            <c:bubble3D val="0"/>
            <c:spPr>
              <a:solidFill>
                <a:srgbClr val="AEABAB"/>
              </a:solidFill>
            </c:spPr>
            <c:extLst>
              <c:ext xmlns:c16="http://schemas.microsoft.com/office/drawing/2014/chart" uri="{C3380CC4-5D6E-409C-BE32-E72D297353CC}">
                <c16:uniqueId val="{0000068F-280A-4CC8-864C-E6F154A5A56B}"/>
              </c:ext>
            </c:extLst>
          </c:dPt>
          <c:dPt>
            <c:idx val="839"/>
            <c:invertIfNegative val="1"/>
            <c:bubble3D val="0"/>
            <c:spPr>
              <a:solidFill>
                <a:srgbClr val="AEABAB"/>
              </a:solidFill>
            </c:spPr>
            <c:extLst>
              <c:ext xmlns:c16="http://schemas.microsoft.com/office/drawing/2014/chart" uri="{C3380CC4-5D6E-409C-BE32-E72D297353CC}">
                <c16:uniqueId val="{00000691-280A-4CC8-864C-E6F154A5A56B}"/>
              </c:ext>
            </c:extLst>
          </c:dPt>
          <c:dPt>
            <c:idx val="840"/>
            <c:invertIfNegative val="1"/>
            <c:bubble3D val="0"/>
            <c:spPr>
              <a:solidFill>
                <a:srgbClr val="AEABAB"/>
              </a:solidFill>
            </c:spPr>
            <c:extLst>
              <c:ext xmlns:c16="http://schemas.microsoft.com/office/drawing/2014/chart" uri="{C3380CC4-5D6E-409C-BE32-E72D297353CC}">
                <c16:uniqueId val="{00000693-280A-4CC8-864C-E6F154A5A56B}"/>
              </c:ext>
            </c:extLst>
          </c:dPt>
          <c:dPt>
            <c:idx val="841"/>
            <c:invertIfNegative val="1"/>
            <c:bubble3D val="0"/>
            <c:spPr>
              <a:solidFill>
                <a:srgbClr val="AEABAB"/>
              </a:solidFill>
            </c:spPr>
            <c:extLst>
              <c:ext xmlns:c16="http://schemas.microsoft.com/office/drawing/2014/chart" uri="{C3380CC4-5D6E-409C-BE32-E72D297353CC}">
                <c16:uniqueId val="{00000695-280A-4CC8-864C-E6F154A5A56B}"/>
              </c:ext>
            </c:extLst>
          </c:dPt>
          <c:dPt>
            <c:idx val="842"/>
            <c:invertIfNegative val="1"/>
            <c:bubble3D val="0"/>
            <c:spPr>
              <a:solidFill>
                <a:srgbClr val="AEABAB"/>
              </a:solidFill>
            </c:spPr>
            <c:extLst>
              <c:ext xmlns:c16="http://schemas.microsoft.com/office/drawing/2014/chart" uri="{C3380CC4-5D6E-409C-BE32-E72D297353CC}">
                <c16:uniqueId val="{00000697-280A-4CC8-864C-E6F154A5A56B}"/>
              </c:ext>
            </c:extLst>
          </c:dPt>
          <c:dPt>
            <c:idx val="843"/>
            <c:invertIfNegative val="1"/>
            <c:bubble3D val="0"/>
            <c:spPr>
              <a:solidFill>
                <a:srgbClr val="AEABAB"/>
              </a:solidFill>
            </c:spPr>
            <c:extLst>
              <c:ext xmlns:c16="http://schemas.microsoft.com/office/drawing/2014/chart" uri="{C3380CC4-5D6E-409C-BE32-E72D297353CC}">
                <c16:uniqueId val="{00000699-280A-4CC8-864C-E6F154A5A56B}"/>
              </c:ext>
            </c:extLst>
          </c:dPt>
          <c:dPt>
            <c:idx val="844"/>
            <c:invertIfNegative val="1"/>
            <c:bubble3D val="0"/>
            <c:spPr>
              <a:solidFill>
                <a:srgbClr val="AEABAB"/>
              </a:solidFill>
            </c:spPr>
            <c:extLst>
              <c:ext xmlns:c16="http://schemas.microsoft.com/office/drawing/2014/chart" uri="{C3380CC4-5D6E-409C-BE32-E72D297353CC}">
                <c16:uniqueId val="{0000069B-280A-4CC8-864C-E6F154A5A56B}"/>
              </c:ext>
            </c:extLst>
          </c:dPt>
          <c:dPt>
            <c:idx val="845"/>
            <c:invertIfNegative val="1"/>
            <c:bubble3D val="0"/>
            <c:spPr>
              <a:solidFill>
                <a:srgbClr val="AEABAB"/>
              </a:solidFill>
            </c:spPr>
            <c:extLst>
              <c:ext xmlns:c16="http://schemas.microsoft.com/office/drawing/2014/chart" uri="{C3380CC4-5D6E-409C-BE32-E72D297353CC}">
                <c16:uniqueId val="{0000069D-280A-4CC8-864C-E6F154A5A56B}"/>
              </c:ext>
            </c:extLst>
          </c:dPt>
          <c:dPt>
            <c:idx val="846"/>
            <c:invertIfNegative val="1"/>
            <c:bubble3D val="0"/>
            <c:spPr>
              <a:solidFill>
                <a:srgbClr val="AEABAB"/>
              </a:solidFill>
            </c:spPr>
            <c:extLst>
              <c:ext xmlns:c16="http://schemas.microsoft.com/office/drawing/2014/chart" uri="{C3380CC4-5D6E-409C-BE32-E72D297353CC}">
                <c16:uniqueId val="{0000069F-280A-4CC8-864C-E6F154A5A56B}"/>
              </c:ext>
            </c:extLst>
          </c:dPt>
          <c:dPt>
            <c:idx val="847"/>
            <c:invertIfNegative val="1"/>
            <c:bubble3D val="0"/>
            <c:spPr>
              <a:solidFill>
                <a:srgbClr val="AEABAB"/>
              </a:solidFill>
            </c:spPr>
            <c:extLst>
              <c:ext xmlns:c16="http://schemas.microsoft.com/office/drawing/2014/chart" uri="{C3380CC4-5D6E-409C-BE32-E72D297353CC}">
                <c16:uniqueId val="{000006A1-280A-4CC8-864C-E6F154A5A56B}"/>
              </c:ext>
            </c:extLst>
          </c:dPt>
          <c:dPt>
            <c:idx val="848"/>
            <c:invertIfNegative val="1"/>
            <c:bubble3D val="0"/>
            <c:spPr>
              <a:solidFill>
                <a:srgbClr val="AEABAB"/>
              </a:solidFill>
            </c:spPr>
            <c:extLst>
              <c:ext xmlns:c16="http://schemas.microsoft.com/office/drawing/2014/chart" uri="{C3380CC4-5D6E-409C-BE32-E72D297353CC}">
                <c16:uniqueId val="{000006A3-280A-4CC8-864C-E6F154A5A56B}"/>
              </c:ext>
            </c:extLst>
          </c:dPt>
          <c:dPt>
            <c:idx val="849"/>
            <c:invertIfNegative val="1"/>
            <c:bubble3D val="0"/>
            <c:spPr>
              <a:solidFill>
                <a:srgbClr val="AEABAB"/>
              </a:solidFill>
            </c:spPr>
            <c:extLst>
              <c:ext xmlns:c16="http://schemas.microsoft.com/office/drawing/2014/chart" uri="{C3380CC4-5D6E-409C-BE32-E72D297353CC}">
                <c16:uniqueId val="{000006A5-280A-4CC8-864C-E6F154A5A56B}"/>
              </c:ext>
            </c:extLst>
          </c:dPt>
          <c:dPt>
            <c:idx val="850"/>
            <c:invertIfNegative val="1"/>
            <c:bubble3D val="0"/>
            <c:spPr>
              <a:solidFill>
                <a:srgbClr val="AEABAB"/>
              </a:solidFill>
            </c:spPr>
            <c:extLst>
              <c:ext xmlns:c16="http://schemas.microsoft.com/office/drawing/2014/chart" uri="{C3380CC4-5D6E-409C-BE32-E72D297353CC}">
                <c16:uniqueId val="{000006A7-280A-4CC8-864C-E6F154A5A56B}"/>
              </c:ext>
            </c:extLst>
          </c:dPt>
          <c:dPt>
            <c:idx val="851"/>
            <c:invertIfNegative val="1"/>
            <c:bubble3D val="0"/>
            <c:spPr>
              <a:solidFill>
                <a:srgbClr val="AEABAB"/>
              </a:solidFill>
            </c:spPr>
            <c:extLst>
              <c:ext xmlns:c16="http://schemas.microsoft.com/office/drawing/2014/chart" uri="{C3380CC4-5D6E-409C-BE32-E72D297353CC}">
                <c16:uniqueId val="{000006A9-280A-4CC8-864C-E6F154A5A56B}"/>
              </c:ext>
            </c:extLst>
          </c:dPt>
          <c:dPt>
            <c:idx val="852"/>
            <c:invertIfNegative val="1"/>
            <c:bubble3D val="0"/>
            <c:spPr>
              <a:solidFill>
                <a:srgbClr val="AEABAB"/>
              </a:solidFill>
            </c:spPr>
            <c:extLst>
              <c:ext xmlns:c16="http://schemas.microsoft.com/office/drawing/2014/chart" uri="{C3380CC4-5D6E-409C-BE32-E72D297353CC}">
                <c16:uniqueId val="{000006AB-280A-4CC8-864C-E6F154A5A56B}"/>
              </c:ext>
            </c:extLst>
          </c:dPt>
          <c:dPt>
            <c:idx val="853"/>
            <c:invertIfNegative val="1"/>
            <c:bubble3D val="0"/>
            <c:spPr>
              <a:solidFill>
                <a:srgbClr val="AEABAB"/>
              </a:solidFill>
            </c:spPr>
            <c:extLst>
              <c:ext xmlns:c16="http://schemas.microsoft.com/office/drawing/2014/chart" uri="{C3380CC4-5D6E-409C-BE32-E72D297353CC}">
                <c16:uniqueId val="{000006AD-280A-4CC8-864C-E6F154A5A56B}"/>
              </c:ext>
            </c:extLst>
          </c:dPt>
          <c:dPt>
            <c:idx val="854"/>
            <c:invertIfNegative val="1"/>
            <c:bubble3D val="0"/>
            <c:spPr>
              <a:solidFill>
                <a:srgbClr val="AEABAB"/>
              </a:solidFill>
            </c:spPr>
            <c:extLst>
              <c:ext xmlns:c16="http://schemas.microsoft.com/office/drawing/2014/chart" uri="{C3380CC4-5D6E-409C-BE32-E72D297353CC}">
                <c16:uniqueId val="{000006AF-280A-4CC8-864C-E6F154A5A56B}"/>
              </c:ext>
            </c:extLst>
          </c:dPt>
          <c:dPt>
            <c:idx val="855"/>
            <c:invertIfNegative val="1"/>
            <c:bubble3D val="0"/>
            <c:spPr>
              <a:solidFill>
                <a:srgbClr val="AEABAB"/>
              </a:solidFill>
            </c:spPr>
            <c:extLst>
              <c:ext xmlns:c16="http://schemas.microsoft.com/office/drawing/2014/chart" uri="{C3380CC4-5D6E-409C-BE32-E72D297353CC}">
                <c16:uniqueId val="{000006B1-280A-4CC8-864C-E6F154A5A56B}"/>
              </c:ext>
            </c:extLst>
          </c:dPt>
          <c:dPt>
            <c:idx val="856"/>
            <c:invertIfNegative val="1"/>
            <c:bubble3D val="0"/>
            <c:spPr>
              <a:solidFill>
                <a:srgbClr val="AEABAB"/>
              </a:solidFill>
            </c:spPr>
            <c:extLst>
              <c:ext xmlns:c16="http://schemas.microsoft.com/office/drawing/2014/chart" uri="{C3380CC4-5D6E-409C-BE32-E72D297353CC}">
                <c16:uniqueId val="{000006B3-280A-4CC8-864C-E6F154A5A56B}"/>
              </c:ext>
            </c:extLst>
          </c:dPt>
          <c:dPt>
            <c:idx val="857"/>
            <c:invertIfNegative val="1"/>
            <c:bubble3D val="0"/>
            <c:spPr>
              <a:solidFill>
                <a:srgbClr val="AEABAB"/>
              </a:solidFill>
            </c:spPr>
            <c:extLst>
              <c:ext xmlns:c16="http://schemas.microsoft.com/office/drawing/2014/chart" uri="{C3380CC4-5D6E-409C-BE32-E72D297353CC}">
                <c16:uniqueId val="{000006B5-280A-4CC8-864C-E6F154A5A56B}"/>
              </c:ext>
            </c:extLst>
          </c:dPt>
          <c:dPt>
            <c:idx val="858"/>
            <c:invertIfNegative val="1"/>
            <c:bubble3D val="0"/>
            <c:spPr>
              <a:solidFill>
                <a:srgbClr val="AEABAB"/>
              </a:solidFill>
            </c:spPr>
            <c:extLst>
              <c:ext xmlns:c16="http://schemas.microsoft.com/office/drawing/2014/chart" uri="{C3380CC4-5D6E-409C-BE32-E72D297353CC}">
                <c16:uniqueId val="{000006B7-280A-4CC8-864C-E6F154A5A56B}"/>
              </c:ext>
            </c:extLst>
          </c:dPt>
          <c:dPt>
            <c:idx val="859"/>
            <c:invertIfNegative val="1"/>
            <c:bubble3D val="0"/>
            <c:spPr>
              <a:solidFill>
                <a:srgbClr val="AEABAB"/>
              </a:solidFill>
            </c:spPr>
            <c:extLst>
              <c:ext xmlns:c16="http://schemas.microsoft.com/office/drawing/2014/chart" uri="{C3380CC4-5D6E-409C-BE32-E72D297353CC}">
                <c16:uniqueId val="{000006B9-280A-4CC8-864C-E6F154A5A56B}"/>
              </c:ext>
            </c:extLst>
          </c:dPt>
          <c:dPt>
            <c:idx val="860"/>
            <c:invertIfNegative val="1"/>
            <c:bubble3D val="0"/>
            <c:spPr>
              <a:solidFill>
                <a:srgbClr val="AEABAB"/>
              </a:solidFill>
            </c:spPr>
            <c:extLst>
              <c:ext xmlns:c16="http://schemas.microsoft.com/office/drawing/2014/chart" uri="{C3380CC4-5D6E-409C-BE32-E72D297353CC}">
                <c16:uniqueId val="{000006BB-280A-4CC8-864C-E6F154A5A56B}"/>
              </c:ext>
            </c:extLst>
          </c:dPt>
          <c:dPt>
            <c:idx val="861"/>
            <c:invertIfNegative val="1"/>
            <c:bubble3D val="0"/>
            <c:spPr>
              <a:solidFill>
                <a:srgbClr val="AEABAB"/>
              </a:solidFill>
            </c:spPr>
            <c:extLst>
              <c:ext xmlns:c16="http://schemas.microsoft.com/office/drawing/2014/chart" uri="{C3380CC4-5D6E-409C-BE32-E72D297353CC}">
                <c16:uniqueId val="{000006BD-280A-4CC8-864C-E6F154A5A56B}"/>
              </c:ext>
            </c:extLst>
          </c:dPt>
          <c:dPt>
            <c:idx val="862"/>
            <c:invertIfNegative val="1"/>
            <c:bubble3D val="0"/>
            <c:spPr>
              <a:solidFill>
                <a:srgbClr val="AEABAB"/>
              </a:solidFill>
            </c:spPr>
            <c:extLst>
              <c:ext xmlns:c16="http://schemas.microsoft.com/office/drawing/2014/chart" uri="{C3380CC4-5D6E-409C-BE32-E72D297353CC}">
                <c16:uniqueId val="{000006BF-280A-4CC8-864C-E6F154A5A56B}"/>
              </c:ext>
            </c:extLst>
          </c:dPt>
          <c:dPt>
            <c:idx val="863"/>
            <c:invertIfNegative val="1"/>
            <c:bubble3D val="0"/>
            <c:spPr>
              <a:solidFill>
                <a:srgbClr val="AEABAB"/>
              </a:solidFill>
            </c:spPr>
            <c:extLst>
              <c:ext xmlns:c16="http://schemas.microsoft.com/office/drawing/2014/chart" uri="{C3380CC4-5D6E-409C-BE32-E72D297353CC}">
                <c16:uniqueId val="{000006C1-280A-4CC8-864C-E6F154A5A56B}"/>
              </c:ext>
            </c:extLst>
          </c:dPt>
          <c:dPt>
            <c:idx val="864"/>
            <c:invertIfNegative val="1"/>
            <c:bubble3D val="0"/>
            <c:spPr>
              <a:solidFill>
                <a:srgbClr val="AEABAB"/>
              </a:solidFill>
            </c:spPr>
            <c:extLst>
              <c:ext xmlns:c16="http://schemas.microsoft.com/office/drawing/2014/chart" uri="{C3380CC4-5D6E-409C-BE32-E72D297353CC}">
                <c16:uniqueId val="{000006C3-280A-4CC8-864C-E6F154A5A56B}"/>
              </c:ext>
            </c:extLst>
          </c:dPt>
          <c:dPt>
            <c:idx val="865"/>
            <c:invertIfNegative val="1"/>
            <c:bubble3D val="0"/>
            <c:spPr>
              <a:solidFill>
                <a:srgbClr val="AEABAB"/>
              </a:solidFill>
            </c:spPr>
            <c:extLst>
              <c:ext xmlns:c16="http://schemas.microsoft.com/office/drawing/2014/chart" uri="{C3380CC4-5D6E-409C-BE32-E72D297353CC}">
                <c16:uniqueId val="{000006C5-280A-4CC8-864C-E6F154A5A56B}"/>
              </c:ext>
            </c:extLst>
          </c:dPt>
          <c:dPt>
            <c:idx val="866"/>
            <c:invertIfNegative val="1"/>
            <c:bubble3D val="0"/>
            <c:spPr>
              <a:solidFill>
                <a:srgbClr val="AEABAB"/>
              </a:solidFill>
            </c:spPr>
            <c:extLst>
              <c:ext xmlns:c16="http://schemas.microsoft.com/office/drawing/2014/chart" uri="{C3380CC4-5D6E-409C-BE32-E72D297353CC}">
                <c16:uniqueId val="{000006C7-280A-4CC8-864C-E6F154A5A56B}"/>
              </c:ext>
            </c:extLst>
          </c:dPt>
          <c:dPt>
            <c:idx val="867"/>
            <c:invertIfNegative val="1"/>
            <c:bubble3D val="0"/>
            <c:spPr>
              <a:solidFill>
                <a:srgbClr val="AEABAB"/>
              </a:solidFill>
            </c:spPr>
            <c:extLst>
              <c:ext xmlns:c16="http://schemas.microsoft.com/office/drawing/2014/chart" uri="{C3380CC4-5D6E-409C-BE32-E72D297353CC}">
                <c16:uniqueId val="{000006C9-280A-4CC8-864C-E6F154A5A56B}"/>
              </c:ext>
            </c:extLst>
          </c:dPt>
          <c:dPt>
            <c:idx val="868"/>
            <c:invertIfNegative val="1"/>
            <c:bubble3D val="0"/>
            <c:spPr>
              <a:solidFill>
                <a:srgbClr val="AEABAB"/>
              </a:solidFill>
            </c:spPr>
            <c:extLst>
              <c:ext xmlns:c16="http://schemas.microsoft.com/office/drawing/2014/chart" uri="{C3380CC4-5D6E-409C-BE32-E72D297353CC}">
                <c16:uniqueId val="{000006CB-280A-4CC8-864C-E6F154A5A56B}"/>
              </c:ext>
            </c:extLst>
          </c:dPt>
          <c:dPt>
            <c:idx val="869"/>
            <c:invertIfNegative val="1"/>
            <c:bubble3D val="0"/>
            <c:spPr>
              <a:solidFill>
                <a:srgbClr val="AEABAB"/>
              </a:solidFill>
            </c:spPr>
            <c:extLst>
              <c:ext xmlns:c16="http://schemas.microsoft.com/office/drawing/2014/chart" uri="{C3380CC4-5D6E-409C-BE32-E72D297353CC}">
                <c16:uniqueId val="{000006CD-280A-4CC8-864C-E6F154A5A56B}"/>
              </c:ext>
            </c:extLst>
          </c:dPt>
          <c:dPt>
            <c:idx val="870"/>
            <c:invertIfNegative val="1"/>
            <c:bubble3D val="0"/>
            <c:spPr>
              <a:solidFill>
                <a:srgbClr val="AEABAB"/>
              </a:solidFill>
            </c:spPr>
            <c:extLst>
              <c:ext xmlns:c16="http://schemas.microsoft.com/office/drawing/2014/chart" uri="{C3380CC4-5D6E-409C-BE32-E72D297353CC}">
                <c16:uniqueId val="{000006CF-280A-4CC8-864C-E6F154A5A56B}"/>
              </c:ext>
            </c:extLst>
          </c:dPt>
          <c:dPt>
            <c:idx val="871"/>
            <c:invertIfNegative val="1"/>
            <c:bubble3D val="0"/>
            <c:spPr>
              <a:solidFill>
                <a:srgbClr val="AEABAB"/>
              </a:solidFill>
            </c:spPr>
            <c:extLst>
              <c:ext xmlns:c16="http://schemas.microsoft.com/office/drawing/2014/chart" uri="{C3380CC4-5D6E-409C-BE32-E72D297353CC}">
                <c16:uniqueId val="{000006D1-280A-4CC8-864C-E6F154A5A56B}"/>
              </c:ext>
            </c:extLst>
          </c:dPt>
          <c:dPt>
            <c:idx val="872"/>
            <c:invertIfNegative val="1"/>
            <c:bubble3D val="0"/>
            <c:spPr>
              <a:solidFill>
                <a:srgbClr val="AEABAB"/>
              </a:solidFill>
            </c:spPr>
            <c:extLst>
              <c:ext xmlns:c16="http://schemas.microsoft.com/office/drawing/2014/chart" uri="{C3380CC4-5D6E-409C-BE32-E72D297353CC}">
                <c16:uniqueId val="{000006D3-280A-4CC8-864C-E6F154A5A56B}"/>
              </c:ext>
            </c:extLst>
          </c:dPt>
          <c:dPt>
            <c:idx val="873"/>
            <c:invertIfNegative val="1"/>
            <c:bubble3D val="0"/>
            <c:spPr>
              <a:solidFill>
                <a:srgbClr val="AEABAB"/>
              </a:solidFill>
            </c:spPr>
            <c:extLst>
              <c:ext xmlns:c16="http://schemas.microsoft.com/office/drawing/2014/chart" uri="{C3380CC4-5D6E-409C-BE32-E72D297353CC}">
                <c16:uniqueId val="{000006D5-280A-4CC8-864C-E6F154A5A56B}"/>
              </c:ext>
            </c:extLst>
          </c:dPt>
          <c:dPt>
            <c:idx val="874"/>
            <c:invertIfNegative val="1"/>
            <c:bubble3D val="0"/>
            <c:spPr>
              <a:solidFill>
                <a:srgbClr val="AEABAB"/>
              </a:solidFill>
            </c:spPr>
            <c:extLst>
              <c:ext xmlns:c16="http://schemas.microsoft.com/office/drawing/2014/chart" uri="{C3380CC4-5D6E-409C-BE32-E72D297353CC}">
                <c16:uniqueId val="{000006D7-280A-4CC8-864C-E6F154A5A56B}"/>
              </c:ext>
            </c:extLst>
          </c:dPt>
          <c:dPt>
            <c:idx val="875"/>
            <c:invertIfNegative val="1"/>
            <c:bubble3D val="0"/>
            <c:spPr>
              <a:solidFill>
                <a:srgbClr val="AEABAB"/>
              </a:solidFill>
            </c:spPr>
            <c:extLst>
              <c:ext xmlns:c16="http://schemas.microsoft.com/office/drawing/2014/chart" uri="{C3380CC4-5D6E-409C-BE32-E72D297353CC}">
                <c16:uniqueId val="{000006D9-280A-4CC8-864C-E6F154A5A56B}"/>
              </c:ext>
            </c:extLst>
          </c:dPt>
          <c:dPt>
            <c:idx val="876"/>
            <c:invertIfNegative val="1"/>
            <c:bubble3D val="0"/>
            <c:spPr>
              <a:solidFill>
                <a:srgbClr val="AEABAB"/>
              </a:solidFill>
            </c:spPr>
            <c:extLst>
              <c:ext xmlns:c16="http://schemas.microsoft.com/office/drawing/2014/chart" uri="{C3380CC4-5D6E-409C-BE32-E72D297353CC}">
                <c16:uniqueId val="{000006DB-280A-4CC8-864C-E6F154A5A56B}"/>
              </c:ext>
            </c:extLst>
          </c:dPt>
          <c:dPt>
            <c:idx val="877"/>
            <c:invertIfNegative val="1"/>
            <c:bubble3D val="0"/>
            <c:spPr>
              <a:solidFill>
                <a:srgbClr val="AEABAB"/>
              </a:solidFill>
            </c:spPr>
            <c:extLst>
              <c:ext xmlns:c16="http://schemas.microsoft.com/office/drawing/2014/chart" uri="{C3380CC4-5D6E-409C-BE32-E72D297353CC}">
                <c16:uniqueId val="{000006DD-280A-4CC8-864C-E6F154A5A56B}"/>
              </c:ext>
            </c:extLst>
          </c:dPt>
          <c:dPt>
            <c:idx val="878"/>
            <c:invertIfNegative val="1"/>
            <c:bubble3D val="0"/>
            <c:spPr>
              <a:solidFill>
                <a:srgbClr val="AEABAB"/>
              </a:solidFill>
            </c:spPr>
            <c:extLst>
              <c:ext xmlns:c16="http://schemas.microsoft.com/office/drawing/2014/chart" uri="{C3380CC4-5D6E-409C-BE32-E72D297353CC}">
                <c16:uniqueId val="{000006DF-280A-4CC8-864C-E6F154A5A56B}"/>
              </c:ext>
            </c:extLst>
          </c:dPt>
          <c:dPt>
            <c:idx val="879"/>
            <c:invertIfNegative val="1"/>
            <c:bubble3D val="0"/>
            <c:spPr>
              <a:solidFill>
                <a:srgbClr val="AEABAB"/>
              </a:solidFill>
            </c:spPr>
            <c:extLst>
              <c:ext xmlns:c16="http://schemas.microsoft.com/office/drawing/2014/chart" uri="{C3380CC4-5D6E-409C-BE32-E72D297353CC}">
                <c16:uniqueId val="{000006E1-280A-4CC8-864C-E6F154A5A56B}"/>
              </c:ext>
            </c:extLst>
          </c:dPt>
          <c:dPt>
            <c:idx val="880"/>
            <c:invertIfNegative val="1"/>
            <c:bubble3D val="0"/>
            <c:spPr>
              <a:solidFill>
                <a:srgbClr val="AEABAB"/>
              </a:solidFill>
            </c:spPr>
            <c:extLst>
              <c:ext xmlns:c16="http://schemas.microsoft.com/office/drawing/2014/chart" uri="{C3380CC4-5D6E-409C-BE32-E72D297353CC}">
                <c16:uniqueId val="{000006E3-280A-4CC8-864C-E6F154A5A56B}"/>
              </c:ext>
            </c:extLst>
          </c:dPt>
          <c:dPt>
            <c:idx val="881"/>
            <c:invertIfNegative val="1"/>
            <c:bubble3D val="0"/>
            <c:spPr>
              <a:solidFill>
                <a:srgbClr val="AEABAB"/>
              </a:solidFill>
            </c:spPr>
            <c:extLst>
              <c:ext xmlns:c16="http://schemas.microsoft.com/office/drawing/2014/chart" uri="{C3380CC4-5D6E-409C-BE32-E72D297353CC}">
                <c16:uniqueId val="{000006E5-280A-4CC8-864C-E6F154A5A56B}"/>
              </c:ext>
            </c:extLst>
          </c:dPt>
          <c:dPt>
            <c:idx val="882"/>
            <c:invertIfNegative val="1"/>
            <c:bubble3D val="0"/>
            <c:spPr>
              <a:solidFill>
                <a:srgbClr val="AEABAB"/>
              </a:solidFill>
            </c:spPr>
            <c:extLst>
              <c:ext xmlns:c16="http://schemas.microsoft.com/office/drawing/2014/chart" uri="{C3380CC4-5D6E-409C-BE32-E72D297353CC}">
                <c16:uniqueId val="{000006E7-280A-4CC8-864C-E6F154A5A56B}"/>
              </c:ext>
            </c:extLst>
          </c:dPt>
          <c:dPt>
            <c:idx val="883"/>
            <c:invertIfNegative val="1"/>
            <c:bubble3D val="0"/>
            <c:spPr>
              <a:solidFill>
                <a:srgbClr val="AEABAB"/>
              </a:solidFill>
            </c:spPr>
            <c:extLst>
              <c:ext xmlns:c16="http://schemas.microsoft.com/office/drawing/2014/chart" uri="{C3380CC4-5D6E-409C-BE32-E72D297353CC}">
                <c16:uniqueId val="{000006E9-280A-4CC8-864C-E6F154A5A56B}"/>
              </c:ext>
            </c:extLst>
          </c:dPt>
          <c:dPt>
            <c:idx val="884"/>
            <c:invertIfNegative val="1"/>
            <c:bubble3D val="0"/>
            <c:spPr>
              <a:solidFill>
                <a:srgbClr val="AEABAB"/>
              </a:solidFill>
            </c:spPr>
            <c:extLst>
              <c:ext xmlns:c16="http://schemas.microsoft.com/office/drawing/2014/chart" uri="{C3380CC4-5D6E-409C-BE32-E72D297353CC}">
                <c16:uniqueId val="{000006EB-280A-4CC8-864C-E6F154A5A56B}"/>
              </c:ext>
            </c:extLst>
          </c:dPt>
          <c:dPt>
            <c:idx val="885"/>
            <c:invertIfNegative val="1"/>
            <c:bubble3D val="0"/>
            <c:spPr>
              <a:solidFill>
                <a:srgbClr val="AEABAB"/>
              </a:solidFill>
            </c:spPr>
            <c:extLst>
              <c:ext xmlns:c16="http://schemas.microsoft.com/office/drawing/2014/chart" uri="{C3380CC4-5D6E-409C-BE32-E72D297353CC}">
                <c16:uniqueId val="{000006ED-280A-4CC8-864C-E6F154A5A56B}"/>
              </c:ext>
            </c:extLst>
          </c:dPt>
          <c:dPt>
            <c:idx val="886"/>
            <c:invertIfNegative val="1"/>
            <c:bubble3D val="0"/>
            <c:spPr>
              <a:solidFill>
                <a:srgbClr val="AEABAB"/>
              </a:solidFill>
            </c:spPr>
            <c:extLst>
              <c:ext xmlns:c16="http://schemas.microsoft.com/office/drawing/2014/chart" uri="{C3380CC4-5D6E-409C-BE32-E72D297353CC}">
                <c16:uniqueId val="{000006EF-280A-4CC8-864C-E6F154A5A56B}"/>
              </c:ext>
            </c:extLst>
          </c:dPt>
          <c:dPt>
            <c:idx val="887"/>
            <c:invertIfNegative val="1"/>
            <c:bubble3D val="0"/>
            <c:spPr>
              <a:solidFill>
                <a:srgbClr val="AEABAB"/>
              </a:solidFill>
            </c:spPr>
            <c:extLst>
              <c:ext xmlns:c16="http://schemas.microsoft.com/office/drawing/2014/chart" uri="{C3380CC4-5D6E-409C-BE32-E72D297353CC}">
                <c16:uniqueId val="{000006F1-280A-4CC8-864C-E6F154A5A56B}"/>
              </c:ext>
            </c:extLst>
          </c:dPt>
          <c:dPt>
            <c:idx val="888"/>
            <c:invertIfNegative val="1"/>
            <c:bubble3D val="0"/>
            <c:spPr>
              <a:solidFill>
                <a:srgbClr val="AEABAB"/>
              </a:solidFill>
            </c:spPr>
            <c:extLst>
              <c:ext xmlns:c16="http://schemas.microsoft.com/office/drawing/2014/chart" uri="{C3380CC4-5D6E-409C-BE32-E72D297353CC}">
                <c16:uniqueId val="{000006F3-280A-4CC8-864C-E6F154A5A56B}"/>
              </c:ext>
            </c:extLst>
          </c:dPt>
          <c:dPt>
            <c:idx val="889"/>
            <c:invertIfNegative val="1"/>
            <c:bubble3D val="0"/>
            <c:spPr>
              <a:solidFill>
                <a:srgbClr val="AEABAB"/>
              </a:solidFill>
            </c:spPr>
            <c:extLst>
              <c:ext xmlns:c16="http://schemas.microsoft.com/office/drawing/2014/chart" uri="{C3380CC4-5D6E-409C-BE32-E72D297353CC}">
                <c16:uniqueId val="{000006F5-280A-4CC8-864C-E6F154A5A56B}"/>
              </c:ext>
            </c:extLst>
          </c:dPt>
          <c:dPt>
            <c:idx val="890"/>
            <c:invertIfNegative val="1"/>
            <c:bubble3D val="0"/>
            <c:spPr>
              <a:solidFill>
                <a:srgbClr val="AEABAB"/>
              </a:solidFill>
            </c:spPr>
            <c:extLst>
              <c:ext xmlns:c16="http://schemas.microsoft.com/office/drawing/2014/chart" uri="{C3380CC4-5D6E-409C-BE32-E72D297353CC}">
                <c16:uniqueId val="{000006F7-280A-4CC8-864C-E6F154A5A56B}"/>
              </c:ext>
            </c:extLst>
          </c:dPt>
          <c:dPt>
            <c:idx val="891"/>
            <c:invertIfNegative val="1"/>
            <c:bubble3D val="0"/>
            <c:spPr>
              <a:solidFill>
                <a:srgbClr val="AEABAB"/>
              </a:solidFill>
            </c:spPr>
            <c:extLst>
              <c:ext xmlns:c16="http://schemas.microsoft.com/office/drawing/2014/chart" uri="{C3380CC4-5D6E-409C-BE32-E72D297353CC}">
                <c16:uniqueId val="{000006F9-280A-4CC8-864C-E6F154A5A56B}"/>
              </c:ext>
            </c:extLst>
          </c:dPt>
          <c:dPt>
            <c:idx val="892"/>
            <c:invertIfNegative val="1"/>
            <c:bubble3D val="0"/>
            <c:spPr>
              <a:solidFill>
                <a:srgbClr val="AEABAB"/>
              </a:solidFill>
            </c:spPr>
            <c:extLst>
              <c:ext xmlns:c16="http://schemas.microsoft.com/office/drawing/2014/chart" uri="{C3380CC4-5D6E-409C-BE32-E72D297353CC}">
                <c16:uniqueId val="{000006FB-280A-4CC8-864C-E6F154A5A56B}"/>
              </c:ext>
            </c:extLst>
          </c:dPt>
          <c:dPt>
            <c:idx val="893"/>
            <c:invertIfNegative val="1"/>
            <c:bubble3D val="0"/>
            <c:spPr>
              <a:solidFill>
                <a:srgbClr val="AEABAB"/>
              </a:solidFill>
            </c:spPr>
            <c:extLst>
              <c:ext xmlns:c16="http://schemas.microsoft.com/office/drawing/2014/chart" uri="{C3380CC4-5D6E-409C-BE32-E72D297353CC}">
                <c16:uniqueId val="{000006FD-280A-4CC8-864C-E6F154A5A56B}"/>
              </c:ext>
            </c:extLst>
          </c:dPt>
          <c:dPt>
            <c:idx val="894"/>
            <c:invertIfNegative val="1"/>
            <c:bubble3D val="0"/>
            <c:spPr>
              <a:solidFill>
                <a:srgbClr val="AEABAB"/>
              </a:solidFill>
            </c:spPr>
            <c:extLst>
              <c:ext xmlns:c16="http://schemas.microsoft.com/office/drawing/2014/chart" uri="{C3380CC4-5D6E-409C-BE32-E72D297353CC}">
                <c16:uniqueId val="{000006FF-280A-4CC8-864C-E6F154A5A56B}"/>
              </c:ext>
            </c:extLst>
          </c:dPt>
          <c:dPt>
            <c:idx val="895"/>
            <c:invertIfNegative val="1"/>
            <c:bubble3D val="0"/>
            <c:spPr>
              <a:solidFill>
                <a:srgbClr val="AEABAB"/>
              </a:solidFill>
            </c:spPr>
            <c:extLst>
              <c:ext xmlns:c16="http://schemas.microsoft.com/office/drawing/2014/chart" uri="{C3380CC4-5D6E-409C-BE32-E72D297353CC}">
                <c16:uniqueId val="{00000701-280A-4CC8-864C-E6F154A5A56B}"/>
              </c:ext>
            </c:extLst>
          </c:dPt>
          <c:dPt>
            <c:idx val="896"/>
            <c:invertIfNegative val="1"/>
            <c:bubble3D val="0"/>
            <c:spPr>
              <a:solidFill>
                <a:srgbClr val="AEABAB"/>
              </a:solidFill>
            </c:spPr>
            <c:extLst>
              <c:ext xmlns:c16="http://schemas.microsoft.com/office/drawing/2014/chart" uri="{C3380CC4-5D6E-409C-BE32-E72D297353CC}">
                <c16:uniqueId val="{00000703-280A-4CC8-864C-E6F154A5A56B}"/>
              </c:ext>
            </c:extLst>
          </c:dPt>
          <c:dPt>
            <c:idx val="897"/>
            <c:invertIfNegative val="1"/>
            <c:bubble3D val="0"/>
            <c:spPr>
              <a:solidFill>
                <a:srgbClr val="AEABAB"/>
              </a:solidFill>
            </c:spPr>
            <c:extLst>
              <c:ext xmlns:c16="http://schemas.microsoft.com/office/drawing/2014/chart" uri="{C3380CC4-5D6E-409C-BE32-E72D297353CC}">
                <c16:uniqueId val="{00000705-280A-4CC8-864C-E6F154A5A56B}"/>
              </c:ext>
            </c:extLst>
          </c:dPt>
          <c:dPt>
            <c:idx val="898"/>
            <c:invertIfNegative val="1"/>
            <c:bubble3D val="0"/>
            <c:spPr>
              <a:solidFill>
                <a:srgbClr val="AEABAB"/>
              </a:solidFill>
            </c:spPr>
            <c:extLst>
              <c:ext xmlns:c16="http://schemas.microsoft.com/office/drawing/2014/chart" uri="{C3380CC4-5D6E-409C-BE32-E72D297353CC}">
                <c16:uniqueId val="{00000707-280A-4CC8-864C-E6F154A5A56B}"/>
              </c:ext>
            </c:extLst>
          </c:dPt>
          <c:dPt>
            <c:idx val="899"/>
            <c:invertIfNegative val="1"/>
            <c:bubble3D val="0"/>
            <c:spPr>
              <a:solidFill>
                <a:srgbClr val="AEABAB"/>
              </a:solidFill>
            </c:spPr>
            <c:extLst>
              <c:ext xmlns:c16="http://schemas.microsoft.com/office/drawing/2014/chart" uri="{C3380CC4-5D6E-409C-BE32-E72D297353CC}">
                <c16:uniqueId val="{00000709-280A-4CC8-864C-E6F154A5A56B}"/>
              </c:ext>
            </c:extLst>
          </c:dPt>
          <c:dPt>
            <c:idx val="900"/>
            <c:invertIfNegative val="1"/>
            <c:bubble3D val="0"/>
            <c:spPr>
              <a:solidFill>
                <a:srgbClr val="AEABAB"/>
              </a:solidFill>
            </c:spPr>
            <c:extLst>
              <c:ext xmlns:c16="http://schemas.microsoft.com/office/drawing/2014/chart" uri="{C3380CC4-5D6E-409C-BE32-E72D297353CC}">
                <c16:uniqueId val="{0000070B-280A-4CC8-864C-E6F154A5A56B}"/>
              </c:ext>
            </c:extLst>
          </c:dPt>
          <c:dPt>
            <c:idx val="901"/>
            <c:invertIfNegative val="1"/>
            <c:bubble3D val="0"/>
            <c:spPr>
              <a:solidFill>
                <a:srgbClr val="AEABAB"/>
              </a:solidFill>
            </c:spPr>
            <c:extLst>
              <c:ext xmlns:c16="http://schemas.microsoft.com/office/drawing/2014/chart" uri="{C3380CC4-5D6E-409C-BE32-E72D297353CC}">
                <c16:uniqueId val="{0000070D-280A-4CC8-864C-E6F154A5A56B}"/>
              </c:ext>
            </c:extLst>
          </c:dPt>
          <c:dPt>
            <c:idx val="902"/>
            <c:invertIfNegative val="1"/>
            <c:bubble3D val="0"/>
            <c:spPr>
              <a:solidFill>
                <a:srgbClr val="AEABAB"/>
              </a:solidFill>
            </c:spPr>
            <c:extLst>
              <c:ext xmlns:c16="http://schemas.microsoft.com/office/drawing/2014/chart" uri="{C3380CC4-5D6E-409C-BE32-E72D297353CC}">
                <c16:uniqueId val="{0000070F-280A-4CC8-864C-E6F154A5A56B}"/>
              </c:ext>
            </c:extLst>
          </c:dPt>
          <c:dPt>
            <c:idx val="903"/>
            <c:invertIfNegative val="1"/>
            <c:bubble3D val="0"/>
            <c:spPr>
              <a:solidFill>
                <a:srgbClr val="AEABAB"/>
              </a:solidFill>
            </c:spPr>
            <c:extLst>
              <c:ext xmlns:c16="http://schemas.microsoft.com/office/drawing/2014/chart" uri="{C3380CC4-5D6E-409C-BE32-E72D297353CC}">
                <c16:uniqueId val="{00000711-280A-4CC8-864C-E6F154A5A56B}"/>
              </c:ext>
            </c:extLst>
          </c:dPt>
          <c:dPt>
            <c:idx val="904"/>
            <c:invertIfNegative val="1"/>
            <c:bubble3D val="0"/>
            <c:spPr>
              <a:solidFill>
                <a:srgbClr val="AEABAB"/>
              </a:solidFill>
            </c:spPr>
            <c:extLst>
              <c:ext xmlns:c16="http://schemas.microsoft.com/office/drawing/2014/chart" uri="{C3380CC4-5D6E-409C-BE32-E72D297353CC}">
                <c16:uniqueId val="{00000713-280A-4CC8-864C-E6F154A5A56B}"/>
              </c:ext>
            </c:extLst>
          </c:dPt>
          <c:dPt>
            <c:idx val="905"/>
            <c:invertIfNegative val="1"/>
            <c:bubble3D val="0"/>
            <c:spPr>
              <a:solidFill>
                <a:srgbClr val="AEABAB"/>
              </a:solidFill>
            </c:spPr>
            <c:extLst>
              <c:ext xmlns:c16="http://schemas.microsoft.com/office/drawing/2014/chart" uri="{C3380CC4-5D6E-409C-BE32-E72D297353CC}">
                <c16:uniqueId val="{00000715-280A-4CC8-864C-E6F154A5A56B}"/>
              </c:ext>
            </c:extLst>
          </c:dPt>
          <c:dPt>
            <c:idx val="906"/>
            <c:invertIfNegative val="1"/>
            <c:bubble3D val="0"/>
            <c:spPr>
              <a:solidFill>
                <a:srgbClr val="AEABAB"/>
              </a:solidFill>
            </c:spPr>
            <c:extLst>
              <c:ext xmlns:c16="http://schemas.microsoft.com/office/drawing/2014/chart" uri="{C3380CC4-5D6E-409C-BE32-E72D297353CC}">
                <c16:uniqueId val="{00000717-280A-4CC8-864C-E6F154A5A56B}"/>
              </c:ext>
            </c:extLst>
          </c:dPt>
          <c:dPt>
            <c:idx val="907"/>
            <c:invertIfNegative val="1"/>
            <c:bubble3D val="0"/>
            <c:spPr>
              <a:solidFill>
                <a:srgbClr val="AEABAB"/>
              </a:solidFill>
            </c:spPr>
            <c:extLst>
              <c:ext xmlns:c16="http://schemas.microsoft.com/office/drawing/2014/chart" uri="{C3380CC4-5D6E-409C-BE32-E72D297353CC}">
                <c16:uniqueId val="{00000719-280A-4CC8-864C-E6F154A5A56B}"/>
              </c:ext>
            </c:extLst>
          </c:dPt>
          <c:dPt>
            <c:idx val="908"/>
            <c:invertIfNegative val="1"/>
            <c:bubble3D val="0"/>
            <c:spPr>
              <a:solidFill>
                <a:srgbClr val="AEABAB"/>
              </a:solidFill>
            </c:spPr>
            <c:extLst>
              <c:ext xmlns:c16="http://schemas.microsoft.com/office/drawing/2014/chart" uri="{C3380CC4-5D6E-409C-BE32-E72D297353CC}">
                <c16:uniqueId val="{0000071B-280A-4CC8-864C-E6F154A5A56B}"/>
              </c:ext>
            </c:extLst>
          </c:dPt>
          <c:dPt>
            <c:idx val="909"/>
            <c:invertIfNegative val="1"/>
            <c:bubble3D val="0"/>
            <c:spPr>
              <a:solidFill>
                <a:srgbClr val="AEABAB"/>
              </a:solidFill>
            </c:spPr>
            <c:extLst>
              <c:ext xmlns:c16="http://schemas.microsoft.com/office/drawing/2014/chart" uri="{C3380CC4-5D6E-409C-BE32-E72D297353CC}">
                <c16:uniqueId val="{0000071D-280A-4CC8-864C-E6F154A5A56B}"/>
              </c:ext>
            </c:extLst>
          </c:dPt>
          <c:dPt>
            <c:idx val="910"/>
            <c:invertIfNegative val="1"/>
            <c:bubble3D val="0"/>
            <c:spPr>
              <a:solidFill>
                <a:srgbClr val="AEABAB"/>
              </a:solidFill>
            </c:spPr>
            <c:extLst>
              <c:ext xmlns:c16="http://schemas.microsoft.com/office/drawing/2014/chart" uri="{C3380CC4-5D6E-409C-BE32-E72D297353CC}">
                <c16:uniqueId val="{0000071F-280A-4CC8-864C-E6F154A5A56B}"/>
              </c:ext>
            </c:extLst>
          </c:dPt>
          <c:dPt>
            <c:idx val="911"/>
            <c:invertIfNegative val="1"/>
            <c:bubble3D val="0"/>
            <c:spPr>
              <a:solidFill>
                <a:srgbClr val="AEABAB"/>
              </a:solidFill>
            </c:spPr>
            <c:extLst>
              <c:ext xmlns:c16="http://schemas.microsoft.com/office/drawing/2014/chart" uri="{C3380CC4-5D6E-409C-BE32-E72D297353CC}">
                <c16:uniqueId val="{00000721-280A-4CC8-864C-E6F154A5A56B}"/>
              </c:ext>
            </c:extLst>
          </c:dPt>
          <c:dPt>
            <c:idx val="912"/>
            <c:invertIfNegative val="1"/>
            <c:bubble3D val="0"/>
            <c:spPr>
              <a:solidFill>
                <a:srgbClr val="AEABAB"/>
              </a:solidFill>
            </c:spPr>
            <c:extLst>
              <c:ext xmlns:c16="http://schemas.microsoft.com/office/drawing/2014/chart" uri="{C3380CC4-5D6E-409C-BE32-E72D297353CC}">
                <c16:uniqueId val="{00000723-280A-4CC8-864C-E6F154A5A56B}"/>
              </c:ext>
            </c:extLst>
          </c:dPt>
          <c:dPt>
            <c:idx val="913"/>
            <c:invertIfNegative val="1"/>
            <c:bubble3D val="0"/>
            <c:spPr>
              <a:solidFill>
                <a:srgbClr val="AEABAB"/>
              </a:solidFill>
            </c:spPr>
            <c:extLst>
              <c:ext xmlns:c16="http://schemas.microsoft.com/office/drawing/2014/chart" uri="{C3380CC4-5D6E-409C-BE32-E72D297353CC}">
                <c16:uniqueId val="{00000725-280A-4CC8-864C-E6F154A5A56B}"/>
              </c:ext>
            </c:extLst>
          </c:dPt>
          <c:dPt>
            <c:idx val="914"/>
            <c:invertIfNegative val="1"/>
            <c:bubble3D val="0"/>
            <c:spPr>
              <a:solidFill>
                <a:srgbClr val="AEABAB"/>
              </a:solidFill>
            </c:spPr>
            <c:extLst>
              <c:ext xmlns:c16="http://schemas.microsoft.com/office/drawing/2014/chart" uri="{C3380CC4-5D6E-409C-BE32-E72D297353CC}">
                <c16:uniqueId val="{00000727-280A-4CC8-864C-E6F154A5A56B}"/>
              </c:ext>
            </c:extLst>
          </c:dPt>
          <c:dPt>
            <c:idx val="915"/>
            <c:invertIfNegative val="1"/>
            <c:bubble3D val="0"/>
            <c:spPr>
              <a:solidFill>
                <a:srgbClr val="AEABAB"/>
              </a:solidFill>
            </c:spPr>
            <c:extLst>
              <c:ext xmlns:c16="http://schemas.microsoft.com/office/drawing/2014/chart" uri="{C3380CC4-5D6E-409C-BE32-E72D297353CC}">
                <c16:uniqueId val="{00000729-280A-4CC8-864C-E6F154A5A56B}"/>
              </c:ext>
            </c:extLst>
          </c:dPt>
          <c:dPt>
            <c:idx val="916"/>
            <c:invertIfNegative val="1"/>
            <c:bubble3D val="0"/>
            <c:spPr>
              <a:solidFill>
                <a:srgbClr val="AEABAB"/>
              </a:solidFill>
            </c:spPr>
            <c:extLst>
              <c:ext xmlns:c16="http://schemas.microsoft.com/office/drawing/2014/chart" uri="{C3380CC4-5D6E-409C-BE32-E72D297353CC}">
                <c16:uniqueId val="{0000072B-280A-4CC8-864C-E6F154A5A56B}"/>
              </c:ext>
            </c:extLst>
          </c:dPt>
          <c:dPt>
            <c:idx val="917"/>
            <c:invertIfNegative val="1"/>
            <c:bubble3D val="0"/>
            <c:spPr>
              <a:solidFill>
                <a:srgbClr val="AEABAB"/>
              </a:solidFill>
            </c:spPr>
            <c:extLst>
              <c:ext xmlns:c16="http://schemas.microsoft.com/office/drawing/2014/chart" uri="{C3380CC4-5D6E-409C-BE32-E72D297353CC}">
                <c16:uniqueId val="{0000072D-280A-4CC8-864C-E6F154A5A56B}"/>
              </c:ext>
            </c:extLst>
          </c:dPt>
          <c:dPt>
            <c:idx val="918"/>
            <c:invertIfNegative val="1"/>
            <c:bubble3D val="0"/>
            <c:spPr>
              <a:solidFill>
                <a:srgbClr val="AEABAB"/>
              </a:solidFill>
            </c:spPr>
            <c:extLst>
              <c:ext xmlns:c16="http://schemas.microsoft.com/office/drawing/2014/chart" uri="{C3380CC4-5D6E-409C-BE32-E72D297353CC}">
                <c16:uniqueId val="{0000072F-280A-4CC8-864C-E6F154A5A56B}"/>
              </c:ext>
            </c:extLst>
          </c:dPt>
          <c:dPt>
            <c:idx val="919"/>
            <c:invertIfNegative val="1"/>
            <c:bubble3D val="0"/>
            <c:spPr>
              <a:solidFill>
                <a:srgbClr val="AEABAB"/>
              </a:solidFill>
            </c:spPr>
            <c:extLst>
              <c:ext xmlns:c16="http://schemas.microsoft.com/office/drawing/2014/chart" uri="{C3380CC4-5D6E-409C-BE32-E72D297353CC}">
                <c16:uniqueId val="{00000731-280A-4CC8-864C-E6F154A5A56B}"/>
              </c:ext>
            </c:extLst>
          </c:dPt>
          <c:dPt>
            <c:idx val="920"/>
            <c:invertIfNegative val="1"/>
            <c:bubble3D val="0"/>
            <c:spPr>
              <a:solidFill>
                <a:srgbClr val="AEABAB"/>
              </a:solidFill>
            </c:spPr>
            <c:extLst>
              <c:ext xmlns:c16="http://schemas.microsoft.com/office/drawing/2014/chart" uri="{C3380CC4-5D6E-409C-BE32-E72D297353CC}">
                <c16:uniqueId val="{00000733-280A-4CC8-864C-E6F154A5A56B}"/>
              </c:ext>
            </c:extLst>
          </c:dPt>
          <c:dPt>
            <c:idx val="921"/>
            <c:invertIfNegative val="1"/>
            <c:bubble3D val="0"/>
            <c:spPr>
              <a:solidFill>
                <a:srgbClr val="AEABAB"/>
              </a:solidFill>
            </c:spPr>
            <c:extLst>
              <c:ext xmlns:c16="http://schemas.microsoft.com/office/drawing/2014/chart" uri="{C3380CC4-5D6E-409C-BE32-E72D297353CC}">
                <c16:uniqueId val="{00000735-280A-4CC8-864C-E6F154A5A56B}"/>
              </c:ext>
            </c:extLst>
          </c:dPt>
          <c:dPt>
            <c:idx val="922"/>
            <c:invertIfNegative val="1"/>
            <c:bubble3D val="0"/>
            <c:spPr>
              <a:solidFill>
                <a:srgbClr val="AEABAB"/>
              </a:solidFill>
            </c:spPr>
            <c:extLst>
              <c:ext xmlns:c16="http://schemas.microsoft.com/office/drawing/2014/chart" uri="{C3380CC4-5D6E-409C-BE32-E72D297353CC}">
                <c16:uniqueId val="{00000737-280A-4CC8-864C-E6F154A5A56B}"/>
              </c:ext>
            </c:extLst>
          </c:dPt>
          <c:dPt>
            <c:idx val="923"/>
            <c:invertIfNegative val="1"/>
            <c:bubble3D val="0"/>
            <c:spPr>
              <a:solidFill>
                <a:srgbClr val="AEABAB"/>
              </a:solidFill>
            </c:spPr>
            <c:extLst>
              <c:ext xmlns:c16="http://schemas.microsoft.com/office/drawing/2014/chart" uri="{C3380CC4-5D6E-409C-BE32-E72D297353CC}">
                <c16:uniqueId val="{00000739-280A-4CC8-864C-E6F154A5A56B}"/>
              </c:ext>
            </c:extLst>
          </c:dPt>
          <c:dPt>
            <c:idx val="924"/>
            <c:invertIfNegative val="1"/>
            <c:bubble3D val="0"/>
            <c:spPr>
              <a:solidFill>
                <a:srgbClr val="AEABAB"/>
              </a:solidFill>
            </c:spPr>
            <c:extLst>
              <c:ext xmlns:c16="http://schemas.microsoft.com/office/drawing/2014/chart" uri="{C3380CC4-5D6E-409C-BE32-E72D297353CC}">
                <c16:uniqueId val="{0000073B-280A-4CC8-864C-E6F154A5A56B}"/>
              </c:ext>
            </c:extLst>
          </c:dPt>
          <c:dPt>
            <c:idx val="925"/>
            <c:invertIfNegative val="1"/>
            <c:bubble3D val="0"/>
            <c:spPr>
              <a:solidFill>
                <a:srgbClr val="AEABAB"/>
              </a:solidFill>
            </c:spPr>
            <c:extLst>
              <c:ext xmlns:c16="http://schemas.microsoft.com/office/drawing/2014/chart" uri="{C3380CC4-5D6E-409C-BE32-E72D297353CC}">
                <c16:uniqueId val="{0000073D-280A-4CC8-864C-E6F154A5A56B}"/>
              </c:ext>
            </c:extLst>
          </c:dPt>
          <c:dPt>
            <c:idx val="926"/>
            <c:invertIfNegative val="1"/>
            <c:bubble3D val="0"/>
            <c:spPr>
              <a:solidFill>
                <a:srgbClr val="AEABAB"/>
              </a:solidFill>
            </c:spPr>
            <c:extLst>
              <c:ext xmlns:c16="http://schemas.microsoft.com/office/drawing/2014/chart" uri="{C3380CC4-5D6E-409C-BE32-E72D297353CC}">
                <c16:uniqueId val="{0000073F-280A-4CC8-864C-E6F154A5A56B}"/>
              </c:ext>
            </c:extLst>
          </c:dPt>
          <c:dPt>
            <c:idx val="927"/>
            <c:invertIfNegative val="1"/>
            <c:bubble3D val="0"/>
            <c:spPr>
              <a:solidFill>
                <a:srgbClr val="AEABAB"/>
              </a:solidFill>
            </c:spPr>
            <c:extLst>
              <c:ext xmlns:c16="http://schemas.microsoft.com/office/drawing/2014/chart" uri="{C3380CC4-5D6E-409C-BE32-E72D297353CC}">
                <c16:uniqueId val="{00000741-280A-4CC8-864C-E6F154A5A56B}"/>
              </c:ext>
            </c:extLst>
          </c:dPt>
          <c:dPt>
            <c:idx val="928"/>
            <c:invertIfNegative val="1"/>
            <c:bubble3D val="0"/>
            <c:spPr>
              <a:solidFill>
                <a:srgbClr val="AEABAB"/>
              </a:solidFill>
            </c:spPr>
            <c:extLst>
              <c:ext xmlns:c16="http://schemas.microsoft.com/office/drawing/2014/chart" uri="{C3380CC4-5D6E-409C-BE32-E72D297353CC}">
                <c16:uniqueId val="{00000743-280A-4CC8-864C-E6F154A5A56B}"/>
              </c:ext>
            </c:extLst>
          </c:dPt>
          <c:dPt>
            <c:idx val="929"/>
            <c:invertIfNegative val="1"/>
            <c:bubble3D val="0"/>
            <c:spPr>
              <a:solidFill>
                <a:srgbClr val="AEABAB"/>
              </a:solidFill>
            </c:spPr>
            <c:extLst>
              <c:ext xmlns:c16="http://schemas.microsoft.com/office/drawing/2014/chart" uri="{C3380CC4-5D6E-409C-BE32-E72D297353CC}">
                <c16:uniqueId val="{00000745-280A-4CC8-864C-E6F154A5A56B}"/>
              </c:ext>
            </c:extLst>
          </c:dPt>
          <c:dPt>
            <c:idx val="930"/>
            <c:invertIfNegative val="1"/>
            <c:bubble3D val="0"/>
            <c:spPr>
              <a:solidFill>
                <a:srgbClr val="AEABAB"/>
              </a:solidFill>
            </c:spPr>
            <c:extLst>
              <c:ext xmlns:c16="http://schemas.microsoft.com/office/drawing/2014/chart" uri="{C3380CC4-5D6E-409C-BE32-E72D297353CC}">
                <c16:uniqueId val="{00000747-280A-4CC8-864C-E6F154A5A56B}"/>
              </c:ext>
            </c:extLst>
          </c:dPt>
          <c:dPt>
            <c:idx val="931"/>
            <c:invertIfNegative val="1"/>
            <c:bubble3D val="0"/>
            <c:spPr>
              <a:solidFill>
                <a:srgbClr val="AEABAB"/>
              </a:solidFill>
            </c:spPr>
            <c:extLst>
              <c:ext xmlns:c16="http://schemas.microsoft.com/office/drawing/2014/chart" uri="{C3380CC4-5D6E-409C-BE32-E72D297353CC}">
                <c16:uniqueId val="{00000749-280A-4CC8-864C-E6F154A5A56B}"/>
              </c:ext>
            </c:extLst>
          </c:dPt>
          <c:dPt>
            <c:idx val="932"/>
            <c:invertIfNegative val="1"/>
            <c:bubble3D val="0"/>
            <c:spPr>
              <a:solidFill>
                <a:srgbClr val="AEABAB"/>
              </a:solidFill>
            </c:spPr>
            <c:extLst>
              <c:ext xmlns:c16="http://schemas.microsoft.com/office/drawing/2014/chart" uri="{C3380CC4-5D6E-409C-BE32-E72D297353CC}">
                <c16:uniqueId val="{0000074B-280A-4CC8-864C-E6F154A5A56B}"/>
              </c:ext>
            </c:extLst>
          </c:dPt>
          <c:dPt>
            <c:idx val="933"/>
            <c:invertIfNegative val="1"/>
            <c:bubble3D val="0"/>
            <c:spPr>
              <a:solidFill>
                <a:srgbClr val="AEABAB"/>
              </a:solidFill>
            </c:spPr>
            <c:extLst>
              <c:ext xmlns:c16="http://schemas.microsoft.com/office/drawing/2014/chart" uri="{C3380CC4-5D6E-409C-BE32-E72D297353CC}">
                <c16:uniqueId val="{0000074D-280A-4CC8-864C-E6F154A5A56B}"/>
              </c:ext>
            </c:extLst>
          </c:dPt>
          <c:dPt>
            <c:idx val="934"/>
            <c:invertIfNegative val="1"/>
            <c:bubble3D val="0"/>
            <c:spPr>
              <a:solidFill>
                <a:srgbClr val="AEABAB"/>
              </a:solidFill>
            </c:spPr>
            <c:extLst>
              <c:ext xmlns:c16="http://schemas.microsoft.com/office/drawing/2014/chart" uri="{C3380CC4-5D6E-409C-BE32-E72D297353CC}">
                <c16:uniqueId val="{0000074F-280A-4CC8-864C-E6F154A5A56B}"/>
              </c:ext>
            </c:extLst>
          </c:dPt>
          <c:dPt>
            <c:idx val="935"/>
            <c:invertIfNegative val="1"/>
            <c:bubble3D val="0"/>
            <c:spPr>
              <a:solidFill>
                <a:srgbClr val="AEABAB"/>
              </a:solidFill>
            </c:spPr>
            <c:extLst>
              <c:ext xmlns:c16="http://schemas.microsoft.com/office/drawing/2014/chart" uri="{C3380CC4-5D6E-409C-BE32-E72D297353CC}">
                <c16:uniqueId val="{00000751-280A-4CC8-864C-E6F154A5A56B}"/>
              </c:ext>
            </c:extLst>
          </c:dPt>
          <c:dPt>
            <c:idx val="936"/>
            <c:invertIfNegative val="1"/>
            <c:bubble3D val="0"/>
            <c:spPr>
              <a:solidFill>
                <a:srgbClr val="AEABAB"/>
              </a:solidFill>
            </c:spPr>
            <c:extLst>
              <c:ext xmlns:c16="http://schemas.microsoft.com/office/drawing/2014/chart" uri="{C3380CC4-5D6E-409C-BE32-E72D297353CC}">
                <c16:uniqueId val="{00000753-280A-4CC8-864C-E6F154A5A56B}"/>
              </c:ext>
            </c:extLst>
          </c:dPt>
          <c:dPt>
            <c:idx val="937"/>
            <c:invertIfNegative val="1"/>
            <c:bubble3D val="0"/>
            <c:spPr>
              <a:solidFill>
                <a:srgbClr val="AEABAB"/>
              </a:solidFill>
            </c:spPr>
            <c:extLst>
              <c:ext xmlns:c16="http://schemas.microsoft.com/office/drawing/2014/chart" uri="{C3380CC4-5D6E-409C-BE32-E72D297353CC}">
                <c16:uniqueId val="{00000755-280A-4CC8-864C-E6F154A5A56B}"/>
              </c:ext>
            </c:extLst>
          </c:dPt>
          <c:dPt>
            <c:idx val="938"/>
            <c:invertIfNegative val="1"/>
            <c:bubble3D val="0"/>
            <c:spPr>
              <a:solidFill>
                <a:srgbClr val="AEABAB"/>
              </a:solidFill>
            </c:spPr>
            <c:extLst>
              <c:ext xmlns:c16="http://schemas.microsoft.com/office/drawing/2014/chart" uri="{C3380CC4-5D6E-409C-BE32-E72D297353CC}">
                <c16:uniqueId val="{00000757-280A-4CC8-864C-E6F154A5A56B}"/>
              </c:ext>
            </c:extLst>
          </c:dPt>
          <c:dPt>
            <c:idx val="939"/>
            <c:invertIfNegative val="1"/>
            <c:bubble3D val="0"/>
            <c:spPr>
              <a:solidFill>
                <a:srgbClr val="AEABAB"/>
              </a:solidFill>
            </c:spPr>
            <c:extLst>
              <c:ext xmlns:c16="http://schemas.microsoft.com/office/drawing/2014/chart" uri="{C3380CC4-5D6E-409C-BE32-E72D297353CC}">
                <c16:uniqueId val="{00000759-280A-4CC8-864C-E6F154A5A56B}"/>
              </c:ext>
            </c:extLst>
          </c:dPt>
          <c:dPt>
            <c:idx val="940"/>
            <c:invertIfNegative val="1"/>
            <c:bubble3D val="0"/>
            <c:spPr>
              <a:solidFill>
                <a:srgbClr val="AEABAB"/>
              </a:solidFill>
            </c:spPr>
            <c:extLst>
              <c:ext xmlns:c16="http://schemas.microsoft.com/office/drawing/2014/chart" uri="{C3380CC4-5D6E-409C-BE32-E72D297353CC}">
                <c16:uniqueId val="{0000075B-280A-4CC8-864C-E6F154A5A56B}"/>
              </c:ext>
            </c:extLst>
          </c:dPt>
          <c:dPt>
            <c:idx val="941"/>
            <c:invertIfNegative val="1"/>
            <c:bubble3D val="0"/>
            <c:spPr>
              <a:solidFill>
                <a:srgbClr val="AEABAB"/>
              </a:solidFill>
            </c:spPr>
            <c:extLst>
              <c:ext xmlns:c16="http://schemas.microsoft.com/office/drawing/2014/chart" uri="{C3380CC4-5D6E-409C-BE32-E72D297353CC}">
                <c16:uniqueId val="{0000075D-280A-4CC8-864C-E6F154A5A56B}"/>
              </c:ext>
            </c:extLst>
          </c:dPt>
          <c:dPt>
            <c:idx val="942"/>
            <c:invertIfNegative val="1"/>
            <c:bubble3D val="0"/>
            <c:spPr>
              <a:solidFill>
                <a:srgbClr val="AEABAB"/>
              </a:solidFill>
            </c:spPr>
            <c:extLst>
              <c:ext xmlns:c16="http://schemas.microsoft.com/office/drawing/2014/chart" uri="{C3380CC4-5D6E-409C-BE32-E72D297353CC}">
                <c16:uniqueId val="{0000075F-280A-4CC8-864C-E6F154A5A56B}"/>
              </c:ext>
            </c:extLst>
          </c:dPt>
          <c:dPt>
            <c:idx val="943"/>
            <c:invertIfNegative val="1"/>
            <c:bubble3D val="0"/>
            <c:spPr>
              <a:solidFill>
                <a:srgbClr val="AEABAB"/>
              </a:solidFill>
            </c:spPr>
            <c:extLst>
              <c:ext xmlns:c16="http://schemas.microsoft.com/office/drawing/2014/chart" uri="{C3380CC4-5D6E-409C-BE32-E72D297353CC}">
                <c16:uniqueId val="{00000761-280A-4CC8-864C-E6F154A5A56B}"/>
              </c:ext>
            </c:extLst>
          </c:dPt>
          <c:dPt>
            <c:idx val="944"/>
            <c:invertIfNegative val="1"/>
            <c:bubble3D val="0"/>
            <c:spPr>
              <a:solidFill>
                <a:srgbClr val="AEABAB"/>
              </a:solidFill>
            </c:spPr>
            <c:extLst>
              <c:ext xmlns:c16="http://schemas.microsoft.com/office/drawing/2014/chart" uri="{C3380CC4-5D6E-409C-BE32-E72D297353CC}">
                <c16:uniqueId val="{00000763-280A-4CC8-864C-E6F154A5A56B}"/>
              </c:ext>
            </c:extLst>
          </c:dPt>
          <c:dPt>
            <c:idx val="945"/>
            <c:invertIfNegative val="1"/>
            <c:bubble3D val="0"/>
            <c:spPr>
              <a:solidFill>
                <a:srgbClr val="AEABAB"/>
              </a:solidFill>
            </c:spPr>
            <c:extLst>
              <c:ext xmlns:c16="http://schemas.microsoft.com/office/drawing/2014/chart" uri="{C3380CC4-5D6E-409C-BE32-E72D297353CC}">
                <c16:uniqueId val="{00000765-280A-4CC8-864C-E6F154A5A56B}"/>
              </c:ext>
            </c:extLst>
          </c:dPt>
          <c:dPt>
            <c:idx val="946"/>
            <c:invertIfNegative val="1"/>
            <c:bubble3D val="0"/>
            <c:spPr>
              <a:solidFill>
                <a:srgbClr val="AEABAB"/>
              </a:solidFill>
            </c:spPr>
            <c:extLst>
              <c:ext xmlns:c16="http://schemas.microsoft.com/office/drawing/2014/chart" uri="{C3380CC4-5D6E-409C-BE32-E72D297353CC}">
                <c16:uniqueId val="{00000767-280A-4CC8-864C-E6F154A5A56B}"/>
              </c:ext>
            </c:extLst>
          </c:dPt>
          <c:dPt>
            <c:idx val="947"/>
            <c:invertIfNegative val="1"/>
            <c:bubble3D val="0"/>
            <c:spPr>
              <a:solidFill>
                <a:srgbClr val="AEABAB"/>
              </a:solidFill>
            </c:spPr>
            <c:extLst>
              <c:ext xmlns:c16="http://schemas.microsoft.com/office/drawing/2014/chart" uri="{C3380CC4-5D6E-409C-BE32-E72D297353CC}">
                <c16:uniqueId val="{00000769-280A-4CC8-864C-E6F154A5A56B}"/>
              </c:ext>
            </c:extLst>
          </c:dPt>
          <c:dPt>
            <c:idx val="948"/>
            <c:invertIfNegative val="1"/>
            <c:bubble3D val="0"/>
            <c:spPr>
              <a:solidFill>
                <a:srgbClr val="AEABAB"/>
              </a:solidFill>
            </c:spPr>
            <c:extLst>
              <c:ext xmlns:c16="http://schemas.microsoft.com/office/drawing/2014/chart" uri="{C3380CC4-5D6E-409C-BE32-E72D297353CC}">
                <c16:uniqueId val="{0000076B-280A-4CC8-864C-E6F154A5A56B}"/>
              </c:ext>
            </c:extLst>
          </c:dPt>
          <c:dPt>
            <c:idx val="949"/>
            <c:invertIfNegative val="1"/>
            <c:bubble3D val="0"/>
            <c:spPr>
              <a:solidFill>
                <a:srgbClr val="AEABAB"/>
              </a:solidFill>
            </c:spPr>
            <c:extLst>
              <c:ext xmlns:c16="http://schemas.microsoft.com/office/drawing/2014/chart" uri="{C3380CC4-5D6E-409C-BE32-E72D297353CC}">
                <c16:uniqueId val="{0000076D-280A-4CC8-864C-E6F154A5A56B}"/>
              </c:ext>
            </c:extLst>
          </c:dPt>
          <c:dPt>
            <c:idx val="950"/>
            <c:invertIfNegative val="1"/>
            <c:bubble3D val="0"/>
            <c:spPr>
              <a:solidFill>
                <a:srgbClr val="AEABAB"/>
              </a:solidFill>
            </c:spPr>
            <c:extLst>
              <c:ext xmlns:c16="http://schemas.microsoft.com/office/drawing/2014/chart" uri="{C3380CC4-5D6E-409C-BE32-E72D297353CC}">
                <c16:uniqueId val="{0000076F-280A-4CC8-864C-E6F154A5A56B}"/>
              </c:ext>
            </c:extLst>
          </c:dPt>
          <c:dPt>
            <c:idx val="951"/>
            <c:invertIfNegative val="1"/>
            <c:bubble3D val="0"/>
            <c:spPr>
              <a:solidFill>
                <a:srgbClr val="AEABAB"/>
              </a:solidFill>
            </c:spPr>
            <c:extLst>
              <c:ext xmlns:c16="http://schemas.microsoft.com/office/drawing/2014/chart" uri="{C3380CC4-5D6E-409C-BE32-E72D297353CC}">
                <c16:uniqueId val="{00000771-280A-4CC8-864C-E6F154A5A56B}"/>
              </c:ext>
            </c:extLst>
          </c:dPt>
          <c:dPt>
            <c:idx val="952"/>
            <c:invertIfNegative val="1"/>
            <c:bubble3D val="0"/>
            <c:spPr>
              <a:solidFill>
                <a:srgbClr val="AEABAB"/>
              </a:solidFill>
            </c:spPr>
            <c:extLst>
              <c:ext xmlns:c16="http://schemas.microsoft.com/office/drawing/2014/chart" uri="{C3380CC4-5D6E-409C-BE32-E72D297353CC}">
                <c16:uniqueId val="{00000773-280A-4CC8-864C-E6F154A5A56B}"/>
              </c:ext>
            </c:extLst>
          </c:dPt>
          <c:dPt>
            <c:idx val="953"/>
            <c:invertIfNegative val="1"/>
            <c:bubble3D val="0"/>
            <c:spPr>
              <a:solidFill>
                <a:srgbClr val="AEABAB"/>
              </a:solidFill>
            </c:spPr>
            <c:extLst>
              <c:ext xmlns:c16="http://schemas.microsoft.com/office/drawing/2014/chart" uri="{C3380CC4-5D6E-409C-BE32-E72D297353CC}">
                <c16:uniqueId val="{00000775-280A-4CC8-864C-E6F154A5A56B}"/>
              </c:ext>
            </c:extLst>
          </c:dPt>
          <c:dPt>
            <c:idx val="954"/>
            <c:invertIfNegative val="1"/>
            <c:bubble3D val="0"/>
            <c:spPr>
              <a:solidFill>
                <a:srgbClr val="AEABAB"/>
              </a:solidFill>
            </c:spPr>
            <c:extLst>
              <c:ext xmlns:c16="http://schemas.microsoft.com/office/drawing/2014/chart" uri="{C3380CC4-5D6E-409C-BE32-E72D297353CC}">
                <c16:uniqueId val="{00000777-280A-4CC8-864C-E6F154A5A56B}"/>
              </c:ext>
            </c:extLst>
          </c:dPt>
          <c:dPt>
            <c:idx val="955"/>
            <c:invertIfNegative val="1"/>
            <c:bubble3D val="0"/>
            <c:spPr>
              <a:solidFill>
                <a:srgbClr val="AEABAB"/>
              </a:solidFill>
            </c:spPr>
            <c:extLst>
              <c:ext xmlns:c16="http://schemas.microsoft.com/office/drawing/2014/chart" uri="{C3380CC4-5D6E-409C-BE32-E72D297353CC}">
                <c16:uniqueId val="{00000779-280A-4CC8-864C-E6F154A5A56B}"/>
              </c:ext>
            </c:extLst>
          </c:dPt>
          <c:dPt>
            <c:idx val="956"/>
            <c:invertIfNegative val="1"/>
            <c:bubble3D val="0"/>
            <c:spPr>
              <a:solidFill>
                <a:srgbClr val="AEABAB"/>
              </a:solidFill>
            </c:spPr>
            <c:extLst>
              <c:ext xmlns:c16="http://schemas.microsoft.com/office/drawing/2014/chart" uri="{C3380CC4-5D6E-409C-BE32-E72D297353CC}">
                <c16:uniqueId val="{0000077B-280A-4CC8-864C-E6F154A5A56B}"/>
              </c:ext>
            </c:extLst>
          </c:dPt>
          <c:dPt>
            <c:idx val="957"/>
            <c:invertIfNegative val="1"/>
            <c:bubble3D val="0"/>
            <c:spPr>
              <a:solidFill>
                <a:srgbClr val="AEABAB"/>
              </a:solidFill>
            </c:spPr>
            <c:extLst>
              <c:ext xmlns:c16="http://schemas.microsoft.com/office/drawing/2014/chart" uri="{C3380CC4-5D6E-409C-BE32-E72D297353CC}">
                <c16:uniqueId val="{0000077D-280A-4CC8-864C-E6F154A5A56B}"/>
              </c:ext>
            </c:extLst>
          </c:dPt>
          <c:dPt>
            <c:idx val="958"/>
            <c:invertIfNegative val="1"/>
            <c:bubble3D val="0"/>
            <c:spPr>
              <a:solidFill>
                <a:srgbClr val="AEABAB"/>
              </a:solidFill>
            </c:spPr>
            <c:extLst>
              <c:ext xmlns:c16="http://schemas.microsoft.com/office/drawing/2014/chart" uri="{C3380CC4-5D6E-409C-BE32-E72D297353CC}">
                <c16:uniqueId val="{0000077F-280A-4CC8-864C-E6F154A5A56B}"/>
              </c:ext>
            </c:extLst>
          </c:dPt>
          <c:dPt>
            <c:idx val="959"/>
            <c:invertIfNegative val="1"/>
            <c:bubble3D val="0"/>
            <c:spPr>
              <a:solidFill>
                <a:srgbClr val="AEABAB"/>
              </a:solidFill>
            </c:spPr>
            <c:extLst>
              <c:ext xmlns:c16="http://schemas.microsoft.com/office/drawing/2014/chart" uri="{C3380CC4-5D6E-409C-BE32-E72D297353CC}">
                <c16:uniqueId val="{00000781-280A-4CC8-864C-E6F154A5A56B}"/>
              </c:ext>
            </c:extLst>
          </c:dPt>
          <c:dPt>
            <c:idx val="960"/>
            <c:invertIfNegative val="1"/>
            <c:bubble3D val="0"/>
            <c:spPr>
              <a:solidFill>
                <a:srgbClr val="AEABAB"/>
              </a:solidFill>
            </c:spPr>
            <c:extLst>
              <c:ext xmlns:c16="http://schemas.microsoft.com/office/drawing/2014/chart" uri="{C3380CC4-5D6E-409C-BE32-E72D297353CC}">
                <c16:uniqueId val="{00000783-280A-4CC8-864C-E6F154A5A56B}"/>
              </c:ext>
            </c:extLst>
          </c:dPt>
          <c:dPt>
            <c:idx val="961"/>
            <c:invertIfNegative val="1"/>
            <c:bubble3D val="0"/>
            <c:spPr>
              <a:solidFill>
                <a:srgbClr val="AEABAB"/>
              </a:solidFill>
            </c:spPr>
            <c:extLst>
              <c:ext xmlns:c16="http://schemas.microsoft.com/office/drawing/2014/chart" uri="{C3380CC4-5D6E-409C-BE32-E72D297353CC}">
                <c16:uniqueId val="{00000785-280A-4CC8-864C-E6F154A5A56B}"/>
              </c:ext>
            </c:extLst>
          </c:dPt>
          <c:dPt>
            <c:idx val="962"/>
            <c:invertIfNegative val="1"/>
            <c:bubble3D val="0"/>
            <c:spPr>
              <a:solidFill>
                <a:srgbClr val="AEABAB"/>
              </a:solidFill>
            </c:spPr>
            <c:extLst>
              <c:ext xmlns:c16="http://schemas.microsoft.com/office/drawing/2014/chart" uri="{C3380CC4-5D6E-409C-BE32-E72D297353CC}">
                <c16:uniqueId val="{00000787-280A-4CC8-864C-E6F154A5A56B}"/>
              </c:ext>
            </c:extLst>
          </c:dPt>
          <c:dPt>
            <c:idx val="963"/>
            <c:invertIfNegative val="1"/>
            <c:bubble3D val="0"/>
            <c:spPr>
              <a:solidFill>
                <a:srgbClr val="AEABAB"/>
              </a:solidFill>
            </c:spPr>
            <c:extLst>
              <c:ext xmlns:c16="http://schemas.microsoft.com/office/drawing/2014/chart" uri="{C3380CC4-5D6E-409C-BE32-E72D297353CC}">
                <c16:uniqueId val="{00000789-280A-4CC8-864C-E6F154A5A56B}"/>
              </c:ext>
            </c:extLst>
          </c:dPt>
          <c:dPt>
            <c:idx val="964"/>
            <c:invertIfNegative val="1"/>
            <c:bubble3D val="0"/>
            <c:spPr>
              <a:solidFill>
                <a:srgbClr val="AEABAB"/>
              </a:solidFill>
            </c:spPr>
            <c:extLst>
              <c:ext xmlns:c16="http://schemas.microsoft.com/office/drawing/2014/chart" uri="{C3380CC4-5D6E-409C-BE32-E72D297353CC}">
                <c16:uniqueId val="{0000078B-280A-4CC8-864C-E6F154A5A56B}"/>
              </c:ext>
            </c:extLst>
          </c:dPt>
          <c:dPt>
            <c:idx val="965"/>
            <c:invertIfNegative val="1"/>
            <c:bubble3D val="0"/>
            <c:spPr>
              <a:solidFill>
                <a:srgbClr val="AEABAB"/>
              </a:solidFill>
            </c:spPr>
            <c:extLst>
              <c:ext xmlns:c16="http://schemas.microsoft.com/office/drawing/2014/chart" uri="{C3380CC4-5D6E-409C-BE32-E72D297353CC}">
                <c16:uniqueId val="{0000078D-280A-4CC8-864C-E6F154A5A56B}"/>
              </c:ext>
            </c:extLst>
          </c:dPt>
          <c:dPt>
            <c:idx val="966"/>
            <c:invertIfNegative val="1"/>
            <c:bubble3D val="0"/>
            <c:spPr>
              <a:solidFill>
                <a:srgbClr val="AEABAB"/>
              </a:solidFill>
            </c:spPr>
            <c:extLst>
              <c:ext xmlns:c16="http://schemas.microsoft.com/office/drawing/2014/chart" uri="{C3380CC4-5D6E-409C-BE32-E72D297353CC}">
                <c16:uniqueId val="{0000078F-280A-4CC8-864C-E6F154A5A56B}"/>
              </c:ext>
            </c:extLst>
          </c:dPt>
          <c:dPt>
            <c:idx val="967"/>
            <c:invertIfNegative val="1"/>
            <c:bubble3D val="0"/>
            <c:spPr>
              <a:solidFill>
                <a:srgbClr val="AEABAB"/>
              </a:solidFill>
            </c:spPr>
            <c:extLst>
              <c:ext xmlns:c16="http://schemas.microsoft.com/office/drawing/2014/chart" uri="{C3380CC4-5D6E-409C-BE32-E72D297353CC}">
                <c16:uniqueId val="{00000791-280A-4CC8-864C-E6F154A5A56B}"/>
              </c:ext>
            </c:extLst>
          </c:dPt>
          <c:dPt>
            <c:idx val="968"/>
            <c:invertIfNegative val="1"/>
            <c:bubble3D val="0"/>
            <c:spPr>
              <a:solidFill>
                <a:srgbClr val="AEABAB"/>
              </a:solidFill>
            </c:spPr>
            <c:extLst>
              <c:ext xmlns:c16="http://schemas.microsoft.com/office/drawing/2014/chart" uri="{C3380CC4-5D6E-409C-BE32-E72D297353CC}">
                <c16:uniqueId val="{00000793-280A-4CC8-864C-E6F154A5A56B}"/>
              </c:ext>
            </c:extLst>
          </c:dPt>
          <c:dPt>
            <c:idx val="969"/>
            <c:invertIfNegative val="1"/>
            <c:bubble3D val="0"/>
            <c:spPr>
              <a:solidFill>
                <a:srgbClr val="AEABAB"/>
              </a:solidFill>
            </c:spPr>
            <c:extLst>
              <c:ext xmlns:c16="http://schemas.microsoft.com/office/drawing/2014/chart" uri="{C3380CC4-5D6E-409C-BE32-E72D297353CC}">
                <c16:uniqueId val="{00000795-280A-4CC8-864C-E6F154A5A56B}"/>
              </c:ext>
            </c:extLst>
          </c:dPt>
          <c:dPt>
            <c:idx val="970"/>
            <c:invertIfNegative val="1"/>
            <c:bubble3D val="0"/>
            <c:spPr>
              <a:solidFill>
                <a:srgbClr val="AEABAB"/>
              </a:solidFill>
            </c:spPr>
            <c:extLst>
              <c:ext xmlns:c16="http://schemas.microsoft.com/office/drawing/2014/chart" uri="{C3380CC4-5D6E-409C-BE32-E72D297353CC}">
                <c16:uniqueId val="{00000797-280A-4CC8-864C-E6F154A5A56B}"/>
              </c:ext>
            </c:extLst>
          </c:dPt>
          <c:dPt>
            <c:idx val="971"/>
            <c:invertIfNegative val="1"/>
            <c:bubble3D val="0"/>
            <c:spPr>
              <a:solidFill>
                <a:srgbClr val="AEABAB"/>
              </a:solidFill>
            </c:spPr>
            <c:extLst>
              <c:ext xmlns:c16="http://schemas.microsoft.com/office/drawing/2014/chart" uri="{C3380CC4-5D6E-409C-BE32-E72D297353CC}">
                <c16:uniqueId val="{00000799-280A-4CC8-864C-E6F154A5A56B}"/>
              </c:ext>
            </c:extLst>
          </c:dPt>
          <c:dPt>
            <c:idx val="972"/>
            <c:invertIfNegative val="1"/>
            <c:bubble3D val="0"/>
            <c:spPr>
              <a:solidFill>
                <a:srgbClr val="AEABAB"/>
              </a:solidFill>
            </c:spPr>
            <c:extLst>
              <c:ext xmlns:c16="http://schemas.microsoft.com/office/drawing/2014/chart" uri="{C3380CC4-5D6E-409C-BE32-E72D297353CC}">
                <c16:uniqueId val="{0000079B-280A-4CC8-864C-E6F154A5A56B}"/>
              </c:ext>
            </c:extLst>
          </c:dPt>
          <c:dPt>
            <c:idx val="973"/>
            <c:invertIfNegative val="1"/>
            <c:bubble3D val="0"/>
            <c:spPr>
              <a:solidFill>
                <a:srgbClr val="AEABAB"/>
              </a:solidFill>
            </c:spPr>
            <c:extLst>
              <c:ext xmlns:c16="http://schemas.microsoft.com/office/drawing/2014/chart" uri="{C3380CC4-5D6E-409C-BE32-E72D297353CC}">
                <c16:uniqueId val="{0000079D-280A-4CC8-864C-E6F154A5A56B}"/>
              </c:ext>
            </c:extLst>
          </c:dPt>
          <c:dPt>
            <c:idx val="974"/>
            <c:invertIfNegative val="1"/>
            <c:bubble3D val="0"/>
            <c:spPr>
              <a:solidFill>
                <a:srgbClr val="AEABAB"/>
              </a:solidFill>
            </c:spPr>
            <c:extLst>
              <c:ext xmlns:c16="http://schemas.microsoft.com/office/drawing/2014/chart" uri="{C3380CC4-5D6E-409C-BE32-E72D297353CC}">
                <c16:uniqueId val="{0000079F-280A-4CC8-864C-E6F154A5A56B}"/>
              </c:ext>
            </c:extLst>
          </c:dPt>
          <c:dPt>
            <c:idx val="975"/>
            <c:invertIfNegative val="1"/>
            <c:bubble3D val="0"/>
            <c:spPr>
              <a:solidFill>
                <a:srgbClr val="AEABAB"/>
              </a:solidFill>
            </c:spPr>
            <c:extLst>
              <c:ext xmlns:c16="http://schemas.microsoft.com/office/drawing/2014/chart" uri="{C3380CC4-5D6E-409C-BE32-E72D297353CC}">
                <c16:uniqueId val="{000007A1-280A-4CC8-864C-E6F154A5A56B}"/>
              </c:ext>
            </c:extLst>
          </c:dPt>
          <c:dPt>
            <c:idx val="976"/>
            <c:invertIfNegative val="1"/>
            <c:bubble3D val="0"/>
            <c:spPr>
              <a:solidFill>
                <a:srgbClr val="AEABAB"/>
              </a:solidFill>
            </c:spPr>
            <c:extLst>
              <c:ext xmlns:c16="http://schemas.microsoft.com/office/drawing/2014/chart" uri="{C3380CC4-5D6E-409C-BE32-E72D297353CC}">
                <c16:uniqueId val="{000007A3-280A-4CC8-864C-E6F154A5A56B}"/>
              </c:ext>
            </c:extLst>
          </c:dPt>
          <c:dPt>
            <c:idx val="977"/>
            <c:invertIfNegative val="1"/>
            <c:bubble3D val="0"/>
            <c:spPr>
              <a:solidFill>
                <a:srgbClr val="AEABAB"/>
              </a:solidFill>
            </c:spPr>
            <c:extLst>
              <c:ext xmlns:c16="http://schemas.microsoft.com/office/drawing/2014/chart" uri="{C3380CC4-5D6E-409C-BE32-E72D297353CC}">
                <c16:uniqueId val="{000007A5-280A-4CC8-864C-E6F154A5A56B}"/>
              </c:ext>
            </c:extLst>
          </c:dPt>
          <c:dPt>
            <c:idx val="978"/>
            <c:invertIfNegative val="1"/>
            <c:bubble3D val="0"/>
            <c:spPr>
              <a:solidFill>
                <a:srgbClr val="AEABAB"/>
              </a:solidFill>
            </c:spPr>
            <c:extLst>
              <c:ext xmlns:c16="http://schemas.microsoft.com/office/drawing/2014/chart" uri="{C3380CC4-5D6E-409C-BE32-E72D297353CC}">
                <c16:uniqueId val="{000007A7-280A-4CC8-864C-E6F154A5A56B}"/>
              </c:ext>
            </c:extLst>
          </c:dPt>
          <c:dPt>
            <c:idx val="979"/>
            <c:invertIfNegative val="1"/>
            <c:bubble3D val="0"/>
            <c:spPr>
              <a:solidFill>
                <a:srgbClr val="AEABAB"/>
              </a:solidFill>
            </c:spPr>
            <c:extLst>
              <c:ext xmlns:c16="http://schemas.microsoft.com/office/drawing/2014/chart" uri="{C3380CC4-5D6E-409C-BE32-E72D297353CC}">
                <c16:uniqueId val="{000007A9-280A-4CC8-864C-E6F154A5A56B}"/>
              </c:ext>
            </c:extLst>
          </c:dPt>
          <c:dPt>
            <c:idx val="980"/>
            <c:invertIfNegative val="1"/>
            <c:bubble3D val="0"/>
            <c:spPr>
              <a:solidFill>
                <a:srgbClr val="AEABAB"/>
              </a:solidFill>
            </c:spPr>
            <c:extLst>
              <c:ext xmlns:c16="http://schemas.microsoft.com/office/drawing/2014/chart" uri="{C3380CC4-5D6E-409C-BE32-E72D297353CC}">
                <c16:uniqueId val="{000007AB-280A-4CC8-864C-E6F154A5A56B}"/>
              </c:ext>
            </c:extLst>
          </c:dPt>
          <c:dPt>
            <c:idx val="981"/>
            <c:invertIfNegative val="1"/>
            <c:bubble3D val="0"/>
            <c:spPr>
              <a:solidFill>
                <a:srgbClr val="AEABAB"/>
              </a:solidFill>
            </c:spPr>
            <c:extLst>
              <c:ext xmlns:c16="http://schemas.microsoft.com/office/drawing/2014/chart" uri="{C3380CC4-5D6E-409C-BE32-E72D297353CC}">
                <c16:uniqueId val="{000007AD-280A-4CC8-864C-E6F154A5A56B}"/>
              </c:ext>
            </c:extLst>
          </c:dPt>
          <c:dPt>
            <c:idx val="982"/>
            <c:invertIfNegative val="1"/>
            <c:bubble3D val="0"/>
            <c:spPr>
              <a:solidFill>
                <a:srgbClr val="AEABAB"/>
              </a:solidFill>
            </c:spPr>
            <c:extLst>
              <c:ext xmlns:c16="http://schemas.microsoft.com/office/drawing/2014/chart" uri="{C3380CC4-5D6E-409C-BE32-E72D297353CC}">
                <c16:uniqueId val="{000007AF-280A-4CC8-864C-E6F154A5A56B}"/>
              </c:ext>
            </c:extLst>
          </c:dPt>
          <c:dPt>
            <c:idx val="983"/>
            <c:invertIfNegative val="1"/>
            <c:bubble3D val="0"/>
            <c:spPr>
              <a:solidFill>
                <a:srgbClr val="AEABAB"/>
              </a:solidFill>
            </c:spPr>
            <c:extLst>
              <c:ext xmlns:c16="http://schemas.microsoft.com/office/drawing/2014/chart" uri="{C3380CC4-5D6E-409C-BE32-E72D297353CC}">
                <c16:uniqueId val="{000007B1-280A-4CC8-864C-E6F154A5A56B}"/>
              </c:ext>
            </c:extLst>
          </c:dPt>
          <c:dPt>
            <c:idx val="984"/>
            <c:invertIfNegative val="1"/>
            <c:bubble3D val="0"/>
            <c:spPr>
              <a:solidFill>
                <a:srgbClr val="AEABAB"/>
              </a:solidFill>
            </c:spPr>
            <c:extLst>
              <c:ext xmlns:c16="http://schemas.microsoft.com/office/drawing/2014/chart" uri="{C3380CC4-5D6E-409C-BE32-E72D297353CC}">
                <c16:uniqueId val="{000007B3-280A-4CC8-864C-E6F154A5A56B}"/>
              </c:ext>
            </c:extLst>
          </c:dPt>
          <c:dPt>
            <c:idx val="985"/>
            <c:invertIfNegative val="1"/>
            <c:bubble3D val="0"/>
            <c:spPr>
              <a:solidFill>
                <a:srgbClr val="AEABAB"/>
              </a:solidFill>
            </c:spPr>
            <c:extLst>
              <c:ext xmlns:c16="http://schemas.microsoft.com/office/drawing/2014/chart" uri="{C3380CC4-5D6E-409C-BE32-E72D297353CC}">
                <c16:uniqueId val="{000007B5-280A-4CC8-864C-E6F154A5A56B}"/>
              </c:ext>
            </c:extLst>
          </c:dPt>
          <c:dPt>
            <c:idx val="986"/>
            <c:invertIfNegative val="1"/>
            <c:bubble3D val="0"/>
            <c:spPr>
              <a:solidFill>
                <a:srgbClr val="AEABAB"/>
              </a:solidFill>
            </c:spPr>
            <c:extLst>
              <c:ext xmlns:c16="http://schemas.microsoft.com/office/drawing/2014/chart" uri="{C3380CC4-5D6E-409C-BE32-E72D297353CC}">
                <c16:uniqueId val="{000007B7-280A-4CC8-864C-E6F154A5A56B}"/>
              </c:ext>
            </c:extLst>
          </c:dPt>
          <c:dPt>
            <c:idx val="987"/>
            <c:invertIfNegative val="1"/>
            <c:bubble3D val="0"/>
            <c:spPr>
              <a:solidFill>
                <a:srgbClr val="AEABAB"/>
              </a:solidFill>
            </c:spPr>
            <c:extLst>
              <c:ext xmlns:c16="http://schemas.microsoft.com/office/drawing/2014/chart" uri="{C3380CC4-5D6E-409C-BE32-E72D297353CC}">
                <c16:uniqueId val="{000007B9-280A-4CC8-864C-E6F154A5A56B}"/>
              </c:ext>
            </c:extLst>
          </c:dPt>
          <c:dPt>
            <c:idx val="988"/>
            <c:invertIfNegative val="1"/>
            <c:bubble3D val="0"/>
            <c:spPr>
              <a:solidFill>
                <a:srgbClr val="AEABAB"/>
              </a:solidFill>
            </c:spPr>
            <c:extLst>
              <c:ext xmlns:c16="http://schemas.microsoft.com/office/drawing/2014/chart" uri="{C3380CC4-5D6E-409C-BE32-E72D297353CC}">
                <c16:uniqueId val="{000007BB-280A-4CC8-864C-E6F154A5A56B}"/>
              </c:ext>
            </c:extLst>
          </c:dPt>
          <c:dPt>
            <c:idx val="989"/>
            <c:invertIfNegative val="1"/>
            <c:bubble3D val="0"/>
            <c:spPr>
              <a:solidFill>
                <a:srgbClr val="AEABAB"/>
              </a:solidFill>
            </c:spPr>
            <c:extLst>
              <c:ext xmlns:c16="http://schemas.microsoft.com/office/drawing/2014/chart" uri="{C3380CC4-5D6E-409C-BE32-E72D297353CC}">
                <c16:uniqueId val="{000007BD-280A-4CC8-864C-E6F154A5A56B}"/>
              </c:ext>
            </c:extLst>
          </c:dPt>
          <c:dPt>
            <c:idx val="990"/>
            <c:invertIfNegative val="1"/>
            <c:bubble3D val="0"/>
            <c:spPr>
              <a:solidFill>
                <a:srgbClr val="AEABAB"/>
              </a:solidFill>
            </c:spPr>
            <c:extLst>
              <c:ext xmlns:c16="http://schemas.microsoft.com/office/drawing/2014/chart" uri="{C3380CC4-5D6E-409C-BE32-E72D297353CC}">
                <c16:uniqueId val="{000007BF-280A-4CC8-864C-E6F154A5A56B}"/>
              </c:ext>
            </c:extLst>
          </c:dPt>
          <c:dPt>
            <c:idx val="991"/>
            <c:invertIfNegative val="1"/>
            <c:bubble3D val="0"/>
            <c:spPr>
              <a:solidFill>
                <a:srgbClr val="AEABAB"/>
              </a:solidFill>
            </c:spPr>
            <c:extLst>
              <c:ext xmlns:c16="http://schemas.microsoft.com/office/drawing/2014/chart" uri="{C3380CC4-5D6E-409C-BE32-E72D297353CC}">
                <c16:uniqueId val="{000007C1-280A-4CC8-864C-E6F154A5A56B}"/>
              </c:ext>
            </c:extLst>
          </c:dPt>
          <c:dPt>
            <c:idx val="992"/>
            <c:invertIfNegative val="1"/>
            <c:bubble3D val="0"/>
            <c:spPr>
              <a:solidFill>
                <a:srgbClr val="AEABAB"/>
              </a:solidFill>
            </c:spPr>
            <c:extLst>
              <c:ext xmlns:c16="http://schemas.microsoft.com/office/drawing/2014/chart" uri="{C3380CC4-5D6E-409C-BE32-E72D297353CC}">
                <c16:uniqueId val="{000007C3-280A-4CC8-864C-E6F154A5A56B}"/>
              </c:ext>
            </c:extLst>
          </c:dPt>
          <c:dPt>
            <c:idx val="993"/>
            <c:invertIfNegative val="1"/>
            <c:bubble3D val="0"/>
            <c:spPr>
              <a:solidFill>
                <a:srgbClr val="AEABAB"/>
              </a:solidFill>
            </c:spPr>
            <c:extLst>
              <c:ext xmlns:c16="http://schemas.microsoft.com/office/drawing/2014/chart" uri="{C3380CC4-5D6E-409C-BE32-E72D297353CC}">
                <c16:uniqueId val="{000007C5-280A-4CC8-864C-E6F154A5A56B}"/>
              </c:ext>
            </c:extLst>
          </c:dPt>
          <c:dPt>
            <c:idx val="994"/>
            <c:invertIfNegative val="1"/>
            <c:bubble3D val="0"/>
            <c:spPr>
              <a:solidFill>
                <a:srgbClr val="AEABAB"/>
              </a:solidFill>
            </c:spPr>
            <c:extLst>
              <c:ext xmlns:c16="http://schemas.microsoft.com/office/drawing/2014/chart" uri="{C3380CC4-5D6E-409C-BE32-E72D297353CC}">
                <c16:uniqueId val="{000007C7-280A-4CC8-864C-E6F154A5A56B}"/>
              </c:ext>
            </c:extLst>
          </c:dPt>
          <c:dPt>
            <c:idx val="995"/>
            <c:invertIfNegative val="1"/>
            <c:bubble3D val="0"/>
            <c:spPr>
              <a:solidFill>
                <a:srgbClr val="AEABAB"/>
              </a:solidFill>
            </c:spPr>
            <c:extLst>
              <c:ext xmlns:c16="http://schemas.microsoft.com/office/drawing/2014/chart" uri="{C3380CC4-5D6E-409C-BE32-E72D297353CC}">
                <c16:uniqueId val="{000007C9-280A-4CC8-864C-E6F154A5A56B}"/>
              </c:ext>
            </c:extLst>
          </c:dPt>
          <c:dPt>
            <c:idx val="996"/>
            <c:invertIfNegative val="1"/>
            <c:bubble3D val="0"/>
            <c:spPr>
              <a:solidFill>
                <a:srgbClr val="AEABAB"/>
              </a:solidFill>
            </c:spPr>
            <c:extLst>
              <c:ext xmlns:c16="http://schemas.microsoft.com/office/drawing/2014/chart" uri="{C3380CC4-5D6E-409C-BE32-E72D297353CC}">
                <c16:uniqueId val="{000007CB-280A-4CC8-864C-E6F154A5A56B}"/>
              </c:ext>
            </c:extLst>
          </c:dPt>
          <c:dPt>
            <c:idx val="997"/>
            <c:invertIfNegative val="1"/>
            <c:bubble3D val="0"/>
            <c:spPr>
              <a:solidFill>
                <a:srgbClr val="AEABAB"/>
              </a:solidFill>
            </c:spPr>
            <c:extLst>
              <c:ext xmlns:c16="http://schemas.microsoft.com/office/drawing/2014/chart" uri="{C3380CC4-5D6E-409C-BE32-E72D297353CC}">
                <c16:uniqueId val="{000007CD-280A-4CC8-864C-E6F154A5A56B}"/>
              </c:ext>
            </c:extLst>
          </c:dPt>
          <c:dPt>
            <c:idx val="998"/>
            <c:invertIfNegative val="1"/>
            <c:bubble3D val="0"/>
            <c:spPr>
              <a:solidFill>
                <a:srgbClr val="AEABAB"/>
              </a:solidFill>
            </c:spPr>
            <c:extLst>
              <c:ext xmlns:c16="http://schemas.microsoft.com/office/drawing/2014/chart" uri="{C3380CC4-5D6E-409C-BE32-E72D297353CC}">
                <c16:uniqueId val="{000007CF-280A-4CC8-864C-E6F154A5A56B}"/>
              </c:ext>
            </c:extLst>
          </c:dPt>
          <c:dPt>
            <c:idx val="999"/>
            <c:invertIfNegative val="1"/>
            <c:bubble3D val="0"/>
            <c:spPr>
              <a:solidFill>
                <a:srgbClr val="AEABAB"/>
              </a:solidFill>
            </c:spPr>
            <c:extLst>
              <c:ext xmlns:c16="http://schemas.microsoft.com/office/drawing/2014/chart" uri="{C3380CC4-5D6E-409C-BE32-E72D297353CC}">
                <c16:uniqueId val="{000007D1-280A-4CC8-864C-E6F154A5A56B}"/>
              </c:ext>
            </c:extLst>
          </c:dPt>
          <c:dPt>
            <c:idx val="1000"/>
            <c:invertIfNegative val="1"/>
            <c:bubble3D val="0"/>
            <c:spPr>
              <a:solidFill>
                <a:srgbClr val="AEABAB"/>
              </a:solidFill>
            </c:spPr>
            <c:extLst>
              <c:ext xmlns:c16="http://schemas.microsoft.com/office/drawing/2014/chart" uri="{C3380CC4-5D6E-409C-BE32-E72D297353CC}">
                <c16:uniqueId val="{000007D3-280A-4CC8-864C-E6F154A5A56B}"/>
              </c:ext>
            </c:extLst>
          </c:dPt>
          <c:dPt>
            <c:idx val="1001"/>
            <c:invertIfNegative val="1"/>
            <c:bubble3D val="0"/>
            <c:spPr>
              <a:solidFill>
                <a:srgbClr val="AEABAB"/>
              </a:solidFill>
            </c:spPr>
            <c:extLst>
              <c:ext xmlns:c16="http://schemas.microsoft.com/office/drawing/2014/chart" uri="{C3380CC4-5D6E-409C-BE32-E72D297353CC}">
                <c16:uniqueId val="{000007D5-280A-4CC8-864C-E6F154A5A56B}"/>
              </c:ext>
            </c:extLst>
          </c:dPt>
          <c:dPt>
            <c:idx val="1002"/>
            <c:invertIfNegative val="1"/>
            <c:bubble3D val="0"/>
            <c:spPr>
              <a:solidFill>
                <a:srgbClr val="AEABAB"/>
              </a:solidFill>
            </c:spPr>
            <c:extLst>
              <c:ext xmlns:c16="http://schemas.microsoft.com/office/drawing/2014/chart" uri="{C3380CC4-5D6E-409C-BE32-E72D297353CC}">
                <c16:uniqueId val="{000007D7-280A-4CC8-864C-E6F154A5A56B}"/>
              </c:ext>
            </c:extLst>
          </c:dPt>
          <c:dPt>
            <c:idx val="1003"/>
            <c:invertIfNegative val="1"/>
            <c:bubble3D val="0"/>
            <c:spPr>
              <a:solidFill>
                <a:srgbClr val="AEABAB"/>
              </a:solidFill>
            </c:spPr>
            <c:extLst>
              <c:ext xmlns:c16="http://schemas.microsoft.com/office/drawing/2014/chart" uri="{C3380CC4-5D6E-409C-BE32-E72D297353CC}">
                <c16:uniqueId val="{000007D9-280A-4CC8-864C-E6F154A5A56B}"/>
              </c:ext>
            </c:extLst>
          </c:dPt>
          <c:dPt>
            <c:idx val="1004"/>
            <c:invertIfNegative val="1"/>
            <c:bubble3D val="0"/>
            <c:spPr>
              <a:solidFill>
                <a:srgbClr val="AEABAB"/>
              </a:solidFill>
            </c:spPr>
            <c:extLst>
              <c:ext xmlns:c16="http://schemas.microsoft.com/office/drawing/2014/chart" uri="{C3380CC4-5D6E-409C-BE32-E72D297353CC}">
                <c16:uniqueId val="{000007DB-280A-4CC8-864C-E6F154A5A56B}"/>
              </c:ext>
            </c:extLst>
          </c:dPt>
          <c:dPt>
            <c:idx val="1005"/>
            <c:invertIfNegative val="1"/>
            <c:bubble3D val="0"/>
            <c:spPr>
              <a:solidFill>
                <a:srgbClr val="AEABAB"/>
              </a:solidFill>
            </c:spPr>
            <c:extLst>
              <c:ext xmlns:c16="http://schemas.microsoft.com/office/drawing/2014/chart" uri="{C3380CC4-5D6E-409C-BE32-E72D297353CC}">
                <c16:uniqueId val="{000007DD-280A-4CC8-864C-E6F154A5A56B}"/>
              </c:ext>
            </c:extLst>
          </c:dPt>
          <c:dPt>
            <c:idx val="1006"/>
            <c:invertIfNegative val="1"/>
            <c:bubble3D val="0"/>
            <c:spPr>
              <a:solidFill>
                <a:srgbClr val="AEABAB"/>
              </a:solidFill>
            </c:spPr>
            <c:extLst>
              <c:ext xmlns:c16="http://schemas.microsoft.com/office/drawing/2014/chart" uri="{C3380CC4-5D6E-409C-BE32-E72D297353CC}">
                <c16:uniqueId val="{000007DF-280A-4CC8-864C-E6F154A5A56B}"/>
              </c:ext>
            </c:extLst>
          </c:dPt>
          <c:dPt>
            <c:idx val="1007"/>
            <c:invertIfNegative val="1"/>
            <c:bubble3D val="0"/>
            <c:spPr>
              <a:solidFill>
                <a:srgbClr val="AEABAB"/>
              </a:solidFill>
            </c:spPr>
            <c:extLst>
              <c:ext xmlns:c16="http://schemas.microsoft.com/office/drawing/2014/chart" uri="{C3380CC4-5D6E-409C-BE32-E72D297353CC}">
                <c16:uniqueId val="{000007E1-280A-4CC8-864C-E6F154A5A56B}"/>
              </c:ext>
            </c:extLst>
          </c:dPt>
          <c:dPt>
            <c:idx val="1008"/>
            <c:invertIfNegative val="1"/>
            <c:bubble3D val="0"/>
            <c:spPr>
              <a:solidFill>
                <a:srgbClr val="AEABAB"/>
              </a:solidFill>
            </c:spPr>
            <c:extLst>
              <c:ext xmlns:c16="http://schemas.microsoft.com/office/drawing/2014/chart" uri="{C3380CC4-5D6E-409C-BE32-E72D297353CC}">
                <c16:uniqueId val="{000007E3-280A-4CC8-864C-E6F154A5A56B}"/>
              </c:ext>
            </c:extLst>
          </c:dPt>
          <c:dPt>
            <c:idx val="1009"/>
            <c:invertIfNegative val="1"/>
            <c:bubble3D val="0"/>
            <c:spPr>
              <a:solidFill>
                <a:srgbClr val="AEABAB"/>
              </a:solidFill>
            </c:spPr>
            <c:extLst>
              <c:ext xmlns:c16="http://schemas.microsoft.com/office/drawing/2014/chart" uri="{C3380CC4-5D6E-409C-BE32-E72D297353CC}">
                <c16:uniqueId val="{000007E5-280A-4CC8-864C-E6F154A5A56B}"/>
              </c:ext>
            </c:extLst>
          </c:dPt>
          <c:dPt>
            <c:idx val="1010"/>
            <c:invertIfNegative val="1"/>
            <c:bubble3D val="0"/>
            <c:spPr>
              <a:solidFill>
                <a:srgbClr val="AEABAB"/>
              </a:solidFill>
            </c:spPr>
            <c:extLst>
              <c:ext xmlns:c16="http://schemas.microsoft.com/office/drawing/2014/chart" uri="{C3380CC4-5D6E-409C-BE32-E72D297353CC}">
                <c16:uniqueId val="{000007E7-280A-4CC8-864C-E6F154A5A56B}"/>
              </c:ext>
            </c:extLst>
          </c:dPt>
          <c:dPt>
            <c:idx val="1011"/>
            <c:invertIfNegative val="1"/>
            <c:bubble3D val="0"/>
            <c:spPr>
              <a:solidFill>
                <a:srgbClr val="AEABAB"/>
              </a:solidFill>
            </c:spPr>
            <c:extLst>
              <c:ext xmlns:c16="http://schemas.microsoft.com/office/drawing/2014/chart" uri="{C3380CC4-5D6E-409C-BE32-E72D297353CC}">
                <c16:uniqueId val="{000007E9-280A-4CC8-864C-E6F154A5A56B}"/>
              </c:ext>
            </c:extLst>
          </c:dPt>
          <c:dPt>
            <c:idx val="1012"/>
            <c:invertIfNegative val="1"/>
            <c:bubble3D val="0"/>
            <c:spPr>
              <a:solidFill>
                <a:srgbClr val="AEABAB"/>
              </a:solidFill>
            </c:spPr>
            <c:extLst>
              <c:ext xmlns:c16="http://schemas.microsoft.com/office/drawing/2014/chart" uri="{C3380CC4-5D6E-409C-BE32-E72D297353CC}">
                <c16:uniqueId val="{000007EB-280A-4CC8-864C-E6F154A5A56B}"/>
              </c:ext>
            </c:extLst>
          </c:dPt>
          <c:dPt>
            <c:idx val="1013"/>
            <c:invertIfNegative val="1"/>
            <c:bubble3D val="0"/>
            <c:spPr>
              <a:solidFill>
                <a:srgbClr val="AEABAB"/>
              </a:solidFill>
            </c:spPr>
            <c:extLst>
              <c:ext xmlns:c16="http://schemas.microsoft.com/office/drawing/2014/chart" uri="{C3380CC4-5D6E-409C-BE32-E72D297353CC}">
                <c16:uniqueId val="{000007ED-280A-4CC8-864C-E6F154A5A56B}"/>
              </c:ext>
            </c:extLst>
          </c:dPt>
          <c:dPt>
            <c:idx val="1014"/>
            <c:invertIfNegative val="1"/>
            <c:bubble3D val="0"/>
            <c:spPr>
              <a:solidFill>
                <a:srgbClr val="AEABAB"/>
              </a:solidFill>
            </c:spPr>
            <c:extLst>
              <c:ext xmlns:c16="http://schemas.microsoft.com/office/drawing/2014/chart" uri="{C3380CC4-5D6E-409C-BE32-E72D297353CC}">
                <c16:uniqueId val="{000007EF-280A-4CC8-864C-E6F154A5A56B}"/>
              </c:ext>
            </c:extLst>
          </c:dPt>
          <c:dPt>
            <c:idx val="1015"/>
            <c:invertIfNegative val="1"/>
            <c:bubble3D val="0"/>
            <c:spPr>
              <a:solidFill>
                <a:srgbClr val="AEABAB"/>
              </a:solidFill>
            </c:spPr>
            <c:extLst>
              <c:ext xmlns:c16="http://schemas.microsoft.com/office/drawing/2014/chart" uri="{C3380CC4-5D6E-409C-BE32-E72D297353CC}">
                <c16:uniqueId val="{000007F1-280A-4CC8-864C-E6F154A5A56B}"/>
              </c:ext>
            </c:extLst>
          </c:dPt>
          <c:dPt>
            <c:idx val="1016"/>
            <c:invertIfNegative val="1"/>
            <c:bubble3D val="0"/>
            <c:spPr>
              <a:solidFill>
                <a:srgbClr val="AEABAB"/>
              </a:solidFill>
            </c:spPr>
            <c:extLst>
              <c:ext xmlns:c16="http://schemas.microsoft.com/office/drawing/2014/chart" uri="{C3380CC4-5D6E-409C-BE32-E72D297353CC}">
                <c16:uniqueId val="{000007F3-280A-4CC8-864C-E6F154A5A56B}"/>
              </c:ext>
            </c:extLst>
          </c:dPt>
          <c:dPt>
            <c:idx val="1017"/>
            <c:invertIfNegative val="1"/>
            <c:bubble3D val="0"/>
            <c:spPr>
              <a:solidFill>
                <a:srgbClr val="AEABAB"/>
              </a:solidFill>
            </c:spPr>
            <c:extLst>
              <c:ext xmlns:c16="http://schemas.microsoft.com/office/drawing/2014/chart" uri="{C3380CC4-5D6E-409C-BE32-E72D297353CC}">
                <c16:uniqueId val="{000007F5-280A-4CC8-864C-E6F154A5A56B}"/>
              </c:ext>
            </c:extLst>
          </c:dPt>
          <c:dPt>
            <c:idx val="1018"/>
            <c:invertIfNegative val="1"/>
            <c:bubble3D val="0"/>
            <c:spPr>
              <a:solidFill>
                <a:srgbClr val="AEABAB"/>
              </a:solidFill>
            </c:spPr>
            <c:extLst>
              <c:ext xmlns:c16="http://schemas.microsoft.com/office/drawing/2014/chart" uri="{C3380CC4-5D6E-409C-BE32-E72D297353CC}">
                <c16:uniqueId val="{000007F7-280A-4CC8-864C-E6F154A5A56B}"/>
              </c:ext>
            </c:extLst>
          </c:dPt>
          <c:dPt>
            <c:idx val="1019"/>
            <c:invertIfNegative val="1"/>
            <c:bubble3D val="0"/>
            <c:spPr>
              <a:solidFill>
                <a:srgbClr val="AEABAB"/>
              </a:solidFill>
            </c:spPr>
            <c:extLst>
              <c:ext xmlns:c16="http://schemas.microsoft.com/office/drawing/2014/chart" uri="{C3380CC4-5D6E-409C-BE32-E72D297353CC}">
                <c16:uniqueId val="{000007F9-280A-4CC8-864C-E6F154A5A56B}"/>
              </c:ext>
            </c:extLst>
          </c:dPt>
          <c:dPt>
            <c:idx val="1020"/>
            <c:invertIfNegative val="1"/>
            <c:bubble3D val="0"/>
            <c:spPr>
              <a:solidFill>
                <a:srgbClr val="AEABAB"/>
              </a:solidFill>
            </c:spPr>
            <c:extLst>
              <c:ext xmlns:c16="http://schemas.microsoft.com/office/drawing/2014/chart" uri="{C3380CC4-5D6E-409C-BE32-E72D297353CC}">
                <c16:uniqueId val="{000007FB-280A-4CC8-864C-E6F154A5A56B}"/>
              </c:ext>
            </c:extLst>
          </c:dPt>
          <c:dPt>
            <c:idx val="1021"/>
            <c:invertIfNegative val="1"/>
            <c:bubble3D val="0"/>
            <c:spPr>
              <a:solidFill>
                <a:srgbClr val="AEABAB"/>
              </a:solidFill>
            </c:spPr>
            <c:extLst>
              <c:ext xmlns:c16="http://schemas.microsoft.com/office/drawing/2014/chart" uri="{C3380CC4-5D6E-409C-BE32-E72D297353CC}">
                <c16:uniqueId val="{000007FD-280A-4CC8-864C-E6F154A5A56B}"/>
              </c:ext>
            </c:extLst>
          </c:dPt>
          <c:dPt>
            <c:idx val="1022"/>
            <c:invertIfNegative val="1"/>
            <c:bubble3D val="0"/>
            <c:spPr>
              <a:solidFill>
                <a:srgbClr val="AEABAB"/>
              </a:solidFill>
            </c:spPr>
            <c:extLst>
              <c:ext xmlns:c16="http://schemas.microsoft.com/office/drawing/2014/chart" uri="{C3380CC4-5D6E-409C-BE32-E72D297353CC}">
                <c16:uniqueId val="{000007FF-280A-4CC8-864C-E6F154A5A56B}"/>
              </c:ext>
            </c:extLst>
          </c:dPt>
          <c:dPt>
            <c:idx val="1023"/>
            <c:invertIfNegative val="1"/>
            <c:bubble3D val="0"/>
            <c:spPr>
              <a:solidFill>
                <a:srgbClr val="AEABAB"/>
              </a:solidFill>
            </c:spPr>
            <c:extLst>
              <c:ext xmlns:c16="http://schemas.microsoft.com/office/drawing/2014/chart" uri="{C3380CC4-5D6E-409C-BE32-E72D297353CC}">
                <c16:uniqueId val="{00000801-280A-4CC8-864C-E6F154A5A56B}"/>
              </c:ext>
            </c:extLst>
          </c:dPt>
          <c:dPt>
            <c:idx val="1024"/>
            <c:invertIfNegative val="1"/>
            <c:bubble3D val="0"/>
            <c:spPr>
              <a:solidFill>
                <a:srgbClr val="AEABAB"/>
              </a:solidFill>
            </c:spPr>
            <c:extLst>
              <c:ext xmlns:c16="http://schemas.microsoft.com/office/drawing/2014/chart" uri="{C3380CC4-5D6E-409C-BE32-E72D297353CC}">
                <c16:uniqueId val="{00000803-280A-4CC8-864C-E6F154A5A56B}"/>
              </c:ext>
            </c:extLst>
          </c:dPt>
          <c:dPt>
            <c:idx val="1025"/>
            <c:invertIfNegative val="1"/>
            <c:bubble3D val="0"/>
            <c:spPr>
              <a:solidFill>
                <a:srgbClr val="AEABAB"/>
              </a:solidFill>
            </c:spPr>
            <c:extLst>
              <c:ext xmlns:c16="http://schemas.microsoft.com/office/drawing/2014/chart" uri="{C3380CC4-5D6E-409C-BE32-E72D297353CC}">
                <c16:uniqueId val="{00000805-280A-4CC8-864C-E6F154A5A56B}"/>
              </c:ext>
            </c:extLst>
          </c:dPt>
          <c:dPt>
            <c:idx val="1026"/>
            <c:invertIfNegative val="1"/>
            <c:bubble3D val="0"/>
            <c:spPr>
              <a:solidFill>
                <a:srgbClr val="AEABAB"/>
              </a:solidFill>
            </c:spPr>
            <c:extLst>
              <c:ext xmlns:c16="http://schemas.microsoft.com/office/drawing/2014/chart" uri="{C3380CC4-5D6E-409C-BE32-E72D297353CC}">
                <c16:uniqueId val="{00000807-280A-4CC8-864C-E6F154A5A56B}"/>
              </c:ext>
            </c:extLst>
          </c:dPt>
          <c:dPt>
            <c:idx val="1027"/>
            <c:invertIfNegative val="1"/>
            <c:bubble3D val="0"/>
            <c:spPr>
              <a:solidFill>
                <a:srgbClr val="AEABAB"/>
              </a:solidFill>
            </c:spPr>
            <c:extLst>
              <c:ext xmlns:c16="http://schemas.microsoft.com/office/drawing/2014/chart" uri="{C3380CC4-5D6E-409C-BE32-E72D297353CC}">
                <c16:uniqueId val="{00000809-280A-4CC8-864C-E6F154A5A56B}"/>
              </c:ext>
            </c:extLst>
          </c:dPt>
          <c:dPt>
            <c:idx val="1028"/>
            <c:invertIfNegative val="1"/>
            <c:bubble3D val="0"/>
            <c:spPr>
              <a:solidFill>
                <a:srgbClr val="AEABAB"/>
              </a:solidFill>
            </c:spPr>
            <c:extLst>
              <c:ext xmlns:c16="http://schemas.microsoft.com/office/drawing/2014/chart" uri="{C3380CC4-5D6E-409C-BE32-E72D297353CC}">
                <c16:uniqueId val="{0000080B-280A-4CC8-864C-E6F154A5A56B}"/>
              </c:ext>
            </c:extLst>
          </c:dPt>
          <c:dPt>
            <c:idx val="1029"/>
            <c:invertIfNegative val="1"/>
            <c:bubble3D val="0"/>
            <c:spPr>
              <a:solidFill>
                <a:srgbClr val="AEABAB"/>
              </a:solidFill>
            </c:spPr>
            <c:extLst>
              <c:ext xmlns:c16="http://schemas.microsoft.com/office/drawing/2014/chart" uri="{C3380CC4-5D6E-409C-BE32-E72D297353CC}">
                <c16:uniqueId val="{0000080D-280A-4CC8-864C-E6F154A5A56B}"/>
              </c:ext>
            </c:extLst>
          </c:dPt>
          <c:dPt>
            <c:idx val="1030"/>
            <c:invertIfNegative val="1"/>
            <c:bubble3D val="0"/>
            <c:spPr>
              <a:solidFill>
                <a:srgbClr val="AEABAB"/>
              </a:solidFill>
            </c:spPr>
            <c:extLst>
              <c:ext xmlns:c16="http://schemas.microsoft.com/office/drawing/2014/chart" uri="{C3380CC4-5D6E-409C-BE32-E72D297353CC}">
                <c16:uniqueId val="{0000080F-280A-4CC8-864C-E6F154A5A56B}"/>
              </c:ext>
            </c:extLst>
          </c:dPt>
          <c:dPt>
            <c:idx val="1031"/>
            <c:invertIfNegative val="1"/>
            <c:bubble3D val="0"/>
            <c:spPr>
              <a:solidFill>
                <a:srgbClr val="AEABAB"/>
              </a:solidFill>
            </c:spPr>
            <c:extLst>
              <c:ext xmlns:c16="http://schemas.microsoft.com/office/drawing/2014/chart" uri="{C3380CC4-5D6E-409C-BE32-E72D297353CC}">
                <c16:uniqueId val="{00000811-280A-4CC8-864C-E6F154A5A56B}"/>
              </c:ext>
            </c:extLst>
          </c:dPt>
          <c:dPt>
            <c:idx val="1032"/>
            <c:invertIfNegative val="1"/>
            <c:bubble3D val="0"/>
            <c:spPr>
              <a:solidFill>
                <a:srgbClr val="AEABAB"/>
              </a:solidFill>
            </c:spPr>
            <c:extLst>
              <c:ext xmlns:c16="http://schemas.microsoft.com/office/drawing/2014/chart" uri="{C3380CC4-5D6E-409C-BE32-E72D297353CC}">
                <c16:uniqueId val="{00000813-280A-4CC8-864C-E6F154A5A56B}"/>
              </c:ext>
            </c:extLst>
          </c:dPt>
          <c:dPt>
            <c:idx val="1033"/>
            <c:invertIfNegative val="1"/>
            <c:bubble3D val="0"/>
            <c:spPr>
              <a:solidFill>
                <a:srgbClr val="AEABAB"/>
              </a:solidFill>
            </c:spPr>
            <c:extLst>
              <c:ext xmlns:c16="http://schemas.microsoft.com/office/drawing/2014/chart" uri="{C3380CC4-5D6E-409C-BE32-E72D297353CC}">
                <c16:uniqueId val="{00000815-280A-4CC8-864C-E6F154A5A56B}"/>
              </c:ext>
            </c:extLst>
          </c:dPt>
          <c:dPt>
            <c:idx val="1034"/>
            <c:invertIfNegative val="1"/>
            <c:bubble3D val="0"/>
            <c:spPr>
              <a:solidFill>
                <a:srgbClr val="AEABAB"/>
              </a:solidFill>
            </c:spPr>
            <c:extLst>
              <c:ext xmlns:c16="http://schemas.microsoft.com/office/drawing/2014/chart" uri="{C3380CC4-5D6E-409C-BE32-E72D297353CC}">
                <c16:uniqueId val="{00000817-280A-4CC8-864C-E6F154A5A56B}"/>
              </c:ext>
            </c:extLst>
          </c:dPt>
          <c:dPt>
            <c:idx val="1035"/>
            <c:invertIfNegative val="1"/>
            <c:bubble3D val="0"/>
            <c:spPr>
              <a:solidFill>
                <a:srgbClr val="AEABAB"/>
              </a:solidFill>
            </c:spPr>
            <c:extLst>
              <c:ext xmlns:c16="http://schemas.microsoft.com/office/drawing/2014/chart" uri="{C3380CC4-5D6E-409C-BE32-E72D297353CC}">
                <c16:uniqueId val="{00000819-280A-4CC8-864C-E6F154A5A56B}"/>
              </c:ext>
            </c:extLst>
          </c:dPt>
          <c:dPt>
            <c:idx val="1036"/>
            <c:invertIfNegative val="1"/>
            <c:bubble3D val="0"/>
            <c:spPr>
              <a:solidFill>
                <a:srgbClr val="AEABAB"/>
              </a:solidFill>
            </c:spPr>
            <c:extLst>
              <c:ext xmlns:c16="http://schemas.microsoft.com/office/drawing/2014/chart" uri="{C3380CC4-5D6E-409C-BE32-E72D297353CC}">
                <c16:uniqueId val="{0000081B-280A-4CC8-864C-E6F154A5A56B}"/>
              </c:ext>
            </c:extLst>
          </c:dPt>
          <c:dPt>
            <c:idx val="1037"/>
            <c:invertIfNegative val="1"/>
            <c:bubble3D val="0"/>
            <c:spPr>
              <a:solidFill>
                <a:srgbClr val="AEABAB"/>
              </a:solidFill>
            </c:spPr>
            <c:extLst>
              <c:ext xmlns:c16="http://schemas.microsoft.com/office/drawing/2014/chart" uri="{C3380CC4-5D6E-409C-BE32-E72D297353CC}">
                <c16:uniqueId val="{0000081D-280A-4CC8-864C-E6F154A5A56B}"/>
              </c:ext>
            </c:extLst>
          </c:dPt>
          <c:dPt>
            <c:idx val="1038"/>
            <c:invertIfNegative val="1"/>
            <c:bubble3D val="0"/>
            <c:spPr>
              <a:solidFill>
                <a:srgbClr val="AEABAB"/>
              </a:solidFill>
            </c:spPr>
            <c:extLst>
              <c:ext xmlns:c16="http://schemas.microsoft.com/office/drawing/2014/chart" uri="{C3380CC4-5D6E-409C-BE32-E72D297353CC}">
                <c16:uniqueId val="{0000081F-280A-4CC8-864C-E6F154A5A56B}"/>
              </c:ext>
            </c:extLst>
          </c:dPt>
          <c:dPt>
            <c:idx val="1039"/>
            <c:invertIfNegative val="1"/>
            <c:bubble3D val="0"/>
            <c:spPr>
              <a:solidFill>
                <a:srgbClr val="AEABAB"/>
              </a:solidFill>
            </c:spPr>
            <c:extLst>
              <c:ext xmlns:c16="http://schemas.microsoft.com/office/drawing/2014/chart" uri="{C3380CC4-5D6E-409C-BE32-E72D297353CC}">
                <c16:uniqueId val="{00000821-280A-4CC8-864C-E6F154A5A56B}"/>
              </c:ext>
            </c:extLst>
          </c:dPt>
          <c:dPt>
            <c:idx val="1040"/>
            <c:invertIfNegative val="1"/>
            <c:bubble3D val="0"/>
            <c:spPr>
              <a:solidFill>
                <a:srgbClr val="AEABAB"/>
              </a:solidFill>
            </c:spPr>
            <c:extLst>
              <c:ext xmlns:c16="http://schemas.microsoft.com/office/drawing/2014/chart" uri="{C3380CC4-5D6E-409C-BE32-E72D297353CC}">
                <c16:uniqueId val="{00000823-280A-4CC8-864C-E6F154A5A56B}"/>
              </c:ext>
            </c:extLst>
          </c:dPt>
          <c:dPt>
            <c:idx val="1041"/>
            <c:invertIfNegative val="1"/>
            <c:bubble3D val="0"/>
            <c:spPr>
              <a:solidFill>
                <a:srgbClr val="AEABAB"/>
              </a:solidFill>
            </c:spPr>
            <c:extLst>
              <c:ext xmlns:c16="http://schemas.microsoft.com/office/drawing/2014/chart" uri="{C3380CC4-5D6E-409C-BE32-E72D297353CC}">
                <c16:uniqueId val="{00000825-280A-4CC8-864C-E6F154A5A56B}"/>
              </c:ext>
            </c:extLst>
          </c:dPt>
          <c:dPt>
            <c:idx val="1042"/>
            <c:invertIfNegative val="1"/>
            <c:bubble3D val="0"/>
            <c:spPr>
              <a:solidFill>
                <a:srgbClr val="AEABAB"/>
              </a:solidFill>
            </c:spPr>
            <c:extLst>
              <c:ext xmlns:c16="http://schemas.microsoft.com/office/drawing/2014/chart" uri="{C3380CC4-5D6E-409C-BE32-E72D297353CC}">
                <c16:uniqueId val="{00000827-280A-4CC8-864C-E6F154A5A56B}"/>
              </c:ext>
            </c:extLst>
          </c:dPt>
          <c:dPt>
            <c:idx val="1043"/>
            <c:invertIfNegative val="1"/>
            <c:bubble3D val="0"/>
            <c:spPr>
              <a:solidFill>
                <a:srgbClr val="AEABAB"/>
              </a:solidFill>
            </c:spPr>
            <c:extLst>
              <c:ext xmlns:c16="http://schemas.microsoft.com/office/drawing/2014/chart" uri="{C3380CC4-5D6E-409C-BE32-E72D297353CC}">
                <c16:uniqueId val="{00000829-280A-4CC8-864C-E6F154A5A56B}"/>
              </c:ext>
            </c:extLst>
          </c:dPt>
          <c:dPt>
            <c:idx val="1044"/>
            <c:invertIfNegative val="1"/>
            <c:bubble3D val="0"/>
            <c:spPr>
              <a:solidFill>
                <a:srgbClr val="AEABAB"/>
              </a:solidFill>
            </c:spPr>
            <c:extLst>
              <c:ext xmlns:c16="http://schemas.microsoft.com/office/drawing/2014/chart" uri="{C3380CC4-5D6E-409C-BE32-E72D297353CC}">
                <c16:uniqueId val="{0000082B-280A-4CC8-864C-E6F154A5A56B}"/>
              </c:ext>
            </c:extLst>
          </c:dPt>
          <c:dPt>
            <c:idx val="1045"/>
            <c:invertIfNegative val="1"/>
            <c:bubble3D val="0"/>
            <c:spPr>
              <a:solidFill>
                <a:srgbClr val="AEABAB"/>
              </a:solidFill>
            </c:spPr>
            <c:extLst>
              <c:ext xmlns:c16="http://schemas.microsoft.com/office/drawing/2014/chart" uri="{C3380CC4-5D6E-409C-BE32-E72D297353CC}">
                <c16:uniqueId val="{0000082D-280A-4CC8-864C-E6F154A5A56B}"/>
              </c:ext>
            </c:extLst>
          </c:dPt>
          <c:dPt>
            <c:idx val="1046"/>
            <c:invertIfNegative val="1"/>
            <c:bubble3D val="0"/>
            <c:spPr>
              <a:solidFill>
                <a:srgbClr val="AEABAB"/>
              </a:solidFill>
            </c:spPr>
            <c:extLst>
              <c:ext xmlns:c16="http://schemas.microsoft.com/office/drawing/2014/chart" uri="{C3380CC4-5D6E-409C-BE32-E72D297353CC}">
                <c16:uniqueId val="{0000082F-280A-4CC8-864C-E6F154A5A56B}"/>
              </c:ext>
            </c:extLst>
          </c:dPt>
          <c:dPt>
            <c:idx val="1047"/>
            <c:invertIfNegative val="1"/>
            <c:bubble3D val="0"/>
            <c:spPr>
              <a:solidFill>
                <a:srgbClr val="AEABAB"/>
              </a:solidFill>
            </c:spPr>
            <c:extLst>
              <c:ext xmlns:c16="http://schemas.microsoft.com/office/drawing/2014/chart" uri="{C3380CC4-5D6E-409C-BE32-E72D297353CC}">
                <c16:uniqueId val="{00000831-280A-4CC8-864C-E6F154A5A56B}"/>
              </c:ext>
            </c:extLst>
          </c:dPt>
          <c:dPt>
            <c:idx val="1048"/>
            <c:invertIfNegative val="1"/>
            <c:bubble3D val="0"/>
            <c:spPr>
              <a:solidFill>
                <a:srgbClr val="AEABAB"/>
              </a:solidFill>
            </c:spPr>
            <c:extLst>
              <c:ext xmlns:c16="http://schemas.microsoft.com/office/drawing/2014/chart" uri="{C3380CC4-5D6E-409C-BE32-E72D297353CC}">
                <c16:uniqueId val="{00000833-280A-4CC8-864C-E6F154A5A56B}"/>
              </c:ext>
            </c:extLst>
          </c:dPt>
          <c:dPt>
            <c:idx val="1049"/>
            <c:invertIfNegative val="1"/>
            <c:bubble3D val="0"/>
            <c:spPr>
              <a:solidFill>
                <a:srgbClr val="AEABAB"/>
              </a:solidFill>
            </c:spPr>
            <c:extLst>
              <c:ext xmlns:c16="http://schemas.microsoft.com/office/drawing/2014/chart" uri="{C3380CC4-5D6E-409C-BE32-E72D297353CC}">
                <c16:uniqueId val="{00000835-280A-4CC8-864C-E6F154A5A56B}"/>
              </c:ext>
            </c:extLst>
          </c:dPt>
          <c:dPt>
            <c:idx val="1050"/>
            <c:invertIfNegative val="1"/>
            <c:bubble3D val="0"/>
            <c:spPr>
              <a:solidFill>
                <a:srgbClr val="AEABAB"/>
              </a:solidFill>
            </c:spPr>
            <c:extLst>
              <c:ext xmlns:c16="http://schemas.microsoft.com/office/drawing/2014/chart" uri="{C3380CC4-5D6E-409C-BE32-E72D297353CC}">
                <c16:uniqueId val="{00000837-280A-4CC8-864C-E6F154A5A56B}"/>
              </c:ext>
            </c:extLst>
          </c:dPt>
          <c:dPt>
            <c:idx val="1051"/>
            <c:invertIfNegative val="1"/>
            <c:bubble3D val="0"/>
            <c:spPr>
              <a:solidFill>
                <a:srgbClr val="AEABAB"/>
              </a:solidFill>
            </c:spPr>
            <c:extLst>
              <c:ext xmlns:c16="http://schemas.microsoft.com/office/drawing/2014/chart" uri="{C3380CC4-5D6E-409C-BE32-E72D297353CC}">
                <c16:uniqueId val="{00000839-280A-4CC8-864C-E6F154A5A56B}"/>
              </c:ext>
            </c:extLst>
          </c:dPt>
          <c:dPt>
            <c:idx val="1052"/>
            <c:invertIfNegative val="1"/>
            <c:bubble3D val="0"/>
            <c:spPr>
              <a:solidFill>
                <a:srgbClr val="AEABAB"/>
              </a:solidFill>
            </c:spPr>
            <c:extLst>
              <c:ext xmlns:c16="http://schemas.microsoft.com/office/drawing/2014/chart" uri="{C3380CC4-5D6E-409C-BE32-E72D297353CC}">
                <c16:uniqueId val="{0000083B-280A-4CC8-864C-E6F154A5A56B}"/>
              </c:ext>
            </c:extLst>
          </c:dPt>
          <c:dPt>
            <c:idx val="1053"/>
            <c:invertIfNegative val="1"/>
            <c:bubble3D val="0"/>
            <c:spPr>
              <a:solidFill>
                <a:srgbClr val="AEABAB"/>
              </a:solidFill>
            </c:spPr>
            <c:extLst>
              <c:ext xmlns:c16="http://schemas.microsoft.com/office/drawing/2014/chart" uri="{C3380CC4-5D6E-409C-BE32-E72D297353CC}">
                <c16:uniqueId val="{0000083D-280A-4CC8-864C-E6F154A5A56B}"/>
              </c:ext>
            </c:extLst>
          </c:dPt>
          <c:dPt>
            <c:idx val="1054"/>
            <c:invertIfNegative val="1"/>
            <c:bubble3D val="0"/>
            <c:spPr>
              <a:solidFill>
                <a:srgbClr val="AEABAB"/>
              </a:solidFill>
            </c:spPr>
            <c:extLst>
              <c:ext xmlns:c16="http://schemas.microsoft.com/office/drawing/2014/chart" uri="{C3380CC4-5D6E-409C-BE32-E72D297353CC}">
                <c16:uniqueId val="{0000083F-280A-4CC8-864C-E6F154A5A56B}"/>
              </c:ext>
            </c:extLst>
          </c:dPt>
          <c:dPt>
            <c:idx val="1055"/>
            <c:invertIfNegative val="1"/>
            <c:bubble3D val="0"/>
            <c:spPr>
              <a:solidFill>
                <a:srgbClr val="AEABAB"/>
              </a:solidFill>
            </c:spPr>
            <c:extLst>
              <c:ext xmlns:c16="http://schemas.microsoft.com/office/drawing/2014/chart" uri="{C3380CC4-5D6E-409C-BE32-E72D297353CC}">
                <c16:uniqueId val="{00000841-280A-4CC8-864C-E6F154A5A56B}"/>
              </c:ext>
            </c:extLst>
          </c:dPt>
          <c:dPt>
            <c:idx val="1056"/>
            <c:invertIfNegative val="1"/>
            <c:bubble3D val="0"/>
            <c:spPr>
              <a:solidFill>
                <a:srgbClr val="AEABAB"/>
              </a:solidFill>
            </c:spPr>
            <c:extLst>
              <c:ext xmlns:c16="http://schemas.microsoft.com/office/drawing/2014/chart" uri="{C3380CC4-5D6E-409C-BE32-E72D297353CC}">
                <c16:uniqueId val="{00000843-280A-4CC8-864C-E6F154A5A56B}"/>
              </c:ext>
            </c:extLst>
          </c:dPt>
          <c:dPt>
            <c:idx val="1057"/>
            <c:invertIfNegative val="1"/>
            <c:bubble3D val="0"/>
            <c:spPr>
              <a:solidFill>
                <a:srgbClr val="AEABAB"/>
              </a:solidFill>
            </c:spPr>
            <c:extLst>
              <c:ext xmlns:c16="http://schemas.microsoft.com/office/drawing/2014/chart" uri="{C3380CC4-5D6E-409C-BE32-E72D297353CC}">
                <c16:uniqueId val="{00000845-280A-4CC8-864C-E6F154A5A56B}"/>
              </c:ext>
            </c:extLst>
          </c:dPt>
          <c:dPt>
            <c:idx val="1058"/>
            <c:invertIfNegative val="1"/>
            <c:bubble3D val="0"/>
            <c:spPr>
              <a:solidFill>
                <a:srgbClr val="AEABAB"/>
              </a:solidFill>
            </c:spPr>
            <c:extLst>
              <c:ext xmlns:c16="http://schemas.microsoft.com/office/drawing/2014/chart" uri="{C3380CC4-5D6E-409C-BE32-E72D297353CC}">
                <c16:uniqueId val="{00000847-280A-4CC8-864C-E6F154A5A56B}"/>
              </c:ext>
            </c:extLst>
          </c:dPt>
          <c:dPt>
            <c:idx val="1059"/>
            <c:invertIfNegative val="1"/>
            <c:bubble3D val="0"/>
            <c:spPr>
              <a:solidFill>
                <a:srgbClr val="AEABAB"/>
              </a:solidFill>
            </c:spPr>
            <c:extLst>
              <c:ext xmlns:c16="http://schemas.microsoft.com/office/drawing/2014/chart" uri="{C3380CC4-5D6E-409C-BE32-E72D297353CC}">
                <c16:uniqueId val="{00000849-280A-4CC8-864C-E6F154A5A56B}"/>
              </c:ext>
            </c:extLst>
          </c:dPt>
          <c:dPt>
            <c:idx val="1060"/>
            <c:invertIfNegative val="1"/>
            <c:bubble3D val="0"/>
            <c:spPr>
              <a:solidFill>
                <a:srgbClr val="AEABAB"/>
              </a:solidFill>
            </c:spPr>
            <c:extLst>
              <c:ext xmlns:c16="http://schemas.microsoft.com/office/drawing/2014/chart" uri="{C3380CC4-5D6E-409C-BE32-E72D297353CC}">
                <c16:uniqueId val="{0000084B-280A-4CC8-864C-E6F154A5A56B}"/>
              </c:ext>
            </c:extLst>
          </c:dPt>
          <c:dPt>
            <c:idx val="1061"/>
            <c:invertIfNegative val="1"/>
            <c:bubble3D val="0"/>
            <c:spPr>
              <a:solidFill>
                <a:srgbClr val="AEABAB"/>
              </a:solidFill>
            </c:spPr>
            <c:extLst>
              <c:ext xmlns:c16="http://schemas.microsoft.com/office/drawing/2014/chart" uri="{C3380CC4-5D6E-409C-BE32-E72D297353CC}">
                <c16:uniqueId val="{0000084D-280A-4CC8-864C-E6F154A5A56B}"/>
              </c:ext>
            </c:extLst>
          </c:dPt>
          <c:dPt>
            <c:idx val="1062"/>
            <c:invertIfNegative val="1"/>
            <c:bubble3D val="0"/>
            <c:spPr>
              <a:solidFill>
                <a:srgbClr val="AEABAB"/>
              </a:solidFill>
            </c:spPr>
            <c:extLst>
              <c:ext xmlns:c16="http://schemas.microsoft.com/office/drawing/2014/chart" uri="{C3380CC4-5D6E-409C-BE32-E72D297353CC}">
                <c16:uniqueId val="{0000084F-280A-4CC8-864C-E6F154A5A56B}"/>
              </c:ext>
            </c:extLst>
          </c:dPt>
          <c:dPt>
            <c:idx val="1063"/>
            <c:invertIfNegative val="1"/>
            <c:bubble3D val="0"/>
            <c:spPr>
              <a:solidFill>
                <a:srgbClr val="AEABAB"/>
              </a:solidFill>
            </c:spPr>
            <c:extLst>
              <c:ext xmlns:c16="http://schemas.microsoft.com/office/drawing/2014/chart" uri="{C3380CC4-5D6E-409C-BE32-E72D297353CC}">
                <c16:uniqueId val="{00000851-280A-4CC8-864C-E6F154A5A56B}"/>
              </c:ext>
            </c:extLst>
          </c:dPt>
          <c:dPt>
            <c:idx val="1064"/>
            <c:invertIfNegative val="1"/>
            <c:bubble3D val="0"/>
            <c:spPr>
              <a:solidFill>
                <a:srgbClr val="AEABAB"/>
              </a:solidFill>
            </c:spPr>
            <c:extLst>
              <c:ext xmlns:c16="http://schemas.microsoft.com/office/drawing/2014/chart" uri="{C3380CC4-5D6E-409C-BE32-E72D297353CC}">
                <c16:uniqueId val="{00000853-280A-4CC8-864C-E6F154A5A56B}"/>
              </c:ext>
            </c:extLst>
          </c:dPt>
          <c:dPt>
            <c:idx val="1065"/>
            <c:invertIfNegative val="1"/>
            <c:bubble3D val="0"/>
            <c:spPr>
              <a:solidFill>
                <a:srgbClr val="AEABAB"/>
              </a:solidFill>
            </c:spPr>
            <c:extLst>
              <c:ext xmlns:c16="http://schemas.microsoft.com/office/drawing/2014/chart" uri="{C3380CC4-5D6E-409C-BE32-E72D297353CC}">
                <c16:uniqueId val="{00000855-280A-4CC8-864C-E6F154A5A56B}"/>
              </c:ext>
            </c:extLst>
          </c:dPt>
          <c:dPt>
            <c:idx val="1066"/>
            <c:invertIfNegative val="1"/>
            <c:bubble3D val="0"/>
            <c:spPr>
              <a:solidFill>
                <a:srgbClr val="AEABAB"/>
              </a:solidFill>
            </c:spPr>
            <c:extLst>
              <c:ext xmlns:c16="http://schemas.microsoft.com/office/drawing/2014/chart" uri="{C3380CC4-5D6E-409C-BE32-E72D297353CC}">
                <c16:uniqueId val="{00000857-280A-4CC8-864C-E6F154A5A56B}"/>
              </c:ext>
            </c:extLst>
          </c:dPt>
          <c:dPt>
            <c:idx val="1067"/>
            <c:invertIfNegative val="1"/>
            <c:bubble3D val="0"/>
            <c:spPr>
              <a:solidFill>
                <a:srgbClr val="AEABAB"/>
              </a:solidFill>
            </c:spPr>
            <c:extLst>
              <c:ext xmlns:c16="http://schemas.microsoft.com/office/drawing/2014/chart" uri="{C3380CC4-5D6E-409C-BE32-E72D297353CC}">
                <c16:uniqueId val="{00000859-280A-4CC8-864C-E6F154A5A56B}"/>
              </c:ext>
            </c:extLst>
          </c:dPt>
          <c:dPt>
            <c:idx val="1068"/>
            <c:invertIfNegative val="1"/>
            <c:bubble3D val="0"/>
            <c:spPr>
              <a:solidFill>
                <a:srgbClr val="AEABAB"/>
              </a:solidFill>
            </c:spPr>
            <c:extLst>
              <c:ext xmlns:c16="http://schemas.microsoft.com/office/drawing/2014/chart" uri="{C3380CC4-5D6E-409C-BE32-E72D297353CC}">
                <c16:uniqueId val="{0000085B-280A-4CC8-864C-E6F154A5A56B}"/>
              </c:ext>
            </c:extLst>
          </c:dPt>
          <c:dPt>
            <c:idx val="1069"/>
            <c:invertIfNegative val="1"/>
            <c:bubble3D val="0"/>
            <c:spPr>
              <a:solidFill>
                <a:srgbClr val="AEABAB"/>
              </a:solidFill>
            </c:spPr>
            <c:extLst>
              <c:ext xmlns:c16="http://schemas.microsoft.com/office/drawing/2014/chart" uri="{C3380CC4-5D6E-409C-BE32-E72D297353CC}">
                <c16:uniqueId val="{0000085D-280A-4CC8-864C-E6F154A5A56B}"/>
              </c:ext>
            </c:extLst>
          </c:dPt>
          <c:dPt>
            <c:idx val="1070"/>
            <c:invertIfNegative val="1"/>
            <c:bubble3D val="0"/>
            <c:spPr>
              <a:solidFill>
                <a:srgbClr val="AEABAB"/>
              </a:solidFill>
            </c:spPr>
            <c:extLst>
              <c:ext xmlns:c16="http://schemas.microsoft.com/office/drawing/2014/chart" uri="{C3380CC4-5D6E-409C-BE32-E72D297353CC}">
                <c16:uniqueId val="{0000085F-280A-4CC8-864C-E6F154A5A56B}"/>
              </c:ext>
            </c:extLst>
          </c:dPt>
          <c:dPt>
            <c:idx val="1071"/>
            <c:invertIfNegative val="1"/>
            <c:bubble3D val="0"/>
            <c:spPr>
              <a:solidFill>
                <a:srgbClr val="AEABAB"/>
              </a:solidFill>
            </c:spPr>
            <c:extLst>
              <c:ext xmlns:c16="http://schemas.microsoft.com/office/drawing/2014/chart" uri="{C3380CC4-5D6E-409C-BE32-E72D297353CC}">
                <c16:uniqueId val="{00000861-280A-4CC8-864C-E6F154A5A56B}"/>
              </c:ext>
            </c:extLst>
          </c:dPt>
          <c:dPt>
            <c:idx val="1072"/>
            <c:invertIfNegative val="1"/>
            <c:bubble3D val="0"/>
            <c:spPr>
              <a:solidFill>
                <a:srgbClr val="AEABAB"/>
              </a:solidFill>
            </c:spPr>
            <c:extLst>
              <c:ext xmlns:c16="http://schemas.microsoft.com/office/drawing/2014/chart" uri="{C3380CC4-5D6E-409C-BE32-E72D297353CC}">
                <c16:uniqueId val="{00000863-280A-4CC8-864C-E6F154A5A56B}"/>
              </c:ext>
            </c:extLst>
          </c:dPt>
          <c:dPt>
            <c:idx val="1073"/>
            <c:invertIfNegative val="1"/>
            <c:bubble3D val="0"/>
            <c:spPr>
              <a:solidFill>
                <a:srgbClr val="AEABAB"/>
              </a:solidFill>
            </c:spPr>
            <c:extLst>
              <c:ext xmlns:c16="http://schemas.microsoft.com/office/drawing/2014/chart" uri="{C3380CC4-5D6E-409C-BE32-E72D297353CC}">
                <c16:uniqueId val="{00000865-280A-4CC8-864C-E6F154A5A56B}"/>
              </c:ext>
            </c:extLst>
          </c:dPt>
          <c:dPt>
            <c:idx val="1074"/>
            <c:invertIfNegative val="1"/>
            <c:bubble3D val="0"/>
            <c:spPr>
              <a:solidFill>
                <a:srgbClr val="AEABAB"/>
              </a:solidFill>
            </c:spPr>
            <c:extLst>
              <c:ext xmlns:c16="http://schemas.microsoft.com/office/drawing/2014/chart" uri="{C3380CC4-5D6E-409C-BE32-E72D297353CC}">
                <c16:uniqueId val="{00000867-280A-4CC8-864C-E6F154A5A56B}"/>
              </c:ext>
            </c:extLst>
          </c:dPt>
          <c:dPt>
            <c:idx val="1075"/>
            <c:invertIfNegative val="1"/>
            <c:bubble3D val="0"/>
            <c:spPr>
              <a:solidFill>
                <a:srgbClr val="AEABAB"/>
              </a:solidFill>
            </c:spPr>
            <c:extLst>
              <c:ext xmlns:c16="http://schemas.microsoft.com/office/drawing/2014/chart" uri="{C3380CC4-5D6E-409C-BE32-E72D297353CC}">
                <c16:uniqueId val="{00000869-280A-4CC8-864C-E6F154A5A56B}"/>
              </c:ext>
            </c:extLst>
          </c:dPt>
          <c:dPt>
            <c:idx val="1076"/>
            <c:invertIfNegative val="1"/>
            <c:bubble3D val="0"/>
            <c:spPr>
              <a:solidFill>
                <a:srgbClr val="AEABAB"/>
              </a:solidFill>
            </c:spPr>
            <c:extLst>
              <c:ext xmlns:c16="http://schemas.microsoft.com/office/drawing/2014/chart" uri="{C3380CC4-5D6E-409C-BE32-E72D297353CC}">
                <c16:uniqueId val="{0000086B-280A-4CC8-864C-E6F154A5A56B}"/>
              </c:ext>
            </c:extLst>
          </c:dPt>
          <c:dPt>
            <c:idx val="1077"/>
            <c:invertIfNegative val="1"/>
            <c:bubble3D val="0"/>
            <c:spPr>
              <a:solidFill>
                <a:srgbClr val="AEABAB"/>
              </a:solidFill>
            </c:spPr>
            <c:extLst>
              <c:ext xmlns:c16="http://schemas.microsoft.com/office/drawing/2014/chart" uri="{C3380CC4-5D6E-409C-BE32-E72D297353CC}">
                <c16:uniqueId val="{0000086D-280A-4CC8-864C-E6F154A5A56B}"/>
              </c:ext>
            </c:extLst>
          </c:dPt>
          <c:dPt>
            <c:idx val="1078"/>
            <c:invertIfNegative val="1"/>
            <c:bubble3D val="0"/>
            <c:spPr>
              <a:solidFill>
                <a:srgbClr val="AEABAB"/>
              </a:solidFill>
            </c:spPr>
            <c:extLst>
              <c:ext xmlns:c16="http://schemas.microsoft.com/office/drawing/2014/chart" uri="{C3380CC4-5D6E-409C-BE32-E72D297353CC}">
                <c16:uniqueId val="{0000086F-280A-4CC8-864C-E6F154A5A56B}"/>
              </c:ext>
            </c:extLst>
          </c:dPt>
          <c:dPt>
            <c:idx val="1079"/>
            <c:invertIfNegative val="1"/>
            <c:bubble3D val="0"/>
            <c:spPr>
              <a:solidFill>
                <a:srgbClr val="AEABAB"/>
              </a:solidFill>
            </c:spPr>
            <c:extLst>
              <c:ext xmlns:c16="http://schemas.microsoft.com/office/drawing/2014/chart" uri="{C3380CC4-5D6E-409C-BE32-E72D297353CC}">
                <c16:uniqueId val="{00000871-280A-4CC8-864C-E6F154A5A56B}"/>
              </c:ext>
            </c:extLst>
          </c:dPt>
          <c:dPt>
            <c:idx val="1080"/>
            <c:invertIfNegative val="1"/>
            <c:bubble3D val="0"/>
            <c:spPr>
              <a:solidFill>
                <a:srgbClr val="AEABAB"/>
              </a:solidFill>
            </c:spPr>
            <c:extLst>
              <c:ext xmlns:c16="http://schemas.microsoft.com/office/drawing/2014/chart" uri="{C3380CC4-5D6E-409C-BE32-E72D297353CC}">
                <c16:uniqueId val="{00000873-280A-4CC8-864C-E6F154A5A56B}"/>
              </c:ext>
            </c:extLst>
          </c:dPt>
          <c:dPt>
            <c:idx val="1081"/>
            <c:invertIfNegative val="1"/>
            <c:bubble3D val="0"/>
            <c:spPr>
              <a:solidFill>
                <a:srgbClr val="AEABAB"/>
              </a:solidFill>
            </c:spPr>
            <c:extLst>
              <c:ext xmlns:c16="http://schemas.microsoft.com/office/drawing/2014/chart" uri="{C3380CC4-5D6E-409C-BE32-E72D297353CC}">
                <c16:uniqueId val="{00000875-280A-4CC8-864C-E6F154A5A56B}"/>
              </c:ext>
            </c:extLst>
          </c:dPt>
          <c:dPt>
            <c:idx val="1082"/>
            <c:invertIfNegative val="1"/>
            <c:bubble3D val="0"/>
            <c:spPr>
              <a:solidFill>
                <a:srgbClr val="AEABAB"/>
              </a:solidFill>
            </c:spPr>
            <c:extLst>
              <c:ext xmlns:c16="http://schemas.microsoft.com/office/drawing/2014/chart" uri="{C3380CC4-5D6E-409C-BE32-E72D297353CC}">
                <c16:uniqueId val="{00000877-280A-4CC8-864C-E6F154A5A56B}"/>
              </c:ext>
            </c:extLst>
          </c:dPt>
          <c:dPt>
            <c:idx val="1083"/>
            <c:invertIfNegative val="1"/>
            <c:bubble3D val="0"/>
            <c:spPr>
              <a:solidFill>
                <a:srgbClr val="AEABAB"/>
              </a:solidFill>
            </c:spPr>
            <c:extLst>
              <c:ext xmlns:c16="http://schemas.microsoft.com/office/drawing/2014/chart" uri="{C3380CC4-5D6E-409C-BE32-E72D297353CC}">
                <c16:uniqueId val="{00000879-280A-4CC8-864C-E6F154A5A56B}"/>
              </c:ext>
            </c:extLst>
          </c:dPt>
          <c:dPt>
            <c:idx val="1084"/>
            <c:invertIfNegative val="1"/>
            <c:bubble3D val="0"/>
            <c:spPr>
              <a:solidFill>
                <a:srgbClr val="AEABAB"/>
              </a:solidFill>
            </c:spPr>
            <c:extLst>
              <c:ext xmlns:c16="http://schemas.microsoft.com/office/drawing/2014/chart" uri="{C3380CC4-5D6E-409C-BE32-E72D297353CC}">
                <c16:uniqueId val="{0000087B-280A-4CC8-864C-E6F154A5A56B}"/>
              </c:ext>
            </c:extLst>
          </c:dPt>
          <c:dPt>
            <c:idx val="1085"/>
            <c:invertIfNegative val="1"/>
            <c:bubble3D val="0"/>
            <c:spPr>
              <a:solidFill>
                <a:srgbClr val="AEABAB"/>
              </a:solidFill>
            </c:spPr>
            <c:extLst>
              <c:ext xmlns:c16="http://schemas.microsoft.com/office/drawing/2014/chart" uri="{C3380CC4-5D6E-409C-BE32-E72D297353CC}">
                <c16:uniqueId val="{0000087D-280A-4CC8-864C-E6F154A5A56B}"/>
              </c:ext>
            </c:extLst>
          </c:dPt>
          <c:dPt>
            <c:idx val="1086"/>
            <c:invertIfNegative val="1"/>
            <c:bubble3D val="0"/>
            <c:spPr>
              <a:solidFill>
                <a:srgbClr val="AEABAB"/>
              </a:solidFill>
            </c:spPr>
            <c:extLst>
              <c:ext xmlns:c16="http://schemas.microsoft.com/office/drawing/2014/chart" uri="{C3380CC4-5D6E-409C-BE32-E72D297353CC}">
                <c16:uniqueId val="{0000087F-280A-4CC8-864C-E6F154A5A56B}"/>
              </c:ext>
            </c:extLst>
          </c:dPt>
          <c:dPt>
            <c:idx val="1087"/>
            <c:invertIfNegative val="1"/>
            <c:bubble3D val="0"/>
            <c:spPr>
              <a:solidFill>
                <a:srgbClr val="AEABAB"/>
              </a:solidFill>
            </c:spPr>
            <c:extLst>
              <c:ext xmlns:c16="http://schemas.microsoft.com/office/drawing/2014/chart" uri="{C3380CC4-5D6E-409C-BE32-E72D297353CC}">
                <c16:uniqueId val="{00000881-280A-4CC8-864C-E6F154A5A56B}"/>
              </c:ext>
            </c:extLst>
          </c:dPt>
          <c:dPt>
            <c:idx val="1088"/>
            <c:invertIfNegative val="1"/>
            <c:bubble3D val="0"/>
            <c:spPr>
              <a:solidFill>
                <a:srgbClr val="AEABAB"/>
              </a:solidFill>
            </c:spPr>
            <c:extLst>
              <c:ext xmlns:c16="http://schemas.microsoft.com/office/drawing/2014/chart" uri="{C3380CC4-5D6E-409C-BE32-E72D297353CC}">
                <c16:uniqueId val="{00000883-280A-4CC8-864C-E6F154A5A56B}"/>
              </c:ext>
            </c:extLst>
          </c:dPt>
          <c:dPt>
            <c:idx val="1089"/>
            <c:invertIfNegative val="1"/>
            <c:bubble3D val="0"/>
            <c:spPr>
              <a:solidFill>
                <a:srgbClr val="AEABAB"/>
              </a:solidFill>
            </c:spPr>
            <c:extLst>
              <c:ext xmlns:c16="http://schemas.microsoft.com/office/drawing/2014/chart" uri="{C3380CC4-5D6E-409C-BE32-E72D297353CC}">
                <c16:uniqueId val="{00000885-280A-4CC8-864C-E6F154A5A56B}"/>
              </c:ext>
            </c:extLst>
          </c:dPt>
          <c:dPt>
            <c:idx val="1090"/>
            <c:invertIfNegative val="1"/>
            <c:bubble3D val="0"/>
            <c:spPr>
              <a:solidFill>
                <a:srgbClr val="AEABAB"/>
              </a:solidFill>
            </c:spPr>
            <c:extLst>
              <c:ext xmlns:c16="http://schemas.microsoft.com/office/drawing/2014/chart" uri="{C3380CC4-5D6E-409C-BE32-E72D297353CC}">
                <c16:uniqueId val="{00000887-280A-4CC8-864C-E6F154A5A56B}"/>
              </c:ext>
            </c:extLst>
          </c:dPt>
          <c:dPt>
            <c:idx val="1091"/>
            <c:invertIfNegative val="1"/>
            <c:bubble3D val="0"/>
            <c:spPr>
              <a:solidFill>
                <a:srgbClr val="AEABAB"/>
              </a:solidFill>
            </c:spPr>
            <c:extLst>
              <c:ext xmlns:c16="http://schemas.microsoft.com/office/drawing/2014/chart" uri="{C3380CC4-5D6E-409C-BE32-E72D297353CC}">
                <c16:uniqueId val="{00000889-280A-4CC8-864C-E6F154A5A56B}"/>
              </c:ext>
            </c:extLst>
          </c:dPt>
          <c:dPt>
            <c:idx val="1092"/>
            <c:invertIfNegative val="1"/>
            <c:bubble3D val="0"/>
            <c:spPr>
              <a:solidFill>
                <a:srgbClr val="AEABAB"/>
              </a:solidFill>
            </c:spPr>
            <c:extLst>
              <c:ext xmlns:c16="http://schemas.microsoft.com/office/drawing/2014/chart" uri="{C3380CC4-5D6E-409C-BE32-E72D297353CC}">
                <c16:uniqueId val="{0000088B-280A-4CC8-864C-E6F154A5A56B}"/>
              </c:ext>
            </c:extLst>
          </c:dPt>
          <c:dPt>
            <c:idx val="1093"/>
            <c:invertIfNegative val="1"/>
            <c:bubble3D val="0"/>
            <c:spPr>
              <a:solidFill>
                <a:srgbClr val="AEABAB"/>
              </a:solidFill>
            </c:spPr>
            <c:extLst>
              <c:ext xmlns:c16="http://schemas.microsoft.com/office/drawing/2014/chart" uri="{C3380CC4-5D6E-409C-BE32-E72D297353CC}">
                <c16:uniqueId val="{0000088D-280A-4CC8-864C-E6F154A5A56B}"/>
              </c:ext>
            </c:extLst>
          </c:dPt>
          <c:dPt>
            <c:idx val="1094"/>
            <c:invertIfNegative val="1"/>
            <c:bubble3D val="0"/>
            <c:spPr>
              <a:solidFill>
                <a:srgbClr val="AEABAB"/>
              </a:solidFill>
            </c:spPr>
            <c:extLst>
              <c:ext xmlns:c16="http://schemas.microsoft.com/office/drawing/2014/chart" uri="{C3380CC4-5D6E-409C-BE32-E72D297353CC}">
                <c16:uniqueId val="{0000088F-280A-4CC8-864C-E6F154A5A56B}"/>
              </c:ext>
            </c:extLst>
          </c:dPt>
          <c:dPt>
            <c:idx val="1095"/>
            <c:invertIfNegative val="1"/>
            <c:bubble3D val="0"/>
            <c:spPr>
              <a:solidFill>
                <a:srgbClr val="AEABAB"/>
              </a:solidFill>
            </c:spPr>
            <c:extLst>
              <c:ext xmlns:c16="http://schemas.microsoft.com/office/drawing/2014/chart" uri="{C3380CC4-5D6E-409C-BE32-E72D297353CC}">
                <c16:uniqueId val="{00000891-280A-4CC8-864C-E6F154A5A56B}"/>
              </c:ext>
            </c:extLst>
          </c:dPt>
          <c:dPt>
            <c:idx val="1096"/>
            <c:invertIfNegative val="1"/>
            <c:bubble3D val="0"/>
            <c:spPr>
              <a:solidFill>
                <a:srgbClr val="AEABAB"/>
              </a:solidFill>
            </c:spPr>
            <c:extLst>
              <c:ext xmlns:c16="http://schemas.microsoft.com/office/drawing/2014/chart" uri="{C3380CC4-5D6E-409C-BE32-E72D297353CC}">
                <c16:uniqueId val="{00000893-280A-4CC8-864C-E6F154A5A56B}"/>
              </c:ext>
            </c:extLst>
          </c:dPt>
          <c:dPt>
            <c:idx val="1097"/>
            <c:invertIfNegative val="1"/>
            <c:bubble3D val="0"/>
            <c:spPr>
              <a:solidFill>
                <a:srgbClr val="AEABAB"/>
              </a:solidFill>
            </c:spPr>
            <c:extLst>
              <c:ext xmlns:c16="http://schemas.microsoft.com/office/drawing/2014/chart" uri="{C3380CC4-5D6E-409C-BE32-E72D297353CC}">
                <c16:uniqueId val="{00000895-280A-4CC8-864C-E6F154A5A56B}"/>
              </c:ext>
            </c:extLst>
          </c:dPt>
          <c:dPt>
            <c:idx val="1098"/>
            <c:invertIfNegative val="1"/>
            <c:bubble3D val="0"/>
            <c:spPr>
              <a:solidFill>
                <a:srgbClr val="AEABAB"/>
              </a:solidFill>
            </c:spPr>
            <c:extLst>
              <c:ext xmlns:c16="http://schemas.microsoft.com/office/drawing/2014/chart" uri="{C3380CC4-5D6E-409C-BE32-E72D297353CC}">
                <c16:uniqueId val="{00000897-280A-4CC8-864C-E6F154A5A56B}"/>
              </c:ext>
            </c:extLst>
          </c:dPt>
          <c:dPt>
            <c:idx val="1099"/>
            <c:invertIfNegative val="1"/>
            <c:bubble3D val="0"/>
            <c:spPr>
              <a:solidFill>
                <a:srgbClr val="AEABAB"/>
              </a:solidFill>
            </c:spPr>
            <c:extLst>
              <c:ext xmlns:c16="http://schemas.microsoft.com/office/drawing/2014/chart" uri="{C3380CC4-5D6E-409C-BE32-E72D297353CC}">
                <c16:uniqueId val="{00000899-280A-4CC8-864C-E6F154A5A56B}"/>
              </c:ext>
            </c:extLst>
          </c:dPt>
          <c:dPt>
            <c:idx val="1100"/>
            <c:invertIfNegative val="1"/>
            <c:bubble3D val="0"/>
            <c:spPr>
              <a:solidFill>
                <a:srgbClr val="AEABAB"/>
              </a:solidFill>
            </c:spPr>
            <c:extLst>
              <c:ext xmlns:c16="http://schemas.microsoft.com/office/drawing/2014/chart" uri="{C3380CC4-5D6E-409C-BE32-E72D297353CC}">
                <c16:uniqueId val="{0000089B-280A-4CC8-864C-E6F154A5A56B}"/>
              </c:ext>
            </c:extLst>
          </c:dPt>
          <c:dPt>
            <c:idx val="1101"/>
            <c:invertIfNegative val="1"/>
            <c:bubble3D val="0"/>
            <c:spPr>
              <a:solidFill>
                <a:srgbClr val="AEABAB"/>
              </a:solidFill>
            </c:spPr>
            <c:extLst>
              <c:ext xmlns:c16="http://schemas.microsoft.com/office/drawing/2014/chart" uri="{C3380CC4-5D6E-409C-BE32-E72D297353CC}">
                <c16:uniqueId val="{0000089D-280A-4CC8-864C-E6F154A5A56B}"/>
              </c:ext>
            </c:extLst>
          </c:dPt>
          <c:dPt>
            <c:idx val="1102"/>
            <c:invertIfNegative val="1"/>
            <c:bubble3D val="0"/>
            <c:spPr>
              <a:solidFill>
                <a:srgbClr val="AEABAB"/>
              </a:solidFill>
            </c:spPr>
            <c:extLst>
              <c:ext xmlns:c16="http://schemas.microsoft.com/office/drawing/2014/chart" uri="{C3380CC4-5D6E-409C-BE32-E72D297353CC}">
                <c16:uniqueId val="{0000089F-280A-4CC8-864C-E6F154A5A56B}"/>
              </c:ext>
            </c:extLst>
          </c:dPt>
          <c:dPt>
            <c:idx val="1103"/>
            <c:invertIfNegative val="1"/>
            <c:bubble3D val="0"/>
            <c:spPr>
              <a:solidFill>
                <a:srgbClr val="AEABAB"/>
              </a:solidFill>
            </c:spPr>
            <c:extLst>
              <c:ext xmlns:c16="http://schemas.microsoft.com/office/drawing/2014/chart" uri="{C3380CC4-5D6E-409C-BE32-E72D297353CC}">
                <c16:uniqueId val="{000008A1-280A-4CC8-864C-E6F154A5A56B}"/>
              </c:ext>
            </c:extLst>
          </c:dPt>
          <c:dPt>
            <c:idx val="1104"/>
            <c:invertIfNegative val="1"/>
            <c:bubble3D val="0"/>
            <c:spPr>
              <a:solidFill>
                <a:srgbClr val="AEABAB"/>
              </a:solidFill>
            </c:spPr>
            <c:extLst>
              <c:ext xmlns:c16="http://schemas.microsoft.com/office/drawing/2014/chart" uri="{C3380CC4-5D6E-409C-BE32-E72D297353CC}">
                <c16:uniqueId val="{000008A3-280A-4CC8-864C-E6F154A5A56B}"/>
              </c:ext>
            </c:extLst>
          </c:dPt>
          <c:dPt>
            <c:idx val="1105"/>
            <c:invertIfNegative val="1"/>
            <c:bubble3D val="0"/>
            <c:spPr>
              <a:solidFill>
                <a:srgbClr val="AEABAB"/>
              </a:solidFill>
            </c:spPr>
            <c:extLst>
              <c:ext xmlns:c16="http://schemas.microsoft.com/office/drawing/2014/chart" uri="{C3380CC4-5D6E-409C-BE32-E72D297353CC}">
                <c16:uniqueId val="{000008A5-280A-4CC8-864C-E6F154A5A56B}"/>
              </c:ext>
            </c:extLst>
          </c:dPt>
          <c:dPt>
            <c:idx val="1106"/>
            <c:invertIfNegative val="1"/>
            <c:bubble3D val="0"/>
            <c:spPr>
              <a:solidFill>
                <a:srgbClr val="AEABAB"/>
              </a:solidFill>
            </c:spPr>
            <c:extLst>
              <c:ext xmlns:c16="http://schemas.microsoft.com/office/drawing/2014/chart" uri="{C3380CC4-5D6E-409C-BE32-E72D297353CC}">
                <c16:uniqueId val="{000008A7-280A-4CC8-864C-E6F154A5A56B}"/>
              </c:ext>
            </c:extLst>
          </c:dPt>
          <c:dPt>
            <c:idx val="1107"/>
            <c:invertIfNegative val="1"/>
            <c:bubble3D val="0"/>
            <c:spPr>
              <a:solidFill>
                <a:srgbClr val="AEABAB"/>
              </a:solidFill>
            </c:spPr>
            <c:extLst>
              <c:ext xmlns:c16="http://schemas.microsoft.com/office/drawing/2014/chart" uri="{C3380CC4-5D6E-409C-BE32-E72D297353CC}">
                <c16:uniqueId val="{000008A9-280A-4CC8-864C-E6F154A5A56B}"/>
              </c:ext>
            </c:extLst>
          </c:dPt>
          <c:dPt>
            <c:idx val="1108"/>
            <c:invertIfNegative val="1"/>
            <c:bubble3D val="0"/>
            <c:spPr>
              <a:solidFill>
                <a:srgbClr val="AEABAB"/>
              </a:solidFill>
            </c:spPr>
            <c:extLst>
              <c:ext xmlns:c16="http://schemas.microsoft.com/office/drawing/2014/chart" uri="{C3380CC4-5D6E-409C-BE32-E72D297353CC}">
                <c16:uniqueId val="{000008AB-280A-4CC8-864C-E6F154A5A56B}"/>
              </c:ext>
            </c:extLst>
          </c:dPt>
          <c:dPt>
            <c:idx val="1109"/>
            <c:invertIfNegative val="1"/>
            <c:bubble3D val="0"/>
            <c:spPr>
              <a:solidFill>
                <a:srgbClr val="AEABAB"/>
              </a:solidFill>
            </c:spPr>
            <c:extLst>
              <c:ext xmlns:c16="http://schemas.microsoft.com/office/drawing/2014/chart" uri="{C3380CC4-5D6E-409C-BE32-E72D297353CC}">
                <c16:uniqueId val="{000008AD-280A-4CC8-864C-E6F154A5A56B}"/>
              </c:ext>
            </c:extLst>
          </c:dPt>
          <c:dPt>
            <c:idx val="1110"/>
            <c:invertIfNegative val="1"/>
            <c:bubble3D val="0"/>
            <c:spPr>
              <a:solidFill>
                <a:srgbClr val="AEABAB"/>
              </a:solidFill>
            </c:spPr>
            <c:extLst>
              <c:ext xmlns:c16="http://schemas.microsoft.com/office/drawing/2014/chart" uri="{C3380CC4-5D6E-409C-BE32-E72D297353CC}">
                <c16:uniqueId val="{000008AF-280A-4CC8-864C-E6F154A5A56B}"/>
              </c:ext>
            </c:extLst>
          </c:dPt>
          <c:dPt>
            <c:idx val="1111"/>
            <c:invertIfNegative val="1"/>
            <c:bubble3D val="0"/>
            <c:spPr>
              <a:solidFill>
                <a:srgbClr val="AEABAB"/>
              </a:solidFill>
            </c:spPr>
            <c:extLst>
              <c:ext xmlns:c16="http://schemas.microsoft.com/office/drawing/2014/chart" uri="{C3380CC4-5D6E-409C-BE32-E72D297353CC}">
                <c16:uniqueId val="{000008B1-280A-4CC8-864C-E6F154A5A56B}"/>
              </c:ext>
            </c:extLst>
          </c:dPt>
          <c:dPt>
            <c:idx val="1112"/>
            <c:invertIfNegative val="1"/>
            <c:bubble3D val="0"/>
            <c:spPr>
              <a:solidFill>
                <a:srgbClr val="AEABAB"/>
              </a:solidFill>
            </c:spPr>
            <c:extLst>
              <c:ext xmlns:c16="http://schemas.microsoft.com/office/drawing/2014/chart" uri="{C3380CC4-5D6E-409C-BE32-E72D297353CC}">
                <c16:uniqueId val="{000008B3-280A-4CC8-864C-E6F154A5A56B}"/>
              </c:ext>
            </c:extLst>
          </c:dPt>
          <c:dPt>
            <c:idx val="1113"/>
            <c:invertIfNegative val="1"/>
            <c:bubble3D val="0"/>
            <c:spPr>
              <a:solidFill>
                <a:srgbClr val="AEABAB"/>
              </a:solidFill>
            </c:spPr>
            <c:extLst>
              <c:ext xmlns:c16="http://schemas.microsoft.com/office/drawing/2014/chart" uri="{C3380CC4-5D6E-409C-BE32-E72D297353CC}">
                <c16:uniqueId val="{000008B5-280A-4CC8-864C-E6F154A5A56B}"/>
              </c:ext>
            </c:extLst>
          </c:dPt>
          <c:dPt>
            <c:idx val="1114"/>
            <c:invertIfNegative val="1"/>
            <c:bubble3D val="0"/>
            <c:spPr>
              <a:solidFill>
                <a:srgbClr val="AEABAB"/>
              </a:solidFill>
            </c:spPr>
            <c:extLst>
              <c:ext xmlns:c16="http://schemas.microsoft.com/office/drawing/2014/chart" uri="{C3380CC4-5D6E-409C-BE32-E72D297353CC}">
                <c16:uniqueId val="{000008B7-280A-4CC8-864C-E6F154A5A56B}"/>
              </c:ext>
            </c:extLst>
          </c:dPt>
          <c:dPt>
            <c:idx val="1115"/>
            <c:invertIfNegative val="1"/>
            <c:bubble3D val="0"/>
            <c:spPr>
              <a:solidFill>
                <a:srgbClr val="AEABAB"/>
              </a:solidFill>
            </c:spPr>
            <c:extLst>
              <c:ext xmlns:c16="http://schemas.microsoft.com/office/drawing/2014/chart" uri="{C3380CC4-5D6E-409C-BE32-E72D297353CC}">
                <c16:uniqueId val="{000008B9-280A-4CC8-864C-E6F154A5A56B}"/>
              </c:ext>
            </c:extLst>
          </c:dPt>
          <c:dPt>
            <c:idx val="1116"/>
            <c:invertIfNegative val="1"/>
            <c:bubble3D val="0"/>
            <c:spPr>
              <a:solidFill>
                <a:srgbClr val="AEABAB"/>
              </a:solidFill>
            </c:spPr>
            <c:extLst>
              <c:ext xmlns:c16="http://schemas.microsoft.com/office/drawing/2014/chart" uri="{C3380CC4-5D6E-409C-BE32-E72D297353CC}">
                <c16:uniqueId val="{000008BB-280A-4CC8-864C-E6F154A5A56B}"/>
              </c:ext>
            </c:extLst>
          </c:dPt>
          <c:dPt>
            <c:idx val="1117"/>
            <c:invertIfNegative val="1"/>
            <c:bubble3D val="0"/>
            <c:spPr>
              <a:solidFill>
                <a:srgbClr val="AEABAB"/>
              </a:solidFill>
            </c:spPr>
            <c:extLst>
              <c:ext xmlns:c16="http://schemas.microsoft.com/office/drawing/2014/chart" uri="{C3380CC4-5D6E-409C-BE32-E72D297353CC}">
                <c16:uniqueId val="{000008BD-280A-4CC8-864C-E6F154A5A56B}"/>
              </c:ext>
            </c:extLst>
          </c:dPt>
          <c:dPt>
            <c:idx val="1118"/>
            <c:invertIfNegative val="1"/>
            <c:bubble3D val="0"/>
            <c:spPr>
              <a:solidFill>
                <a:srgbClr val="AEABAB"/>
              </a:solidFill>
            </c:spPr>
            <c:extLst>
              <c:ext xmlns:c16="http://schemas.microsoft.com/office/drawing/2014/chart" uri="{C3380CC4-5D6E-409C-BE32-E72D297353CC}">
                <c16:uniqueId val="{000008BF-280A-4CC8-864C-E6F154A5A56B}"/>
              </c:ext>
            </c:extLst>
          </c:dPt>
          <c:dPt>
            <c:idx val="1119"/>
            <c:invertIfNegative val="1"/>
            <c:bubble3D val="0"/>
            <c:spPr>
              <a:solidFill>
                <a:srgbClr val="AEABAB"/>
              </a:solidFill>
            </c:spPr>
            <c:extLst>
              <c:ext xmlns:c16="http://schemas.microsoft.com/office/drawing/2014/chart" uri="{C3380CC4-5D6E-409C-BE32-E72D297353CC}">
                <c16:uniqueId val="{000008C1-280A-4CC8-864C-E6F154A5A56B}"/>
              </c:ext>
            </c:extLst>
          </c:dPt>
          <c:dPt>
            <c:idx val="1120"/>
            <c:invertIfNegative val="1"/>
            <c:bubble3D val="0"/>
            <c:spPr>
              <a:solidFill>
                <a:srgbClr val="AEABAB"/>
              </a:solidFill>
            </c:spPr>
            <c:extLst>
              <c:ext xmlns:c16="http://schemas.microsoft.com/office/drawing/2014/chart" uri="{C3380CC4-5D6E-409C-BE32-E72D297353CC}">
                <c16:uniqueId val="{000008C3-280A-4CC8-864C-E6F154A5A56B}"/>
              </c:ext>
            </c:extLst>
          </c:dPt>
          <c:dPt>
            <c:idx val="1121"/>
            <c:invertIfNegative val="1"/>
            <c:bubble3D val="0"/>
            <c:spPr>
              <a:solidFill>
                <a:srgbClr val="AEABAB"/>
              </a:solidFill>
            </c:spPr>
            <c:extLst>
              <c:ext xmlns:c16="http://schemas.microsoft.com/office/drawing/2014/chart" uri="{C3380CC4-5D6E-409C-BE32-E72D297353CC}">
                <c16:uniqueId val="{000008C5-280A-4CC8-864C-E6F154A5A56B}"/>
              </c:ext>
            </c:extLst>
          </c:dPt>
          <c:dPt>
            <c:idx val="1122"/>
            <c:invertIfNegative val="1"/>
            <c:bubble3D val="0"/>
            <c:spPr>
              <a:solidFill>
                <a:srgbClr val="AEABAB"/>
              </a:solidFill>
            </c:spPr>
            <c:extLst>
              <c:ext xmlns:c16="http://schemas.microsoft.com/office/drawing/2014/chart" uri="{C3380CC4-5D6E-409C-BE32-E72D297353CC}">
                <c16:uniqueId val="{000008C7-280A-4CC8-864C-E6F154A5A56B}"/>
              </c:ext>
            </c:extLst>
          </c:dPt>
          <c:dPt>
            <c:idx val="1123"/>
            <c:invertIfNegative val="1"/>
            <c:bubble3D val="0"/>
            <c:spPr>
              <a:solidFill>
                <a:srgbClr val="AEABAB"/>
              </a:solidFill>
            </c:spPr>
            <c:extLst>
              <c:ext xmlns:c16="http://schemas.microsoft.com/office/drawing/2014/chart" uri="{C3380CC4-5D6E-409C-BE32-E72D297353CC}">
                <c16:uniqueId val="{000008C9-280A-4CC8-864C-E6F154A5A56B}"/>
              </c:ext>
            </c:extLst>
          </c:dPt>
          <c:dPt>
            <c:idx val="1124"/>
            <c:invertIfNegative val="1"/>
            <c:bubble3D val="0"/>
            <c:spPr>
              <a:solidFill>
                <a:srgbClr val="AEABAB"/>
              </a:solidFill>
            </c:spPr>
            <c:extLst>
              <c:ext xmlns:c16="http://schemas.microsoft.com/office/drawing/2014/chart" uri="{C3380CC4-5D6E-409C-BE32-E72D297353CC}">
                <c16:uniqueId val="{000008CB-280A-4CC8-864C-E6F154A5A56B}"/>
              </c:ext>
            </c:extLst>
          </c:dPt>
          <c:dPt>
            <c:idx val="1125"/>
            <c:invertIfNegative val="1"/>
            <c:bubble3D val="0"/>
            <c:spPr>
              <a:solidFill>
                <a:srgbClr val="AEABAB"/>
              </a:solidFill>
            </c:spPr>
            <c:extLst>
              <c:ext xmlns:c16="http://schemas.microsoft.com/office/drawing/2014/chart" uri="{C3380CC4-5D6E-409C-BE32-E72D297353CC}">
                <c16:uniqueId val="{000008CD-280A-4CC8-864C-E6F154A5A56B}"/>
              </c:ext>
            </c:extLst>
          </c:dPt>
          <c:dPt>
            <c:idx val="1126"/>
            <c:invertIfNegative val="1"/>
            <c:bubble3D val="0"/>
            <c:spPr>
              <a:solidFill>
                <a:srgbClr val="AEABAB"/>
              </a:solidFill>
            </c:spPr>
            <c:extLst>
              <c:ext xmlns:c16="http://schemas.microsoft.com/office/drawing/2014/chart" uri="{C3380CC4-5D6E-409C-BE32-E72D297353CC}">
                <c16:uniqueId val="{000008CF-280A-4CC8-864C-E6F154A5A56B}"/>
              </c:ext>
            </c:extLst>
          </c:dPt>
          <c:dPt>
            <c:idx val="1127"/>
            <c:invertIfNegative val="1"/>
            <c:bubble3D val="0"/>
            <c:spPr>
              <a:solidFill>
                <a:srgbClr val="AEABAB"/>
              </a:solidFill>
            </c:spPr>
            <c:extLst>
              <c:ext xmlns:c16="http://schemas.microsoft.com/office/drawing/2014/chart" uri="{C3380CC4-5D6E-409C-BE32-E72D297353CC}">
                <c16:uniqueId val="{000008D1-280A-4CC8-864C-E6F154A5A56B}"/>
              </c:ext>
            </c:extLst>
          </c:dPt>
          <c:dPt>
            <c:idx val="1128"/>
            <c:invertIfNegative val="1"/>
            <c:bubble3D val="0"/>
            <c:spPr>
              <a:solidFill>
                <a:srgbClr val="AEABAB"/>
              </a:solidFill>
            </c:spPr>
            <c:extLst>
              <c:ext xmlns:c16="http://schemas.microsoft.com/office/drawing/2014/chart" uri="{C3380CC4-5D6E-409C-BE32-E72D297353CC}">
                <c16:uniqueId val="{000008D3-280A-4CC8-864C-E6F154A5A56B}"/>
              </c:ext>
            </c:extLst>
          </c:dPt>
          <c:dPt>
            <c:idx val="1129"/>
            <c:invertIfNegative val="1"/>
            <c:bubble3D val="0"/>
            <c:spPr>
              <a:solidFill>
                <a:srgbClr val="AEABAB"/>
              </a:solidFill>
            </c:spPr>
            <c:extLst>
              <c:ext xmlns:c16="http://schemas.microsoft.com/office/drawing/2014/chart" uri="{C3380CC4-5D6E-409C-BE32-E72D297353CC}">
                <c16:uniqueId val="{000008D5-280A-4CC8-864C-E6F154A5A56B}"/>
              </c:ext>
            </c:extLst>
          </c:dPt>
          <c:dPt>
            <c:idx val="1130"/>
            <c:invertIfNegative val="1"/>
            <c:bubble3D val="0"/>
            <c:spPr>
              <a:solidFill>
                <a:srgbClr val="AEABAB"/>
              </a:solidFill>
            </c:spPr>
            <c:extLst>
              <c:ext xmlns:c16="http://schemas.microsoft.com/office/drawing/2014/chart" uri="{C3380CC4-5D6E-409C-BE32-E72D297353CC}">
                <c16:uniqueId val="{000008D7-280A-4CC8-864C-E6F154A5A56B}"/>
              </c:ext>
            </c:extLst>
          </c:dPt>
          <c:dPt>
            <c:idx val="1131"/>
            <c:invertIfNegative val="1"/>
            <c:bubble3D val="0"/>
            <c:spPr>
              <a:solidFill>
                <a:srgbClr val="AEABAB"/>
              </a:solidFill>
            </c:spPr>
            <c:extLst>
              <c:ext xmlns:c16="http://schemas.microsoft.com/office/drawing/2014/chart" uri="{C3380CC4-5D6E-409C-BE32-E72D297353CC}">
                <c16:uniqueId val="{000008D9-280A-4CC8-864C-E6F154A5A56B}"/>
              </c:ext>
            </c:extLst>
          </c:dPt>
          <c:dPt>
            <c:idx val="1132"/>
            <c:invertIfNegative val="1"/>
            <c:bubble3D val="0"/>
            <c:spPr>
              <a:solidFill>
                <a:srgbClr val="AEABAB"/>
              </a:solidFill>
            </c:spPr>
            <c:extLst>
              <c:ext xmlns:c16="http://schemas.microsoft.com/office/drawing/2014/chart" uri="{C3380CC4-5D6E-409C-BE32-E72D297353CC}">
                <c16:uniqueId val="{000008DB-280A-4CC8-864C-E6F154A5A56B}"/>
              </c:ext>
            </c:extLst>
          </c:dPt>
          <c:dPt>
            <c:idx val="1133"/>
            <c:invertIfNegative val="1"/>
            <c:bubble3D val="0"/>
            <c:spPr>
              <a:solidFill>
                <a:srgbClr val="AEABAB"/>
              </a:solidFill>
            </c:spPr>
            <c:extLst>
              <c:ext xmlns:c16="http://schemas.microsoft.com/office/drawing/2014/chart" uri="{C3380CC4-5D6E-409C-BE32-E72D297353CC}">
                <c16:uniqueId val="{000008DD-280A-4CC8-864C-E6F154A5A56B}"/>
              </c:ext>
            </c:extLst>
          </c:dPt>
          <c:dPt>
            <c:idx val="1134"/>
            <c:invertIfNegative val="1"/>
            <c:bubble3D val="0"/>
            <c:spPr>
              <a:solidFill>
                <a:srgbClr val="AEABAB"/>
              </a:solidFill>
            </c:spPr>
            <c:extLst>
              <c:ext xmlns:c16="http://schemas.microsoft.com/office/drawing/2014/chart" uri="{C3380CC4-5D6E-409C-BE32-E72D297353CC}">
                <c16:uniqueId val="{000008DF-280A-4CC8-864C-E6F154A5A56B}"/>
              </c:ext>
            </c:extLst>
          </c:dPt>
          <c:dPt>
            <c:idx val="1135"/>
            <c:invertIfNegative val="1"/>
            <c:bubble3D val="0"/>
            <c:spPr>
              <a:solidFill>
                <a:srgbClr val="AEABAB"/>
              </a:solidFill>
            </c:spPr>
            <c:extLst>
              <c:ext xmlns:c16="http://schemas.microsoft.com/office/drawing/2014/chart" uri="{C3380CC4-5D6E-409C-BE32-E72D297353CC}">
                <c16:uniqueId val="{000008E1-280A-4CC8-864C-E6F154A5A56B}"/>
              </c:ext>
            </c:extLst>
          </c:dPt>
          <c:dPt>
            <c:idx val="1136"/>
            <c:invertIfNegative val="1"/>
            <c:bubble3D val="0"/>
            <c:spPr>
              <a:solidFill>
                <a:srgbClr val="AEABAB"/>
              </a:solidFill>
            </c:spPr>
            <c:extLst>
              <c:ext xmlns:c16="http://schemas.microsoft.com/office/drawing/2014/chart" uri="{C3380CC4-5D6E-409C-BE32-E72D297353CC}">
                <c16:uniqueId val="{000008E3-280A-4CC8-864C-E6F154A5A56B}"/>
              </c:ext>
            </c:extLst>
          </c:dPt>
          <c:dPt>
            <c:idx val="1137"/>
            <c:invertIfNegative val="1"/>
            <c:bubble3D val="0"/>
            <c:spPr>
              <a:solidFill>
                <a:srgbClr val="AEABAB"/>
              </a:solidFill>
            </c:spPr>
            <c:extLst>
              <c:ext xmlns:c16="http://schemas.microsoft.com/office/drawing/2014/chart" uri="{C3380CC4-5D6E-409C-BE32-E72D297353CC}">
                <c16:uniqueId val="{000008E5-280A-4CC8-864C-E6F154A5A56B}"/>
              </c:ext>
            </c:extLst>
          </c:dPt>
          <c:dPt>
            <c:idx val="1138"/>
            <c:invertIfNegative val="1"/>
            <c:bubble3D val="0"/>
            <c:spPr>
              <a:solidFill>
                <a:srgbClr val="AEABAB"/>
              </a:solidFill>
            </c:spPr>
            <c:extLst>
              <c:ext xmlns:c16="http://schemas.microsoft.com/office/drawing/2014/chart" uri="{C3380CC4-5D6E-409C-BE32-E72D297353CC}">
                <c16:uniqueId val="{000008E7-280A-4CC8-864C-E6F154A5A56B}"/>
              </c:ext>
            </c:extLst>
          </c:dPt>
          <c:dPt>
            <c:idx val="1139"/>
            <c:invertIfNegative val="1"/>
            <c:bubble3D val="0"/>
            <c:spPr>
              <a:solidFill>
                <a:srgbClr val="AEABAB"/>
              </a:solidFill>
            </c:spPr>
            <c:extLst>
              <c:ext xmlns:c16="http://schemas.microsoft.com/office/drawing/2014/chart" uri="{C3380CC4-5D6E-409C-BE32-E72D297353CC}">
                <c16:uniqueId val="{000008E9-280A-4CC8-864C-E6F154A5A56B}"/>
              </c:ext>
            </c:extLst>
          </c:dPt>
          <c:dPt>
            <c:idx val="1140"/>
            <c:invertIfNegative val="1"/>
            <c:bubble3D val="0"/>
            <c:spPr>
              <a:solidFill>
                <a:srgbClr val="AEABAB"/>
              </a:solidFill>
            </c:spPr>
            <c:extLst>
              <c:ext xmlns:c16="http://schemas.microsoft.com/office/drawing/2014/chart" uri="{C3380CC4-5D6E-409C-BE32-E72D297353CC}">
                <c16:uniqueId val="{000008EB-280A-4CC8-864C-E6F154A5A56B}"/>
              </c:ext>
            </c:extLst>
          </c:dPt>
          <c:dPt>
            <c:idx val="1141"/>
            <c:invertIfNegative val="1"/>
            <c:bubble3D val="0"/>
            <c:spPr>
              <a:solidFill>
                <a:srgbClr val="AEABAB"/>
              </a:solidFill>
            </c:spPr>
            <c:extLst>
              <c:ext xmlns:c16="http://schemas.microsoft.com/office/drawing/2014/chart" uri="{C3380CC4-5D6E-409C-BE32-E72D297353CC}">
                <c16:uniqueId val="{000008ED-280A-4CC8-864C-E6F154A5A56B}"/>
              </c:ext>
            </c:extLst>
          </c:dPt>
          <c:dPt>
            <c:idx val="1142"/>
            <c:invertIfNegative val="1"/>
            <c:bubble3D val="0"/>
            <c:spPr>
              <a:solidFill>
                <a:srgbClr val="AEABAB"/>
              </a:solidFill>
            </c:spPr>
            <c:extLst>
              <c:ext xmlns:c16="http://schemas.microsoft.com/office/drawing/2014/chart" uri="{C3380CC4-5D6E-409C-BE32-E72D297353CC}">
                <c16:uniqueId val="{000008EF-280A-4CC8-864C-E6F154A5A56B}"/>
              </c:ext>
            </c:extLst>
          </c:dPt>
          <c:dPt>
            <c:idx val="1143"/>
            <c:invertIfNegative val="1"/>
            <c:bubble3D val="0"/>
            <c:spPr>
              <a:solidFill>
                <a:srgbClr val="AEABAB"/>
              </a:solidFill>
            </c:spPr>
            <c:extLst>
              <c:ext xmlns:c16="http://schemas.microsoft.com/office/drawing/2014/chart" uri="{C3380CC4-5D6E-409C-BE32-E72D297353CC}">
                <c16:uniqueId val="{000008F1-280A-4CC8-864C-E6F154A5A56B}"/>
              </c:ext>
            </c:extLst>
          </c:dPt>
          <c:dPt>
            <c:idx val="1144"/>
            <c:invertIfNegative val="1"/>
            <c:bubble3D val="0"/>
            <c:spPr>
              <a:solidFill>
                <a:srgbClr val="AEABAB"/>
              </a:solidFill>
            </c:spPr>
            <c:extLst>
              <c:ext xmlns:c16="http://schemas.microsoft.com/office/drawing/2014/chart" uri="{C3380CC4-5D6E-409C-BE32-E72D297353CC}">
                <c16:uniqueId val="{000008F3-280A-4CC8-864C-E6F154A5A56B}"/>
              </c:ext>
            </c:extLst>
          </c:dPt>
          <c:dPt>
            <c:idx val="1145"/>
            <c:invertIfNegative val="1"/>
            <c:bubble3D val="0"/>
            <c:spPr>
              <a:solidFill>
                <a:srgbClr val="AEABAB"/>
              </a:solidFill>
            </c:spPr>
            <c:extLst>
              <c:ext xmlns:c16="http://schemas.microsoft.com/office/drawing/2014/chart" uri="{C3380CC4-5D6E-409C-BE32-E72D297353CC}">
                <c16:uniqueId val="{000008F5-280A-4CC8-864C-E6F154A5A56B}"/>
              </c:ext>
            </c:extLst>
          </c:dPt>
          <c:dPt>
            <c:idx val="1146"/>
            <c:invertIfNegative val="1"/>
            <c:bubble3D val="0"/>
            <c:spPr>
              <a:solidFill>
                <a:srgbClr val="AEABAB"/>
              </a:solidFill>
            </c:spPr>
            <c:extLst>
              <c:ext xmlns:c16="http://schemas.microsoft.com/office/drawing/2014/chart" uri="{C3380CC4-5D6E-409C-BE32-E72D297353CC}">
                <c16:uniqueId val="{000008F7-280A-4CC8-864C-E6F154A5A56B}"/>
              </c:ext>
            </c:extLst>
          </c:dPt>
          <c:dPt>
            <c:idx val="1147"/>
            <c:invertIfNegative val="1"/>
            <c:bubble3D val="0"/>
            <c:spPr>
              <a:solidFill>
                <a:srgbClr val="AEABAB"/>
              </a:solidFill>
            </c:spPr>
            <c:extLst>
              <c:ext xmlns:c16="http://schemas.microsoft.com/office/drawing/2014/chart" uri="{C3380CC4-5D6E-409C-BE32-E72D297353CC}">
                <c16:uniqueId val="{000008F9-280A-4CC8-864C-E6F154A5A56B}"/>
              </c:ext>
            </c:extLst>
          </c:dPt>
          <c:dPt>
            <c:idx val="1148"/>
            <c:invertIfNegative val="1"/>
            <c:bubble3D val="0"/>
            <c:spPr>
              <a:solidFill>
                <a:srgbClr val="AEABAB"/>
              </a:solidFill>
            </c:spPr>
            <c:extLst>
              <c:ext xmlns:c16="http://schemas.microsoft.com/office/drawing/2014/chart" uri="{C3380CC4-5D6E-409C-BE32-E72D297353CC}">
                <c16:uniqueId val="{000008FB-280A-4CC8-864C-E6F154A5A56B}"/>
              </c:ext>
            </c:extLst>
          </c:dPt>
          <c:dPt>
            <c:idx val="1149"/>
            <c:invertIfNegative val="1"/>
            <c:bubble3D val="0"/>
            <c:spPr>
              <a:solidFill>
                <a:srgbClr val="AEABAB"/>
              </a:solidFill>
            </c:spPr>
            <c:extLst>
              <c:ext xmlns:c16="http://schemas.microsoft.com/office/drawing/2014/chart" uri="{C3380CC4-5D6E-409C-BE32-E72D297353CC}">
                <c16:uniqueId val="{000008FD-280A-4CC8-864C-E6F154A5A56B}"/>
              </c:ext>
            </c:extLst>
          </c:dPt>
          <c:dPt>
            <c:idx val="1150"/>
            <c:invertIfNegative val="1"/>
            <c:bubble3D val="0"/>
            <c:spPr>
              <a:solidFill>
                <a:srgbClr val="AEABAB"/>
              </a:solidFill>
            </c:spPr>
            <c:extLst>
              <c:ext xmlns:c16="http://schemas.microsoft.com/office/drawing/2014/chart" uri="{C3380CC4-5D6E-409C-BE32-E72D297353CC}">
                <c16:uniqueId val="{000008FF-280A-4CC8-864C-E6F154A5A56B}"/>
              </c:ext>
            </c:extLst>
          </c:dPt>
          <c:dPt>
            <c:idx val="1151"/>
            <c:invertIfNegative val="1"/>
            <c:bubble3D val="0"/>
            <c:spPr>
              <a:solidFill>
                <a:srgbClr val="AEABAB"/>
              </a:solidFill>
            </c:spPr>
            <c:extLst>
              <c:ext xmlns:c16="http://schemas.microsoft.com/office/drawing/2014/chart" uri="{C3380CC4-5D6E-409C-BE32-E72D297353CC}">
                <c16:uniqueId val="{00000901-280A-4CC8-864C-E6F154A5A56B}"/>
              </c:ext>
            </c:extLst>
          </c:dPt>
          <c:dPt>
            <c:idx val="1152"/>
            <c:invertIfNegative val="1"/>
            <c:bubble3D val="0"/>
            <c:spPr>
              <a:solidFill>
                <a:srgbClr val="AEABAB"/>
              </a:solidFill>
            </c:spPr>
            <c:extLst>
              <c:ext xmlns:c16="http://schemas.microsoft.com/office/drawing/2014/chart" uri="{C3380CC4-5D6E-409C-BE32-E72D297353CC}">
                <c16:uniqueId val="{00000903-280A-4CC8-864C-E6F154A5A56B}"/>
              </c:ext>
            </c:extLst>
          </c:dPt>
          <c:dPt>
            <c:idx val="1153"/>
            <c:invertIfNegative val="1"/>
            <c:bubble3D val="0"/>
            <c:spPr>
              <a:solidFill>
                <a:srgbClr val="AEABAB"/>
              </a:solidFill>
            </c:spPr>
            <c:extLst>
              <c:ext xmlns:c16="http://schemas.microsoft.com/office/drawing/2014/chart" uri="{C3380CC4-5D6E-409C-BE32-E72D297353CC}">
                <c16:uniqueId val="{00000905-280A-4CC8-864C-E6F154A5A56B}"/>
              </c:ext>
            </c:extLst>
          </c:dPt>
          <c:dPt>
            <c:idx val="1154"/>
            <c:invertIfNegative val="1"/>
            <c:bubble3D val="0"/>
            <c:spPr>
              <a:solidFill>
                <a:srgbClr val="AEABAB"/>
              </a:solidFill>
            </c:spPr>
            <c:extLst>
              <c:ext xmlns:c16="http://schemas.microsoft.com/office/drawing/2014/chart" uri="{C3380CC4-5D6E-409C-BE32-E72D297353CC}">
                <c16:uniqueId val="{00000907-280A-4CC8-864C-E6F154A5A56B}"/>
              </c:ext>
            </c:extLst>
          </c:dPt>
          <c:dPt>
            <c:idx val="1155"/>
            <c:invertIfNegative val="1"/>
            <c:bubble3D val="0"/>
            <c:spPr>
              <a:solidFill>
                <a:srgbClr val="AEABAB"/>
              </a:solidFill>
            </c:spPr>
            <c:extLst>
              <c:ext xmlns:c16="http://schemas.microsoft.com/office/drawing/2014/chart" uri="{C3380CC4-5D6E-409C-BE32-E72D297353CC}">
                <c16:uniqueId val="{00000909-280A-4CC8-864C-E6F154A5A56B}"/>
              </c:ext>
            </c:extLst>
          </c:dPt>
          <c:dPt>
            <c:idx val="1156"/>
            <c:invertIfNegative val="1"/>
            <c:bubble3D val="0"/>
            <c:spPr>
              <a:solidFill>
                <a:srgbClr val="AEABAB"/>
              </a:solidFill>
            </c:spPr>
            <c:extLst>
              <c:ext xmlns:c16="http://schemas.microsoft.com/office/drawing/2014/chart" uri="{C3380CC4-5D6E-409C-BE32-E72D297353CC}">
                <c16:uniqueId val="{0000090B-280A-4CC8-864C-E6F154A5A56B}"/>
              </c:ext>
            </c:extLst>
          </c:dPt>
          <c:dPt>
            <c:idx val="1157"/>
            <c:invertIfNegative val="1"/>
            <c:bubble3D val="0"/>
            <c:spPr>
              <a:solidFill>
                <a:srgbClr val="AEABAB"/>
              </a:solidFill>
            </c:spPr>
            <c:extLst>
              <c:ext xmlns:c16="http://schemas.microsoft.com/office/drawing/2014/chart" uri="{C3380CC4-5D6E-409C-BE32-E72D297353CC}">
                <c16:uniqueId val="{0000090D-280A-4CC8-864C-E6F154A5A56B}"/>
              </c:ext>
            </c:extLst>
          </c:dPt>
          <c:dPt>
            <c:idx val="1158"/>
            <c:invertIfNegative val="1"/>
            <c:bubble3D val="0"/>
            <c:spPr>
              <a:solidFill>
                <a:srgbClr val="AEABAB"/>
              </a:solidFill>
            </c:spPr>
            <c:extLst>
              <c:ext xmlns:c16="http://schemas.microsoft.com/office/drawing/2014/chart" uri="{C3380CC4-5D6E-409C-BE32-E72D297353CC}">
                <c16:uniqueId val="{0000090F-280A-4CC8-864C-E6F154A5A56B}"/>
              </c:ext>
            </c:extLst>
          </c:dPt>
          <c:dPt>
            <c:idx val="1159"/>
            <c:invertIfNegative val="1"/>
            <c:bubble3D val="0"/>
            <c:spPr>
              <a:solidFill>
                <a:srgbClr val="AEABAB"/>
              </a:solidFill>
            </c:spPr>
            <c:extLst>
              <c:ext xmlns:c16="http://schemas.microsoft.com/office/drawing/2014/chart" uri="{C3380CC4-5D6E-409C-BE32-E72D297353CC}">
                <c16:uniqueId val="{00000911-280A-4CC8-864C-E6F154A5A56B}"/>
              </c:ext>
            </c:extLst>
          </c:dPt>
          <c:dPt>
            <c:idx val="1160"/>
            <c:invertIfNegative val="1"/>
            <c:bubble3D val="0"/>
            <c:spPr>
              <a:solidFill>
                <a:srgbClr val="AEABAB"/>
              </a:solidFill>
            </c:spPr>
            <c:extLst>
              <c:ext xmlns:c16="http://schemas.microsoft.com/office/drawing/2014/chart" uri="{C3380CC4-5D6E-409C-BE32-E72D297353CC}">
                <c16:uniqueId val="{00000913-280A-4CC8-864C-E6F154A5A56B}"/>
              </c:ext>
            </c:extLst>
          </c:dPt>
          <c:dPt>
            <c:idx val="1161"/>
            <c:invertIfNegative val="1"/>
            <c:bubble3D val="0"/>
            <c:spPr>
              <a:solidFill>
                <a:srgbClr val="AEABAB"/>
              </a:solidFill>
            </c:spPr>
            <c:extLst>
              <c:ext xmlns:c16="http://schemas.microsoft.com/office/drawing/2014/chart" uri="{C3380CC4-5D6E-409C-BE32-E72D297353CC}">
                <c16:uniqueId val="{00000915-280A-4CC8-864C-E6F154A5A56B}"/>
              </c:ext>
            </c:extLst>
          </c:dPt>
          <c:dPt>
            <c:idx val="1162"/>
            <c:invertIfNegative val="1"/>
            <c:bubble3D val="0"/>
            <c:spPr>
              <a:solidFill>
                <a:srgbClr val="AEABAB"/>
              </a:solidFill>
            </c:spPr>
            <c:extLst>
              <c:ext xmlns:c16="http://schemas.microsoft.com/office/drawing/2014/chart" uri="{C3380CC4-5D6E-409C-BE32-E72D297353CC}">
                <c16:uniqueId val="{00000917-280A-4CC8-864C-E6F154A5A56B}"/>
              </c:ext>
            </c:extLst>
          </c:dPt>
          <c:dPt>
            <c:idx val="1163"/>
            <c:invertIfNegative val="1"/>
            <c:bubble3D val="0"/>
            <c:spPr>
              <a:solidFill>
                <a:srgbClr val="AEABAB"/>
              </a:solidFill>
            </c:spPr>
            <c:extLst>
              <c:ext xmlns:c16="http://schemas.microsoft.com/office/drawing/2014/chart" uri="{C3380CC4-5D6E-409C-BE32-E72D297353CC}">
                <c16:uniqueId val="{00000919-280A-4CC8-864C-E6F154A5A56B}"/>
              </c:ext>
            </c:extLst>
          </c:dPt>
          <c:dPt>
            <c:idx val="1164"/>
            <c:invertIfNegative val="1"/>
            <c:bubble3D val="0"/>
            <c:spPr>
              <a:solidFill>
                <a:srgbClr val="AEABAB"/>
              </a:solidFill>
            </c:spPr>
            <c:extLst>
              <c:ext xmlns:c16="http://schemas.microsoft.com/office/drawing/2014/chart" uri="{C3380CC4-5D6E-409C-BE32-E72D297353CC}">
                <c16:uniqueId val="{0000091B-280A-4CC8-864C-E6F154A5A56B}"/>
              </c:ext>
            </c:extLst>
          </c:dPt>
          <c:dPt>
            <c:idx val="1165"/>
            <c:invertIfNegative val="1"/>
            <c:bubble3D val="0"/>
            <c:spPr>
              <a:solidFill>
                <a:srgbClr val="AEABAB"/>
              </a:solidFill>
            </c:spPr>
            <c:extLst>
              <c:ext xmlns:c16="http://schemas.microsoft.com/office/drawing/2014/chart" uri="{C3380CC4-5D6E-409C-BE32-E72D297353CC}">
                <c16:uniqueId val="{0000091D-280A-4CC8-864C-E6F154A5A56B}"/>
              </c:ext>
            </c:extLst>
          </c:dPt>
          <c:dPt>
            <c:idx val="1166"/>
            <c:invertIfNegative val="1"/>
            <c:bubble3D val="0"/>
            <c:spPr>
              <a:solidFill>
                <a:srgbClr val="AEABAB"/>
              </a:solidFill>
            </c:spPr>
            <c:extLst>
              <c:ext xmlns:c16="http://schemas.microsoft.com/office/drawing/2014/chart" uri="{C3380CC4-5D6E-409C-BE32-E72D297353CC}">
                <c16:uniqueId val="{0000091F-280A-4CC8-864C-E6F154A5A56B}"/>
              </c:ext>
            </c:extLst>
          </c:dPt>
          <c:dPt>
            <c:idx val="1167"/>
            <c:invertIfNegative val="1"/>
            <c:bubble3D val="0"/>
            <c:spPr>
              <a:solidFill>
                <a:srgbClr val="AEABAB"/>
              </a:solidFill>
            </c:spPr>
            <c:extLst>
              <c:ext xmlns:c16="http://schemas.microsoft.com/office/drawing/2014/chart" uri="{C3380CC4-5D6E-409C-BE32-E72D297353CC}">
                <c16:uniqueId val="{00000921-280A-4CC8-864C-E6F154A5A56B}"/>
              </c:ext>
            </c:extLst>
          </c:dPt>
          <c:dPt>
            <c:idx val="1168"/>
            <c:invertIfNegative val="1"/>
            <c:bubble3D val="0"/>
            <c:spPr>
              <a:solidFill>
                <a:srgbClr val="AEABAB"/>
              </a:solidFill>
            </c:spPr>
            <c:extLst>
              <c:ext xmlns:c16="http://schemas.microsoft.com/office/drawing/2014/chart" uri="{C3380CC4-5D6E-409C-BE32-E72D297353CC}">
                <c16:uniqueId val="{00000923-280A-4CC8-864C-E6F154A5A56B}"/>
              </c:ext>
            </c:extLst>
          </c:dPt>
          <c:dPt>
            <c:idx val="1169"/>
            <c:invertIfNegative val="1"/>
            <c:bubble3D val="0"/>
            <c:spPr>
              <a:solidFill>
                <a:srgbClr val="AEABAB"/>
              </a:solidFill>
            </c:spPr>
            <c:extLst>
              <c:ext xmlns:c16="http://schemas.microsoft.com/office/drawing/2014/chart" uri="{C3380CC4-5D6E-409C-BE32-E72D297353CC}">
                <c16:uniqueId val="{00000925-280A-4CC8-864C-E6F154A5A56B}"/>
              </c:ext>
            </c:extLst>
          </c:dPt>
          <c:dPt>
            <c:idx val="1170"/>
            <c:invertIfNegative val="1"/>
            <c:bubble3D val="0"/>
            <c:spPr>
              <a:solidFill>
                <a:srgbClr val="AEABAB"/>
              </a:solidFill>
            </c:spPr>
            <c:extLst>
              <c:ext xmlns:c16="http://schemas.microsoft.com/office/drawing/2014/chart" uri="{C3380CC4-5D6E-409C-BE32-E72D297353CC}">
                <c16:uniqueId val="{00000927-280A-4CC8-864C-E6F154A5A56B}"/>
              </c:ext>
            </c:extLst>
          </c:dPt>
          <c:dPt>
            <c:idx val="1171"/>
            <c:invertIfNegative val="1"/>
            <c:bubble3D val="0"/>
            <c:spPr>
              <a:solidFill>
                <a:srgbClr val="AEABAB"/>
              </a:solidFill>
            </c:spPr>
            <c:extLst>
              <c:ext xmlns:c16="http://schemas.microsoft.com/office/drawing/2014/chart" uri="{C3380CC4-5D6E-409C-BE32-E72D297353CC}">
                <c16:uniqueId val="{00000929-280A-4CC8-864C-E6F154A5A56B}"/>
              </c:ext>
            </c:extLst>
          </c:dPt>
          <c:dPt>
            <c:idx val="1172"/>
            <c:invertIfNegative val="1"/>
            <c:bubble3D val="0"/>
            <c:spPr>
              <a:solidFill>
                <a:srgbClr val="AEABAB"/>
              </a:solidFill>
            </c:spPr>
            <c:extLst>
              <c:ext xmlns:c16="http://schemas.microsoft.com/office/drawing/2014/chart" uri="{C3380CC4-5D6E-409C-BE32-E72D297353CC}">
                <c16:uniqueId val="{0000092B-280A-4CC8-864C-E6F154A5A56B}"/>
              </c:ext>
            </c:extLst>
          </c:dPt>
          <c:dPt>
            <c:idx val="1173"/>
            <c:invertIfNegative val="1"/>
            <c:bubble3D val="0"/>
            <c:spPr>
              <a:solidFill>
                <a:srgbClr val="AEABAB"/>
              </a:solidFill>
            </c:spPr>
            <c:extLst>
              <c:ext xmlns:c16="http://schemas.microsoft.com/office/drawing/2014/chart" uri="{C3380CC4-5D6E-409C-BE32-E72D297353CC}">
                <c16:uniqueId val="{0000092D-280A-4CC8-864C-E6F154A5A56B}"/>
              </c:ext>
            </c:extLst>
          </c:dPt>
          <c:dPt>
            <c:idx val="1174"/>
            <c:invertIfNegative val="1"/>
            <c:bubble3D val="0"/>
            <c:spPr>
              <a:solidFill>
                <a:srgbClr val="AEABAB"/>
              </a:solidFill>
            </c:spPr>
            <c:extLst>
              <c:ext xmlns:c16="http://schemas.microsoft.com/office/drawing/2014/chart" uri="{C3380CC4-5D6E-409C-BE32-E72D297353CC}">
                <c16:uniqueId val="{0000092F-280A-4CC8-864C-E6F154A5A56B}"/>
              </c:ext>
            </c:extLst>
          </c:dPt>
          <c:dPt>
            <c:idx val="1175"/>
            <c:invertIfNegative val="1"/>
            <c:bubble3D val="0"/>
            <c:spPr>
              <a:solidFill>
                <a:srgbClr val="AEABAB"/>
              </a:solidFill>
            </c:spPr>
            <c:extLst>
              <c:ext xmlns:c16="http://schemas.microsoft.com/office/drawing/2014/chart" uri="{C3380CC4-5D6E-409C-BE32-E72D297353CC}">
                <c16:uniqueId val="{00000931-280A-4CC8-864C-E6F154A5A56B}"/>
              </c:ext>
            </c:extLst>
          </c:dPt>
          <c:dPt>
            <c:idx val="1176"/>
            <c:invertIfNegative val="1"/>
            <c:bubble3D val="0"/>
            <c:spPr>
              <a:solidFill>
                <a:srgbClr val="AEABAB"/>
              </a:solidFill>
            </c:spPr>
            <c:extLst>
              <c:ext xmlns:c16="http://schemas.microsoft.com/office/drawing/2014/chart" uri="{C3380CC4-5D6E-409C-BE32-E72D297353CC}">
                <c16:uniqueId val="{00000933-280A-4CC8-864C-E6F154A5A56B}"/>
              </c:ext>
            </c:extLst>
          </c:dPt>
          <c:dPt>
            <c:idx val="1177"/>
            <c:invertIfNegative val="1"/>
            <c:bubble3D val="0"/>
            <c:spPr>
              <a:solidFill>
                <a:srgbClr val="AEABAB"/>
              </a:solidFill>
            </c:spPr>
            <c:extLst>
              <c:ext xmlns:c16="http://schemas.microsoft.com/office/drawing/2014/chart" uri="{C3380CC4-5D6E-409C-BE32-E72D297353CC}">
                <c16:uniqueId val="{00000935-280A-4CC8-864C-E6F154A5A56B}"/>
              </c:ext>
            </c:extLst>
          </c:dPt>
          <c:dPt>
            <c:idx val="1178"/>
            <c:invertIfNegative val="1"/>
            <c:bubble3D val="0"/>
            <c:spPr>
              <a:solidFill>
                <a:srgbClr val="AEABAB"/>
              </a:solidFill>
            </c:spPr>
            <c:extLst>
              <c:ext xmlns:c16="http://schemas.microsoft.com/office/drawing/2014/chart" uri="{C3380CC4-5D6E-409C-BE32-E72D297353CC}">
                <c16:uniqueId val="{00000937-280A-4CC8-864C-E6F154A5A56B}"/>
              </c:ext>
            </c:extLst>
          </c:dPt>
          <c:dPt>
            <c:idx val="1179"/>
            <c:invertIfNegative val="1"/>
            <c:bubble3D val="0"/>
            <c:spPr>
              <a:solidFill>
                <a:srgbClr val="AEABAB"/>
              </a:solidFill>
            </c:spPr>
            <c:extLst>
              <c:ext xmlns:c16="http://schemas.microsoft.com/office/drawing/2014/chart" uri="{C3380CC4-5D6E-409C-BE32-E72D297353CC}">
                <c16:uniqueId val="{00000939-280A-4CC8-864C-E6F154A5A56B}"/>
              </c:ext>
            </c:extLst>
          </c:dPt>
          <c:dPt>
            <c:idx val="1180"/>
            <c:invertIfNegative val="1"/>
            <c:bubble3D val="0"/>
            <c:spPr>
              <a:solidFill>
                <a:srgbClr val="AEABAB"/>
              </a:solidFill>
            </c:spPr>
            <c:extLst>
              <c:ext xmlns:c16="http://schemas.microsoft.com/office/drawing/2014/chart" uri="{C3380CC4-5D6E-409C-BE32-E72D297353CC}">
                <c16:uniqueId val="{0000093B-280A-4CC8-864C-E6F154A5A56B}"/>
              </c:ext>
            </c:extLst>
          </c:dPt>
          <c:dPt>
            <c:idx val="1181"/>
            <c:invertIfNegative val="1"/>
            <c:bubble3D val="0"/>
            <c:spPr>
              <a:solidFill>
                <a:srgbClr val="AEABAB"/>
              </a:solidFill>
            </c:spPr>
            <c:extLst>
              <c:ext xmlns:c16="http://schemas.microsoft.com/office/drawing/2014/chart" uri="{C3380CC4-5D6E-409C-BE32-E72D297353CC}">
                <c16:uniqueId val="{0000093D-280A-4CC8-864C-E6F154A5A56B}"/>
              </c:ext>
            </c:extLst>
          </c:dPt>
          <c:dPt>
            <c:idx val="1182"/>
            <c:invertIfNegative val="1"/>
            <c:bubble3D val="0"/>
            <c:spPr>
              <a:solidFill>
                <a:srgbClr val="AEABAB"/>
              </a:solidFill>
            </c:spPr>
            <c:extLst>
              <c:ext xmlns:c16="http://schemas.microsoft.com/office/drawing/2014/chart" uri="{C3380CC4-5D6E-409C-BE32-E72D297353CC}">
                <c16:uniqueId val="{0000093F-280A-4CC8-864C-E6F154A5A56B}"/>
              </c:ext>
            </c:extLst>
          </c:dPt>
          <c:dPt>
            <c:idx val="1183"/>
            <c:invertIfNegative val="1"/>
            <c:bubble3D val="0"/>
            <c:spPr>
              <a:solidFill>
                <a:srgbClr val="AEABAB"/>
              </a:solidFill>
            </c:spPr>
            <c:extLst>
              <c:ext xmlns:c16="http://schemas.microsoft.com/office/drawing/2014/chart" uri="{C3380CC4-5D6E-409C-BE32-E72D297353CC}">
                <c16:uniqueId val="{00000941-280A-4CC8-864C-E6F154A5A56B}"/>
              </c:ext>
            </c:extLst>
          </c:dPt>
          <c:dPt>
            <c:idx val="1184"/>
            <c:invertIfNegative val="1"/>
            <c:bubble3D val="0"/>
            <c:spPr>
              <a:solidFill>
                <a:srgbClr val="AEABAB"/>
              </a:solidFill>
            </c:spPr>
            <c:extLst>
              <c:ext xmlns:c16="http://schemas.microsoft.com/office/drawing/2014/chart" uri="{C3380CC4-5D6E-409C-BE32-E72D297353CC}">
                <c16:uniqueId val="{00000943-280A-4CC8-864C-E6F154A5A56B}"/>
              </c:ext>
            </c:extLst>
          </c:dPt>
          <c:dPt>
            <c:idx val="1185"/>
            <c:invertIfNegative val="1"/>
            <c:bubble3D val="0"/>
            <c:spPr>
              <a:solidFill>
                <a:srgbClr val="AEABAB"/>
              </a:solidFill>
            </c:spPr>
            <c:extLst>
              <c:ext xmlns:c16="http://schemas.microsoft.com/office/drawing/2014/chart" uri="{C3380CC4-5D6E-409C-BE32-E72D297353CC}">
                <c16:uniqueId val="{00000945-280A-4CC8-864C-E6F154A5A56B}"/>
              </c:ext>
            </c:extLst>
          </c:dPt>
          <c:dPt>
            <c:idx val="1186"/>
            <c:invertIfNegative val="1"/>
            <c:bubble3D val="0"/>
            <c:spPr>
              <a:solidFill>
                <a:srgbClr val="AEABAB"/>
              </a:solidFill>
            </c:spPr>
            <c:extLst>
              <c:ext xmlns:c16="http://schemas.microsoft.com/office/drawing/2014/chart" uri="{C3380CC4-5D6E-409C-BE32-E72D297353CC}">
                <c16:uniqueId val="{00000947-280A-4CC8-864C-E6F154A5A56B}"/>
              </c:ext>
            </c:extLst>
          </c:dPt>
          <c:dPt>
            <c:idx val="1187"/>
            <c:invertIfNegative val="1"/>
            <c:bubble3D val="0"/>
            <c:spPr>
              <a:solidFill>
                <a:srgbClr val="AEABAB"/>
              </a:solidFill>
            </c:spPr>
            <c:extLst>
              <c:ext xmlns:c16="http://schemas.microsoft.com/office/drawing/2014/chart" uri="{C3380CC4-5D6E-409C-BE32-E72D297353CC}">
                <c16:uniqueId val="{00000949-280A-4CC8-864C-E6F154A5A56B}"/>
              </c:ext>
            </c:extLst>
          </c:dPt>
          <c:dPt>
            <c:idx val="1188"/>
            <c:invertIfNegative val="1"/>
            <c:bubble3D val="0"/>
            <c:spPr>
              <a:solidFill>
                <a:srgbClr val="AEABAB"/>
              </a:solidFill>
            </c:spPr>
            <c:extLst>
              <c:ext xmlns:c16="http://schemas.microsoft.com/office/drawing/2014/chart" uri="{C3380CC4-5D6E-409C-BE32-E72D297353CC}">
                <c16:uniqueId val="{0000094B-280A-4CC8-864C-E6F154A5A56B}"/>
              </c:ext>
            </c:extLst>
          </c:dPt>
          <c:dPt>
            <c:idx val="1189"/>
            <c:invertIfNegative val="1"/>
            <c:bubble3D val="0"/>
            <c:spPr>
              <a:solidFill>
                <a:srgbClr val="AEABAB"/>
              </a:solidFill>
            </c:spPr>
            <c:extLst>
              <c:ext xmlns:c16="http://schemas.microsoft.com/office/drawing/2014/chart" uri="{C3380CC4-5D6E-409C-BE32-E72D297353CC}">
                <c16:uniqueId val="{0000094D-280A-4CC8-864C-E6F154A5A56B}"/>
              </c:ext>
            </c:extLst>
          </c:dPt>
          <c:dPt>
            <c:idx val="1190"/>
            <c:invertIfNegative val="1"/>
            <c:bubble3D val="0"/>
            <c:spPr>
              <a:solidFill>
                <a:srgbClr val="AEABAB"/>
              </a:solidFill>
            </c:spPr>
            <c:extLst>
              <c:ext xmlns:c16="http://schemas.microsoft.com/office/drawing/2014/chart" uri="{C3380CC4-5D6E-409C-BE32-E72D297353CC}">
                <c16:uniqueId val="{0000094F-280A-4CC8-864C-E6F154A5A56B}"/>
              </c:ext>
            </c:extLst>
          </c:dPt>
          <c:dPt>
            <c:idx val="1191"/>
            <c:invertIfNegative val="1"/>
            <c:bubble3D val="0"/>
            <c:spPr>
              <a:solidFill>
                <a:srgbClr val="AEABAB"/>
              </a:solidFill>
            </c:spPr>
            <c:extLst>
              <c:ext xmlns:c16="http://schemas.microsoft.com/office/drawing/2014/chart" uri="{C3380CC4-5D6E-409C-BE32-E72D297353CC}">
                <c16:uniqueId val="{00000951-280A-4CC8-864C-E6F154A5A56B}"/>
              </c:ext>
            </c:extLst>
          </c:dPt>
          <c:dPt>
            <c:idx val="1192"/>
            <c:invertIfNegative val="1"/>
            <c:bubble3D val="0"/>
            <c:spPr>
              <a:solidFill>
                <a:srgbClr val="AEABAB"/>
              </a:solidFill>
            </c:spPr>
            <c:extLst>
              <c:ext xmlns:c16="http://schemas.microsoft.com/office/drawing/2014/chart" uri="{C3380CC4-5D6E-409C-BE32-E72D297353CC}">
                <c16:uniqueId val="{00000953-280A-4CC8-864C-E6F154A5A56B}"/>
              </c:ext>
            </c:extLst>
          </c:dPt>
          <c:dPt>
            <c:idx val="1193"/>
            <c:invertIfNegative val="1"/>
            <c:bubble3D val="0"/>
            <c:spPr>
              <a:solidFill>
                <a:srgbClr val="AEABAB"/>
              </a:solidFill>
            </c:spPr>
            <c:extLst>
              <c:ext xmlns:c16="http://schemas.microsoft.com/office/drawing/2014/chart" uri="{C3380CC4-5D6E-409C-BE32-E72D297353CC}">
                <c16:uniqueId val="{00000955-280A-4CC8-864C-E6F154A5A56B}"/>
              </c:ext>
            </c:extLst>
          </c:dPt>
          <c:dPt>
            <c:idx val="1194"/>
            <c:invertIfNegative val="1"/>
            <c:bubble3D val="0"/>
            <c:spPr>
              <a:solidFill>
                <a:srgbClr val="AEABAB"/>
              </a:solidFill>
            </c:spPr>
            <c:extLst>
              <c:ext xmlns:c16="http://schemas.microsoft.com/office/drawing/2014/chart" uri="{C3380CC4-5D6E-409C-BE32-E72D297353CC}">
                <c16:uniqueId val="{00000957-280A-4CC8-864C-E6F154A5A56B}"/>
              </c:ext>
            </c:extLst>
          </c:dPt>
          <c:dPt>
            <c:idx val="1195"/>
            <c:invertIfNegative val="1"/>
            <c:bubble3D val="0"/>
            <c:spPr>
              <a:solidFill>
                <a:srgbClr val="AEABAB"/>
              </a:solidFill>
            </c:spPr>
            <c:extLst>
              <c:ext xmlns:c16="http://schemas.microsoft.com/office/drawing/2014/chart" uri="{C3380CC4-5D6E-409C-BE32-E72D297353CC}">
                <c16:uniqueId val="{00000959-280A-4CC8-864C-E6F154A5A56B}"/>
              </c:ext>
            </c:extLst>
          </c:dPt>
          <c:dPt>
            <c:idx val="1196"/>
            <c:invertIfNegative val="1"/>
            <c:bubble3D val="0"/>
            <c:spPr>
              <a:solidFill>
                <a:srgbClr val="AEABAB"/>
              </a:solidFill>
            </c:spPr>
            <c:extLst>
              <c:ext xmlns:c16="http://schemas.microsoft.com/office/drawing/2014/chart" uri="{C3380CC4-5D6E-409C-BE32-E72D297353CC}">
                <c16:uniqueId val="{0000095B-280A-4CC8-864C-E6F154A5A56B}"/>
              </c:ext>
            </c:extLst>
          </c:dPt>
          <c:dPt>
            <c:idx val="1197"/>
            <c:invertIfNegative val="1"/>
            <c:bubble3D val="0"/>
            <c:spPr>
              <a:solidFill>
                <a:srgbClr val="AEABAB"/>
              </a:solidFill>
            </c:spPr>
            <c:extLst>
              <c:ext xmlns:c16="http://schemas.microsoft.com/office/drawing/2014/chart" uri="{C3380CC4-5D6E-409C-BE32-E72D297353CC}">
                <c16:uniqueId val="{0000095D-280A-4CC8-864C-E6F154A5A56B}"/>
              </c:ext>
            </c:extLst>
          </c:dPt>
          <c:dPt>
            <c:idx val="1198"/>
            <c:invertIfNegative val="1"/>
            <c:bubble3D val="0"/>
            <c:spPr>
              <a:solidFill>
                <a:srgbClr val="AEABAB"/>
              </a:solidFill>
            </c:spPr>
            <c:extLst>
              <c:ext xmlns:c16="http://schemas.microsoft.com/office/drawing/2014/chart" uri="{C3380CC4-5D6E-409C-BE32-E72D297353CC}">
                <c16:uniqueId val="{0000095F-280A-4CC8-864C-E6F154A5A56B}"/>
              </c:ext>
            </c:extLst>
          </c:dPt>
          <c:dPt>
            <c:idx val="1199"/>
            <c:invertIfNegative val="1"/>
            <c:bubble3D val="0"/>
            <c:spPr>
              <a:solidFill>
                <a:srgbClr val="AEABAB"/>
              </a:solidFill>
            </c:spPr>
            <c:extLst>
              <c:ext xmlns:c16="http://schemas.microsoft.com/office/drawing/2014/chart" uri="{C3380CC4-5D6E-409C-BE32-E72D297353CC}">
                <c16:uniqueId val="{00000961-280A-4CC8-864C-E6F154A5A56B}"/>
              </c:ext>
            </c:extLst>
          </c:dPt>
          <c:dPt>
            <c:idx val="1200"/>
            <c:invertIfNegative val="1"/>
            <c:bubble3D val="0"/>
            <c:spPr>
              <a:solidFill>
                <a:srgbClr val="AEABAB"/>
              </a:solidFill>
            </c:spPr>
            <c:extLst>
              <c:ext xmlns:c16="http://schemas.microsoft.com/office/drawing/2014/chart" uri="{C3380CC4-5D6E-409C-BE32-E72D297353CC}">
                <c16:uniqueId val="{00000963-280A-4CC8-864C-E6F154A5A56B}"/>
              </c:ext>
            </c:extLst>
          </c:dPt>
          <c:dPt>
            <c:idx val="1201"/>
            <c:invertIfNegative val="1"/>
            <c:bubble3D val="0"/>
            <c:spPr>
              <a:solidFill>
                <a:srgbClr val="AEABAB"/>
              </a:solidFill>
            </c:spPr>
            <c:extLst>
              <c:ext xmlns:c16="http://schemas.microsoft.com/office/drawing/2014/chart" uri="{C3380CC4-5D6E-409C-BE32-E72D297353CC}">
                <c16:uniqueId val="{00000965-280A-4CC8-864C-E6F154A5A56B}"/>
              </c:ext>
            </c:extLst>
          </c:dPt>
          <c:dPt>
            <c:idx val="1202"/>
            <c:invertIfNegative val="1"/>
            <c:bubble3D val="0"/>
            <c:spPr>
              <a:solidFill>
                <a:srgbClr val="AEABAB"/>
              </a:solidFill>
            </c:spPr>
            <c:extLst>
              <c:ext xmlns:c16="http://schemas.microsoft.com/office/drawing/2014/chart" uri="{C3380CC4-5D6E-409C-BE32-E72D297353CC}">
                <c16:uniqueId val="{00000967-280A-4CC8-864C-E6F154A5A56B}"/>
              </c:ext>
            </c:extLst>
          </c:dPt>
          <c:dPt>
            <c:idx val="1203"/>
            <c:invertIfNegative val="1"/>
            <c:bubble3D val="0"/>
            <c:spPr>
              <a:solidFill>
                <a:srgbClr val="AEABAB"/>
              </a:solidFill>
            </c:spPr>
            <c:extLst>
              <c:ext xmlns:c16="http://schemas.microsoft.com/office/drawing/2014/chart" uri="{C3380CC4-5D6E-409C-BE32-E72D297353CC}">
                <c16:uniqueId val="{00000969-280A-4CC8-864C-E6F154A5A56B}"/>
              </c:ext>
            </c:extLst>
          </c:dPt>
          <c:dPt>
            <c:idx val="1204"/>
            <c:invertIfNegative val="1"/>
            <c:bubble3D val="0"/>
            <c:spPr>
              <a:solidFill>
                <a:srgbClr val="AEABAB"/>
              </a:solidFill>
            </c:spPr>
            <c:extLst>
              <c:ext xmlns:c16="http://schemas.microsoft.com/office/drawing/2014/chart" uri="{C3380CC4-5D6E-409C-BE32-E72D297353CC}">
                <c16:uniqueId val="{0000096B-280A-4CC8-864C-E6F154A5A56B}"/>
              </c:ext>
            </c:extLst>
          </c:dPt>
          <c:dPt>
            <c:idx val="1205"/>
            <c:invertIfNegative val="1"/>
            <c:bubble3D val="0"/>
            <c:spPr>
              <a:solidFill>
                <a:srgbClr val="AEABAB"/>
              </a:solidFill>
            </c:spPr>
            <c:extLst>
              <c:ext xmlns:c16="http://schemas.microsoft.com/office/drawing/2014/chart" uri="{C3380CC4-5D6E-409C-BE32-E72D297353CC}">
                <c16:uniqueId val="{0000096D-280A-4CC8-864C-E6F154A5A56B}"/>
              </c:ext>
            </c:extLst>
          </c:dPt>
          <c:dPt>
            <c:idx val="1206"/>
            <c:invertIfNegative val="1"/>
            <c:bubble3D val="0"/>
            <c:spPr>
              <a:solidFill>
                <a:srgbClr val="AEABAB"/>
              </a:solidFill>
            </c:spPr>
            <c:extLst>
              <c:ext xmlns:c16="http://schemas.microsoft.com/office/drawing/2014/chart" uri="{C3380CC4-5D6E-409C-BE32-E72D297353CC}">
                <c16:uniqueId val="{0000096F-280A-4CC8-864C-E6F154A5A56B}"/>
              </c:ext>
            </c:extLst>
          </c:dPt>
          <c:dPt>
            <c:idx val="1207"/>
            <c:invertIfNegative val="1"/>
            <c:bubble3D val="0"/>
            <c:spPr>
              <a:solidFill>
                <a:srgbClr val="AEABAB"/>
              </a:solidFill>
            </c:spPr>
            <c:extLst>
              <c:ext xmlns:c16="http://schemas.microsoft.com/office/drawing/2014/chart" uri="{C3380CC4-5D6E-409C-BE32-E72D297353CC}">
                <c16:uniqueId val="{00000971-280A-4CC8-864C-E6F154A5A56B}"/>
              </c:ext>
            </c:extLst>
          </c:dPt>
          <c:dPt>
            <c:idx val="1208"/>
            <c:invertIfNegative val="1"/>
            <c:bubble3D val="0"/>
            <c:spPr>
              <a:solidFill>
                <a:srgbClr val="AEABAB"/>
              </a:solidFill>
            </c:spPr>
            <c:extLst>
              <c:ext xmlns:c16="http://schemas.microsoft.com/office/drawing/2014/chart" uri="{C3380CC4-5D6E-409C-BE32-E72D297353CC}">
                <c16:uniqueId val="{00000973-280A-4CC8-864C-E6F154A5A56B}"/>
              </c:ext>
            </c:extLst>
          </c:dPt>
          <c:dPt>
            <c:idx val="1209"/>
            <c:invertIfNegative val="1"/>
            <c:bubble3D val="0"/>
            <c:spPr>
              <a:solidFill>
                <a:srgbClr val="AEABAB"/>
              </a:solidFill>
            </c:spPr>
            <c:extLst>
              <c:ext xmlns:c16="http://schemas.microsoft.com/office/drawing/2014/chart" uri="{C3380CC4-5D6E-409C-BE32-E72D297353CC}">
                <c16:uniqueId val="{00000975-280A-4CC8-864C-E6F154A5A56B}"/>
              </c:ext>
            </c:extLst>
          </c:dPt>
          <c:dPt>
            <c:idx val="1210"/>
            <c:invertIfNegative val="1"/>
            <c:bubble3D val="0"/>
            <c:spPr>
              <a:solidFill>
                <a:srgbClr val="AEABAB"/>
              </a:solidFill>
            </c:spPr>
            <c:extLst>
              <c:ext xmlns:c16="http://schemas.microsoft.com/office/drawing/2014/chart" uri="{C3380CC4-5D6E-409C-BE32-E72D297353CC}">
                <c16:uniqueId val="{00000977-280A-4CC8-864C-E6F154A5A56B}"/>
              </c:ext>
            </c:extLst>
          </c:dPt>
          <c:dPt>
            <c:idx val="1211"/>
            <c:invertIfNegative val="1"/>
            <c:bubble3D val="0"/>
            <c:spPr>
              <a:solidFill>
                <a:srgbClr val="AEABAB"/>
              </a:solidFill>
            </c:spPr>
            <c:extLst>
              <c:ext xmlns:c16="http://schemas.microsoft.com/office/drawing/2014/chart" uri="{C3380CC4-5D6E-409C-BE32-E72D297353CC}">
                <c16:uniqueId val="{00000979-280A-4CC8-864C-E6F154A5A56B}"/>
              </c:ext>
            </c:extLst>
          </c:dPt>
          <c:dPt>
            <c:idx val="1212"/>
            <c:invertIfNegative val="1"/>
            <c:bubble3D val="0"/>
            <c:spPr>
              <a:solidFill>
                <a:srgbClr val="AEABAB"/>
              </a:solidFill>
            </c:spPr>
            <c:extLst>
              <c:ext xmlns:c16="http://schemas.microsoft.com/office/drawing/2014/chart" uri="{C3380CC4-5D6E-409C-BE32-E72D297353CC}">
                <c16:uniqueId val="{0000097B-280A-4CC8-864C-E6F154A5A56B}"/>
              </c:ext>
            </c:extLst>
          </c:dPt>
          <c:dPt>
            <c:idx val="1213"/>
            <c:invertIfNegative val="1"/>
            <c:bubble3D val="0"/>
            <c:spPr>
              <a:solidFill>
                <a:srgbClr val="AEABAB"/>
              </a:solidFill>
            </c:spPr>
            <c:extLst>
              <c:ext xmlns:c16="http://schemas.microsoft.com/office/drawing/2014/chart" uri="{C3380CC4-5D6E-409C-BE32-E72D297353CC}">
                <c16:uniqueId val="{0000097D-280A-4CC8-864C-E6F154A5A56B}"/>
              </c:ext>
            </c:extLst>
          </c:dPt>
          <c:dPt>
            <c:idx val="1214"/>
            <c:invertIfNegative val="1"/>
            <c:bubble3D val="0"/>
            <c:spPr>
              <a:solidFill>
                <a:srgbClr val="AEABAB"/>
              </a:solidFill>
            </c:spPr>
            <c:extLst>
              <c:ext xmlns:c16="http://schemas.microsoft.com/office/drawing/2014/chart" uri="{C3380CC4-5D6E-409C-BE32-E72D297353CC}">
                <c16:uniqueId val="{0000097F-280A-4CC8-864C-E6F154A5A56B}"/>
              </c:ext>
            </c:extLst>
          </c:dPt>
          <c:dPt>
            <c:idx val="1215"/>
            <c:invertIfNegative val="1"/>
            <c:bubble3D val="0"/>
            <c:spPr>
              <a:solidFill>
                <a:srgbClr val="AEABAB"/>
              </a:solidFill>
            </c:spPr>
            <c:extLst>
              <c:ext xmlns:c16="http://schemas.microsoft.com/office/drawing/2014/chart" uri="{C3380CC4-5D6E-409C-BE32-E72D297353CC}">
                <c16:uniqueId val="{00000981-280A-4CC8-864C-E6F154A5A56B}"/>
              </c:ext>
            </c:extLst>
          </c:dPt>
          <c:cat>
            <c:strRef>
              <c:f>Sheet1!$A$2:$A$1217</c:f>
              <c:strCache>
                <c:ptCount val="1216"/>
                <c:pt idx="0">
                  <c:v>Private Lab</c:v>
                </c:pt>
                <c:pt idx="1">
                  <c:v>Private Lab</c:v>
                </c:pt>
                <c:pt idx="2">
                  <c:v>Private Lab</c:v>
                </c:pt>
                <c:pt idx="3">
                  <c:v>Private Lab</c:v>
                </c:pt>
                <c:pt idx="4">
                  <c:v>Private Lab</c:v>
                </c:pt>
                <c:pt idx="5">
                  <c:v>Caprice Des</c:v>
                </c:pt>
                <c:pt idx="6">
                  <c:v>Private Lab</c:v>
                </c:pt>
                <c:pt idx="7">
                  <c:v>Private Lab</c:v>
                </c:pt>
                <c:pt idx="8">
                  <c:v>Private Lab</c:v>
                </c:pt>
                <c:pt idx="9">
                  <c:v>Private Lab</c:v>
                </c:pt>
                <c:pt idx="10">
                  <c:v>Private Lab</c:v>
                </c:pt>
                <c:pt idx="11">
                  <c:v>Private Lab</c:v>
                </c:pt>
                <c:pt idx="12">
                  <c:v>Private Lab</c:v>
                </c:pt>
                <c:pt idx="13">
                  <c:v>Mini Babybe</c:v>
                </c:pt>
                <c:pt idx="14">
                  <c:v>Coeur De Li</c:v>
                </c:pt>
                <c:pt idx="15">
                  <c:v>Private Lab</c:v>
                </c:pt>
                <c:pt idx="16">
                  <c:v>President</c:v>
                </c:pt>
                <c:pt idx="17">
                  <c:v>Chaussee Au</c:v>
                </c:pt>
                <c:pt idx="18">
                  <c:v>Entremont</c:v>
                </c:pt>
                <c:pt idx="19">
                  <c:v>Private Lab</c:v>
                </c:pt>
                <c:pt idx="20">
                  <c:v>Private Lab</c:v>
                </c:pt>
                <c:pt idx="21">
                  <c:v>Soignon</c:v>
                </c:pt>
                <c:pt idx="22">
                  <c:v>Private Lab</c:v>
                </c:pt>
                <c:pt idx="23">
                  <c:v>Private Lab</c:v>
                </c:pt>
                <c:pt idx="24">
                  <c:v>Galbani</c:v>
                </c:pt>
                <c:pt idx="25">
                  <c:v>Soignon</c:v>
                </c:pt>
                <c:pt idx="26">
                  <c:v>St Moret</c:v>
                </c:pt>
                <c:pt idx="27">
                  <c:v>Entremont</c:v>
                </c:pt>
                <c:pt idx="28">
                  <c:v>Galbani</c:v>
                </c:pt>
                <c:pt idx="29">
                  <c:v>Private Lab</c:v>
                </c:pt>
                <c:pt idx="30">
                  <c:v>Private Lab</c:v>
                </c:pt>
                <c:pt idx="31">
                  <c:v>Galbani</c:v>
                </c:pt>
                <c:pt idx="32">
                  <c:v>Private Lab</c:v>
                </c:pt>
                <c:pt idx="33">
                  <c:v>President</c:v>
                </c:pt>
                <c:pt idx="34">
                  <c:v>Salakis</c:v>
                </c:pt>
                <c:pt idx="35">
                  <c:v>Private Lab</c:v>
                </c:pt>
                <c:pt idx="36">
                  <c:v>President</c:v>
                </c:pt>
                <c:pt idx="37">
                  <c:v>Caprice Des</c:v>
                </c:pt>
                <c:pt idx="38">
                  <c:v>St Moret</c:v>
                </c:pt>
                <c:pt idx="39">
                  <c:v>Private Lab</c:v>
                </c:pt>
                <c:pt idx="40">
                  <c:v>Private Lab</c:v>
                </c:pt>
                <c:pt idx="41">
                  <c:v>President</c:v>
                </c:pt>
                <c:pt idx="42">
                  <c:v>Private Lab</c:v>
                </c:pt>
                <c:pt idx="43">
                  <c:v>Private Lab</c:v>
                </c:pt>
                <c:pt idx="44">
                  <c:v>La Vache Qu</c:v>
                </c:pt>
                <c:pt idx="45">
                  <c:v>Private Lab</c:v>
                </c:pt>
                <c:pt idx="46">
                  <c:v>President</c:v>
                </c:pt>
                <c:pt idx="47">
                  <c:v>Private Lab</c:v>
                </c:pt>
                <c:pt idx="48">
                  <c:v>Private Lab</c:v>
                </c:pt>
                <c:pt idx="49">
                  <c:v>Private Lab</c:v>
                </c:pt>
                <c:pt idx="50">
                  <c:v>Coeur De Li</c:v>
                </c:pt>
                <c:pt idx="51">
                  <c:v>President</c:v>
                </c:pt>
                <c:pt idx="52">
                  <c:v>Private Lab</c:v>
                </c:pt>
                <c:pt idx="53">
                  <c:v>Leerdammer</c:v>
                </c:pt>
                <c:pt idx="54">
                  <c:v>La Vache Qu</c:v>
                </c:pt>
                <c:pt idx="55">
                  <c:v>Leerdammer</c:v>
                </c:pt>
                <c:pt idx="56">
                  <c:v>Private Lab</c:v>
                </c:pt>
                <c:pt idx="57">
                  <c:v>St Moret</c:v>
                </c:pt>
                <c:pt idx="58">
                  <c:v>Le Rustique</c:v>
                </c:pt>
                <c:pt idx="59">
                  <c:v>Leerdammer</c:v>
                </c:pt>
                <c:pt idx="60">
                  <c:v>La Vache Qu</c:v>
                </c:pt>
                <c:pt idx="61">
                  <c:v>Private Lab</c:v>
                </c:pt>
                <c:pt idx="62">
                  <c:v>Private Lab</c:v>
                </c:pt>
                <c:pt idx="63">
                  <c:v>Entremont</c:v>
                </c:pt>
                <c:pt idx="64">
                  <c:v>Tartare</c:v>
                </c:pt>
                <c:pt idx="65">
                  <c:v>Societe</c:v>
                </c:pt>
                <c:pt idx="66">
                  <c:v>Private Lab</c:v>
                </c:pt>
                <c:pt idx="67">
                  <c:v>Entremont</c:v>
                </c:pt>
                <c:pt idx="68">
                  <c:v>Chaussee Au</c:v>
                </c:pt>
                <c:pt idx="69">
                  <c:v>Private Lab</c:v>
                </c:pt>
                <c:pt idx="70">
                  <c:v>Mini Babybe</c:v>
                </c:pt>
                <c:pt idx="71">
                  <c:v>Private Lab</c:v>
                </c:pt>
                <c:pt idx="72">
                  <c:v>Private Lab</c:v>
                </c:pt>
                <c:pt idx="73">
                  <c:v>President</c:v>
                </c:pt>
                <c:pt idx="74">
                  <c:v>Private Lab</c:v>
                </c:pt>
                <c:pt idx="75">
                  <c:v>Private Lab</c:v>
                </c:pt>
                <c:pt idx="76">
                  <c:v>President</c:v>
                </c:pt>
                <c:pt idx="77">
                  <c:v>Salakis</c:v>
                </c:pt>
                <c:pt idx="78">
                  <c:v>Private Lab</c:v>
                </c:pt>
                <c:pt idx="79">
                  <c:v>St Moret</c:v>
                </c:pt>
                <c:pt idx="80">
                  <c:v>Soignon</c:v>
                </c:pt>
                <c:pt idx="81">
                  <c:v>Galbani</c:v>
                </c:pt>
                <c:pt idx="82">
                  <c:v>Galbani</c:v>
                </c:pt>
                <c:pt idx="83">
                  <c:v>Islos</c:v>
                </c:pt>
                <c:pt idx="84">
                  <c:v>Private Lab</c:v>
                </c:pt>
                <c:pt idx="85">
                  <c:v>Private Lab</c:v>
                </c:pt>
                <c:pt idx="86">
                  <c:v>Juraflore</c:v>
                </c:pt>
                <c:pt idx="87">
                  <c:v>President</c:v>
                </c:pt>
                <c:pt idx="88">
                  <c:v>Kiri</c:v>
                </c:pt>
                <c:pt idx="89">
                  <c:v>Private Lab</c:v>
                </c:pt>
                <c:pt idx="90">
                  <c:v>Private Lab</c:v>
                </c:pt>
                <c:pt idx="91">
                  <c:v>Private Lab</c:v>
                </c:pt>
                <c:pt idx="92">
                  <c:v>Entremont</c:v>
                </c:pt>
                <c:pt idx="93">
                  <c:v>All Others</c:v>
                </c:pt>
                <c:pt idx="94">
                  <c:v>Entremont</c:v>
                </c:pt>
                <c:pt idx="95">
                  <c:v>Private Lab</c:v>
                </c:pt>
                <c:pt idx="96">
                  <c:v>President</c:v>
                </c:pt>
                <c:pt idx="97">
                  <c:v>Private Lab</c:v>
                </c:pt>
                <c:pt idx="98">
                  <c:v>Saint Agur</c:v>
                </c:pt>
                <c:pt idx="99">
                  <c:v>Private Lab</c:v>
                </c:pt>
                <c:pt idx="100">
                  <c:v>Private Lab</c:v>
                </c:pt>
                <c:pt idx="101">
                  <c:v>Private Lab</c:v>
                </c:pt>
                <c:pt idx="102">
                  <c:v>All Others</c:v>
                </c:pt>
                <c:pt idx="103">
                  <c:v>Private Lab</c:v>
                </c:pt>
                <c:pt idx="104">
                  <c:v>Paysan Bret</c:v>
                </c:pt>
                <c:pt idx="105">
                  <c:v>President</c:v>
                </c:pt>
                <c:pt idx="106">
                  <c:v>Apericube</c:v>
                </c:pt>
                <c:pt idx="107">
                  <c:v>Private Lab</c:v>
                </c:pt>
                <c:pt idx="108">
                  <c:v>Private Lab</c:v>
                </c:pt>
                <c:pt idx="109">
                  <c:v>Paysan Bret</c:v>
                </c:pt>
                <c:pt idx="110">
                  <c:v>Galbani</c:v>
                </c:pt>
                <c:pt idx="111">
                  <c:v>Kiri</c:v>
                </c:pt>
                <c:pt idx="112">
                  <c:v>Leerdammer</c:v>
                </c:pt>
                <c:pt idx="113">
                  <c:v>Private Lab</c:v>
                </c:pt>
                <c:pt idx="114">
                  <c:v>Private Lab</c:v>
                </c:pt>
                <c:pt idx="115">
                  <c:v>President</c:v>
                </c:pt>
                <c:pt idx="116">
                  <c:v>Saint Albra</c:v>
                </c:pt>
                <c:pt idx="117">
                  <c:v>Apericube</c:v>
                </c:pt>
                <c:pt idx="118">
                  <c:v>Private Lab</c:v>
                </c:pt>
                <c:pt idx="119">
                  <c:v>L'Ortolan</c:v>
                </c:pt>
                <c:pt idx="120">
                  <c:v>Entremont</c:v>
                </c:pt>
                <c:pt idx="121">
                  <c:v>Private Lab</c:v>
                </c:pt>
                <c:pt idx="122">
                  <c:v>Istara</c:v>
                </c:pt>
                <c:pt idx="123">
                  <c:v>Bresse Bleu</c:v>
                </c:pt>
                <c:pt idx="124">
                  <c:v>Ficello</c:v>
                </c:pt>
                <c:pt idx="125">
                  <c:v>Private Lab</c:v>
                </c:pt>
                <c:pt idx="126">
                  <c:v>Private Lab</c:v>
                </c:pt>
                <c:pt idx="127">
                  <c:v>Private Lab</c:v>
                </c:pt>
                <c:pt idx="128">
                  <c:v>Parmareggio</c:v>
                </c:pt>
                <c:pt idx="129">
                  <c:v>Kiri</c:v>
                </c:pt>
                <c:pt idx="130">
                  <c:v>Private Lab</c:v>
                </c:pt>
                <c:pt idx="131">
                  <c:v>Saint Agur</c:v>
                </c:pt>
                <c:pt idx="132">
                  <c:v>Casa Azzurr</c:v>
                </c:pt>
                <c:pt idx="133">
                  <c:v>Leerdammer</c:v>
                </c:pt>
                <c:pt idx="134">
                  <c:v>President</c:v>
                </c:pt>
                <c:pt idx="135">
                  <c:v>Private Lab</c:v>
                </c:pt>
                <c:pt idx="136">
                  <c:v>Saint Albra</c:v>
                </c:pt>
                <c:pt idx="137">
                  <c:v>Entremont</c:v>
                </c:pt>
                <c:pt idx="138">
                  <c:v>Carre Frais</c:v>
                </c:pt>
                <c:pt idx="139">
                  <c:v>Leerdammer</c:v>
                </c:pt>
                <c:pt idx="140">
                  <c:v>St Moret</c:v>
                </c:pt>
                <c:pt idx="141">
                  <c:v>Private Lab</c:v>
                </c:pt>
                <c:pt idx="142">
                  <c:v>Coeur De Li</c:v>
                </c:pt>
                <c:pt idx="143">
                  <c:v>Boursin</c:v>
                </c:pt>
                <c:pt idx="144">
                  <c:v>Private Lab</c:v>
                </c:pt>
                <c:pt idx="145">
                  <c:v>L'Ortolan</c:v>
                </c:pt>
                <c:pt idx="146">
                  <c:v>Les Mousque</c:v>
                </c:pt>
                <c:pt idx="147">
                  <c:v>President</c:v>
                </c:pt>
                <c:pt idx="148">
                  <c:v>Casa Azzurr</c:v>
                </c:pt>
                <c:pt idx="149">
                  <c:v>Apericube</c:v>
                </c:pt>
                <c:pt idx="150">
                  <c:v>President</c:v>
                </c:pt>
                <c:pt idx="151">
                  <c:v>All Others</c:v>
                </c:pt>
                <c:pt idx="152">
                  <c:v>Carre Frais</c:v>
                </c:pt>
                <c:pt idx="153">
                  <c:v>Boursin</c:v>
                </c:pt>
                <c:pt idx="154">
                  <c:v>Private Lab</c:v>
                </c:pt>
                <c:pt idx="155">
                  <c:v>Private Lab</c:v>
                </c:pt>
                <c:pt idx="156">
                  <c:v>Tartare</c:v>
                </c:pt>
                <c:pt idx="157">
                  <c:v>Coeur De Li</c:v>
                </c:pt>
                <c:pt idx="158">
                  <c:v>Kiri</c:v>
                </c:pt>
                <c:pt idx="159">
                  <c:v>Entremont</c:v>
                </c:pt>
                <c:pt idx="160">
                  <c:v>Lepetit</c:v>
                </c:pt>
                <c:pt idx="161">
                  <c:v>Private Lab</c:v>
                </c:pt>
                <c:pt idx="162">
                  <c:v>Private Lab</c:v>
                </c:pt>
                <c:pt idx="163">
                  <c:v>Apericube</c:v>
                </c:pt>
                <c:pt idx="164">
                  <c:v>Lou Perac</c:v>
                </c:pt>
                <c:pt idx="165">
                  <c:v>Entremont</c:v>
                </c:pt>
                <c:pt idx="166">
                  <c:v>Private Lab</c:v>
                </c:pt>
                <c:pt idx="167">
                  <c:v>Kiri</c:v>
                </c:pt>
                <c:pt idx="168">
                  <c:v>Salakis</c:v>
                </c:pt>
                <c:pt idx="169">
                  <c:v>Entremont</c:v>
                </c:pt>
                <c:pt idx="170">
                  <c:v>Salakis</c:v>
                </c:pt>
                <c:pt idx="171">
                  <c:v>Port Salut</c:v>
                </c:pt>
                <c:pt idx="172">
                  <c:v>Boursin</c:v>
                </c:pt>
                <c:pt idx="173">
                  <c:v>Private Lab</c:v>
                </c:pt>
                <c:pt idx="174">
                  <c:v>Casa Azzurr</c:v>
                </c:pt>
                <c:pt idx="175">
                  <c:v>Galbani</c:v>
                </c:pt>
                <c:pt idx="176">
                  <c:v>President</c:v>
                </c:pt>
                <c:pt idx="177">
                  <c:v>Private Lab</c:v>
                </c:pt>
                <c:pt idx="178">
                  <c:v>Entremont</c:v>
                </c:pt>
                <c:pt idx="179">
                  <c:v>Boursin</c:v>
                </c:pt>
                <c:pt idx="180">
                  <c:v>Coeur De Li</c:v>
                </c:pt>
                <c:pt idx="181">
                  <c:v>Private Lab</c:v>
                </c:pt>
                <c:pt idx="182">
                  <c:v>Private Lab</c:v>
                </c:pt>
                <c:pt idx="183">
                  <c:v>Private Lab</c:v>
                </c:pt>
                <c:pt idx="184">
                  <c:v>Private Lab</c:v>
                </c:pt>
                <c:pt idx="185">
                  <c:v>Private Lab</c:v>
                </c:pt>
                <c:pt idx="186">
                  <c:v>Soignon</c:v>
                </c:pt>
                <c:pt idx="187">
                  <c:v>Private Lab</c:v>
                </c:pt>
                <c:pt idx="188">
                  <c:v>Private Lab</c:v>
                </c:pt>
                <c:pt idx="189">
                  <c:v>Private Lab</c:v>
                </c:pt>
                <c:pt idx="190">
                  <c:v>Caprice Des</c:v>
                </c:pt>
                <c:pt idx="191">
                  <c:v>Private Lab</c:v>
                </c:pt>
                <c:pt idx="192">
                  <c:v>Pave D'Affi</c:v>
                </c:pt>
                <c:pt idx="193">
                  <c:v>St Moret</c:v>
                </c:pt>
                <c:pt idx="194">
                  <c:v>Private Lab</c:v>
                </c:pt>
                <c:pt idx="195">
                  <c:v>Soignon</c:v>
                </c:pt>
                <c:pt idx="196">
                  <c:v>Private Lab</c:v>
                </c:pt>
                <c:pt idx="197">
                  <c:v>President</c:v>
                </c:pt>
                <c:pt idx="198">
                  <c:v>President</c:v>
                </c:pt>
                <c:pt idx="199">
                  <c:v>Private Lab</c:v>
                </c:pt>
                <c:pt idx="200">
                  <c:v>Petit Billy</c:v>
                </c:pt>
                <c:pt idx="201">
                  <c:v>Private Lab</c:v>
                </c:pt>
                <c:pt idx="202">
                  <c:v>Casa Azzurr</c:v>
                </c:pt>
                <c:pt idx="203">
                  <c:v>Galbani</c:v>
                </c:pt>
                <c:pt idx="204">
                  <c:v>All Others</c:v>
                </c:pt>
                <c:pt idx="205">
                  <c:v>Istara</c:v>
                </c:pt>
                <c:pt idx="206">
                  <c:v>Philadelphi</c:v>
                </c:pt>
                <c:pt idx="207">
                  <c:v>Private Lab</c:v>
                </c:pt>
                <c:pt idx="208">
                  <c:v>Casa Azzurr</c:v>
                </c:pt>
                <c:pt idx="209">
                  <c:v>President</c:v>
                </c:pt>
                <c:pt idx="210">
                  <c:v>Private Lab</c:v>
                </c:pt>
                <c:pt idx="211">
                  <c:v>Le Rustique</c:v>
                </c:pt>
                <c:pt idx="212">
                  <c:v>President</c:v>
                </c:pt>
                <c:pt idx="213">
                  <c:v>Aperivrais</c:v>
                </c:pt>
                <c:pt idx="214">
                  <c:v>Private Lab</c:v>
                </c:pt>
                <c:pt idx="215">
                  <c:v>Private Lab</c:v>
                </c:pt>
                <c:pt idx="216">
                  <c:v>Apericube</c:v>
                </c:pt>
                <c:pt idx="217">
                  <c:v>St Moret</c:v>
                </c:pt>
                <c:pt idx="218">
                  <c:v>Galbani</c:v>
                </c:pt>
                <c:pt idx="219">
                  <c:v>Apericube</c:v>
                </c:pt>
                <c:pt idx="220">
                  <c:v>Ficello</c:v>
                </c:pt>
                <c:pt idx="221">
                  <c:v>Casa Azzurr</c:v>
                </c:pt>
                <c:pt idx="222">
                  <c:v>Private Lab</c:v>
                </c:pt>
                <c:pt idx="223">
                  <c:v>All Others</c:v>
                </c:pt>
                <c:pt idx="224">
                  <c:v>Private Lab</c:v>
                </c:pt>
                <c:pt idx="225">
                  <c:v>Private Lab</c:v>
                </c:pt>
                <c:pt idx="226">
                  <c:v>Private Lab</c:v>
                </c:pt>
                <c:pt idx="227">
                  <c:v>Boursin</c:v>
                </c:pt>
                <c:pt idx="228">
                  <c:v>President</c:v>
                </c:pt>
                <c:pt idx="229">
                  <c:v>Leerdammer</c:v>
                </c:pt>
                <c:pt idx="230">
                  <c:v>Private Lab</c:v>
                </c:pt>
                <c:pt idx="231">
                  <c:v>President</c:v>
                </c:pt>
                <c:pt idx="232">
                  <c:v>Saint Agur</c:v>
                </c:pt>
                <c:pt idx="233">
                  <c:v>Babybel</c:v>
                </c:pt>
                <c:pt idx="234">
                  <c:v>Private Lab</c:v>
                </c:pt>
                <c:pt idx="235">
                  <c:v>Societe</c:v>
                </c:pt>
                <c:pt idx="236">
                  <c:v>Private Lab</c:v>
                </c:pt>
                <c:pt idx="237">
                  <c:v>Private Lab</c:v>
                </c:pt>
                <c:pt idx="238">
                  <c:v>Apericube</c:v>
                </c:pt>
                <c:pt idx="239">
                  <c:v>Private Lab</c:v>
                </c:pt>
                <c:pt idx="240">
                  <c:v>Saint Agur</c:v>
                </c:pt>
                <c:pt idx="241">
                  <c:v>Private Lab</c:v>
                </c:pt>
                <c:pt idx="242">
                  <c:v>Coeur De Li</c:v>
                </c:pt>
                <c:pt idx="243">
                  <c:v>Galbani</c:v>
                </c:pt>
                <c:pt idx="244">
                  <c:v>Private Lab</c:v>
                </c:pt>
                <c:pt idx="245">
                  <c:v>Richesmonts</c:v>
                </c:pt>
                <c:pt idx="246">
                  <c:v>Private Lab</c:v>
                </c:pt>
                <c:pt idx="247">
                  <c:v>Private Lab</c:v>
                </c:pt>
                <c:pt idx="248">
                  <c:v>Les Mousque</c:v>
                </c:pt>
                <c:pt idx="249">
                  <c:v>Private Lab</c:v>
                </c:pt>
                <c:pt idx="250">
                  <c:v>Soignon</c:v>
                </c:pt>
                <c:pt idx="251">
                  <c:v>Private Lab</c:v>
                </c:pt>
                <c:pt idx="252">
                  <c:v>Private Lab</c:v>
                </c:pt>
                <c:pt idx="253">
                  <c:v>Chavroux</c:v>
                </c:pt>
                <c:pt idx="254">
                  <c:v>Entremont</c:v>
                </c:pt>
                <c:pt idx="255">
                  <c:v>Etorki</c:v>
                </c:pt>
                <c:pt idx="256">
                  <c:v>Salakis</c:v>
                </c:pt>
                <c:pt idx="257">
                  <c:v>Apericube</c:v>
                </c:pt>
                <c:pt idx="258">
                  <c:v>Vieux Pane</c:v>
                </c:pt>
                <c:pt idx="259">
                  <c:v>President</c:v>
                </c:pt>
                <c:pt idx="260">
                  <c:v>Caprice Des</c:v>
                </c:pt>
                <c:pt idx="261">
                  <c:v>Private Lab</c:v>
                </c:pt>
                <c:pt idx="262">
                  <c:v>Soignon</c:v>
                </c:pt>
                <c:pt idx="263">
                  <c:v>Boursin</c:v>
                </c:pt>
                <c:pt idx="264">
                  <c:v>Savencia: A</c:v>
                </c:pt>
                <c:pt idx="265">
                  <c:v>Entremont</c:v>
                </c:pt>
                <c:pt idx="266">
                  <c:v>Leerdammer</c:v>
                </c:pt>
                <c:pt idx="267">
                  <c:v>Leerdammer</c:v>
                </c:pt>
                <c:pt idx="268">
                  <c:v>Private Lab</c:v>
                </c:pt>
                <c:pt idx="269">
                  <c:v>P'Tit Louis</c:v>
                </c:pt>
                <c:pt idx="270">
                  <c:v>Pave D'Affi</c:v>
                </c:pt>
                <c:pt idx="271">
                  <c:v>Saint Agur</c:v>
                </c:pt>
                <c:pt idx="272">
                  <c:v>Apericube</c:v>
                </c:pt>
                <c:pt idx="273">
                  <c:v>Private Lab</c:v>
                </c:pt>
                <c:pt idx="274">
                  <c:v>Private Lab</c:v>
                </c:pt>
                <c:pt idx="275">
                  <c:v>All Others</c:v>
                </c:pt>
                <c:pt idx="276">
                  <c:v>Le Rustique</c:v>
                </c:pt>
                <c:pt idx="277">
                  <c:v>Fol Epi</c:v>
                </c:pt>
                <c:pt idx="278">
                  <c:v>Lactalis: A</c:v>
                </c:pt>
                <c:pt idx="279">
                  <c:v>Private Lab</c:v>
                </c:pt>
                <c:pt idx="280">
                  <c:v>La Vache Qu</c:v>
                </c:pt>
                <c:pt idx="281">
                  <c:v>Galbani</c:v>
                </c:pt>
                <c:pt idx="282">
                  <c:v>Private Lab</c:v>
                </c:pt>
                <c:pt idx="283">
                  <c:v>Private Lab</c:v>
                </c:pt>
                <c:pt idx="284">
                  <c:v>Parmareggio</c:v>
                </c:pt>
                <c:pt idx="285">
                  <c:v>La Vache Qu</c:v>
                </c:pt>
                <c:pt idx="286">
                  <c:v>Societe</c:v>
                </c:pt>
                <c:pt idx="287">
                  <c:v>Casa Azzurr</c:v>
                </c:pt>
                <c:pt idx="288">
                  <c:v>Apericube</c:v>
                </c:pt>
                <c:pt idx="289">
                  <c:v>Philadelphi</c:v>
                </c:pt>
                <c:pt idx="290">
                  <c:v>Private Lab</c:v>
                </c:pt>
                <c:pt idx="291">
                  <c:v>Pochat</c:v>
                </c:pt>
                <c:pt idx="292">
                  <c:v>Private Lab</c:v>
                </c:pt>
                <c:pt idx="293">
                  <c:v>Casa Azzurr</c:v>
                </c:pt>
                <c:pt idx="294">
                  <c:v>Private Lab</c:v>
                </c:pt>
                <c:pt idx="295">
                  <c:v>Soignon</c:v>
                </c:pt>
                <c:pt idx="296">
                  <c:v>Casa Azzurr</c:v>
                </c:pt>
                <c:pt idx="297">
                  <c:v>Private Lab</c:v>
                </c:pt>
                <c:pt idx="298">
                  <c:v>Private Lab</c:v>
                </c:pt>
                <c:pt idx="299">
                  <c:v>Paysan Bret</c:v>
                </c:pt>
                <c:pt idx="300">
                  <c:v>Aperivrais</c:v>
                </c:pt>
                <c:pt idx="301">
                  <c:v>Le Brebiou</c:v>
                </c:pt>
                <c:pt idx="302">
                  <c:v>Private Lab</c:v>
                </c:pt>
                <c:pt idx="303">
                  <c:v>Societe</c:v>
                </c:pt>
                <c:pt idx="304">
                  <c:v>Tartare</c:v>
                </c:pt>
                <c:pt idx="305">
                  <c:v>Private Lab</c:v>
                </c:pt>
                <c:pt idx="306">
                  <c:v>Soignon</c:v>
                </c:pt>
                <c:pt idx="307">
                  <c:v>Bresse Bleu</c:v>
                </c:pt>
                <c:pt idx="308">
                  <c:v>President</c:v>
                </c:pt>
                <c:pt idx="309">
                  <c:v>St Moret</c:v>
                </c:pt>
                <c:pt idx="310">
                  <c:v>Ficello</c:v>
                </c:pt>
                <c:pt idx="311">
                  <c:v>Private Lab</c:v>
                </c:pt>
                <c:pt idx="312">
                  <c:v>Private Lab</c:v>
                </c:pt>
                <c:pt idx="313">
                  <c:v>Boursin</c:v>
                </c:pt>
                <c:pt idx="314">
                  <c:v>Private Lab</c:v>
                </c:pt>
                <c:pt idx="315">
                  <c:v>Private Lab</c:v>
                </c:pt>
                <c:pt idx="316">
                  <c:v>Lactalis: A</c:v>
                </c:pt>
                <c:pt idx="317">
                  <c:v>All Others</c:v>
                </c:pt>
                <c:pt idx="318">
                  <c:v>Carre Frais</c:v>
                </c:pt>
                <c:pt idx="319">
                  <c:v>Private Lab</c:v>
                </c:pt>
                <c:pt idx="320">
                  <c:v>Private Lab</c:v>
                </c:pt>
                <c:pt idx="321">
                  <c:v>Salakis</c:v>
                </c:pt>
                <c:pt idx="322">
                  <c:v>Pave D'Affi</c:v>
                </c:pt>
                <c:pt idx="323">
                  <c:v>Private Lab</c:v>
                </c:pt>
                <c:pt idx="324">
                  <c:v>President</c:v>
                </c:pt>
                <c:pt idx="325">
                  <c:v>Private Lab</c:v>
                </c:pt>
                <c:pt idx="326">
                  <c:v>Pochat</c:v>
                </c:pt>
                <c:pt idx="327">
                  <c:v>Private Lab</c:v>
                </c:pt>
                <c:pt idx="328">
                  <c:v>All Others</c:v>
                </c:pt>
                <c:pt idx="329">
                  <c:v>Aperivrais</c:v>
                </c:pt>
                <c:pt idx="330">
                  <c:v>Private Lab</c:v>
                </c:pt>
                <c:pt idx="331">
                  <c:v>All Others</c:v>
                </c:pt>
                <c:pt idx="332">
                  <c:v>Paysan Bret</c:v>
                </c:pt>
                <c:pt idx="333">
                  <c:v>Savencia: A</c:v>
                </c:pt>
                <c:pt idx="334">
                  <c:v>Paysan Bret</c:v>
                </c:pt>
                <c:pt idx="335">
                  <c:v>Paysan Bret</c:v>
                </c:pt>
                <c:pt idx="336">
                  <c:v>Galbani</c:v>
                </c:pt>
                <c:pt idx="337">
                  <c:v>Private Lab</c:v>
                </c:pt>
                <c:pt idx="338">
                  <c:v>President</c:v>
                </c:pt>
                <c:pt idx="339">
                  <c:v>Caprice Des</c:v>
                </c:pt>
                <c:pt idx="340">
                  <c:v>Soignon</c:v>
                </c:pt>
                <c:pt idx="341">
                  <c:v>Private Lab</c:v>
                </c:pt>
                <c:pt idx="342">
                  <c:v>Le Rustique</c:v>
                </c:pt>
                <c:pt idx="343">
                  <c:v>Galbani</c:v>
                </c:pt>
                <c:pt idx="344">
                  <c:v>Private Lab</c:v>
                </c:pt>
                <c:pt idx="345">
                  <c:v>Soignon</c:v>
                </c:pt>
                <c:pt idx="346">
                  <c:v>Private Lab</c:v>
                </c:pt>
                <c:pt idx="347">
                  <c:v>Private Lab</c:v>
                </c:pt>
                <c:pt idx="348">
                  <c:v>Private Lab</c:v>
                </c:pt>
                <c:pt idx="349">
                  <c:v>Galbani</c:v>
                </c:pt>
                <c:pt idx="350">
                  <c:v>Galbani</c:v>
                </c:pt>
                <c:pt idx="351">
                  <c:v>President</c:v>
                </c:pt>
                <c:pt idx="352">
                  <c:v>President</c:v>
                </c:pt>
                <c:pt idx="353">
                  <c:v>Private Lab</c:v>
                </c:pt>
                <c:pt idx="354">
                  <c:v>All Others</c:v>
                </c:pt>
                <c:pt idx="355">
                  <c:v>Les Mousque</c:v>
                </c:pt>
                <c:pt idx="356">
                  <c:v>Boursin</c:v>
                </c:pt>
                <c:pt idx="357">
                  <c:v>Kiri</c:v>
                </c:pt>
                <c:pt idx="358">
                  <c:v>Les Mousque</c:v>
                </c:pt>
                <c:pt idx="359">
                  <c:v>Savencia: A</c:v>
                </c:pt>
                <c:pt idx="360">
                  <c:v>All Others</c:v>
                </c:pt>
                <c:pt idx="361">
                  <c:v>Chavroux</c:v>
                </c:pt>
                <c:pt idx="362">
                  <c:v>Boursin</c:v>
                </c:pt>
                <c:pt idx="363">
                  <c:v>Mini Babybe</c:v>
                </c:pt>
                <c:pt idx="364">
                  <c:v>Private Lab</c:v>
                </c:pt>
                <c:pt idx="365">
                  <c:v>Galbani</c:v>
                </c:pt>
                <c:pt idx="366">
                  <c:v>L'Ortolan</c:v>
                </c:pt>
                <c:pt idx="367">
                  <c:v>La Vache Qu</c:v>
                </c:pt>
                <c:pt idx="368">
                  <c:v>Private Lab</c:v>
                </c:pt>
                <c:pt idx="369">
                  <c:v>Milleret: A</c:v>
                </c:pt>
                <c:pt idx="370">
                  <c:v>Private Lab</c:v>
                </c:pt>
                <c:pt idx="371">
                  <c:v>President</c:v>
                </c:pt>
                <c:pt idx="372">
                  <c:v>St Moret</c:v>
                </c:pt>
                <c:pt idx="373">
                  <c:v>Private Lab</c:v>
                </c:pt>
                <c:pt idx="374">
                  <c:v>All Others</c:v>
                </c:pt>
                <c:pt idx="375">
                  <c:v>Soignon</c:v>
                </c:pt>
                <c:pt idx="376">
                  <c:v>Societe</c:v>
                </c:pt>
                <c:pt idx="377">
                  <c:v>Private Lab</c:v>
                </c:pt>
                <c:pt idx="378">
                  <c:v>Lactalis: A</c:v>
                </c:pt>
                <c:pt idx="379">
                  <c:v>Lou Perac</c:v>
                </c:pt>
                <c:pt idx="380">
                  <c:v>St Moret</c:v>
                </c:pt>
                <c:pt idx="381">
                  <c:v>Private Lab</c:v>
                </c:pt>
                <c:pt idx="382">
                  <c:v>Tartare</c:v>
                </c:pt>
                <c:pt idx="383">
                  <c:v>Paysan Bret</c:v>
                </c:pt>
                <c:pt idx="384">
                  <c:v>Boursin</c:v>
                </c:pt>
                <c:pt idx="385">
                  <c:v>Pave D'Affi</c:v>
                </c:pt>
                <c:pt idx="386">
                  <c:v>St Moret</c:v>
                </c:pt>
                <c:pt idx="387">
                  <c:v>Fauquet</c:v>
                </c:pt>
                <c:pt idx="388">
                  <c:v>Entremont</c:v>
                </c:pt>
                <c:pt idx="389">
                  <c:v>Galbani</c:v>
                </c:pt>
                <c:pt idx="390">
                  <c:v>Le Rustique</c:v>
                </c:pt>
                <c:pt idx="391">
                  <c:v>All Others</c:v>
                </c:pt>
                <c:pt idx="392">
                  <c:v>Eurial Autr</c:v>
                </c:pt>
                <c:pt idx="393">
                  <c:v>Private Lab</c:v>
                </c:pt>
                <c:pt idx="394">
                  <c:v>All Others</c:v>
                </c:pt>
                <c:pt idx="395">
                  <c:v>Casa Azzurr</c:v>
                </c:pt>
                <c:pt idx="396">
                  <c:v>Private Lab</c:v>
                </c:pt>
                <c:pt idx="397">
                  <c:v>Private Lab</c:v>
                </c:pt>
                <c:pt idx="398">
                  <c:v>Casa Azzurr</c:v>
                </c:pt>
                <c:pt idx="399">
                  <c:v>Leerdammer</c:v>
                </c:pt>
                <c:pt idx="400">
                  <c:v>Private Lab</c:v>
                </c:pt>
                <c:pt idx="401">
                  <c:v>All Others</c:v>
                </c:pt>
                <c:pt idx="402">
                  <c:v>All Others</c:v>
                </c:pt>
                <c:pt idx="403">
                  <c:v>Private Lab</c:v>
                </c:pt>
                <c:pt idx="404">
                  <c:v>Societe</c:v>
                </c:pt>
                <c:pt idx="405">
                  <c:v>Galbani</c:v>
                </c:pt>
                <c:pt idx="406">
                  <c:v>Kiri</c:v>
                </c:pt>
                <c:pt idx="407">
                  <c:v>Soignon</c:v>
                </c:pt>
                <c:pt idx="408">
                  <c:v>Tartare</c:v>
                </c:pt>
                <c:pt idx="409">
                  <c:v>Galbani</c:v>
                </c:pt>
                <c:pt idx="410">
                  <c:v>Private Lab</c:v>
                </c:pt>
                <c:pt idx="411">
                  <c:v>Boursin</c:v>
                </c:pt>
                <c:pt idx="412">
                  <c:v>All Others</c:v>
                </c:pt>
                <c:pt idx="413">
                  <c:v>Private Lab</c:v>
                </c:pt>
                <c:pt idx="414">
                  <c:v>Boursin</c:v>
                </c:pt>
                <c:pt idx="415">
                  <c:v>Aperivrais</c:v>
                </c:pt>
                <c:pt idx="416">
                  <c:v>All Others</c:v>
                </c:pt>
                <c:pt idx="417">
                  <c:v>Eurial Autr</c:v>
                </c:pt>
                <c:pt idx="418">
                  <c:v>Vieux Pane</c:v>
                </c:pt>
                <c:pt idx="419">
                  <c:v>Fol Epi</c:v>
                </c:pt>
                <c:pt idx="420">
                  <c:v>Private Lab</c:v>
                </c:pt>
                <c:pt idx="421">
                  <c:v>Aperivrais</c:v>
                </c:pt>
                <c:pt idx="422">
                  <c:v>Etorki</c:v>
                </c:pt>
                <c:pt idx="423">
                  <c:v>Boursin</c:v>
                </c:pt>
                <c:pt idx="424">
                  <c:v>Savencia: A</c:v>
                </c:pt>
                <c:pt idx="425">
                  <c:v>Boursin</c:v>
                </c:pt>
                <c:pt idx="426">
                  <c:v>Boursin</c:v>
                </c:pt>
                <c:pt idx="427">
                  <c:v>Casa Azzurr</c:v>
                </c:pt>
                <c:pt idx="428">
                  <c:v>Private Lab</c:v>
                </c:pt>
                <c:pt idx="429">
                  <c:v>Private Lab</c:v>
                </c:pt>
                <c:pt idx="430">
                  <c:v>All Others</c:v>
                </c:pt>
                <c:pt idx="431">
                  <c:v>All Others</c:v>
                </c:pt>
                <c:pt idx="432">
                  <c:v>Salakis</c:v>
                </c:pt>
                <c:pt idx="433">
                  <c:v>Mini Babybe</c:v>
                </c:pt>
                <c:pt idx="434">
                  <c:v>Private Lab</c:v>
                </c:pt>
                <c:pt idx="435">
                  <c:v>Vieux Pane</c:v>
                </c:pt>
                <c:pt idx="436">
                  <c:v>St Moret</c:v>
                </c:pt>
                <c:pt idx="437">
                  <c:v>Private Lab</c:v>
                </c:pt>
                <c:pt idx="438">
                  <c:v>Societe</c:v>
                </c:pt>
                <c:pt idx="439">
                  <c:v>Private Lab</c:v>
                </c:pt>
                <c:pt idx="440">
                  <c:v>Islos</c:v>
                </c:pt>
                <c:pt idx="441">
                  <c:v>Savencia: A</c:v>
                </c:pt>
                <c:pt idx="442">
                  <c:v>Private Lab</c:v>
                </c:pt>
                <c:pt idx="443">
                  <c:v>All Others</c:v>
                </c:pt>
                <c:pt idx="444">
                  <c:v>Caprice Des</c:v>
                </c:pt>
                <c:pt idx="445">
                  <c:v>Apericube</c:v>
                </c:pt>
                <c:pt idx="446">
                  <c:v>Lou Perac</c:v>
                </c:pt>
                <c:pt idx="447">
                  <c:v>La Belle Et</c:v>
                </c:pt>
                <c:pt idx="448">
                  <c:v>Leerdammer</c:v>
                </c:pt>
                <c:pt idx="449">
                  <c:v>All Others</c:v>
                </c:pt>
                <c:pt idx="450">
                  <c:v>Casa Azzurr</c:v>
                </c:pt>
                <c:pt idx="451">
                  <c:v>Casa Azzurr</c:v>
                </c:pt>
                <c:pt idx="452">
                  <c:v>Islos</c:v>
                </c:pt>
                <c:pt idx="453">
                  <c:v>Pave D'Affi</c:v>
                </c:pt>
                <c:pt idx="454">
                  <c:v>Private Lab</c:v>
                </c:pt>
                <c:pt idx="455">
                  <c:v>Galbani</c:v>
                </c:pt>
                <c:pt idx="456">
                  <c:v>Private Lab</c:v>
                </c:pt>
                <c:pt idx="457">
                  <c:v>Caprice Des</c:v>
                </c:pt>
                <c:pt idx="458">
                  <c:v>Boursin</c:v>
                </c:pt>
                <c:pt idx="459">
                  <c:v>Lactalis: A</c:v>
                </c:pt>
                <c:pt idx="460">
                  <c:v>Saint Agur</c:v>
                </c:pt>
                <c:pt idx="461">
                  <c:v>Coeur De Li</c:v>
                </c:pt>
                <c:pt idx="462">
                  <c:v>Juraflore</c:v>
                </c:pt>
                <c:pt idx="463">
                  <c:v>President</c:v>
                </c:pt>
                <c:pt idx="464">
                  <c:v>Private Lab</c:v>
                </c:pt>
                <c:pt idx="465">
                  <c:v>President</c:v>
                </c:pt>
                <c:pt idx="466">
                  <c:v>Etoile Du V</c:v>
                </c:pt>
                <c:pt idx="467">
                  <c:v>Lou Perac</c:v>
                </c:pt>
                <c:pt idx="468">
                  <c:v>Les Mousque</c:v>
                </c:pt>
                <c:pt idx="469">
                  <c:v>Kiri</c:v>
                </c:pt>
                <c:pt idx="470">
                  <c:v>Private Lab</c:v>
                </c:pt>
                <c:pt idx="471">
                  <c:v>La Vache Qu</c:v>
                </c:pt>
                <c:pt idx="472">
                  <c:v>Private Lab</c:v>
                </c:pt>
                <c:pt idx="473">
                  <c:v>Paysan Bret</c:v>
                </c:pt>
                <c:pt idx="474">
                  <c:v>Paysan Bret</c:v>
                </c:pt>
                <c:pt idx="475">
                  <c:v>Private Lab</c:v>
                </c:pt>
                <c:pt idx="476">
                  <c:v>Bresse Bleu</c:v>
                </c:pt>
                <c:pt idx="477">
                  <c:v>Le Coq Crem</c:v>
                </c:pt>
                <c:pt idx="478">
                  <c:v>Private Lab</c:v>
                </c:pt>
                <c:pt idx="479">
                  <c:v>L'Ortolan</c:v>
                </c:pt>
                <c:pt idx="480">
                  <c:v>Tartare</c:v>
                </c:pt>
                <c:pt idx="481">
                  <c:v>All Others</c:v>
                </c:pt>
                <c:pt idx="482">
                  <c:v>Istara</c:v>
                </c:pt>
                <c:pt idx="483">
                  <c:v>All Others</c:v>
                </c:pt>
                <c:pt idx="484">
                  <c:v>Lactalis: A</c:v>
                </c:pt>
                <c:pt idx="485">
                  <c:v>Fol Epi</c:v>
                </c:pt>
                <c:pt idx="486">
                  <c:v>Private Lab</c:v>
                </c:pt>
                <c:pt idx="487">
                  <c:v>Private Lab</c:v>
                </c:pt>
                <c:pt idx="488">
                  <c:v>Pochat</c:v>
                </c:pt>
                <c:pt idx="489">
                  <c:v>All Others</c:v>
                </c:pt>
                <c:pt idx="490">
                  <c:v>Tartare</c:v>
                </c:pt>
                <c:pt idx="491">
                  <c:v>Juraflore</c:v>
                </c:pt>
                <c:pt idx="492">
                  <c:v>Salakis</c:v>
                </c:pt>
                <c:pt idx="493">
                  <c:v>All Others</c:v>
                </c:pt>
                <c:pt idx="494">
                  <c:v>Casa Azzurr</c:v>
                </c:pt>
                <c:pt idx="495">
                  <c:v>Tartare</c:v>
                </c:pt>
                <c:pt idx="496">
                  <c:v>Private Lab</c:v>
                </c:pt>
                <c:pt idx="497">
                  <c:v>Paysan Bret</c:v>
                </c:pt>
                <c:pt idx="498">
                  <c:v>Private Lab</c:v>
                </c:pt>
                <c:pt idx="499">
                  <c:v>All Others</c:v>
                </c:pt>
                <c:pt idx="500">
                  <c:v>L'Ortolan</c:v>
                </c:pt>
                <c:pt idx="501">
                  <c:v>La Belle Et</c:v>
                </c:pt>
                <c:pt idx="502">
                  <c:v>Private Lab</c:v>
                </c:pt>
                <c:pt idx="503">
                  <c:v>Private Lab</c:v>
                </c:pt>
                <c:pt idx="504">
                  <c:v>President</c:v>
                </c:pt>
                <c:pt idx="505">
                  <c:v>Entremont</c:v>
                </c:pt>
                <c:pt idx="506">
                  <c:v>St Moret</c:v>
                </c:pt>
                <c:pt idx="507">
                  <c:v>All Others</c:v>
                </c:pt>
                <c:pt idx="508">
                  <c:v>All Others</c:v>
                </c:pt>
                <c:pt idx="509">
                  <c:v>Soignon</c:v>
                </c:pt>
                <c:pt idx="510">
                  <c:v>All Others</c:v>
                </c:pt>
                <c:pt idx="511">
                  <c:v>All Others</c:v>
                </c:pt>
                <c:pt idx="512">
                  <c:v>Savencia: A</c:v>
                </c:pt>
                <c:pt idx="513">
                  <c:v>All Others</c:v>
                </c:pt>
                <c:pt idx="514">
                  <c:v>Private Lab</c:v>
                </c:pt>
                <c:pt idx="515">
                  <c:v>All Others</c:v>
                </c:pt>
                <c:pt idx="516">
                  <c:v>All Others</c:v>
                </c:pt>
                <c:pt idx="517">
                  <c:v>All Others</c:v>
                </c:pt>
                <c:pt idx="518">
                  <c:v>Paysan Bret</c:v>
                </c:pt>
                <c:pt idx="519">
                  <c:v>Galbani</c:v>
                </c:pt>
                <c:pt idx="520">
                  <c:v>Private Lab</c:v>
                </c:pt>
                <c:pt idx="521">
                  <c:v>Corsica</c:v>
                </c:pt>
                <c:pt idx="522">
                  <c:v>Le Saint Am</c:v>
                </c:pt>
                <c:pt idx="523">
                  <c:v>All Others</c:v>
                </c:pt>
                <c:pt idx="524">
                  <c:v>Les Mousque</c:v>
                </c:pt>
                <c:pt idx="525">
                  <c:v>All Others</c:v>
                </c:pt>
                <c:pt idx="526">
                  <c:v>Soignon</c:v>
                </c:pt>
                <c:pt idx="527">
                  <c:v>Savencia: A</c:v>
                </c:pt>
                <c:pt idx="528">
                  <c:v>Mini Babybe</c:v>
                </c:pt>
                <c:pt idx="529">
                  <c:v>Boursin</c:v>
                </c:pt>
                <c:pt idx="530">
                  <c:v>Lactalis: A</c:v>
                </c:pt>
                <c:pt idx="531">
                  <c:v>President</c:v>
                </c:pt>
                <c:pt idx="532">
                  <c:v>All Others</c:v>
                </c:pt>
                <c:pt idx="533">
                  <c:v>Paysan Bret</c:v>
                </c:pt>
                <c:pt idx="534">
                  <c:v>Savencia: A</c:v>
                </c:pt>
                <c:pt idx="535">
                  <c:v>All Others</c:v>
                </c:pt>
                <c:pt idx="536">
                  <c:v>All Others</c:v>
                </c:pt>
                <c:pt idx="537">
                  <c:v>Cousteron</c:v>
                </c:pt>
                <c:pt idx="538">
                  <c:v>President</c:v>
                </c:pt>
                <c:pt idx="539">
                  <c:v>Kiri</c:v>
                </c:pt>
                <c:pt idx="540">
                  <c:v>All Others</c:v>
                </c:pt>
                <c:pt idx="541">
                  <c:v>Galbani</c:v>
                </c:pt>
                <c:pt idx="542">
                  <c:v>Bresse Bleu</c:v>
                </c:pt>
                <c:pt idx="543">
                  <c:v>Pochat</c:v>
                </c:pt>
                <c:pt idx="544">
                  <c:v>Eurial Autr</c:v>
                </c:pt>
                <c:pt idx="545">
                  <c:v>P'Tit Louis</c:v>
                </c:pt>
                <c:pt idx="546">
                  <c:v>All Others</c:v>
                </c:pt>
                <c:pt idx="547">
                  <c:v>Soignon</c:v>
                </c:pt>
                <c:pt idx="548">
                  <c:v>Raguin</c:v>
                </c:pt>
                <c:pt idx="549">
                  <c:v>All Others</c:v>
                </c:pt>
                <c:pt idx="550">
                  <c:v>Private Lab</c:v>
                </c:pt>
                <c:pt idx="551">
                  <c:v>Milleret: A</c:v>
                </c:pt>
                <c:pt idx="552">
                  <c:v>All Others</c:v>
                </c:pt>
                <c:pt idx="553">
                  <c:v>All Others</c:v>
                </c:pt>
                <c:pt idx="554">
                  <c:v>Entremont</c:v>
                </c:pt>
                <c:pt idx="555">
                  <c:v>All Others</c:v>
                </c:pt>
                <c:pt idx="556">
                  <c:v>Apericube</c:v>
                </c:pt>
                <c:pt idx="557">
                  <c:v>Etoile Du Q</c:v>
                </c:pt>
                <c:pt idx="558">
                  <c:v>All Others</c:v>
                </c:pt>
                <c:pt idx="559">
                  <c:v>All Others</c:v>
                </c:pt>
                <c:pt idx="560">
                  <c:v>Triballat N</c:v>
                </c:pt>
                <c:pt idx="561">
                  <c:v>Savencia: A</c:v>
                </c:pt>
                <c:pt idx="562">
                  <c:v>Savencia: A</c:v>
                </c:pt>
                <c:pt idx="563">
                  <c:v>Richesmonts</c:v>
                </c:pt>
                <c:pt idx="564">
                  <c:v>President</c:v>
                </c:pt>
                <c:pt idx="565">
                  <c:v>Boursin</c:v>
                </c:pt>
                <c:pt idx="566">
                  <c:v>Raguin</c:v>
                </c:pt>
                <c:pt idx="567">
                  <c:v>All Others</c:v>
                </c:pt>
                <c:pt idx="568">
                  <c:v>Lactalis: A</c:v>
                </c:pt>
                <c:pt idx="569">
                  <c:v>All Others</c:v>
                </c:pt>
                <c:pt idx="570">
                  <c:v>Richesmonts</c:v>
                </c:pt>
                <c:pt idx="571">
                  <c:v>Entremont</c:v>
                </c:pt>
                <c:pt idx="572">
                  <c:v>Apericube</c:v>
                </c:pt>
                <c:pt idx="573">
                  <c:v>Etoile Du V</c:v>
                </c:pt>
                <c:pt idx="574">
                  <c:v>Entremont</c:v>
                </c:pt>
                <c:pt idx="575">
                  <c:v>Violife</c:v>
                </c:pt>
                <c:pt idx="576">
                  <c:v>Triballat N</c:v>
                </c:pt>
                <c:pt idx="577">
                  <c:v>Chaussee Au</c:v>
                </c:pt>
                <c:pt idx="578">
                  <c:v>Saint Albra</c:v>
                </c:pt>
                <c:pt idx="579">
                  <c:v>Soignon</c:v>
                </c:pt>
                <c:pt idx="580">
                  <c:v>Private Lab</c:v>
                </c:pt>
                <c:pt idx="581">
                  <c:v>Entremont</c:v>
                </c:pt>
                <c:pt idx="582">
                  <c:v>All Others</c:v>
                </c:pt>
                <c:pt idx="583">
                  <c:v>Boursin</c:v>
                </c:pt>
                <c:pt idx="584">
                  <c:v>Caprice Des</c:v>
                </c:pt>
                <c:pt idx="585">
                  <c:v>Chavroux</c:v>
                </c:pt>
                <c:pt idx="586">
                  <c:v>All Others</c:v>
                </c:pt>
                <c:pt idx="587">
                  <c:v>All Others</c:v>
                </c:pt>
                <c:pt idx="588">
                  <c:v>All Others</c:v>
                </c:pt>
                <c:pt idx="589">
                  <c:v>Lactalis: A</c:v>
                </c:pt>
                <c:pt idx="590">
                  <c:v>All Others</c:v>
                </c:pt>
                <c:pt idx="591">
                  <c:v>Private Lab</c:v>
                </c:pt>
                <c:pt idx="592">
                  <c:v>Etorki</c:v>
                </c:pt>
                <c:pt idx="593">
                  <c:v>Paysan Bret</c:v>
                </c:pt>
                <c:pt idx="594">
                  <c:v>Private Lab</c:v>
                </c:pt>
                <c:pt idx="595">
                  <c:v>All Others</c:v>
                </c:pt>
                <c:pt idx="596">
                  <c:v>L'Ortolan</c:v>
                </c:pt>
                <c:pt idx="597">
                  <c:v>All Others</c:v>
                </c:pt>
                <c:pt idx="598">
                  <c:v>La Belle Et</c:v>
                </c:pt>
                <c:pt idx="599">
                  <c:v>All Others</c:v>
                </c:pt>
                <c:pt idx="600">
                  <c:v>Private Lab</c:v>
                </c:pt>
                <c:pt idx="601">
                  <c:v>Boursin</c:v>
                </c:pt>
                <c:pt idx="602">
                  <c:v>Raguin</c:v>
                </c:pt>
                <c:pt idx="603">
                  <c:v>Raguin</c:v>
                </c:pt>
                <c:pt idx="604">
                  <c:v>Etoile Du V</c:v>
                </c:pt>
                <c:pt idx="605">
                  <c:v>Chavroux</c:v>
                </c:pt>
                <c:pt idx="606">
                  <c:v>Carre Frais</c:v>
                </c:pt>
                <c:pt idx="607">
                  <c:v>Le Brebiou</c:v>
                </c:pt>
                <c:pt idx="608">
                  <c:v>Salakis</c:v>
                </c:pt>
                <c:pt idx="609">
                  <c:v>Triballat N</c:v>
                </c:pt>
                <c:pt idx="610">
                  <c:v>All Others</c:v>
                </c:pt>
                <c:pt idx="611">
                  <c:v>All Others</c:v>
                </c:pt>
                <c:pt idx="612">
                  <c:v>Richesmonts</c:v>
                </c:pt>
                <c:pt idx="613">
                  <c:v>Societe</c:v>
                </c:pt>
                <c:pt idx="614">
                  <c:v>Lactalis: A</c:v>
                </c:pt>
                <c:pt idx="615">
                  <c:v>All Others</c:v>
                </c:pt>
                <c:pt idx="616">
                  <c:v>Milleret: A</c:v>
                </c:pt>
                <c:pt idx="617">
                  <c:v>Lactalis: A</c:v>
                </c:pt>
                <c:pt idx="618">
                  <c:v>All Others</c:v>
                </c:pt>
                <c:pt idx="619">
                  <c:v>Paysan Bret</c:v>
                </c:pt>
                <c:pt idx="620">
                  <c:v>All Others</c:v>
                </c:pt>
                <c:pt idx="621">
                  <c:v>All Others</c:v>
                </c:pt>
                <c:pt idx="622">
                  <c:v>All Others</c:v>
                </c:pt>
                <c:pt idx="623">
                  <c:v>Entremont</c:v>
                </c:pt>
                <c:pt idx="624">
                  <c:v>All Others</c:v>
                </c:pt>
                <c:pt idx="625">
                  <c:v>Paysan Bret</c:v>
                </c:pt>
                <c:pt idx="626">
                  <c:v>Entremont</c:v>
                </c:pt>
                <c:pt idx="627">
                  <c:v>Societe</c:v>
                </c:pt>
                <c:pt idx="628">
                  <c:v>Savencia: A</c:v>
                </c:pt>
                <c:pt idx="629">
                  <c:v>All Others</c:v>
                </c:pt>
                <c:pt idx="630">
                  <c:v>All Others</c:v>
                </c:pt>
                <c:pt idx="631">
                  <c:v>Fauquet</c:v>
                </c:pt>
                <c:pt idx="632">
                  <c:v>All Others</c:v>
                </c:pt>
                <c:pt idx="633">
                  <c:v>All Others</c:v>
                </c:pt>
                <c:pt idx="634">
                  <c:v>All Others</c:v>
                </c:pt>
                <c:pt idx="635">
                  <c:v>All Others</c:v>
                </c:pt>
                <c:pt idx="636">
                  <c:v>Salakis</c:v>
                </c:pt>
                <c:pt idx="637">
                  <c:v>Lactalis: A</c:v>
                </c:pt>
                <c:pt idx="638">
                  <c:v>All Others</c:v>
                </c:pt>
                <c:pt idx="639">
                  <c:v>Milleret: A</c:v>
                </c:pt>
                <c:pt idx="640">
                  <c:v>Milleret: A</c:v>
                </c:pt>
                <c:pt idx="641">
                  <c:v>All Others</c:v>
                </c:pt>
                <c:pt idx="642">
                  <c:v>All Others</c:v>
                </c:pt>
                <c:pt idx="643">
                  <c:v>All Others</c:v>
                </c:pt>
                <c:pt idx="644">
                  <c:v>All Others</c:v>
                </c:pt>
                <c:pt idx="645">
                  <c:v>Istara</c:v>
                </c:pt>
                <c:pt idx="646">
                  <c:v>All Others</c:v>
                </c:pt>
                <c:pt idx="647">
                  <c:v>Savencia: A</c:v>
                </c:pt>
                <c:pt idx="648">
                  <c:v>All Others</c:v>
                </c:pt>
                <c:pt idx="649">
                  <c:v>Lactalis: A</c:v>
                </c:pt>
                <c:pt idx="650">
                  <c:v>Les Mousque</c:v>
                </c:pt>
                <c:pt idx="651">
                  <c:v>Milleret: A</c:v>
                </c:pt>
                <c:pt idx="652">
                  <c:v>All Others</c:v>
                </c:pt>
                <c:pt idx="653">
                  <c:v>President</c:v>
                </c:pt>
                <c:pt idx="654">
                  <c:v>All Others</c:v>
                </c:pt>
                <c:pt idx="655">
                  <c:v>All Others</c:v>
                </c:pt>
                <c:pt idx="656">
                  <c:v>All Others</c:v>
                </c:pt>
                <c:pt idx="657">
                  <c:v>All Others</c:v>
                </c:pt>
                <c:pt idx="658">
                  <c:v>All Others</c:v>
                </c:pt>
                <c:pt idx="659">
                  <c:v>Saint Agur</c:v>
                </c:pt>
                <c:pt idx="660">
                  <c:v>Etoile Du V</c:v>
                </c:pt>
                <c:pt idx="661">
                  <c:v>All Others</c:v>
                </c:pt>
                <c:pt idx="662">
                  <c:v>All Others</c:v>
                </c:pt>
                <c:pt idx="663">
                  <c:v>All Others</c:v>
                </c:pt>
                <c:pt idx="664">
                  <c:v>Casa Azzurr</c:v>
                </c:pt>
                <c:pt idx="665">
                  <c:v>Nurishh</c:v>
                </c:pt>
                <c:pt idx="666">
                  <c:v>Aperivrais</c:v>
                </c:pt>
                <c:pt idx="667">
                  <c:v>All Others</c:v>
                </c:pt>
                <c:pt idx="668">
                  <c:v>All Others</c:v>
                </c:pt>
                <c:pt idx="669">
                  <c:v>All Others</c:v>
                </c:pt>
                <c:pt idx="670">
                  <c:v>All Others</c:v>
                </c:pt>
                <c:pt idx="671">
                  <c:v>All Others</c:v>
                </c:pt>
                <c:pt idx="672">
                  <c:v>Violife</c:v>
                </c:pt>
                <c:pt idx="673">
                  <c:v>All Others</c:v>
                </c:pt>
                <c:pt idx="674">
                  <c:v>All Others</c:v>
                </c:pt>
                <c:pt idx="675">
                  <c:v>La Belle Et</c:v>
                </c:pt>
                <c:pt idx="676">
                  <c:v>Violife</c:v>
                </c:pt>
                <c:pt idx="677">
                  <c:v>All Others</c:v>
                </c:pt>
                <c:pt idx="678">
                  <c:v>Private Lab</c:v>
                </c:pt>
                <c:pt idx="679">
                  <c:v>Tartare</c:v>
                </c:pt>
                <c:pt idx="680">
                  <c:v>Paysan Bret</c:v>
                </c:pt>
                <c:pt idx="681">
                  <c:v>All Others</c:v>
                </c:pt>
                <c:pt idx="682">
                  <c:v>All Others</c:v>
                </c:pt>
                <c:pt idx="683">
                  <c:v>All Others</c:v>
                </c:pt>
                <c:pt idx="684">
                  <c:v>All Others</c:v>
                </c:pt>
                <c:pt idx="685">
                  <c:v>All Others</c:v>
                </c:pt>
                <c:pt idx="686">
                  <c:v>All Others</c:v>
                </c:pt>
                <c:pt idx="687">
                  <c:v>All Others</c:v>
                </c:pt>
                <c:pt idx="688">
                  <c:v>Etoile Du V</c:v>
                </c:pt>
                <c:pt idx="689">
                  <c:v>All Others</c:v>
                </c:pt>
                <c:pt idx="690">
                  <c:v>All Others</c:v>
                </c:pt>
                <c:pt idx="691">
                  <c:v>All Others</c:v>
                </c:pt>
                <c:pt idx="692">
                  <c:v>All Others</c:v>
                </c:pt>
                <c:pt idx="693">
                  <c:v>All Others</c:v>
                </c:pt>
                <c:pt idx="694">
                  <c:v>Etoile Du V</c:v>
                </c:pt>
                <c:pt idx="695">
                  <c:v>Lactalis: A</c:v>
                </c:pt>
                <c:pt idx="696">
                  <c:v>All Others</c:v>
                </c:pt>
                <c:pt idx="697">
                  <c:v>All Others</c:v>
                </c:pt>
                <c:pt idx="698">
                  <c:v>Nurishh</c:v>
                </c:pt>
                <c:pt idx="699">
                  <c:v>All Others</c:v>
                </c:pt>
                <c:pt idx="700">
                  <c:v>Triballat N</c:v>
                </c:pt>
                <c:pt idx="701">
                  <c:v>Milleret: A</c:v>
                </c:pt>
                <c:pt idx="702">
                  <c:v>All Others</c:v>
                </c:pt>
                <c:pt idx="703">
                  <c:v>Rians</c:v>
                </c:pt>
                <c:pt idx="704">
                  <c:v>All Others</c:v>
                </c:pt>
                <c:pt idx="705">
                  <c:v>All Others</c:v>
                </c:pt>
                <c:pt idx="706">
                  <c:v>Savencia: A</c:v>
                </c:pt>
                <c:pt idx="707">
                  <c:v>Savencia: A</c:v>
                </c:pt>
                <c:pt idx="708">
                  <c:v>All Others</c:v>
                </c:pt>
                <c:pt idx="709">
                  <c:v>All Others</c:v>
                </c:pt>
                <c:pt idx="710">
                  <c:v>L'Ortolan</c:v>
                </c:pt>
                <c:pt idx="711">
                  <c:v>All Others</c:v>
                </c:pt>
                <c:pt idx="712">
                  <c:v>All Others</c:v>
                </c:pt>
                <c:pt idx="713">
                  <c:v>All Others</c:v>
                </c:pt>
                <c:pt idx="714">
                  <c:v>All Others</c:v>
                </c:pt>
                <c:pt idx="715">
                  <c:v>Entremont</c:v>
                </c:pt>
                <c:pt idx="716">
                  <c:v>All Others</c:v>
                </c:pt>
                <c:pt idx="717">
                  <c:v>La Belle Et</c:v>
                </c:pt>
                <c:pt idx="718">
                  <c:v>All Others</c:v>
                </c:pt>
                <c:pt idx="719">
                  <c:v>All Others</c:v>
                </c:pt>
                <c:pt idx="720">
                  <c:v>All Others</c:v>
                </c:pt>
                <c:pt idx="721">
                  <c:v>All Others</c:v>
                </c:pt>
                <c:pt idx="722">
                  <c:v>All Others</c:v>
                </c:pt>
                <c:pt idx="723">
                  <c:v>All Others</c:v>
                </c:pt>
                <c:pt idx="724">
                  <c:v>All Others</c:v>
                </c:pt>
                <c:pt idx="725">
                  <c:v>Entremont</c:v>
                </c:pt>
                <c:pt idx="726">
                  <c:v>Etoile Du V</c:v>
                </c:pt>
                <c:pt idx="727">
                  <c:v>All Others</c:v>
                </c:pt>
                <c:pt idx="728">
                  <c:v>All Others</c:v>
                </c:pt>
                <c:pt idx="729">
                  <c:v>Etoile Du V</c:v>
                </c:pt>
                <c:pt idx="730">
                  <c:v>All Others</c:v>
                </c:pt>
                <c:pt idx="731">
                  <c:v>Lactalis: A</c:v>
                </c:pt>
                <c:pt idx="732">
                  <c:v>All Others</c:v>
                </c:pt>
                <c:pt idx="733">
                  <c:v>All Others</c:v>
                </c:pt>
                <c:pt idx="734">
                  <c:v>All Others</c:v>
                </c:pt>
                <c:pt idx="735">
                  <c:v>All Others</c:v>
                </c:pt>
                <c:pt idx="736">
                  <c:v>All Others</c:v>
                </c:pt>
                <c:pt idx="737">
                  <c:v>Lactalis: A</c:v>
                </c:pt>
                <c:pt idx="738">
                  <c:v>All Others</c:v>
                </c:pt>
                <c:pt idx="739">
                  <c:v>All Others</c:v>
                </c:pt>
                <c:pt idx="740">
                  <c:v>All Others</c:v>
                </c:pt>
                <c:pt idx="741">
                  <c:v>All Others</c:v>
                </c:pt>
                <c:pt idx="742">
                  <c:v>All Others</c:v>
                </c:pt>
                <c:pt idx="743">
                  <c:v>All Others</c:v>
                </c:pt>
                <c:pt idx="744">
                  <c:v>All Others</c:v>
                </c:pt>
                <c:pt idx="745">
                  <c:v>All Others</c:v>
                </c:pt>
                <c:pt idx="746">
                  <c:v>All Others</c:v>
                </c:pt>
                <c:pt idx="747">
                  <c:v>All Others</c:v>
                </c:pt>
                <c:pt idx="748">
                  <c:v>Soignon</c:v>
                </c:pt>
                <c:pt idx="749">
                  <c:v>All Others</c:v>
                </c:pt>
                <c:pt idx="750">
                  <c:v>All Others</c:v>
                </c:pt>
                <c:pt idx="751">
                  <c:v>All Others</c:v>
                </c:pt>
                <c:pt idx="752">
                  <c:v>Private Lab</c:v>
                </c:pt>
                <c:pt idx="753">
                  <c:v>All Others</c:v>
                </c:pt>
                <c:pt idx="754">
                  <c:v>Paysan Bret</c:v>
                </c:pt>
                <c:pt idx="755">
                  <c:v>All Others</c:v>
                </c:pt>
                <c:pt idx="756">
                  <c:v>Savencia: A</c:v>
                </c:pt>
                <c:pt idx="757">
                  <c:v>All Others</c:v>
                </c:pt>
                <c:pt idx="758">
                  <c:v>All Others</c:v>
                </c:pt>
                <c:pt idx="759">
                  <c:v>All Others</c:v>
                </c:pt>
                <c:pt idx="760">
                  <c:v>Entremont</c:v>
                </c:pt>
                <c:pt idx="761">
                  <c:v>All Others</c:v>
                </c:pt>
                <c:pt idx="762">
                  <c:v>All Others</c:v>
                </c:pt>
                <c:pt idx="763">
                  <c:v>All Others</c:v>
                </c:pt>
                <c:pt idx="764">
                  <c:v>All Others</c:v>
                </c:pt>
                <c:pt idx="765">
                  <c:v>All Others</c:v>
                </c:pt>
                <c:pt idx="766">
                  <c:v>All Others</c:v>
                </c:pt>
                <c:pt idx="767">
                  <c:v>Fol Epi</c:v>
                </c:pt>
                <c:pt idx="768">
                  <c:v>All Others</c:v>
                </c:pt>
                <c:pt idx="769">
                  <c:v>All Others</c:v>
                </c:pt>
                <c:pt idx="770">
                  <c:v>All Others</c:v>
                </c:pt>
                <c:pt idx="771">
                  <c:v>Casa Azzurr</c:v>
                </c:pt>
                <c:pt idx="772">
                  <c:v>La Belle Et</c:v>
                </c:pt>
                <c:pt idx="773">
                  <c:v>All Others</c:v>
                </c:pt>
                <c:pt idx="774">
                  <c:v>Nurishh</c:v>
                </c:pt>
                <c:pt idx="775">
                  <c:v>All Others</c:v>
                </c:pt>
                <c:pt idx="776">
                  <c:v>All Others</c:v>
                </c:pt>
                <c:pt idx="777">
                  <c:v>Milleret: A</c:v>
                </c:pt>
                <c:pt idx="778">
                  <c:v>All Others</c:v>
                </c:pt>
                <c:pt idx="779">
                  <c:v>La Belle Et</c:v>
                </c:pt>
                <c:pt idx="780">
                  <c:v>All Others</c:v>
                </c:pt>
                <c:pt idx="781">
                  <c:v>All Others</c:v>
                </c:pt>
                <c:pt idx="782">
                  <c:v>All Others</c:v>
                </c:pt>
                <c:pt idx="783">
                  <c:v>All Others</c:v>
                </c:pt>
                <c:pt idx="784">
                  <c:v>All Others</c:v>
                </c:pt>
                <c:pt idx="785">
                  <c:v>Nurishh</c:v>
                </c:pt>
                <c:pt idx="786">
                  <c:v>All Others</c:v>
                </c:pt>
                <c:pt idx="787">
                  <c:v>All Others</c:v>
                </c:pt>
                <c:pt idx="788">
                  <c:v>All Others</c:v>
                </c:pt>
                <c:pt idx="789">
                  <c:v>All Others</c:v>
                </c:pt>
                <c:pt idx="790">
                  <c:v>All Others</c:v>
                </c:pt>
                <c:pt idx="791">
                  <c:v>All Others</c:v>
                </c:pt>
                <c:pt idx="792">
                  <c:v>All Others</c:v>
                </c:pt>
                <c:pt idx="793">
                  <c:v>Nurishh</c:v>
                </c:pt>
                <c:pt idx="794">
                  <c:v>All Others</c:v>
                </c:pt>
                <c:pt idx="795">
                  <c:v>La Belle Et</c:v>
                </c:pt>
                <c:pt idx="796">
                  <c:v>Lactalis: A</c:v>
                </c:pt>
                <c:pt idx="797">
                  <c:v>All Others</c:v>
                </c:pt>
                <c:pt idx="798">
                  <c:v>Violife</c:v>
                </c:pt>
                <c:pt idx="799">
                  <c:v>All Others</c:v>
                </c:pt>
                <c:pt idx="800">
                  <c:v>All Others</c:v>
                </c:pt>
                <c:pt idx="801">
                  <c:v>All Others</c:v>
                </c:pt>
                <c:pt idx="802">
                  <c:v>All Others</c:v>
                </c:pt>
                <c:pt idx="803">
                  <c:v>La Belle Et</c:v>
                </c:pt>
                <c:pt idx="804">
                  <c:v>Nurishh</c:v>
                </c:pt>
                <c:pt idx="805">
                  <c:v>Other Suppl</c:v>
                </c:pt>
                <c:pt idx="806">
                  <c:v>All Others</c:v>
                </c:pt>
                <c:pt idx="807">
                  <c:v>All Others</c:v>
                </c:pt>
                <c:pt idx="808">
                  <c:v>All Others</c:v>
                </c:pt>
                <c:pt idx="809">
                  <c:v>All Others</c:v>
                </c:pt>
                <c:pt idx="810">
                  <c:v>All Others</c:v>
                </c:pt>
                <c:pt idx="811">
                  <c:v>Aperivrais</c:v>
                </c:pt>
                <c:pt idx="812">
                  <c:v>All Others</c:v>
                </c:pt>
                <c:pt idx="813">
                  <c:v>All Others</c:v>
                </c:pt>
                <c:pt idx="814">
                  <c:v>Private Lab</c:v>
                </c:pt>
                <c:pt idx="815">
                  <c:v>All Others</c:v>
                </c:pt>
                <c:pt idx="816">
                  <c:v>All Others</c:v>
                </c:pt>
                <c:pt idx="817">
                  <c:v>All Others</c:v>
                </c:pt>
                <c:pt idx="818">
                  <c:v>Milleret</c:v>
                </c:pt>
                <c:pt idx="819">
                  <c:v>Tartare</c:v>
                </c:pt>
                <c:pt idx="820">
                  <c:v>All Others</c:v>
                </c:pt>
                <c:pt idx="821">
                  <c:v>All Others</c:v>
                </c:pt>
                <c:pt idx="822">
                  <c:v>Milleret: A</c:v>
                </c:pt>
                <c:pt idx="823">
                  <c:v>All Others</c:v>
                </c:pt>
                <c:pt idx="824">
                  <c:v>All Others</c:v>
                </c:pt>
                <c:pt idx="825">
                  <c:v>All Others</c:v>
                </c:pt>
                <c:pt idx="826">
                  <c:v>Paysan Bret</c:v>
                </c:pt>
                <c:pt idx="827">
                  <c:v>All Others</c:v>
                </c:pt>
                <c:pt idx="828">
                  <c:v>All Others</c:v>
                </c:pt>
                <c:pt idx="829">
                  <c:v>Savencia: A</c:v>
                </c:pt>
                <c:pt idx="830">
                  <c:v>All Others</c:v>
                </c:pt>
                <c:pt idx="831">
                  <c:v>All Others</c:v>
                </c:pt>
                <c:pt idx="832">
                  <c:v>All Others</c:v>
                </c:pt>
                <c:pt idx="833">
                  <c:v>All Others</c:v>
                </c:pt>
                <c:pt idx="834">
                  <c:v>All Others</c:v>
                </c:pt>
                <c:pt idx="835">
                  <c:v>All Others</c:v>
                </c:pt>
                <c:pt idx="836">
                  <c:v>Petit Billy</c:v>
                </c:pt>
                <c:pt idx="837">
                  <c:v>All Others</c:v>
                </c:pt>
                <c:pt idx="838">
                  <c:v>All Others</c:v>
                </c:pt>
                <c:pt idx="839">
                  <c:v>All Others</c:v>
                </c:pt>
                <c:pt idx="840">
                  <c:v>All Others</c:v>
                </c:pt>
                <c:pt idx="841">
                  <c:v>All Others</c:v>
                </c:pt>
                <c:pt idx="842">
                  <c:v>All Others</c:v>
                </c:pt>
                <c:pt idx="843">
                  <c:v>All Others</c:v>
                </c:pt>
                <c:pt idx="844">
                  <c:v>All Others</c:v>
                </c:pt>
                <c:pt idx="845">
                  <c:v>All Others</c:v>
                </c:pt>
                <c:pt idx="846">
                  <c:v>All Others</c:v>
                </c:pt>
                <c:pt idx="847">
                  <c:v>All Others</c:v>
                </c:pt>
                <c:pt idx="848">
                  <c:v>All Others</c:v>
                </c:pt>
                <c:pt idx="849">
                  <c:v>Corsica</c:v>
                </c:pt>
                <c:pt idx="850">
                  <c:v>Eurial Autr</c:v>
                </c:pt>
                <c:pt idx="851">
                  <c:v>All Others</c:v>
                </c:pt>
                <c:pt idx="852">
                  <c:v>All Others</c:v>
                </c:pt>
                <c:pt idx="853">
                  <c:v>All Others</c:v>
                </c:pt>
                <c:pt idx="854">
                  <c:v>All Others</c:v>
                </c:pt>
                <c:pt idx="855">
                  <c:v>All Others</c:v>
                </c:pt>
                <c:pt idx="856">
                  <c:v>Apericube</c:v>
                </c:pt>
                <c:pt idx="857">
                  <c:v>Lactalis: A</c:v>
                </c:pt>
                <c:pt idx="858">
                  <c:v>All Others</c:v>
                </c:pt>
                <c:pt idx="859">
                  <c:v>All Others</c:v>
                </c:pt>
                <c:pt idx="860">
                  <c:v>All Others</c:v>
                </c:pt>
                <c:pt idx="861">
                  <c:v>All Others</c:v>
                </c:pt>
                <c:pt idx="862">
                  <c:v>All Others</c:v>
                </c:pt>
                <c:pt idx="863">
                  <c:v>All Others</c:v>
                </c:pt>
                <c:pt idx="864">
                  <c:v>Entremont</c:v>
                </c:pt>
                <c:pt idx="865">
                  <c:v>All Others</c:v>
                </c:pt>
                <c:pt idx="866">
                  <c:v>All Others</c:v>
                </c:pt>
                <c:pt idx="867">
                  <c:v>All Others</c:v>
                </c:pt>
                <c:pt idx="868">
                  <c:v>All Others</c:v>
                </c:pt>
                <c:pt idx="869">
                  <c:v>All Others</c:v>
                </c:pt>
                <c:pt idx="870">
                  <c:v>Richesmonts</c:v>
                </c:pt>
                <c:pt idx="871">
                  <c:v>All Others</c:v>
                </c:pt>
                <c:pt idx="872">
                  <c:v>All Others</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Lactalis: A</c:v>
                </c:pt>
                <c:pt idx="883">
                  <c:v>All Others</c:v>
                </c:pt>
                <c:pt idx="884">
                  <c:v>All Others</c:v>
                </c:pt>
                <c:pt idx="885">
                  <c:v>All Others</c:v>
                </c:pt>
                <c:pt idx="886">
                  <c:v>All Others</c:v>
                </c:pt>
                <c:pt idx="887">
                  <c:v>Baillon</c:v>
                </c:pt>
                <c:pt idx="888">
                  <c:v>All Others</c:v>
                </c:pt>
                <c:pt idx="889">
                  <c:v>La Belle Et</c:v>
                </c:pt>
                <c:pt idx="890">
                  <c:v>All Others</c:v>
                </c:pt>
                <c:pt idx="891">
                  <c:v>All Others</c:v>
                </c:pt>
                <c:pt idx="892">
                  <c:v>All Others</c:v>
                </c:pt>
                <c:pt idx="893">
                  <c:v>All Others</c:v>
                </c:pt>
                <c:pt idx="894">
                  <c:v>All Others</c:v>
                </c:pt>
                <c:pt idx="895">
                  <c:v>La Belle Et</c:v>
                </c:pt>
                <c:pt idx="896">
                  <c:v>All Others</c:v>
                </c:pt>
                <c:pt idx="897">
                  <c:v>All Others</c:v>
                </c:pt>
                <c:pt idx="898">
                  <c:v>All Others</c:v>
                </c:pt>
                <c:pt idx="899">
                  <c:v>All Others</c:v>
                </c:pt>
                <c:pt idx="900">
                  <c:v>All Others</c:v>
                </c:pt>
                <c:pt idx="901">
                  <c:v>All Others</c:v>
                </c:pt>
                <c:pt idx="902">
                  <c:v>All Others</c:v>
                </c:pt>
                <c:pt idx="903">
                  <c:v>All Others</c:v>
                </c:pt>
                <c:pt idx="904">
                  <c:v>All Others</c:v>
                </c:pt>
                <c:pt idx="905">
                  <c:v>All Others</c:v>
                </c:pt>
                <c:pt idx="906">
                  <c:v>La Belle Et</c:v>
                </c:pt>
                <c:pt idx="907">
                  <c:v>All Others</c:v>
                </c:pt>
                <c:pt idx="908">
                  <c:v>All Others</c:v>
                </c:pt>
                <c:pt idx="909">
                  <c:v>All Others</c:v>
                </c:pt>
                <c:pt idx="910">
                  <c:v>All Others</c:v>
                </c:pt>
                <c:pt idx="911">
                  <c:v>La Belle Et</c:v>
                </c:pt>
                <c:pt idx="912">
                  <c:v>Lindahls Pr</c:v>
                </c:pt>
                <c:pt idx="913">
                  <c:v>All Others</c:v>
                </c:pt>
                <c:pt idx="914">
                  <c:v>All Others</c:v>
                </c:pt>
                <c:pt idx="915">
                  <c:v>All Others</c:v>
                </c:pt>
                <c:pt idx="916">
                  <c:v>Mini Babybe</c:v>
                </c:pt>
                <c:pt idx="917">
                  <c:v>All Others</c:v>
                </c:pt>
                <c:pt idx="918">
                  <c:v>All Others</c:v>
                </c:pt>
                <c:pt idx="919">
                  <c:v>All Others</c:v>
                </c:pt>
                <c:pt idx="920">
                  <c:v>Private Lab</c:v>
                </c:pt>
                <c:pt idx="921">
                  <c:v>All Others</c:v>
                </c:pt>
                <c:pt idx="922">
                  <c:v>All Others</c:v>
                </c:pt>
                <c:pt idx="923">
                  <c:v>All Others</c:v>
                </c:pt>
                <c:pt idx="924">
                  <c:v>All Others</c:v>
                </c:pt>
                <c:pt idx="925">
                  <c:v>All Others</c:v>
                </c:pt>
                <c:pt idx="926">
                  <c:v>All Others</c:v>
                </c:pt>
                <c:pt idx="927">
                  <c:v>All Others</c:v>
                </c:pt>
                <c:pt idx="928">
                  <c:v>Lactalis: A</c:v>
                </c:pt>
                <c:pt idx="929">
                  <c:v>All Others</c:v>
                </c:pt>
                <c:pt idx="930">
                  <c:v>All Others</c:v>
                </c:pt>
                <c:pt idx="931">
                  <c:v>All Others</c:v>
                </c:pt>
                <c:pt idx="932">
                  <c:v>All Others</c:v>
                </c:pt>
                <c:pt idx="933">
                  <c:v>All Others</c:v>
                </c:pt>
                <c:pt idx="934">
                  <c:v>All Others</c:v>
                </c:pt>
                <c:pt idx="935">
                  <c:v>All Others</c:v>
                </c:pt>
                <c:pt idx="936">
                  <c:v>All Others</c:v>
                </c:pt>
                <c:pt idx="937">
                  <c:v>All Others</c:v>
                </c:pt>
                <c:pt idx="938">
                  <c:v>All Others</c:v>
                </c:pt>
                <c:pt idx="939">
                  <c:v>La Table M</c:v>
                </c:pt>
                <c:pt idx="940">
                  <c:v>La Belle Et</c:v>
                </c:pt>
                <c:pt idx="941">
                  <c:v>Casa Azzurr</c:v>
                </c:pt>
                <c:pt idx="942">
                  <c:v>All Others</c:v>
                </c:pt>
                <c:pt idx="943">
                  <c:v>Entremont</c:v>
                </c:pt>
                <c:pt idx="944">
                  <c:v>All Others</c:v>
                </c:pt>
                <c:pt idx="945">
                  <c:v>Etoile Du V</c:v>
                </c:pt>
                <c:pt idx="946">
                  <c:v>All Others</c:v>
                </c:pt>
                <c:pt idx="947">
                  <c:v>All Others</c:v>
                </c:pt>
                <c:pt idx="948">
                  <c:v>Other Suppl</c:v>
                </c:pt>
                <c:pt idx="949">
                  <c:v>All Others</c:v>
                </c:pt>
                <c:pt idx="950">
                  <c:v>All Others</c:v>
                </c:pt>
                <c:pt idx="951">
                  <c:v>All Others</c:v>
                </c:pt>
                <c:pt idx="952">
                  <c:v>All Others</c:v>
                </c:pt>
                <c:pt idx="953">
                  <c:v>All Others</c:v>
                </c:pt>
                <c:pt idx="954">
                  <c:v>Lactalis: A</c:v>
                </c:pt>
                <c:pt idx="955">
                  <c:v>All Others</c:v>
                </c:pt>
                <c:pt idx="956">
                  <c:v>All Others</c:v>
                </c:pt>
                <c:pt idx="957">
                  <c:v>All Others</c:v>
                </c:pt>
                <c:pt idx="958">
                  <c:v>All Others</c:v>
                </c:pt>
                <c:pt idx="959">
                  <c:v>Paysan Bret</c:v>
                </c:pt>
                <c:pt idx="960">
                  <c:v>All Others</c:v>
                </c:pt>
                <c:pt idx="961">
                  <c:v>Dodin</c:v>
                </c:pt>
                <c:pt idx="962">
                  <c:v>La Belle Et</c:v>
                </c:pt>
                <c:pt idx="963">
                  <c:v>Paysan Bret</c:v>
                </c:pt>
                <c:pt idx="964">
                  <c:v>Raguin</c:v>
                </c:pt>
                <c:pt idx="965">
                  <c:v>All Others</c:v>
                </c:pt>
                <c:pt idx="966">
                  <c:v>All Others</c:v>
                </c:pt>
                <c:pt idx="967">
                  <c:v>All Others</c:v>
                </c:pt>
                <c:pt idx="968">
                  <c:v>All Others</c:v>
                </c:pt>
                <c:pt idx="969">
                  <c:v>L'Ortolan</c:v>
                </c:pt>
                <c:pt idx="970">
                  <c:v>All Others</c:v>
                </c:pt>
                <c:pt idx="971">
                  <c:v>All Others</c:v>
                </c:pt>
                <c:pt idx="972">
                  <c:v>All Others</c:v>
                </c:pt>
                <c:pt idx="973">
                  <c:v>Raguin</c:v>
                </c:pt>
                <c:pt idx="974">
                  <c:v>All Others</c:v>
                </c:pt>
                <c:pt idx="975">
                  <c:v>Boursin</c:v>
                </c:pt>
                <c:pt idx="976">
                  <c:v>All Others</c:v>
                </c:pt>
                <c:pt idx="977">
                  <c:v>All Others</c:v>
                </c:pt>
                <c:pt idx="978">
                  <c:v>Raguin</c:v>
                </c:pt>
                <c:pt idx="979">
                  <c:v>All Others</c:v>
                </c:pt>
                <c:pt idx="980">
                  <c:v>All Others</c:v>
                </c:pt>
                <c:pt idx="981">
                  <c:v>All Others</c:v>
                </c:pt>
                <c:pt idx="982">
                  <c:v>All Others</c:v>
                </c:pt>
                <c:pt idx="983">
                  <c:v>Raguin</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Other Suppl</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La Belle Et</c:v>
                </c:pt>
                <c:pt idx="1005">
                  <c:v>All Others</c:v>
                </c:pt>
                <c:pt idx="1006">
                  <c:v>Raguin</c:v>
                </c:pt>
                <c:pt idx="1007">
                  <c:v>All Others</c:v>
                </c:pt>
                <c:pt idx="1008">
                  <c:v>All Others</c:v>
                </c:pt>
                <c:pt idx="1009">
                  <c:v>All Others</c:v>
                </c:pt>
                <c:pt idx="1010">
                  <c:v>La Belle Et</c:v>
                </c:pt>
                <c:pt idx="1011">
                  <c:v>All Others</c:v>
                </c:pt>
                <c:pt idx="1012">
                  <c:v>All Others</c:v>
                </c:pt>
                <c:pt idx="1013">
                  <c:v>All Others</c:v>
                </c:pt>
                <c:pt idx="1014">
                  <c:v>All Others</c:v>
                </c:pt>
                <c:pt idx="1015">
                  <c:v>All Others</c:v>
                </c:pt>
                <c:pt idx="1016">
                  <c:v>All Others</c:v>
                </c:pt>
                <c:pt idx="1017">
                  <c:v>All Others</c:v>
                </c:pt>
                <c:pt idx="1018">
                  <c:v>Raguin</c:v>
                </c:pt>
                <c:pt idx="1019">
                  <c:v>All Others</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Etoile Du V</c:v>
                </c:pt>
                <c:pt idx="1033">
                  <c:v>Limiano</c:v>
                </c:pt>
                <c:pt idx="1034">
                  <c:v>All Others</c:v>
                </c:pt>
                <c:pt idx="1035">
                  <c:v>All Others</c:v>
                </c:pt>
                <c:pt idx="1036">
                  <c:v>All Others</c:v>
                </c:pt>
                <c:pt idx="1037">
                  <c:v>All Others</c:v>
                </c:pt>
                <c:pt idx="1038">
                  <c:v>All Others</c:v>
                </c:pt>
                <c:pt idx="1039">
                  <c:v>All Others</c:v>
                </c:pt>
                <c:pt idx="1040">
                  <c:v>Private Lab</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All Others</c:v>
                </c:pt>
                <c:pt idx="1051">
                  <c:v>All Others</c:v>
                </c:pt>
                <c:pt idx="1052">
                  <c:v>Other Suppl</c:v>
                </c:pt>
                <c:pt idx="1053">
                  <c:v>All Others</c:v>
                </c:pt>
                <c:pt idx="1054">
                  <c:v>All Others</c:v>
                </c:pt>
                <c:pt idx="1055">
                  <c:v>All Others</c:v>
                </c:pt>
                <c:pt idx="1056">
                  <c:v>Lactalis: A</c:v>
                </c:pt>
                <c:pt idx="1057">
                  <c:v>All Others</c:v>
                </c:pt>
                <c:pt idx="1058">
                  <c:v>All Others</c:v>
                </c:pt>
                <c:pt idx="1059">
                  <c:v>All Others</c:v>
                </c:pt>
                <c:pt idx="1060">
                  <c:v>All Others</c:v>
                </c:pt>
                <c:pt idx="1061">
                  <c:v>Raguin</c:v>
                </c:pt>
                <c:pt idx="1062">
                  <c:v>All Others</c:v>
                </c:pt>
                <c:pt idx="1063">
                  <c:v>All Others</c:v>
                </c:pt>
                <c:pt idx="1064">
                  <c:v>All Others</c:v>
                </c:pt>
                <c:pt idx="1065">
                  <c:v>President</c:v>
                </c:pt>
                <c:pt idx="1066">
                  <c:v>All Others</c:v>
                </c:pt>
                <c:pt idx="1067">
                  <c:v>All Others</c:v>
                </c:pt>
                <c:pt idx="1068">
                  <c:v>All Others</c:v>
                </c:pt>
                <c:pt idx="1069">
                  <c:v>All Others</c:v>
                </c:pt>
                <c:pt idx="1070">
                  <c:v>Raguin</c:v>
                </c:pt>
                <c:pt idx="1071">
                  <c:v>All Others</c:v>
                </c:pt>
                <c:pt idx="1072">
                  <c:v>All Others</c:v>
                </c:pt>
                <c:pt idx="1073">
                  <c:v>Limiano</c:v>
                </c:pt>
                <c:pt idx="1074">
                  <c:v>All Others</c:v>
                </c:pt>
                <c:pt idx="1075">
                  <c:v>All Others</c:v>
                </c:pt>
                <c:pt idx="1076">
                  <c:v>All Others</c:v>
                </c:pt>
                <c:pt idx="1077">
                  <c:v>All Others</c:v>
                </c:pt>
                <c:pt idx="1078">
                  <c:v>All Others</c:v>
                </c:pt>
                <c:pt idx="1079">
                  <c:v>Private Lab</c:v>
                </c:pt>
                <c:pt idx="1080">
                  <c:v>Other Suppl</c:v>
                </c:pt>
                <c:pt idx="1081">
                  <c:v>All Others</c:v>
                </c:pt>
                <c:pt idx="1082">
                  <c:v>All Others</c:v>
                </c:pt>
                <c:pt idx="1083">
                  <c:v>Lincet</c:v>
                </c:pt>
                <c:pt idx="1084">
                  <c:v>All Others</c:v>
                </c:pt>
                <c:pt idx="1085">
                  <c:v>All Others</c:v>
                </c:pt>
                <c:pt idx="1086">
                  <c:v>All Others</c:v>
                </c:pt>
                <c:pt idx="1087">
                  <c:v>All Others</c:v>
                </c:pt>
                <c:pt idx="1088">
                  <c:v>All Others</c:v>
                </c:pt>
                <c:pt idx="1089">
                  <c:v>All Others</c:v>
                </c:pt>
                <c:pt idx="1090">
                  <c:v>All Others</c:v>
                </c:pt>
                <c:pt idx="1091">
                  <c:v>All Others</c:v>
                </c:pt>
                <c:pt idx="1092">
                  <c:v>Lactalis: A</c:v>
                </c:pt>
                <c:pt idx="1093">
                  <c:v>All Others</c:v>
                </c:pt>
                <c:pt idx="1094">
                  <c:v>All Others</c:v>
                </c:pt>
                <c:pt idx="1095">
                  <c:v>All Others</c:v>
                </c:pt>
                <c:pt idx="1096">
                  <c:v>All Others</c:v>
                </c:pt>
                <c:pt idx="1097">
                  <c:v>All Others</c:v>
                </c:pt>
                <c:pt idx="1098">
                  <c:v>All Others</c:v>
                </c:pt>
                <c:pt idx="1099">
                  <c:v>All Others</c:v>
                </c:pt>
                <c:pt idx="1100">
                  <c:v>Private Lab</c:v>
                </c:pt>
                <c:pt idx="1101">
                  <c:v>All Others</c:v>
                </c:pt>
                <c:pt idx="1102">
                  <c:v>All Others</c:v>
                </c:pt>
                <c:pt idx="1103">
                  <c:v>All Others</c:v>
                </c:pt>
                <c:pt idx="1104">
                  <c:v>Private Lab</c:v>
                </c:pt>
                <c:pt idx="1105">
                  <c:v>All Others</c:v>
                </c:pt>
                <c:pt idx="1106">
                  <c:v>All Others</c:v>
                </c:pt>
                <c:pt idx="1107">
                  <c:v>All Others</c:v>
                </c:pt>
                <c:pt idx="1108">
                  <c:v>All Others</c:v>
                </c:pt>
                <c:pt idx="1109">
                  <c:v>All Others</c:v>
                </c:pt>
                <c:pt idx="1110">
                  <c:v>All Others</c:v>
                </c:pt>
                <c:pt idx="1111">
                  <c:v>All Others</c:v>
                </c:pt>
                <c:pt idx="1112">
                  <c:v>All Others</c:v>
                </c:pt>
                <c:pt idx="1113">
                  <c:v>All Others</c:v>
                </c:pt>
                <c:pt idx="1114">
                  <c:v>Private Lab</c:v>
                </c:pt>
                <c:pt idx="1115">
                  <c:v>All Others</c:v>
                </c:pt>
                <c:pt idx="1116">
                  <c:v>All Others</c:v>
                </c:pt>
                <c:pt idx="1117">
                  <c:v>All Others</c:v>
                </c:pt>
                <c:pt idx="1118">
                  <c:v>All Others</c:v>
                </c:pt>
                <c:pt idx="1119">
                  <c:v>Private Lab</c:v>
                </c:pt>
                <c:pt idx="1120">
                  <c:v>Entremont</c:v>
                </c:pt>
                <c:pt idx="1121">
                  <c:v>All Others</c:v>
                </c:pt>
                <c:pt idx="1122">
                  <c:v>Private Lab</c:v>
                </c:pt>
                <c:pt idx="1123">
                  <c:v>Raguin</c:v>
                </c:pt>
                <c:pt idx="1124">
                  <c:v>All Others</c:v>
                </c:pt>
                <c:pt idx="1125">
                  <c:v>Private Lab</c:v>
                </c:pt>
                <c:pt idx="1126">
                  <c:v>Private Lab</c:v>
                </c:pt>
                <c:pt idx="1127">
                  <c:v>Mini Babybe</c:v>
                </c:pt>
                <c:pt idx="1128">
                  <c:v>Lactalis: A</c:v>
                </c:pt>
                <c:pt idx="1129">
                  <c:v>All Others</c:v>
                </c:pt>
                <c:pt idx="1130">
                  <c:v>Private Lab</c:v>
                </c:pt>
                <c:pt idx="1131">
                  <c:v>All Others</c:v>
                </c:pt>
                <c:pt idx="1132">
                  <c:v>All Others</c:v>
                </c:pt>
                <c:pt idx="1133">
                  <c:v>All Others</c:v>
                </c:pt>
                <c:pt idx="1134">
                  <c:v>All Others</c:v>
                </c:pt>
                <c:pt idx="1135">
                  <c:v>Pochat</c:v>
                </c:pt>
                <c:pt idx="1136">
                  <c:v>All Others</c:v>
                </c:pt>
                <c:pt idx="1137">
                  <c:v>All Others</c:v>
                </c:pt>
                <c:pt idx="1138">
                  <c:v>All Others</c:v>
                </c:pt>
                <c:pt idx="1139">
                  <c:v>All Others</c:v>
                </c:pt>
                <c:pt idx="1140">
                  <c:v>All Others</c:v>
                </c:pt>
                <c:pt idx="1141">
                  <c:v>All Others</c:v>
                </c:pt>
                <c:pt idx="1142">
                  <c:v>Etoile Du V</c:v>
                </c:pt>
                <c:pt idx="1143">
                  <c:v>All Others</c:v>
                </c:pt>
                <c:pt idx="1144">
                  <c:v>All Others</c:v>
                </c:pt>
                <c:pt idx="1145">
                  <c:v>Raguin</c:v>
                </c:pt>
                <c:pt idx="1146">
                  <c:v>All Others</c:v>
                </c:pt>
                <c:pt idx="1147">
                  <c:v>All Others</c:v>
                </c:pt>
                <c:pt idx="1148">
                  <c:v>All Others</c:v>
                </c:pt>
                <c:pt idx="1149">
                  <c:v>All Others</c:v>
                </c:pt>
                <c:pt idx="1150">
                  <c:v>All Others</c:v>
                </c:pt>
                <c:pt idx="1151">
                  <c:v>All Others</c:v>
                </c:pt>
                <c:pt idx="1152">
                  <c:v>All Others</c:v>
                </c:pt>
                <c:pt idx="1153">
                  <c:v>All Others</c:v>
                </c:pt>
                <c:pt idx="1154">
                  <c:v>All Others</c:v>
                </c:pt>
                <c:pt idx="1155">
                  <c:v>All Others</c:v>
                </c:pt>
                <c:pt idx="1156">
                  <c:v>Entremont</c:v>
                </c:pt>
                <c:pt idx="1157">
                  <c:v>Kiri</c:v>
                </c:pt>
                <c:pt idx="1158">
                  <c:v>Richesmonts</c:v>
                </c:pt>
                <c:pt idx="1159">
                  <c:v>Pochat</c:v>
                </c:pt>
                <c:pt idx="1160">
                  <c:v>All Others</c:v>
                </c:pt>
                <c:pt idx="1161">
                  <c:v>Private Lab</c:v>
                </c:pt>
                <c:pt idx="1162">
                  <c:v>Other Suppl</c:v>
                </c:pt>
                <c:pt idx="1163">
                  <c:v>All Others</c:v>
                </c:pt>
                <c:pt idx="1164">
                  <c:v>All Others</c:v>
                </c:pt>
                <c:pt idx="1165">
                  <c:v>Apericube</c:v>
                </c:pt>
                <c:pt idx="1166">
                  <c:v>Private Lab</c:v>
                </c:pt>
                <c:pt idx="1167">
                  <c:v>Caprice Des</c:v>
                </c:pt>
                <c:pt idx="1168">
                  <c:v>Private Lab</c:v>
                </c:pt>
                <c:pt idx="1169">
                  <c:v>All Others</c:v>
                </c:pt>
                <c:pt idx="1170">
                  <c:v>All Others</c:v>
                </c:pt>
                <c:pt idx="1171">
                  <c:v>Milleret: A</c:v>
                </c:pt>
                <c:pt idx="1172">
                  <c:v>All Others</c:v>
                </c:pt>
                <c:pt idx="1173">
                  <c:v>All Others</c:v>
                </c:pt>
                <c:pt idx="1174">
                  <c:v>All Others</c:v>
                </c:pt>
                <c:pt idx="1175">
                  <c:v>All Others</c:v>
                </c:pt>
                <c:pt idx="1176">
                  <c:v>All Others</c:v>
                </c:pt>
                <c:pt idx="1177">
                  <c:v>Entremont</c:v>
                </c:pt>
                <c:pt idx="1178">
                  <c:v>All Others</c:v>
                </c:pt>
                <c:pt idx="1179">
                  <c:v>All Others</c:v>
                </c:pt>
                <c:pt idx="1180">
                  <c:v>All Others</c:v>
                </c:pt>
                <c:pt idx="1181">
                  <c:v>Private Lab</c:v>
                </c:pt>
                <c:pt idx="1182">
                  <c:v>Mini Babybe</c:v>
                </c:pt>
                <c:pt idx="1183">
                  <c:v>All Others</c:v>
                </c:pt>
                <c:pt idx="1184">
                  <c:v>Boursin</c:v>
                </c:pt>
                <c:pt idx="1185">
                  <c:v>All Others</c:v>
                </c:pt>
                <c:pt idx="1186">
                  <c:v>All Others</c:v>
                </c:pt>
                <c:pt idx="1187">
                  <c:v>All Others</c:v>
                </c:pt>
                <c:pt idx="1188">
                  <c:v>All Others</c:v>
                </c:pt>
                <c:pt idx="1189">
                  <c:v>Entremont</c:v>
                </c:pt>
                <c:pt idx="1190">
                  <c:v>Entremont</c:v>
                </c:pt>
                <c:pt idx="1191">
                  <c:v>All Others</c:v>
                </c:pt>
                <c:pt idx="1192">
                  <c:v>All Others</c:v>
                </c:pt>
                <c:pt idx="1193">
                  <c:v>All Others</c:v>
                </c:pt>
                <c:pt idx="1194">
                  <c:v>All Others</c:v>
                </c:pt>
                <c:pt idx="1195">
                  <c:v>Entremont</c:v>
                </c:pt>
                <c:pt idx="1196">
                  <c:v>Pochat</c:v>
                </c:pt>
                <c:pt idx="1197">
                  <c:v>Private Lab</c:v>
                </c:pt>
                <c:pt idx="1198">
                  <c:v>Richesmonts</c:v>
                </c:pt>
                <c:pt idx="1199">
                  <c:v>O'Tapas Ape</c:v>
                </c:pt>
                <c:pt idx="1200">
                  <c:v>Richesmonts</c:v>
                </c:pt>
                <c:pt idx="1201">
                  <c:v>Private Lab</c:v>
                </c:pt>
                <c:pt idx="1202">
                  <c:v>Entremont</c:v>
                </c:pt>
                <c:pt idx="1203">
                  <c:v>All Others</c:v>
                </c:pt>
                <c:pt idx="1204">
                  <c:v>All Others</c:v>
                </c:pt>
                <c:pt idx="1205">
                  <c:v>O'Tapas Ape</c:v>
                </c:pt>
                <c:pt idx="1206">
                  <c:v>Richesmonts</c:v>
                </c:pt>
                <c:pt idx="1207">
                  <c:v>President</c:v>
                </c:pt>
                <c:pt idx="1208">
                  <c:v>Entremont</c:v>
                </c:pt>
                <c:pt idx="1209">
                  <c:v>All Others</c:v>
                </c:pt>
                <c:pt idx="1210">
                  <c:v>All Others</c:v>
                </c:pt>
                <c:pt idx="1211">
                  <c:v>All Others</c:v>
                </c:pt>
                <c:pt idx="1212">
                  <c:v>All Others</c:v>
                </c:pt>
                <c:pt idx="1213">
                  <c:v>All Others</c:v>
                </c:pt>
                <c:pt idx="1214">
                  <c:v>Saint Agur</c:v>
                </c:pt>
                <c:pt idx="1215">
                  <c:v>Private Lab</c:v>
                </c:pt>
              </c:strCache>
            </c:strRef>
          </c:cat>
          <c:val>
            <c:numRef>
              <c:f>Sheet1!$C$2:$C$1217</c:f>
              <c:numCache>
                <c:formatCode>General</c:formatCode>
                <c:ptCount val="1216"/>
                <c:pt idx="0">
                  <c:v>1.8141876389207612E-2</c:v>
                </c:pt>
                <c:pt idx="1">
                  <c:v>3.5076525769759462E-2</c:v>
                </c:pt>
                <c:pt idx="2">
                  <c:v>5.0301525057867981E-2</c:v>
                </c:pt>
                <c:pt idx="3">
                  <c:v>6.5437452129956067E-2</c:v>
                </c:pt>
                <c:pt idx="4">
                  <c:v>7.769785046996755E-2</c:v>
                </c:pt>
                <c:pt idx="5">
                  <c:v>8.9415200501661574E-2</c:v>
                </c:pt>
                <c:pt idx="6">
                  <c:v>0.10053711483396555</c:v>
                </c:pt>
                <c:pt idx="7">
                  <c:v>0.11150471898638224</c:v>
                </c:pt>
                <c:pt idx="8">
                  <c:v>0.12234380634231812</c:v>
                </c:pt>
                <c:pt idx="9">
                  <c:v>0.13128666863721081</c:v>
                </c:pt>
                <c:pt idx="10">
                  <c:v>0.14015551192796954</c:v>
                </c:pt>
                <c:pt idx="11">
                  <c:v>0.14866795935877775</c:v>
                </c:pt>
                <c:pt idx="12">
                  <c:v>0.15682875564298979</c:v>
                </c:pt>
                <c:pt idx="13">
                  <c:v>0.16471063583431406</c:v>
                </c:pt>
                <c:pt idx="14">
                  <c:v>0.17244474366228604</c:v>
                </c:pt>
                <c:pt idx="15">
                  <c:v>0.17996663809778585</c:v>
                </c:pt>
                <c:pt idx="16">
                  <c:v>0.18725435916112024</c:v>
                </c:pt>
                <c:pt idx="17">
                  <c:v>0.19429773117621499</c:v>
                </c:pt>
                <c:pt idx="18">
                  <c:v>0.20131325105980702</c:v>
                </c:pt>
                <c:pt idx="19">
                  <c:v>0.20821103121356541</c:v>
                </c:pt>
                <c:pt idx="20">
                  <c:v>0.2149253503474573</c:v>
                </c:pt>
                <c:pt idx="21">
                  <c:v>0.2214439408316978</c:v>
                </c:pt>
                <c:pt idx="22">
                  <c:v>0.22792001337138443</c:v>
                </c:pt>
                <c:pt idx="23">
                  <c:v>0.23412779930432173</c:v>
                </c:pt>
                <c:pt idx="24">
                  <c:v>0.24006640207891941</c:v>
                </c:pt>
                <c:pt idx="25">
                  <c:v>0.2455400118762463</c:v>
                </c:pt>
                <c:pt idx="26">
                  <c:v>0.25095712047582086</c:v>
                </c:pt>
                <c:pt idx="27">
                  <c:v>0.25636000969338302</c:v>
                </c:pt>
                <c:pt idx="28">
                  <c:v>0.26167173843072677</c:v>
                </c:pt>
                <c:pt idx="29">
                  <c:v>0.26687854849492937</c:v>
                </c:pt>
                <c:pt idx="30">
                  <c:v>0.27208414470944797</c:v>
                </c:pt>
                <c:pt idx="31">
                  <c:v>0.27719511968081939</c:v>
                </c:pt>
                <c:pt idx="32">
                  <c:v>0.28229645395546055</c:v>
                </c:pt>
                <c:pt idx="33">
                  <c:v>0.28736556402602903</c:v>
                </c:pt>
                <c:pt idx="34">
                  <c:v>0.29241481344964043</c:v>
                </c:pt>
                <c:pt idx="35">
                  <c:v>0.29741233221544294</c:v>
                </c:pt>
                <c:pt idx="36">
                  <c:v>0.30240118800538529</c:v>
                </c:pt>
                <c:pt idx="37">
                  <c:v>0.30736304763077532</c:v>
                </c:pt>
                <c:pt idx="38">
                  <c:v>0.31232146125128746</c:v>
                </c:pt>
                <c:pt idx="39">
                  <c:v>0.31727137054498628</c:v>
                </c:pt>
                <c:pt idx="40">
                  <c:v>0.32213839493549151</c:v>
                </c:pt>
                <c:pt idx="41">
                  <c:v>0.32695957713048462</c:v>
                </c:pt>
                <c:pt idx="42">
                  <c:v>0.33176697530596599</c:v>
                </c:pt>
                <c:pt idx="43">
                  <c:v>0.33651269589735266</c:v>
                </c:pt>
                <c:pt idx="44">
                  <c:v>0.34124706016859557</c:v>
                </c:pt>
                <c:pt idx="45">
                  <c:v>0.345946809431525</c:v>
                </c:pt>
                <c:pt idx="46">
                  <c:v>0.35047974475596833</c:v>
                </c:pt>
                <c:pt idx="47">
                  <c:v>0.35500378466525029</c:v>
                </c:pt>
                <c:pt idx="48">
                  <c:v>0.3595114320695294</c:v>
                </c:pt>
                <c:pt idx="49">
                  <c:v>0.36392590820915921</c:v>
                </c:pt>
                <c:pt idx="50">
                  <c:v>0.36824134306940648</c:v>
                </c:pt>
                <c:pt idx="51">
                  <c:v>0.37254812971184448</c:v>
                </c:pt>
                <c:pt idx="52">
                  <c:v>0.37684375188879998</c:v>
                </c:pt>
                <c:pt idx="53">
                  <c:v>0.38111749156582936</c:v>
                </c:pt>
                <c:pt idx="54">
                  <c:v>0.38532905926405991</c:v>
                </c:pt>
                <c:pt idx="55">
                  <c:v>0.38947976476050633</c:v>
                </c:pt>
                <c:pt idx="56">
                  <c:v>0.39361832069157476</c:v>
                </c:pt>
                <c:pt idx="57">
                  <c:v>0.39775426444763934</c:v>
                </c:pt>
                <c:pt idx="58">
                  <c:v>0.40181031549532409</c:v>
                </c:pt>
                <c:pt idx="59">
                  <c:v>0.40583903094328655</c:v>
                </c:pt>
                <c:pt idx="60">
                  <c:v>0.40985823113795117</c:v>
                </c:pt>
                <c:pt idx="61">
                  <c:v>0.41380461510962763</c:v>
                </c:pt>
                <c:pt idx="62">
                  <c:v>0.41767930078066928</c:v>
                </c:pt>
                <c:pt idx="63">
                  <c:v>0.421546260612081</c:v>
                </c:pt>
                <c:pt idx="64">
                  <c:v>0.42540058017292331</c:v>
                </c:pt>
                <c:pt idx="65">
                  <c:v>0.42920463381250551</c:v>
                </c:pt>
                <c:pt idx="66">
                  <c:v>0.43297482510436852</c:v>
                </c:pt>
                <c:pt idx="67">
                  <c:v>0.43674058898097085</c:v>
                </c:pt>
                <c:pt idx="68">
                  <c:v>0.44047743814640788</c:v>
                </c:pt>
                <c:pt idx="69">
                  <c:v>0.44417996008552341</c:v>
                </c:pt>
                <c:pt idx="70">
                  <c:v>0.44785937829600331</c:v>
                </c:pt>
                <c:pt idx="71">
                  <c:v>0.45142747283926493</c:v>
                </c:pt>
                <c:pt idx="72">
                  <c:v>0.45498029648938976</c:v>
                </c:pt>
                <c:pt idx="73">
                  <c:v>0.45853171812468202</c:v>
                </c:pt>
                <c:pt idx="74">
                  <c:v>0.46207909974354883</c:v>
                </c:pt>
                <c:pt idx="75">
                  <c:v>0.46562156324196352</c:v>
                </c:pt>
                <c:pt idx="76">
                  <c:v>0.46913334844213411</c:v>
                </c:pt>
                <c:pt idx="77">
                  <c:v>0.47262989226526964</c:v>
                </c:pt>
                <c:pt idx="78">
                  <c:v>0.47606931136300357</c:v>
                </c:pt>
                <c:pt idx="79">
                  <c:v>0.47948337981885714</c:v>
                </c:pt>
                <c:pt idx="80">
                  <c:v>0.48288042855254593</c:v>
                </c:pt>
                <c:pt idx="81">
                  <c:v>0.48626867779840399</c:v>
                </c:pt>
                <c:pt idx="82">
                  <c:v>0.48964098097029801</c:v>
                </c:pt>
                <c:pt idx="83">
                  <c:v>0.49300934743212271</c:v>
                </c:pt>
                <c:pt idx="84">
                  <c:v>0.49632119424863147</c:v>
                </c:pt>
                <c:pt idx="85">
                  <c:v>0.49953330984687955</c:v>
                </c:pt>
                <c:pt idx="86">
                  <c:v>0.50274164738410521</c:v>
                </c:pt>
                <c:pt idx="87">
                  <c:v>0.50593600166813235</c:v>
                </c:pt>
                <c:pt idx="88">
                  <c:v>0.50908016382115373</c:v>
                </c:pt>
                <c:pt idx="89">
                  <c:v>0.51219523047688664</c:v>
                </c:pt>
                <c:pt idx="90">
                  <c:v>0.5152927092254963</c:v>
                </c:pt>
                <c:pt idx="91">
                  <c:v>0.51827557695105653</c:v>
                </c:pt>
                <c:pt idx="92">
                  <c:v>0.52122332051554832</c:v>
                </c:pt>
                <c:pt idx="93">
                  <c:v>0.52415103002598529</c:v>
                </c:pt>
                <c:pt idx="94">
                  <c:v>0.52706807315515669</c:v>
                </c:pt>
                <c:pt idx="95">
                  <c:v>0.52997763395253739</c:v>
                </c:pt>
                <c:pt idx="96">
                  <c:v>0.53288682948815913</c:v>
                </c:pt>
                <c:pt idx="97">
                  <c:v>0.53578013798202029</c:v>
                </c:pt>
                <c:pt idx="98">
                  <c:v>0.53866403821845243</c:v>
                </c:pt>
                <c:pt idx="99">
                  <c:v>0.54154437807511235</c:v>
                </c:pt>
                <c:pt idx="100">
                  <c:v>0.54437911186507404</c:v>
                </c:pt>
                <c:pt idx="101">
                  <c:v>0.54720658100449537</c:v>
                </c:pt>
                <c:pt idx="102">
                  <c:v>0.55000309513221879</c:v>
                </c:pt>
                <c:pt idx="103">
                  <c:v>0.55278444536267424</c:v>
                </c:pt>
                <c:pt idx="104">
                  <c:v>0.55556560373846842</c:v>
                </c:pt>
                <c:pt idx="105">
                  <c:v>0.55833819875524582</c:v>
                </c:pt>
                <c:pt idx="106">
                  <c:v>0.56108317407982167</c:v>
                </c:pt>
                <c:pt idx="107">
                  <c:v>0.56382195102303245</c:v>
                </c:pt>
                <c:pt idx="108">
                  <c:v>0.56655160380129344</c:v>
                </c:pt>
                <c:pt idx="109">
                  <c:v>0.5692745564244599</c:v>
                </c:pt>
                <c:pt idx="110">
                  <c:v>0.57198260341624851</c:v>
                </c:pt>
                <c:pt idx="111">
                  <c:v>0.57458839925259064</c:v>
                </c:pt>
                <c:pt idx="112">
                  <c:v>0.57717031287311382</c:v>
                </c:pt>
                <c:pt idx="113">
                  <c:v>0.57972983115144316</c:v>
                </c:pt>
                <c:pt idx="114">
                  <c:v>0.58224466574125355</c:v>
                </c:pt>
                <c:pt idx="115">
                  <c:v>0.584755976846419</c:v>
                </c:pt>
                <c:pt idx="116">
                  <c:v>0.58726104160655412</c:v>
                </c:pt>
                <c:pt idx="117">
                  <c:v>0.58976042082759184</c:v>
                </c:pt>
                <c:pt idx="118">
                  <c:v>0.59224932921153794</c:v>
                </c:pt>
                <c:pt idx="119">
                  <c:v>0.59470379968378106</c:v>
                </c:pt>
                <c:pt idx="120">
                  <c:v>0.59712917096922302</c:v>
                </c:pt>
                <c:pt idx="121">
                  <c:v>0.59949207142533611</c:v>
                </c:pt>
                <c:pt idx="122">
                  <c:v>0.60184205489742604</c:v>
                </c:pt>
                <c:pt idx="123">
                  <c:v>0.60417321078611963</c:v>
                </c:pt>
                <c:pt idx="124">
                  <c:v>0.60649967730414955</c:v>
                </c:pt>
                <c:pt idx="125">
                  <c:v>0.60881891237725372</c:v>
                </c:pt>
                <c:pt idx="126">
                  <c:v>0.61112249653741113</c:v>
                </c:pt>
                <c:pt idx="127">
                  <c:v>0.61341473913547562</c:v>
                </c:pt>
                <c:pt idx="128">
                  <c:v>0.61566009171641634</c:v>
                </c:pt>
                <c:pt idx="129">
                  <c:v>0.61790274726356076</c:v>
                </c:pt>
                <c:pt idx="130">
                  <c:v>0.6201374334632358</c:v>
                </c:pt>
                <c:pt idx="131">
                  <c:v>0.62234891631743194</c:v>
                </c:pt>
                <c:pt idx="132">
                  <c:v>0.62450976060958352</c:v>
                </c:pt>
                <c:pt idx="133">
                  <c:v>0.62666933570936034</c:v>
                </c:pt>
                <c:pt idx="134">
                  <c:v>0.62882138051368119</c:v>
                </c:pt>
                <c:pt idx="135">
                  <c:v>0.63096950705549626</c:v>
                </c:pt>
                <c:pt idx="136">
                  <c:v>0.63308045806717206</c:v>
                </c:pt>
                <c:pt idx="137">
                  <c:v>0.6351769793946106</c:v>
                </c:pt>
                <c:pt idx="138">
                  <c:v>0.63726497425815953</c:v>
                </c:pt>
                <c:pt idx="139">
                  <c:v>0.63934147628959415</c:v>
                </c:pt>
                <c:pt idx="140">
                  <c:v>0.64140002146263375</c:v>
                </c:pt>
                <c:pt idx="141">
                  <c:v>0.64341555798592809</c:v>
                </c:pt>
                <c:pt idx="142">
                  <c:v>0.64543075876356526</c:v>
                </c:pt>
                <c:pt idx="143">
                  <c:v>0.64744519581206994</c:v>
                </c:pt>
                <c:pt idx="144">
                  <c:v>0.64943284330873441</c:v>
                </c:pt>
                <c:pt idx="145">
                  <c:v>0.65140602422603444</c:v>
                </c:pt>
                <c:pt idx="146">
                  <c:v>0.65334978865843973</c:v>
                </c:pt>
                <c:pt idx="147">
                  <c:v>0.65528884527261777</c:v>
                </c:pt>
                <c:pt idx="148">
                  <c:v>0.65721346113402035</c:v>
                </c:pt>
                <c:pt idx="149">
                  <c:v>0.65913473060738836</c:v>
                </c:pt>
                <c:pt idx="150">
                  <c:v>0.66104614539228856</c:v>
                </c:pt>
                <c:pt idx="151">
                  <c:v>0.66294503797102633</c:v>
                </c:pt>
                <c:pt idx="152">
                  <c:v>0.66482243544867325</c:v>
                </c:pt>
                <c:pt idx="153">
                  <c:v>0.66668932150458871</c:v>
                </c:pt>
                <c:pt idx="154">
                  <c:v>0.66854724573411384</c:v>
                </c:pt>
                <c:pt idx="155">
                  <c:v>0.67038711348840063</c:v>
                </c:pt>
                <c:pt idx="156">
                  <c:v>0.67221630379288366</c:v>
                </c:pt>
                <c:pt idx="157">
                  <c:v>0.67397285866050172</c:v>
                </c:pt>
                <c:pt idx="158">
                  <c:v>0.67572864241996189</c:v>
                </c:pt>
                <c:pt idx="159">
                  <c:v>0.6774818176939309</c:v>
                </c:pt>
                <c:pt idx="160">
                  <c:v>0.67923280508685857</c:v>
                </c:pt>
                <c:pt idx="161">
                  <c:v>0.68097751292914144</c:v>
                </c:pt>
                <c:pt idx="162">
                  <c:v>0.68272081137756635</c:v>
                </c:pt>
                <c:pt idx="163">
                  <c:v>0.68446402865671141</c:v>
                </c:pt>
                <c:pt idx="164">
                  <c:v>0.68620168215067889</c:v>
                </c:pt>
                <c:pt idx="165">
                  <c:v>0.68792879839632581</c:v>
                </c:pt>
                <c:pt idx="166">
                  <c:v>0.68965482623572116</c:v>
                </c:pt>
                <c:pt idx="167">
                  <c:v>0.69136473828356737</c:v>
                </c:pt>
                <c:pt idx="168">
                  <c:v>0.69307146628193861</c:v>
                </c:pt>
                <c:pt idx="169">
                  <c:v>0.69477261204756857</c:v>
                </c:pt>
                <c:pt idx="170">
                  <c:v>0.6964500231778884</c:v>
                </c:pt>
                <c:pt idx="171">
                  <c:v>0.6981243203594748</c:v>
                </c:pt>
                <c:pt idx="172">
                  <c:v>0.69975916189206266</c:v>
                </c:pt>
                <c:pt idx="173">
                  <c:v>0.70138645099211827</c:v>
                </c:pt>
                <c:pt idx="174">
                  <c:v>0.70301350765287274</c:v>
                </c:pt>
                <c:pt idx="175">
                  <c:v>0.70463000492823036</c:v>
                </c:pt>
                <c:pt idx="176">
                  <c:v>0.70622483369539935</c:v>
                </c:pt>
                <c:pt idx="177">
                  <c:v>0.70781920496299144</c:v>
                </c:pt>
                <c:pt idx="178">
                  <c:v>0.70939812824083626</c:v>
                </c:pt>
                <c:pt idx="179">
                  <c:v>0.71097578232630643</c:v>
                </c:pt>
                <c:pt idx="180">
                  <c:v>0.71253751985391423</c:v>
                </c:pt>
                <c:pt idx="181">
                  <c:v>0.7140940514790779</c:v>
                </c:pt>
                <c:pt idx="182">
                  <c:v>0.71564654308781617</c:v>
                </c:pt>
                <c:pt idx="183">
                  <c:v>0.71716291067753968</c:v>
                </c:pt>
                <c:pt idx="184">
                  <c:v>0.7186687668455316</c:v>
                </c:pt>
                <c:pt idx="185">
                  <c:v>0.72017413230833216</c:v>
                </c:pt>
                <c:pt idx="186">
                  <c:v>0.72166661030321133</c:v>
                </c:pt>
                <c:pt idx="187">
                  <c:v>0.72315684138484559</c:v>
                </c:pt>
                <c:pt idx="188">
                  <c:v>0.72463614412981137</c:v>
                </c:pt>
                <c:pt idx="189">
                  <c:v>0.72610919315072131</c:v>
                </c:pt>
                <c:pt idx="190">
                  <c:v>0.72757532433528638</c:v>
                </c:pt>
                <c:pt idx="191">
                  <c:v>0.72902260579937883</c:v>
                </c:pt>
                <c:pt idx="192">
                  <c:v>0.73046443416367524</c:v>
                </c:pt>
                <c:pt idx="193">
                  <c:v>0.73190503392023676</c:v>
                </c:pt>
                <c:pt idx="194">
                  <c:v>0.73334324287255748</c:v>
                </c:pt>
                <c:pt idx="195">
                  <c:v>0.73477691003472323</c:v>
                </c:pt>
                <c:pt idx="196">
                  <c:v>0.73620015063394995</c:v>
                </c:pt>
                <c:pt idx="197">
                  <c:v>0.73761569859916121</c:v>
                </c:pt>
                <c:pt idx="198">
                  <c:v>0.73902452796171425</c:v>
                </c:pt>
                <c:pt idx="199">
                  <c:v>0.74042576061758247</c:v>
                </c:pt>
                <c:pt idx="200">
                  <c:v>0.74182469101751514</c:v>
                </c:pt>
                <c:pt idx="201">
                  <c:v>0.74322230795092037</c:v>
                </c:pt>
                <c:pt idx="202">
                  <c:v>0.74460969755507334</c:v>
                </c:pt>
                <c:pt idx="203">
                  <c:v>0.7459839340463893</c:v>
                </c:pt>
                <c:pt idx="204">
                  <c:v>0.7473569087243559</c:v>
                </c:pt>
                <c:pt idx="205">
                  <c:v>0.74872241213906998</c:v>
                </c:pt>
                <c:pt idx="206">
                  <c:v>0.75007461486043836</c:v>
                </c:pt>
                <c:pt idx="207">
                  <c:v>0.75142354129451372</c:v>
                </c:pt>
                <c:pt idx="208">
                  <c:v>0.75276729872127224</c:v>
                </c:pt>
                <c:pt idx="209">
                  <c:v>0.75410221976507286</c:v>
                </c:pt>
                <c:pt idx="210">
                  <c:v>0.75542855531278041</c:v>
                </c:pt>
                <c:pt idx="211">
                  <c:v>0.75675146330317355</c:v>
                </c:pt>
                <c:pt idx="212">
                  <c:v>0.75806971143900481</c:v>
                </c:pt>
                <c:pt idx="213">
                  <c:v>0.7593828311521591</c:v>
                </c:pt>
                <c:pt idx="214">
                  <c:v>0.76069286643268175</c:v>
                </c:pt>
                <c:pt idx="215">
                  <c:v>0.76200240362898752</c:v>
                </c:pt>
                <c:pt idx="216">
                  <c:v>0.76329390648713125</c:v>
                </c:pt>
                <c:pt idx="217">
                  <c:v>0.76457933271782963</c:v>
                </c:pt>
                <c:pt idx="218">
                  <c:v>0.76585497805031455</c:v>
                </c:pt>
                <c:pt idx="219">
                  <c:v>0.76711180317842864</c:v>
                </c:pt>
                <c:pt idx="220">
                  <c:v>0.76836452925791388</c:v>
                </c:pt>
                <c:pt idx="221">
                  <c:v>0.76961694172881812</c:v>
                </c:pt>
                <c:pt idx="222">
                  <c:v>0.77086636200490866</c:v>
                </c:pt>
                <c:pt idx="223">
                  <c:v>0.77210839956605193</c:v>
                </c:pt>
                <c:pt idx="224">
                  <c:v>0.77334960329732105</c:v>
                </c:pt>
                <c:pt idx="225">
                  <c:v>0.77458637592381674</c:v>
                </c:pt>
                <c:pt idx="226">
                  <c:v>0.77581673617720981</c:v>
                </c:pt>
                <c:pt idx="227">
                  <c:v>0.77703510182475899</c:v>
                </c:pt>
                <c:pt idx="228">
                  <c:v>0.77825035721308755</c:v>
                </c:pt>
                <c:pt idx="229">
                  <c:v>0.77946289712005623</c:v>
                </c:pt>
                <c:pt idx="230">
                  <c:v>0.78066998392722875</c:v>
                </c:pt>
                <c:pt idx="231">
                  <c:v>0.78187662061384977</c:v>
                </c:pt>
                <c:pt idx="232">
                  <c:v>0.7830823423013169</c:v>
                </c:pt>
                <c:pt idx="233">
                  <c:v>0.7842858761077427</c:v>
                </c:pt>
                <c:pt idx="234">
                  <c:v>0.78547875091192831</c:v>
                </c:pt>
                <c:pt idx="235">
                  <c:v>0.78666875158570715</c:v>
                </c:pt>
                <c:pt idx="236">
                  <c:v>0.78785712887389037</c:v>
                </c:pt>
                <c:pt idx="237">
                  <c:v>0.78904546926694641</c:v>
                </c:pt>
                <c:pt idx="238">
                  <c:v>0.79023067726370544</c:v>
                </c:pt>
                <c:pt idx="239">
                  <c:v>0.79140544393947465</c:v>
                </c:pt>
                <c:pt idx="240">
                  <c:v>0.79257409709267135</c:v>
                </c:pt>
                <c:pt idx="241">
                  <c:v>0.79373394706852463</c:v>
                </c:pt>
                <c:pt idx="242">
                  <c:v>0.79488983081820686</c:v>
                </c:pt>
                <c:pt idx="243">
                  <c:v>0.7960416413458492</c:v>
                </c:pt>
                <c:pt idx="244">
                  <c:v>0.79718645286786682</c:v>
                </c:pt>
                <c:pt idx="245">
                  <c:v>0.79832133222164958</c:v>
                </c:pt>
                <c:pt idx="246">
                  <c:v>0.79945483907670145</c:v>
                </c:pt>
                <c:pt idx="247">
                  <c:v>0.80057396421118143</c:v>
                </c:pt>
                <c:pt idx="248">
                  <c:v>0.80169258019290646</c:v>
                </c:pt>
                <c:pt idx="249">
                  <c:v>0.80280745500873618</c:v>
                </c:pt>
                <c:pt idx="250">
                  <c:v>0.80391368529626928</c:v>
                </c:pt>
                <c:pt idx="251">
                  <c:v>0.80501770187617205</c:v>
                </c:pt>
                <c:pt idx="252">
                  <c:v>0.80609634567711808</c:v>
                </c:pt>
                <c:pt idx="253">
                  <c:v>0.80717074653843923</c:v>
                </c:pt>
                <c:pt idx="254">
                  <c:v>0.80824398151374177</c:v>
                </c:pt>
                <c:pt idx="255">
                  <c:v>0.80931513560387169</c:v>
                </c:pt>
                <c:pt idx="256">
                  <c:v>0.8103858690895519</c:v>
                </c:pt>
                <c:pt idx="257">
                  <c:v>0.81145502346378906</c:v>
                </c:pt>
                <c:pt idx="258">
                  <c:v>0.81252248435168906</c:v>
                </c:pt>
                <c:pt idx="259">
                  <c:v>0.81358899334530799</c:v>
                </c:pt>
                <c:pt idx="260">
                  <c:v>0.81465440655364985</c:v>
                </c:pt>
                <c:pt idx="261">
                  <c:v>0.81570771816027909</c:v>
                </c:pt>
                <c:pt idx="262">
                  <c:v>0.81675605261425277</c:v>
                </c:pt>
                <c:pt idx="263">
                  <c:v>0.81780366761324652</c:v>
                </c:pt>
                <c:pt idx="264">
                  <c:v>0.81884819449009594</c:v>
                </c:pt>
                <c:pt idx="265">
                  <c:v>0.81988888427371942</c:v>
                </c:pt>
                <c:pt idx="266">
                  <c:v>0.82092899480384629</c:v>
                </c:pt>
                <c:pt idx="267">
                  <c:v>0.82196518707146737</c:v>
                </c:pt>
                <c:pt idx="268">
                  <c:v>0.82300018762648075</c:v>
                </c:pt>
                <c:pt idx="269">
                  <c:v>0.82403334342513546</c:v>
                </c:pt>
                <c:pt idx="270">
                  <c:v>0.82506162537749073</c:v>
                </c:pt>
                <c:pt idx="271">
                  <c:v>0.82608652404668426</c:v>
                </c:pt>
                <c:pt idx="272">
                  <c:v>0.82710759300167724</c:v>
                </c:pt>
                <c:pt idx="273">
                  <c:v>0.82811840880082888</c:v>
                </c:pt>
                <c:pt idx="274">
                  <c:v>0.8291274536338763</c:v>
                </c:pt>
                <c:pt idx="275">
                  <c:v>0.83013489352889169</c:v>
                </c:pt>
                <c:pt idx="276">
                  <c:v>0.83114018981701832</c:v>
                </c:pt>
                <c:pt idx="277">
                  <c:v>0.83214460062209283</c:v>
                </c:pt>
                <c:pt idx="278">
                  <c:v>0.83314493820512747</c:v>
                </c:pt>
                <c:pt idx="279">
                  <c:v>0.8341433424834982</c:v>
                </c:pt>
                <c:pt idx="280">
                  <c:v>0.83513083318325121</c:v>
                </c:pt>
                <c:pt idx="281">
                  <c:v>0.83611256455365257</c:v>
                </c:pt>
                <c:pt idx="282">
                  <c:v>0.83709025221811584</c:v>
                </c:pt>
                <c:pt idx="283">
                  <c:v>0.83806789560842654</c:v>
                </c:pt>
                <c:pt idx="284">
                  <c:v>0.83903617501546079</c:v>
                </c:pt>
                <c:pt idx="285">
                  <c:v>0.84000166146136801</c:v>
                </c:pt>
                <c:pt idx="286">
                  <c:v>0.84095875057633074</c:v>
                </c:pt>
                <c:pt idx="287">
                  <c:v>0.84191460739404589</c:v>
                </c:pt>
                <c:pt idx="288">
                  <c:v>0.84287039411101938</c:v>
                </c:pt>
                <c:pt idx="289">
                  <c:v>0.84381958397925438</c:v>
                </c:pt>
                <c:pt idx="290">
                  <c:v>0.84476760427195807</c:v>
                </c:pt>
                <c:pt idx="291">
                  <c:v>0.84571132259283344</c:v>
                </c:pt>
                <c:pt idx="292">
                  <c:v>0.84665286041169285</c:v>
                </c:pt>
                <c:pt idx="293">
                  <c:v>0.84759350905798736</c:v>
                </c:pt>
                <c:pt idx="294">
                  <c:v>0.84853243839135561</c:v>
                </c:pt>
                <c:pt idx="295">
                  <c:v>0.84947088439855789</c:v>
                </c:pt>
                <c:pt idx="296">
                  <c:v>0.85040723476253677</c:v>
                </c:pt>
                <c:pt idx="297">
                  <c:v>0.85134053389949849</c:v>
                </c:pt>
                <c:pt idx="298">
                  <c:v>0.8522657603826348</c:v>
                </c:pt>
                <c:pt idx="299">
                  <c:v>0.85318754455040591</c:v>
                </c:pt>
                <c:pt idx="300">
                  <c:v>0.85409826755905061</c:v>
                </c:pt>
                <c:pt idx="301">
                  <c:v>0.85500805343146513</c:v>
                </c:pt>
                <c:pt idx="302">
                  <c:v>0.8559164335995344</c:v>
                </c:pt>
                <c:pt idx="303">
                  <c:v>0.85681265313368749</c:v>
                </c:pt>
                <c:pt idx="304">
                  <c:v>0.85770200279516107</c:v>
                </c:pt>
                <c:pt idx="305">
                  <c:v>0.8585885853220967</c:v>
                </c:pt>
                <c:pt idx="306">
                  <c:v>0.85947239702498157</c:v>
                </c:pt>
                <c:pt idx="307">
                  <c:v>0.86035610542151042</c:v>
                </c:pt>
                <c:pt idx="308">
                  <c:v>0.86123850773053734</c:v>
                </c:pt>
                <c:pt idx="309">
                  <c:v>0.86211571151614563</c:v>
                </c:pt>
                <c:pt idx="310">
                  <c:v>0.86299288947516495</c:v>
                </c:pt>
                <c:pt idx="311">
                  <c:v>0.86386946604361126</c:v>
                </c:pt>
                <c:pt idx="312">
                  <c:v>0.86474316110262539</c:v>
                </c:pt>
                <c:pt idx="313">
                  <c:v>0.86561344705188881</c:v>
                </c:pt>
                <c:pt idx="314">
                  <c:v>0.86647808804669479</c:v>
                </c:pt>
                <c:pt idx="315">
                  <c:v>0.86732779020450856</c:v>
                </c:pt>
                <c:pt idx="316">
                  <c:v>0.86817282512873495</c:v>
                </c:pt>
                <c:pt idx="317">
                  <c:v>0.86901684174745131</c:v>
                </c:pt>
                <c:pt idx="318">
                  <c:v>0.86985621695916937</c:v>
                </c:pt>
                <c:pt idx="319">
                  <c:v>0.8706930980602906</c:v>
                </c:pt>
                <c:pt idx="320">
                  <c:v>0.87152906785177064</c:v>
                </c:pt>
                <c:pt idx="321">
                  <c:v>0.8723584371049995</c:v>
                </c:pt>
                <c:pt idx="322">
                  <c:v>0.87318184410567723</c:v>
                </c:pt>
                <c:pt idx="323">
                  <c:v>0.87400418852669237</c:v>
                </c:pt>
                <c:pt idx="324">
                  <c:v>0.87482354075289381</c:v>
                </c:pt>
                <c:pt idx="325">
                  <c:v>0.87563411931785351</c:v>
                </c:pt>
                <c:pt idx="326">
                  <c:v>0.87643931119424601</c:v>
                </c:pt>
                <c:pt idx="327">
                  <c:v>0.87723789515336192</c:v>
                </c:pt>
                <c:pt idx="328">
                  <c:v>0.87802925135706467</c:v>
                </c:pt>
                <c:pt idx="329">
                  <c:v>0.87880997438511621</c:v>
                </c:pt>
                <c:pt idx="330">
                  <c:v>0.87959041701020124</c:v>
                </c:pt>
                <c:pt idx="331">
                  <c:v>0.88036924731822885</c:v>
                </c:pt>
                <c:pt idx="332">
                  <c:v>0.88114246587741352</c:v>
                </c:pt>
                <c:pt idx="333">
                  <c:v>0.88190774460523058</c:v>
                </c:pt>
                <c:pt idx="334">
                  <c:v>0.8826720456121776</c:v>
                </c:pt>
                <c:pt idx="335">
                  <c:v>0.88343505160016078</c:v>
                </c:pt>
                <c:pt idx="336">
                  <c:v>0.88419519083676268</c:v>
                </c:pt>
                <c:pt idx="337">
                  <c:v>0.88494813552356588</c:v>
                </c:pt>
                <c:pt idx="338">
                  <c:v>0.88570028327562211</c:v>
                </c:pt>
                <c:pt idx="339">
                  <c:v>0.88644700006495858</c:v>
                </c:pt>
                <c:pt idx="340">
                  <c:v>0.88718486571328625</c:v>
                </c:pt>
                <c:pt idx="341">
                  <c:v>0.88791952886457537</c:v>
                </c:pt>
                <c:pt idx="342">
                  <c:v>0.88865394112899976</c:v>
                </c:pt>
                <c:pt idx="343">
                  <c:v>0.88938679641905738</c:v>
                </c:pt>
                <c:pt idx="344">
                  <c:v>0.89010736563176651</c:v>
                </c:pt>
                <c:pt idx="345">
                  <c:v>0.8908232048891721</c:v>
                </c:pt>
                <c:pt idx="346">
                  <c:v>0.89153584164953914</c:v>
                </c:pt>
                <c:pt idx="347">
                  <c:v>0.89222364429980616</c:v>
                </c:pt>
                <c:pt idx="348">
                  <c:v>0.89290801201373338</c:v>
                </c:pt>
                <c:pt idx="349">
                  <c:v>0.89358898906547346</c:v>
                </c:pt>
                <c:pt idx="350">
                  <c:v>0.89426975950450138</c:v>
                </c:pt>
                <c:pt idx="351">
                  <c:v>0.89494934192043429</c:v>
                </c:pt>
                <c:pt idx="352">
                  <c:v>0.89562754814812362</c:v>
                </c:pt>
                <c:pt idx="353">
                  <c:v>0.89629869264847217</c:v>
                </c:pt>
                <c:pt idx="354">
                  <c:v>0.8969680809407673</c:v>
                </c:pt>
                <c:pt idx="355">
                  <c:v>0.89763453975996488</c:v>
                </c:pt>
                <c:pt idx="356">
                  <c:v>0.89829299602607871</c:v>
                </c:pt>
                <c:pt idx="357">
                  <c:v>0.89894692894960115</c:v>
                </c:pt>
                <c:pt idx="358">
                  <c:v>0.89959999114812228</c:v>
                </c:pt>
                <c:pt idx="359">
                  <c:v>0.90025197231941723</c:v>
                </c:pt>
                <c:pt idx="360">
                  <c:v>0.90089937111591734</c:v>
                </c:pt>
                <c:pt idx="361">
                  <c:v>0.90153854967808333</c:v>
                </c:pt>
                <c:pt idx="362">
                  <c:v>0.90217011308600092</c:v>
                </c:pt>
                <c:pt idx="363">
                  <c:v>0.90279518295153616</c:v>
                </c:pt>
                <c:pt idx="364">
                  <c:v>0.90341370024248546</c:v>
                </c:pt>
                <c:pt idx="365">
                  <c:v>0.90402643606700683</c:v>
                </c:pt>
                <c:pt idx="366">
                  <c:v>0.90463859632754429</c:v>
                </c:pt>
                <c:pt idx="367">
                  <c:v>0.90524784187303509</c:v>
                </c:pt>
                <c:pt idx="368">
                  <c:v>0.90585463758208162</c:v>
                </c:pt>
                <c:pt idx="369">
                  <c:v>0.90646083190055526</c:v>
                </c:pt>
                <c:pt idx="370">
                  <c:v>0.90706429229010543</c:v>
                </c:pt>
                <c:pt idx="371">
                  <c:v>0.90766761616768499</c:v>
                </c:pt>
                <c:pt idx="372">
                  <c:v>0.90826916907916022</c:v>
                </c:pt>
                <c:pt idx="373">
                  <c:v>0.90886836808152194</c:v>
                </c:pt>
                <c:pt idx="374">
                  <c:v>0.90946650819373376</c:v>
                </c:pt>
                <c:pt idx="375">
                  <c:v>0.91006026885435021</c:v>
                </c:pt>
                <c:pt idx="376">
                  <c:v>0.91064817425828426</c:v>
                </c:pt>
                <c:pt idx="377">
                  <c:v>0.91123369992651571</c:v>
                </c:pt>
                <c:pt idx="378">
                  <c:v>0.91181698237101505</c:v>
                </c:pt>
                <c:pt idx="379">
                  <c:v>0.91239947894930562</c:v>
                </c:pt>
                <c:pt idx="380">
                  <c:v>0.91297845204295114</c:v>
                </c:pt>
                <c:pt idx="381">
                  <c:v>0.91355708570142669</c:v>
                </c:pt>
                <c:pt idx="382">
                  <c:v>0.91412973128076214</c:v>
                </c:pt>
                <c:pt idx="383">
                  <c:v>0.9146989050286306</c:v>
                </c:pt>
                <c:pt idx="384">
                  <c:v>0.91526775409937999</c:v>
                </c:pt>
                <c:pt idx="385">
                  <c:v>0.91583496502648287</c:v>
                </c:pt>
                <c:pt idx="386">
                  <c:v>0.91639895131947091</c:v>
                </c:pt>
                <c:pt idx="387">
                  <c:v>0.91695877953162652</c:v>
                </c:pt>
                <c:pt idx="388">
                  <c:v>0.91751785508318784</c:v>
                </c:pt>
                <c:pt idx="389">
                  <c:v>0.91807178745402129</c:v>
                </c:pt>
                <c:pt idx="390">
                  <c:v>0.91862555379678246</c:v>
                </c:pt>
                <c:pt idx="391">
                  <c:v>0.91917856747894933</c:v>
                </c:pt>
                <c:pt idx="392">
                  <c:v>0.9197303746904576</c:v>
                </c:pt>
                <c:pt idx="393">
                  <c:v>0.9202812447657357</c:v>
                </c:pt>
                <c:pt idx="394">
                  <c:v>0.92081869239374836</c:v>
                </c:pt>
                <c:pt idx="395">
                  <c:v>0.92135480810767012</c:v>
                </c:pt>
                <c:pt idx="396">
                  <c:v>0.92188194354763797</c:v>
                </c:pt>
                <c:pt idx="397">
                  <c:v>0.92240711247732754</c:v>
                </c:pt>
                <c:pt idx="398">
                  <c:v>0.92293152505691001</c:v>
                </c:pt>
                <c:pt idx="399">
                  <c:v>0.92344882794548633</c:v>
                </c:pt>
                <c:pt idx="400">
                  <c:v>0.92396159642293307</c:v>
                </c:pt>
                <c:pt idx="401">
                  <c:v>0.92446668333490245</c:v>
                </c:pt>
                <c:pt idx="402">
                  <c:v>0.92497116147727354</c:v>
                </c:pt>
                <c:pt idx="403">
                  <c:v>0.9254740236130744</c:v>
                </c:pt>
                <c:pt idx="404">
                  <c:v>0.92597530294791963</c:v>
                </c:pt>
                <c:pt idx="405">
                  <c:v>0.9264729370442002</c:v>
                </c:pt>
                <c:pt idx="406">
                  <c:v>0.92695739958008005</c:v>
                </c:pt>
                <c:pt idx="407">
                  <c:v>0.92743940859000296</c:v>
                </c:pt>
                <c:pt idx="408">
                  <c:v>0.92791867629197688</c:v>
                </c:pt>
                <c:pt idx="409">
                  <c:v>0.92839694044649168</c:v>
                </c:pt>
                <c:pt idx="410">
                  <c:v>0.92887515663734121</c:v>
                </c:pt>
                <c:pt idx="411">
                  <c:v>0.92935243569196058</c:v>
                </c:pt>
                <c:pt idx="412">
                  <c:v>0.92982743831723336</c:v>
                </c:pt>
                <c:pt idx="413">
                  <c:v>0.93030087289960128</c:v>
                </c:pt>
                <c:pt idx="414">
                  <c:v>0.93076826406013835</c:v>
                </c:pt>
                <c:pt idx="415">
                  <c:v>0.93123534899111982</c:v>
                </c:pt>
                <c:pt idx="416">
                  <c:v>0.93169950444900385</c:v>
                </c:pt>
                <c:pt idx="417">
                  <c:v>0.93216277811334836</c:v>
                </c:pt>
                <c:pt idx="418">
                  <c:v>0.93262468665798748</c:v>
                </c:pt>
                <c:pt idx="419">
                  <c:v>0.93308618566671497</c:v>
                </c:pt>
                <c:pt idx="420">
                  <c:v>0.93354755185298466</c:v>
                </c:pt>
                <c:pt idx="421">
                  <c:v>0.93399508236656459</c:v>
                </c:pt>
                <c:pt idx="422">
                  <c:v>0.93444191187272829</c:v>
                </c:pt>
                <c:pt idx="423">
                  <c:v>0.93488855321374342</c:v>
                </c:pt>
                <c:pt idx="424">
                  <c:v>0.93533443451513876</c:v>
                </c:pt>
                <c:pt idx="425">
                  <c:v>0.93578020144163987</c:v>
                </c:pt>
                <c:pt idx="426">
                  <c:v>0.93622441139377433</c:v>
                </c:pt>
                <c:pt idx="427">
                  <c:v>0.9366685807612688</c:v>
                </c:pt>
                <c:pt idx="428">
                  <c:v>0.93711242545164419</c:v>
                </c:pt>
                <c:pt idx="429">
                  <c:v>0.93755501570769573</c:v>
                </c:pt>
                <c:pt idx="430">
                  <c:v>0.9379968016499749</c:v>
                </c:pt>
                <c:pt idx="431">
                  <c:v>0.93843858390274137</c:v>
                </c:pt>
                <c:pt idx="432">
                  <c:v>0.93887888666090813</c:v>
                </c:pt>
                <c:pt idx="433">
                  <c:v>0.93931741476345798</c:v>
                </c:pt>
                <c:pt idx="434">
                  <c:v>0.93975533040689674</c:v>
                </c:pt>
                <c:pt idx="435">
                  <c:v>0.940182760455193</c:v>
                </c:pt>
                <c:pt idx="436">
                  <c:v>0.94060955221778919</c:v>
                </c:pt>
                <c:pt idx="437">
                  <c:v>0.94103551015051123</c:v>
                </c:pt>
                <c:pt idx="438">
                  <c:v>0.94145729524435007</c:v>
                </c:pt>
                <c:pt idx="439">
                  <c:v>0.94187865973373908</c:v>
                </c:pt>
                <c:pt idx="440">
                  <c:v>0.94229741204812434</c:v>
                </c:pt>
                <c:pt idx="441">
                  <c:v>0.94271519771017764</c:v>
                </c:pt>
                <c:pt idx="442">
                  <c:v>0.94312441263418867</c:v>
                </c:pt>
                <c:pt idx="443">
                  <c:v>0.94352169567407207</c:v>
                </c:pt>
                <c:pt idx="444">
                  <c:v>0.94391857286755654</c:v>
                </c:pt>
                <c:pt idx="445">
                  <c:v>0.9443145682675016</c:v>
                </c:pt>
                <c:pt idx="446">
                  <c:v>0.9447101910266622</c:v>
                </c:pt>
                <c:pt idx="447">
                  <c:v>0.94510337501791675</c:v>
                </c:pt>
                <c:pt idx="448">
                  <c:v>0.94549133096965088</c:v>
                </c:pt>
                <c:pt idx="449">
                  <c:v>0.94587693301227138</c:v>
                </c:pt>
                <c:pt idx="450">
                  <c:v>0.94626183404747555</c:v>
                </c:pt>
                <c:pt idx="451">
                  <c:v>0.94664648050630229</c:v>
                </c:pt>
                <c:pt idx="452">
                  <c:v>0.94703030051428039</c:v>
                </c:pt>
                <c:pt idx="453">
                  <c:v>0.94740928357108611</c:v>
                </c:pt>
                <c:pt idx="454">
                  <c:v>0.94778791981369637</c:v>
                </c:pt>
                <c:pt idx="455">
                  <c:v>0.94816596204475923</c:v>
                </c:pt>
                <c:pt idx="456">
                  <c:v>0.94854208203969637</c:v>
                </c:pt>
                <c:pt idx="457">
                  <c:v>0.94891480399342087</c:v>
                </c:pt>
                <c:pt idx="458">
                  <c:v>0.94928686552436903</c:v>
                </c:pt>
                <c:pt idx="459">
                  <c:v>0.94965775010076037</c:v>
                </c:pt>
                <c:pt idx="460">
                  <c:v>0.95002485661612912</c:v>
                </c:pt>
                <c:pt idx="461">
                  <c:v>0.95039178972440019</c:v>
                </c:pt>
                <c:pt idx="462">
                  <c:v>0.95075470126380945</c:v>
                </c:pt>
                <c:pt idx="463">
                  <c:v>0.95110364430807115</c:v>
                </c:pt>
                <c:pt idx="464">
                  <c:v>0.95145221471154839</c:v>
                </c:pt>
                <c:pt idx="465">
                  <c:v>0.95179708822328291</c:v>
                </c:pt>
                <c:pt idx="466">
                  <c:v>0.95213596627685182</c:v>
                </c:pt>
                <c:pt idx="467">
                  <c:v>0.95247387029906339</c:v>
                </c:pt>
                <c:pt idx="468">
                  <c:v>0.952811409059516</c:v>
                </c:pt>
                <c:pt idx="469">
                  <c:v>0.95314786310322974</c:v>
                </c:pt>
                <c:pt idx="470">
                  <c:v>0.95348197430636794</c:v>
                </c:pt>
                <c:pt idx="471">
                  <c:v>0.95381598220315011</c:v>
                </c:pt>
                <c:pt idx="472">
                  <c:v>0.95414928540300326</c:v>
                </c:pt>
                <c:pt idx="473">
                  <c:v>0.95448044868548032</c:v>
                </c:pt>
                <c:pt idx="474">
                  <c:v>0.9548111397103296</c:v>
                </c:pt>
                <c:pt idx="475">
                  <c:v>0.95513482066101607</c:v>
                </c:pt>
                <c:pt idx="476">
                  <c:v>0.95545812897091809</c:v>
                </c:pt>
                <c:pt idx="477">
                  <c:v>0.95576852029679693</c:v>
                </c:pt>
                <c:pt idx="478">
                  <c:v>0.95607714803559696</c:v>
                </c:pt>
                <c:pt idx="479">
                  <c:v>0.95638563557291367</c:v>
                </c:pt>
                <c:pt idx="480">
                  <c:v>0.95669070662145417</c:v>
                </c:pt>
                <c:pt idx="481">
                  <c:v>0.9569957186377912</c:v>
                </c:pt>
                <c:pt idx="482">
                  <c:v>0.9573004945253144</c:v>
                </c:pt>
                <c:pt idx="483">
                  <c:v>0.95760344779355522</c:v>
                </c:pt>
                <c:pt idx="484">
                  <c:v>0.9579063051344654</c:v>
                </c:pt>
                <c:pt idx="485">
                  <c:v>0.9582061223168965</c:v>
                </c:pt>
                <c:pt idx="486">
                  <c:v>0.95850137926160905</c:v>
                </c:pt>
                <c:pt idx="487">
                  <c:v>0.9587917217753823</c:v>
                </c:pt>
                <c:pt idx="488">
                  <c:v>0.95907758522071673</c:v>
                </c:pt>
                <c:pt idx="489">
                  <c:v>0.95936238608638857</c:v>
                </c:pt>
                <c:pt idx="490">
                  <c:v>0.95964533850618905</c:v>
                </c:pt>
                <c:pt idx="491">
                  <c:v>0.95992625800448228</c:v>
                </c:pt>
                <c:pt idx="492">
                  <c:v>0.96020643222120672</c:v>
                </c:pt>
                <c:pt idx="493">
                  <c:v>0.96048360317457926</c:v>
                </c:pt>
                <c:pt idx="494">
                  <c:v>0.96075816933197333</c:v>
                </c:pt>
                <c:pt idx="495">
                  <c:v>0.96103137036966202</c:v>
                </c:pt>
                <c:pt idx="496">
                  <c:v>0.96130386671042178</c:v>
                </c:pt>
                <c:pt idx="497">
                  <c:v>0.96157612323285491</c:v>
                </c:pt>
                <c:pt idx="498">
                  <c:v>0.96184810673134691</c:v>
                </c:pt>
                <c:pt idx="499">
                  <c:v>0.96211922319435039</c:v>
                </c:pt>
                <c:pt idx="500">
                  <c:v>0.96238991167387866</c:v>
                </c:pt>
                <c:pt idx="501">
                  <c:v>0.96266023858116068</c:v>
                </c:pt>
                <c:pt idx="502">
                  <c:v>0.96292589825485531</c:v>
                </c:pt>
                <c:pt idx="503">
                  <c:v>0.96319128859412162</c:v>
                </c:pt>
                <c:pt idx="504">
                  <c:v>0.96345590044620455</c:v>
                </c:pt>
                <c:pt idx="505">
                  <c:v>0.96371957885157</c:v>
                </c:pt>
                <c:pt idx="506">
                  <c:v>0.9639818478630775</c:v>
                </c:pt>
                <c:pt idx="507">
                  <c:v>0.96424270379121424</c:v>
                </c:pt>
                <c:pt idx="508">
                  <c:v>0.96450094016532173</c:v>
                </c:pt>
                <c:pt idx="509">
                  <c:v>0.96475418462872276</c:v>
                </c:pt>
                <c:pt idx="510">
                  <c:v>0.96499962208321399</c:v>
                </c:pt>
                <c:pt idx="511">
                  <c:v>0.96524421832880569</c:v>
                </c:pt>
                <c:pt idx="512">
                  <c:v>0.96548482990066276</c:v>
                </c:pt>
                <c:pt idx="513">
                  <c:v>0.96571903647844259</c:v>
                </c:pt>
                <c:pt idx="514">
                  <c:v>0.96595195541628409</c:v>
                </c:pt>
                <c:pt idx="515">
                  <c:v>0.96618225111058365</c:v>
                </c:pt>
                <c:pt idx="516">
                  <c:v>0.9664097021905782</c:v>
                </c:pt>
                <c:pt idx="517">
                  <c:v>0.96663441934164929</c:v>
                </c:pt>
                <c:pt idx="518">
                  <c:v>0.96685903687587693</c:v>
                </c:pt>
                <c:pt idx="519">
                  <c:v>0.96708263610459466</c:v>
                </c:pt>
                <c:pt idx="520">
                  <c:v>0.96730389987176235</c:v>
                </c:pt>
                <c:pt idx="521">
                  <c:v>0.96752363618066506</c:v>
                </c:pt>
                <c:pt idx="522">
                  <c:v>0.96774252390164284</c:v>
                </c:pt>
                <c:pt idx="523">
                  <c:v>0.96796046341785225</c:v>
                </c:pt>
                <c:pt idx="524">
                  <c:v>0.96817341471286789</c:v>
                </c:pt>
                <c:pt idx="525">
                  <c:v>0.96838611143150599</c:v>
                </c:pt>
                <c:pt idx="526">
                  <c:v>0.96859850192058861</c:v>
                </c:pt>
                <c:pt idx="527">
                  <c:v>0.96881080017185328</c:v>
                </c:pt>
                <c:pt idx="528">
                  <c:v>0.9690198996155921</c:v>
                </c:pt>
                <c:pt idx="529">
                  <c:v>0.96922818367702035</c:v>
                </c:pt>
                <c:pt idx="530">
                  <c:v>0.96943549001757856</c:v>
                </c:pt>
                <c:pt idx="531">
                  <c:v>0.969641110250825</c:v>
                </c:pt>
                <c:pt idx="532">
                  <c:v>0.9698448451430729</c:v>
                </c:pt>
                <c:pt idx="533">
                  <c:v>0.97004825166868891</c:v>
                </c:pt>
                <c:pt idx="534">
                  <c:v>0.97025031152216312</c:v>
                </c:pt>
                <c:pt idx="535">
                  <c:v>0.97045060778855852</c:v>
                </c:pt>
                <c:pt idx="536">
                  <c:v>0.97064795982380547</c:v>
                </c:pt>
                <c:pt idx="537">
                  <c:v>0.97084469202091594</c:v>
                </c:pt>
                <c:pt idx="538">
                  <c:v>0.97104117702067438</c:v>
                </c:pt>
                <c:pt idx="539">
                  <c:v>0.97123737792795362</c:v>
                </c:pt>
                <c:pt idx="540">
                  <c:v>0.97143350873449119</c:v>
                </c:pt>
                <c:pt idx="541">
                  <c:v>0.97162780954272099</c:v>
                </c:pt>
                <c:pt idx="542">
                  <c:v>0.97181996674406212</c:v>
                </c:pt>
                <c:pt idx="543">
                  <c:v>0.97201163692972448</c:v>
                </c:pt>
                <c:pt idx="544">
                  <c:v>0.97220238842672024</c:v>
                </c:pt>
                <c:pt idx="545">
                  <c:v>0.97239304399638538</c:v>
                </c:pt>
                <c:pt idx="546">
                  <c:v>0.97258359625969448</c:v>
                </c:pt>
                <c:pt idx="547">
                  <c:v>0.97277359509609596</c:v>
                </c:pt>
                <c:pt idx="548">
                  <c:v>0.97296018482274671</c:v>
                </c:pt>
                <c:pt idx="549">
                  <c:v>0.97314631336030777</c:v>
                </c:pt>
                <c:pt idx="550">
                  <c:v>0.97333033149659454</c:v>
                </c:pt>
                <c:pt idx="551">
                  <c:v>0.9735116673571359</c:v>
                </c:pt>
                <c:pt idx="552">
                  <c:v>0.97369140196915793</c:v>
                </c:pt>
                <c:pt idx="553">
                  <c:v>0.97387097424262037</c:v>
                </c:pt>
                <c:pt idx="554">
                  <c:v>0.97404986395623017</c:v>
                </c:pt>
                <c:pt idx="555">
                  <c:v>0.97422732951793112</c:v>
                </c:pt>
                <c:pt idx="556">
                  <c:v>0.9744041420358811</c:v>
                </c:pt>
                <c:pt idx="557">
                  <c:v>0.97458051919133037</c:v>
                </c:pt>
                <c:pt idx="558">
                  <c:v>0.97475464205450946</c:v>
                </c:pt>
                <c:pt idx="559">
                  <c:v>0.97492849927277281</c:v>
                </c:pt>
                <c:pt idx="560">
                  <c:v>0.97510194326561184</c:v>
                </c:pt>
                <c:pt idx="561">
                  <c:v>0.97527323258302401</c:v>
                </c:pt>
                <c:pt idx="562">
                  <c:v>0.97544378768740547</c:v>
                </c:pt>
                <c:pt idx="563">
                  <c:v>0.97561428375958348</c:v>
                </c:pt>
                <c:pt idx="564">
                  <c:v>0.97578373201014978</c:v>
                </c:pt>
                <c:pt idx="565">
                  <c:v>0.97595187786272686</c:v>
                </c:pt>
                <c:pt idx="566">
                  <c:v>0.97611948504644719</c:v>
                </c:pt>
                <c:pt idx="567">
                  <c:v>0.97628615878345004</c:v>
                </c:pt>
                <c:pt idx="568">
                  <c:v>0.97645272183507137</c:v>
                </c:pt>
                <c:pt idx="569">
                  <c:v>0.97661807103700871</c:v>
                </c:pt>
                <c:pt idx="570">
                  <c:v>0.9767810921564215</c:v>
                </c:pt>
                <c:pt idx="571">
                  <c:v>0.97694039793652798</c:v>
                </c:pt>
                <c:pt idx="572">
                  <c:v>0.97709746049290236</c:v>
                </c:pt>
                <c:pt idx="573">
                  <c:v>0.97725344202205056</c:v>
                </c:pt>
                <c:pt idx="574">
                  <c:v>0.97740835728202347</c:v>
                </c:pt>
                <c:pt idx="575">
                  <c:v>0.97756303272366973</c:v>
                </c:pt>
                <c:pt idx="576">
                  <c:v>0.97771491520418907</c:v>
                </c:pt>
                <c:pt idx="577">
                  <c:v>0.97786497137591333</c:v>
                </c:pt>
                <c:pt idx="578">
                  <c:v>0.97801311638005006</c:v>
                </c:pt>
                <c:pt idx="579">
                  <c:v>0.97816034638503291</c:v>
                </c:pt>
                <c:pt idx="580">
                  <c:v>0.97830598989954731</c:v>
                </c:pt>
                <c:pt idx="581">
                  <c:v>0.97845030149997081</c:v>
                </c:pt>
                <c:pt idx="582">
                  <c:v>0.97859423308058435</c:v>
                </c:pt>
                <c:pt idx="583">
                  <c:v>0.97873707625494633</c:v>
                </c:pt>
                <c:pt idx="584">
                  <c:v>0.97887979029636318</c:v>
                </c:pt>
                <c:pt idx="585">
                  <c:v>0.97902114659710016</c:v>
                </c:pt>
                <c:pt idx="586">
                  <c:v>0.97916073193173281</c:v>
                </c:pt>
                <c:pt idx="587">
                  <c:v>0.97929953140015669</c:v>
                </c:pt>
                <c:pt idx="588">
                  <c:v>0.97943707274474401</c:v>
                </c:pt>
                <c:pt idx="589">
                  <c:v>0.97957440747661906</c:v>
                </c:pt>
                <c:pt idx="590">
                  <c:v>0.9797116167650618</c:v>
                </c:pt>
                <c:pt idx="591">
                  <c:v>0.97984725063157418</c:v>
                </c:pt>
                <c:pt idx="592">
                  <c:v>0.97998204697869984</c:v>
                </c:pt>
                <c:pt idx="593">
                  <c:v>0.98011539703684025</c:v>
                </c:pt>
                <c:pt idx="594">
                  <c:v>0.98024790219656843</c:v>
                </c:pt>
                <c:pt idx="595">
                  <c:v>0.98037999782038499</c:v>
                </c:pt>
                <c:pt idx="596">
                  <c:v>0.98051190158954027</c:v>
                </c:pt>
                <c:pt idx="597">
                  <c:v>0.9806435839879325</c:v>
                </c:pt>
                <c:pt idx="598">
                  <c:v>0.98077499705189641</c:v>
                </c:pt>
                <c:pt idx="599">
                  <c:v>0.98090580134626193</c:v>
                </c:pt>
                <c:pt idx="600">
                  <c:v>0.98103603376615633</c:v>
                </c:pt>
                <c:pt idx="601">
                  <c:v>0.98116597102503333</c:v>
                </c:pt>
                <c:pt idx="602">
                  <c:v>0.98129488997840031</c:v>
                </c:pt>
                <c:pt idx="603">
                  <c:v>0.98142113772455997</c:v>
                </c:pt>
                <c:pt idx="604">
                  <c:v>0.98154689845504095</c:v>
                </c:pt>
                <c:pt idx="605">
                  <c:v>0.9816724230567081</c:v>
                </c:pt>
                <c:pt idx="606">
                  <c:v>0.98179773735615028</c:v>
                </c:pt>
                <c:pt idx="607">
                  <c:v>0.98192268270432082</c:v>
                </c:pt>
                <c:pt idx="608">
                  <c:v>0.98204660236795593</c:v>
                </c:pt>
                <c:pt idx="609">
                  <c:v>0.9821698505402765</c:v>
                </c:pt>
                <c:pt idx="610">
                  <c:v>0.98229299171672824</c:v>
                </c:pt>
                <c:pt idx="611">
                  <c:v>0.98241544295430183</c:v>
                </c:pt>
                <c:pt idx="612">
                  <c:v>0.98253788681285004</c:v>
                </c:pt>
                <c:pt idx="613">
                  <c:v>0.98265916109586682</c:v>
                </c:pt>
                <c:pt idx="614">
                  <c:v>0.9827792473557887</c:v>
                </c:pt>
                <c:pt idx="615">
                  <c:v>0.9828988539790573</c:v>
                </c:pt>
                <c:pt idx="616">
                  <c:v>0.98301809903007964</c:v>
                </c:pt>
                <c:pt idx="617">
                  <c:v>0.98313607857823992</c:v>
                </c:pt>
                <c:pt idx="618">
                  <c:v>0.98325329070775502</c:v>
                </c:pt>
                <c:pt idx="619">
                  <c:v>0.98337033680919783</c:v>
                </c:pt>
                <c:pt idx="620">
                  <c:v>0.98348734970502616</c:v>
                </c:pt>
                <c:pt idx="621">
                  <c:v>0.98360381286345966</c:v>
                </c:pt>
                <c:pt idx="622">
                  <c:v>0.98371950122422247</c:v>
                </c:pt>
                <c:pt idx="623">
                  <c:v>0.98383487966591709</c:v>
                </c:pt>
                <c:pt idx="624">
                  <c:v>0.98394839490368946</c:v>
                </c:pt>
                <c:pt idx="625">
                  <c:v>0.98406002111095059</c:v>
                </c:pt>
                <c:pt idx="626">
                  <c:v>0.98417080610931218</c:v>
                </c:pt>
                <c:pt idx="627">
                  <c:v>0.98428016695576492</c:v>
                </c:pt>
                <c:pt idx="628">
                  <c:v>0.98438893010115747</c:v>
                </c:pt>
                <c:pt idx="629">
                  <c:v>0.98449613258267055</c:v>
                </c:pt>
                <c:pt idx="630">
                  <c:v>0.98460198470252913</c:v>
                </c:pt>
                <c:pt idx="631">
                  <c:v>0.98470770399992991</c:v>
                </c:pt>
                <c:pt idx="632">
                  <c:v>0.98480813622560681</c:v>
                </c:pt>
                <c:pt idx="633">
                  <c:v>0.98490771248433329</c:v>
                </c:pt>
                <c:pt idx="634">
                  <c:v>0.98500515620470919</c:v>
                </c:pt>
                <c:pt idx="635">
                  <c:v>0.98510249292921637</c:v>
                </c:pt>
                <c:pt idx="636">
                  <c:v>0.98519936477512116</c:v>
                </c:pt>
                <c:pt idx="637">
                  <c:v>0.98529618865736057</c:v>
                </c:pt>
                <c:pt idx="638">
                  <c:v>0.98539165479891999</c:v>
                </c:pt>
                <c:pt idx="639">
                  <c:v>0.98548596612299899</c:v>
                </c:pt>
                <c:pt idx="640">
                  <c:v>0.98558017783023455</c:v>
                </c:pt>
                <c:pt idx="641">
                  <c:v>0.98567307238143009</c:v>
                </c:pt>
                <c:pt idx="642">
                  <c:v>0.98576584517870591</c:v>
                </c:pt>
                <c:pt idx="643">
                  <c:v>0.98585797600076897</c:v>
                </c:pt>
                <c:pt idx="644">
                  <c:v>0.98594925823490709</c:v>
                </c:pt>
                <c:pt idx="645">
                  <c:v>0.98604006821141732</c:v>
                </c:pt>
                <c:pt idx="646">
                  <c:v>0.9861306752647282</c:v>
                </c:pt>
                <c:pt idx="647">
                  <c:v>0.98621922356994274</c:v>
                </c:pt>
                <c:pt idx="648">
                  <c:v>0.98630771653246652</c:v>
                </c:pt>
                <c:pt idx="649">
                  <c:v>0.98639596598715096</c:v>
                </c:pt>
                <c:pt idx="650">
                  <c:v>0.98648411213547937</c:v>
                </c:pt>
                <c:pt idx="651">
                  <c:v>0.98657126580488685</c:v>
                </c:pt>
                <c:pt idx="652">
                  <c:v>0.98665643082693966</c:v>
                </c:pt>
                <c:pt idx="653">
                  <c:v>0.98674107193818661</c:v>
                </c:pt>
                <c:pt idx="654">
                  <c:v>0.98682570935992087</c:v>
                </c:pt>
                <c:pt idx="655">
                  <c:v>0.98691026930188808</c:v>
                </c:pt>
                <c:pt idx="656">
                  <c:v>0.98699471117944837</c:v>
                </c:pt>
                <c:pt idx="657">
                  <c:v>0.98707903499260163</c:v>
                </c:pt>
                <c:pt idx="658">
                  <c:v>0.9871630673342503</c:v>
                </c:pt>
                <c:pt idx="659">
                  <c:v>0.9872455427015322</c:v>
                </c:pt>
                <c:pt idx="660">
                  <c:v>0.98732738716213952</c:v>
                </c:pt>
                <c:pt idx="661">
                  <c:v>0.98740847158312706</c:v>
                </c:pt>
                <c:pt idx="662">
                  <c:v>0.98748792523949358</c:v>
                </c:pt>
                <c:pt idx="663">
                  <c:v>0.98756701363410104</c:v>
                </c:pt>
                <c:pt idx="664">
                  <c:v>0.98764561132351714</c:v>
                </c:pt>
                <c:pt idx="665">
                  <c:v>0.98772310953814346</c:v>
                </c:pt>
                <c:pt idx="666">
                  <c:v>0.98780045279323569</c:v>
                </c:pt>
                <c:pt idx="667">
                  <c:v>0.98787699173455557</c:v>
                </c:pt>
                <c:pt idx="668">
                  <c:v>0.98795333882121417</c:v>
                </c:pt>
                <c:pt idx="669">
                  <c:v>0.98802921733975768</c:v>
                </c:pt>
                <c:pt idx="670">
                  <c:v>0.98810496303584328</c:v>
                </c:pt>
                <c:pt idx="671">
                  <c:v>0.9881803656072462</c:v>
                </c:pt>
                <c:pt idx="672">
                  <c:v>0.98825444364358361</c:v>
                </c:pt>
                <c:pt idx="673">
                  <c:v>0.98832750337441111</c:v>
                </c:pt>
                <c:pt idx="674">
                  <c:v>0.98840045610936977</c:v>
                </c:pt>
                <c:pt idx="675">
                  <c:v>0.98847339039676485</c:v>
                </c:pt>
                <c:pt idx="676">
                  <c:v>0.98854618079316392</c:v>
                </c:pt>
                <c:pt idx="677">
                  <c:v>0.98861693457854305</c:v>
                </c:pt>
                <c:pt idx="678">
                  <c:v>0.9886873747553413</c:v>
                </c:pt>
                <c:pt idx="679">
                  <c:v>0.98875779648457596</c:v>
                </c:pt>
                <c:pt idx="680">
                  <c:v>0.9888279341213313</c:v>
                </c:pt>
                <c:pt idx="681">
                  <c:v>0.98889795738319242</c:v>
                </c:pt>
                <c:pt idx="682">
                  <c:v>0.9889669881661326</c:v>
                </c:pt>
                <c:pt idx="683">
                  <c:v>0.98903539173191091</c:v>
                </c:pt>
                <c:pt idx="684">
                  <c:v>0.98910378791866371</c:v>
                </c:pt>
                <c:pt idx="685">
                  <c:v>0.98917080791717304</c:v>
                </c:pt>
                <c:pt idx="686">
                  <c:v>0.98923782053665688</c:v>
                </c:pt>
                <c:pt idx="687">
                  <c:v>0.98930381485063079</c:v>
                </c:pt>
                <c:pt idx="688">
                  <c:v>0.9893696542050705</c:v>
                </c:pt>
                <c:pt idx="689">
                  <c:v>0.98943518732995472</c:v>
                </c:pt>
                <c:pt idx="690">
                  <c:v>0.98950061345897011</c:v>
                </c:pt>
                <c:pt idx="691">
                  <c:v>0.98956531275398019</c:v>
                </c:pt>
                <c:pt idx="692">
                  <c:v>0.98962944017451915</c:v>
                </c:pt>
                <c:pt idx="693">
                  <c:v>0.98969344584113839</c:v>
                </c:pt>
                <c:pt idx="694">
                  <c:v>0.98975686487523562</c:v>
                </c:pt>
                <c:pt idx="695">
                  <c:v>0.98981990020001021</c:v>
                </c:pt>
                <c:pt idx="696">
                  <c:v>0.98988285435550505</c:v>
                </c:pt>
                <c:pt idx="697">
                  <c:v>0.98994539528557557</c:v>
                </c:pt>
                <c:pt idx="698">
                  <c:v>0.99000765950219227</c:v>
                </c:pt>
                <c:pt idx="699">
                  <c:v>0.99006984992855462</c:v>
                </c:pt>
                <c:pt idx="700">
                  <c:v>0.99013150906508574</c:v>
                </c:pt>
                <c:pt idx="701">
                  <c:v>0.99019307227428621</c:v>
                </c:pt>
                <c:pt idx="702">
                  <c:v>0.9902543108063675</c:v>
                </c:pt>
                <c:pt idx="703">
                  <c:v>0.99031542389501648</c:v>
                </c:pt>
                <c:pt idx="704">
                  <c:v>0.99037599093578321</c:v>
                </c:pt>
                <c:pt idx="705">
                  <c:v>0.99043649894434649</c:v>
                </c:pt>
                <c:pt idx="706">
                  <c:v>0.99049677820312132</c:v>
                </c:pt>
                <c:pt idx="707">
                  <c:v>0.99055685453869668</c:v>
                </c:pt>
                <c:pt idx="708">
                  <c:v>0.99061642172151709</c:v>
                </c:pt>
                <c:pt idx="709">
                  <c:v>0.99067561995306574</c:v>
                </c:pt>
                <c:pt idx="710">
                  <c:v>0.99073426475770687</c:v>
                </c:pt>
                <c:pt idx="711">
                  <c:v>0.99079273246573751</c:v>
                </c:pt>
                <c:pt idx="712">
                  <c:v>0.99085086442811088</c:v>
                </c:pt>
                <c:pt idx="713">
                  <c:v>0.9909087602616703</c:v>
                </c:pt>
                <c:pt idx="714">
                  <c:v>0.99096623549078</c:v>
                </c:pt>
                <c:pt idx="715">
                  <c:v>0.99102324584128731</c:v>
                </c:pt>
                <c:pt idx="716">
                  <c:v>0.99108022298618015</c:v>
                </c:pt>
                <c:pt idx="717">
                  <c:v>0.99113711896179324</c:v>
                </c:pt>
                <c:pt idx="718">
                  <c:v>0.9911930077004345</c:v>
                </c:pt>
                <c:pt idx="719">
                  <c:v>0.99124882633833411</c:v>
                </c:pt>
                <c:pt idx="720">
                  <c:v>0.99130450108523782</c:v>
                </c:pt>
                <c:pt idx="721">
                  <c:v>0.99136013893701436</c:v>
                </c:pt>
                <c:pt idx="722">
                  <c:v>0.99141574727268911</c:v>
                </c:pt>
                <c:pt idx="723">
                  <c:v>0.99147090917732505</c:v>
                </c:pt>
                <c:pt idx="724">
                  <c:v>0.99152606739244831</c:v>
                </c:pt>
                <c:pt idx="725">
                  <c:v>0.99158018147547256</c:v>
                </c:pt>
                <c:pt idx="726">
                  <c:v>0.99163410739334823</c:v>
                </c:pt>
                <c:pt idx="727">
                  <c:v>0.99168781562997355</c:v>
                </c:pt>
                <c:pt idx="728">
                  <c:v>0.99174130618534861</c:v>
                </c:pt>
                <c:pt idx="729">
                  <c:v>0.99179465653924037</c:v>
                </c:pt>
                <c:pt idx="730">
                  <c:v>0.99184737229694475</c:v>
                </c:pt>
                <c:pt idx="731">
                  <c:v>0.99189968220825031</c:v>
                </c:pt>
                <c:pt idx="732">
                  <c:v>0.99195192570832691</c:v>
                </c:pt>
                <c:pt idx="733">
                  <c:v>0.9920040253174075</c:v>
                </c:pt>
                <c:pt idx="734">
                  <c:v>0.99205609909989911</c:v>
                </c:pt>
                <c:pt idx="735">
                  <c:v>0.99210798102772946</c:v>
                </c:pt>
                <c:pt idx="736">
                  <c:v>0.99215909184740181</c:v>
                </c:pt>
                <c:pt idx="737">
                  <c:v>0.99220972671993368</c:v>
                </c:pt>
                <c:pt idx="738">
                  <c:v>0.99226021032244416</c:v>
                </c:pt>
                <c:pt idx="739">
                  <c:v>0.99231001505461469</c:v>
                </c:pt>
                <c:pt idx="740">
                  <c:v>0.99235943238794988</c:v>
                </c:pt>
                <c:pt idx="741">
                  <c:v>0.99240879068908161</c:v>
                </c:pt>
                <c:pt idx="742">
                  <c:v>0.99245814161118784</c:v>
                </c:pt>
                <c:pt idx="743">
                  <c:v>0.99250724533594203</c:v>
                </c:pt>
                <c:pt idx="744">
                  <c:v>0.9925560981738315</c:v>
                </c:pt>
                <c:pt idx="745">
                  <c:v>0.9926047517780342</c:v>
                </c:pt>
                <c:pt idx="746">
                  <c:v>0.99265319876952474</c:v>
                </c:pt>
                <c:pt idx="747">
                  <c:v>0.99270160148686271</c:v>
                </c:pt>
                <c:pt idx="748">
                  <c:v>0.99275000420420068</c:v>
                </c:pt>
                <c:pt idx="749">
                  <c:v>0.99279828516761892</c:v>
                </c:pt>
                <c:pt idx="750">
                  <c:v>0.99284653292542269</c:v>
                </c:pt>
                <c:pt idx="751">
                  <c:v>0.99289459989710338</c:v>
                </c:pt>
                <c:pt idx="752">
                  <c:v>0.99294240122386834</c:v>
                </c:pt>
                <c:pt idx="753">
                  <c:v>0.99299009924427728</c:v>
                </c:pt>
                <c:pt idx="754">
                  <c:v>0.99303764968417751</c:v>
                </c:pt>
                <c:pt idx="755">
                  <c:v>0.993084975063802</c:v>
                </c:pt>
                <c:pt idx="756">
                  <c:v>0.99313226354829931</c:v>
                </c:pt>
                <c:pt idx="757">
                  <c:v>0.99317930852495728</c:v>
                </c:pt>
                <c:pt idx="758">
                  <c:v>0.99322626495331001</c:v>
                </c:pt>
                <c:pt idx="759">
                  <c:v>0.99327319186556107</c:v>
                </c:pt>
                <c:pt idx="760">
                  <c:v>0.99331942145990848</c:v>
                </c:pt>
                <c:pt idx="761">
                  <c:v>0.99336516034906452</c:v>
                </c:pt>
                <c:pt idx="762">
                  <c:v>0.99341038639595292</c:v>
                </c:pt>
                <c:pt idx="763">
                  <c:v>0.99345552020502337</c:v>
                </c:pt>
                <c:pt idx="764">
                  <c:v>0.99350027030477117</c:v>
                </c:pt>
                <c:pt idx="765">
                  <c:v>0.99354497244085371</c:v>
                </c:pt>
                <c:pt idx="766">
                  <c:v>0.9935893056256645</c:v>
                </c:pt>
                <c:pt idx="767">
                  <c:v>0.99363340637117403</c:v>
                </c:pt>
                <c:pt idx="768">
                  <c:v>0.993677462842531</c:v>
                </c:pt>
                <c:pt idx="769">
                  <c:v>0.99372140493899375</c:v>
                </c:pt>
                <c:pt idx="770">
                  <c:v>0.99376511090664255</c:v>
                </c:pt>
                <c:pt idx="771">
                  <c:v>0.99380841840691792</c:v>
                </c:pt>
                <c:pt idx="772">
                  <c:v>0.99385151929448112</c:v>
                </c:pt>
                <c:pt idx="773">
                  <c:v>0.99389405568659861</c:v>
                </c:pt>
                <c:pt idx="774">
                  <c:v>0.99393633012331317</c:v>
                </c:pt>
                <c:pt idx="775">
                  <c:v>0.99397816550801432</c:v>
                </c:pt>
                <c:pt idx="776">
                  <c:v>0.9940190748250235</c:v>
                </c:pt>
                <c:pt idx="777">
                  <c:v>0.99405962625929911</c:v>
                </c:pt>
                <c:pt idx="778">
                  <c:v>0.99410015555649833</c:v>
                </c:pt>
                <c:pt idx="779">
                  <c:v>0.99418105181233729</c:v>
                </c:pt>
                <c:pt idx="780">
                  <c:v>0.99422135604926076</c:v>
                </c:pt>
                <c:pt idx="781">
                  <c:v>0.99426147950006116</c:v>
                </c:pt>
                <c:pt idx="782">
                  <c:v>0.99430132254789505</c:v>
                </c:pt>
                <c:pt idx="783">
                  <c:v>0.99434030962877851</c:v>
                </c:pt>
                <c:pt idx="784">
                  <c:v>0.99437921554038211</c:v>
                </c:pt>
                <c:pt idx="785">
                  <c:v>0.9944173909284677</c:v>
                </c:pt>
                <c:pt idx="786">
                  <c:v>0.99445554417947701</c:v>
                </c:pt>
                <c:pt idx="787">
                  <c:v>0.99449363470877017</c:v>
                </c:pt>
                <c:pt idx="788">
                  <c:v>0.99453165882683436</c:v>
                </c:pt>
                <c:pt idx="789">
                  <c:v>0.99456944312657192</c:v>
                </c:pt>
                <c:pt idx="790">
                  <c:v>0.99460698022895744</c:v>
                </c:pt>
                <c:pt idx="791">
                  <c:v>0.99464447305719039</c:v>
                </c:pt>
                <c:pt idx="792">
                  <c:v>0.99468171130904581</c:v>
                </c:pt>
                <c:pt idx="793">
                  <c:v>0.99471828544861218</c:v>
                </c:pt>
                <c:pt idx="794">
                  <c:v>0.99475483007207677</c:v>
                </c:pt>
                <c:pt idx="795">
                  <c:v>0.99479127138918533</c:v>
                </c:pt>
                <c:pt idx="796">
                  <c:v>0.99482759095237416</c:v>
                </c:pt>
                <c:pt idx="797">
                  <c:v>0.99486385148335954</c:v>
                </c:pt>
                <c:pt idx="798">
                  <c:v>0.99489997550237441</c:v>
                </c:pt>
                <c:pt idx="799">
                  <c:v>0.99493596300941867</c:v>
                </c:pt>
                <c:pt idx="800">
                  <c:v>0.99497147825883514</c:v>
                </c:pt>
                <c:pt idx="801">
                  <c:v>0.99500668358918343</c:v>
                </c:pt>
                <c:pt idx="802">
                  <c:v>0.99504150152069637</c:v>
                </c:pt>
                <c:pt idx="803">
                  <c:v>0.99507629362562022</c:v>
                </c:pt>
                <c:pt idx="804">
                  <c:v>0.99511086067026833</c:v>
                </c:pt>
                <c:pt idx="805">
                  <c:v>0.99514466398578394</c:v>
                </c:pt>
                <c:pt idx="806">
                  <c:v>0.99517833816835455</c:v>
                </c:pt>
                <c:pt idx="807">
                  <c:v>0.99521189797603082</c:v>
                </c:pt>
                <c:pt idx="808">
                  <c:v>0.99524520689684237</c:v>
                </c:pt>
                <c:pt idx="809">
                  <c:v>0.99527844940642496</c:v>
                </c:pt>
                <c:pt idx="810">
                  <c:v>0.99531137092840116</c:v>
                </c:pt>
                <c:pt idx="811">
                  <c:v>0.99534417069645775</c:v>
                </c:pt>
                <c:pt idx="812">
                  <c:v>0.99537625469904722</c:v>
                </c:pt>
                <c:pt idx="813">
                  <c:v>0.99540810995184814</c:v>
                </c:pt>
                <c:pt idx="814">
                  <c:v>0.9954399024829329</c:v>
                </c:pt>
                <c:pt idx="815">
                  <c:v>0.99547139985300026</c:v>
                </c:pt>
                <c:pt idx="816">
                  <c:v>0.99550288615452953</c:v>
                </c:pt>
                <c:pt idx="817">
                  <c:v>0.99553423594408819</c:v>
                </c:pt>
                <c:pt idx="818">
                  <c:v>0.99556537174190929</c:v>
                </c:pt>
                <c:pt idx="819">
                  <c:v>0.99559637471727258</c:v>
                </c:pt>
                <c:pt idx="820">
                  <c:v>0.99562726331774165</c:v>
                </c:pt>
                <c:pt idx="821">
                  <c:v>0.99565804123282919</c:v>
                </c:pt>
                <c:pt idx="822">
                  <c:v>0.99568878594230226</c:v>
                </c:pt>
                <c:pt idx="823">
                  <c:v>0.99571895139827871</c:v>
                </c:pt>
                <c:pt idx="824">
                  <c:v>0.99574908364864068</c:v>
                </c:pt>
                <c:pt idx="825">
                  <c:v>0.99577898345970151</c:v>
                </c:pt>
                <c:pt idx="826">
                  <c:v>0.9958086286943848</c:v>
                </c:pt>
                <c:pt idx="827">
                  <c:v>0.9958373626194269</c:v>
                </c:pt>
                <c:pt idx="828">
                  <c:v>0.99586608178641811</c:v>
                </c:pt>
                <c:pt idx="829">
                  <c:v>0.99589464230436253</c:v>
                </c:pt>
                <c:pt idx="830">
                  <c:v>0.99592246123025074</c:v>
                </c:pt>
                <c:pt idx="831">
                  <c:v>0.99594956070115914</c:v>
                </c:pt>
                <c:pt idx="832">
                  <c:v>0.99597657531327499</c:v>
                </c:pt>
                <c:pt idx="833">
                  <c:v>0.99600342020780586</c:v>
                </c:pt>
                <c:pt idx="834">
                  <c:v>0.99603004004206097</c:v>
                </c:pt>
                <c:pt idx="835">
                  <c:v>0.99605638685237508</c:v>
                </c:pt>
                <c:pt idx="836">
                  <c:v>0.99608272628366368</c:v>
                </c:pt>
                <c:pt idx="837">
                  <c:v>0.99610885910224012</c:v>
                </c:pt>
                <c:pt idx="838">
                  <c:v>0.99613489230397323</c:v>
                </c:pt>
                <c:pt idx="839">
                  <c:v>0.99616089967911725</c:v>
                </c:pt>
                <c:pt idx="840">
                  <c:v>0.99618689598572319</c:v>
                </c:pt>
                <c:pt idx="841">
                  <c:v>0.99621270412718055</c:v>
                </c:pt>
                <c:pt idx="842">
                  <c:v>0.99623844216789625</c:v>
                </c:pt>
                <c:pt idx="843">
                  <c:v>0.99626348289070843</c:v>
                </c:pt>
                <c:pt idx="844">
                  <c:v>0.99628845720229164</c:v>
                </c:pt>
                <c:pt idx="845">
                  <c:v>0.9963382139707968</c:v>
                </c:pt>
                <c:pt idx="846">
                  <c:v>0.9963629115689262</c:v>
                </c:pt>
                <c:pt idx="847">
                  <c:v>0.99638732876408909</c:v>
                </c:pt>
                <c:pt idx="848">
                  <c:v>0.99641149507238724</c:v>
                </c:pt>
                <c:pt idx="849">
                  <c:v>0.99643562079604553</c:v>
                </c:pt>
                <c:pt idx="850">
                  <c:v>0.99645954728601704</c:v>
                </c:pt>
                <c:pt idx="851">
                  <c:v>0.99648345901793767</c:v>
                </c:pt>
                <c:pt idx="852">
                  <c:v>0.99650732278619303</c:v>
                </c:pt>
                <c:pt idx="853">
                  <c:v>0.9965311681068848</c:v>
                </c:pt>
                <c:pt idx="854">
                  <c:v>0.99655494701634761</c:v>
                </c:pt>
                <c:pt idx="855">
                  <c:v>0.99657869272019595</c:v>
                </c:pt>
                <c:pt idx="856">
                  <c:v>0.99660201413008187</c:v>
                </c:pt>
                <c:pt idx="857">
                  <c:v>0.99662518058043359</c:v>
                </c:pt>
                <c:pt idx="858">
                  <c:v>0.99664833596224722</c:v>
                </c:pt>
                <c:pt idx="859">
                  <c:v>0.99667140279575561</c:v>
                </c:pt>
                <c:pt idx="860">
                  <c:v>0.99669422981093736</c:v>
                </c:pt>
                <c:pt idx="861">
                  <c:v>0.99671682807633066</c:v>
                </c:pt>
                <c:pt idx="862">
                  <c:v>0.99673941896269858</c:v>
                </c:pt>
                <c:pt idx="863">
                  <c:v>0.9967616962404855</c:v>
                </c:pt>
                <c:pt idx="864">
                  <c:v>0.99678382962727641</c:v>
                </c:pt>
                <c:pt idx="865">
                  <c:v>0.99680591873991475</c:v>
                </c:pt>
                <c:pt idx="866">
                  <c:v>0.99682745811515816</c:v>
                </c:pt>
                <c:pt idx="867">
                  <c:v>0.99684861009156633</c:v>
                </c:pt>
                <c:pt idx="868">
                  <c:v>0.99686971779382183</c:v>
                </c:pt>
                <c:pt idx="869">
                  <c:v>0.99689077384289937</c:v>
                </c:pt>
                <c:pt idx="870">
                  <c:v>0.99691177823879884</c:v>
                </c:pt>
                <c:pt idx="871">
                  <c:v>0.99693271991298205</c:v>
                </c:pt>
                <c:pt idx="872">
                  <c:v>0.99695357672837281</c:v>
                </c:pt>
                <c:pt idx="873">
                  <c:v>0.99697435975350923</c:v>
                </c:pt>
                <c:pt idx="874">
                  <c:v>0.99699508005692949</c:v>
                </c:pt>
                <c:pt idx="875">
                  <c:v>0.99701568229594273</c:v>
                </c:pt>
                <c:pt idx="876">
                  <c:v>0.99703602995857854</c:v>
                </c:pt>
                <c:pt idx="877">
                  <c:v>0.9970765002235743</c:v>
                </c:pt>
                <c:pt idx="878">
                  <c:v>0.99709664865252334</c:v>
                </c:pt>
                <c:pt idx="879">
                  <c:v>0.9971167675653706</c:v>
                </c:pt>
                <c:pt idx="880">
                  <c:v>0.99713688278870516</c:v>
                </c:pt>
                <c:pt idx="881">
                  <c:v>0.9971568836371455</c:v>
                </c:pt>
                <c:pt idx="882">
                  <c:v>0.99717682545338238</c:v>
                </c:pt>
                <c:pt idx="883">
                  <c:v>0.997196534830318</c:v>
                </c:pt>
                <c:pt idx="884">
                  <c:v>0.99721612614284671</c:v>
                </c:pt>
                <c:pt idx="885">
                  <c:v>0.99723566580219736</c:v>
                </c:pt>
                <c:pt idx="886">
                  <c:v>0.99725518701398441</c:v>
                </c:pt>
                <c:pt idx="887">
                  <c:v>0.99727462336697903</c:v>
                </c:pt>
                <c:pt idx="888">
                  <c:v>0.99729374980090535</c:v>
                </c:pt>
                <c:pt idx="889">
                  <c:v>0.99731279875506462</c:v>
                </c:pt>
                <c:pt idx="890">
                  <c:v>0.99733178498750774</c:v>
                </c:pt>
                <c:pt idx="891">
                  <c:v>0.99735071956677279</c:v>
                </c:pt>
                <c:pt idx="892">
                  <c:v>0.99736952501309273</c:v>
                </c:pt>
                <c:pt idx="893">
                  <c:v>0.99738815705231498</c:v>
                </c:pt>
                <c:pt idx="894">
                  <c:v>0.99740678171251174</c:v>
                </c:pt>
                <c:pt idx="895">
                  <c:v>0.9974253953041704</c:v>
                </c:pt>
                <c:pt idx="896">
                  <c:v>0.99744371742432436</c:v>
                </c:pt>
                <c:pt idx="897">
                  <c:v>0.99746188089543153</c:v>
                </c:pt>
                <c:pt idx="898">
                  <c:v>0.99748000378189883</c:v>
                </c:pt>
                <c:pt idx="899">
                  <c:v>0.99749809346275164</c:v>
                </c:pt>
                <c:pt idx="900">
                  <c:v>0.99751603556309576</c:v>
                </c:pt>
                <c:pt idx="901">
                  <c:v>0.99753397028441448</c:v>
                </c:pt>
                <c:pt idx="902">
                  <c:v>0.99755185704206784</c:v>
                </c:pt>
                <c:pt idx="903">
                  <c:v>0.99756963311433966</c:v>
                </c:pt>
                <c:pt idx="904">
                  <c:v>0.99758740549709879</c:v>
                </c:pt>
                <c:pt idx="905">
                  <c:v>0.99760506719447639</c:v>
                </c:pt>
                <c:pt idx="906">
                  <c:v>0.99762268092818862</c:v>
                </c:pt>
                <c:pt idx="907">
                  <c:v>0.99764025407726098</c:v>
                </c:pt>
                <c:pt idx="908">
                  <c:v>0.99765746196457439</c:v>
                </c:pt>
                <c:pt idx="909">
                  <c:v>0.99767461819870973</c:v>
                </c:pt>
                <c:pt idx="910">
                  <c:v>0.99769156413062021</c:v>
                </c:pt>
                <c:pt idx="911">
                  <c:v>0.99770845471983993</c:v>
                </c:pt>
                <c:pt idx="912">
                  <c:v>0.9977251128697584</c:v>
                </c:pt>
                <c:pt idx="913">
                  <c:v>0.99774175995113878</c:v>
                </c:pt>
                <c:pt idx="914">
                  <c:v>0.99775832586323931</c:v>
                </c:pt>
                <c:pt idx="915">
                  <c:v>0.99777484381167458</c:v>
                </c:pt>
                <c:pt idx="916">
                  <c:v>0.99780775057560001</c:v>
                </c:pt>
                <c:pt idx="917">
                  <c:v>0.99782407666937389</c:v>
                </c:pt>
                <c:pt idx="918">
                  <c:v>0.99784010760213049</c:v>
                </c:pt>
                <c:pt idx="919">
                  <c:v>0.99785612746634889</c:v>
                </c:pt>
                <c:pt idx="920">
                  <c:v>0.99787202188713486</c:v>
                </c:pt>
                <c:pt idx="921">
                  <c:v>0.99788785727571738</c:v>
                </c:pt>
                <c:pt idx="922">
                  <c:v>0.99790366683771092</c:v>
                </c:pt>
                <c:pt idx="923">
                  <c:v>0.99791922182332693</c:v>
                </c:pt>
                <c:pt idx="924">
                  <c:v>0.99793470301868858</c:v>
                </c:pt>
                <c:pt idx="925">
                  <c:v>0.99795013625038498</c:v>
                </c:pt>
                <c:pt idx="926">
                  <c:v>0.99796554734500509</c:v>
                </c:pt>
                <c:pt idx="927">
                  <c:v>0.997980947371087</c:v>
                </c:pt>
                <c:pt idx="928">
                  <c:v>0.99799620350617291</c:v>
                </c:pt>
                <c:pt idx="929">
                  <c:v>0.99801139323002996</c:v>
                </c:pt>
                <c:pt idx="930">
                  <c:v>0.99802656081681063</c:v>
                </c:pt>
                <c:pt idx="931">
                  <c:v>0.99804170626651501</c:v>
                </c:pt>
                <c:pt idx="932">
                  <c:v>0.99805671151473618</c:v>
                </c:pt>
                <c:pt idx="933">
                  <c:v>0.99807169093636827</c:v>
                </c:pt>
                <c:pt idx="934">
                  <c:v>0.99808666297897497</c:v>
                </c:pt>
                <c:pt idx="935">
                  <c:v>0.99810155016278912</c:v>
                </c:pt>
                <c:pt idx="936">
                  <c:v>0.99811641152001429</c:v>
                </c:pt>
                <c:pt idx="937">
                  <c:v>0.9981312249135742</c:v>
                </c:pt>
                <c:pt idx="938">
                  <c:v>0.99814597189590515</c:v>
                </c:pt>
                <c:pt idx="939">
                  <c:v>0.9981598112581076</c:v>
                </c:pt>
                <c:pt idx="940">
                  <c:v>0.99817353993492852</c:v>
                </c:pt>
                <c:pt idx="941">
                  <c:v>0.99818726123272405</c:v>
                </c:pt>
                <c:pt idx="942">
                  <c:v>0.9982009751514942</c:v>
                </c:pt>
                <c:pt idx="943">
                  <c:v>0.99821463372757357</c:v>
                </c:pt>
                <c:pt idx="944">
                  <c:v>0.9982282074448604</c:v>
                </c:pt>
                <c:pt idx="945">
                  <c:v>0.99824162620261314</c:v>
                </c:pt>
                <c:pt idx="946">
                  <c:v>0.9982548641742427</c:v>
                </c:pt>
                <c:pt idx="947">
                  <c:v>0.99829427923860126</c:v>
                </c:pt>
                <c:pt idx="948">
                  <c:v>0.99830724787580249</c:v>
                </c:pt>
                <c:pt idx="949">
                  <c:v>0.99832021282349104</c:v>
                </c:pt>
                <c:pt idx="950">
                  <c:v>0.99833316670264138</c:v>
                </c:pt>
                <c:pt idx="951">
                  <c:v>0.99834590659005418</c:v>
                </c:pt>
                <c:pt idx="952">
                  <c:v>0.9983585985138016</c:v>
                </c:pt>
                <c:pt idx="953">
                  <c:v>0.99837112440947673</c:v>
                </c:pt>
                <c:pt idx="954">
                  <c:v>0.9983835802044102</c:v>
                </c:pt>
                <c:pt idx="955">
                  <c:v>0.99839592531396215</c:v>
                </c:pt>
                <c:pt idx="956">
                  <c:v>0.99840823352838692</c:v>
                </c:pt>
                <c:pt idx="957">
                  <c:v>0.99843264334452442</c:v>
                </c:pt>
                <c:pt idx="958">
                  <c:v>0.99844467484549548</c:v>
                </c:pt>
                <c:pt idx="959">
                  <c:v>0.99845667683036476</c:v>
                </c:pt>
                <c:pt idx="960">
                  <c:v>0.99846847589203458</c:v>
                </c:pt>
                <c:pt idx="961">
                  <c:v>0.9984802712641917</c:v>
                </c:pt>
                <c:pt idx="962">
                  <c:v>0.99849205925732343</c:v>
                </c:pt>
                <c:pt idx="963">
                  <c:v>0.99850380666581517</c:v>
                </c:pt>
                <c:pt idx="964">
                  <c:v>0.99851554300576884</c:v>
                </c:pt>
                <c:pt idx="965">
                  <c:v>0.99852704321690855</c:v>
                </c:pt>
                <c:pt idx="966">
                  <c:v>0.99853846225876852</c:v>
                </c:pt>
                <c:pt idx="967">
                  <c:v>0.99854977799427236</c:v>
                </c:pt>
                <c:pt idx="968">
                  <c:v>0.99856102362903465</c:v>
                </c:pt>
                <c:pt idx="969">
                  <c:v>0.99857219916305529</c:v>
                </c:pt>
                <c:pt idx="970">
                  <c:v>0.99858337100756323</c:v>
                </c:pt>
                <c:pt idx="971">
                  <c:v>0.99859453178353297</c:v>
                </c:pt>
                <c:pt idx="972">
                  <c:v>0.99860567411193912</c:v>
                </c:pt>
                <c:pt idx="973">
                  <c:v>0.99861651390030248</c:v>
                </c:pt>
                <c:pt idx="974">
                  <c:v>0.99862733524110225</c:v>
                </c:pt>
                <c:pt idx="975">
                  <c:v>0.99863810492872396</c:v>
                </c:pt>
                <c:pt idx="976">
                  <c:v>0.99864881189462951</c:v>
                </c:pt>
                <c:pt idx="977">
                  <c:v>0.99865937865905174</c:v>
                </c:pt>
                <c:pt idx="978">
                  <c:v>0.99866986425419424</c:v>
                </c:pt>
                <c:pt idx="979">
                  <c:v>0.99868031295420956</c:v>
                </c:pt>
                <c:pt idx="980">
                  <c:v>0.99869065834786874</c:v>
                </c:pt>
                <c:pt idx="981">
                  <c:v>0.99870082295540485</c:v>
                </c:pt>
                <c:pt idx="982">
                  <c:v>0.99871096911537738</c:v>
                </c:pt>
                <c:pt idx="983">
                  <c:v>0.99872107838022273</c:v>
                </c:pt>
                <c:pt idx="984">
                  <c:v>0.99873117288701718</c:v>
                </c:pt>
                <c:pt idx="985">
                  <c:v>0.99874112719232844</c:v>
                </c:pt>
                <c:pt idx="986">
                  <c:v>0.99875103722348701</c:v>
                </c:pt>
                <c:pt idx="987">
                  <c:v>0.99876081812170048</c:v>
                </c:pt>
                <c:pt idx="988">
                  <c:v>0.99877056581429957</c:v>
                </c:pt>
                <c:pt idx="989">
                  <c:v>0.99878029874884777</c:v>
                </c:pt>
                <c:pt idx="990">
                  <c:v>0.99878998003021791</c:v>
                </c:pt>
                <c:pt idx="991">
                  <c:v>0.99879962810597356</c:v>
                </c:pt>
                <c:pt idx="992">
                  <c:v>0.99880905481096616</c:v>
                </c:pt>
                <c:pt idx="993">
                  <c:v>0.99881829335081018</c:v>
                </c:pt>
                <c:pt idx="994">
                  <c:v>0.99883672246683297</c:v>
                </c:pt>
                <c:pt idx="995">
                  <c:v>0.99884585770032097</c:v>
                </c:pt>
                <c:pt idx="996">
                  <c:v>0.99885491545404193</c:v>
                </c:pt>
                <c:pt idx="997">
                  <c:v>0.99886392524409751</c:v>
                </c:pt>
                <c:pt idx="998">
                  <c:v>0.99887289444951322</c:v>
                </c:pt>
                <c:pt idx="999">
                  <c:v>0.99888178986467457</c:v>
                </c:pt>
                <c:pt idx="1000">
                  <c:v>0.99889060411055619</c:v>
                </c:pt>
                <c:pt idx="1001">
                  <c:v>0.99889939621936141</c:v>
                </c:pt>
                <c:pt idx="1002">
                  <c:v>0.99890804074765793</c:v>
                </c:pt>
                <c:pt idx="1003">
                  <c:v>0.99891668158644176</c:v>
                </c:pt>
                <c:pt idx="1004">
                  <c:v>0.99895078744200039</c:v>
                </c:pt>
                <c:pt idx="1005">
                  <c:v>0.99896737918069001</c:v>
                </c:pt>
                <c:pt idx="1006">
                  <c:v>0.99897559941502412</c:v>
                </c:pt>
                <c:pt idx="1007">
                  <c:v>0.99898379013325644</c:v>
                </c:pt>
                <c:pt idx="1008">
                  <c:v>0.99899998340457263</c:v>
                </c:pt>
                <c:pt idx="1009">
                  <c:v>0.99900802654229626</c:v>
                </c:pt>
                <c:pt idx="1010">
                  <c:v>0.99901599957927834</c:v>
                </c:pt>
                <c:pt idx="1011">
                  <c:v>0.99902396892674761</c:v>
                </c:pt>
                <c:pt idx="1012">
                  <c:v>0.9990319124476279</c:v>
                </c:pt>
                <c:pt idx="1013">
                  <c:v>0.99903981538386832</c:v>
                </c:pt>
                <c:pt idx="1014">
                  <c:v>0.99904762608229081</c:v>
                </c:pt>
                <c:pt idx="1015">
                  <c:v>0.99905540726461151</c:v>
                </c:pt>
                <c:pt idx="1016">
                  <c:v>0.99906293756006748</c:v>
                </c:pt>
                <c:pt idx="1017">
                  <c:v>0.99907041620234538</c:v>
                </c:pt>
                <c:pt idx="1018">
                  <c:v>0.99907784319144521</c:v>
                </c:pt>
                <c:pt idx="1019">
                  <c:v>0.99908525173298146</c:v>
                </c:pt>
                <c:pt idx="1020">
                  <c:v>0.99909265658500501</c:v>
                </c:pt>
                <c:pt idx="1021">
                  <c:v>0.99910740356733596</c:v>
                </c:pt>
                <c:pt idx="1022">
                  <c:v>0.99912198821110731</c:v>
                </c:pt>
                <c:pt idx="1023">
                  <c:v>0.99912924917213486</c:v>
                </c:pt>
                <c:pt idx="1024">
                  <c:v>0.99913648799608612</c:v>
                </c:pt>
                <c:pt idx="1025">
                  <c:v>0.9991437046829611</c:v>
                </c:pt>
                <c:pt idx="1026">
                  <c:v>0.99915076641030198</c:v>
                </c:pt>
                <c:pt idx="1027">
                  <c:v>0.99915776172641391</c:v>
                </c:pt>
                <c:pt idx="1028">
                  <c:v>0.99916472752642416</c:v>
                </c:pt>
                <c:pt idx="1029">
                  <c:v>0.99917165643130723</c:v>
                </c:pt>
                <c:pt idx="1030">
                  <c:v>0.9991784377556816</c:v>
                </c:pt>
                <c:pt idx="1031">
                  <c:v>0.99918521170103047</c:v>
                </c:pt>
                <c:pt idx="1032">
                  <c:v>0.99919198195686665</c:v>
                </c:pt>
                <c:pt idx="1033">
                  <c:v>0.99920518672288183</c:v>
                </c:pt>
                <c:pt idx="1034">
                  <c:v>0.99921160647500984</c:v>
                </c:pt>
                <c:pt idx="1035">
                  <c:v>0.999217959815909</c:v>
                </c:pt>
                <c:pt idx="1036">
                  <c:v>0.99923670991953828</c:v>
                </c:pt>
                <c:pt idx="1037">
                  <c:v>0.99924290092187784</c:v>
                </c:pt>
                <c:pt idx="1038">
                  <c:v>0.99924894803322151</c:v>
                </c:pt>
                <c:pt idx="1039">
                  <c:v>0.99925495455992519</c:v>
                </c:pt>
                <c:pt idx="1040">
                  <c:v>0.99926085409076015</c:v>
                </c:pt>
                <c:pt idx="1041">
                  <c:v>0.99926674624256961</c:v>
                </c:pt>
                <c:pt idx="1042">
                  <c:v>0.99927262363632818</c:v>
                </c:pt>
                <c:pt idx="1043">
                  <c:v>0.99928432677066736</c:v>
                </c:pt>
                <c:pt idx="1044">
                  <c:v>0.99929588970352334</c:v>
                </c:pt>
                <c:pt idx="1045">
                  <c:v>0.99930162689579871</c:v>
                </c:pt>
                <c:pt idx="1046">
                  <c:v>0.9993073419509978</c:v>
                </c:pt>
                <c:pt idx="1047">
                  <c:v>0.99931861341234907</c:v>
                </c:pt>
                <c:pt idx="1048">
                  <c:v>0.99932421409265393</c:v>
                </c:pt>
                <c:pt idx="1049">
                  <c:v>0.99932976311978072</c:v>
                </c:pt>
                <c:pt idx="1050">
                  <c:v>0.99933526418324214</c:v>
                </c:pt>
                <c:pt idx="1051">
                  <c:v>0.99934075048865278</c:v>
                </c:pt>
                <c:pt idx="1052">
                  <c:v>0.99934622941503792</c:v>
                </c:pt>
                <c:pt idx="1053">
                  <c:v>0.99935161979311782</c:v>
                </c:pt>
                <c:pt idx="1054">
                  <c:v>0.99935697327607054</c:v>
                </c:pt>
                <c:pt idx="1055">
                  <c:v>0.99936232306951056</c:v>
                </c:pt>
                <c:pt idx="1056">
                  <c:v>0.99936757693561995</c:v>
                </c:pt>
                <c:pt idx="1057">
                  <c:v>0.99937799611953348</c:v>
                </c:pt>
                <c:pt idx="1058">
                  <c:v>0.99938318726392672</c:v>
                </c:pt>
                <c:pt idx="1059">
                  <c:v>0.9993883083075783</c:v>
                </c:pt>
                <c:pt idx="1060">
                  <c:v>0.99939341828269168</c:v>
                </c:pt>
                <c:pt idx="1061">
                  <c:v>0.99939852087877967</c:v>
                </c:pt>
                <c:pt idx="1062">
                  <c:v>0.99940360502730408</c:v>
                </c:pt>
                <c:pt idx="1063">
                  <c:v>0.99941371798166212</c:v>
                </c:pt>
                <c:pt idx="1064">
                  <c:v>0.99941873940847037</c:v>
                </c:pt>
                <c:pt idx="1065">
                  <c:v>0.99943371145107707</c:v>
                </c:pt>
                <c:pt idx="1066">
                  <c:v>0.99943869229324533</c:v>
                </c:pt>
                <c:pt idx="1067">
                  <c:v>0.9994436731354136</c:v>
                </c:pt>
                <c:pt idx="1068">
                  <c:v>0.99944862815099289</c:v>
                </c:pt>
                <c:pt idx="1069">
                  <c:v>0.99945838322261737</c:v>
                </c:pt>
                <c:pt idx="1070">
                  <c:v>0.99946320172622616</c:v>
                </c:pt>
                <c:pt idx="1071">
                  <c:v>0.99946794643958059</c:v>
                </c:pt>
                <c:pt idx="1072">
                  <c:v>0.99947739528164958</c:v>
                </c:pt>
                <c:pt idx="1073">
                  <c:v>0.99948209941036414</c:v>
                </c:pt>
                <c:pt idx="1074">
                  <c:v>0.99949144125656431</c:v>
                </c:pt>
                <c:pt idx="1075">
                  <c:v>0.9994960900425881</c:v>
                </c:pt>
                <c:pt idx="1076">
                  <c:v>0.9995007314495864</c:v>
                </c:pt>
                <c:pt idx="1077">
                  <c:v>0.99950981871940903</c:v>
                </c:pt>
                <c:pt idx="1078">
                  <c:v>0.9995143420620004</c:v>
                </c:pt>
                <c:pt idx="1079">
                  <c:v>0.99951882850946461</c:v>
                </c:pt>
                <c:pt idx="1080">
                  <c:v>0.99952329281985253</c:v>
                </c:pt>
                <c:pt idx="1081">
                  <c:v>0.99952775344072775</c:v>
                </c:pt>
                <c:pt idx="1082">
                  <c:v>0.99953208492865786</c:v>
                </c:pt>
                <c:pt idx="1083">
                  <c:v>0.99954485802168513</c:v>
                </c:pt>
                <c:pt idx="1084">
                  <c:v>0.9995490972717973</c:v>
                </c:pt>
                <c:pt idx="1085">
                  <c:v>0.99955756470348345</c:v>
                </c:pt>
                <c:pt idx="1086">
                  <c:v>0.99956175598993025</c:v>
                </c:pt>
                <c:pt idx="1087">
                  <c:v>0.99956593989735165</c:v>
                </c:pt>
                <c:pt idx="1088">
                  <c:v>0.99957011273623486</c:v>
                </c:pt>
                <c:pt idx="1089">
                  <c:v>0.99957427450657999</c:v>
                </c:pt>
                <c:pt idx="1090">
                  <c:v>0.99957841782936152</c:v>
                </c:pt>
                <c:pt idx="1091">
                  <c:v>0.99958254270457947</c:v>
                </c:pt>
                <c:pt idx="1092">
                  <c:v>0.99958649786221243</c:v>
                </c:pt>
                <c:pt idx="1093">
                  <c:v>0.99959042350374361</c:v>
                </c:pt>
                <c:pt idx="1094">
                  <c:v>0.99959812720629726</c:v>
                </c:pt>
                <c:pt idx="1095">
                  <c:v>0.99960952042156825</c:v>
                </c:pt>
                <c:pt idx="1096">
                  <c:v>0.99961324313989997</c:v>
                </c:pt>
                <c:pt idx="1097">
                  <c:v>0.99962059264923275</c:v>
                </c:pt>
                <c:pt idx="1098">
                  <c:v>0.99962423788779742</c:v>
                </c:pt>
                <c:pt idx="1099">
                  <c:v>0.99962786467879849</c:v>
                </c:pt>
                <c:pt idx="1100">
                  <c:v>0.9996350407810336</c:v>
                </c:pt>
                <c:pt idx="1101">
                  <c:v>0.99963859009226763</c:v>
                </c:pt>
                <c:pt idx="1102">
                  <c:v>0.99964558540837967</c:v>
                </c:pt>
                <c:pt idx="1103">
                  <c:v>0.99964906830838474</c:v>
                </c:pt>
                <c:pt idx="1104">
                  <c:v>0.99965254382936442</c:v>
                </c:pt>
                <c:pt idx="1105">
                  <c:v>0.99965597507619153</c:v>
                </c:pt>
                <c:pt idx="1106">
                  <c:v>0.99965938418594225</c:v>
                </c:pt>
                <c:pt idx="1107">
                  <c:v>0.99966277853764218</c:v>
                </c:pt>
                <c:pt idx="1108">
                  <c:v>0.99966615444177853</c:v>
                </c:pt>
                <c:pt idx="1109">
                  <c:v>0.99966946762419862</c:v>
                </c:pt>
                <c:pt idx="1110">
                  <c:v>0.99967269225831357</c:v>
                </c:pt>
                <c:pt idx="1111">
                  <c:v>0.99967591320291571</c:v>
                </c:pt>
                <c:pt idx="1112">
                  <c:v>0.99967908987336529</c:v>
                </c:pt>
                <c:pt idx="1113">
                  <c:v>0.99968541738767547</c:v>
                </c:pt>
                <c:pt idx="1114">
                  <c:v>0.99968856823153607</c:v>
                </c:pt>
                <c:pt idx="1115">
                  <c:v>0.99969170800685847</c:v>
                </c:pt>
                <c:pt idx="1116">
                  <c:v>0.99969795804140149</c:v>
                </c:pt>
                <c:pt idx="1117">
                  <c:v>0.99970104247403313</c:v>
                </c:pt>
                <c:pt idx="1118">
                  <c:v>0.99970718920222013</c:v>
                </c:pt>
                <c:pt idx="1119">
                  <c:v>0.99971326214015266</c:v>
                </c:pt>
                <c:pt idx="1120">
                  <c:v>0.99971625433496636</c:v>
                </c:pt>
                <c:pt idx="1121">
                  <c:v>0.9997250316857208</c:v>
                </c:pt>
                <c:pt idx="1122">
                  <c:v>0.99973076518848347</c:v>
                </c:pt>
                <c:pt idx="1123">
                  <c:v>0.9997364212114791</c:v>
                </c:pt>
                <c:pt idx="1124">
                  <c:v>0.99973923262016962</c:v>
                </c:pt>
                <c:pt idx="1125">
                  <c:v>0.99974480747388539</c:v>
                </c:pt>
                <c:pt idx="1126">
                  <c:v>0.99974758567696154</c:v>
                </c:pt>
                <c:pt idx="1127">
                  <c:v>0.99975029377929603</c:v>
                </c:pt>
                <c:pt idx="1128">
                  <c:v>0.99975299819211783</c:v>
                </c:pt>
                <c:pt idx="1129">
                  <c:v>0.99976099705568888</c:v>
                </c:pt>
                <c:pt idx="1130">
                  <c:v>0.99976363874679441</c:v>
                </c:pt>
                <c:pt idx="1131">
                  <c:v>0.99976628043789995</c:v>
                </c:pt>
                <c:pt idx="1132">
                  <c:v>0.99976891474998009</c:v>
                </c:pt>
                <c:pt idx="1133">
                  <c:v>0.99977152323547125</c:v>
                </c:pt>
                <c:pt idx="1134">
                  <c:v>0.9997741280314496</c:v>
                </c:pt>
                <c:pt idx="1135">
                  <c:v>0.99977668117425</c:v>
                </c:pt>
                <c:pt idx="1136">
                  <c:v>0.99978176532277441</c:v>
                </c:pt>
                <c:pt idx="1137">
                  <c:v>0.99978679781812074</c:v>
                </c:pt>
                <c:pt idx="1138">
                  <c:v>0.99979177497077631</c:v>
                </c:pt>
                <c:pt idx="1139">
                  <c:v>0.9997991281696218</c:v>
                </c:pt>
                <c:pt idx="1140">
                  <c:v>0.99980397987884506</c:v>
                </c:pt>
                <c:pt idx="1141">
                  <c:v>0.99980638544113676</c:v>
                </c:pt>
                <c:pt idx="1142">
                  <c:v>0.99980876517683936</c:v>
                </c:pt>
                <c:pt idx="1143">
                  <c:v>0.99981112646497838</c:v>
                </c:pt>
                <c:pt idx="1144">
                  <c:v>0.99981816236573029</c:v>
                </c:pt>
                <c:pt idx="1145">
                  <c:v>0.99982268201880897</c:v>
                </c:pt>
                <c:pt idx="1146">
                  <c:v>0.99982926779900927</c:v>
                </c:pt>
                <c:pt idx="1147">
                  <c:v>0.99983576503090443</c:v>
                </c:pt>
                <c:pt idx="1148">
                  <c:v>0.99984004855516917</c:v>
                </c:pt>
                <c:pt idx="1149">
                  <c:v>0.99984216633546885</c:v>
                </c:pt>
                <c:pt idx="1150">
                  <c:v>0.99984636131142846</c:v>
                </c:pt>
                <c:pt idx="1151">
                  <c:v>0.99984843850708827</c:v>
                </c:pt>
                <c:pt idx="1152">
                  <c:v>0.99985458892478796</c:v>
                </c:pt>
                <c:pt idx="1153">
                  <c:v>0.99985855515095901</c:v>
                </c:pt>
                <c:pt idx="1154">
                  <c:v>0.99986246972395199</c:v>
                </c:pt>
                <c:pt idx="1155">
                  <c:v>0.99986441409715399</c:v>
                </c:pt>
                <c:pt idx="1156">
                  <c:v>0.99986634371230509</c:v>
                </c:pt>
                <c:pt idx="1157">
                  <c:v>0.99987017711601833</c:v>
                </c:pt>
                <c:pt idx="1158">
                  <c:v>0.99987206614652957</c:v>
                </c:pt>
                <c:pt idx="1159">
                  <c:v>0.99987389614483735</c:v>
                </c:pt>
                <c:pt idx="1160">
                  <c:v>0.99987568924801795</c:v>
                </c:pt>
                <c:pt idx="1161">
                  <c:v>0.99987746759314766</c:v>
                </c:pt>
                <c:pt idx="1162">
                  <c:v>0.9998810095253563</c:v>
                </c:pt>
                <c:pt idx="1163">
                  <c:v>0.99988275097535884</c:v>
                </c:pt>
                <c:pt idx="1164">
                  <c:v>0.99988447766731048</c:v>
                </c:pt>
                <c:pt idx="1165">
                  <c:v>0.99988619329072403</c:v>
                </c:pt>
                <c:pt idx="1166">
                  <c:v>0.9998878830875485</c:v>
                </c:pt>
                <c:pt idx="1167">
                  <c:v>0.99988956550534758</c:v>
                </c:pt>
                <c:pt idx="1168">
                  <c:v>0.99989124054412126</c:v>
                </c:pt>
                <c:pt idx="1169">
                  <c:v>0.99989457955313032</c:v>
                </c:pt>
                <c:pt idx="1170">
                  <c:v>0.99989780418724516</c:v>
                </c:pt>
                <c:pt idx="1171">
                  <c:v>0.99989940912527719</c:v>
                </c:pt>
                <c:pt idx="1172">
                  <c:v>0.99990099930525833</c:v>
                </c:pt>
                <c:pt idx="1173">
                  <c:v>0.99990256734816318</c:v>
                </c:pt>
                <c:pt idx="1174">
                  <c:v>0.99990712758588174</c:v>
                </c:pt>
                <c:pt idx="1175">
                  <c:v>0.99990861076999404</c:v>
                </c:pt>
                <c:pt idx="1176">
                  <c:v>0.99991008657508096</c:v>
                </c:pt>
                <c:pt idx="1177">
                  <c:v>0.99991297546353852</c:v>
                </c:pt>
                <c:pt idx="1178">
                  <c:v>0.99991440699447287</c:v>
                </c:pt>
                <c:pt idx="1179">
                  <c:v>0.99992274898272671</c:v>
                </c:pt>
                <c:pt idx="1180">
                  <c:v>0.99992403293315235</c:v>
                </c:pt>
                <c:pt idx="1181">
                  <c:v>0.9999253058150398</c:v>
                </c:pt>
                <c:pt idx="1182">
                  <c:v>0.99993027558866998</c:v>
                </c:pt>
                <c:pt idx="1183">
                  <c:v>0.99993270697755066</c:v>
                </c:pt>
                <c:pt idx="1184">
                  <c:v>0.9999374332433415</c:v>
                </c:pt>
                <c:pt idx="1185">
                  <c:v>0.99993857330277114</c:v>
                </c:pt>
                <c:pt idx="1186">
                  <c:v>0.99994404853964369</c:v>
                </c:pt>
                <c:pt idx="1187">
                  <c:v>0.99994510005076809</c:v>
                </c:pt>
                <c:pt idx="1188">
                  <c:v>0.99994614418286709</c:v>
                </c:pt>
                <c:pt idx="1189">
                  <c:v>0.99994912530914271</c:v>
                </c:pt>
                <c:pt idx="1190">
                  <c:v>0.9999528812330889</c:v>
                </c:pt>
                <c:pt idx="1191">
                  <c:v>0.99995376302662831</c:v>
                </c:pt>
                <c:pt idx="1192">
                  <c:v>0.99995720903150631</c:v>
                </c:pt>
                <c:pt idx="1193">
                  <c:v>0.99995972158966673</c:v>
                </c:pt>
                <c:pt idx="1194">
                  <c:v>0.99996350702971459</c:v>
                </c:pt>
                <c:pt idx="1195">
                  <c:v>0.99996421172664363</c:v>
                </c:pt>
                <c:pt idx="1196">
                  <c:v>0.99996555839878543</c:v>
                </c:pt>
                <c:pt idx="1197">
                  <c:v>0.99996687555482555</c:v>
                </c:pt>
                <c:pt idx="1198">
                  <c:v>0.99997053924095392</c:v>
                </c:pt>
                <c:pt idx="1199">
                  <c:v>0.99997347609307696</c:v>
                </c:pt>
                <c:pt idx="1200">
                  <c:v>0.99997621002200043</c:v>
                </c:pt>
                <c:pt idx="1201">
                  <c:v>0.99997672286426809</c:v>
                </c:pt>
                <c:pt idx="1202">
                  <c:v>0.99997871151162254</c:v>
                </c:pt>
                <c:pt idx="1203">
                  <c:v>0.9999805599574938</c:v>
                </c:pt>
                <c:pt idx="1204">
                  <c:v>0.99998259287900104</c:v>
                </c:pt>
                <c:pt idx="1205">
                  <c:v>0.99998441180877073</c:v>
                </c:pt>
                <c:pt idx="1206">
                  <c:v>0.99998579906555241</c:v>
                </c:pt>
                <c:pt idx="1207">
                  <c:v>0.99998678047593514</c:v>
                </c:pt>
                <c:pt idx="1208">
                  <c:v>0.99998994238833372</c:v>
                </c:pt>
                <c:pt idx="1209">
                  <c:v>0.99999046260962687</c:v>
                </c:pt>
                <c:pt idx="1210">
                  <c:v>0.99999120420168308</c:v>
                </c:pt>
                <c:pt idx="1211">
                  <c:v>0.99999166170125997</c:v>
                </c:pt>
                <c:pt idx="1212">
                  <c:v>0.99999308216365623</c:v>
                </c:pt>
                <c:pt idx="1213">
                  <c:v>0.99999492323050221</c:v>
                </c:pt>
                <c:pt idx="1214">
                  <c:v>0.99999921044427997</c:v>
                </c:pt>
                <c:pt idx="1215">
                  <c:v>0.9999998708670563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29</c:f>
              <c:strCache>
                <c:ptCount val="1228"/>
                <c:pt idx="0">
                  <c:v>Private Lab</c:v>
                </c:pt>
                <c:pt idx="1">
                  <c:v>Private Lab</c:v>
                </c:pt>
                <c:pt idx="2">
                  <c:v>Private Lab</c:v>
                </c:pt>
                <c:pt idx="3">
                  <c:v>Private Lab</c:v>
                </c:pt>
                <c:pt idx="4">
                  <c:v>Caprice Des</c:v>
                </c:pt>
                <c:pt idx="5">
                  <c:v>Private Lab</c:v>
                </c:pt>
                <c:pt idx="6">
                  <c:v>Private Lab</c:v>
                </c:pt>
                <c:pt idx="7">
                  <c:v>Private Lab</c:v>
                </c:pt>
                <c:pt idx="8">
                  <c:v>Mini Babybe</c:v>
                </c:pt>
                <c:pt idx="9">
                  <c:v>Private Lab</c:v>
                </c:pt>
                <c:pt idx="10">
                  <c:v>Private Lab</c:v>
                </c:pt>
                <c:pt idx="11">
                  <c:v>Private Lab</c:v>
                </c:pt>
                <c:pt idx="12">
                  <c:v>President</c:v>
                </c:pt>
                <c:pt idx="13">
                  <c:v>Private Lab</c:v>
                </c:pt>
                <c:pt idx="14">
                  <c:v>Coeur De Li</c:v>
                </c:pt>
                <c:pt idx="15">
                  <c:v>Chaussee Au</c:v>
                </c:pt>
                <c:pt idx="16">
                  <c:v>Private Lab</c:v>
                </c:pt>
                <c:pt idx="17">
                  <c:v>Entremont</c:v>
                </c:pt>
                <c:pt idx="18">
                  <c:v>Private Lab</c:v>
                </c:pt>
                <c:pt idx="19">
                  <c:v>Soignon</c:v>
                </c:pt>
                <c:pt idx="20">
                  <c:v>Private Lab</c:v>
                </c:pt>
                <c:pt idx="21">
                  <c:v>Private Lab</c:v>
                </c:pt>
                <c:pt idx="22">
                  <c:v>Galbani</c:v>
                </c:pt>
                <c:pt idx="23">
                  <c:v>Private Lab</c:v>
                </c:pt>
                <c:pt idx="24">
                  <c:v>Private Lab</c:v>
                </c:pt>
                <c:pt idx="25">
                  <c:v>Galbani</c:v>
                </c:pt>
                <c:pt idx="26">
                  <c:v>La Vache Qu</c:v>
                </c:pt>
                <c:pt idx="27">
                  <c:v>Private Lab</c:v>
                </c:pt>
                <c:pt idx="28">
                  <c:v>Entremont</c:v>
                </c:pt>
                <c:pt idx="29">
                  <c:v>Galbani</c:v>
                </c:pt>
                <c:pt idx="30">
                  <c:v>Private Lab</c:v>
                </c:pt>
                <c:pt idx="31">
                  <c:v>Soignon</c:v>
                </c:pt>
                <c:pt idx="32">
                  <c:v>Private Lab</c:v>
                </c:pt>
                <c:pt idx="33">
                  <c:v>St Moret</c:v>
                </c:pt>
                <c:pt idx="34">
                  <c:v>Caprice Des</c:v>
                </c:pt>
                <c:pt idx="35">
                  <c:v>President</c:v>
                </c:pt>
                <c:pt idx="36">
                  <c:v>Leerdammer</c:v>
                </c:pt>
                <c:pt idx="37">
                  <c:v>St Moret</c:v>
                </c:pt>
                <c:pt idx="38">
                  <c:v>Private Lab</c:v>
                </c:pt>
                <c:pt idx="39">
                  <c:v>President</c:v>
                </c:pt>
                <c:pt idx="40">
                  <c:v>Private Lab</c:v>
                </c:pt>
                <c:pt idx="41">
                  <c:v>Private Lab</c:v>
                </c:pt>
                <c:pt idx="42">
                  <c:v>Private Lab</c:v>
                </c:pt>
                <c:pt idx="43">
                  <c:v>Coeur De Li</c:v>
                </c:pt>
                <c:pt idx="44">
                  <c:v>President</c:v>
                </c:pt>
                <c:pt idx="45">
                  <c:v>Salakis</c:v>
                </c:pt>
                <c:pt idx="46">
                  <c:v>Leerdammer</c:v>
                </c:pt>
                <c:pt idx="47">
                  <c:v>La Vache Qu</c:v>
                </c:pt>
                <c:pt idx="48">
                  <c:v>Private Lab</c:v>
                </c:pt>
                <c:pt idx="49">
                  <c:v>President</c:v>
                </c:pt>
                <c:pt idx="50">
                  <c:v>St Moret</c:v>
                </c:pt>
                <c:pt idx="51">
                  <c:v>Private Lab</c:v>
                </c:pt>
                <c:pt idx="52">
                  <c:v>Private Lab</c:v>
                </c:pt>
                <c:pt idx="53">
                  <c:v>Private Lab</c:v>
                </c:pt>
                <c:pt idx="54">
                  <c:v>President</c:v>
                </c:pt>
                <c:pt idx="55">
                  <c:v>Entremont</c:v>
                </c:pt>
                <c:pt idx="56">
                  <c:v>Private Lab</c:v>
                </c:pt>
                <c:pt idx="57">
                  <c:v>Private Lab</c:v>
                </c:pt>
                <c:pt idx="58">
                  <c:v>Leerdammer</c:v>
                </c:pt>
                <c:pt idx="59">
                  <c:v>La Vache Qu</c:v>
                </c:pt>
                <c:pt idx="60">
                  <c:v>All Others</c:v>
                </c:pt>
                <c:pt idx="61">
                  <c:v>Private Lab</c:v>
                </c:pt>
                <c:pt idx="62">
                  <c:v>All Others</c:v>
                </c:pt>
                <c:pt idx="63">
                  <c:v>Private Lab</c:v>
                </c:pt>
                <c:pt idx="64">
                  <c:v>Private Lab</c:v>
                </c:pt>
                <c:pt idx="65">
                  <c:v>President</c:v>
                </c:pt>
                <c:pt idx="66">
                  <c:v>Salakis</c:v>
                </c:pt>
                <c:pt idx="67">
                  <c:v>Private Lab</c:v>
                </c:pt>
                <c:pt idx="68">
                  <c:v>Le Rustique</c:v>
                </c:pt>
                <c:pt idx="69">
                  <c:v>Tartare</c:v>
                </c:pt>
                <c:pt idx="70">
                  <c:v>Societe</c:v>
                </c:pt>
                <c:pt idx="71">
                  <c:v>St Moret</c:v>
                </c:pt>
                <c:pt idx="72">
                  <c:v>Private Lab</c:v>
                </c:pt>
                <c:pt idx="73">
                  <c:v>Mini Babybe</c:v>
                </c:pt>
                <c:pt idx="74">
                  <c:v>Soignon</c:v>
                </c:pt>
                <c:pt idx="75">
                  <c:v>Galbani</c:v>
                </c:pt>
                <c:pt idx="76">
                  <c:v>Juraflore</c:v>
                </c:pt>
                <c:pt idx="77">
                  <c:v>Private Lab</c:v>
                </c:pt>
                <c:pt idx="78">
                  <c:v>Islos</c:v>
                </c:pt>
                <c:pt idx="79">
                  <c:v>Entremont</c:v>
                </c:pt>
                <c:pt idx="80">
                  <c:v>Chaussee Au</c:v>
                </c:pt>
                <c:pt idx="81">
                  <c:v>Private Lab</c:v>
                </c:pt>
                <c:pt idx="82">
                  <c:v>Private Lab</c:v>
                </c:pt>
                <c:pt idx="83">
                  <c:v>Ficello</c:v>
                </c:pt>
                <c:pt idx="84">
                  <c:v>President</c:v>
                </c:pt>
                <c:pt idx="85">
                  <c:v>Kiri</c:v>
                </c:pt>
                <c:pt idx="86">
                  <c:v>Private Lab</c:v>
                </c:pt>
                <c:pt idx="87">
                  <c:v>Private Lab</c:v>
                </c:pt>
                <c:pt idx="88">
                  <c:v>Galbani</c:v>
                </c:pt>
                <c:pt idx="89">
                  <c:v>Kiri</c:v>
                </c:pt>
                <c:pt idx="90">
                  <c:v>Private Lab</c:v>
                </c:pt>
                <c:pt idx="91">
                  <c:v>Private Lab</c:v>
                </c:pt>
                <c:pt idx="92">
                  <c:v>Paysan Bret</c:v>
                </c:pt>
                <c:pt idx="93">
                  <c:v>Bresse Bleu</c:v>
                </c:pt>
                <c:pt idx="94">
                  <c:v>Private Lab</c:v>
                </c:pt>
                <c:pt idx="95">
                  <c:v>Private Lab</c:v>
                </c:pt>
                <c:pt idx="96">
                  <c:v>Entremont</c:v>
                </c:pt>
                <c:pt idx="97">
                  <c:v>President</c:v>
                </c:pt>
                <c:pt idx="98">
                  <c:v>Entremont</c:v>
                </c:pt>
                <c:pt idx="99">
                  <c:v>President</c:v>
                </c:pt>
                <c:pt idx="100">
                  <c:v>Saint Albra</c:v>
                </c:pt>
                <c:pt idx="101">
                  <c:v>Apericube</c:v>
                </c:pt>
                <c:pt idx="102">
                  <c:v>Salakis</c:v>
                </c:pt>
                <c:pt idx="103">
                  <c:v>Private Lab</c:v>
                </c:pt>
                <c:pt idx="104">
                  <c:v>Leerdammer</c:v>
                </c:pt>
                <c:pt idx="105">
                  <c:v>President</c:v>
                </c:pt>
                <c:pt idx="106">
                  <c:v>President</c:v>
                </c:pt>
                <c:pt idx="107">
                  <c:v>Private Lab</c:v>
                </c:pt>
                <c:pt idx="108">
                  <c:v>Private Lab</c:v>
                </c:pt>
                <c:pt idx="109">
                  <c:v>Leerdammer</c:v>
                </c:pt>
                <c:pt idx="110">
                  <c:v>Private Lab</c:v>
                </c:pt>
                <c:pt idx="111">
                  <c:v>Casa Azzurr</c:v>
                </c:pt>
                <c:pt idx="112">
                  <c:v>Paysan Bret</c:v>
                </c:pt>
                <c:pt idx="113">
                  <c:v>Casa Azzurr</c:v>
                </c:pt>
                <c:pt idx="114">
                  <c:v>Private Lab</c:v>
                </c:pt>
                <c:pt idx="115">
                  <c:v>Private Lab</c:v>
                </c:pt>
                <c:pt idx="116">
                  <c:v>L'Ortolan</c:v>
                </c:pt>
                <c:pt idx="117">
                  <c:v>Private Lab</c:v>
                </c:pt>
                <c:pt idx="118">
                  <c:v>Apericube</c:v>
                </c:pt>
                <c:pt idx="119">
                  <c:v>Private Lab</c:v>
                </c:pt>
                <c:pt idx="120">
                  <c:v>Saint Albra</c:v>
                </c:pt>
                <c:pt idx="121">
                  <c:v>Galbani</c:v>
                </c:pt>
                <c:pt idx="122">
                  <c:v>Kiri</c:v>
                </c:pt>
                <c:pt idx="123">
                  <c:v>Saint Agur</c:v>
                </c:pt>
                <c:pt idx="124">
                  <c:v>Private Lab</c:v>
                </c:pt>
                <c:pt idx="125">
                  <c:v>Private Lab</c:v>
                </c:pt>
                <c:pt idx="126">
                  <c:v>St Moret</c:v>
                </c:pt>
                <c:pt idx="127">
                  <c:v>President</c:v>
                </c:pt>
                <c:pt idx="128">
                  <c:v>L'Ortolan</c:v>
                </c:pt>
                <c:pt idx="129">
                  <c:v>Private Lab</c:v>
                </c:pt>
                <c:pt idx="130">
                  <c:v>President</c:v>
                </c:pt>
                <c:pt idx="131">
                  <c:v>Entremont</c:v>
                </c:pt>
                <c:pt idx="132">
                  <c:v>Boursin</c:v>
                </c:pt>
                <c:pt idx="133">
                  <c:v>Private Lab</c:v>
                </c:pt>
                <c:pt idx="134">
                  <c:v>Private Lab</c:v>
                </c:pt>
                <c:pt idx="135">
                  <c:v>Casa Azzurr</c:v>
                </c:pt>
                <c:pt idx="136">
                  <c:v>Entremont</c:v>
                </c:pt>
                <c:pt idx="137">
                  <c:v>Parmareggio</c:v>
                </c:pt>
                <c:pt idx="138">
                  <c:v>Private Lab</c:v>
                </c:pt>
                <c:pt idx="139">
                  <c:v>Coeur De Li</c:v>
                </c:pt>
                <c:pt idx="140">
                  <c:v>Istara</c:v>
                </c:pt>
                <c:pt idx="141">
                  <c:v>Galbani</c:v>
                </c:pt>
                <c:pt idx="142">
                  <c:v>Apericube</c:v>
                </c:pt>
                <c:pt idx="143">
                  <c:v>Salakis</c:v>
                </c:pt>
                <c:pt idx="144">
                  <c:v>All Others</c:v>
                </c:pt>
                <c:pt idx="145">
                  <c:v>All Others</c:v>
                </c:pt>
                <c:pt idx="146">
                  <c:v>Entremont</c:v>
                </c:pt>
                <c:pt idx="147">
                  <c:v>President</c:v>
                </c:pt>
                <c:pt idx="148">
                  <c:v>Casa Azzurr</c:v>
                </c:pt>
                <c:pt idx="149">
                  <c:v>Private Lab</c:v>
                </c:pt>
                <c:pt idx="150">
                  <c:v>Private Lab</c:v>
                </c:pt>
                <c:pt idx="151">
                  <c:v>Private Lab</c:v>
                </c:pt>
                <c:pt idx="152">
                  <c:v>Leerdammer</c:v>
                </c:pt>
                <c:pt idx="153">
                  <c:v>Casa Azzurr</c:v>
                </c:pt>
                <c:pt idx="154">
                  <c:v>Boursin</c:v>
                </c:pt>
                <c:pt idx="155">
                  <c:v>Carre Frais</c:v>
                </c:pt>
                <c:pt idx="156">
                  <c:v>Private Lab</c:v>
                </c:pt>
                <c:pt idx="157">
                  <c:v>Private Lab</c:v>
                </c:pt>
                <c:pt idx="158">
                  <c:v>Entremont</c:v>
                </c:pt>
                <c:pt idx="159">
                  <c:v>St Moret</c:v>
                </c:pt>
                <c:pt idx="160">
                  <c:v>Private Lab</c:v>
                </c:pt>
                <c:pt idx="161">
                  <c:v>Carre Frais</c:v>
                </c:pt>
                <c:pt idx="162">
                  <c:v>Private Lab</c:v>
                </c:pt>
                <c:pt idx="163">
                  <c:v>Private Lab</c:v>
                </c:pt>
                <c:pt idx="164">
                  <c:v>Boursin</c:v>
                </c:pt>
                <c:pt idx="165">
                  <c:v>Port Salut</c:v>
                </c:pt>
                <c:pt idx="166">
                  <c:v>Saint Agur</c:v>
                </c:pt>
                <c:pt idx="167">
                  <c:v>Apericube</c:v>
                </c:pt>
                <c:pt idx="168">
                  <c:v>Kiri</c:v>
                </c:pt>
                <c:pt idx="169">
                  <c:v>Coeur De Li</c:v>
                </c:pt>
                <c:pt idx="170">
                  <c:v>Lepetit</c:v>
                </c:pt>
                <c:pt idx="171">
                  <c:v>Entremont</c:v>
                </c:pt>
                <c:pt idx="172">
                  <c:v>Private Lab</c:v>
                </c:pt>
                <c:pt idx="173">
                  <c:v>Entremont</c:v>
                </c:pt>
                <c:pt idx="174">
                  <c:v>Private Lab</c:v>
                </c:pt>
                <c:pt idx="175">
                  <c:v>Kiri</c:v>
                </c:pt>
                <c:pt idx="176">
                  <c:v>Philadelphi</c:v>
                </c:pt>
                <c:pt idx="177">
                  <c:v>Lou Perac</c:v>
                </c:pt>
                <c:pt idx="178">
                  <c:v>Tartare</c:v>
                </c:pt>
                <c:pt idx="179">
                  <c:v>Coeur De Li</c:v>
                </c:pt>
                <c:pt idx="180">
                  <c:v>All Others</c:v>
                </c:pt>
                <c:pt idx="181">
                  <c:v>Casa Azzurr</c:v>
                </c:pt>
                <c:pt idx="182">
                  <c:v>Private Lab</c:v>
                </c:pt>
                <c:pt idx="183">
                  <c:v>Soignon</c:v>
                </c:pt>
                <c:pt idx="184">
                  <c:v>President</c:v>
                </c:pt>
                <c:pt idx="185">
                  <c:v>Private Lab</c:v>
                </c:pt>
                <c:pt idx="186">
                  <c:v>Entremont</c:v>
                </c:pt>
                <c:pt idx="187">
                  <c:v>Pave D'Affi</c:v>
                </c:pt>
                <c:pt idx="188">
                  <c:v>Private Lab</c:v>
                </c:pt>
                <c:pt idx="189">
                  <c:v>All Others</c:v>
                </c:pt>
                <c:pt idx="190">
                  <c:v>St Moret</c:v>
                </c:pt>
                <c:pt idx="191">
                  <c:v>Private Lab</c:v>
                </c:pt>
                <c:pt idx="192">
                  <c:v>Private Lab</c:v>
                </c:pt>
                <c:pt idx="193">
                  <c:v>Les Mousque</c:v>
                </c:pt>
                <c:pt idx="194">
                  <c:v>Boursin</c:v>
                </c:pt>
                <c:pt idx="195">
                  <c:v>Private Lab</c:v>
                </c:pt>
                <c:pt idx="196">
                  <c:v>Richesmonts</c:v>
                </c:pt>
                <c:pt idx="197">
                  <c:v>President</c:v>
                </c:pt>
                <c:pt idx="198">
                  <c:v>Lactalis: A</c:v>
                </c:pt>
                <c:pt idx="199">
                  <c:v>Apericube</c:v>
                </c:pt>
                <c:pt idx="200">
                  <c:v>Galbani</c:v>
                </c:pt>
                <c:pt idx="201">
                  <c:v>Galbani</c:v>
                </c:pt>
                <c:pt idx="202">
                  <c:v>Private Lab</c:v>
                </c:pt>
                <c:pt idx="203">
                  <c:v>Saint Agur</c:v>
                </c:pt>
                <c:pt idx="204">
                  <c:v>Savencia: A</c:v>
                </c:pt>
                <c:pt idx="205">
                  <c:v>Salakis</c:v>
                </c:pt>
                <c:pt idx="206">
                  <c:v>President</c:v>
                </c:pt>
                <c:pt idx="207">
                  <c:v>Casa Azzurr</c:v>
                </c:pt>
                <c:pt idx="208">
                  <c:v>Private Lab</c:v>
                </c:pt>
                <c:pt idx="209">
                  <c:v>Caprice Des</c:v>
                </c:pt>
                <c:pt idx="210">
                  <c:v>Saint Agur</c:v>
                </c:pt>
                <c:pt idx="211">
                  <c:v>Galbani</c:v>
                </c:pt>
                <c:pt idx="212">
                  <c:v>Apericube</c:v>
                </c:pt>
                <c:pt idx="213">
                  <c:v>St Moret</c:v>
                </c:pt>
                <c:pt idx="214">
                  <c:v>Casa Azzurr</c:v>
                </c:pt>
                <c:pt idx="215">
                  <c:v>Soignon</c:v>
                </c:pt>
                <c:pt idx="216">
                  <c:v>Leerdammer</c:v>
                </c:pt>
                <c:pt idx="217">
                  <c:v>Private Lab</c:v>
                </c:pt>
                <c:pt idx="218">
                  <c:v>Private Lab</c:v>
                </c:pt>
                <c:pt idx="219">
                  <c:v>Private Lab</c:v>
                </c:pt>
                <c:pt idx="220">
                  <c:v>Private Lab</c:v>
                </c:pt>
                <c:pt idx="221">
                  <c:v>Petit Billy</c:v>
                </c:pt>
                <c:pt idx="222">
                  <c:v>La Vache Qu</c:v>
                </c:pt>
                <c:pt idx="223">
                  <c:v>Private Lab</c:v>
                </c:pt>
                <c:pt idx="224">
                  <c:v>President</c:v>
                </c:pt>
                <c:pt idx="225">
                  <c:v>President</c:v>
                </c:pt>
                <c:pt idx="226">
                  <c:v>Coeur De Li</c:v>
                </c:pt>
                <c:pt idx="227">
                  <c:v>Apericube</c:v>
                </c:pt>
                <c:pt idx="228">
                  <c:v>Private Lab</c:v>
                </c:pt>
                <c:pt idx="229">
                  <c:v>Private Lab</c:v>
                </c:pt>
                <c:pt idx="230">
                  <c:v>Leerdammer</c:v>
                </c:pt>
                <c:pt idx="231">
                  <c:v>Ficello</c:v>
                </c:pt>
                <c:pt idx="232">
                  <c:v>Private Lab</c:v>
                </c:pt>
                <c:pt idx="233">
                  <c:v>Salakis</c:v>
                </c:pt>
                <c:pt idx="234">
                  <c:v>Saint Agur</c:v>
                </c:pt>
                <c:pt idx="235">
                  <c:v>Babybel</c:v>
                </c:pt>
                <c:pt idx="236">
                  <c:v>Private Lab</c:v>
                </c:pt>
                <c:pt idx="237">
                  <c:v>Istara</c:v>
                </c:pt>
                <c:pt idx="238">
                  <c:v>Galbani</c:v>
                </c:pt>
                <c:pt idx="239">
                  <c:v>Aperivrais</c:v>
                </c:pt>
                <c:pt idx="240">
                  <c:v>Les Mousque</c:v>
                </c:pt>
                <c:pt idx="241">
                  <c:v>Private Lab</c:v>
                </c:pt>
                <c:pt idx="242">
                  <c:v>Fauquet</c:v>
                </c:pt>
                <c:pt idx="243">
                  <c:v>Private Lab</c:v>
                </c:pt>
                <c:pt idx="244">
                  <c:v>Private Lab</c:v>
                </c:pt>
                <c:pt idx="245">
                  <c:v>Private Lab</c:v>
                </c:pt>
                <c:pt idx="246">
                  <c:v>Apericube</c:v>
                </c:pt>
                <c:pt idx="247">
                  <c:v>All Others</c:v>
                </c:pt>
                <c:pt idx="248">
                  <c:v>Pochat</c:v>
                </c:pt>
                <c:pt idx="249">
                  <c:v>Entremont</c:v>
                </c:pt>
                <c:pt idx="250">
                  <c:v>Private Lab</c:v>
                </c:pt>
                <c:pt idx="251">
                  <c:v>Private Lab</c:v>
                </c:pt>
                <c:pt idx="252">
                  <c:v>President</c:v>
                </c:pt>
                <c:pt idx="253">
                  <c:v>Soignon</c:v>
                </c:pt>
                <c:pt idx="254">
                  <c:v>Boursin</c:v>
                </c:pt>
                <c:pt idx="255">
                  <c:v>Entremont</c:v>
                </c:pt>
                <c:pt idx="256">
                  <c:v>Galbani</c:v>
                </c:pt>
                <c:pt idx="257">
                  <c:v>La Vache Qu</c:v>
                </c:pt>
                <c:pt idx="258">
                  <c:v>Pave D'Affi</c:v>
                </c:pt>
                <c:pt idx="259">
                  <c:v>President</c:v>
                </c:pt>
                <c:pt idx="260">
                  <c:v>Private Lab</c:v>
                </c:pt>
                <c:pt idx="261">
                  <c:v>President</c:v>
                </c:pt>
                <c:pt idx="262">
                  <c:v>Entremont</c:v>
                </c:pt>
                <c:pt idx="263">
                  <c:v>Private Lab</c:v>
                </c:pt>
                <c:pt idx="264">
                  <c:v>Vieux Pane</c:v>
                </c:pt>
                <c:pt idx="265">
                  <c:v>Lactalis: A</c:v>
                </c:pt>
                <c:pt idx="266">
                  <c:v>Casa Azzurr</c:v>
                </c:pt>
                <c:pt idx="267">
                  <c:v>Private Lab</c:v>
                </c:pt>
                <c:pt idx="268">
                  <c:v>Boursin</c:v>
                </c:pt>
                <c:pt idx="269">
                  <c:v>Leerdammer</c:v>
                </c:pt>
                <c:pt idx="270">
                  <c:v>All Others</c:v>
                </c:pt>
                <c:pt idx="271">
                  <c:v>Societe</c:v>
                </c:pt>
                <c:pt idx="272">
                  <c:v>Private Lab</c:v>
                </c:pt>
                <c:pt idx="273">
                  <c:v>Caprice Des</c:v>
                </c:pt>
                <c:pt idx="274">
                  <c:v>Private Lab</c:v>
                </c:pt>
                <c:pt idx="275">
                  <c:v>Private Lab</c:v>
                </c:pt>
                <c:pt idx="276">
                  <c:v>Casa Azzurr</c:v>
                </c:pt>
                <c:pt idx="277">
                  <c:v>Private Lab</c:v>
                </c:pt>
                <c:pt idx="278">
                  <c:v>Private Lab</c:v>
                </c:pt>
                <c:pt idx="279">
                  <c:v>Apericube</c:v>
                </c:pt>
                <c:pt idx="280">
                  <c:v>Le Rustique</c:v>
                </c:pt>
                <c:pt idx="281">
                  <c:v>Chavroux</c:v>
                </c:pt>
                <c:pt idx="282">
                  <c:v>Private Lab</c:v>
                </c:pt>
                <c:pt idx="283">
                  <c:v>Paysan Bret</c:v>
                </c:pt>
                <c:pt idx="284">
                  <c:v>Galbani</c:v>
                </c:pt>
                <c:pt idx="285">
                  <c:v>Tartare</c:v>
                </c:pt>
                <c:pt idx="286">
                  <c:v>Societe</c:v>
                </c:pt>
                <c:pt idx="287">
                  <c:v>Ficello</c:v>
                </c:pt>
                <c:pt idx="288">
                  <c:v>Private Lab</c:v>
                </c:pt>
                <c:pt idx="289">
                  <c:v>Societe</c:v>
                </c:pt>
                <c:pt idx="290">
                  <c:v>Apericube</c:v>
                </c:pt>
                <c:pt idx="291">
                  <c:v>Soignon</c:v>
                </c:pt>
                <c:pt idx="292">
                  <c:v>Carre Frais</c:v>
                </c:pt>
                <c:pt idx="293">
                  <c:v>Private Lab</c:v>
                </c:pt>
                <c:pt idx="294">
                  <c:v>Private Lab</c:v>
                </c:pt>
                <c:pt idx="295">
                  <c:v>All Others</c:v>
                </c:pt>
                <c:pt idx="296">
                  <c:v>Private Lab</c:v>
                </c:pt>
                <c:pt idx="297">
                  <c:v>Fol Epi</c:v>
                </c:pt>
                <c:pt idx="298">
                  <c:v>Private Lab</c:v>
                </c:pt>
                <c:pt idx="299">
                  <c:v>Le Rustique</c:v>
                </c:pt>
                <c:pt idx="300">
                  <c:v>President</c:v>
                </c:pt>
                <c:pt idx="301">
                  <c:v>Private Lab</c:v>
                </c:pt>
                <c:pt idx="302">
                  <c:v>Bresse Bleu</c:v>
                </c:pt>
                <c:pt idx="303">
                  <c:v>Pochat</c:v>
                </c:pt>
                <c:pt idx="304">
                  <c:v>Private Lab</c:v>
                </c:pt>
                <c:pt idx="305">
                  <c:v>Aperivrais</c:v>
                </c:pt>
                <c:pt idx="306">
                  <c:v>Private Lab</c:v>
                </c:pt>
                <c:pt idx="307">
                  <c:v>Private Lab</c:v>
                </c:pt>
                <c:pt idx="308">
                  <c:v>Galbani</c:v>
                </c:pt>
                <c:pt idx="309">
                  <c:v>Private Lab</c:v>
                </c:pt>
                <c:pt idx="310">
                  <c:v>Le Rustique</c:v>
                </c:pt>
                <c:pt idx="311">
                  <c:v>Pave D'Affi</c:v>
                </c:pt>
                <c:pt idx="312">
                  <c:v>Philadelphi</c:v>
                </c:pt>
                <c:pt idx="313">
                  <c:v>St Moret</c:v>
                </c:pt>
                <c:pt idx="314">
                  <c:v>Private Lab</c:v>
                </c:pt>
                <c:pt idx="315">
                  <c:v>Private Lab</c:v>
                </c:pt>
                <c:pt idx="316">
                  <c:v>Parmareggio</c:v>
                </c:pt>
                <c:pt idx="317">
                  <c:v>Private Lab</c:v>
                </c:pt>
                <c:pt idx="318">
                  <c:v>All Others</c:v>
                </c:pt>
                <c:pt idx="319">
                  <c:v>Etorki</c:v>
                </c:pt>
                <c:pt idx="320">
                  <c:v>Private Lab</c:v>
                </c:pt>
                <c:pt idx="321">
                  <c:v>Paysan Bret</c:v>
                </c:pt>
                <c:pt idx="322">
                  <c:v>Lactalis: A</c:v>
                </c:pt>
                <c:pt idx="323">
                  <c:v>All Others</c:v>
                </c:pt>
                <c:pt idx="324">
                  <c:v>P'Tit Louis</c:v>
                </c:pt>
                <c:pt idx="325">
                  <c:v>Paysan Bret</c:v>
                </c:pt>
                <c:pt idx="326">
                  <c:v>Casa Azzurr</c:v>
                </c:pt>
                <c:pt idx="327">
                  <c:v>Mini Babybe</c:v>
                </c:pt>
                <c:pt idx="328">
                  <c:v>Private Lab</c:v>
                </c:pt>
                <c:pt idx="329">
                  <c:v>Savencia: A</c:v>
                </c:pt>
                <c:pt idx="330">
                  <c:v>Galbani</c:v>
                </c:pt>
                <c:pt idx="331">
                  <c:v>Private Lab</c:v>
                </c:pt>
                <c:pt idx="332">
                  <c:v>Boursin</c:v>
                </c:pt>
                <c:pt idx="333">
                  <c:v>Soignon</c:v>
                </c:pt>
                <c:pt idx="334">
                  <c:v>Private Lab</c:v>
                </c:pt>
                <c:pt idx="335">
                  <c:v>Private Lab</c:v>
                </c:pt>
                <c:pt idx="336">
                  <c:v>Private Lab</c:v>
                </c:pt>
                <c:pt idx="337">
                  <c:v>Private Lab</c:v>
                </c:pt>
                <c:pt idx="338">
                  <c:v>Le Brebiou</c:v>
                </c:pt>
                <c:pt idx="339">
                  <c:v>Caprice Des</c:v>
                </c:pt>
                <c:pt idx="340">
                  <c:v>Private Lab</c:v>
                </c:pt>
                <c:pt idx="341">
                  <c:v>Galbani</c:v>
                </c:pt>
                <c:pt idx="342">
                  <c:v>Private Lab</c:v>
                </c:pt>
                <c:pt idx="343">
                  <c:v>Lactalis: A</c:v>
                </c:pt>
                <c:pt idx="344">
                  <c:v>Private Lab</c:v>
                </c:pt>
                <c:pt idx="345">
                  <c:v>Private Lab</c:v>
                </c:pt>
                <c:pt idx="346">
                  <c:v>Le Rustique</c:v>
                </c:pt>
                <c:pt idx="347">
                  <c:v>Salakis</c:v>
                </c:pt>
                <c:pt idx="348">
                  <c:v>Kiri</c:v>
                </c:pt>
                <c:pt idx="349">
                  <c:v>Private Lab</c:v>
                </c:pt>
                <c:pt idx="350">
                  <c:v>President</c:v>
                </c:pt>
                <c:pt idx="351">
                  <c:v>All Others</c:v>
                </c:pt>
                <c:pt idx="352">
                  <c:v>All Others</c:v>
                </c:pt>
                <c:pt idx="353">
                  <c:v>Soignon</c:v>
                </c:pt>
                <c:pt idx="354">
                  <c:v>St Moret</c:v>
                </c:pt>
                <c:pt idx="355">
                  <c:v>President</c:v>
                </c:pt>
                <c:pt idx="356">
                  <c:v>Private Lab</c:v>
                </c:pt>
                <c:pt idx="357">
                  <c:v>All Others</c:v>
                </c:pt>
                <c:pt idx="358">
                  <c:v>Paysan Bret</c:v>
                </c:pt>
                <c:pt idx="359">
                  <c:v>Aperivrais</c:v>
                </c:pt>
                <c:pt idx="360">
                  <c:v>Private Lab</c:v>
                </c:pt>
                <c:pt idx="361">
                  <c:v>Casa Azzurr</c:v>
                </c:pt>
                <c:pt idx="362">
                  <c:v>President</c:v>
                </c:pt>
                <c:pt idx="363">
                  <c:v>Soignon</c:v>
                </c:pt>
                <c:pt idx="364">
                  <c:v>L'Ortolan</c:v>
                </c:pt>
                <c:pt idx="365">
                  <c:v>President</c:v>
                </c:pt>
                <c:pt idx="366">
                  <c:v>Private Lab</c:v>
                </c:pt>
                <c:pt idx="367">
                  <c:v>Private Lab</c:v>
                </c:pt>
                <c:pt idx="368">
                  <c:v>Boursin</c:v>
                </c:pt>
                <c:pt idx="369">
                  <c:v>Private Lab</c:v>
                </c:pt>
                <c:pt idx="370">
                  <c:v>Boursin</c:v>
                </c:pt>
                <c:pt idx="371">
                  <c:v>Etorki</c:v>
                </c:pt>
                <c:pt idx="372">
                  <c:v>Savencia: A</c:v>
                </c:pt>
                <c:pt idx="373">
                  <c:v>All Others</c:v>
                </c:pt>
                <c:pt idx="374">
                  <c:v>Tartare</c:v>
                </c:pt>
                <c:pt idx="375">
                  <c:v>Galbani</c:v>
                </c:pt>
                <c:pt idx="376">
                  <c:v>All Others</c:v>
                </c:pt>
                <c:pt idx="377">
                  <c:v>Pave D'Affi</c:v>
                </c:pt>
                <c:pt idx="378">
                  <c:v>President</c:v>
                </c:pt>
                <c:pt idx="379">
                  <c:v>Private Lab</c:v>
                </c:pt>
                <c:pt idx="380">
                  <c:v>Leerdammer</c:v>
                </c:pt>
                <c:pt idx="381">
                  <c:v>Societe</c:v>
                </c:pt>
                <c:pt idx="382">
                  <c:v>Islos</c:v>
                </c:pt>
                <c:pt idx="383">
                  <c:v>Les Mousque</c:v>
                </c:pt>
                <c:pt idx="384">
                  <c:v>Private Lab</c:v>
                </c:pt>
                <c:pt idx="385">
                  <c:v>Chavroux</c:v>
                </c:pt>
                <c:pt idx="386">
                  <c:v>Private Lab</c:v>
                </c:pt>
                <c:pt idx="387">
                  <c:v>Private Lab</c:v>
                </c:pt>
                <c:pt idx="388">
                  <c:v>Pave D'Affi</c:v>
                </c:pt>
                <c:pt idx="389">
                  <c:v>Casa Azzurr</c:v>
                </c:pt>
                <c:pt idx="390">
                  <c:v>Private Lab</c:v>
                </c:pt>
                <c:pt idx="391">
                  <c:v>All Others</c:v>
                </c:pt>
                <c:pt idx="392">
                  <c:v>Milleret: A</c:v>
                </c:pt>
                <c:pt idx="393">
                  <c:v>St Moret</c:v>
                </c:pt>
                <c:pt idx="394">
                  <c:v>Les Mousque</c:v>
                </c:pt>
                <c:pt idx="395">
                  <c:v>La Vache Qu</c:v>
                </c:pt>
                <c:pt idx="396">
                  <c:v>Paysan Bret</c:v>
                </c:pt>
                <c:pt idx="397">
                  <c:v>Societe</c:v>
                </c:pt>
                <c:pt idx="398">
                  <c:v>Private Lab</c:v>
                </c:pt>
                <c:pt idx="399">
                  <c:v>Savencia: A</c:v>
                </c:pt>
                <c:pt idx="400">
                  <c:v>Galbani</c:v>
                </c:pt>
                <c:pt idx="401">
                  <c:v>Soignon</c:v>
                </c:pt>
                <c:pt idx="402">
                  <c:v>Private Lab</c:v>
                </c:pt>
                <c:pt idx="403">
                  <c:v>Aperivrais</c:v>
                </c:pt>
                <c:pt idx="404">
                  <c:v>Private Lab</c:v>
                </c:pt>
                <c:pt idx="405">
                  <c:v>Casa Azzurr</c:v>
                </c:pt>
                <c:pt idx="406">
                  <c:v>Galbani</c:v>
                </c:pt>
                <c:pt idx="407">
                  <c:v>Soignon</c:v>
                </c:pt>
                <c:pt idx="408">
                  <c:v>Mini Babybe</c:v>
                </c:pt>
                <c:pt idx="409">
                  <c:v>Fol Epi</c:v>
                </c:pt>
                <c:pt idx="410">
                  <c:v>Kiri</c:v>
                </c:pt>
                <c:pt idx="411">
                  <c:v>Boursin</c:v>
                </c:pt>
                <c:pt idx="412">
                  <c:v>All Others</c:v>
                </c:pt>
                <c:pt idx="413">
                  <c:v>Tartare</c:v>
                </c:pt>
                <c:pt idx="414">
                  <c:v>Caprice Des</c:v>
                </c:pt>
                <c:pt idx="415">
                  <c:v>Apericube</c:v>
                </c:pt>
                <c:pt idx="416">
                  <c:v>President</c:v>
                </c:pt>
                <c:pt idx="417">
                  <c:v>Vieux Pane</c:v>
                </c:pt>
                <c:pt idx="418">
                  <c:v>Private Lab</c:v>
                </c:pt>
                <c:pt idx="419">
                  <c:v>Private Lab</c:v>
                </c:pt>
                <c:pt idx="420">
                  <c:v>All Others</c:v>
                </c:pt>
                <c:pt idx="421">
                  <c:v>Private Lab</c:v>
                </c:pt>
                <c:pt idx="422">
                  <c:v>Lactalis: A</c:v>
                </c:pt>
                <c:pt idx="423">
                  <c:v>Boursin</c:v>
                </c:pt>
                <c:pt idx="424">
                  <c:v>Boursin</c:v>
                </c:pt>
                <c:pt idx="425">
                  <c:v>Private Lab</c:v>
                </c:pt>
                <c:pt idx="426">
                  <c:v>Salakis</c:v>
                </c:pt>
                <c:pt idx="427">
                  <c:v>La Belle Et</c:v>
                </c:pt>
                <c:pt idx="428">
                  <c:v>Aperivrais</c:v>
                </c:pt>
                <c:pt idx="429">
                  <c:v>All Others</c:v>
                </c:pt>
                <c:pt idx="430">
                  <c:v>St Moret</c:v>
                </c:pt>
                <c:pt idx="431">
                  <c:v>Galbani</c:v>
                </c:pt>
                <c:pt idx="432">
                  <c:v>Apericube</c:v>
                </c:pt>
                <c:pt idx="433">
                  <c:v>Societe</c:v>
                </c:pt>
                <c:pt idx="434">
                  <c:v>All Others</c:v>
                </c:pt>
                <c:pt idx="435">
                  <c:v>Lou Perac</c:v>
                </c:pt>
                <c:pt idx="436">
                  <c:v>La Belle Et</c:v>
                </c:pt>
                <c:pt idx="437">
                  <c:v>Boursin</c:v>
                </c:pt>
                <c:pt idx="438">
                  <c:v>Private Lab</c:v>
                </c:pt>
                <c:pt idx="439">
                  <c:v>Caprice Des</c:v>
                </c:pt>
                <c:pt idx="440">
                  <c:v>Private Lab</c:v>
                </c:pt>
                <c:pt idx="441">
                  <c:v>Eurial Autr</c:v>
                </c:pt>
                <c:pt idx="442">
                  <c:v>Entremont</c:v>
                </c:pt>
                <c:pt idx="443">
                  <c:v>Tartare</c:v>
                </c:pt>
                <c:pt idx="444">
                  <c:v>Private Lab</c:v>
                </c:pt>
                <c:pt idx="445">
                  <c:v>Savencia: A</c:v>
                </c:pt>
                <c:pt idx="446">
                  <c:v>Saint Agur</c:v>
                </c:pt>
                <c:pt idx="447">
                  <c:v>Private Lab</c:v>
                </c:pt>
                <c:pt idx="448">
                  <c:v>Eurial Autr</c:v>
                </c:pt>
                <c:pt idx="449">
                  <c:v>All Others</c:v>
                </c:pt>
                <c:pt idx="450">
                  <c:v>Soignon</c:v>
                </c:pt>
                <c:pt idx="451">
                  <c:v>President</c:v>
                </c:pt>
                <c:pt idx="452">
                  <c:v>Bresse Bleu</c:v>
                </c:pt>
                <c:pt idx="453">
                  <c:v>Vieux Pane</c:v>
                </c:pt>
                <c:pt idx="454">
                  <c:v>Lou Perac</c:v>
                </c:pt>
                <c:pt idx="455">
                  <c:v>Richesmonts</c:v>
                </c:pt>
                <c:pt idx="456">
                  <c:v>Juraflore</c:v>
                </c:pt>
                <c:pt idx="457">
                  <c:v>Leerdammer</c:v>
                </c:pt>
                <c:pt idx="458">
                  <c:v>Boursin</c:v>
                </c:pt>
                <c:pt idx="459">
                  <c:v>Caprice Des</c:v>
                </c:pt>
                <c:pt idx="460">
                  <c:v>Lactalis: A</c:v>
                </c:pt>
                <c:pt idx="461">
                  <c:v>Private Lab</c:v>
                </c:pt>
                <c:pt idx="462">
                  <c:v>Coeur De Li</c:v>
                </c:pt>
                <c:pt idx="463">
                  <c:v>All Others</c:v>
                </c:pt>
                <c:pt idx="464">
                  <c:v>Private Lab</c:v>
                </c:pt>
                <c:pt idx="465">
                  <c:v>Boursin</c:v>
                </c:pt>
                <c:pt idx="466">
                  <c:v>Private Lab</c:v>
                </c:pt>
                <c:pt idx="467">
                  <c:v>Boursin</c:v>
                </c:pt>
                <c:pt idx="468">
                  <c:v>Private Lab</c:v>
                </c:pt>
                <c:pt idx="469">
                  <c:v>Private Lab</c:v>
                </c:pt>
                <c:pt idx="470">
                  <c:v>All Others</c:v>
                </c:pt>
                <c:pt idx="471">
                  <c:v>Casa Azzurr</c:v>
                </c:pt>
                <c:pt idx="472">
                  <c:v>Savencia: A</c:v>
                </c:pt>
                <c:pt idx="473">
                  <c:v>La Vache Qu</c:v>
                </c:pt>
                <c:pt idx="474">
                  <c:v>Private Lab</c:v>
                </c:pt>
                <c:pt idx="475">
                  <c:v>Apericube</c:v>
                </c:pt>
                <c:pt idx="476">
                  <c:v>All Others</c:v>
                </c:pt>
                <c:pt idx="477">
                  <c:v>P'Tit Louis</c:v>
                </c:pt>
                <c:pt idx="478">
                  <c:v>Etoile Du V</c:v>
                </c:pt>
                <c:pt idx="479">
                  <c:v>Mini Babybe</c:v>
                </c:pt>
                <c:pt idx="480">
                  <c:v>Pochat</c:v>
                </c:pt>
                <c:pt idx="481">
                  <c:v>Islos</c:v>
                </c:pt>
                <c:pt idx="482">
                  <c:v>Bresse Bleu</c:v>
                </c:pt>
                <c:pt idx="483">
                  <c:v>Kiri</c:v>
                </c:pt>
                <c:pt idx="484">
                  <c:v>All Others</c:v>
                </c:pt>
                <c:pt idx="485">
                  <c:v>L'Ortolan</c:v>
                </c:pt>
                <c:pt idx="486">
                  <c:v>L'Ortolan</c:v>
                </c:pt>
                <c:pt idx="487">
                  <c:v>Private Lab</c:v>
                </c:pt>
                <c:pt idx="488">
                  <c:v>President</c:v>
                </c:pt>
                <c:pt idx="489">
                  <c:v>Les Mousque</c:v>
                </c:pt>
                <c:pt idx="490">
                  <c:v>Savencia: A</c:v>
                </c:pt>
                <c:pt idx="491">
                  <c:v>President</c:v>
                </c:pt>
                <c:pt idx="492">
                  <c:v>Paysan Bret</c:v>
                </c:pt>
                <c:pt idx="493">
                  <c:v>Private Lab</c:v>
                </c:pt>
                <c:pt idx="494">
                  <c:v>Tartare</c:v>
                </c:pt>
                <c:pt idx="495">
                  <c:v>All Others</c:v>
                </c:pt>
                <c:pt idx="496">
                  <c:v>Private Lab</c:v>
                </c:pt>
                <c:pt idx="497">
                  <c:v>Private Lab</c:v>
                </c:pt>
                <c:pt idx="498">
                  <c:v>Private Lab</c:v>
                </c:pt>
                <c:pt idx="499">
                  <c:v>All Others</c:v>
                </c:pt>
                <c:pt idx="500">
                  <c:v>All Others</c:v>
                </c:pt>
                <c:pt idx="501">
                  <c:v>All Others</c:v>
                </c:pt>
                <c:pt idx="502">
                  <c:v>Le Coq Crem</c:v>
                </c:pt>
                <c:pt idx="503">
                  <c:v>Private Lab</c:v>
                </c:pt>
                <c:pt idx="504">
                  <c:v>Juraflore</c:v>
                </c:pt>
                <c:pt idx="505">
                  <c:v>All Others</c:v>
                </c:pt>
                <c:pt idx="506">
                  <c:v>All Others</c:v>
                </c:pt>
                <c:pt idx="507">
                  <c:v>Private Lab</c:v>
                </c:pt>
                <c:pt idx="508">
                  <c:v>Private Lab</c:v>
                </c:pt>
                <c:pt idx="509">
                  <c:v>St Moret</c:v>
                </c:pt>
                <c:pt idx="510">
                  <c:v>Fol Epi</c:v>
                </c:pt>
                <c:pt idx="511">
                  <c:v>Le Saint Am</c:v>
                </c:pt>
                <c:pt idx="512">
                  <c:v>Private Lab</c:v>
                </c:pt>
                <c:pt idx="513">
                  <c:v>All Others</c:v>
                </c:pt>
                <c:pt idx="514">
                  <c:v>Lactalis: A</c:v>
                </c:pt>
                <c:pt idx="515">
                  <c:v>Private Lab</c:v>
                </c:pt>
                <c:pt idx="516">
                  <c:v>Corsica</c:v>
                </c:pt>
                <c:pt idx="517">
                  <c:v>Lou Perac</c:v>
                </c:pt>
                <c:pt idx="518">
                  <c:v>Private Lab</c:v>
                </c:pt>
                <c:pt idx="519">
                  <c:v>Savencia: A</c:v>
                </c:pt>
                <c:pt idx="520">
                  <c:v>Paysan Bret</c:v>
                </c:pt>
                <c:pt idx="521">
                  <c:v>Etoile Du Q</c:v>
                </c:pt>
                <c:pt idx="522">
                  <c:v>Lactalis: A</c:v>
                </c:pt>
                <c:pt idx="523">
                  <c:v>All Others</c:v>
                </c:pt>
                <c:pt idx="524">
                  <c:v>Paysan Bret</c:v>
                </c:pt>
                <c:pt idx="525">
                  <c:v>Paysan Bret</c:v>
                </c:pt>
                <c:pt idx="526">
                  <c:v>Savencia: A</c:v>
                </c:pt>
                <c:pt idx="527">
                  <c:v>All Others</c:v>
                </c:pt>
                <c:pt idx="528">
                  <c:v>Pochat</c:v>
                </c:pt>
                <c:pt idx="529">
                  <c:v>Private Lab</c:v>
                </c:pt>
                <c:pt idx="530">
                  <c:v>Private Lab</c:v>
                </c:pt>
                <c:pt idx="531">
                  <c:v>Saint Albra</c:v>
                </c:pt>
                <c:pt idx="532">
                  <c:v>President</c:v>
                </c:pt>
                <c:pt idx="533">
                  <c:v>Galbani</c:v>
                </c:pt>
                <c:pt idx="534">
                  <c:v>Boursin</c:v>
                </c:pt>
                <c:pt idx="535">
                  <c:v>Private Lab</c:v>
                </c:pt>
                <c:pt idx="536">
                  <c:v>Private Lab</c:v>
                </c:pt>
                <c:pt idx="537">
                  <c:v>Tartare</c:v>
                </c:pt>
                <c:pt idx="538">
                  <c:v>All Others</c:v>
                </c:pt>
                <c:pt idx="539">
                  <c:v>All Others</c:v>
                </c:pt>
                <c:pt idx="540">
                  <c:v>Istara</c:v>
                </c:pt>
                <c:pt idx="541">
                  <c:v>President</c:v>
                </c:pt>
                <c:pt idx="542">
                  <c:v>Richesmonts</c:v>
                </c:pt>
                <c:pt idx="543">
                  <c:v>Paysan Bret</c:v>
                </c:pt>
                <c:pt idx="544">
                  <c:v>Chavroux</c:v>
                </c:pt>
                <c:pt idx="545">
                  <c:v>Private Lab</c:v>
                </c:pt>
                <c:pt idx="546">
                  <c:v>Galbani</c:v>
                </c:pt>
                <c:pt idx="547">
                  <c:v>Soignon</c:v>
                </c:pt>
                <c:pt idx="548">
                  <c:v>Eurial Autr</c:v>
                </c:pt>
                <c:pt idx="549">
                  <c:v>Private Lab</c:v>
                </c:pt>
                <c:pt idx="550">
                  <c:v>Violife</c:v>
                </c:pt>
                <c:pt idx="551">
                  <c:v>All Others</c:v>
                </c:pt>
                <c:pt idx="552">
                  <c:v>All Others</c:v>
                </c:pt>
                <c:pt idx="553">
                  <c:v>All Others</c:v>
                </c:pt>
                <c:pt idx="554">
                  <c:v>Entremont</c:v>
                </c:pt>
                <c:pt idx="555">
                  <c:v>All Others</c:v>
                </c:pt>
                <c:pt idx="556">
                  <c:v>All Others</c:v>
                </c:pt>
                <c:pt idx="557">
                  <c:v>Chaussee Au</c:v>
                </c:pt>
                <c:pt idx="558">
                  <c:v>Soignon</c:v>
                </c:pt>
                <c:pt idx="559">
                  <c:v>All Others</c:v>
                </c:pt>
                <c:pt idx="560">
                  <c:v>Milleret: A</c:v>
                </c:pt>
                <c:pt idx="561">
                  <c:v>Private Lab</c:v>
                </c:pt>
                <c:pt idx="562">
                  <c:v>All Others</c:v>
                </c:pt>
                <c:pt idx="563">
                  <c:v>Carre Frais</c:v>
                </c:pt>
                <c:pt idx="564">
                  <c:v>All Others</c:v>
                </c:pt>
                <c:pt idx="565">
                  <c:v>Private Lab</c:v>
                </c:pt>
                <c:pt idx="566">
                  <c:v>All Others</c:v>
                </c:pt>
                <c:pt idx="567">
                  <c:v>Les Mousque</c:v>
                </c:pt>
                <c:pt idx="568">
                  <c:v>Societe</c:v>
                </c:pt>
                <c:pt idx="569">
                  <c:v>Lactalis: A</c:v>
                </c:pt>
                <c:pt idx="570">
                  <c:v>Entremont</c:v>
                </c:pt>
                <c:pt idx="571">
                  <c:v>All Others</c:v>
                </c:pt>
                <c:pt idx="572">
                  <c:v>Lactalis: A</c:v>
                </c:pt>
                <c:pt idx="573">
                  <c:v>Triballat N</c:v>
                </c:pt>
                <c:pt idx="574">
                  <c:v>Boursin</c:v>
                </c:pt>
                <c:pt idx="575">
                  <c:v>L'Ortolan</c:v>
                </c:pt>
                <c:pt idx="576">
                  <c:v>Entremont</c:v>
                </c:pt>
                <c:pt idx="577">
                  <c:v>Soignon</c:v>
                </c:pt>
                <c:pt idx="578">
                  <c:v>All Others</c:v>
                </c:pt>
                <c:pt idx="579">
                  <c:v>Savencia: A</c:v>
                </c:pt>
                <c:pt idx="580">
                  <c:v>All Others</c:v>
                </c:pt>
                <c:pt idx="581">
                  <c:v>Raguin</c:v>
                </c:pt>
                <c:pt idx="582">
                  <c:v>Entremont</c:v>
                </c:pt>
                <c:pt idx="583">
                  <c:v>All Others</c:v>
                </c:pt>
                <c:pt idx="584">
                  <c:v>Triballat N</c:v>
                </c:pt>
                <c:pt idx="585">
                  <c:v>Societe</c:v>
                </c:pt>
                <c:pt idx="586">
                  <c:v>Lactalis: A</c:v>
                </c:pt>
                <c:pt idx="587">
                  <c:v>All Others</c:v>
                </c:pt>
                <c:pt idx="588">
                  <c:v>Kiri</c:v>
                </c:pt>
                <c:pt idx="589">
                  <c:v>All Others</c:v>
                </c:pt>
                <c:pt idx="590">
                  <c:v>Paysan Bret</c:v>
                </c:pt>
                <c:pt idx="591">
                  <c:v>All Others</c:v>
                </c:pt>
                <c:pt idx="592">
                  <c:v>Lactalis: A</c:v>
                </c:pt>
                <c:pt idx="593">
                  <c:v>Savencia: A</c:v>
                </c:pt>
                <c:pt idx="594">
                  <c:v>Triballat N</c:v>
                </c:pt>
                <c:pt idx="595">
                  <c:v>Raguin</c:v>
                </c:pt>
                <c:pt idx="596">
                  <c:v>President</c:v>
                </c:pt>
                <c:pt idx="597">
                  <c:v>All Others</c:v>
                </c:pt>
                <c:pt idx="598">
                  <c:v>Etoile Du V</c:v>
                </c:pt>
                <c:pt idx="599">
                  <c:v>Private Lab</c:v>
                </c:pt>
                <c:pt idx="600">
                  <c:v>All Others</c:v>
                </c:pt>
                <c:pt idx="601">
                  <c:v>Etoile Du V</c:v>
                </c:pt>
                <c:pt idx="602">
                  <c:v>Cousteron</c:v>
                </c:pt>
                <c:pt idx="603">
                  <c:v>All Others</c:v>
                </c:pt>
                <c:pt idx="604">
                  <c:v>All Others</c:v>
                </c:pt>
                <c:pt idx="605">
                  <c:v>All Others</c:v>
                </c:pt>
                <c:pt idx="606">
                  <c:v>All Others</c:v>
                </c:pt>
                <c:pt idx="607">
                  <c:v>Boursin</c:v>
                </c:pt>
                <c:pt idx="608">
                  <c:v>All Others</c:v>
                </c:pt>
                <c:pt idx="609">
                  <c:v>Private Lab</c:v>
                </c:pt>
                <c:pt idx="610">
                  <c:v>All Others</c:v>
                </c:pt>
                <c:pt idx="611">
                  <c:v>Entremont</c:v>
                </c:pt>
                <c:pt idx="612">
                  <c:v>La Belle Et</c:v>
                </c:pt>
                <c:pt idx="613">
                  <c:v>Paysan Bret</c:v>
                </c:pt>
                <c:pt idx="614">
                  <c:v>Violife</c:v>
                </c:pt>
                <c:pt idx="615">
                  <c:v>All Others</c:v>
                </c:pt>
                <c:pt idx="616">
                  <c:v>All Others</c:v>
                </c:pt>
                <c:pt idx="617">
                  <c:v>Salakis</c:v>
                </c:pt>
                <c:pt idx="618">
                  <c:v>All Others</c:v>
                </c:pt>
                <c:pt idx="619">
                  <c:v>Aperivrais</c:v>
                </c:pt>
                <c:pt idx="620">
                  <c:v>Boursin</c:v>
                </c:pt>
                <c:pt idx="621">
                  <c:v>Raguin</c:v>
                </c:pt>
                <c:pt idx="622">
                  <c:v>All Others</c:v>
                </c:pt>
                <c:pt idx="623">
                  <c:v>All Others</c:v>
                </c:pt>
                <c:pt idx="624">
                  <c:v>Raguin</c:v>
                </c:pt>
                <c:pt idx="625">
                  <c:v>Private Lab</c:v>
                </c:pt>
                <c:pt idx="626">
                  <c:v>Fol Epi</c:v>
                </c:pt>
                <c:pt idx="627">
                  <c:v>All Others</c:v>
                </c:pt>
                <c:pt idx="628">
                  <c:v>Etoile Du V</c:v>
                </c:pt>
                <c:pt idx="629">
                  <c:v>Etorki</c:v>
                </c:pt>
                <c:pt idx="630">
                  <c:v>All Others</c:v>
                </c:pt>
                <c:pt idx="631">
                  <c:v>Le Brebiou</c:v>
                </c:pt>
                <c:pt idx="632">
                  <c:v>All Others</c:v>
                </c:pt>
                <c:pt idx="633">
                  <c:v>Savencia: A</c:v>
                </c:pt>
                <c:pt idx="634">
                  <c:v>Tartare</c:v>
                </c:pt>
                <c:pt idx="635">
                  <c:v>Nurishh</c:v>
                </c:pt>
                <c:pt idx="636">
                  <c:v>Soignon</c:v>
                </c:pt>
                <c:pt idx="637">
                  <c:v>Milleret: A</c:v>
                </c:pt>
                <c:pt idx="638">
                  <c:v>All Others</c:v>
                </c:pt>
                <c:pt idx="639">
                  <c:v>All Others</c:v>
                </c:pt>
                <c:pt idx="640">
                  <c:v>Paysan Bret</c:v>
                </c:pt>
                <c:pt idx="641">
                  <c:v>Fauquet</c:v>
                </c:pt>
                <c:pt idx="642">
                  <c:v>Private Lab</c:v>
                </c:pt>
                <c:pt idx="643">
                  <c:v>Violife</c:v>
                </c:pt>
                <c:pt idx="644">
                  <c:v>Savencia: A</c:v>
                </c:pt>
                <c:pt idx="645">
                  <c:v>All Others</c:v>
                </c:pt>
                <c:pt idx="646">
                  <c:v>All Others</c:v>
                </c:pt>
                <c:pt idx="647">
                  <c:v>Saint Agur</c:v>
                </c:pt>
                <c:pt idx="648">
                  <c:v>Milleret: A</c:v>
                </c:pt>
                <c:pt idx="649">
                  <c:v>Salakis</c:v>
                </c:pt>
                <c:pt idx="650">
                  <c:v>Chavroux</c:v>
                </c:pt>
                <c:pt idx="651">
                  <c:v>All Others</c:v>
                </c:pt>
                <c:pt idx="652">
                  <c:v>All Others</c:v>
                </c:pt>
                <c:pt idx="653">
                  <c:v>All Others</c:v>
                </c:pt>
                <c:pt idx="654">
                  <c:v>All Others</c:v>
                </c:pt>
                <c:pt idx="655">
                  <c:v>All Others</c:v>
                </c:pt>
                <c:pt idx="656">
                  <c:v>All Others</c:v>
                </c:pt>
                <c:pt idx="657">
                  <c:v>All Others</c:v>
                </c:pt>
                <c:pt idx="658">
                  <c:v>Nurishh</c:v>
                </c:pt>
                <c:pt idx="659">
                  <c:v>All Others</c:v>
                </c:pt>
                <c:pt idx="660">
                  <c:v>Casa Azzurr</c:v>
                </c:pt>
                <c:pt idx="661">
                  <c:v>All Others</c:v>
                </c:pt>
                <c:pt idx="662">
                  <c:v>Private Lab</c:v>
                </c:pt>
                <c:pt idx="663">
                  <c:v>All Others</c:v>
                </c:pt>
                <c:pt idx="664">
                  <c:v>All Others</c:v>
                </c:pt>
                <c:pt idx="665">
                  <c:v>All Others</c:v>
                </c:pt>
                <c:pt idx="666">
                  <c:v>All Others</c:v>
                </c:pt>
                <c:pt idx="667">
                  <c:v>Lactalis: A</c:v>
                </c:pt>
                <c:pt idx="668">
                  <c:v>All Others</c:v>
                </c:pt>
                <c:pt idx="669">
                  <c:v>Milleret: A</c:v>
                </c:pt>
                <c:pt idx="670">
                  <c:v>All Others</c:v>
                </c:pt>
                <c:pt idx="671">
                  <c:v>All Others</c:v>
                </c:pt>
                <c:pt idx="672">
                  <c:v>All Others</c:v>
                </c:pt>
                <c:pt idx="673">
                  <c:v>Nurishh</c:v>
                </c:pt>
                <c:pt idx="674">
                  <c:v>All Others</c:v>
                </c:pt>
                <c:pt idx="675">
                  <c:v>All Others</c:v>
                </c:pt>
                <c:pt idx="676">
                  <c:v>All Others</c:v>
                </c:pt>
                <c:pt idx="677">
                  <c:v>Private Lab</c:v>
                </c:pt>
                <c:pt idx="678">
                  <c:v>All Others</c:v>
                </c:pt>
                <c:pt idx="679">
                  <c:v>All Others</c:v>
                </c:pt>
                <c:pt idx="680">
                  <c:v>All Others</c:v>
                </c:pt>
                <c:pt idx="681">
                  <c:v>Les Mousque</c:v>
                </c:pt>
                <c:pt idx="682">
                  <c:v>All Others</c:v>
                </c:pt>
                <c:pt idx="683">
                  <c:v>Nurishh</c:v>
                </c:pt>
                <c:pt idx="684">
                  <c:v>All Others</c:v>
                </c:pt>
                <c:pt idx="685">
                  <c:v>Richesmonts</c:v>
                </c:pt>
                <c:pt idx="686">
                  <c:v>La Belle Et</c:v>
                </c:pt>
                <c:pt idx="687">
                  <c:v>Lactalis: A</c:v>
                </c:pt>
                <c:pt idx="688">
                  <c:v>All Others</c:v>
                </c:pt>
                <c:pt idx="689">
                  <c:v>Paysan Bret</c:v>
                </c:pt>
                <c:pt idx="690">
                  <c:v>Rians</c:v>
                </c:pt>
                <c:pt idx="691">
                  <c:v>All Others</c:v>
                </c:pt>
                <c:pt idx="692">
                  <c:v>All Others</c:v>
                </c:pt>
                <c:pt idx="693">
                  <c:v>Entremont</c:v>
                </c:pt>
                <c:pt idx="694">
                  <c:v>All Others</c:v>
                </c:pt>
                <c:pt idx="695">
                  <c:v>Casa Azzurr</c:v>
                </c:pt>
                <c:pt idx="696">
                  <c:v>All Others</c:v>
                </c:pt>
                <c:pt idx="697">
                  <c:v>All Others</c:v>
                </c:pt>
                <c:pt idx="698">
                  <c:v>All Others</c:v>
                </c:pt>
                <c:pt idx="699">
                  <c:v>Etoile Du V</c:v>
                </c:pt>
                <c:pt idx="700">
                  <c:v>All Others</c:v>
                </c:pt>
                <c:pt idx="701">
                  <c:v>Nurishh</c:v>
                </c:pt>
                <c:pt idx="702">
                  <c:v>All Others</c:v>
                </c:pt>
                <c:pt idx="703">
                  <c:v>All Others</c:v>
                </c:pt>
                <c:pt idx="704">
                  <c:v>Nurishh</c:v>
                </c:pt>
                <c:pt idx="705">
                  <c:v>All Others</c:v>
                </c:pt>
                <c:pt idx="706">
                  <c:v>Violife</c:v>
                </c:pt>
                <c:pt idx="707">
                  <c:v>Entremont</c:v>
                </c:pt>
                <c:pt idx="708">
                  <c:v>All Others</c:v>
                </c:pt>
                <c:pt idx="709">
                  <c:v>All Others</c:v>
                </c:pt>
                <c:pt idx="710">
                  <c:v>All Others</c:v>
                </c:pt>
                <c:pt idx="711">
                  <c:v>All Others</c:v>
                </c:pt>
                <c:pt idx="712">
                  <c:v>All Others</c:v>
                </c:pt>
                <c:pt idx="713">
                  <c:v>All Others</c:v>
                </c:pt>
                <c:pt idx="714">
                  <c:v>All Others</c:v>
                </c:pt>
                <c:pt idx="715">
                  <c:v>Milleret: A</c:v>
                </c:pt>
                <c:pt idx="716">
                  <c:v>La Belle Et</c:v>
                </c:pt>
                <c:pt idx="717">
                  <c:v>All Others</c:v>
                </c:pt>
                <c:pt idx="718">
                  <c:v>Tartare</c:v>
                </c:pt>
                <c:pt idx="719">
                  <c:v>All Others</c:v>
                </c:pt>
                <c:pt idx="720">
                  <c:v>Etoile Du V</c:v>
                </c:pt>
                <c:pt idx="721">
                  <c:v>Milleret: A</c:v>
                </c:pt>
                <c:pt idx="722">
                  <c:v>Paysan Bret</c:v>
                </c:pt>
                <c:pt idx="723">
                  <c:v>All Others</c:v>
                </c:pt>
                <c:pt idx="724">
                  <c:v>Triballat N</c:v>
                </c:pt>
                <c:pt idx="725">
                  <c:v>All Others</c:v>
                </c:pt>
                <c:pt idx="726">
                  <c:v>All Others</c:v>
                </c:pt>
                <c:pt idx="727">
                  <c:v>All Others</c:v>
                </c:pt>
                <c:pt idx="728">
                  <c:v>Entremont</c:v>
                </c:pt>
                <c:pt idx="729">
                  <c:v>All Others</c:v>
                </c:pt>
                <c:pt idx="730">
                  <c:v>All Others</c:v>
                </c:pt>
                <c:pt idx="731">
                  <c:v>All Others</c:v>
                </c:pt>
                <c:pt idx="732">
                  <c:v>All Others</c:v>
                </c:pt>
                <c:pt idx="733">
                  <c:v>All Others</c:v>
                </c:pt>
                <c:pt idx="734">
                  <c:v>All Others</c:v>
                </c:pt>
                <c:pt idx="735">
                  <c:v>La Belle Et</c:v>
                </c:pt>
                <c:pt idx="736">
                  <c:v>Lactalis: A</c:v>
                </c:pt>
                <c:pt idx="737">
                  <c:v>All Others</c:v>
                </c:pt>
                <c:pt idx="738">
                  <c:v>All Others</c:v>
                </c:pt>
                <c:pt idx="739">
                  <c:v>All Others</c:v>
                </c:pt>
                <c:pt idx="740">
                  <c:v>Savencia: A</c:v>
                </c:pt>
                <c:pt idx="741">
                  <c:v>Istara</c:v>
                </c:pt>
                <c:pt idx="742">
                  <c:v>All Others</c:v>
                </c:pt>
                <c:pt idx="743">
                  <c:v>All Others</c:v>
                </c:pt>
                <c:pt idx="744">
                  <c:v>All Others</c:v>
                </c:pt>
                <c:pt idx="745">
                  <c:v>La Belle Et</c:v>
                </c:pt>
                <c:pt idx="746">
                  <c:v>Other Suppl</c:v>
                </c:pt>
                <c:pt idx="747">
                  <c:v>All Others</c:v>
                </c:pt>
                <c:pt idx="748">
                  <c:v>All Others</c:v>
                </c:pt>
                <c:pt idx="749">
                  <c:v>All Others</c:v>
                </c:pt>
                <c:pt idx="750">
                  <c:v>All Others</c:v>
                </c:pt>
                <c:pt idx="751">
                  <c:v>All Others</c:v>
                </c:pt>
                <c:pt idx="752">
                  <c:v>Etoile Du V</c:v>
                </c:pt>
                <c:pt idx="753">
                  <c:v>Petit Billy</c:v>
                </c:pt>
                <c:pt idx="754">
                  <c:v>All Others</c:v>
                </c:pt>
                <c:pt idx="755">
                  <c:v>All Others</c:v>
                </c:pt>
                <c:pt idx="756">
                  <c:v>All Others</c:v>
                </c:pt>
                <c:pt idx="757">
                  <c:v>La Belle Et</c:v>
                </c:pt>
                <c:pt idx="758">
                  <c:v>All Others</c:v>
                </c:pt>
                <c:pt idx="759">
                  <c:v>Aperivrais</c:v>
                </c:pt>
                <c:pt idx="760">
                  <c:v>All Others</c:v>
                </c:pt>
                <c:pt idx="761">
                  <c:v>Private Lab</c:v>
                </c:pt>
                <c:pt idx="762">
                  <c:v>Soignon</c:v>
                </c:pt>
                <c:pt idx="763">
                  <c:v>All Others</c:v>
                </c:pt>
                <c:pt idx="764">
                  <c:v>All Others</c:v>
                </c:pt>
                <c:pt idx="765">
                  <c:v>All Others</c:v>
                </c:pt>
                <c:pt idx="766">
                  <c:v>Savencia: A</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All Others</c:v>
                </c:pt>
                <c:pt idx="777">
                  <c:v>All Others</c:v>
                </c:pt>
                <c:pt idx="778">
                  <c:v>L'Ortolan</c:v>
                </c:pt>
                <c:pt idx="779">
                  <c:v>Milleret: A</c:v>
                </c:pt>
                <c:pt idx="780">
                  <c:v>All Others</c:v>
                </c:pt>
                <c:pt idx="781">
                  <c:v>All Others</c:v>
                </c:pt>
                <c:pt idx="782">
                  <c:v>All Others</c:v>
                </c:pt>
                <c:pt idx="783">
                  <c:v>All Others</c:v>
                </c:pt>
                <c:pt idx="784">
                  <c:v>All Others</c:v>
                </c:pt>
                <c:pt idx="785">
                  <c:v>All Others</c:v>
                </c:pt>
                <c:pt idx="786">
                  <c:v>Lindahls Pr</c:v>
                </c:pt>
                <c:pt idx="787">
                  <c:v>All Others</c:v>
                </c:pt>
                <c:pt idx="788">
                  <c:v>Raguin</c:v>
                </c:pt>
                <c:pt idx="789">
                  <c:v>All Others</c:v>
                </c:pt>
                <c:pt idx="790">
                  <c:v>All Others</c:v>
                </c:pt>
                <c:pt idx="791">
                  <c:v>All Others</c:v>
                </c:pt>
                <c:pt idx="792">
                  <c:v>All Others</c:v>
                </c:pt>
                <c:pt idx="793">
                  <c:v>All Others</c:v>
                </c:pt>
                <c:pt idx="794">
                  <c:v>All Others</c:v>
                </c:pt>
                <c:pt idx="795">
                  <c:v>All Others</c:v>
                </c:pt>
                <c:pt idx="796">
                  <c:v>All Others</c:v>
                </c:pt>
                <c:pt idx="797">
                  <c:v>All Others</c:v>
                </c:pt>
                <c:pt idx="798">
                  <c:v>All Others</c:v>
                </c:pt>
                <c:pt idx="799">
                  <c:v>All Others</c:v>
                </c:pt>
                <c:pt idx="800">
                  <c:v>La Belle Et</c:v>
                </c:pt>
                <c:pt idx="801">
                  <c:v>All Others</c:v>
                </c:pt>
                <c:pt idx="802">
                  <c:v>Lactalis: A</c:v>
                </c:pt>
                <c:pt idx="803">
                  <c:v>All Others</c:v>
                </c:pt>
                <c:pt idx="804">
                  <c:v>All Others</c:v>
                </c:pt>
                <c:pt idx="805">
                  <c:v>All Others</c:v>
                </c:pt>
                <c:pt idx="806">
                  <c:v>All Others</c:v>
                </c:pt>
                <c:pt idx="807">
                  <c:v>Etoile Du V</c:v>
                </c:pt>
                <c:pt idx="808">
                  <c:v>All Others</c:v>
                </c:pt>
                <c:pt idx="809">
                  <c:v>All Others</c:v>
                </c:pt>
                <c:pt idx="810">
                  <c:v>All Others</c:v>
                </c:pt>
                <c:pt idx="811">
                  <c:v>All Others</c:v>
                </c:pt>
                <c:pt idx="812">
                  <c:v>All Others</c:v>
                </c:pt>
                <c:pt idx="813">
                  <c:v>All Others</c:v>
                </c:pt>
                <c:pt idx="814">
                  <c:v>All Others</c:v>
                </c:pt>
                <c:pt idx="815">
                  <c:v>La Belle Et</c:v>
                </c:pt>
                <c:pt idx="816">
                  <c:v>All Others</c:v>
                </c:pt>
                <c:pt idx="817">
                  <c:v>Milleret: A</c:v>
                </c:pt>
                <c:pt idx="818">
                  <c:v>Raguin</c:v>
                </c:pt>
                <c:pt idx="819">
                  <c:v>All Others</c:v>
                </c:pt>
                <c:pt idx="820">
                  <c:v>All Others</c:v>
                </c:pt>
                <c:pt idx="821">
                  <c:v>Corsica</c:v>
                </c:pt>
                <c:pt idx="822">
                  <c:v>All Others</c:v>
                </c:pt>
                <c:pt idx="823">
                  <c:v>All Others</c:v>
                </c:pt>
                <c:pt idx="824">
                  <c:v>All Others</c:v>
                </c:pt>
                <c:pt idx="825">
                  <c:v>Entremont</c:v>
                </c:pt>
                <c:pt idx="826">
                  <c:v>All Others</c:v>
                </c:pt>
                <c:pt idx="827">
                  <c:v>La Belle Et</c:v>
                </c:pt>
                <c:pt idx="828">
                  <c:v>All Others</c:v>
                </c:pt>
                <c:pt idx="829">
                  <c:v>All Others</c:v>
                </c:pt>
                <c:pt idx="830">
                  <c:v>All Others</c:v>
                </c:pt>
                <c:pt idx="831">
                  <c:v>All Others</c:v>
                </c:pt>
                <c:pt idx="832">
                  <c:v>All Others</c:v>
                </c:pt>
                <c:pt idx="833">
                  <c:v>All Others</c:v>
                </c:pt>
                <c:pt idx="834">
                  <c:v>All Others</c:v>
                </c:pt>
                <c:pt idx="835">
                  <c:v>All Others</c:v>
                </c:pt>
                <c:pt idx="836">
                  <c:v>All Others</c:v>
                </c:pt>
                <c:pt idx="837">
                  <c:v>Raguin</c:v>
                </c:pt>
                <c:pt idx="838">
                  <c:v>All Others</c:v>
                </c:pt>
                <c:pt idx="839">
                  <c:v>All Others</c:v>
                </c:pt>
                <c:pt idx="840">
                  <c:v>All Others</c:v>
                </c:pt>
                <c:pt idx="841">
                  <c:v>All Others</c:v>
                </c:pt>
                <c:pt idx="842">
                  <c:v>Paysan Bret</c:v>
                </c:pt>
                <c:pt idx="843">
                  <c:v>All Others</c:v>
                </c:pt>
                <c:pt idx="844">
                  <c:v>All Others</c:v>
                </c:pt>
                <c:pt idx="845">
                  <c:v>Mini Babybe</c:v>
                </c:pt>
                <c:pt idx="846">
                  <c:v>All Others</c:v>
                </c:pt>
                <c:pt idx="847">
                  <c:v>Savencia: A</c:v>
                </c:pt>
                <c:pt idx="848">
                  <c:v>All Others</c:v>
                </c:pt>
                <c:pt idx="849">
                  <c:v>All Others</c:v>
                </c:pt>
                <c:pt idx="850">
                  <c:v>All Others</c:v>
                </c:pt>
                <c:pt idx="851">
                  <c:v>All Others</c:v>
                </c:pt>
                <c:pt idx="852">
                  <c:v>All Others</c:v>
                </c:pt>
                <c:pt idx="853">
                  <c:v>All Others</c:v>
                </c:pt>
                <c:pt idx="854">
                  <c:v>All Others</c:v>
                </c:pt>
                <c:pt idx="855">
                  <c:v>Eurial Autr</c:v>
                </c:pt>
                <c:pt idx="856">
                  <c:v>All Others</c:v>
                </c:pt>
                <c:pt idx="857">
                  <c:v>Lactalis: A</c:v>
                </c:pt>
                <c:pt idx="858">
                  <c:v>All Others</c:v>
                </c:pt>
                <c:pt idx="859">
                  <c:v>All Others</c:v>
                </c:pt>
                <c:pt idx="860">
                  <c:v>All Others</c:v>
                </c:pt>
                <c:pt idx="861">
                  <c:v>All Others</c:v>
                </c:pt>
                <c:pt idx="862">
                  <c:v>All Others</c:v>
                </c:pt>
                <c:pt idx="863">
                  <c:v>All Others</c:v>
                </c:pt>
                <c:pt idx="864">
                  <c:v>All Others</c:v>
                </c:pt>
                <c:pt idx="865">
                  <c:v>Milleret</c:v>
                </c:pt>
                <c:pt idx="866">
                  <c:v>All Others</c:v>
                </c:pt>
                <c:pt idx="867">
                  <c:v>La Belle Et</c:v>
                </c:pt>
                <c:pt idx="868">
                  <c:v>Raguin</c:v>
                </c:pt>
                <c:pt idx="869">
                  <c:v>All Others</c:v>
                </c:pt>
                <c:pt idx="870">
                  <c:v>Raguin</c:v>
                </c:pt>
                <c:pt idx="871">
                  <c:v>All Others</c:v>
                </c:pt>
                <c:pt idx="872">
                  <c:v>All Others</c:v>
                </c:pt>
                <c:pt idx="873">
                  <c:v>Raguin</c:v>
                </c:pt>
                <c:pt idx="874">
                  <c:v>All Others</c:v>
                </c:pt>
                <c:pt idx="875">
                  <c:v>All Others</c:v>
                </c:pt>
                <c:pt idx="876">
                  <c:v>All Others</c:v>
                </c:pt>
                <c:pt idx="877">
                  <c:v>All Others</c:v>
                </c:pt>
                <c:pt idx="878">
                  <c:v>Raguin</c:v>
                </c:pt>
                <c:pt idx="879">
                  <c:v>All Others</c:v>
                </c:pt>
                <c:pt idx="880">
                  <c:v>All Others</c:v>
                </c:pt>
                <c:pt idx="881">
                  <c:v>La Belle Et</c:v>
                </c:pt>
                <c:pt idx="882">
                  <c:v>All Others</c:v>
                </c:pt>
                <c:pt idx="883">
                  <c:v>All Others</c:v>
                </c:pt>
                <c:pt idx="884">
                  <c:v>All Others</c:v>
                </c:pt>
                <c:pt idx="885">
                  <c:v>All Others</c:v>
                </c:pt>
                <c:pt idx="886">
                  <c:v>All Others</c:v>
                </c:pt>
                <c:pt idx="887">
                  <c:v>All Others</c:v>
                </c:pt>
                <c:pt idx="888">
                  <c:v>All Others</c:v>
                </c:pt>
                <c:pt idx="889">
                  <c:v>All Others</c:v>
                </c:pt>
                <c:pt idx="890">
                  <c:v>All Others</c:v>
                </c:pt>
                <c:pt idx="891">
                  <c:v>All Others</c:v>
                </c:pt>
                <c:pt idx="892">
                  <c:v>La Belle Et</c:v>
                </c:pt>
                <c:pt idx="893">
                  <c:v>All Others</c:v>
                </c:pt>
                <c:pt idx="894">
                  <c:v>Etoile Du V</c:v>
                </c:pt>
                <c:pt idx="895">
                  <c:v>All Others</c:v>
                </c:pt>
                <c:pt idx="896">
                  <c:v>All Others</c:v>
                </c:pt>
                <c:pt idx="897">
                  <c:v>All Others</c:v>
                </c:pt>
                <c:pt idx="898">
                  <c:v>All Others</c:v>
                </c:pt>
                <c:pt idx="899">
                  <c:v>All Others</c:v>
                </c:pt>
                <c:pt idx="900">
                  <c:v>La Table M</c:v>
                </c:pt>
                <c:pt idx="901">
                  <c:v>All Others</c:v>
                </c:pt>
                <c:pt idx="902">
                  <c:v>Apericube</c:v>
                </c:pt>
                <c:pt idx="903">
                  <c:v>La Belle Et</c:v>
                </c:pt>
                <c:pt idx="904">
                  <c:v>All Others</c:v>
                </c:pt>
                <c:pt idx="905">
                  <c:v>All Others</c:v>
                </c:pt>
                <c:pt idx="906">
                  <c:v>All Others</c:v>
                </c:pt>
                <c:pt idx="907">
                  <c:v>All Others</c:v>
                </c:pt>
                <c:pt idx="908">
                  <c:v>Lactalis: A</c:v>
                </c:pt>
                <c:pt idx="909">
                  <c:v>Lactalis: A</c:v>
                </c:pt>
                <c:pt idx="910">
                  <c:v>All Others</c:v>
                </c:pt>
                <c:pt idx="911">
                  <c:v>All Others</c:v>
                </c:pt>
                <c:pt idx="912">
                  <c:v>All Others</c:v>
                </c:pt>
                <c:pt idx="913">
                  <c:v>Paysan Bret</c:v>
                </c:pt>
                <c:pt idx="914">
                  <c:v>All Others</c:v>
                </c:pt>
                <c:pt idx="915">
                  <c:v>All Others</c:v>
                </c:pt>
                <c:pt idx="916">
                  <c:v>Lactalis: A</c:v>
                </c:pt>
                <c:pt idx="917">
                  <c:v>All Others</c:v>
                </c:pt>
                <c:pt idx="918">
                  <c:v>All Others</c:v>
                </c:pt>
                <c:pt idx="919">
                  <c:v>All Others</c:v>
                </c:pt>
                <c:pt idx="920">
                  <c:v>All Others</c:v>
                </c:pt>
                <c:pt idx="921">
                  <c:v>Raguin</c:v>
                </c:pt>
                <c:pt idx="922">
                  <c:v>Baillon</c:v>
                </c:pt>
                <c:pt idx="923">
                  <c:v>All Others</c:v>
                </c:pt>
                <c:pt idx="924">
                  <c:v>All Others</c:v>
                </c:pt>
                <c:pt idx="925">
                  <c:v>All Others</c:v>
                </c:pt>
                <c:pt idx="926">
                  <c:v>All Others</c:v>
                </c:pt>
                <c:pt idx="927">
                  <c:v>All Others</c:v>
                </c:pt>
                <c:pt idx="928">
                  <c:v>Casa Azzurr</c:v>
                </c:pt>
                <c:pt idx="929">
                  <c:v>All Others</c:v>
                </c:pt>
                <c:pt idx="930">
                  <c:v>All Others</c:v>
                </c:pt>
                <c:pt idx="931">
                  <c:v>All Others</c:v>
                </c:pt>
                <c:pt idx="932">
                  <c:v>La Belle Et</c:v>
                </c:pt>
                <c:pt idx="933">
                  <c:v>Other Suppl</c:v>
                </c:pt>
                <c:pt idx="934">
                  <c:v>Entremont</c:v>
                </c:pt>
                <c:pt idx="935">
                  <c:v>All Others</c:v>
                </c:pt>
                <c:pt idx="936">
                  <c:v>Raguin</c:v>
                </c:pt>
                <c:pt idx="937">
                  <c:v>Raguin</c:v>
                </c:pt>
                <c:pt idx="938">
                  <c:v>All Others</c:v>
                </c:pt>
                <c:pt idx="939">
                  <c:v>Richesmonts</c:v>
                </c:pt>
                <c:pt idx="940">
                  <c:v>All Others</c:v>
                </c:pt>
                <c:pt idx="941">
                  <c:v>All Others</c:v>
                </c:pt>
                <c:pt idx="942">
                  <c:v>All Others</c:v>
                </c:pt>
                <c:pt idx="943">
                  <c:v>Raguin</c:v>
                </c:pt>
                <c:pt idx="944">
                  <c:v>Raguin</c:v>
                </c:pt>
                <c:pt idx="945">
                  <c:v>All Others</c:v>
                </c:pt>
                <c:pt idx="946">
                  <c:v>All Others</c:v>
                </c:pt>
                <c:pt idx="947">
                  <c:v>All Others</c:v>
                </c:pt>
                <c:pt idx="948">
                  <c:v>All Others</c:v>
                </c:pt>
                <c:pt idx="949">
                  <c:v>All Others</c:v>
                </c:pt>
                <c:pt idx="950">
                  <c:v>All Others</c:v>
                </c:pt>
                <c:pt idx="951">
                  <c:v>All Others</c:v>
                </c:pt>
                <c:pt idx="952">
                  <c:v>All Others</c:v>
                </c:pt>
                <c:pt idx="953">
                  <c:v>All Others</c:v>
                </c:pt>
                <c:pt idx="954">
                  <c:v>Boursin</c:v>
                </c:pt>
                <c:pt idx="955">
                  <c:v>All Others</c:v>
                </c:pt>
                <c:pt idx="956">
                  <c:v>La Belle Et</c:v>
                </c:pt>
                <c:pt idx="957">
                  <c:v>All Others</c:v>
                </c:pt>
                <c:pt idx="958">
                  <c:v>All Others</c:v>
                </c:pt>
                <c:pt idx="959">
                  <c:v>Raguin</c:v>
                </c:pt>
                <c:pt idx="960">
                  <c:v>All Others</c:v>
                </c:pt>
                <c:pt idx="961">
                  <c:v>All Others</c:v>
                </c:pt>
                <c:pt idx="962">
                  <c:v>Juraflore</c:v>
                </c:pt>
                <c:pt idx="963">
                  <c:v>All Others</c:v>
                </c:pt>
                <c:pt idx="964">
                  <c:v>Paysan Bret</c:v>
                </c:pt>
                <c:pt idx="965">
                  <c:v>All Others</c:v>
                </c:pt>
                <c:pt idx="966">
                  <c:v>All Others</c:v>
                </c:pt>
                <c:pt idx="967">
                  <c:v>All Others</c:v>
                </c:pt>
                <c:pt idx="968">
                  <c:v>All Others</c:v>
                </c:pt>
                <c:pt idx="969">
                  <c:v>All Others</c:v>
                </c:pt>
                <c:pt idx="970">
                  <c:v>All Others</c:v>
                </c:pt>
                <c:pt idx="971">
                  <c:v>Raguin</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All Others</c:v>
                </c:pt>
                <c:pt idx="983">
                  <c:v>Raguin</c:v>
                </c:pt>
                <c:pt idx="984">
                  <c:v>All Others</c:v>
                </c:pt>
                <c:pt idx="985">
                  <c:v>Raguin</c:v>
                </c:pt>
                <c:pt idx="986">
                  <c:v>All Others</c:v>
                </c:pt>
                <c:pt idx="987">
                  <c:v>All Others</c:v>
                </c:pt>
                <c:pt idx="988">
                  <c:v>All Others</c:v>
                </c:pt>
                <c:pt idx="989">
                  <c:v>Other Suppl</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All Others</c:v>
                </c:pt>
                <c:pt idx="1005">
                  <c:v>All Others</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All Others</c:v>
                </c:pt>
                <c:pt idx="1016">
                  <c:v>Raguin</c:v>
                </c:pt>
                <c:pt idx="1017">
                  <c:v>All Others</c:v>
                </c:pt>
                <c:pt idx="1018">
                  <c:v>All Others</c:v>
                </c:pt>
                <c:pt idx="1019">
                  <c:v>All Others</c:v>
                </c:pt>
                <c:pt idx="1020">
                  <c:v>All Others</c:v>
                </c:pt>
                <c:pt idx="1021">
                  <c:v>All Others</c:v>
                </c:pt>
                <c:pt idx="1022">
                  <c:v>Private Lab</c:v>
                </c:pt>
                <c:pt idx="1023">
                  <c:v>All Others</c:v>
                </c:pt>
                <c:pt idx="1024">
                  <c:v>All Others</c:v>
                </c:pt>
                <c:pt idx="1025">
                  <c:v>All Others</c:v>
                </c:pt>
                <c:pt idx="1026">
                  <c:v>Private Lab</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All Others</c:v>
                </c:pt>
                <c:pt idx="1037">
                  <c:v>Limiano</c:v>
                </c:pt>
                <c:pt idx="1038">
                  <c:v>All Others</c:v>
                </c:pt>
                <c:pt idx="1039">
                  <c:v>Raguin</c:v>
                </c:pt>
                <c:pt idx="1040">
                  <c:v>All Others</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Dodin</c:v>
                </c:pt>
                <c:pt idx="1051">
                  <c:v>Other Suppl</c:v>
                </c:pt>
                <c:pt idx="1052">
                  <c:v>All Others</c:v>
                </c:pt>
                <c:pt idx="1053">
                  <c:v>All Others</c:v>
                </c:pt>
                <c:pt idx="1054">
                  <c:v>All Others</c:v>
                </c:pt>
                <c:pt idx="1055">
                  <c:v>All Others</c:v>
                </c:pt>
                <c:pt idx="1056">
                  <c:v>All Others</c:v>
                </c:pt>
                <c:pt idx="1057">
                  <c:v>All Others</c:v>
                </c:pt>
                <c:pt idx="1058">
                  <c:v>All Others</c:v>
                </c:pt>
                <c:pt idx="1059">
                  <c:v>Limiano</c:v>
                </c:pt>
                <c:pt idx="1060">
                  <c:v>All Others</c:v>
                </c:pt>
                <c:pt idx="1061">
                  <c:v>All Others</c:v>
                </c:pt>
                <c:pt idx="1062">
                  <c:v>Private Lab</c:v>
                </c:pt>
                <c:pt idx="1063">
                  <c:v>La Vache Qu</c:v>
                </c:pt>
                <c:pt idx="1064">
                  <c:v>All Others</c:v>
                </c:pt>
                <c:pt idx="1065">
                  <c:v>All Others</c:v>
                </c:pt>
                <c:pt idx="1066">
                  <c:v>All Others</c:v>
                </c:pt>
                <c:pt idx="1067">
                  <c:v>All Others</c:v>
                </c:pt>
                <c:pt idx="1068">
                  <c:v>Pochat</c:v>
                </c:pt>
                <c:pt idx="1069">
                  <c:v>President</c:v>
                </c:pt>
                <c:pt idx="1070">
                  <c:v>L'Ortolan</c:v>
                </c:pt>
                <c:pt idx="1071">
                  <c:v>All Others</c:v>
                </c:pt>
                <c:pt idx="1072">
                  <c:v>All Others</c:v>
                </c:pt>
                <c:pt idx="1073">
                  <c:v>All Others</c:v>
                </c:pt>
                <c:pt idx="1074">
                  <c:v>Other Suppl</c:v>
                </c:pt>
                <c:pt idx="1075">
                  <c:v>All Others</c:v>
                </c:pt>
                <c:pt idx="1076">
                  <c:v>All Others</c:v>
                </c:pt>
                <c:pt idx="1077">
                  <c:v>All Others</c:v>
                </c:pt>
                <c:pt idx="1078">
                  <c:v>All Others</c:v>
                </c:pt>
                <c:pt idx="1079">
                  <c:v>All Others</c:v>
                </c:pt>
                <c:pt idx="1080">
                  <c:v>Lincet</c:v>
                </c:pt>
                <c:pt idx="1081">
                  <c:v>All Others</c:v>
                </c:pt>
                <c:pt idx="1082">
                  <c:v>All Others</c:v>
                </c:pt>
                <c:pt idx="1083">
                  <c:v>All Others</c:v>
                </c:pt>
                <c:pt idx="1084">
                  <c:v>All Others</c:v>
                </c:pt>
                <c:pt idx="1085">
                  <c:v>Lactalis: A</c:v>
                </c:pt>
                <c:pt idx="1086">
                  <c:v>All Others</c:v>
                </c:pt>
                <c:pt idx="1087">
                  <c:v>All Others</c:v>
                </c:pt>
                <c:pt idx="1088">
                  <c:v>All Others</c:v>
                </c:pt>
                <c:pt idx="1089">
                  <c:v>All Others</c:v>
                </c:pt>
                <c:pt idx="1090">
                  <c:v>All Others</c:v>
                </c:pt>
                <c:pt idx="1091">
                  <c:v>All Others</c:v>
                </c:pt>
                <c:pt idx="1092">
                  <c:v>All Others</c:v>
                </c:pt>
                <c:pt idx="1093">
                  <c:v>Lactalis: A</c:v>
                </c:pt>
                <c:pt idx="1094">
                  <c:v>All Others</c:v>
                </c:pt>
                <c:pt idx="1095">
                  <c:v>All Others</c:v>
                </c:pt>
                <c:pt idx="1096">
                  <c:v>All Others</c:v>
                </c:pt>
                <c:pt idx="1097">
                  <c:v>All Others</c:v>
                </c:pt>
                <c:pt idx="1098">
                  <c:v>All Others</c:v>
                </c:pt>
                <c:pt idx="1099">
                  <c:v>Entremont</c:v>
                </c:pt>
                <c:pt idx="1100">
                  <c:v>All Others</c:v>
                </c:pt>
                <c:pt idx="1101">
                  <c:v>Entremont</c:v>
                </c:pt>
                <c:pt idx="1102">
                  <c:v>All Others</c:v>
                </c:pt>
                <c:pt idx="1103">
                  <c:v>Pochat</c:v>
                </c:pt>
                <c:pt idx="1104">
                  <c:v>Private Lab</c:v>
                </c:pt>
                <c:pt idx="1105">
                  <c:v>All Others</c:v>
                </c:pt>
                <c:pt idx="1106">
                  <c:v>Private Lab</c:v>
                </c:pt>
                <c:pt idx="1107">
                  <c:v>All Others</c:v>
                </c:pt>
                <c:pt idx="1108">
                  <c:v>All Others</c:v>
                </c:pt>
                <c:pt idx="1109">
                  <c:v>All Others</c:v>
                </c:pt>
                <c:pt idx="1110">
                  <c:v>All Others</c:v>
                </c:pt>
                <c:pt idx="1111">
                  <c:v>All Others</c:v>
                </c:pt>
                <c:pt idx="1112">
                  <c:v>Kiri</c:v>
                </c:pt>
                <c:pt idx="1113">
                  <c:v>All Others</c:v>
                </c:pt>
                <c:pt idx="1114">
                  <c:v>All Others</c:v>
                </c:pt>
                <c:pt idx="1115">
                  <c:v>All Others</c:v>
                </c:pt>
                <c:pt idx="1116">
                  <c:v>Other Suppl</c:v>
                </c:pt>
                <c:pt idx="1117">
                  <c:v>Private Lab</c:v>
                </c:pt>
                <c:pt idx="1118">
                  <c:v>Private Lab</c:v>
                </c:pt>
                <c:pt idx="1119">
                  <c:v>All Others</c:v>
                </c:pt>
                <c:pt idx="1120">
                  <c:v>Private Lab</c:v>
                </c:pt>
                <c:pt idx="1121">
                  <c:v>Milleret: A</c:v>
                </c:pt>
                <c:pt idx="1122">
                  <c:v>All Others</c:v>
                </c:pt>
                <c:pt idx="1123">
                  <c:v>Mini Babybe</c:v>
                </c:pt>
                <c:pt idx="1124">
                  <c:v>All Others</c:v>
                </c:pt>
                <c:pt idx="1125">
                  <c:v>Boursin</c:v>
                </c:pt>
                <c:pt idx="1126">
                  <c:v>Private Lab</c:v>
                </c:pt>
                <c:pt idx="1127">
                  <c:v>All Others</c:v>
                </c:pt>
                <c:pt idx="1128">
                  <c:v>All Others</c:v>
                </c:pt>
                <c:pt idx="1129">
                  <c:v>All Others</c:v>
                </c:pt>
                <c:pt idx="1130">
                  <c:v>All Others</c:v>
                </c:pt>
                <c:pt idx="1131">
                  <c:v>All Others</c:v>
                </c:pt>
                <c:pt idx="1132">
                  <c:v>All Others</c:v>
                </c:pt>
                <c:pt idx="1133">
                  <c:v>All Others</c:v>
                </c:pt>
                <c:pt idx="1134">
                  <c:v>All Others</c:v>
                </c:pt>
                <c:pt idx="1135">
                  <c:v>All Others</c:v>
                </c:pt>
                <c:pt idx="1136">
                  <c:v>All Others</c:v>
                </c:pt>
                <c:pt idx="1137">
                  <c:v>All Others</c:v>
                </c:pt>
                <c:pt idx="1138">
                  <c:v>All Others</c:v>
                </c:pt>
                <c:pt idx="1139">
                  <c:v>All Others</c:v>
                </c:pt>
                <c:pt idx="1140">
                  <c:v>All Others</c:v>
                </c:pt>
                <c:pt idx="1141">
                  <c:v>Private Lab</c:v>
                </c:pt>
                <c:pt idx="1142">
                  <c:v>All Others</c:v>
                </c:pt>
                <c:pt idx="1143">
                  <c:v>Private Lab</c:v>
                </c:pt>
                <c:pt idx="1144">
                  <c:v>Entremont</c:v>
                </c:pt>
                <c:pt idx="1145">
                  <c:v>Apericube</c:v>
                </c:pt>
                <c:pt idx="1146">
                  <c:v>All Others</c:v>
                </c:pt>
                <c:pt idx="1147">
                  <c:v>Entremont</c:v>
                </c:pt>
                <c:pt idx="1148">
                  <c:v>All Others</c:v>
                </c:pt>
                <c:pt idx="1149">
                  <c:v>All Others</c:v>
                </c:pt>
                <c:pt idx="1150">
                  <c:v>All Others</c:v>
                </c:pt>
                <c:pt idx="1151">
                  <c:v>All Others</c:v>
                </c:pt>
                <c:pt idx="1152">
                  <c:v>All Others</c:v>
                </c:pt>
                <c:pt idx="1153">
                  <c:v>All Others</c:v>
                </c:pt>
                <c:pt idx="1154">
                  <c:v>All Others</c:v>
                </c:pt>
                <c:pt idx="1155">
                  <c:v>Lactalis: A</c:v>
                </c:pt>
                <c:pt idx="1156">
                  <c:v>Les Mousque</c:v>
                </c:pt>
                <c:pt idx="1157">
                  <c:v>All Others</c:v>
                </c:pt>
                <c:pt idx="1158">
                  <c:v>Etoile Du V</c:v>
                </c:pt>
                <c:pt idx="1159">
                  <c:v>All Others</c:v>
                </c:pt>
                <c:pt idx="1160">
                  <c:v>Private Lab</c:v>
                </c:pt>
                <c:pt idx="1161">
                  <c:v>All Others</c:v>
                </c:pt>
                <c:pt idx="1162">
                  <c:v>All Others</c:v>
                </c:pt>
                <c:pt idx="1163">
                  <c:v>Mini Babybe</c:v>
                </c:pt>
                <c:pt idx="1164">
                  <c:v>All Others</c:v>
                </c:pt>
                <c:pt idx="1165">
                  <c:v>All Others</c:v>
                </c:pt>
                <c:pt idx="1166">
                  <c:v>All Others</c:v>
                </c:pt>
                <c:pt idx="1167">
                  <c:v>Private Lab</c:v>
                </c:pt>
                <c:pt idx="1168">
                  <c:v>Other Suppl</c:v>
                </c:pt>
                <c:pt idx="1169">
                  <c:v>Private Lab</c:v>
                </c:pt>
                <c:pt idx="1170">
                  <c:v>Etoile Du V</c:v>
                </c:pt>
                <c:pt idx="1171">
                  <c:v>All Others</c:v>
                </c:pt>
                <c:pt idx="1172">
                  <c:v>All Others</c:v>
                </c:pt>
                <c:pt idx="1173">
                  <c:v>All Others</c:v>
                </c:pt>
                <c:pt idx="1174">
                  <c:v>All Others</c:v>
                </c:pt>
                <c:pt idx="1175">
                  <c:v>Entremont</c:v>
                </c:pt>
                <c:pt idx="1176">
                  <c:v>Richesmonts</c:v>
                </c:pt>
                <c:pt idx="1177">
                  <c:v>All Others</c:v>
                </c:pt>
                <c:pt idx="1178">
                  <c:v>Lactalis: A</c:v>
                </c:pt>
                <c:pt idx="1179">
                  <c:v>All Others</c:v>
                </c:pt>
                <c:pt idx="1180">
                  <c:v>Richesmonts</c:v>
                </c:pt>
                <c:pt idx="1181">
                  <c:v>All Others</c:v>
                </c:pt>
                <c:pt idx="1182">
                  <c:v>All Others</c:v>
                </c:pt>
                <c:pt idx="1183">
                  <c:v>All Others</c:v>
                </c:pt>
                <c:pt idx="1184">
                  <c:v>All Others</c:v>
                </c:pt>
                <c:pt idx="1185">
                  <c:v>All Others</c:v>
                </c:pt>
                <c:pt idx="1186">
                  <c:v>All Others</c:v>
                </c:pt>
                <c:pt idx="1187">
                  <c:v>Private Lab</c:v>
                </c:pt>
                <c:pt idx="1188">
                  <c:v>All Others</c:v>
                </c:pt>
                <c:pt idx="1189">
                  <c:v>All Others</c:v>
                </c:pt>
                <c:pt idx="1190">
                  <c:v>O'Tapas Ape</c:v>
                </c:pt>
                <c:pt idx="1191">
                  <c:v>All Others</c:v>
                </c:pt>
                <c:pt idx="1192">
                  <c:v>Private Lab</c:v>
                </c:pt>
                <c:pt idx="1193">
                  <c:v>Lactalis: A</c:v>
                </c:pt>
                <c:pt idx="1194">
                  <c:v>Gillot</c:v>
                </c:pt>
                <c:pt idx="1195">
                  <c:v>All Others</c:v>
                </c:pt>
                <c:pt idx="1196">
                  <c:v>Mini Babybe</c:v>
                </c:pt>
                <c:pt idx="1197">
                  <c:v>All Others</c:v>
                </c:pt>
                <c:pt idx="1198">
                  <c:v>All Others</c:v>
                </c:pt>
                <c:pt idx="1199">
                  <c:v>Entremont</c:v>
                </c:pt>
                <c:pt idx="1200">
                  <c:v>All Others</c:v>
                </c:pt>
                <c:pt idx="1201">
                  <c:v>All Others</c:v>
                </c:pt>
                <c:pt idx="1202">
                  <c:v>All Others</c:v>
                </c:pt>
                <c:pt idx="1203">
                  <c:v>Richesmonts</c:v>
                </c:pt>
                <c:pt idx="1204">
                  <c:v>All Others</c:v>
                </c:pt>
                <c:pt idx="1205">
                  <c:v>All Others</c:v>
                </c:pt>
                <c:pt idx="1206">
                  <c:v>Entremont</c:v>
                </c:pt>
                <c:pt idx="1207">
                  <c:v>All Others</c:v>
                </c:pt>
                <c:pt idx="1208">
                  <c:v>All Others</c:v>
                </c:pt>
                <c:pt idx="1209">
                  <c:v>All Others</c:v>
                </c:pt>
                <c:pt idx="1210">
                  <c:v>Private Lab</c:v>
                </c:pt>
                <c:pt idx="1211">
                  <c:v>Private Lab</c:v>
                </c:pt>
                <c:pt idx="1212">
                  <c:v>All Others</c:v>
                </c:pt>
                <c:pt idx="1213">
                  <c:v>All Others</c:v>
                </c:pt>
                <c:pt idx="1214">
                  <c:v>All Others</c:v>
                </c:pt>
                <c:pt idx="1215">
                  <c:v>All Others</c:v>
                </c:pt>
                <c:pt idx="1216">
                  <c:v>All Others</c:v>
                </c:pt>
                <c:pt idx="1217">
                  <c:v>Private Lab</c:v>
                </c:pt>
                <c:pt idx="1218">
                  <c:v>Entremont</c:v>
                </c:pt>
                <c:pt idx="1219">
                  <c:v>Private Lab</c:v>
                </c:pt>
                <c:pt idx="1220">
                  <c:v>All Others</c:v>
                </c:pt>
                <c:pt idx="1221">
                  <c:v>All Others</c:v>
                </c:pt>
                <c:pt idx="1222">
                  <c:v>All Others</c:v>
                </c:pt>
                <c:pt idx="1223">
                  <c:v>All Others</c:v>
                </c:pt>
                <c:pt idx="1224">
                  <c:v>All Others</c:v>
                </c:pt>
                <c:pt idx="1225">
                  <c:v>All Others</c:v>
                </c:pt>
                <c:pt idx="1226">
                  <c:v>Les Mousque</c:v>
                </c:pt>
                <c:pt idx="1227">
                  <c:v>All Others</c:v>
                </c:pt>
              </c:strCache>
            </c:strRef>
          </c:cat>
          <c:val>
            <c:numRef>
              <c:f>Sheet1!$B$2:$B$1229</c:f>
              <c:numCache>
                <c:formatCode>General</c:formatCode>
                <c:ptCount val="1228"/>
                <c:pt idx="0">
                  <c:v>0.99</c:v>
                </c:pt>
                <c:pt idx="1">
                  <c:v>0.99</c:v>
                </c:pt>
                <c:pt idx="2">
                  <c:v>0.99</c:v>
                </c:pt>
                <c:pt idx="3">
                  <c:v>0.99</c:v>
                </c:pt>
                <c:pt idx="4">
                  <c:v>0.99</c:v>
                </c:pt>
                <c:pt idx="5">
                  <c:v>0.99</c:v>
                </c:pt>
                <c:pt idx="6">
                  <c:v>0.99</c:v>
                </c:pt>
                <c:pt idx="7">
                  <c:v>0.98</c:v>
                </c:pt>
                <c:pt idx="8">
                  <c:v>0.99</c:v>
                </c:pt>
                <c:pt idx="9">
                  <c:v>0.98</c:v>
                </c:pt>
                <c:pt idx="10">
                  <c:v>0.99</c:v>
                </c:pt>
                <c:pt idx="11">
                  <c:v>0.99</c:v>
                </c:pt>
                <c:pt idx="12">
                  <c:v>0.99</c:v>
                </c:pt>
                <c:pt idx="13">
                  <c:v>0.99</c:v>
                </c:pt>
                <c:pt idx="14">
                  <c:v>0.99</c:v>
                </c:pt>
                <c:pt idx="15">
                  <c:v>0.99</c:v>
                </c:pt>
                <c:pt idx="16">
                  <c:v>0.99</c:v>
                </c:pt>
                <c:pt idx="17">
                  <c:v>0.99</c:v>
                </c:pt>
                <c:pt idx="18">
                  <c:v>0.99</c:v>
                </c:pt>
                <c:pt idx="19">
                  <c:v>0.99</c:v>
                </c:pt>
                <c:pt idx="20">
                  <c:v>0.86</c:v>
                </c:pt>
                <c:pt idx="21">
                  <c:v>0.99</c:v>
                </c:pt>
                <c:pt idx="22">
                  <c:v>0.98</c:v>
                </c:pt>
                <c:pt idx="23">
                  <c:v>0.99</c:v>
                </c:pt>
                <c:pt idx="24">
                  <c:v>0.99</c:v>
                </c:pt>
                <c:pt idx="25">
                  <c:v>0.99</c:v>
                </c:pt>
                <c:pt idx="26">
                  <c:v>0.99</c:v>
                </c:pt>
                <c:pt idx="27">
                  <c:v>0.99</c:v>
                </c:pt>
                <c:pt idx="28">
                  <c:v>0.99</c:v>
                </c:pt>
                <c:pt idx="29">
                  <c:v>0.99</c:v>
                </c:pt>
                <c:pt idx="30">
                  <c:v>0.98</c:v>
                </c:pt>
                <c:pt idx="31">
                  <c:v>0.99</c:v>
                </c:pt>
                <c:pt idx="32">
                  <c:v>0.99</c:v>
                </c:pt>
                <c:pt idx="33">
                  <c:v>0.99</c:v>
                </c:pt>
                <c:pt idx="34">
                  <c:v>0.99</c:v>
                </c:pt>
                <c:pt idx="35">
                  <c:v>0.99</c:v>
                </c:pt>
                <c:pt idx="36">
                  <c:v>0.99</c:v>
                </c:pt>
                <c:pt idx="37">
                  <c:v>0.99</c:v>
                </c:pt>
                <c:pt idx="38">
                  <c:v>0.99</c:v>
                </c:pt>
                <c:pt idx="39">
                  <c:v>0.99</c:v>
                </c:pt>
                <c:pt idx="40">
                  <c:v>0.98</c:v>
                </c:pt>
                <c:pt idx="41">
                  <c:v>0.99</c:v>
                </c:pt>
                <c:pt idx="42">
                  <c:v>0.99</c:v>
                </c:pt>
                <c:pt idx="43">
                  <c:v>0.99</c:v>
                </c:pt>
                <c:pt idx="44">
                  <c:v>0.99</c:v>
                </c:pt>
                <c:pt idx="45">
                  <c:v>0.98</c:v>
                </c:pt>
                <c:pt idx="46">
                  <c:v>0.99</c:v>
                </c:pt>
                <c:pt idx="47">
                  <c:v>0.99</c:v>
                </c:pt>
                <c:pt idx="48">
                  <c:v>0.99</c:v>
                </c:pt>
                <c:pt idx="49">
                  <c:v>0.99</c:v>
                </c:pt>
                <c:pt idx="50">
                  <c:v>0.99</c:v>
                </c:pt>
                <c:pt idx="51">
                  <c:v>0.99</c:v>
                </c:pt>
                <c:pt idx="52">
                  <c:v>0.99</c:v>
                </c:pt>
                <c:pt idx="53">
                  <c:v>0.99</c:v>
                </c:pt>
                <c:pt idx="54">
                  <c:v>0.99</c:v>
                </c:pt>
                <c:pt idx="55">
                  <c:v>0.99</c:v>
                </c:pt>
                <c:pt idx="56">
                  <c:v>0.98</c:v>
                </c:pt>
                <c:pt idx="57">
                  <c:v>0.99</c:v>
                </c:pt>
                <c:pt idx="58">
                  <c:v>0.99</c:v>
                </c:pt>
                <c:pt idx="59">
                  <c:v>0.99</c:v>
                </c:pt>
                <c:pt idx="60">
                  <c:v>0.97</c:v>
                </c:pt>
                <c:pt idx="61">
                  <c:v>0.95</c:v>
                </c:pt>
                <c:pt idx="62">
                  <c:v>0.63</c:v>
                </c:pt>
                <c:pt idx="63">
                  <c:v>0.99</c:v>
                </c:pt>
                <c:pt idx="64">
                  <c:v>0.99</c:v>
                </c:pt>
                <c:pt idx="65">
                  <c:v>0.98</c:v>
                </c:pt>
                <c:pt idx="66">
                  <c:v>0.99</c:v>
                </c:pt>
                <c:pt idx="67">
                  <c:v>0.99</c:v>
                </c:pt>
                <c:pt idx="68">
                  <c:v>0.99</c:v>
                </c:pt>
                <c:pt idx="69">
                  <c:v>0.99</c:v>
                </c:pt>
                <c:pt idx="70">
                  <c:v>0.99</c:v>
                </c:pt>
                <c:pt idx="71">
                  <c:v>0.99</c:v>
                </c:pt>
                <c:pt idx="72">
                  <c:v>0.93</c:v>
                </c:pt>
                <c:pt idx="73">
                  <c:v>0.99</c:v>
                </c:pt>
                <c:pt idx="74">
                  <c:v>0.99</c:v>
                </c:pt>
                <c:pt idx="75">
                  <c:v>0.98</c:v>
                </c:pt>
                <c:pt idx="76">
                  <c:v>0.98</c:v>
                </c:pt>
                <c:pt idx="77">
                  <c:v>0.99</c:v>
                </c:pt>
                <c:pt idx="78">
                  <c:v>0.98</c:v>
                </c:pt>
                <c:pt idx="79">
                  <c:v>0.99</c:v>
                </c:pt>
                <c:pt idx="80">
                  <c:v>0.99</c:v>
                </c:pt>
                <c:pt idx="81">
                  <c:v>0.99</c:v>
                </c:pt>
                <c:pt idx="82">
                  <c:v>0.99</c:v>
                </c:pt>
                <c:pt idx="83">
                  <c:v>0.99</c:v>
                </c:pt>
                <c:pt idx="84">
                  <c:v>0.99</c:v>
                </c:pt>
                <c:pt idx="85">
                  <c:v>0.99</c:v>
                </c:pt>
                <c:pt idx="86">
                  <c:v>0.99</c:v>
                </c:pt>
                <c:pt idx="87">
                  <c:v>0.99</c:v>
                </c:pt>
                <c:pt idx="88">
                  <c:v>0.99</c:v>
                </c:pt>
                <c:pt idx="89">
                  <c:v>0.99</c:v>
                </c:pt>
                <c:pt idx="90">
                  <c:v>0.99</c:v>
                </c:pt>
                <c:pt idx="91">
                  <c:v>0.99</c:v>
                </c:pt>
                <c:pt idx="92">
                  <c:v>0.99</c:v>
                </c:pt>
                <c:pt idx="93">
                  <c:v>0.99</c:v>
                </c:pt>
                <c:pt idx="94">
                  <c:v>0.99</c:v>
                </c:pt>
                <c:pt idx="95">
                  <c:v>0.99</c:v>
                </c:pt>
                <c:pt idx="96">
                  <c:v>0.99</c:v>
                </c:pt>
                <c:pt idx="97">
                  <c:v>0.99</c:v>
                </c:pt>
                <c:pt idx="98">
                  <c:v>0.98</c:v>
                </c:pt>
                <c:pt idx="99">
                  <c:v>0.99</c:v>
                </c:pt>
                <c:pt idx="100">
                  <c:v>0.99</c:v>
                </c:pt>
                <c:pt idx="101">
                  <c:v>0.99</c:v>
                </c:pt>
                <c:pt idx="102">
                  <c:v>0.99</c:v>
                </c:pt>
                <c:pt idx="103">
                  <c:v>0.98</c:v>
                </c:pt>
                <c:pt idx="104">
                  <c:v>0.99</c:v>
                </c:pt>
                <c:pt idx="105">
                  <c:v>0.95</c:v>
                </c:pt>
                <c:pt idx="106">
                  <c:v>0.97</c:v>
                </c:pt>
                <c:pt idx="107">
                  <c:v>0.99</c:v>
                </c:pt>
                <c:pt idx="108">
                  <c:v>0.99</c:v>
                </c:pt>
                <c:pt idx="109">
                  <c:v>0.99</c:v>
                </c:pt>
                <c:pt idx="110">
                  <c:v>0.99</c:v>
                </c:pt>
                <c:pt idx="111">
                  <c:v>0.95</c:v>
                </c:pt>
                <c:pt idx="112">
                  <c:v>0.99</c:v>
                </c:pt>
                <c:pt idx="113">
                  <c:v>0.99</c:v>
                </c:pt>
                <c:pt idx="114">
                  <c:v>0.99</c:v>
                </c:pt>
                <c:pt idx="115">
                  <c:v>0.99</c:v>
                </c:pt>
                <c:pt idx="116">
                  <c:v>0.97</c:v>
                </c:pt>
                <c:pt idx="117">
                  <c:v>0.85</c:v>
                </c:pt>
                <c:pt idx="118">
                  <c:v>0.99</c:v>
                </c:pt>
                <c:pt idx="119">
                  <c:v>0.98</c:v>
                </c:pt>
                <c:pt idx="120">
                  <c:v>0.99</c:v>
                </c:pt>
                <c:pt idx="121">
                  <c:v>0.99</c:v>
                </c:pt>
                <c:pt idx="122">
                  <c:v>0.99</c:v>
                </c:pt>
                <c:pt idx="123">
                  <c:v>0.99</c:v>
                </c:pt>
                <c:pt idx="124">
                  <c:v>0.99</c:v>
                </c:pt>
                <c:pt idx="125">
                  <c:v>0.99</c:v>
                </c:pt>
                <c:pt idx="126">
                  <c:v>0.99</c:v>
                </c:pt>
                <c:pt idx="127">
                  <c:v>0.99</c:v>
                </c:pt>
                <c:pt idx="128">
                  <c:v>0.96</c:v>
                </c:pt>
                <c:pt idx="129">
                  <c:v>0.99</c:v>
                </c:pt>
                <c:pt idx="130">
                  <c:v>0.99</c:v>
                </c:pt>
                <c:pt idx="131">
                  <c:v>0.99</c:v>
                </c:pt>
                <c:pt idx="132">
                  <c:v>0.99</c:v>
                </c:pt>
                <c:pt idx="133">
                  <c:v>0.99</c:v>
                </c:pt>
                <c:pt idx="134">
                  <c:v>0.99</c:v>
                </c:pt>
                <c:pt idx="135">
                  <c:v>0.81</c:v>
                </c:pt>
                <c:pt idx="136">
                  <c:v>0.99</c:v>
                </c:pt>
                <c:pt idx="137">
                  <c:v>0.99</c:v>
                </c:pt>
                <c:pt idx="138">
                  <c:v>0.97</c:v>
                </c:pt>
                <c:pt idx="139">
                  <c:v>0.99</c:v>
                </c:pt>
                <c:pt idx="140">
                  <c:v>0.99</c:v>
                </c:pt>
                <c:pt idx="141">
                  <c:v>0.98</c:v>
                </c:pt>
                <c:pt idx="142">
                  <c:v>0.98</c:v>
                </c:pt>
                <c:pt idx="143">
                  <c:v>0.99</c:v>
                </c:pt>
                <c:pt idx="144">
                  <c:v>0.96</c:v>
                </c:pt>
                <c:pt idx="145">
                  <c:v>0.97</c:v>
                </c:pt>
                <c:pt idx="146">
                  <c:v>0.98</c:v>
                </c:pt>
                <c:pt idx="147">
                  <c:v>0.99</c:v>
                </c:pt>
                <c:pt idx="148">
                  <c:v>0.81</c:v>
                </c:pt>
                <c:pt idx="149">
                  <c:v>0.98</c:v>
                </c:pt>
                <c:pt idx="150">
                  <c:v>0.99</c:v>
                </c:pt>
                <c:pt idx="151">
                  <c:v>0.87</c:v>
                </c:pt>
                <c:pt idx="152">
                  <c:v>0.99</c:v>
                </c:pt>
                <c:pt idx="153">
                  <c:v>0.86</c:v>
                </c:pt>
                <c:pt idx="154">
                  <c:v>0.99</c:v>
                </c:pt>
                <c:pt idx="155">
                  <c:v>0.99</c:v>
                </c:pt>
                <c:pt idx="156">
                  <c:v>0.99</c:v>
                </c:pt>
                <c:pt idx="157">
                  <c:v>0.99</c:v>
                </c:pt>
                <c:pt idx="158">
                  <c:v>0.77</c:v>
                </c:pt>
                <c:pt idx="159">
                  <c:v>0.78</c:v>
                </c:pt>
                <c:pt idx="160">
                  <c:v>0.92</c:v>
                </c:pt>
                <c:pt idx="161">
                  <c:v>0.99</c:v>
                </c:pt>
                <c:pt idx="162">
                  <c:v>0.89</c:v>
                </c:pt>
                <c:pt idx="163">
                  <c:v>0.99</c:v>
                </c:pt>
                <c:pt idx="164">
                  <c:v>0.99</c:v>
                </c:pt>
                <c:pt idx="165">
                  <c:v>0.99</c:v>
                </c:pt>
                <c:pt idx="166">
                  <c:v>0.99</c:v>
                </c:pt>
                <c:pt idx="167">
                  <c:v>0.97</c:v>
                </c:pt>
                <c:pt idx="168">
                  <c:v>0.99</c:v>
                </c:pt>
                <c:pt idx="169">
                  <c:v>0.98</c:v>
                </c:pt>
                <c:pt idx="170">
                  <c:v>0.99</c:v>
                </c:pt>
                <c:pt idx="171">
                  <c:v>0.97</c:v>
                </c:pt>
                <c:pt idx="172">
                  <c:v>0.95</c:v>
                </c:pt>
                <c:pt idx="173">
                  <c:v>0.99</c:v>
                </c:pt>
                <c:pt idx="174">
                  <c:v>0.99</c:v>
                </c:pt>
                <c:pt idx="175">
                  <c:v>0.99</c:v>
                </c:pt>
                <c:pt idx="176">
                  <c:v>0.87</c:v>
                </c:pt>
                <c:pt idx="177">
                  <c:v>0.99</c:v>
                </c:pt>
                <c:pt idx="178">
                  <c:v>0.99</c:v>
                </c:pt>
                <c:pt idx="179">
                  <c:v>0.99</c:v>
                </c:pt>
                <c:pt idx="180">
                  <c:v>0.97</c:v>
                </c:pt>
                <c:pt idx="181">
                  <c:v>0.81</c:v>
                </c:pt>
                <c:pt idx="182">
                  <c:v>0.9</c:v>
                </c:pt>
                <c:pt idx="183">
                  <c:v>0.99</c:v>
                </c:pt>
                <c:pt idx="184">
                  <c:v>0.99</c:v>
                </c:pt>
                <c:pt idx="185">
                  <c:v>0.99</c:v>
                </c:pt>
                <c:pt idx="186">
                  <c:v>0.99</c:v>
                </c:pt>
                <c:pt idx="187">
                  <c:v>0.99</c:v>
                </c:pt>
                <c:pt idx="188">
                  <c:v>0.99</c:v>
                </c:pt>
                <c:pt idx="189">
                  <c:v>0.99</c:v>
                </c:pt>
                <c:pt idx="190">
                  <c:v>0.99</c:v>
                </c:pt>
                <c:pt idx="191">
                  <c:v>0.99</c:v>
                </c:pt>
                <c:pt idx="192">
                  <c:v>0.78</c:v>
                </c:pt>
                <c:pt idx="193">
                  <c:v>0.98</c:v>
                </c:pt>
                <c:pt idx="194">
                  <c:v>0.99</c:v>
                </c:pt>
                <c:pt idx="195">
                  <c:v>0.99</c:v>
                </c:pt>
                <c:pt idx="196">
                  <c:v>0.81</c:v>
                </c:pt>
                <c:pt idx="197">
                  <c:v>0.99</c:v>
                </c:pt>
                <c:pt idx="198">
                  <c:v>0.98</c:v>
                </c:pt>
                <c:pt idx="199">
                  <c:v>0.99</c:v>
                </c:pt>
                <c:pt idx="200">
                  <c:v>0.97</c:v>
                </c:pt>
                <c:pt idx="201">
                  <c:v>0.8</c:v>
                </c:pt>
                <c:pt idx="202">
                  <c:v>0.99</c:v>
                </c:pt>
                <c:pt idx="203">
                  <c:v>0.94</c:v>
                </c:pt>
                <c:pt idx="204">
                  <c:v>0.98</c:v>
                </c:pt>
                <c:pt idx="205">
                  <c:v>0.88</c:v>
                </c:pt>
                <c:pt idx="206">
                  <c:v>0.94</c:v>
                </c:pt>
                <c:pt idx="207">
                  <c:v>0.57999999999999996</c:v>
                </c:pt>
                <c:pt idx="208">
                  <c:v>0.92</c:v>
                </c:pt>
                <c:pt idx="209">
                  <c:v>0.97</c:v>
                </c:pt>
                <c:pt idx="210">
                  <c:v>0.95</c:v>
                </c:pt>
                <c:pt idx="211">
                  <c:v>0.99</c:v>
                </c:pt>
                <c:pt idx="212">
                  <c:v>0.99</c:v>
                </c:pt>
                <c:pt idx="213">
                  <c:v>0.99</c:v>
                </c:pt>
                <c:pt idx="214">
                  <c:v>0.74</c:v>
                </c:pt>
                <c:pt idx="215">
                  <c:v>0.99</c:v>
                </c:pt>
                <c:pt idx="216">
                  <c:v>0.96</c:v>
                </c:pt>
                <c:pt idx="217">
                  <c:v>0.98</c:v>
                </c:pt>
                <c:pt idx="218">
                  <c:v>0.97</c:v>
                </c:pt>
                <c:pt idx="219">
                  <c:v>0.99</c:v>
                </c:pt>
                <c:pt idx="220">
                  <c:v>0.99</c:v>
                </c:pt>
                <c:pt idx="221">
                  <c:v>0.99</c:v>
                </c:pt>
                <c:pt idx="222">
                  <c:v>0.98</c:v>
                </c:pt>
                <c:pt idx="223">
                  <c:v>0.99</c:v>
                </c:pt>
                <c:pt idx="224">
                  <c:v>0.98</c:v>
                </c:pt>
                <c:pt idx="225">
                  <c:v>0.99</c:v>
                </c:pt>
                <c:pt idx="226">
                  <c:v>0.99</c:v>
                </c:pt>
                <c:pt idx="227">
                  <c:v>0.96</c:v>
                </c:pt>
                <c:pt idx="228">
                  <c:v>0.98</c:v>
                </c:pt>
                <c:pt idx="229">
                  <c:v>0.98</c:v>
                </c:pt>
                <c:pt idx="230">
                  <c:v>0.95</c:v>
                </c:pt>
                <c:pt idx="231">
                  <c:v>0.98</c:v>
                </c:pt>
                <c:pt idx="232">
                  <c:v>0.94</c:v>
                </c:pt>
                <c:pt idx="233">
                  <c:v>0.98</c:v>
                </c:pt>
                <c:pt idx="234">
                  <c:v>0.95</c:v>
                </c:pt>
                <c:pt idx="235">
                  <c:v>0.99</c:v>
                </c:pt>
                <c:pt idx="236">
                  <c:v>0.96</c:v>
                </c:pt>
                <c:pt idx="237">
                  <c:v>0.96</c:v>
                </c:pt>
                <c:pt idx="238">
                  <c:v>0.76</c:v>
                </c:pt>
                <c:pt idx="239">
                  <c:v>0.99</c:v>
                </c:pt>
                <c:pt idx="240">
                  <c:v>0.79</c:v>
                </c:pt>
                <c:pt idx="241">
                  <c:v>0.97</c:v>
                </c:pt>
                <c:pt idx="242">
                  <c:v>0.99</c:v>
                </c:pt>
                <c:pt idx="243">
                  <c:v>0.94</c:v>
                </c:pt>
                <c:pt idx="244">
                  <c:v>0.97</c:v>
                </c:pt>
                <c:pt idx="245">
                  <c:v>0.99</c:v>
                </c:pt>
                <c:pt idx="246">
                  <c:v>0.96</c:v>
                </c:pt>
                <c:pt idx="247">
                  <c:v>0.56999999999999995</c:v>
                </c:pt>
                <c:pt idx="248">
                  <c:v>0.9</c:v>
                </c:pt>
                <c:pt idx="249">
                  <c:v>0.83</c:v>
                </c:pt>
                <c:pt idx="250">
                  <c:v>0.96</c:v>
                </c:pt>
                <c:pt idx="251">
                  <c:v>0.97</c:v>
                </c:pt>
                <c:pt idx="252">
                  <c:v>0.99</c:v>
                </c:pt>
                <c:pt idx="253">
                  <c:v>0.99</c:v>
                </c:pt>
                <c:pt idx="254">
                  <c:v>0.99</c:v>
                </c:pt>
                <c:pt idx="255">
                  <c:v>0.79</c:v>
                </c:pt>
                <c:pt idx="256">
                  <c:v>0.98</c:v>
                </c:pt>
                <c:pt idx="257">
                  <c:v>0.99</c:v>
                </c:pt>
                <c:pt idx="258">
                  <c:v>0.99</c:v>
                </c:pt>
                <c:pt idx="259">
                  <c:v>0.99</c:v>
                </c:pt>
                <c:pt idx="260">
                  <c:v>0.74</c:v>
                </c:pt>
                <c:pt idx="261">
                  <c:v>0.99</c:v>
                </c:pt>
                <c:pt idx="262">
                  <c:v>0.97</c:v>
                </c:pt>
                <c:pt idx="263">
                  <c:v>0.97</c:v>
                </c:pt>
                <c:pt idx="264">
                  <c:v>0.99</c:v>
                </c:pt>
                <c:pt idx="265">
                  <c:v>0.96</c:v>
                </c:pt>
                <c:pt idx="266">
                  <c:v>0.53</c:v>
                </c:pt>
                <c:pt idx="267">
                  <c:v>0.96</c:v>
                </c:pt>
                <c:pt idx="268">
                  <c:v>0.99</c:v>
                </c:pt>
                <c:pt idx="269">
                  <c:v>0.99</c:v>
                </c:pt>
                <c:pt idx="270">
                  <c:v>0.73</c:v>
                </c:pt>
                <c:pt idx="271">
                  <c:v>0.99</c:v>
                </c:pt>
                <c:pt idx="272">
                  <c:v>0.98</c:v>
                </c:pt>
                <c:pt idx="273">
                  <c:v>0.94</c:v>
                </c:pt>
                <c:pt idx="274">
                  <c:v>0.98</c:v>
                </c:pt>
                <c:pt idx="275">
                  <c:v>0.97</c:v>
                </c:pt>
                <c:pt idx="276">
                  <c:v>0.97</c:v>
                </c:pt>
                <c:pt idx="277">
                  <c:v>0.96</c:v>
                </c:pt>
                <c:pt idx="278">
                  <c:v>0.98</c:v>
                </c:pt>
                <c:pt idx="279">
                  <c:v>0.97</c:v>
                </c:pt>
                <c:pt idx="280">
                  <c:v>0.98</c:v>
                </c:pt>
                <c:pt idx="281">
                  <c:v>0.99</c:v>
                </c:pt>
                <c:pt idx="282">
                  <c:v>0.99</c:v>
                </c:pt>
                <c:pt idx="283">
                  <c:v>0.63</c:v>
                </c:pt>
                <c:pt idx="284">
                  <c:v>0.94</c:v>
                </c:pt>
                <c:pt idx="285">
                  <c:v>0.96</c:v>
                </c:pt>
                <c:pt idx="286">
                  <c:v>0.99</c:v>
                </c:pt>
                <c:pt idx="287">
                  <c:v>0.99</c:v>
                </c:pt>
                <c:pt idx="288">
                  <c:v>0.99</c:v>
                </c:pt>
                <c:pt idx="289">
                  <c:v>0.99</c:v>
                </c:pt>
                <c:pt idx="290">
                  <c:v>0.96</c:v>
                </c:pt>
                <c:pt idx="291">
                  <c:v>0.98</c:v>
                </c:pt>
                <c:pt idx="292">
                  <c:v>0.92</c:v>
                </c:pt>
                <c:pt idx="293">
                  <c:v>0.99</c:v>
                </c:pt>
                <c:pt idx="294">
                  <c:v>0.99</c:v>
                </c:pt>
                <c:pt idx="295">
                  <c:v>0.94</c:v>
                </c:pt>
                <c:pt idx="296">
                  <c:v>0.97</c:v>
                </c:pt>
                <c:pt idx="297">
                  <c:v>0.98</c:v>
                </c:pt>
                <c:pt idx="298">
                  <c:v>0.99</c:v>
                </c:pt>
                <c:pt idx="299">
                  <c:v>0.97</c:v>
                </c:pt>
                <c:pt idx="300">
                  <c:v>0.99</c:v>
                </c:pt>
                <c:pt idx="301">
                  <c:v>0.99</c:v>
                </c:pt>
                <c:pt idx="302">
                  <c:v>0.94</c:v>
                </c:pt>
                <c:pt idx="303">
                  <c:v>0.89</c:v>
                </c:pt>
                <c:pt idx="304">
                  <c:v>0.93</c:v>
                </c:pt>
                <c:pt idx="305">
                  <c:v>0.99</c:v>
                </c:pt>
                <c:pt idx="306">
                  <c:v>0.99</c:v>
                </c:pt>
                <c:pt idx="307">
                  <c:v>0.98</c:v>
                </c:pt>
                <c:pt idx="308">
                  <c:v>0.88</c:v>
                </c:pt>
                <c:pt idx="309">
                  <c:v>0.98</c:v>
                </c:pt>
                <c:pt idx="310">
                  <c:v>0.97</c:v>
                </c:pt>
                <c:pt idx="311">
                  <c:v>0.97</c:v>
                </c:pt>
                <c:pt idx="312">
                  <c:v>0.76</c:v>
                </c:pt>
                <c:pt idx="313">
                  <c:v>0.98</c:v>
                </c:pt>
                <c:pt idx="314">
                  <c:v>0.98</c:v>
                </c:pt>
                <c:pt idx="315">
                  <c:v>0.97</c:v>
                </c:pt>
                <c:pt idx="316">
                  <c:v>0.81</c:v>
                </c:pt>
                <c:pt idx="317">
                  <c:v>0.87</c:v>
                </c:pt>
                <c:pt idx="318">
                  <c:v>0.28999999999999998</c:v>
                </c:pt>
                <c:pt idx="319">
                  <c:v>0.98</c:v>
                </c:pt>
                <c:pt idx="320">
                  <c:v>0.96</c:v>
                </c:pt>
                <c:pt idx="321">
                  <c:v>0.67</c:v>
                </c:pt>
                <c:pt idx="322">
                  <c:v>0.83</c:v>
                </c:pt>
                <c:pt idx="323">
                  <c:v>0.95</c:v>
                </c:pt>
                <c:pt idx="324">
                  <c:v>0.96</c:v>
                </c:pt>
                <c:pt idx="325">
                  <c:v>0.79</c:v>
                </c:pt>
                <c:pt idx="326">
                  <c:v>0.68</c:v>
                </c:pt>
                <c:pt idx="327">
                  <c:v>0.95</c:v>
                </c:pt>
                <c:pt idx="328">
                  <c:v>0.99</c:v>
                </c:pt>
                <c:pt idx="329">
                  <c:v>0.93</c:v>
                </c:pt>
                <c:pt idx="330">
                  <c:v>0.99</c:v>
                </c:pt>
                <c:pt idx="331">
                  <c:v>0.95</c:v>
                </c:pt>
                <c:pt idx="332">
                  <c:v>0.99</c:v>
                </c:pt>
                <c:pt idx="333">
                  <c:v>0.97</c:v>
                </c:pt>
                <c:pt idx="334">
                  <c:v>0.98</c:v>
                </c:pt>
                <c:pt idx="335">
                  <c:v>0.64</c:v>
                </c:pt>
                <c:pt idx="336">
                  <c:v>0.97</c:v>
                </c:pt>
                <c:pt idx="337">
                  <c:v>0.95</c:v>
                </c:pt>
                <c:pt idx="338">
                  <c:v>0.97</c:v>
                </c:pt>
                <c:pt idx="339">
                  <c:v>0.96</c:v>
                </c:pt>
                <c:pt idx="340">
                  <c:v>0.96</c:v>
                </c:pt>
                <c:pt idx="341">
                  <c:v>0.56000000000000005</c:v>
                </c:pt>
                <c:pt idx="342">
                  <c:v>0.99</c:v>
                </c:pt>
                <c:pt idx="343">
                  <c:v>0.68</c:v>
                </c:pt>
                <c:pt idx="344">
                  <c:v>0.94</c:v>
                </c:pt>
                <c:pt idx="345">
                  <c:v>0.95</c:v>
                </c:pt>
                <c:pt idx="346">
                  <c:v>0.94</c:v>
                </c:pt>
                <c:pt idx="347">
                  <c:v>0.74</c:v>
                </c:pt>
                <c:pt idx="348">
                  <c:v>0.94</c:v>
                </c:pt>
                <c:pt idx="349">
                  <c:v>0.94</c:v>
                </c:pt>
                <c:pt idx="350">
                  <c:v>0.99</c:v>
                </c:pt>
                <c:pt idx="351">
                  <c:v>0.97</c:v>
                </c:pt>
                <c:pt idx="352">
                  <c:v>0.88</c:v>
                </c:pt>
                <c:pt idx="353">
                  <c:v>0.98</c:v>
                </c:pt>
                <c:pt idx="354">
                  <c:v>0.97</c:v>
                </c:pt>
                <c:pt idx="355">
                  <c:v>0.89</c:v>
                </c:pt>
                <c:pt idx="356">
                  <c:v>0.93</c:v>
                </c:pt>
                <c:pt idx="357">
                  <c:v>0.97</c:v>
                </c:pt>
                <c:pt idx="358">
                  <c:v>0.7</c:v>
                </c:pt>
                <c:pt idx="359">
                  <c:v>0.99</c:v>
                </c:pt>
                <c:pt idx="360">
                  <c:v>0.97</c:v>
                </c:pt>
                <c:pt idx="361">
                  <c:v>0.76</c:v>
                </c:pt>
                <c:pt idx="362">
                  <c:v>0.96</c:v>
                </c:pt>
                <c:pt idx="363">
                  <c:v>0.95</c:v>
                </c:pt>
                <c:pt idx="364">
                  <c:v>0.86</c:v>
                </c:pt>
                <c:pt idx="365">
                  <c:v>0.98</c:v>
                </c:pt>
                <c:pt idx="366">
                  <c:v>0.93</c:v>
                </c:pt>
                <c:pt idx="367">
                  <c:v>0.97</c:v>
                </c:pt>
                <c:pt idx="368">
                  <c:v>0.98</c:v>
                </c:pt>
                <c:pt idx="369">
                  <c:v>0.93</c:v>
                </c:pt>
                <c:pt idx="370">
                  <c:v>0.96</c:v>
                </c:pt>
                <c:pt idx="371">
                  <c:v>0.83</c:v>
                </c:pt>
                <c:pt idx="372">
                  <c:v>0.94</c:v>
                </c:pt>
                <c:pt idx="373">
                  <c:v>0.98</c:v>
                </c:pt>
                <c:pt idx="374">
                  <c:v>0.97</c:v>
                </c:pt>
                <c:pt idx="375">
                  <c:v>0.98</c:v>
                </c:pt>
                <c:pt idx="376">
                  <c:v>0.79</c:v>
                </c:pt>
                <c:pt idx="377">
                  <c:v>0.93</c:v>
                </c:pt>
                <c:pt idx="378">
                  <c:v>0.91</c:v>
                </c:pt>
                <c:pt idx="379">
                  <c:v>0.92</c:v>
                </c:pt>
                <c:pt idx="380">
                  <c:v>0.98</c:v>
                </c:pt>
                <c:pt idx="381">
                  <c:v>0.98</c:v>
                </c:pt>
                <c:pt idx="382">
                  <c:v>0.84</c:v>
                </c:pt>
                <c:pt idx="383">
                  <c:v>0.83</c:v>
                </c:pt>
                <c:pt idx="384">
                  <c:v>0.98</c:v>
                </c:pt>
                <c:pt idx="385">
                  <c:v>0.98</c:v>
                </c:pt>
                <c:pt idx="386">
                  <c:v>0.95</c:v>
                </c:pt>
                <c:pt idx="387">
                  <c:v>0.93</c:v>
                </c:pt>
                <c:pt idx="388">
                  <c:v>0.95</c:v>
                </c:pt>
                <c:pt idx="389">
                  <c:v>0.8</c:v>
                </c:pt>
                <c:pt idx="390">
                  <c:v>0.98</c:v>
                </c:pt>
                <c:pt idx="391">
                  <c:v>0.27</c:v>
                </c:pt>
                <c:pt idx="392">
                  <c:v>0.95</c:v>
                </c:pt>
                <c:pt idx="393">
                  <c:v>0.98</c:v>
                </c:pt>
                <c:pt idx="394">
                  <c:v>0.97</c:v>
                </c:pt>
                <c:pt idx="395">
                  <c:v>0.96</c:v>
                </c:pt>
                <c:pt idx="396">
                  <c:v>0.68</c:v>
                </c:pt>
                <c:pt idx="397">
                  <c:v>0.87</c:v>
                </c:pt>
                <c:pt idx="398">
                  <c:v>0.93</c:v>
                </c:pt>
                <c:pt idx="399">
                  <c:v>0.56000000000000005</c:v>
                </c:pt>
                <c:pt idx="400">
                  <c:v>0.76</c:v>
                </c:pt>
                <c:pt idx="401">
                  <c:v>0.94</c:v>
                </c:pt>
                <c:pt idx="402">
                  <c:v>0.94</c:v>
                </c:pt>
                <c:pt idx="403">
                  <c:v>0.95</c:v>
                </c:pt>
                <c:pt idx="404">
                  <c:v>0.85</c:v>
                </c:pt>
                <c:pt idx="405">
                  <c:v>0.65</c:v>
                </c:pt>
                <c:pt idx="406">
                  <c:v>0.92</c:v>
                </c:pt>
                <c:pt idx="407">
                  <c:v>0.96</c:v>
                </c:pt>
                <c:pt idx="408">
                  <c:v>0.97</c:v>
                </c:pt>
                <c:pt idx="409">
                  <c:v>0.98</c:v>
                </c:pt>
                <c:pt idx="410">
                  <c:v>0.99</c:v>
                </c:pt>
                <c:pt idx="411">
                  <c:v>0.99</c:v>
                </c:pt>
                <c:pt idx="412">
                  <c:v>0.56999999999999995</c:v>
                </c:pt>
                <c:pt idx="413">
                  <c:v>0.95</c:v>
                </c:pt>
                <c:pt idx="414">
                  <c:v>0.45</c:v>
                </c:pt>
                <c:pt idx="415">
                  <c:v>0.8</c:v>
                </c:pt>
                <c:pt idx="416">
                  <c:v>0.43</c:v>
                </c:pt>
                <c:pt idx="417">
                  <c:v>0.97</c:v>
                </c:pt>
                <c:pt idx="418">
                  <c:v>0.86</c:v>
                </c:pt>
                <c:pt idx="419">
                  <c:v>0.99</c:v>
                </c:pt>
                <c:pt idx="420">
                  <c:v>0.7</c:v>
                </c:pt>
                <c:pt idx="421">
                  <c:v>0.68</c:v>
                </c:pt>
                <c:pt idx="422">
                  <c:v>0.87</c:v>
                </c:pt>
                <c:pt idx="423">
                  <c:v>0.95</c:v>
                </c:pt>
                <c:pt idx="424">
                  <c:v>0.95</c:v>
                </c:pt>
                <c:pt idx="425">
                  <c:v>0.83</c:v>
                </c:pt>
                <c:pt idx="426">
                  <c:v>0.72</c:v>
                </c:pt>
                <c:pt idx="427">
                  <c:v>0.09</c:v>
                </c:pt>
                <c:pt idx="428">
                  <c:v>0.97</c:v>
                </c:pt>
                <c:pt idx="429">
                  <c:v>0.87</c:v>
                </c:pt>
                <c:pt idx="430">
                  <c:v>0.93</c:v>
                </c:pt>
                <c:pt idx="431">
                  <c:v>0.71</c:v>
                </c:pt>
                <c:pt idx="432">
                  <c:v>0.7</c:v>
                </c:pt>
                <c:pt idx="433">
                  <c:v>0.9</c:v>
                </c:pt>
                <c:pt idx="434">
                  <c:v>0.91</c:v>
                </c:pt>
                <c:pt idx="435">
                  <c:v>0.87</c:v>
                </c:pt>
                <c:pt idx="436">
                  <c:v>0.06</c:v>
                </c:pt>
                <c:pt idx="437">
                  <c:v>0.99</c:v>
                </c:pt>
                <c:pt idx="438">
                  <c:v>0.91</c:v>
                </c:pt>
                <c:pt idx="439">
                  <c:v>0.89</c:v>
                </c:pt>
                <c:pt idx="440">
                  <c:v>0.9</c:v>
                </c:pt>
                <c:pt idx="441">
                  <c:v>0.56000000000000005</c:v>
                </c:pt>
                <c:pt idx="442">
                  <c:v>0.61</c:v>
                </c:pt>
                <c:pt idx="443">
                  <c:v>0.94</c:v>
                </c:pt>
                <c:pt idx="444">
                  <c:v>0.98</c:v>
                </c:pt>
                <c:pt idx="445">
                  <c:v>0.75</c:v>
                </c:pt>
                <c:pt idx="446">
                  <c:v>0.96</c:v>
                </c:pt>
                <c:pt idx="447">
                  <c:v>0.89</c:v>
                </c:pt>
                <c:pt idx="448">
                  <c:v>0.93</c:v>
                </c:pt>
                <c:pt idx="449">
                  <c:v>0.9</c:v>
                </c:pt>
                <c:pt idx="450">
                  <c:v>0.97</c:v>
                </c:pt>
                <c:pt idx="451">
                  <c:v>0.9</c:v>
                </c:pt>
                <c:pt idx="452">
                  <c:v>0.91</c:v>
                </c:pt>
                <c:pt idx="453">
                  <c:v>0.82</c:v>
                </c:pt>
                <c:pt idx="454">
                  <c:v>0.84</c:v>
                </c:pt>
                <c:pt idx="455">
                  <c:v>0.28999999999999998</c:v>
                </c:pt>
                <c:pt idx="456">
                  <c:v>0.73</c:v>
                </c:pt>
                <c:pt idx="457">
                  <c:v>0.96</c:v>
                </c:pt>
                <c:pt idx="458">
                  <c:v>0.97</c:v>
                </c:pt>
                <c:pt idx="459">
                  <c:v>0.88</c:v>
                </c:pt>
                <c:pt idx="460">
                  <c:v>0.16</c:v>
                </c:pt>
                <c:pt idx="461">
                  <c:v>0.37</c:v>
                </c:pt>
                <c:pt idx="462">
                  <c:v>0.94</c:v>
                </c:pt>
                <c:pt idx="463">
                  <c:v>0.16</c:v>
                </c:pt>
                <c:pt idx="464">
                  <c:v>0.91</c:v>
                </c:pt>
                <c:pt idx="465">
                  <c:v>0.95</c:v>
                </c:pt>
                <c:pt idx="466">
                  <c:v>0.89</c:v>
                </c:pt>
                <c:pt idx="467">
                  <c:v>0.96</c:v>
                </c:pt>
                <c:pt idx="468">
                  <c:v>0.88</c:v>
                </c:pt>
                <c:pt idx="469">
                  <c:v>0.82</c:v>
                </c:pt>
                <c:pt idx="470">
                  <c:v>0.17</c:v>
                </c:pt>
                <c:pt idx="471">
                  <c:v>0.81</c:v>
                </c:pt>
                <c:pt idx="472">
                  <c:v>0.9</c:v>
                </c:pt>
                <c:pt idx="473">
                  <c:v>0.88</c:v>
                </c:pt>
                <c:pt idx="474">
                  <c:v>0.95</c:v>
                </c:pt>
                <c:pt idx="475">
                  <c:v>0.68</c:v>
                </c:pt>
                <c:pt idx="476">
                  <c:v>0.94</c:v>
                </c:pt>
                <c:pt idx="477">
                  <c:v>0.78</c:v>
                </c:pt>
                <c:pt idx="478">
                  <c:v>0.78</c:v>
                </c:pt>
                <c:pt idx="479">
                  <c:v>0.9</c:v>
                </c:pt>
                <c:pt idx="480">
                  <c:v>0.8</c:v>
                </c:pt>
                <c:pt idx="481">
                  <c:v>0.77</c:v>
                </c:pt>
                <c:pt idx="482">
                  <c:v>0.31</c:v>
                </c:pt>
                <c:pt idx="483">
                  <c:v>0.87</c:v>
                </c:pt>
                <c:pt idx="484">
                  <c:v>0.23</c:v>
                </c:pt>
                <c:pt idx="485">
                  <c:v>0.41</c:v>
                </c:pt>
                <c:pt idx="486">
                  <c:v>0.68</c:v>
                </c:pt>
                <c:pt idx="487">
                  <c:v>0.92</c:v>
                </c:pt>
                <c:pt idx="488">
                  <c:v>0.99</c:v>
                </c:pt>
                <c:pt idx="489">
                  <c:v>0.74</c:v>
                </c:pt>
                <c:pt idx="490">
                  <c:v>0.84</c:v>
                </c:pt>
                <c:pt idx="491">
                  <c:v>0.84</c:v>
                </c:pt>
                <c:pt idx="492">
                  <c:v>0.67</c:v>
                </c:pt>
                <c:pt idx="493">
                  <c:v>0.84</c:v>
                </c:pt>
                <c:pt idx="494">
                  <c:v>0.87</c:v>
                </c:pt>
                <c:pt idx="495">
                  <c:v>0.08</c:v>
                </c:pt>
                <c:pt idx="496">
                  <c:v>0.75</c:v>
                </c:pt>
                <c:pt idx="497">
                  <c:v>0.74</c:v>
                </c:pt>
                <c:pt idx="498">
                  <c:v>0.6</c:v>
                </c:pt>
                <c:pt idx="499">
                  <c:v>0.36</c:v>
                </c:pt>
                <c:pt idx="500">
                  <c:v>0.16</c:v>
                </c:pt>
                <c:pt idx="501">
                  <c:v>0.21</c:v>
                </c:pt>
                <c:pt idx="502">
                  <c:v>0.86</c:v>
                </c:pt>
                <c:pt idx="503">
                  <c:v>0.82</c:v>
                </c:pt>
                <c:pt idx="504">
                  <c:v>0.74</c:v>
                </c:pt>
                <c:pt idx="505">
                  <c:v>0.76</c:v>
                </c:pt>
                <c:pt idx="506">
                  <c:v>0.1</c:v>
                </c:pt>
                <c:pt idx="507">
                  <c:v>0.66</c:v>
                </c:pt>
                <c:pt idx="508">
                  <c:v>0.76</c:v>
                </c:pt>
                <c:pt idx="509">
                  <c:v>0.96</c:v>
                </c:pt>
                <c:pt idx="510">
                  <c:v>0.91</c:v>
                </c:pt>
                <c:pt idx="511">
                  <c:v>0.74</c:v>
                </c:pt>
                <c:pt idx="512">
                  <c:v>0.85</c:v>
                </c:pt>
                <c:pt idx="513">
                  <c:v>0.36</c:v>
                </c:pt>
                <c:pt idx="514">
                  <c:v>0.24</c:v>
                </c:pt>
                <c:pt idx="515">
                  <c:v>0.7</c:v>
                </c:pt>
                <c:pt idx="516">
                  <c:v>0.44</c:v>
                </c:pt>
                <c:pt idx="517">
                  <c:v>0.92</c:v>
                </c:pt>
                <c:pt idx="518">
                  <c:v>0.85</c:v>
                </c:pt>
                <c:pt idx="519">
                  <c:v>0.68</c:v>
                </c:pt>
                <c:pt idx="520">
                  <c:v>0.36</c:v>
                </c:pt>
                <c:pt idx="521">
                  <c:v>0.41</c:v>
                </c:pt>
                <c:pt idx="522">
                  <c:v>0.34</c:v>
                </c:pt>
                <c:pt idx="523">
                  <c:v>0.54</c:v>
                </c:pt>
                <c:pt idx="524">
                  <c:v>0.28000000000000003</c:v>
                </c:pt>
                <c:pt idx="525">
                  <c:v>0.61</c:v>
                </c:pt>
                <c:pt idx="526">
                  <c:v>0.64</c:v>
                </c:pt>
                <c:pt idx="527">
                  <c:v>0.42</c:v>
                </c:pt>
                <c:pt idx="528">
                  <c:v>0.67</c:v>
                </c:pt>
                <c:pt idx="529">
                  <c:v>0.57999999999999996</c:v>
                </c:pt>
                <c:pt idx="530">
                  <c:v>0.76</c:v>
                </c:pt>
                <c:pt idx="531">
                  <c:v>0.76</c:v>
                </c:pt>
                <c:pt idx="532">
                  <c:v>0.69</c:v>
                </c:pt>
                <c:pt idx="533">
                  <c:v>0.83</c:v>
                </c:pt>
                <c:pt idx="534">
                  <c:v>0.83</c:v>
                </c:pt>
                <c:pt idx="535">
                  <c:v>0.44</c:v>
                </c:pt>
                <c:pt idx="536">
                  <c:v>0.93</c:v>
                </c:pt>
                <c:pt idx="537">
                  <c:v>0.91</c:v>
                </c:pt>
                <c:pt idx="538">
                  <c:v>0.2</c:v>
                </c:pt>
                <c:pt idx="539">
                  <c:v>0.15</c:v>
                </c:pt>
                <c:pt idx="540">
                  <c:v>0.46</c:v>
                </c:pt>
                <c:pt idx="541">
                  <c:v>0.69</c:v>
                </c:pt>
                <c:pt idx="542">
                  <c:v>0.74</c:v>
                </c:pt>
                <c:pt idx="543">
                  <c:v>0.33</c:v>
                </c:pt>
                <c:pt idx="544">
                  <c:v>0.72</c:v>
                </c:pt>
                <c:pt idx="545">
                  <c:v>0.85</c:v>
                </c:pt>
                <c:pt idx="546">
                  <c:v>0.86</c:v>
                </c:pt>
                <c:pt idx="547">
                  <c:v>0.79</c:v>
                </c:pt>
                <c:pt idx="548">
                  <c:v>0.75</c:v>
                </c:pt>
                <c:pt idx="549">
                  <c:v>0.88</c:v>
                </c:pt>
                <c:pt idx="550">
                  <c:v>0.57999999999999996</c:v>
                </c:pt>
                <c:pt idx="551">
                  <c:v>0.2</c:v>
                </c:pt>
                <c:pt idx="552">
                  <c:v>0.2</c:v>
                </c:pt>
                <c:pt idx="553">
                  <c:v>0.24</c:v>
                </c:pt>
                <c:pt idx="554">
                  <c:v>0.56000000000000005</c:v>
                </c:pt>
                <c:pt idx="555">
                  <c:v>0.25</c:v>
                </c:pt>
                <c:pt idx="556">
                  <c:v>0.3</c:v>
                </c:pt>
                <c:pt idx="557">
                  <c:v>0.53</c:v>
                </c:pt>
                <c:pt idx="558">
                  <c:v>0.9</c:v>
                </c:pt>
                <c:pt idx="559">
                  <c:v>0.16</c:v>
                </c:pt>
                <c:pt idx="560">
                  <c:v>0.22</c:v>
                </c:pt>
                <c:pt idx="561">
                  <c:v>0.64</c:v>
                </c:pt>
                <c:pt idx="562">
                  <c:v>0.7</c:v>
                </c:pt>
                <c:pt idx="563">
                  <c:v>0.59</c:v>
                </c:pt>
                <c:pt idx="564">
                  <c:v>0.19</c:v>
                </c:pt>
                <c:pt idx="565">
                  <c:v>0.88</c:v>
                </c:pt>
                <c:pt idx="566">
                  <c:v>0.86</c:v>
                </c:pt>
                <c:pt idx="567">
                  <c:v>0.85</c:v>
                </c:pt>
                <c:pt idx="568">
                  <c:v>0.68</c:v>
                </c:pt>
                <c:pt idx="569">
                  <c:v>0.74</c:v>
                </c:pt>
                <c:pt idx="570">
                  <c:v>0.34</c:v>
                </c:pt>
                <c:pt idx="571">
                  <c:v>0.17</c:v>
                </c:pt>
                <c:pt idx="572">
                  <c:v>0.18</c:v>
                </c:pt>
                <c:pt idx="573">
                  <c:v>0.84</c:v>
                </c:pt>
                <c:pt idx="574">
                  <c:v>0.87</c:v>
                </c:pt>
                <c:pt idx="575">
                  <c:v>0.51</c:v>
                </c:pt>
                <c:pt idx="576">
                  <c:v>0.66</c:v>
                </c:pt>
                <c:pt idx="577">
                  <c:v>0.84</c:v>
                </c:pt>
                <c:pt idx="578">
                  <c:v>0.14000000000000001</c:v>
                </c:pt>
                <c:pt idx="579">
                  <c:v>0.17</c:v>
                </c:pt>
                <c:pt idx="580">
                  <c:v>0.79</c:v>
                </c:pt>
                <c:pt idx="581">
                  <c:v>0.09</c:v>
                </c:pt>
                <c:pt idx="582">
                  <c:v>0.53</c:v>
                </c:pt>
                <c:pt idx="583">
                  <c:v>0.22</c:v>
                </c:pt>
                <c:pt idx="584">
                  <c:v>0.36</c:v>
                </c:pt>
                <c:pt idx="585">
                  <c:v>0.65</c:v>
                </c:pt>
                <c:pt idx="586">
                  <c:v>0.14000000000000001</c:v>
                </c:pt>
                <c:pt idx="587">
                  <c:v>0.12</c:v>
                </c:pt>
                <c:pt idx="588">
                  <c:v>0.73</c:v>
                </c:pt>
                <c:pt idx="589">
                  <c:v>0.16</c:v>
                </c:pt>
                <c:pt idx="590">
                  <c:v>0.18</c:v>
                </c:pt>
                <c:pt idx="591">
                  <c:v>0.11</c:v>
                </c:pt>
                <c:pt idx="592">
                  <c:v>0.17</c:v>
                </c:pt>
                <c:pt idx="593">
                  <c:v>0.66</c:v>
                </c:pt>
                <c:pt idx="594">
                  <c:v>0.8</c:v>
                </c:pt>
                <c:pt idx="595">
                  <c:v>0.06</c:v>
                </c:pt>
                <c:pt idx="596">
                  <c:v>0.77</c:v>
                </c:pt>
                <c:pt idx="597">
                  <c:v>0.2</c:v>
                </c:pt>
                <c:pt idx="598">
                  <c:v>0.49</c:v>
                </c:pt>
                <c:pt idx="599">
                  <c:v>0.86</c:v>
                </c:pt>
                <c:pt idx="600">
                  <c:v>0.14000000000000001</c:v>
                </c:pt>
                <c:pt idx="601">
                  <c:v>0.19</c:v>
                </c:pt>
                <c:pt idx="602">
                  <c:v>0.99</c:v>
                </c:pt>
                <c:pt idx="603">
                  <c:v>0.18</c:v>
                </c:pt>
                <c:pt idx="604">
                  <c:v>0.14000000000000001</c:v>
                </c:pt>
                <c:pt idx="605">
                  <c:v>0.18</c:v>
                </c:pt>
                <c:pt idx="606">
                  <c:v>0.25</c:v>
                </c:pt>
                <c:pt idx="607">
                  <c:v>0.73</c:v>
                </c:pt>
                <c:pt idx="608">
                  <c:v>0.37</c:v>
                </c:pt>
                <c:pt idx="609">
                  <c:v>0.36</c:v>
                </c:pt>
                <c:pt idx="610">
                  <c:v>0.2</c:v>
                </c:pt>
                <c:pt idx="611">
                  <c:v>0.54</c:v>
                </c:pt>
                <c:pt idx="612">
                  <c:v>0.06</c:v>
                </c:pt>
                <c:pt idx="613">
                  <c:v>0.26</c:v>
                </c:pt>
                <c:pt idx="614">
                  <c:v>0.51</c:v>
                </c:pt>
                <c:pt idx="615">
                  <c:v>0.39</c:v>
                </c:pt>
                <c:pt idx="616">
                  <c:v>0.15</c:v>
                </c:pt>
                <c:pt idx="617">
                  <c:v>0.45</c:v>
                </c:pt>
                <c:pt idx="618">
                  <c:v>0.1</c:v>
                </c:pt>
                <c:pt idx="619">
                  <c:v>0.73</c:v>
                </c:pt>
                <c:pt idx="620">
                  <c:v>0.86</c:v>
                </c:pt>
                <c:pt idx="621">
                  <c:v>0.06</c:v>
                </c:pt>
                <c:pt idx="622">
                  <c:v>0.14000000000000001</c:v>
                </c:pt>
                <c:pt idx="623">
                  <c:v>0.11</c:v>
                </c:pt>
                <c:pt idx="624">
                  <c:v>0.08</c:v>
                </c:pt>
                <c:pt idx="625">
                  <c:v>0.76</c:v>
                </c:pt>
                <c:pt idx="626">
                  <c:v>0.62</c:v>
                </c:pt>
                <c:pt idx="627">
                  <c:v>0.31</c:v>
                </c:pt>
                <c:pt idx="628">
                  <c:v>0.09</c:v>
                </c:pt>
                <c:pt idx="629">
                  <c:v>0.69</c:v>
                </c:pt>
                <c:pt idx="630">
                  <c:v>0.26</c:v>
                </c:pt>
                <c:pt idx="631">
                  <c:v>0.75</c:v>
                </c:pt>
                <c:pt idx="632">
                  <c:v>0.2</c:v>
                </c:pt>
                <c:pt idx="633">
                  <c:v>0.73</c:v>
                </c:pt>
                <c:pt idx="634">
                  <c:v>0.62</c:v>
                </c:pt>
                <c:pt idx="635">
                  <c:v>0.56999999999999995</c:v>
                </c:pt>
                <c:pt idx="636">
                  <c:v>0.87</c:v>
                </c:pt>
                <c:pt idx="637">
                  <c:v>0.46</c:v>
                </c:pt>
                <c:pt idx="638">
                  <c:v>0.17</c:v>
                </c:pt>
                <c:pt idx="639">
                  <c:v>0.12</c:v>
                </c:pt>
                <c:pt idx="640">
                  <c:v>0.06</c:v>
                </c:pt>
                <c:pt idx="641">
                  <c:v>0.17</c:v>
                </c:pt>
                <c:pt idx="642">
                  <c:v>0.52</c:v>
                </c:pt>
                <c:pt idx="643">
                  <c:v>0.52</c:v>
                </c:pt>
                <c:pt idx="644">
                  <c:v>0.37</c:v>
                </c:pt>
                <c:pt idx="645">
                  <c:v>0.2</c:v>
                </c:pt>
                <c:pt idx="646">
                  <c:v>0.08</c:v>
                </c:pt>
                <c:pt idx="647">
                  <c:v>0.74</c:v>
                </c:pt>
                <c:pt idx="648">
                  <c:v>0.13</c:v>
                </c:pt>
                <c:pt idx="649">
                  <c:v>0.4</c:v>
                </c:pt>
                <c:pt idx="650">
                  <c:v>0.77</c:v>
                </c:pt>
                <c:pt idx="651">
                  <c:v>0.11</c:v>
                </c:pt>
                <c:pt idx="652">
                  <c:v>0.31</c:v>
                </c:pt>
                <c:pt idx="653">
                  <c:v>0.33</c:v>
                </c:pt>
                <c:pt idx="654">
                  <c:v>0.15</c:v>
                </c:pt>
                <c:pt idx="655">
                  <c:v>0.25</c:v>
                </c:pt>
                <c:pt idx="656">
                  <c:v>0.08</c:v>
                </c:pt>
                <c:pt idx="657">
                  <c:v>0.13</c:v>
                </c:pt>
                <c:pt idx="658">
                  <c:v>0.6</c:v>
                </c:pt>
                <c:pt idx="659">
                  <c:v>0.12</c:v>
                </c:pt>
                <c:pt idx="660">
                  <c:v>0.28000000000000003</c:v>
                </c:pt>
                <c:pt idx="661">
                  <c:v>0.14000000000000001</c:v>
                </c:pt>
                <c:pt idx="662">
                  <c:v>0.47</c:v>
                </c:pt>
                <c:pt idx="663">
                  <c:v>0.16</c:v>
                </c:pt>
                <c:pt idx="664">
                  <c:v>0.65</c:v>
                </c:pt>
                <c:pt idx="665">
                  <c:v>0.05</c:v>
                </c:pt>
                <c:pt idx="666">
                  <c:v>0.15</c:v>
                </c:pt>
                <c:pt idx="667">
                  <c:v>0.08</c:v>
                </c:pt>
                <c:pt idx="668">
                  <c:v>0.18</c:v>
                </c:pt>
                <c:pt idx="669">
                  <c:v>0.23</c:v>
                </c:pt>
                <c:pt idx="670">
                  <c:v>7.0000000000000007E-2</c:v>
                </c:pt>
                <c:pt idx="671">
                  <c:v>0.24</c:v>
                </c:pt>
                <c:pt idx="672">
                  <c:v>0.27</c:v>
                </c:pt>
                <c:pt idx="673">
                  <c:v>0.51</c:v>
                </c:pt>
                <c:pt idx="674">
                  <c:v>0.15</c:v>
                </c:pt>
                <c:pt idx="675">
                  <c:v>0.04</c:v>
                </c:pt>
                <c:pt idx="676">
                  <c:v>0.3</c:v>
                </c:pt>
                <c:pt idx="677">
                  <c:v>0.5</c:v>
                </c:pt>
                <c:pt idx="678">
                  <c:v>0.22</c:v>
                </c:pt>
                <c:pt idx="679">
                  <c:v>0.39</c:v>
                </c:pt>
                <c:pt idx="680">
                  <c:v>0.24</c:v>
                </c:pt>
                <c:pt idx="681">
                  <c:v>0.56999999999999995</c:v>
                </c:pt>
                <c:pt idx="682">
                  <c:v>7.0000000000000007E-2</c:v>
                </c:pt>
                <c:pt idx="683">
                  <c:v>0.41</c:v>
                </c:pt>
                <c:pt idx="684">
                  <c:v>0.16</c:v>
                </c:pt>
                <c:pt idx="685">
                  <c:v>0.33</c:v>
                </c:pt>
                <c:pt idx="686">
                  <c:v>0.09</c:v>
                </c:pt>
                <c:pt idx="687">
                  <c:v>0.63</c:v>
                </c:pt>
                <c:pt idx="688">
                  <c:v>0.21</c:v>
                </c:pt>
                <c:pt idx="689">
                  <c:v>0.17</c:v>
                </c:pt>
                <c:pt idx="690">
                  <c:v>0.47</c:v>
                </c:pt>
                <c:pt idx="691">
                  <c:v>0.15</c:v>
                </c:pt>
                <c:pt idx="692">
                  <c:v>0.16</c:v>
                </c:pt>
                <c:pt idx="693">
                  <c:v>0.66</c:v>
                </c:pt>
                <c:pt idx="694">
                  <c:v>0.14000000000000001</c:v>
                </c:pt>
                <c:pt idx="695">
                  <c:v>0.21</c:v>
                </c:pt>
                <c:pt idx="696">
                  <c:v>0.03</c:v>
                </c:pt>
                <c:pt idx="697">
                  <c:v>0.09</c:v>
                </c:pt>
                <c:pt idx="698">
                  <c:v>0.13</c:v>
                </c:pt>
                <c:pt idx="699">
                  <c:v>0.09</c:v>
                </c:pt>
                <c:pt idx="700">
                  <c:v>0.06</c:v>
                </c:pt>
                <c:pt idx="701">
                  <c:v>0.39</c:v>
                </c:pt>
                <c:pt idx="702">
                  <c:v>0.12</c:v>
                </c:pt>
                <c:pt idx="703">
                  <c:v>0.14000000000000001</c:v>
                </c:pt>
                <c:pt idx="704">
                  <c:v>0.42</c:v>
                </c:pt>
                <c:pt idx="705">
                  <c:v>0.18</c:v>
                </c:pt>
                <c:pt idx="706">
                  <c:v>0.39</c:v>
                </c:pt>
                <c:pt idx="707">
                  <c:v>0.69</c:v>
                </c:pt>
                <c:pt idx="708">
                  <c:v>0.09</c:v>
                </c:pt>
                <c:pt idx="709">
                  <c:v>0.11</c:v>
                </c:pt>
                <c:pt idx="710">
                  <c:v>0.11</c:v>
                </c:pt>
                <c:pt idx="711">
                  <c:v>0.18</c:v>
                </c:pt>
                <c:pt idx="712">
                  <c:v>0.12</c:v>
                </c:pt>
                <c:pt idx="713">
                  <c:v>0.08</c:v>
                </c:pt>
                <c:pt idx="714">
                  <c:v>0.04</c:v>
                </c:pt>
                <c:pt idx="715">
                  <c:v>0.25</c:v>
                </c:pt>
                <c:pt idx="716">
                  <c:v>0.08</c:v>
                </c:pt>
                <c:pt idx="717">
                  <c:v>0.12</c:v>
                </c:pt>
                <c:pt idx="718">
                  <c:v>0.43</c:v>
                </c:pt>
                <c:pt idx="719">
                  <c:v>0.05</c:v>
                </c:pt>
                <c:pt idx="720">
                  <c:v>0.09</c:v>
                </c:pt>
                <c:pt idx="721">
                  <c:v>0.2</c:v>
                </c:pt>
                <c:pt idx="722">
                  <c:v>0.16</c:v>
                </c:pt>
                <c:pt idx="723">
                  <c:v>0.33</c:v>
                </c:pt>
                <c:pt idx="724">
                  <c:v>0.34</c:v>
                </c:pt>
                <c:pt idx="725">
                  <c:v>0.06</c:v>
                </c:pt>
                <c:pt idx="726">
                  <c:v>0.2</c:v>
                </c:pt>
                <c:pt idx="727">
                  <c:v>7.0000000000000007E-2</c:v>
                </c:pt>
                <c:pt idx="728">
                  <c:v>0.46</c:v>
                </c:pt>
                <c:pt idx="729">
                  <c:v>0.15</c:v>
                </c:pt>
                <c:pt idx="730">
                  <c:v>0.16</c:v>
                </c:pt>
                <c:pt idx="731">
                  <c:v>0.13</c:v>
                </c:pt>
                <c:pt idx="732">
                  <c:v>0.5</c:v>
                </c:pt>
                <c:pt idx="733">
                  <c:v>0.08</c:v>
                </c:pt>
                <c:pt idx="734">
                  <c:v>0.08</c:v>
                </c:pt>
                <c:pt idx="735">
                  <c:v>7.0000000000000007E-2</c:v>
                </c:pt>
                <c:pt idx="736">
                  <c:v>0.24</c:v>
                </c:pt>
                <c:pt idx="737">
                  <c:v>0.08</c:v>
                </c:pt>
                <c:pt idx="738">
                  <c:v>0.04</c:v>
                </c:pt>
                <c:pt idx="739">
                  <c:v>0.03</c:v>
                </c:pt>
                <c:pt idx="740">
                  <c:v>0.24</c:v>
                </c:pt>
                <c:pt idx="741">
                  <c:v>0.18</c:v>
                </c:pt>
                <c:pt idx="742">
                  <c:v>0.11</c:v>
                </c:pt>
                <c:pt idx="743">
                  <c:v>0.18</c:v>
                </c:pt>
                <c:pt idx="744">
                  <c:v>0.05</c:v>
                </c:pt>
                <c:pt idx="745">
                  <c:v>0.1</c:v>
                </c:pt>
                <c:pt idx="746">
                  <c:v>0.25</c:v>
                </c:pt>
                <c:pt idx="747">
                  <c:v>0.13</c:v>
                </c:pt>
                <c:pt idx="748">
                  <c:v>0.04</c:v>
                </c:pt>
                <c:pt idx="749">
                  <c:v>0.21</c:v>
                </c:pt>
                <c:pt idx="750">
                  <c:v>0.03</c:v>
                </c:pt>
                <c:pt idx="751">
                  <c:v>0.02</c:v>
                </c:pt>
                <c:pt idx="752">
                  <c:v>0.08</c:v>
                </c:pt>
                <c:pt idx="753">
                  <c:v>0.38</c:v>
                </c:pt>
                <c:pt idx="754">
                  <c:v>0.09</c:v>
                </c:pt>
                <c:pt idx="755">
                  <c:v>0.14000000000000001</c:v>
                </c:pt>
                <c:pt idx="756">
                  <c:v>0.08</c:v>
                </c:pt>
                <c:pt idx="757">
                  <c:v>0.08</c:v>
                </c:pt>
                <c:pt idx="758">
                  <c:v>0.01</c:v>
                </c:pt>
                <c:pt idx="759">
                  <c:v>0.26</c:v>
                </c:pt>
                <c:pt idx="760">
                  <c:v>0.14000000000000001</c:v>
                </c:pt>
                <c:pt idx="761">
                  <c:v>0.56999999999999995</c:v>
                </c:pt>
                <c:pt idx="762">
                  <c:v>0.81</c:v>
                </c:pt>
                <c:pt idx="763">
                  <c:v>7.0000000000000007E-2</c:v>
                </c:pt>
                <c:pt idx="764">
                  <c:v>0.12</c:v>
                </c:pt>
                <c:pt idx="765">
                  <c:v>0.06</c:v>
                </c:pt>
                <c:pt idx="766">
                  <c:v>0.1</c:v>
                </c:pt>
                <c:pt idx="767">
                  <c:v>0.12</c:v>
                </c:pt>
                <c:pt idx="768">
                  <c:v>0.02</c:v>
                </c:pt>
                <c:pt idx="769">
                  <c:v>0.1</c:v>
                </c:pt>
                <c:pt idx="770">
                  <c:v>0.19</c:v>
                </c:pt>
                <c:pt idx="771">
                  <c:v>0.1</c:v>
                </c:pt>
                <c:pt idx="772">
                  <c:v>0.2</c:v>
                </c:pt>
                <c:pt idx="773">
                  <c:v>0.08</c:v>
                </c:pt>
                <c:pt idx="774">
                  <c:v>0.1</c:v>
                </c:pt>
                <c:pt idx="775">
                  <c:v>0.04</c:v>
                </c:pt>
                <c:pt idx="776">
                  <c:v>0.11</c:v>
                </c:pt>
                <c:pt idx="777">
                  <c:v>0.15</c:v>
                </c:pt>
                <c:pt idx="778">
                  <c:v>0.15</c:v>
                </c:pt>
                <c:pt idx="779">
                  <c:v>0.12</c:v>
                </c:pt>
                <c:pt idx="780">
                  <c:v>0.05</c:v>
                </c:pt>
                <c:pt idx="781">
                  <c:v>0.14000000000000001</c:v>
                </c:pt>
                <c:pt idx="782">
                  <c:v>0.01</c:v>
                </c:pt>
                <c:pt idx="783">
                  <c:v>0.18</c:v>
                </c:pt>
                <c:pt idx="784">
                  <c:v>0.44</c:v>
                </c:pt>
                <c:pt idx="785">
                  <c:v>0.05</c:v>
                </c:pt>
                <c:pt idx="786">
                  <c:v>0.35</c:v>
                </c:pt>
                <c:pt idx="787">
                  <c:v>0.06</c:v>
                </c:pt>
                <c:pt idx="788">
                  <c:v>0.03</c:v>
                </c:pt>
                <c:pt idx="789">
                  <c:v>0.1</c:v>
                </c:pt>
                <c:pt idx="790">
                  <c:v>0.28999999999999998</c:v>
                </c:pt>
                <c:pt idx="791">
                  <c:v>7.0000000000000007E-2</c:v>
                </c:pt>
                <c:pt idx="792">
                  <c:v>0.12</c:v>
                </c:pt>
                <c:pt idx="793">
                  <c:v>0.04</c:v>
                </c:pt>
                <c:pt idx="794">
                  <c:v>0.4</c:v>
                </c:pt>
                <c:pt idx="795">
                  <c:v>0.16</c:v>
                </c:pt>
                <c:pt idx="796">
                  <c:v>0.03</c:v>
                </c:pt>
                <c:pt idx="797">
                  <c:v>0.08</c:v>
                </c:pt>
                <c:pt idx="798">
                  <c:v>0.05</c:v>
                </c:pt>
                <c:pt idx="799">
                  <c:v>7.0000000000000007E-2</c:v>
                </c:pt>
                <c:pt idx="800">
                  <c:v>0.04</c:v>
                </c:pt>
                <c:pt idx="801">
                  <c:v>0.02</c:v>
                </c:pt>
                <c:pt idx="802">
                  <c:v>0.16</c:v>
                </c:pt>
                <c:pt idx="803">
                  <c:v>0.17</c:v>
                </c:pt>
                <c:pt idx="804">
                  <c:v>0.08</c:v>
                </c:pt>
                <c:pt idx="805">
                  <c:v>0.14000000000000001</c:v>
                </c:pt>
                <c:pt idx="806">
                  <c:v>0.02</c:v>
                </c:pt>
                <c:pt idx="807">
                  <c:v>0.1</c:v>
                </c:pt>
                <c:pt idx="808">
                  <c:v>7.0000000000000007E-2</c:v>
                </c:pt>
                <c:pt idx="809">
                  <c:v>0.08</c:v>
                </c:pt>
                <c:pt idx="810">
                  <c:v>0.04</c:v>
                </c:pt>
                <c:pt idx="811">
                  <c:v>0.17</c:v>
                </c:pt>
                <c:pt idx="812">
                  <c:v>0.13</c:v>
                </c:pt>
                <c:pt idx="813">
                  <c:v>0.08</c:v>
                </c:pt>
                <c:pt idx="814">
                  <c:v>0.12</c:v>
                </c:pt>
                <c:pt idx="815">
                  <c:v>0.08</c:v>
                </c:pt>
                <c:pt idx="816">
                  <c:v>0.02</c:v>
                </c:pt>
                <c:pt idx="817">
                  <c:v>0.08</c:v>
                </c:pt>
                <c:pt idx="818">
                  <c:v>0.05</c:v>
                </c:pt>
                <c:pt idx="819">
                  <c:v>0.02</c:v>
                </c:pt>
                <c:pt idx="820">
                  <c:v>0.15</c:v>
                </c:pt>
                <c:pt idx="821">
                  <c:v>0.18</c:v>
                </c:pt>
                <c:pt idx="822">
                  <c:v>0.06</c:v>
                </c:pt>
                <c:pt idx="823">
                  <c:v>7.0000000000000007E-2</c:v>
                </c:pt>
                <c:pt idx="824">
                  <c:v>0.15</c:v>
                </c:pt>
                <c:pt idx="825">
                  <c:v>0.48</c:v>
                </c:pt>
                <c:pt idx="826">
                  <c:v>0.08</c:v>
                </c:pt>
                <c:pt idx="827">
                  <c:v>7.0000000000000007E-2</c:v>
                </c:pt>
                <c:pt idx="828">
                  <c:v>0.01</c:v>
                </c:pt>
                <c:pt idx="829">
                  <c:v>0.04</c:v>
                </c:pt>
                <c:pt idx="830">
                  <c:v>0.02</c:v>
                </c:pt>
                <c:pt idx="831">
                  <c:v>0.06</c:v>
                </c:pt>
                <c:pt idx="832">
                  <c:v>7.0000000000000007E-2</c:v>
                </c:pt>
                <c:pt idx="833">
                  <c:v>7.0000000000000007E-2</c:v>
                </c:pt>
                <c:pt idx="834">
                  <c:v>0.12</c:v>
                </c:pt>
                <c:pt idx="835">
                  <c:v>0.01</c:v>
                </c:pt>
                <c:pt idx="836">
                  <c:v>0.13</c:v>
                </c:pt>
                <c:pt idx="837">
                  <c:v>0.04</c:v>
                </c:pt>
                <c:pt idx="838">
                  <c:v>0.05</c:v>
                </c:pt>
                <c:pt idx="839">
                  <c:v>0.04</c:v>
                </c:pt>
                <c:pt idx="840">
                  <c:v>0.05</c:v>
                </c:pt>
                <c:pt idx="841">
                  <c:v>0.11</c:v>
                </c:pt>
                <c:pt idx="842">
                  <c:v>0.23</c:v>
                </c:pt>
                <c:pt idx="843">
                  <c:v>0.06</c:v>
                </c:pt>
                <c:pt idx="844">
                  <c:v>0.08</c:v>
                </c:pt>
                <c:pt idx="845">
                  <c:v>0.21</c:v>
                </c:pt>
                <c:pt idx="846">
                  <c:v>0.03</c:v>
                </c:pt>
                <c:pt idx="847">
                  <c:v>0.08</c:v>
                </c:pt>
                <c:pt idx="848">
                  <c:v>0.11</c:v>
                </c:pt>
                <c:pt idx="849">
                  <c:v>7.0000000000000007E-2</c:v>
                </c:pt>
                <c:pt idx="850">
                  <c:v>0.02</c:v>
                </c:pt>
                <c:pt idx="851">
                  <c:v>0.1</c:v>
                </c:pt>
                <c:pt idx="852">
                  <c:v>0.04</c:v>
                </c:pt>
                <c:pt idx="853">
                  <c:v>0.21</c:v>
                </c:pt>
                <c:pt idx="854">
                  <c:v>7.0000000000000007E-2</c:v>
                </c:pt>
                <c:pt idx="855">
                  <c:v>0.7</c:v>
                </c:pt>
                <c:pt idx="856">
                  <c:v>0.08</c:v>
                </c:pt>
                <c:pt idx="857">
                  <c:v>0.42</c:v>
                </c:pt>
                <c:pt idx="858">
                  <c:v>0.02</c:v>
                </c:pt>
                <c:pt idx="859">
                  <c:v>0.5</c:v>
                </c:pt>
                <c:pt idx="860">
                  <c:v>0.05</c:v>
                </c:pt>
                <c:pt idx="861">
                  <c:v>0.02</c:v>
                </c:pt>
                <c:pt idx="862">
                  <c:v>0.17</c:v>
                </c:pt>
                <c:pt idx="863">
                  <c:v>0.03</c:v>
                </c:pt>
                <c:pt idx="864">
                  <c:v>0.03</c:v>
                </c:pt>
                <c:pt idx="865">
                  <c:v>0.15</c:v>
                </c:pt>
                <c:pt idx="866">
                  <c:v>0.04</c:v>
                </c:pt>
                <c:pt idx="867">
                  <c:v>0.05</c:v>
                </c:pt>
                <c:pt idx="868">
                  <c:v>0.03</c:v>
                </c:pt>
                <c:pt idx="869">
                  <c:v>7.0000000000000007E-2</c:v>
                </c:pt>
                <c:pt idx="870">
                  <c:v>0.03</c:v>
                </c:pt>
                <c:pt idx="871">
                  <c:v>0.15</c:v>
                </c:pt>
                <c:pt idx="872">
                  <c:v>0.14000000000000001</c:v>
                </c:pt>
                <c:pt idx="873">
                  <c:v>0.03</c:v>
                </c:pt>
                <c:pt idx="874">
                  <c:v>0.02</c:v>
                </c:pt>
                <c:pt idx="875">
                  <c:v>0.01</c:v>
                </c:pt>
                <c:pt idx="876">
                  <c:v>0.05</c:v>
                </c:pt>
                <c:pt idx="877">
                  <c:v>0.01</c:v>
                </c:pt>
                <c:pt idx="878">
                  <c:v>0.05</c:v>
                </c:pt>
                <c:pt idx="879">
                  <c:v>0.08</c:v>
                </c:pt>
                <c:pt idx="880">
                  <c:v>0.05</c:v>
                </c:pt>
                <c:pt idx="881">
                  <c:v>0.05</c:v>
                </c:pt>
                <c:pt idx="882">
                  <c:v>0.03</c:v>
                </c:pt>
                <c:pt idx="883">
                  <c:v>0.04</c:v>
                </c:pt>
                <c:pt idx="884">
                  <c:v>0.06</c:v>
                </c:pt>
                <c:pt idx="885">
                  <c:v>7.0000000000000007E-2</c:v>
                </c:pt>
                <c:pt idx="886">
                  <c:v>0.06</c:v>
                </c:pt>
                <c:pt idx="887">
                  <c:v>7.0000000000000007E-2</c:v>
                </c:pt>
                <c:pt idx="888">
                  <c:v>0.09</c:v>
                </c:pt>
                <c:pt idx="889">
                  <c:v>0.06</c:v>
                </c:pt>
                <c:pt idx="890">
                  <c:v>0.06</c:v>
                </c:pt>
                <c:pt idx="891">
                  <c:v>0.15</c:v>
                </c:pt>
                <c:pt idx="892">
                  <c:v>0.06</c:v>
                </c:pt>
                <c:pt idx="893">
                  <c:v>0.03</c:v>
                </c:pt>
                <c:pt idx="894">
                  <c:v>0.02</c:v>
                </c:pt>
                <c:pt idx="895">
                  <c:v>0.02</c:v>
                </c:pt>
                <c:pt idx="896">
                  <c:v>0.06</c:v>
                </c:pt>
                <c:pt idx="897">
                  <c:v>0.03</c:v>
                </c:pt>
                <c:pt idx="898">
                  <c:v>7.0000000000000007E-2</c:v>
                </c:pt>
                <c:pt idx="899">
                  <c:v>0.05</c:v>
                </c:pt>
                <c:pt idx="900">
                  <c:v>0.04</c:v>
                </c:pt>
                <c:pt idx="901">
                  <c:v>0.06</c:v>
                </c:pt>
                <c:pt idx="902">
                  <c:v>0.37</c:v>
                </c:pt>
                <c:pt idx="903">
                  <c:v>0.06</c:v>
                </c:pt>
                <c:pt idx="904">
                  <c:v>0.13</c:v>
                </c:pt>
                <c:pt idx="905">
                  <c:v>0.12</c:v>
                </c:pt>
                <c:pt idx="906">
                  <c:v>0.13</c:v>
                </c:pt>
                <c:pt idx="907">
                  <c:v>0.06</c:v>
                </c:pt>
                <c:pt idx="908">
                  <c:v>0.11</c:v>
                </c:pt>
                <c:pt idx="909">
                  <c:v>0.04</c:v>
                </c:pt>
                <c:pt idx="910">
                  <c:v>7.0000000000000007E-2</c:v>
                </c:pt>
                <c:pt idx="911">
                  <c:v>0.08</c:v>
                </c:pt>
                <c:pt idx="912">
                  <c:v>0.01</c:v>
                </c:pt>
                <c:pt idx="913">
                  <c:v>0.09</c:v>
                </c:pt>
                <c:pt idx="914">
                  <c:v>0.13</c:v>
                </c:pt>
                <c:pt idx="915">
                  <c:v>0.01</c:v>
                </c:pt>
                <c:pt idx="916">
                  <c:v>0.08</c:v>
                </c:pt>
                <c:pt idx="917">
                  <c:v>0.02</c:v>
                </c:pt>
                <c:pt idx="918">
                  <c:v>0.06</c:v>
                </c:pt>
                <c:pt idx="919">
                  <c:v>0.08</c:v>
                </c:pt>
                <c:pt idx="920">
                  <c:v>0.03</c:v>
                </c:pt>
                <c:pt idx="921">
                  <c:v>0.05</c:v>
                </c:pt>
                <c:pt idx="922">
                  <c:v>0.03</c:v>
                </c:pt>
                <c:pt idx="923">
                  <c:v>0.04</c:v>
                </c:pt>
                <c:pt idx="924">
                  <c:v>0.1</c:v>
                </c:pt>
                <c:pt idx="925">
                  <c:v>0.06</c:v>
                </c:pt>
                <c:pt idx="926">
                  <c:v>0.09</c:v>
                </c:pt>
                <c:pt idx="927">
                  <c:v>0.04</c:v>
                </c:pt>
                <c:pt idx="928">
                  <c:v>0.3</c:v>
                </c:pt>
                <c:pt idx="929">
                  <c:v>0.01</c:v>
                </c:pt>
                <c:pt idx="930">
                  <c:v>0.06</c:v>
                </c:pt>
                <c:pt idx="931">
                  <c:v>0.02</c:v>
                </c:pt>
                <c:pt idx="932">
                  <c:v>0.04</c:v>
                </c:pt>
                <c:pt idx="933">
                  <c:v>0.04</c:v>
                </c:pt>
                <c:pt idx="934">
                  <c:v>0.18</c:v>
                </c:pt>
                <c:pt idx="935">
                  <c:v>0.04</c:v>
                </c:pt>
                <c:pt idx="936">
                  <c:v>0.04</c:v>
                </c:pt>
                <c:pt idx="937">
                  <c:v>0.05</c:v>
                </c:pt>
                <c:pt idx="938">
                  <c:v>0.01</c:v>
                </c:pt>
                <c:pt idx="939">
                  <c:v>0.19</c:v>
                </c:pt>
                <c:pt idx="940">
                  <c:v>0.05</c:v>
                </c:pt>
                <c:pt idx="941">
                  <c:v>0.09</c:v>
                </c:pt>
                <c:pt idx="942">
                  <c:v>0.01</c:v>
                </c:pt>
                <c:pt idx="943">
                  <c:v>0.05</c:v>
                </c:pt>
                <c:pt idx="944">
                  <c:v>0.02</c:v>
                </c:pt>
                <c:pt idx="945">
                  <c:v>0.04</c:v>
                </c:pt>
                <c:pt idx="946">
                  <c:v>7.0000000000000007E-2</c:v>
                </c:pt>
                <c:pt idx="947">
                  <c:v>0.01</c:v>
                </c:pt>
                <c:pt idx="948">
                  <c:v>0.02</c:v>
                </c:pt>
                <c:pt idx="949">
                  <c:v>0.01</c:v>
                </c:pt>
                <c:pt idx="950">
                  <c:v>0.03</c:v>
                </c:pt>
                <c:pt idx="951">
                  <c:v>0.01</c:v>
                </c:pt>
                <c:pt idx="952">
                  <c:v>0.01</c:v>
                </c:pt>
                <c:pt idx="953">
                  <c:v>0.11</c:v>
                </c:pt>
                <c:pt idx="954">
                  <c:v>0.52</c:v>
                </c:pt>
                <c:pt idx="955">
                  <c:v>0.01</c:v>
                </c:pt>
                <c:pt idx="956">
                  <c:v>0.04</c:v>
                </c:pt>
                <c:pt idx="957">
                  <c:v>0.08</c:v>
                </c:pt>
                <c:pt idx="958">
                  <c:v>0.05</c:v>
                </c:pt>
                <c:pt idx="959">
                  <c:v>0.04</c:v>
                </c:pt>
                <c:pt idx="960">
                  <c:v>0.01</c:v>
                </c:pt>
                <c:pt idx="961">
                  <c:v>0.03</c:v>
                </c:pt>
                <c:pt idx="962">
                  <c:v>0.02</c:v>
                </c:pt>
                <c:pt idx="963">
                  <c:v>0.05</c:v>
                </c:pt>
                <c:pt idx="964">
                  <c:v>0.06</c:v>
                </c:pt>
                <c:pt idx="965">
                  <c:v>0.05</c:v>
                </c:pt>
                <c:pt idx="966">
                  <c:v>0.06</c:v>
                </c:pt>
                <c:pt idx="967">
                  <c:v>0.06</c:v>
                </c:pt>
                <c:pt idx="968">
                  <c:v>0.09</c:v>
                </c:pt>
                <c:pt idx="969">
                  <c:v>0.05</c:v>
                </c:pt>
                <c:pt idx="970">
                  <c:v>0.04</c:v>
                </c:pt>
                <c:pt idx="971">
                  <c:v>0.02</c:v>
                </c:pt>
                <c:pt idx="972">
                  <c:v>0.04</c:v>
                </c:pt>
                <c:pt idx="973">
                  <c:v>0.02</c:v>
                </c:pt>
                <c:pt idx="974">
                  <c:v>0.05</c:v>
                </c:pt>
                <c:pt idx="975">
                  <c:v>0.08</c:v>
                </c:pt>
                <c:pt idx="976">
                  <c:v>0.1</c:v>
                </c:pt>
                <c:pt idx="977">
                  <c:v>0.04</c:v>
                </c:pt>
                <c:pt idx="978">
                  <c:v>0.05</c:v>
                </c:pt>
                <c:pt idx="979">
                  <c:v>0.02</c:v>
                </c:pt>
                <c:pt idx="980">
                  <c:v>0.06</c:v>
                </c:pt>
                <c:pt idx="981">
                  <c:v>0.01</c:v>
                </c:pt>
                <c:pt idx="982">
                  <c:v>0.09</c:v>
                </c:pt>
                <c:pt idx="983">
                  <c:v>0.03</c:v>
                </c:pt>
                <c:pt idx="984">
                  <c:v>0.01</c:v>
                </c:pt>
                <c:pt idx="985">
                  <c:v>0.05</c:v>
                </c:pt>
                <c:pt idx="986">
                  <c:v>0.08</c:v>
                </c:pt>
                <c:pt idx="987">
                  <c:v>0.03</c:v>
                </c:pt>
                <c:pt idx="988">
                  <c:v>0.02</c:v>
                </c:pt>
                <c:pt idx="989">
                  <c:v>0.12</c:v>
                </c:pt>
                <c:pt idx="990">
                  <c:v>0.1</c:v>
                </c:pt>
                <c:pt idx="991">
                  <c:v>0.01</c:v>
                </c:pt>
                <c:pt idx="992">
                  <c:v>0.05</c:v>
                </c:pt>
                <c:pt idx="993">
                  <c:v>0.06</c:v>
                </c:pt>
                <c:pt idx="994">
                  <c:v>0.02</c:v>
                </c:pt>
                <c:pt idx="995">
                  <c:v>0.04</c:v>
                </c:pt>
                <c:pt idx="996">
                  <c:v>0.01</c:v>
                </c:pt>
                <c:pt idx="997">
                  <c:v>0.05</c:v>
                </c:pt>
                <c:pt idx="998">
                  <c:v>0.02</c:v>
                </c:pt>
                <c:pt idx="999">
                  <c:v>0.12</c:v>
                </c:pt>
                <c:pt idx="1000">
                  <c:v>0.1</c:v>
                </c:pt>
                <c:pt idx="1001">
                  <c:v>0.04</c:v>
                </c:pt>
                <c:pt idx="1002">
                  <c:v>0.01</c:v>
                </c:pt>
                <c:pt idx="1003">
                  <c:v>0.08</c:v>
                </c:pt>
                <c:pt idx="1004">
                  <c:v>0.02</c:v>
                </c:pt>
                <c:pt idx="1005">
                  <c:v>0.1</c:v>
                </c:pt>
                <c:pt idx="1006">
                  <c:v>0.05</c:v>
                </c:pt>
                <c:pt idx="1007">
                  <c:v>0.03</c:v>
                </c:pt>
                <c:pt idx="1008">
                  <c:v>0.03</c:v>
                </c:pt>
                <c:pt idx="1009">
                  <c:v>0.02</c:v>
                </c:pt>
                <c:pt idx="1010">
                  <c:v>0.02</c:v>
                </c:pt>
                <c:pt idx="1011">
                  <c:v>0.04</c:v>
                </c:pt>
                <c:pt idx="1012">
                  <c:v>0.04</c:v>
                </c:pt>
                <c:pt idx="1013">
                  <c:v>0.03</c:v>
                </c:pt>
                <c:pt idx="1014">
                  <c:v>0.03</c:v>
                </c:pt>
                <c:pt idx="1015">
                  <c:v>0.08</c:v>
                </c:pt>
                <c:pt idx="1016">
                  <c:v>0.01</c:v>
                </c:pt>
                <c:pt idx="1017">
                  <c:v>0.04</c:v>
                </c:pt>
                <c:pt idx="1018">
                  <c:v>0.01</c:v>
                </c:pt>
                <c:pt idx="1019">
                  <c:v>0.06</c:v>
                </c:pt>
                <c:pt idx="1020">
                  <c:v>0.01</c:v>
                </c:pt>
                <c:pt idx="1021">
                  <c:v>0.08</c:v>
                </c:pt>
                <c:pt idx="1022">
                  <c:v>0.06</c:v>
                </c:pt>
                <c:pt idx="1023">
                  <c:v>0.03</c:v>
                </c:pt>
                <c:pt idx="1024">
                  <c:v>0.03</c:v>
                </c:pt>
                <c:pt idx="1025">
                  <c:v>0.01</c:v>
                </c:pt>
                <c:pt idx="1026">
                  <c:v>0.35</c:v>
                </c:pt>
                <c:pt idx="1027">
                  <c:v>0.04</c:v>
                </c:pt>
                <c:pt idx="1028">
                  <c:v>0.01</c:v>
                </c:pt>
                <c:pt idx="1029">
                  <c:v>0.03</c:v>
                </c:pt>
                <c:pt idx="1030">
                  <c:v>0.04</c:v>
                </c:pt>
                <c:pt idx="1031">
                  <c:v>0.05</c:v>
                </c:pt>
                <c:pt idx="1032">
                  <c:v>0.02</c:v>
                </c:pt>
                <c:pt idx="1033">
                  <c:v>0.02</c:v>
                </c:pt>
                <c:pt idx="1034">
                  <c:v>0.01</c:v>
                </c:pt>
                <c:pt idx="1035">
                  <c:v>0.03</c:v>
                </c:pt>
                <c:pt idx="1036">
                  <c:v>0.05</c:v>
                </c:pt>
                <c:pt idx="1037">
                  <c:v>0.02</c:v>
                </c:pt>
                <c:pt idx="1038">
                  <c:v>0.04</c:v>
                </c:pt>
                <c:pt idx="1039">
                  <c:v>0.03</c:v>
                </c:pt>
                <c:pt idx="1040">
                  <c:v>0.03</c:v>
                </c:pt>
                <c:pt idx="1041">
                  <c:v>7.0000000000000007E-2</c:v>
                </c:pt>
                <c:pt idx="1042">
                  <c:v>0.03</c:v>
                </c:pt>
                <c:pt idx="1043">
                  <c:v>0.04</c:v>
                </c:pt>
                <c:pt idx="1044">
                  <c:v>0.02</c:v>
                </c:pt>
                <c:pt idx="1045">
                  <c:v>0.01</c:v>
                </c:pt>
                <c:pt idx="1046">
                  <c:v>7.0000000000000007E-2</c:v>
                </c:pt>
                <c:pt idx="1047">
                  <c:v>0.02</c:v>
                </c:pt>
                <c:pt idx="1048">
                  <c:v>0.03</c:v>
                </c:pt>
                <c:pt idx="1049">
                  <c:v>0.01</c:v>
                </c:pt>
                <c:pt idx="1050">
                  <c:v>0.09</c:v>
                </c:pt>
                <c:pt idx="1051">
                  <c:v>0.05</c:v>
                </c:pt>
                <c:pt idx="1052">
                  <c:v>0.04</c:v>
                </c:pt>
                <c:pt idx="1053">
                  <c:v>0.03</c:v>
                </c:pt>
                <c:pt idx="1054">
                  <c:v>0.01</c:v>
                </c:pt>
                <c:pt idx="1055">
                  <c:v>0.01</c:v>
                </c:pt>
                <c:pt idx="1056">
                  <c:v>0.03</c:v>
                </c:pt>
                <c:pt idx="1057">
                  <c:v>0.01</c:v>
                </c:pt>
                <c:pt idx="1058">
                  <c:v>0.01</c:v>
                </c:pt>
                <c:pt idx="1059">
                  <c:v>0.02</c:v>
                </c:pt>
                <c:pt idx="1060">
                  <c:v>0.03</c:v>
                </c:pt>
                <c:pt idx="1061">
                  <c:v>0.01</c:v>
                </c:pt>
                <c:pt idx="1062">
                  <c:v>0.04</c:v>
                </c:pt>
                <c:pt idx="1063">
                  <c:v>0.01</c:v>
                </c:pt>
                <c:pt idx="1064">
                  <c:v>0.04</c:v>
                </c:pt>
                <c:pt idx="1065">
                  <c:v>0.01</c:v>
                </c:pt>
                <c:pt idx="1066">
                  <c:v>0.02</c:v>
                </c:pt>
                <c:pt idx="1067">
                  <c:v>0.02</c:v>
                </c:pt>
                <c:pt idx="1068">
                  <c:v>0.03</c:v>
                </c:pt>
                <c:pt idx="1069">
                  <c:v>0.17</c:v>
                </c:pt>
                <c:pt idx="1070">
                  <c:v>0.04</c:v>
                </c:pt>
                <c:pt idx="1071">
                  <c:v>0.01</c:v>
                </c:pt>
                <c:pt idx="1072">
                  <c:v>0.04</c:v>
                </c:pt>
                <c:pt idx="1073">
                  <c:v>0.01</c:v>
                </c:pt>
                <c:pt idx="1074">
                  <c:v>0.04</c:v>
                </c:pt>
                <c:pt idx="1075">
                  <c:v>0.02</c:v>
                </c:pt>
                <c:pt idx="1076">
                  <c:v>0.04</c:v>
                </c:pt>
                <c:pt idx="1077">
                  <c:v>0.03</c:v>
                </c:pt>
                <c:pt idx="1078">
                  <c:v>0.05</c:v>
                </c:pt>
                <c:pt idx="1079">
                  <c:v>0.04</c:v>
                </c:pt>
                <c:pt idx="1080">
                  <c:v>0.03</c:v>
                </c:pt>
                <c:pt idx="1081">
                  <c:v>0.02</c:v>
                </c:pt>
                <c:pt idx="1082">
                  <c:v>7.0000000000000007E-2</c:v>
                </c:pt>
                <c:pt idx="1083">
                  <c:v>0.01</c:v>
                </c:pt>
                <c:pt idx="1084">
                  <c:v>0.02</c:v>
                </c:pt>
                <c:pt idx="1085">
                  <c:v>0.01</c:v>
                </c:pt>
                <c:pt idx="1086">
                  <c:v>0.01</c:v>
                </c:pt>
                <c:pt idx="1087">
                  <c:v>0.09</c:v>
                </c:pt>
                <c:pt idx="1088">
                  <c:v>0.02</c:v>
                </c:pt>
                <c:pt idx="1089">
                  <c:v>0.06</c:v>
                </c:pt>
                <c:pt idx="1090">
                  <c:v>0.09</c:v>
                </c:pt>
                <c:pt idx="1091">
                  <c:v>0.02</c:v>
                </c:pt>
                <c:pt idx="1092">
                  <c:v>0.05</c:v>
                </c:pt>
                <c:pt idx="1093">
                  <c:v>0.02</c:v>
                </c:pt>
                <c:pt idx="1094">
                  <c:v>0.01</c:v>
                </c:pt>
                <c:pt idx="1095">
                  <c:v>0.03</c:v>
                </c:pt>
                <c:pt idx="1096">
                  <c:v>0.02</c:v>
                </c:pt>
                <c:pt idx="1097">
                  <c:v>0.08</c:v>
                </c:pt>
                <c:pt idx="1098">
                  <c:v>0.01</c:v>
                </c:pt>
                <c:pt idx="1099">
                  <c:v>0.06</c:v>
                </c:pt>
                <c:pt idx="1100">
                  <c:v>0.06</c:v>
                </c:pt>
                <c:pt idx="1101">
                  <c:v>0.04</c:v>
                </c:pt>
                <c:pt idx="1102">
                  <c:v>0.01</c:v>
                </c:pt>
                <c:pt idx="1103">
                  <c:v>0.06</c:v>
                </c:pt>
                <c:pt idx="1104">
                  <c:v>0.01</c:v>
                </c:pt>
                <c:pt idx="1105">
                  <c:v>0.02</c:v>
                </c:pt>
                <c:pt idx="1106">
                  <c:v>0.05</c:v>
                </c:pt>
                <c:pt idx="1107">
                  <c:v>0.02</c:v>
                </c:pt>
                <c:pt idx="1108">
                  <c:v>0.05</c:v>
                </c:pt>
                <c:pt idx="1109">
                  <c:v>0.02</c:v>
                </c:pt>
                <c:pt idx="1110">
                  <c:v>0.05</c:v>
                </c:pt>
                <c:pt idx="1111">
                  <c:v>0.02</c:v>
                </c:pt>
                <c:pt idx="1112">
                  <c:v>0.16</c:v>
                </c:pt>
                <c:pt idx="1113">
                  <c:v>0.03</c:v>
                </c:pt>
                <c:pt idx="1114">
                  <c:v>0.02</c:v>
                </c:pt>
                <c:pt idx="1115">
                  <c:v>0.08</c:v>
                </c:pt>
                <c:pt idx="1116">
                  <c:v>7.0000000000000007E-2</c:v>
                </c:pt>
                <c:pt idx="1117">
                  <c:v>0.06</c:v>
                </c:pt>
                <c:pt idx="1118">
                  <c:v>0.06</c:v>
                </c:pt>
                <c:pt idx="1119">
                  <c:v>0.02</c:v>
                </c:pt>
                <c:pt idx="1120">
                  <c:v>0.04</c:v>
                </c:pt>
                <c:pt idx="1121">
                  <c:v>0.05</c:v>
                </c:pt>
                <c:pt idx="1122">
                  <c:v>0.02</c:v>
                </c:pt>
                <c:pt idx="1123">
                  <c:v>0.16</c:v>
                </c:pt>
                <c:pt idx="1124">
                  <c:v>0.02</c:v>
                </c:pt>
                <c:pt idx="1125">
                  <c:v>0.14000000000000001</c:v>
                </c:pt>
                <c:pt idx="1126">
                  <c:v>7.0000000000000007E-2</c:v>
                </c:pt>
                <c:pt idx="1127">
                  <c:v>0.02</c:v>
                </c:pt>
                <c:pt idx="1128">
                  <c:v>0.04</c:v>
                </c:pt>
                <c:pt idx="1129">
                  <c:v>0.08</c:v>
                </c:pt>
                <c:pt idx="1130">
                  <c:v>0.02</c:v>
                </c:pt>
                <c:pt idx="1131">
                  <c:v>0.03</c:v>
                </c:pt>
                <c:pt idx="1132">
                  <c:v>0.01</c:v>
                </c:pt>
                <c:pt idx="1133">
                  <c:v>0.01</c:v>
                </c:pt>
                <c:pt idx="1134">
                  <c:v>0.01</c:v>
                </c:pt>
                <c:pt idx="1135">
                  <c:v>0.03</c:v>
                </c:pt>
                <c:pt idx="1136">
                  <c:v>0.03</c:v>
                </c:pt>
                <c:pt idx="1137">
                  <c:v>0.01</c:v>
                </c:pt>
                <c:pt idx="1138">
                  <c:v>0.01</c:v>
                </c:pt>
                <c:pt idx="1139">
                  <c:v>0.03</c:v>
                </c:pt>
                <c:pt idx="1140">
                  <c:v>0.01</c:v>
                </c:pt>
                <c:pt idx="1141">
                  <c:v>0.1</c:v>
                </c:pt>
                <c:pt idx="1142">
                  <c:v>0.01</c:v>
                </c:pt>
                <c:pt idx="1143">
                  <c:v>0.04</c:v>
                </c:pt>
                <c:pt idx="1144">
                  <c:v>0.08</c:v>
                </c:pt>
                <c:pt idx="1145">
                  <c:v>0.05</c:v>
                </c:pt>
                <c:pt idx="1146">
                  <c:v>0.03</c:v>
                </c:pt>
                <c:pt idx="1147">
                  <c:v>0.06</c:v>
                </c:pt>
                <c:pt idx="1148">
                  <c:v>0.02</c:v>
                </c:pt>
                <c:pt idx="1149">
                  <c:v>0.02</c:v>
                </c:pt>
                <c:pt idx="1150">
                  <c:v>0.04</c:v>
                </c:pt>
                <c:pt idx="1151">
                  <c:v>0.02</c:v>
                </c:pt>
                <c:pt idx="1152">
                  <c:v>0.01</c:v>
                </c:pt>
                <c:pt idx="1153">
                  <c:v>0.01</c:v>
                </c:pt>
                <c:pt idx="1154">
                  <c:v>0.03</c:v>
                </c:pt>
                <c:pt idx="1155">
                  <c:v>0.02</c:v>
                </c:pt>
                <c:pt idx="1156">
                  <c:v>0.01</c:v>
                </c:pt>
                <c:pt idx="1157">
                  <c:v>0.02</c:v>
                </c:pt>
                <c:pt idx="1158">
                  <c:v>0.04</c:v>
                </c:pt>
                <c:pt idx="1159">
                  <c:v>0.04</c:v>
                </c:pt>
                <c:pt idx="1160">
                  <c:v>0.06</c:v>
                </c:pt>
                <c:pt idx="1161">
                  <c:v>0.02</c:v>
                </c:pt>
                <c:pt idx="1162">
                  <c:v>0.03</c:v>
                </c:pt>
                <c:pt idx="1163">
                  <c:v>0.01</c:v>
                </c:pt>
                <c:pt idx="1164">
                  <c:v>0.02</c:v>
                </c:pt>
                <c:pt idx="1165">
                  <c:v>0.01</c:v>
                </c:pt>
                <c:pt idx="1166">
                  <c:v>7.0000000000000007E-2</c:v>
                </c:pt>
                <c:pt idx="1167">
                  <c:v>0.05</c:v>
                </c:pt>
                <c:pt idx="1168">
                  <c:v>0.01</c:v>
                </c:pt>
                <c:pt idx="1169">
                  <c:v>0.03</c:v>
                </c:pt>
                <c:pt idx="1170">
                  <c:v>0.01</c:v>
                </c:pt>
                <c:pt idx="1171">
                  <c:v>0.01</c:v>
                </c:pt>
                <c:pt idx="1172">
                  <c:v>0.02</c:v>
                </c:pt>
                <c:pt idx="1173">
                  <c:v>0.01</c:v>
                </c:pt>
                <c:pt idx="1174">
                  <c:v>0.01</c:v>
                </c:pt>
                <c:pt idx="1175">
                  <c:v>0.05</c:v>
                </c:pt>
                <c:pt idx="1176">
                  <c:v>0.03</c:v>
                </c:pt>
                <c:pt idx="1177">
                  <c:v>0.02</c:v>
                </c:pt>
                <c:pt idx="1178">
                  <c:v>0.01</c:v>
                </c:pt>
                <c:pt idx="1179">
                  <c:v>0.01</c:v>
                </c:pt>
                <c:pt idx="1180">
                  <c:v>0.04</c:v>
                </c:pt>
                <c:pt idx="1181">
                  <c:v>0.03</c:v>
                </c:pt>
                <c:pt idx="1182">
                  <c:v>0.01</c:v>
                </c:pt>
                <c:pt idx="1183">
                  <c:v>0.02</c:v>
                </c:pt>
                <c:pt idx="1184">
                  <c:v>0.02</c:v>
                </c:pt>
                <c:pt idx="1185">
                  <c:v>0.01</c:v>
                </c:pt>
                <c:pt idx="1186">
                  <c:v>0.01</c:v>
                </c:pt>
                <c:pt idx="1187">
                  <c:v>0.02</c:v>
                </c:pt>
                <c:pt idx="1188">
                  <c:v>0.02</c:v>
                </c:pt>
                <c:pt idx="1189">
                  <c:v>0.01</c:v>
                </c:pt>
                <c:pt idx="1190">
                  <c:v>0.03</c:v>
                </c:pt>
                <c:pt idx="1191">
                  <c:v>0.03</c:v>
                </c:pt>
                <c:pt idx="1192">
                  <c:v>0.01</c:v>
                </c:pt>
                <c:pt idx="1193">
                  <c:v>0.01</c:v>
                </c:pt>
                <c:pt idx="1194">
                  <c:v>0.01</c:v>
                </c:pt>
                <c:pt idx="1195">
                  <c:v>0.01</c:v>
                </c:pt>
                <c:pt idx="1196">
                  <c:v>0.02</c:v>
                </c:pt>
                <c:pt idx="1197">
                  <c:v>0.03</c:v>
                </c:pt>
                <c:pt idx="1198">
                  <c:v>0.03</c:v>
                </c:pt>
                <c:pt idx="1199">
                  <c:v>0.05</c:v>
                </c:pt>
                <c:pt idx="1200">
                  <c:v>0.02</c:v>
                </c:pt>
                <c:pt idx="1201">
                  <c:v>0.01</c:v>
                </c:pt>
                <c:pt idx="1202">
                  <c:v>0.01</c:v>
                </c:pt>
                <c:pt idx="1203">
                  <c:v>0.02</c:v>
                </c:pt>
                <c:pt idx="1204">
                  <c:v>0.01</c:v>
                </c:pt>
                <c:pt idx="1205">
                  <c:v>0.01</c:v>
                </c:pt>
                <c:pt idx="1206">
                  <c:v>0.05</c:v>
                </c:pt>
                <c:pt idx="1207">
                  <c:v>0.01</c:v>
                </c:pt>
                <c:pt idx="1208">
                  <c:v>0.02</c:v>
                </c:pt>
                <c:pt idx="1209">
                  <c:v>0.01</c:v>
                </c:pt>
                <c:pt idx="1210">
                  <c:v>0.03</c:v>
                </c:pt>
                <c:pt idx="1211">
                  <c:v>0.01</c:v>
                </c:pt>
                <c:pt idx="1212">
                  <c:v>0.01</c:v>
                </c:pt>
                <c:pt idx="1213">
                  <c:v>0.01</c:v>
                </c:pt>
                <c:pt idx="1214">
                  <c:v>0.03</c:v>
                </c:pt>
                <c:pt idx="1215">
                  <c:v>0.02</c:v>
                </c:pt>
                <c:pt idx="1216">
                  <c:v>0.03</c:v>
                </c:pt>
                <c:pt idx="1217">
                  <c:v>0.01</c:v>
                </c:pt>
                <c:pt idx="1218">
                  <c:v>0.02</c:v>
                </c:pt>
                <c:pt idx="1219">
                  <c:v>0.02</c:v>
                </c:pt>
                <c:pt idx="1220">
                  <c:v>0.01</c:v>
                </c:pt>
                <c:pt idx="1221">
                  <c:v>0.03</c:v>
                </c:pt>
                <c:pt idx="1222">
                  <c:v>0.01</c:v>
                </c:pt>
                <c:pt idx="1223">
                  <c:v>0.01</c:v>
                </c:pt>
                <c:pt idx="1224">
                  <c:v>0.01</c:v>
                </c:pt>
                <c:pt idx="1225">
                  <c:v>0.04</c:v>
                </c:pt>
                <c:pt idx="1226">
                  <c:v>0.01</c:v>
                </c:pt>
                <c:pt idx="122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invertIfNegative val="1"/>
            <c:bubble3D val="0"/>
            <c:spPr>
              <a:solidFill>
                <a:srgbClr val="00A097"/>
              </a:solidFill>
            </c:spPr>
            <c:extLst>
              <c:ext xmlns:c16="http://schemas.microsoft.com/office/drawing/2014/chart" uri="{C3380CC4-5D6E-409C-BE32-E72D297353CC}">
                <c16:uniqueId val="{000001A7-B1B9-4BDE-A581-DFBD1F6389AC}"/>
              </c:ext>
            </c:extLst>
          </c:dPt>
          <c:dPt>
            <c:idx val="211"/>
            <c:invertIfNegative val="1"/>
            <c:bubble3D val="0"/>
            <c:spPr>
              <a:solidFill>
                <a:srgbClr val="00A097"/>
              </a:solidFill>
            </c:spPr>
            <c:extLst>
              <c:ext xmlns:c16="http://schemas.microsoft.com/office/drawing/2014/chart" uri="{C3380CC4-5D6E-409C-BE32-E72D297353CC}">
                <c16:uniqueId val="{000001A9-B1B9-4BDE-A581-DFBD1F6389AC}"/>
              </c:ext>
            </c:extLst>
          </c:dPt>
          <c:dPt>
            <c:idx val="212"/>
            <c:invertIfNegative val="1"/>
            <c:bubble3D val="0"/>
            <c:spPr>
              <a:solidFill>
                <a:srgbClr val="00A097"/>
              </a:solidFill>
            </c:spPr>
            <c:extLst>
              <c:ext xmlns:c16="http://schemas.microsoft.com/office/drawing/2014/chart" uri="{C3380CC4-5D6E-409C-BE32-E72D297353CC}">
                <c16:uniqueId val="{000001AB-B1B9-4BDE-A581-DFBD1F6389AC}"/>
              </c:ext>
            </c:extLst>
          </c:dPt>
          <c:dPt>
            <c:idx val="213"/>
            <c:invertIfNegative val="1"/>
            <c:bubble3D val="0"/>
            <c:spPr>
              <a:solidFill>
                <a:srgbClr val="00A097"/>
              </a:solidFill>
            </c:spPr>
            <c:extLst>
              <c:ext xmlns:c16="http://schemas.microsoft.com/office/drawing/2014/chart" uri="{C3380CC4-5D6E-409C-BE32-E72D297353CC}">
                <c16:uniqueId val="{000001AD-B1B9-4BDE-A581-DFBD1F6389AC}"/>
              </c:ext>
            </c:extLst>
          </c:dPt>
          <c:dPt>
            <c:idx val="214"/>
            <c:invertIfNegative val="1"/>
            <c:bubble3D val="0"/>
            <c:spPr>
              <a:solidFill>
                <a:srgbClr val="00A097"/>
              </a:solidFill>
            </c:spPr>
            <c:extLst>
              <c:ext xmlns:c16="http://schemas.microsoft.com/office/drawing/2014/chart" uri="{C3380CC4-5D6E-409C-BE32-E72D297353CC}">
                <c16:uniqueId val="{000001AF-B1B9-4BDE-A581-DFBD1F6389AC}"/>
              </c:ext>
            </c:extLst>
          </c:dPt>
          <c:dPt>
            <c:idx val="215"/>
            <c:invertIfNegative val="1"/>
            <c:bubble3D val="0"/>
            <c:spPr>
              <a:solidFill>
                <a:srgbClr val="00A097"/>
              </a:solidFill>
            </c:spPr>
            <c:extLst>
              <c:ext xmlns:c16="http://schemas.microsoft.com/office/drawing/2014/chart" uri="{C3380CC4-5D6E-409C-BE32-E72D297353CC}">
                <c16:uniqueId val="{000001B1-B1B9-4BDE-A581-DFBD1F6389AC}"/>
              </c:ext>
            </c:extLst>
          </c:dPt>
          <c:dPt>
            <c:idx val="216"/>
            <c:invertIfNegative val="1"/>
            <c:bubble3D val="0"/>
            <c:spPr>
              <a:solidFill>
                <a:srgbClr val="00A097"/>
              </a:solidFill>
            </c:spPr>
            <c:extLst>
              <c:ext xmlns:c16="http://schemas.microsoft.com/office/drawing/2014/chart" uri="{C3380CC4-5D6E-409C-BE32-E72D297353CC}">
                <c16:uniqueId val="{000001B3-B1B9-4BDE-A581-DFBD1F6389AC}"/>
              </c:ext>
            </c:extLst>
          </c:dPt>
          <c:dPt>
            <c:idx val="217"/>
            <c:invertIfNegative val="1"/>
            <c:bubble3D val="0"/>
            <c:spPr>
              <a:solidFill>
                <a:srgbClr val="00A097"/>
              </a:solidFill>
            </c:spPr>
            <c:extLst>
              <c:ext xmlns:c16="http://schemas.microsoft.com/office/drawing/2014/chart" uri="{C3380CC4-5D6E-409C-BE32-E72D297353CC}">
                <c16:uniqueId val="{000001B5-B1B9-4BDE-A581-DFBD1F6389AC}"/>
              </c:ext>
            </c:extLst>
          </c:dPt>
          <c:dPt>
            <c:idx val="218"/>
            <c:invertIfNegative val="1"/>
            <c:bubble3D val="0"/>
            <c:spPr>
              <a:solidFill>
                <a:srgbClr val="00A097"/>
              </a:solidFill>
            </c:spPr>
            <c:extLst>
              <c:ext xmlns:c16="http://schemas.microsoft.com/office/drawing/2014/chart" uri="{C3380CC4-5D6E-409C-BE32-E72D297353CC}">
                <c16:uniqueId val="{000001B7-B1B9-4BDE-A581-DFBD1F6389AC}"/>
              </c:ext>
            </c:extLst>
          </c:dPt>
          <c:dPt>
            <c:idx val="219"/>
            <c:invertIfNegative val="1"/>
            <c:bubble3D val="0"/>
            <c:spPr>
              <a:solidFill>
                <a:srgbClr val="00A097"/>
              </a:solidFill>
            </c:spPr>
            <c:extLst>
              <c:ext xmlns:c16="http://schemas.microsoft.com/office/drawing/2014/chart" uri="{C3380CC4-5D6E-409C-BE32-E72D297353CC}">
                <c16:uniqueId val="{000001B9-B1B9-4BDE-A581-DFBD1F6389AC}"/>
              </c:ext>
            </c:extLst>
          </c:dPt>
          <c:dPt>
            <c:idx val="220"/>
            <c:invertIfNegative val="1"/>
            <c:bubble3D val="0"/>
            <c:spPr>
              <a:solidFill>
                <a:srgbClr val="00A097"/>
              </a:solidFill>
            </c:spPr>
            <c:extLst>
              <c:ext xmlns:c16="http://schemas.microsoft.com/office/drawing/2014/chart" uri="{C3380CC4-5D6E-409C-BE32-E72D297353CC}">
                <c16:uniqueId val="{000001BB-B1B9-4BDE-A581-DFBD1F6389AC}"/>
              </c:ext>
            </c:extLst>
          </c:dPt>
          <c:dPt>
            <c:idx val="221"/>
            <c:invertIfNegative val="1"/>
            <c:bubble3D val="0"/>
            <c:spPr>
              <a:solidFill>
                <a:srgbClr val="00A097"/>
              </a:solidFill>
            </c:spPr>
            <c:extLst>
              <c:ext xmlns:c16="http://schemas.microsoft.com/office/drawing/2014/chart" uri="{C3380CC4-5D6E-409C-BE32-E72D297353CC}">
                <c16:uniqueId val="{000001BD-B1B9-4BDE-A581-DFBD1F6389AC}"/>
              </c:ext>
            </c:extLst>
          </c:dPt>
          <c:dPt>
            <c:idx val="222"/>
            <c:invertIfNegative val="1"/>
            <c:bubble3D val="0"/>
            <c:spPr>
              <a:solidFill>
                <a:srgbClr val="00A097"/>
              </a:solidFill>
            </c:spPr>
            <c:extLst>
              <c:ext xmlns:c16="http://schemas.microsoft.com/office/drawing/2014/chart" uri="{C3380CC4-5D6E-409C-BE32-E72D297353CC}">
                <c16:uniqueId val="{000001BF-B1B9-4BDE-A581-DFBD1F6389AC}"/>
              </c:ext>
            </c:extLst>
          </c:dPt>
          <c:dPt>
            <c:idx val="223"/>
            <c:invertIfNegative val="1"/>
            <c:bubble3D val="0"/>
            <c:spPr>
              <a:solidFill>
                <a:srgbClr val="00A097"/>
              </a:solidFill>
            </c:spPr>
            <c:extLst>
              <c:ext xmlns:c16="http://schemas.microsoft.com/office/drawing/2014/chart" uri="{C3380CC4-5D6E-409C-BE32-E72D297353CC}">
                <c16:uniqueId val="{000001C1-B1B9-4BDE-A581-DFBD1F6389AC}"/>
              </c:ext>
            </c:extLst>
          </c:dPt>
          <c:dPt>
            <c:idx val="224"/>
            <c:invertIfNegative val="1"/>
            <c:bubble3D val="0"/>
            <c:spPr>
              <a:solidFill>
                <a:srgbClr val="00A097"/>
              </a:solidFill>
            </c:spPr>
            <c:extLst>
              <c:ext xmlns:c16="http://schemas.microsoft.com/office/drawing/2014/chart" uri="{C3380CC4-5D6E-409C-BE32-E72D297353CC}">
                <c16:uniqueId val="{000001C3-B1B9-4BDE-A581-DFBD1F6389AC}"/>
              </c:ext>
            </c:extLst>
          </c:dPt>
          <c:dPt>
            <c:idx val="225"/>
            <c:invertIfNegative val="1"/>
            <c:bubble3D val="0"/>
            <c:spPr>
              <a:solidFill>
                <a:srgbClr val="00A097"/>
              </a:solidFill>
            </c:spPr>
            <c:extLst>
              <c:ext xmlns:c16="http://schemas.microsoft.com/office/drawing/2014/chart" uri="{C3380CC4-5D6E-409C-BE32-E72D297353CC}">
                <c16:uniqueId val="{000001C5-B1B9-4BDE-A581-DFBD1F6389AC}"/>
              </c:ext>
            </c:extLst>
          </c:dPt>
          <c:dPt>
            <c:idx val="226"/>
            <c:invertIfNegative val="1"/>
            <c:bubble3D val="0"/>
            <c:spPr>
              <a:solidFill>
                <a:srgbClr val="00A097"/>
              </a:solidFill>
            </c:spPr>
            <c:extLst>
              <c:ext xmlns:c16="http://schemas.microsoft.com/office/drawing/2014/chart" uri="{C3380CC4-5D6E-409C-BE32-E72D297353CC}">
                <c16:uniqueId val="{000001C7-B1B9-4BDE-A581-DFBD1F6389AC}"/>
              </c:ext>
            </c:extLst>
          </c:dPt>
          <c:dPt>
            <c:idx val="227"/>
            <c:invertIfNegative val="1"/>
            <c:bubble3D val="0"/>
            <c:spPr>
              <a:solidFill>
                <a:srgbClr val="00A097"/>
              </a:solidFill>
            </c:spPr>
            <c:extLst>
              <c:ext xmlns:c16="http://schemas.microsoft.com/office/drawing/2014/chart" uri="{C3380CC4-5D6E-409C-BE32-E72D297353CC}">
                <c16:uniqueId val="{000001C9-B1B9-4BDE-A581-DFBD1F6389AC}"/>
              </c:ext>
            </c:extLst>
          </c:dPt>
          <c:dPt>
            <c:idx val="228"/>
            <c:invertIfNegative val="1"/>
            <c:bubble3D val="0"/>
            <c:spPr>
              <a:solidFill>
                <a:srgbClr val="00A097"/>
              </a:solidFill>
            </c:spPr>
            <c:extLst>
              <c:ext xmlns:c16="http://schemas.microsoft.com/office/drawing/2014/chart" uri="{C3380CC4-5D6E-409C-BE32-E72D297353CC}">
                <c16:uniqueId val="{000001CB-B1B9-4BDE-A581-DFBD1F6389AC}"/>
              </c:ext>
            </c:extLst>
          </c:dPt>
          <c:dPt>
            <c:idx val="229"/>
            <c:invertIfNegative val="1"/>
            <c:bubble3D val="0"/>
            <c:spPr>
              <a:solidFill>
                <a:srgbClr val="00A097"/>
              </a:solidFill>
            </c:spPr>
            <c:extLst>
              <c:ext xmlns:c16="http://schemas.microsoft.com/office/drawing/2014/chart" uri="{C3380CC4-5D6E-409C-BE32-E72D297353CC}">
                <c16:uniqueId val="{000001CD-B1B9-4BDE-A581-DFBD1F6389AC}"/>
              </c:ext>
            </c:extLst>
          </c:dPt>
          <c:dPt>
            <c:idx val="230"/>
            <c:invertIfNegative val="1"/>
            <c:bubble3D val="0"/>
            <c:spPr>
              <a:solidFill>
                <a:srgbClr val="00A097"/>
              </a:solidFill>
            </c:spPr>
            <c:extLst>
              <c:ext xmlns:c16="http://schemas.microsoft.com/office/drawing/2014/chart" uri="{C3380CC4-5D6E-409C-BE32-E72D297353CC}">
                <c16:uniqueId val="{000001CF-B1B9-4BDE-A581-DFBD1F6389AC}"/>
              </c:ext>
            </c:extLst>
          </c:dPt>
          <c:dPt>
            <c:idx val="231"/>
            <c:invertIfNegative val="1"/>
            <c:bubble3D val="0"/>
            <c:spPr>
              <a:solidFill>
                <a:srgbClr val="00A097"/>
              </a:solidFill>
            </c:spPr>
            <c:extLst>
              <c:ext xmlns:c16="http://schemas.microsoft.com/office/drawing/2014/chart" uri="{C3380CC4-5D6E-409C-BE32-E72D297353CC}">
                <c16:uniqueId val="{000001D1-B1B9-4BDE-A581-DFBD1F6389AC}"/>
              </c:ext>
            </c:extLst>
          </c:dPt>
          <c:dPt>
            <c:idx val="232"/>
            <c:invertIfNegative val="1"/>
            <c:bubble3D val="0"/>
            <c:spPr>
              <a:solidFill>
                <a:srgbClr val="00A097"/>
              </a:solidFill>
            </c:spPr>
            <c:extLst>
              <c:ext xmlns:c16="http://schemas.microsoft.com/office/drawing/2014/chart" uri="{C3380CC4-5D6E-409C-BE32-E72D297353CC}">
                <c16:uniqueId val="{000001D3-B1B9-4BDE-A581-DFBD1F6389AC}"/>
              </c:ext>
            </c:extLst>
          </c:dPt>
          <c:dPt>
            <c:idx val="233"/>
            <c:invertIfNegative val="1"/>
            <c:bubble3D val="0"/>
            <c:spPr>
              <a:solidFill>
                <a:srgbClr val="00A097"/>
              </a:solidFill>
            </c:spPr>
            <c:extLst>
              <c:ext xmlns:c16="http://schemas.microsoft.com/office/drawing/2014/chart" uri="{C3380CC4-5D6E-409C-BE32-E72D297353CC}">
                <c16:uniqueId val="{000001D5-B1B9-4BDE-A581-DFBD1F6389AC}"/>
              </c:ext>
            </c:extLst>
          </c:dPt>
          <c:dPt>
            <c:idx val="234"/>
            <c:invertIfNegative val="1"/>
            <c:bubble3D val="0"/>
            <c:spPr>
              <a:solidFill>
                <a:srgbClr val="00A097"/>
              </a:solidFill>
            </c:spPr>
            <c:extLst>
              <c:ext xmlns:c16="http://schemas.microsoft.com/office/drawing/2014/chart" uri="{C3380CC4-5D6E-409C-BE32-E72D297353CC}">
                <c16:uniqueId val="{000001D7-B1B9-4BDE-A581-DFBD1F6389AC}"/>
              </c:ext>
            </c:extLst>
          </c:dPt>
          <c:dPt>
            <c:idx val="235"/>
            <c:invertIfNegative val="1"/>
            <c:bubble3D val="0"/>
            <c:spPr>
              <a:solidFill>
                <a:srgbClr val="00A097"/>
              </a:solidFill>
            </c:spPr>
            <c:extLst>
              <c:ext xmlns:c16="http://schemas.microsoft.com/office/drawing/2014/chart" uri="{C3380CC4-5D6E-409C-BE32-E72D297353CC}">
                <c16:uniqueId val="{000001D9-B1B9-4BDE-A581-DFBD1F6389AC}"/>
              </c:ext>
            </c:extLst>
          </c:dPt>
          <c:dPt>
            <c:idx val="236"/>
            <c:invertIfNegative val="1"/>
            <c:bubble3D val="0"/>
            <c:spPr>
              <a:solidFill>
                <a:srgbClr val="00A097"/>
              </a:solidFill>
            </c:spPr>
            <c:extLst>
              <c:ext xmlns:c16="http://schemas.microsoft.com/office/drawing/2014/chart" uri="{C3380CC4-5D6E-409C-BE32-E72D297353CC}">
                <c16:uniqueId val="{000001DB-B1B9-4BDE-A581-DFBD1F6389AC}"/>
              </c:ext>
            </c:extLst>
          </c:dPt>
          <c:dPt>
            <c:idx val="237"/>
            <c:invertIfNegative val="1"/>
            <c:bubble3D val="0"/>
            <c:spPr>
              <a:solidFill>
                <a:srgbClr val="00A097"/>
              </a:solidFill>
            </c:spPr>
            <c:extLst>
              <c:ext xmlns:c16="http://schemas.microsoft.com/office/drawing/2014/chart" uri="{C3380CC4-5D6E-409C-BE32-E72D297353CC}">
                <c16:uniqueId val="{000001DD-B1B9-4BDE-A581-DFBD1F6389AC}"/>
              </c:ext>
            </c:extLst>
          </c:dPt>
          <c:dPt>
            <c:idx val="238"/>
            <c:invertIfNegative val="1"/>
            <c:bubble3D val="0"/>
            <c:spPr>
              <a:solidFill>
                <a:srgbClr val="00A097"/>
              </a:solidFill>
            </c:spPr>
            <c:extLst>
              <c:ext xmlns:c16="http://schemas.microsoft.com/office/drawing/2014/chart" uri="{C3380CC4-5D6E-409C-BE32-E72D297353CC}">
                <c16:uniqueId val="{000001DF-B1B9-4BDE-A581-DFBD1F6389AC}"/>
              </c:ext>
            </c:extLst>
          </c:dPt>
          <c:dPt>
            <c:idx val="239"/>
            <c:invertIfNegative val="1"/>
            <c:bubble3D val="0"/>
            <c:spPr>
              <a:solidFill>
                <a:srgbClr val="00A097"/>
              </a:solidFill>
            </c:spPr>
            <c:extLst>
              <c:ext xmlns:c16="http://schemas.microsoft.com/office/drawing/2014/chart" uri="{C3380CC4-5D6E-409C-BE32-E72D297353CC}">
                <c16:uniqueId val="{000001E1-B1B9-4BDE-A581-DFBD1F6389AC}"/>
              </c:ext>
            </c:extLst>
          </c:dPt>
          <c:dPt>
            <c:idx val="240"/>
            <c:invertIfNegative val="1"/>
            <c:bubble3D val="0"/>
            <c:spPr>
              <a:solidFill>
                <a:srgbClr val="00A097"/>
              </a:solidFill>
            </c:spPr>
            <c:extLst>
              <c:ext xmlns:c16="http://schemas.microsoft.com/office/drawing/2014/chart" uri="{C3380CC4-5D6E-409C-BE32-E72D297353CC}">
                <c16:uniqueId val="{000001E3-B1B9-4BDE-A581-DFBD1F6389AC}"/>
              </c:ext>
            </c:extLst>
          </c:dPt>
          <c:dPt>
            <c:idx val="241"/>
            <c:invertIfNegative val="1"/>
            <c:bubble3D val="0"/>
            <c:spPr>
              <a:solidFill>
                <a:srgbClr val="00A097"/>
              </a:solidFill>
            </c:spPr>
            <c:extLst>
              <c:ext xmlns:c16="http://schemas.microsoft.com/office/drawing/2014/chart" uri="{C3380CC4-5D6E-409C-BE32-E72D297353CC}">
                <c16:uniqueId val="{000001E5-B1B9-4BDE-A581-DFBD1F6389AC}"/>
              </c:ext>
            </c:extLst>
          </c:dPt>
          <c:dPt>
            <c:idx val="242"/>
            <c:invertIfNegative val="1"/>
            <c:bubble3D val="0"/>
            <c:spPr>
              <a:solidFill>
                <a:srgbClr val="00A097"/>
              </a:solidFill>
            </c:spPr>
            <c:extLst>
              <c:ext xmlns:c16="http://schemas.microsoft.com/office/drawing/2014/chart" uri="{C3380CC4-5D6E-409C-BE32-E72D297353CC}">
                <c16:uniqueId val="{000001E7-B1B9-4BDE-A581-DFBD1F6389AC}"/>
              </c:ext>
            </c:extLst>
          </c:dPt>
          <c:dPt>
            <c:idx val="243"/>
            <c:invertIfNegative val="1"/>
            <c:bubble3D val="0"/>
            <c:spPr>
              <a:solidFill>
                <a:srgbClr val="00A097"/>
              </a:solidFill>
            </c:spPr>
            <c:extLst>
              <c:ext xmlns:c16="http://schemas.microsoft.com/office/drawing/2014/chart" uri="{C3380CC4-5D6E-409C-BE32-E72D297353CC}">
                <c16:uniqueId val="{000001E9-B1B9-4BDE-A581-DFBD1F6389AC}"/>
              </c:ext>
            </c:extLst>
          </c:dPt>
          <c:dPt>
            <c:idx val="244"/>
            <c:invertIfNegative val="1"/>
            <c:bubble3D val="0"/>
            <c:spPr>
              <a:solidFill>
                <a:srgbClr val="00A097"/>
              </a:solidFill>
            </c:spPr>
            <c:extLst>
              <c:ext xmlns:c16="http://schemas.microsoft.com/office/drawing/2014/chart" uri="{C3380CC4-5D6E-409C-BE32-E72D297353CC}">
                <c16:uniqueId val="{000001EB-B1B9-4BDE-A581-DFBD1F6389AC}"/>
              </c:ext>
            </c:extLst>
          </c:dPt>
          <c:dPt>
            <c:idx val="245"/>
            <c:invertIfNegative val="1"/>
            <c:bubble3D val="0"/>
            <c:spPr>
              <a:solidFill>
                <a:srgbClr val="00A097"/>
              </a:solidFill>
            </c:spPr>
            <c:extLst>
              <c:ext xmlns:c16="http://schemas.microsoft.com/office/drawing/2014/chart" uri="{C3380CC4-5D6E-409C-BE32-E72D297353CC}">
                <c16:uniqueId val="{000001ED-B1B9-4BDE-A581-DFBD1F6389AC}"/>
              </c:ext>
            </c:extLst>
          </c:dPt>
          <c:dPt>
            <c:idx val="246"/>
            <c:invertIfNegative val="1"/>
            <c:bubble3D val="0"/>
            <c:spPr>
              <a:solidFill>
                <a:srgbClr val="00A097"/>
              </a:solidFill>
            </c:spPr>
            <c:extLst>
              <c:ext xmlns:c16="http://schemas.microsoft.com/office/drawing/2014/chart" uri="{C3380CC4-5D6E-409C-BE32-E72D297353CC}">
                <c16:uniqueId val="{000001EF-B1B9-4BDE-A581-DFBD1F6389AC}"/>
              </c:ext>
            </c:extLst>
          </c:dPt>
          <c:dPt>
            <c:idx val="247"/>
            <c:invertIfNegative val="1"/>
            <c:bubble3D val="0"/>
            <c:spPr>
              <a:solidFill>
                <a:srgbClr val="00A097"/>
              </a:solidFill>
            </c:spPr>
            <c:extLst>
              <c:ext xmlns:c16="http://schemas.microsoft.com/office/drawing/2014/chart" uri="{C3380CC4-5D6E-409C-BE32-E72D297353CC}">
                <c16:uniqueId val="{000001F1-B1B9-4BDE-A581-DFBD1F6389AC}"/>
              </c:ext>
            </c:extLst>
          </c:dPt>
          <c:dPt>
            <c:idx val="248"/>
            <c:invertIfNegative val="1"/>
            <c:bubble3D val="0"/>
            <c:spPr>
              <a:solidFill>
                <a:srgbClr val="00A097"/>
              </a:solidFill>
            </c:spPr>
            <c:extLst>
              <c:ext xmlns:c16="http://schemas.microsoft.com/office/drawing/2014/chart" uri="{C3380CC4-5D6E-409C-BE32-E72D297353CC}">
                <c16:uniqueId val="{000001F3-B1B9-4BDE-A581-DFBD1F6389AC}"/>
              </c:ext>
            </c:extLst>
          </c:dPt>
          <c:dPt>
            <c:idx val="249"/>
            <c:invertIfNegative val="1"/>
            <c:bubble3D val="0"/>
            <c:spPr>
              <a:solidFill>
                <a:srgbClr val="00A097"/>
              </a:solidFill>
            </c:spPr>
            <c:extLst>
              <c:ext xmlns:c16="http://schemas.microsoft.com/office/drawing/2014/chart" uri="{C3380CC4-5D6E-409C-BE32-E72D297353CC}">
                <c16:uniqueId val="{000001F5-B1B9-4BDE-A581-DFBD1F6389AC}"/>
              </c:ext>
            </c:extLst>
          </c:dPt>
          <c:dPt>
            <c:idx val="250"/>
            <c:invertIfNegative val="1"/>
            <c:bubble3D val="0"/>
            <c:spPr>
              <a:solidFill>
                <a:srgbClr val="00A097"/>
              </a:solidFill>
            </c:spPr>
            <c:extLst>
              <c:ext xmlns:c16="http://schemas.microsoft.com/office/drawing/2014/chart" uri="{C3380CC4-5D6E-409C-BE32-E72D297353CC}">
                <c16:uniqueId val="{000001F7-B1B9-4BDE-A581-DFBD1F6389AC}"/>
              </c:ext>
            </c:extLst>
          </c:dPt>
          <c:dPt>
            <c:idx val="251"/>
            <c:invertIfNegative val="1"/>
            <c:bubble3D val="0"/>
            <c:spPr>
              <a:solidFill>
                <a:srgbClr val="00A097"/>
              </a:solidFill>
            </c:spPr>
            <c:extLst>
              <c:ext xmlns:c16="http://schemas.microsoft.com/office/drawing/2014/chart" uri="{C3380CC4-5D6E-409C-BE32-E72D297353CC}">
                <c16:uniqueId val="{000001F9-B1B9-4BDE-A581-DFBD1F6389AC}"/>
              </c:ext>
            </c:extLst>
          </c:dPt>
          <c:dPt>
            <c:idx val="252"/>
            <c:invertIfNegative val="1"/>
            <c:bubble3D val="0"/>
            <c:spPr>
              <a:solidFill>
                <a:srgbClr val="00A097"/>
              </a:solidFill>
            </c:spPr>
            <c:extLst>
              <c:ext xmlns:c16="http://schemas.microsoft.com/office/drawing/2014/chart" uri="{C3380CC4-5D6E-409C-BE32-E72D297353CC}">
                <c16:uniqueId val="{000001FB-B1B9-4BDE-A581-DFBD1F6389AC}"/>
              </c:ext>
            </c:extLst>
          </c:dPt>
          <c:dPt>
            <c:idx val="253"/>
            <c:invertIfNegative val="1"/>
            <c:bubble3D val="0"/>
            <c:spPr>
              <a:solidFill>
                <a:srgbClr val="00A097"/>
              </a:solidFill>
            </c:spPr>
            <c:extLst>
              <c:ext xmlns:c16="http://schemas.microsoft.com/office/drawing/2014/chart" uri="{C3380CC4-5D6E-409C-BE32-E72D297353CC}">
                <c16:uniqueId val="{000001FD-B1B9-4BDE-A581-DFBD1F6389AC}"/>
              </c:ext>
            </c:extLst>
          </c:dPt>
          <c:dPt>
            <c:idx val="254"/>
            <c:invertIfNegative val="1"/>
            <c:bubble3D val="0"/>
            <c:spPr>
              <a:solidFill>
                <a:srgbClr val="00A097"/>
              </a:solidFill>
            </c:spPr>
            <c:extLst>
              <c:ext xmlns:c16="http://schemas.microsoft.com/office/drawing/2014/chart" uri="{C3380CC4-5D6E-409C-BE32-E72D297353CC}">
                <c16:uniqueId val="{000001FF-B1B9-4BDE-A581-DFBD1F6389AC}"/>
              </c:ext>
            </c:extLst>
          </c:dPt>
          <c:dPt>
            <c:idx val="255"/>
            <c:invertIfNegative val="1"/>
            <c:bubble3D val="0"/>
            <c:spPr>
              <a:solidFill>
                <a:srgbClr val="00A097"/>
              </a:solidFill>
            </c:spPr>
            <c:extLst>
              <c:ext xmlns:c16="http://schemas.microsoft.com/office/drawing/2014/chart" uri="{C3380CC4-5D6E-409C-BE32-E72D297353CC}">
                <c16:uniqueId val="{00000201-B1B9-4BDE-A581-DFBD1F6389AC}"/>
              </c:ext>
            </c:extLst>
          </c:dPt>
          <c:dPt>
            <c:idx val="256"/>
            <c:invertIfNegative val="1"/>
            <c:bubble3D val="0"/>
            <c:spPr>
              <a:solidFill>
                <a:srgbClr val="00A097"/>
              </a:solidFill>
            </c:spPr>
            <c:extLst>
              <c:ext xmlns:c16="http://schemas.microsoft.com/office/drawing/2014/chart" uri="{C3380CC4-5D6E-409C-BE32-E72D297353CC}">
                <c16:uniqueId val="{00000203-B1B9-4BDE-A581-DFBD1F6389AC}"/>
              </c:ext>
            </c:extLst>
          </c:dPt>
          <c:dPt>
            <c:idx val="257"/>
            <c:invertIfNegative val="1"/>
            <c:bubble3D val="0"/>
            <c:spPr>
              <a:solidFill>
                <a:srgbClr val="00A097"/>
              </a:solidFill>
            </c:spPr>
            <c:extLst>
              <c:ext xmlns:c16="http://schemas.microsoft.com/office/drawing/2014/chart" uri="{C3380CC4-5D6E-409C-BE32-E72D297353CC}">
                <c16:uniqueId val="{00000205-B1B9-4BDE-A581-DFBD1F6389AC}"/>
              </c:ext>
            </c:extLst>
          </c:dPt>
          <c:dPt>
            <c:idx val="258"/>
            <c:invertIfNegative val="1"/>
            <c:bubble3D val="0"/>
            <c:spPr>
              <a:solidFill>
                <a:srgbClr val="00A097"/>
              </a:solidFill>
            </c:spPr>
            <c:extLst>
              <c:ext xmlns:c16="http://schemas.microsoft.com/office/drawing/2014/chart" uri="{C3380CC4-5D6E-409C-BE32-E72D297353CC}">
                <c16:uniqueId val="{00000207-B1B9-4BDE-A581-DFBD1F6389AC}"/>
              </c:ext>
            </c:extLst>
          </c:dPt>
          <c:dPt>
            <c:idx val="259"/>
            <c:invertIfNegative val="1"/>
            <c:bubble3D val="0"/>
            <c:spPr>
              <a:solidFill>
                <a:srgbClr val="00A097"/>
              </a:solidFill>
            </c:spPr>
            <c:extLst>
              <c:ext xmlns:c16="http://schemas.microsoft.com/office/drawing/2014/chart" uri="{C3380CC4-5D6E-409C-BE32-E72D297353CC}">
                <c16:uniqueId val="{00000209-B1B9-4BDE-A581-DFBD1F6389AC}"/>
              </c:ext>
            </c:extLst>
          </c:dPt>
          <c:dPt>
            <c:idx val="260"/>
            <c:invertIfNegative val="1"/>
            <c:bubble3D val="0"/>
            <c:spPr>
              <a:solidFill>
                <a:srgbClr val="00A097"/>
              </a:solidFill>
            </c:spPr>
            <c:extLst>
              <c:ext xmlns:c16="http://schemas.microsoft.com/office/drawing/2014/chart" uri="{C3380CC4-5D6E-409C-BE32-E72D297353CC}">
                <c16:uniqueId val="{0000020B-B1B9-4BDE-A581-DFBD1F6389AC}"/>
              </c:ext>
            </c:extLst>
          </c:dPt>
          <c:dPt>
            <c:idx val="261"/>
            <c:invertIfNegative val="1"/>
            <c:bubble3D val="0"/>
            <c:spPr>
              <a:solidFill>
                <a:srgbClr val="00A097"/>
              </a:solidFill>
            </c:spPr>
            <c:extLst>
              <c:ext xmlns:c16="http://schemas.microsoft.com/office/drawing/2014/chart" uri="{C3380CC4-5D6E-409C-BE32-E72D297353CC}">
                <c16:uniqueId val="{0000020D-B1B9-4BDE-A581-DFBD1F6389AC}"/>
              </c:ext>
            </c:extLst>
          </c:dPt>
          <c:dPt>
            <c:idx val="262"/>
            <c:invertIfNegative val="1"/>
            <c:bubble3D val="0"/>
            <c:spPr>
              <a:solidFill>
                <a:srgbClr val="00A097"/>
              </a:solidFill>
            </c:spPr>
            <c:extLst>
              <c:ext xmlns:c16="http://schemas.microsoft.com/office/drawing/2014/chart" uri="{C3380CC4-5D6E-409C-BE32-E72D297353CC}">
                <c16:uniqueId val="{0000020F-B1B9-4BDE-A581-DFBD1F6389AC}"/>
              </c:ext>
            </c:extLst>
          </c:dPt>
          <c:dPt>
            <c:idx val="263"/>
            <c:invertIfNegative val="1"/>
            <c:bubble3D val="0"/>
            <c:spPr>
              <a:solidFill>
                <a:srgbClr val="00A097"/>
              </a:solidFill>
            </c:spPr>
            <c:extLst>
              <c:ext xmlns:c16="http://schemas.microsoft.com/office/drawing/2014/chart" uri="{C3380CC4-5D6E-409C-BE32-E72D297353CC}">
                <c16:uniqueId val="{00000211-B1B9-4BDE-A581-DFBD1F6389AC}"/>
              </c:ext>
            </c:extLst>
          </c:dPt>
          <c:dPt>
            <c:idx val="264"/>
            <c:invertIfNegative val="1"/>
            <c:bubble3D val="0"/>
            <c:spPr>
              <a:solidFill>
                <a:srgbClr val="00A097"/>
              </a:solidFill>
            </c:spPr>
            <c:extLst>
              <c:ext xmlns:c16="http://schemas.microsoft.com/office/drawing/2014/chart" uri="{C3380CC4-5D6E-409C-BE32-E72D297353CC}">
                <c16:uniqueId val="{00000213-B1B9-4BDE-A581-DFBD1F6389AC}"/>
              </c:ext>
            </c:extLst>
          </c:dPt>
          <c:dPt>
            <c:idx val="265"/>
            <c:invertIfNegative val="1"/>
            <c:bubble3D val="0"/>
            <c:spPr>
              <a:solidFill>
                <a:srgbClr val="00A097"/>
              </a:solidFill>
            </c:spPr>
            <c:extLst>
              <c:ext xmlns:c16="http://schemas.microsoft.com/office/drawing/2014/chart" uri="{C3380CC4-5D6E-409C-BE32-E72D297353CC}">
                <c16:uniqueId val="{00000215-B1B9-4BDE-A581-DFBD1F6389AC}"/>
              </c:ext>
            </c:extLst>
          </c:dPt>
          <c:dPt>
            <c:idx val="266"/>
            <c:invertIfNegative val="1"/>
            <c:bubble3D val="0"/>
            <c:spPr>
              <a:solidFill>
                <a:srgbClr val="00A097"/>
              </a:solidFill>
            </c:spPr>
            <c:extLst>
              <c:ext xmlns:c16="http://schemas.microsoft.com/office/drawing/2014/chart" uri="{C3380CC4-5D6E-409C-BE32-E72D297353CC}">
                <c16:uniqueId val="{00000217-B1B9-4BDE-A581-DFBD1F6389AC}"/>
              </c:ext>
            </c:extLst>
          </c:dPt>
          <c:dPt>
            <c:idx val="267"/>
            <c:invertIfNegative val="1"/>
            <c:bubble3D val="0"/>
            <c:spPr>
              <a:solidFill>
                <a:srgbClr val="7ECAC4"/>
              </a:solidFill>
            </c:spPr>
            <c:extLst>
              <c:ext xmlns:c16="http://schemas.microsoft.com/office/drawing/2014/chart" uri="{C3380CC4-5D6E-409C-BE32-E72D297353CC}">
                <c16:uniqueId val="{00000219-B1B9-4BDE-A581-DFBD1F6389AC}"/>
              </c:ext>
            </c:extLst>
          </c:dPt>
          <c:dPt>
            <c:idx val="268"/>
            <c:invertIfNegative val="1"/>
            <c:bubble3D val="0"/>
            <c:spPr>
              <a:solidFill>
                <a:srgbClr val="7ECAC4"/>
              </a:solidFill>
            </c:spPr>
            <c:extLst>
              <c:ext xmlns:c16="http://schemas.microsoft.com/office/drawing/2014/chart" uri="{C3380CC4-5D6E-409C-BE32-E72D297353CC}">
                <c16:uniqueId val="{0000021B-B1B9-4BDE-A581-DFBD1F6389AC}"/>
              </c:ext>
            </c:extLst>
          </c:dPt>
          <c:dPt>
            <c:idx val="269"/>
            <c:invertIfNegative val="1"/>
            <c:bubble3D val="0"/>
            <c:spPr>
              <a:solidFill>
                <a:srgbClr val="7ECAC4"/>
              </a:solidFill>
            </c:spPr>
            <c:extLst>
              <c:ext xmlns:c16="http://schemas.microsoft.com/office/drawing/2014/chart" uri="{C3380CC4-5D6E-409C-BE32-E72D297353CC}">
                <c16:uniqueId val="{0000021D-B1B9-4BDE-A581-DFBD1F6389AC}"/>
              </c:ext>
            </c:extLst>
          </c:dPt>
          <c:dPt>
            <c:idx val="270"/>
            <c:invertIfNegative val="1"/>
            <c:bubble3D val="0"/>
            <c:spPr>
              <a:solidFill>
                <a:srgbClr val="7ECAC4"/>
              </a:solidFill>
            </c:spPr>
            <c:extLst>
              <c:ext xmlns:c16="http://schemas.microsoft.com/office/drawing/2014/chart" uri="{C3380CC4-5D6E-409C-BE32-E72D297353CC}">
                <c16:uniqueId val="{0000021F-B1B9-4BDE-A581-DFBD1F6389AC}"/>
              </c:ext>
            </c:extLst>
          </c:dPt>
          <c:dPt>
            <c:idx val="271"/>
            <c:invertIfNegative val="1"/>
            <c:bubble3D val="0"/>
            <c:spPr>
              <a:solidFill>
                <a:srgbClr val="7ECAC4"/>
              </a:solidFill>
            </c:spPr>
            <c:extLst>
              <c:ext xmlns:c16="http://schemas.microsoft.com/office/drawing/2014/chart" uri="{C3380CC4-5D6E-409C-BE32-E72D297353CC}">
                <c16:uniqueId val="{00000221-B1B9-4BDE-A581-DFBD1F6389AC}"/>
              </c:ext>
            </c:extLst>
          </c:dPt>
          <c:dPt>
            <c:idx val="272"/>
            <c:invertIfNegative val="1"/>
            <c:bubble3D val="0"/>
            <c:spPr>
              <a:solidFill>
                <a:srgbClr val="7ECAC4"/>
              </a:solidFill>
            </c:spPr>
            <c:extLst>
              <c:ext xmlns:c16="http://schemas.microsoft.com/office/drawing/2014/chart" uri="{C3380CC4-5D6E-409C-BE32-E72D297353CC}">
                <c16:uniqueId val="{00000223-B1B9-4BDE-A581-DFBD1F6389AC}"/>
              </c:ext>
            </c:extLst>
          </c:dPt>
          <c:dPt>
            <c:idx val="273"/>
            <c:invertIfNegative val="1"/>
            <c:bubble3D val="0"/>
            <c:spPr>
              <a:solidFill>
                <a:srgbClr val="7ECAC4"/>
              </a:solidFill>
            </c:spPr>
            <c:extLst>
              <c:ext xmlns:c16="http://schemas.microsoft.com/office/drawing/2014/chart" uri="{C3380CC4-5D6E-409C-BE32-E72D297353CC}">
                <c16:uniqueId val="{00000225-B1B9-4BDE-A581-DFBD1F6389AC}"/>
              </c:ext>
            </c:extLst>
          </c:dPt>
          <c:dPt>
            <c:idx val="274"/>
            <c:invertIfNegative val="1"/>
            <c:bubble3D val="0"/>
            <c:spPr>
              <a:solidFill>
                <a:srgbClr val="7ECAC4"/>
              </a:solidFill>
            </c:spPr>
            <c:extLst>
              <c:ext xmlns:c16="http://schemas.microsoft.com/office/drawing/2014/chart" uri="{C3380CC4-5D6E-409C-BE32-E72D297353CC}">
                <c16:uniqueId val="{00000227-B1B9-4BDE-A581-DFBD1F6389AC}"/>
              </c:ext>
            </c:extLst>
          </c:dPt>
          <c:dPt>
            <c:idx val="275"/>
            <c:invertIfNegative val="1"/>
            <c:bubble3D val="0"/>
            <c:spPr>
              <a:solidFill>
                <a:srgbClr val="7ECAC4"/>
              </a:solidFill>
            </c:spPr>
            <c:extLst>
              <c:ext xmlns:c16="http://schemas.microsoft.com/office/drawing/2014/chart" uri="{C3380CC4-5D6E-409C-BE32-E72D297353CC}">
                <c16:uniqueId val="{00000229-B1B9-4BDE-A581-DFBD1F6389AC}"/>
              </c:ext>
            </c:extLst>
          </c:dPt>
          <c:dPt>
            <c:idx val="276"/>
            <c:invertIfNegative val="1"/>
            <c:bubble3D val="0"/>
            <c:spPr>
              <a:solidFill>
                <a:srgbClr val="7ECAC4"/>
              </a:solidFill>
            </c:spPr>
            <c:extLst>
              <c:ext xmlns:c16="http://schemas.microsoft.com/office/drawing/2014/chart" uri="{C3380CC4-5D6E-409C-BE32-E72D297353CC}">
                <c16:uniqueId val="{0000022B-B1B9-4BDE-A581-DFBD1F6389AC}"/>
              </c:ext>
            </c:extLst>
          </c:dPt>
          <c:dPt>
            <c:idx val="277"/>
            <c:invertIfNegative val="1"/>
            <c:bubble3D val="0"/>
            <c:spPr>
              <a:solidFill>
                <a:srgbClr val="7ECAC4"/>
              </a:solidFill>
            </c:spPr>
            <c:extLst>
              <c:ext xmlns:c16="http://schemas.microsoft.com/office/drawing/2014/chart" uri="{C3380CC4-5D6E-409C-BE32-E72D297353CC}">
                <c16:uniqueId val="{0000022D-B1B9-4BDE-A581-DFBD1F6389AC}"/>
              </c:ext>
            </c:extLst>
          </c:dPt>
          <c:dPt>
            <c:idx val="278"/>
            <c:invertIfNegative val="1"/>
            <c:bubble3D val="0"/>
            <c:spPr>
              <a:solidFill>
                <a:srgbClr val="7ECAC4"/>
              </a:solidFill>
            </c:spPr>
            <c:extLst>
              <c:ext xmlns:c16="http://schemas.microsoft.com/office/drawing/2014/chart" uri="{C3380CC4-5D6E-409C-BE32-E72D297353CC}">
                <c16:uniqueId val="{0000022F-B1B9-4BDE-A581-DFBD1F6389AC}"/>
              </c:ext>
            </c:extLst>
          </c:dPt>
          <c:dPt>
            <c:idx val="279"/>
            <c:invertIfNegative val="1"/>
            <c:bubble3D val="0"/>
            <c:spPr>
              <a:solidFill>
                <a:srgbClr val="7ECAC4"/>
              </a:solidFill>
            </c:spPr>
            <c:extLst>
              <c:ext xmlns:c16="http://schemas.microsoft.com/office/drawing/2014/chart" uri="{C3380CC4-5D6E-409C-BE32-E72D297353CC}">
                <c16:uniqueId val="{00000231-B1B9-4BDE-A581-DFBD1F6389AC}"/>
              </c:ext>
            </c:extLst>
          </c:dPt>
          <c:dPt>
            <c:idx val="280"/>
            <c:invertIfNegative val="1"/>
            <c:bubble3D val="0"/>
            <c:spPr>
              <a:solidFill>
                <a:srgbClr val="7ECAC4"/>
              </a:solidFill>
            </c:spPr>
            <c:extLst>
              <c:ext xmlns:c16="http://schemas.microsoft.com/office/drawing/2014/chart" uri="{C3380CC4-5D6E-409C-BE32-E72D297353CC}">
                <c16:uniqueId val="{00000233-B1B9-4BDE-A581-DFBD1F6389AC}"/>
              </c:ext>
            </c:extLst>
          </c:dPt>
          <c:dPt>
            <c:idx val="281"/>
            <c:invertIfNegative val="1"/>
            <c:bubble3D val="0"/>
            <c:spPr>
              <a:solidFill>
                <a:srgbClr val="7ECAC4"/>
              </a:solidFill>
            </c:spPr>
            <c:extLst>
              <c:ext xmlns:c16="http://schemas.microsoft.com/office/drawing/2014/chart" uri="{C3380CC4-5D6E-409C-BE32-E72D297353CC}">
                <c16:uniqueId val="{00000235-B1B9-4BDE-A581-DFBD1F6389AC}"/>
              </c:ext>
            </c:extLst>
          </c:dPt>
          <c:dPt>
            <c:idx val="282"/>
            <c:invertIfNegative val="1"/>
            <c:bubble3D val="0"/>
            <c:spPr>
              <a:solidFill>
                <a:srgbClr val="7ECAC4"/>
              </a:solidFill>
            </c:spPr>
            <c:extLst>
              <c:ext xmlns:c16="http://schemas.microsoft.com/office/drawing/2014/chart" uri="{C3380CC4-5D6E-409C-BE32-E72D297353CC}">
                <c16:uniqueId val="{00000237-B1B9-4BDE-A581-DFBD1F6389AC}"/>
              </c:ext>
            </c:extLst>
          </c:dPt>
          <c:dPt>
            <c:idx val="283"/>
            <c:invertIfNegative val="1"/>
            <c:bubble3D val="0"/>
            <c:spPr>
              <a:solidFill>
                <a:srgbClr val="7ECAC4"/>
              </a:solidFill>
            </c:spPr>
            <c:extLst>
              <c:ext xmlns:c16="http://schemas.microsoft.com/office/drawing/2014/chart" uri="{C3380CC4-5D6E-409C-BE32-E72D297353CC}">
                <c16:uniqueId val="{00000239-B1B9-4BDE-A581-DFBD1F6389AC}"/>
              </c:ext>
            </c:extLst>
          </c:dPt>
          <c:dPt>
            <c:idx val="284"/>
            <c:invertIfNegative val="1"/>
            <c:bubble3D val="0"/>
            <c:spPr>
              <a:solidFill>
                <a:srgbClr val="7ECAC4"/>
              </a:solidFill>
            </c:spPr>
            <c:extLst>
              <c:ext xmlns:c16="http://schemas.microsoft.com/office/drawing/2014/chart" uri="{C3380CC4-5D6E-409C-BE32-E72D297353CC}">
                <c16:uniqueId val="{0000023B-B1B9-4BDE-A581-DFBD1F6389AC}"/>
              </c:ext>
            </c:extLst>
          </c:dPt>
          <c:dPt>
            <c:idx val="285"/>
            <c:invertIfNegative val="1"/>
            <c:bubble3D val="0"/>
            <c:spPr>
              <a:solidFill>
                <a:srgbClr val="7ECAC4"/>
              </a:solidFill>
            </c:spPr>
            <c:extLst>
              <c:ext xmlns:c16="http://schemas.microsoft.com/office/drawing/2014/chart" uri="{C3380CC4-5D6E-409C-BE32-E72D297353CC}">
                <c16:uniqueId val="{0000023D-B1B9-4BDE-A581-DFBD1F6389AC}"/>
              </c:ext>
            </c:extLst>
          </c:dPt>
          <c:dPt>
            <c:idx val="286"/>
            <c:invertIfNegative val="1"/>
            <c:bubble3D val="0"/>
            <c:spPr>
              <a:solidFill>
                <a:srgbClr val="7ECAC4"/>
              </a:solidFill>
            </c:spPr>
            <c:extLst>
              <c:ext xmlns:c16="http://schemas.microsoft.com/office/drawing/2014/chart" uri="{C3380CC4-5D6E-409C-BE32-E72D297353CC}">
                <c16:uniqueId val="{0000023F-B1B9-4BDE-A581-DFBD1F6389AC}"/>
              </c:ext>
            </c:extLst>
          </c:dPt>
          <c:dPt>
            <c:idx val="287"/>
            <c:invertIfNegative val="1"/>
            <c:bubble3D val="0"/>
            <c:spPr>
              <a:solidFill>
                <a:srgbClr val="7ECAC4"/>
              </a:solidFill>
            </c:spPr>
            <c:extLst>
              <c:ext xmlns:c16="http://schemas.microsoft.com/office/drawing/2014/chart" uri="{C3380CC4-5D6E-409C-BE32-E72D297353CC}">
                <c16:uniqueId val="{00000241-B1B9-4BDE-A581-DFBD1F6389AC}"/>
              </c:ext>
            </c:extLst>
          </c:dPt>
          <c:dPt>
            <c:idx val="288"/>
            <c:invertIfNegative val="1"/>
            <c:bubble3D val="0"/>
            <c:spPr>
              <a:solidFill>
                <a:srgbClr val="7ECAC4"/>
              </a:solidFill>
            </c:spPr>
            <c:extLst>
              <c:ext xmlns:c16="http://schemas.microsoft.com/office/drawing/2014/chart" uri="{C3380CC4-5D6E-409C-BE32-E72D297353CC}">
                <c16:uniqueId val="{00000243-B1B9-4BDE-A581-DFBD1F6389AC}"/>
              </c:ext>
            </c:extLst>
          </c:dPt>
          <c:dPt>
            <c:idx val="289"/>
            <c:invertIfNegative val="1"/>
            <c:bubble3D val="0"/>
            <c:spPr>
              <a:solidFill>
                <a:srgbClr val="7ECAC4"/>
              </a:solidFill>
            </c:spPr>
            <c:extLst>
              <c:ext xmlns:c16="http://schemas.microsoft.com/office/drawing/2014/chart" uri="{C3380CC4-5D6E-409C-BE32-E72D297353CC}">
                <c16:uniqueId val="{00000245-B1B9-4BDE-A581-DFBD1F6389AC}"/>
              </c:ext>
            </c:extLst>
          </c:dPt>
          <c:dPt>
            <c:idx val="290"/>
            <c:invertIfNegative val="1"/>
            <c:bubble3D val="0"/>
            <c:spPr>
              <a:solidFill>
                <a:srgbClr val="7ECAC4"/>
              </a:solidFill>
            </c:spPr>
            <c:extLst>
              <c:ext xmlns:c16="http://schemas.microsoft.com/office/drawing/2014/chart" uri="{C3380CC4-5D6E-409C-BE32-E72D297353CC}">
                <c16:uniqueId val="{00000247-B1B9-4BDE-A581-DFBD1F6389AC}"/>
              </c:ext>
            </c:extLst>
          </c:dPt>
          <c:dPt>
            <c:idx val="291"/>
            <c:invertIfNegative val="1"/>
            <c:bubble3D val="0"/>
            <c:spPr>
              <a:solidFill>
                <a:srgbClr val="7ECAC4"/>
              </a:solidFill>
            </c:spPr>
            <c:extLst>
              <c:ext xmlns:c16="http://schemas.microsoft.com/office/drawing/2014/chart" uri="{C3380CC4-5D6E-409C-BE32-E72D297353CC}">
                <c16:uniqueId val="{00000249-B1B9-4BDE-A581-DFBD1F6389AC}"/>
              </c:ext>
            </c:extLst>
          </c:dPt>
          <c:dPt>
            <c:idx val="292"/>
            <c:invertIfNegative val="1"/>
            <c:bubble3D val="0"/>
            <c:spPr>
              <a:solidFill>
                <a:srgbClr val="7ECAC4"/>
              </a:solidFill>
            </c:spPr>
            <c:extLst>
              <c:ext xmlns:c16="http://schemas.microsoft.com/office/drawing/2014/chart" uri="{C3380CC4-5D6E-409C-BE32-E72D297353CC}">
                <c16:uniqueId val="{0000024B-B1B9-4BDE-A581-DFBD1F6389AC}"/>
              </c:ext>
            </c:extLst>
          </c:dPt>
          <c:dPt>
            <c:idx val="293"/>
            <c:invertIfNegative val="1"/>
            <c:bubble3D val="0"/>
            <c:spPr>
              <a:solidFill>
                <a:srgbClr val="7ECAC4"/>
              </a:solidFill>
            </c:spPr>
            <c:extLst>
              <c:ext xmlns:c16="http://schemas.microsoft.com/office/drawing/2014/chart" uri="{C3380CC4-5D6E-409C-BE32-E72D297353CC}">
                <c16:uniqueId val="{0000024D-B1B9-4BDE-A581-DFBD1F6389AC}"/>
              </c:ext>
            </c:extLst>
          </c:dPt>
          <c:dPt>
            <c:idx val="294"/>
            <c:invertIfNegative val="1"/>
            <c:bubble3D val="0"/>
            <c:spPr>
              <a:solidFill>
                <a:srgbClr val="7ECAC4"/>
              </a:solidFill>
            </c:spPr>
            <c:extLst>
              <c:ext xmlns:c16="http://schemas.microsoft.com/office/drawing/2014/chart" uri="{C3380CC4-5D6E-409C-BE32-E72D297353CC}">
                <c16:uniqueId val="{0000024F-B1B9-4BDE-A581-DFBD1F6389AC}"/>
              </c:ext>
            </c:extLst>
          </c:dPt>
          <c:dPt>
            <c:idx val="295"/>
            <c:invertIfNegative val="1"/>
            <c:bubble3D val="0"/>
            <c:spPr>
              <a:solidFill>
                <a:srgbClr val="7ECAC4"/>
              </a:solidFill>
            </c:spPr>
            <c:extLst>
              <c:ext xmlns:c16="http://schemas.microsoft.com/office/drawing/2014/chart" uri="{C3380CC4-5D6E-409C-BE32-E72D297353CC}">
                <c16:uniqueId val="{00000251-B1B9-4BDE-A581-DFBD1F6389AC}"/>
              </c:ext>
            </c:extLst>
          </c:dPt>
          <c:dPt>
            <c:idx val="296"/>
            <c:invertIfNegative val="1"/>
            <c:bubble3D val="0"/>
            <c:spPr>
              <a:solidFill>
                <a:srgbClr val="7ECAC4"/>
              </a:solidFill>
            </c:spPr>
            <c:extLst>
              <c:ext xmlns:c16="http://schemas.microsoft.com/office/drawing/2014/chart" uri="{C3380CC4-5D6E-409C-BE32-E72D297353CC}">
                <c16:uniqueId val="{00000253-B1B9-4BDE-A581-DFBD1F6389AC}"/>
              </c:ext>
            </c:extLst>
          </c:dPt>
          <c:dPt>
            <c:idx val="297"/>
            <c:invertIfNegative val="1"/>
            <c:bubble3D val="0"/>
            <c:spPr>
              <a:solidFill>
                <a:srgbClr val="7ECAC4"/>
              </a:solidFill>
            </c:spPr>
            <c:extLst>
              <c:ext xmlns:c16="http://schemas.microsoft.com/office/drawing/2014/chart" uri="{C3380CC4-5D6E-409C-BE32-E72D297353CC}">
                <c16:uniqueId val="{00000255-B1B9-4BDE-A581-DFBD1F6389AC}"/>
              </c:ext>
            </c:extLst>
          </c:dPt>
          <c:dPt>
            <c:idx val="298"/>
            <c:invertIfNegative val="1"/>
            <c:bubble3D val="0"/>
            <c:spPr>
              <a:solidFill>
                <a:srgbClr val="7ECAC4"/>
              </a:solidFill>
            </c:spPr>
            <c:extLst>
              <c:ext xmlns:c16="http://schemas.microsoft.com/office/drawing/2014/chart" uri="{C3380CC4-5D6E-409C-BE32-E72D297353CC}">
                <c16:uniqueId val="{00000257-B1B9-4BDE-A581-DFBD1F6389AC}"/>
              </c:ext>
            </c:extLst>
          </c:dPt>
          <c:dPt>
            <c:idx val="299"/>
            <c:invertIfNegative val="1"/>
            <c:bubble3D val="0"/>
            <c:spPr>
              <a:solidFill>
                <a:srgbClr val="7ECAC4"/>
              </a:solidFill>
            </c:spPr>
            <c:extLst>
              <c:ext xmlns:c16="http://schemas.microsoft.com/office/drawing/2014/chart" uri="{C3380CC4-5D6E-409C-BE32-E72D297353CC}">
                <c16:uniqueId val="{00000259-B1B9-4BDE-A581-DFBD1F6389AC}"/>
              </c:ext>
            </c:extLst>
          </c:dPt>
          <c:dPt>
            <c:idx val="300"/>
            <c:invertIfNegative val="1"/>
            <c:bubble3D val="0"/>
            <c:spPr>
              <a:solidFill>
                <a:srgbClr val="7ECAC4"/>
              </a:solidFill>
            </c:spPr>
            <c:extLst>
              <c:ext xmlns:c16="http://schemas.microsoft.com/office/drawing/2014/chart" uri="{C3380CC4-5D6E-409C-BE32-E72D297353CC}">
                <c16:uniqueId val="{0000025B-B1B9-4BDE-A581-DFBD1F6389AC}"/>
              </c:ext>
            </c:extLst>
          </c:dPt>
          <c:dPt>
            <c:idx val="301"/>
            <c:invertIfNegative val="1"/>
            <c:bubble3D val="0"/>
            <c:spPr>
              <a:solidFill>
                <a:srgbClr val="7ECAC4"/>
              </a:solidFill>
            </c:spPr>
            <c:extLst>
              <c:ext xmlns:c16="http://schemas.microsoft.com/office/drawing/2014/chart" uri="{C3380CC4-5D6E-409C-BE32-E72D297353CC}">
                <c16:uniqueId val="{0000025D-B1B9-4BDE-A581-DFBD1F6389AC}"/>
              </c:ext>
            </c:extLst>
          </c:dPt>
          <c:dPt>
            <c:idx val="302"/>
            <c:invertIfNegative val="1"/>
            <c:bubble3D val="0"/>
            <c:spPr>
              <a:solidFill>
                <a:srgbClr val="7ECAC4"/>
              </a:solidFill>
            </c:spPr>
            <c:extLst>
              <c:ext xmlns:c16="http://schemas.microsoft.com/office/drawing/2014/chart" uri="{C3380CC4-5D6E-409C-BE32-E72D297353CC}">
                <c16:uniqueId val="{0000025F-B1B9-4BDE-A581-DFBD1F6389AC}"/>
              </c:ext>
            </c:extLst>
          </c:dPt>
          <c:dPt>
            <c:idx val="303"/>
            <c:invertIfNegative val="1"/>
            <c:bubble3D val="0"/>
            <c:spPr>
              <a:solidFill>
                <a:srgbClr val="7ECAC4"/>
              </a:solidFill>
            </c:spPr>
            <c:extLst>
              <c:ext xmlns:c16="http://schemas.microsoft.com/office/drawing/2014/chart" uri="{C3380CC4-5D6E-409C-BE32-E72D297353CC}">
                <c16:uniqueId val="{00000261-B1B9-4BDE-A581-DFBD1F6389AC}"/>
              </c:ext>
            </c:extLst>
          </c:dPt>
          <c:dPt>
            <c:idx val="304"/>
            <c:invertIfNegative val="1"/>
            <c:bubble3D val="0"/>
            <c:spPr>
              <a:solidFill>
                <a:srgbClr val="7ECAC4"/>
              </a:solidFill>
            </c:spPr>
            <c:extLst>
              <c:ext xmlns:c16="http://schemas.microsoft.com/office/drawing/2014/chart" uri="{C3380CC4-5D6E-409C-BE32-E72D297353CC}">
                <c16:uniqueId val="{00000263-B1B9-4BDE-A581-DFBD1F6389AC}"/>
              </c:ext>
            </c:extLst>
          </c:dPt>
          <c:dPt>
            <c:idx val="305"/>
            <c:invertIfNegative val="1"/>
            <c:bubble3D val="0"/>
            <c:spPr>
              <a:solidFill>
                <a:srgbClr val="7ECAC4"/>
              </a:solidFill>
            </c:spPr>
            <c:extLst>
              <c:ext xmlns:c16="http://schemas.microsoft.com/office/drawing/2014/chart" uri="{C3380CC4-5D6E-409C-BE32-E72D297353CC}">
                <c16:uniqueId val="{00000265-B1B9-4BDE-A581-DFBD1F6389AC}"/>
              </c:ext>
            </c:extLst>
          </c:dPt>
          <c:dPt>
            <c:idx val="306"/>
            <c:invertIfNegative val="1"/>
            <c:bubble3D val="0"/>
            <c:spPr>
              <a:solidFill>
                <a:srgbClr val="7ECAC4"/>
              </a:solidFill>
            </c:spPr>
            <c:extLst>
              <c:ext xmlns:c16="http://schemas.microsoft.com/office/drawing/2014/chart" uri="{C3380CC4-5D6E-409C-BE32-E72D297353CC}">
                <c16:uniqueId val="{00000267-B1B9-4BDE-A581-DFBD1F6389AC}"/>
              </c:ext>
            </c:extLst>
          </c:dPt>
          <c:dPt>
            <c:idx val="307"/>
            <c:invertIfNegative val="1"/>
            <c:bubble3D val="0"/>
            <c:spPr>
              <a:solidFill>
                <a:srgbClr val="7ECAC4"/>
              </a:solidFill>
            </c:spPr>
            <c:extLst>
              <c:ext xmlns:c16="http://schemas.microsoft.com/office/drawing/2014/chart" uri="{C3380CC4-5D6E-409C-BE32-E72D297353CC}">
                <c16:uniqueId val="{00000269-B1B9-4BDE-A581-DFBD1F6389AC}"/>
              </c:ext>
            </c:extLst>
          </c:dPt>
          <c:dPt>
            <c:idx val="308"/>
            <c:invertIfNegative val="1"/>
            <c:bubble3D val="0"/>
            <c:spPr>
              <a:solidFill>
                <a:srgbClr val="7ECAC4"/>
              </a:solidFill>
            </c:spPr>
            <c:extLst>
              <c:ext xmlns:c16="http://schemas.microsoft.com/office/drawing/2014/chart" uri="{C3380CC4-5D6E-409C-BE32-E72D297353CC}">
                <c16:uniqueId val="{0000026B-B1B9-4BDE-A581-DFBD1F6389AC}"/>
              </c:ext>
            </c:extLst>
          </c:dPt>
          <c:dPt>
            <c:idx val="309"/>
            <c:invertIfNegative val="1"/>
            <c:bubble3D val="0"/>
            <c:spPr>
              <a:solidFill>
                <a:srgbClr val="7ECAC4"/>
              </a:solidFill>
            </c:spPr>
            <c:extLst>
              <c:ext xmlns:c16="http://schemas.microsoft.com/office/drawing/2014/chart" uri="{C3380CC4-5D6E-409C-BE32-E72D297353CC}">
                <c16:uniqueId val="{0000026D-B1B9-4BDE-A581-DFBD1F6389AC}"/>
              </c:ext>
            </c:extLst>
          </c:dPt>
          <c:dPt>
            <c:idx val="310"/>
            <c:invertIfNegative val="1"/>
            <c:bubble3D val="0"/>
            <c:spPr>
              <a:solidFill>
                <a:srgbClr val="7ECAC4"/>
              </a:solidFill>
            </c:spPr>
            <c:extLst>
              <c:ext xmlns:c16="http://schemas.microsoft.com/office/drawing/2014/chart" uri="{C3380CC4-5D6E-409C-BE32-E72D297353CC}">
                <c16:uniqueId val="{0000026F-B1B9-4BDE-A581-DFBD1F6389AC}"/>
              </c:ext>
            </c:extLst>
          </c:dPt>
          <c:dPt>
            <c:idx val="311"/>
            <c:invertIfNegative val="1"/>
            <c:bubble3D val="0"/>
            <c:spPr>
              <a:solidFill>
                <a:srgbClr val="7ECAC4"/>
              </a:solidFill>
            </c:spPr>
            <c:extLst>
              <c:ext xmlns:c16="http://schemas.microsoft.com/office/drawing/2014/chart" uri="{C3380CC4-5D6E-409C-BE32-E72D297353CC}">
                <c16:uniqueId val="{00000271-B1B9-4BDE-A581-DFBD1F6389AC}"/>
              </c:ext>
            </c:extLst>
          </c:dPt>
          <c:dPt>
            <c:idx val="312"/>
            <c:invertIfNegative val="1"/>
            <c:bubble3D val="0"/>
            <c:spPr>
              <a:solidFill>
                <a:srgbClr val="7ECAC4"/>
              </a:solidFill>
            </c:spPr>
            <c:extLst>
              <c:ext xmlns:c16="http://schemas.microsoft.com/office/drawing/2014/chart" uri="{C3380CC4-5D6E-409C-BE32-E72D297353CC}">
                <c16:uniqueId val="{00000273-B1B9-4BDE-A581-DFBD1F6389AC}"/>
              </c:ext>
            </c:extLst>
          </c:dPt>
          <c:dPt>
            <c:idx val="313"/>
            <c:invertIfNegative val="1"/>
            <c:bubble3D val="0"/>
            <c:spPr>
              <a:solidFill>
                <a:srgbClr val="7ECAC4"/>
              </a:solidFill>
            </c:spPr>
            <c:extLst>
              <c:ext xmlns:c16="http://schemas.microsoft.com/office/drawing/2014/chart" uri="{C3380CC4-5D6E-409C-BE32-E72D297353CC}">
                <c16:uniqueId val="{00000275-B1B9-4BDE-A581-DFBD1F6389AC}"/>
              </c:ext>
            </c:extLst>
          </c:dPt>
          <c:dPt>
            <c:idx val="314"/>
            <c:invertIfNegative val="1"/>
            <c:bubble3D val="0"/>
            <c:spPr>
              <a:solidFill>
                <a:srgbClr val="7ECAC4"/>
              </a:solidFill>
            </c:spPr>
            <c:extLst>
              <c:ext xmlns:c16="http://schemas.microsoft.com/office/drawing/2014/chart" uri="{C3380CC4-5D6E-409C-BE32-E72D297353CC}">
                <c16:uniqueId val="{00000277-B1B9-4BDE-A581-DFBD1F6389AC}"/>
              </c:ext>
            </c:extLst>
          </c:dPt>
          <c:dPt>
            <c:idx val="315"/>
            <c:invertIfNegative val="1"/>
            <c:bubble3D val="0"/>
            <c:spPr>
              <a:solidFill>
                <a:srgbClr val="7ECAC4"/>
              </a:solidFill>
            </c:spPr>
            <c:extLst>
              <c:ext xmlns:c16="http://schemas.microsoft.com/office/drawing/2014/chart" uri="{C3380CC4-5D6E-409C-BE32-E72D297353CC}">
                <c16:uniqueId val="{00000279-B1B9-4BDE-A581-DFBD1F6389AC}"/>
              </c:ext>
            </c:extLst>
          </c:dPt>
          <c:dPt>
            <c:idx val="316"/>
            <c:invertIfNegative val="1"/>
            <c:bubble3D val="0"/>
            <c:spPr>
              <a:solidFill>
                <a:srgbClr val="7ECAC4"/>
              </a:solidFill>
            </c:spPr>
            <c:extLst>
              <c:ext xmlns:c16="http://schemas.microsoft.com/office/drawing/2014/chart" uri="{C3380CC4-5D6E-409C-BE32-E72D297353CC}">
                <c16:uniqueId val="{0000027B-B1B9-4BDE-A581-DFBD1F6389AC}"/>
              </c:ext>
            </c:extLst>
          </c:dPt>
          <c:dPt>
            <c:idx val="317"/>
            <c:invertIfNegative val="1"/>
            <c:bubble3D val="0"/>
            <c:spPr>
              <a:solidFill>
                <a:srgbClr val="7ECAC4"/>
              </a:solidFill>
            </c:spPr>
            <c:extLst>
              <c:ext xmlns:c16="http://schemas.microsoft.com/office/drawing/2014/chart" uri="{C3380CC4-5D6E-409C-BE32-E72D297353CC}">
                <c16:uniqueId val="{0000027D-B1B9-4BDE-A581-DFBD1F6389AC}"/>
              </c:ext>
            </c:extLst>
          </c:dPt>
          <c:dPt>
            <c:idx val="318"/>
            <c:invertIfNegative val="1"/>
            <c:bubble3D val="0"/>
            <c:spPr>
              <a:solidFill>
                <a:srgbClr val="7ECAC4"/>
              </a:solidFill>
            </c:spPr>
            <c:extLst>
              <c:ext xmlns:c16="http://schemas.microsoft.com/office/drawing/2014/chart" uri="{C3380CC4-5D6E-409C-BE32-E72D297353CC}">
                <c16:uniqueId val="{0000027F-B1B9-4BDE-A581-DFBD1F6389AC}"/>
              </c:ext>
            </c:extLst>
          </c:dPt>
          <c:dPt>
            <c:idx val="319"/>
            <c:invertIfNegative val="1"/>
            <c:bubble3D val="0"/>
            <c:spPr>
              <a:solidFill>
                <a:srgbClr val="7ECAC4"/>
              </a:solidFill>
            </c:spPr>
            <c:extLst>
              <c:ext xmlns:c16="http://schemas.microsoft.com/office/drawing/2014/chart" uri="{C3380CC4-5D6E-409C-BE32-E72D297353CC}">
                <c16:uniqueId val="{00000281-B1B9-4BDE-A581-DFBD1F6389AC}"/>
              </c:ext>
            </c:extLst>
          </c:dPt>
          <c:dPt>
            <c:idx val="320"/>
            <c:invertIfNegative val="1"/>
            <c:bubble3D val="0"/>
            <c:spPr>
              <a:solidFill>
                <a:srgbClr val="7ECAC4"/>
              </a:solidFill>
            </c:spPr>
            <c:extLst>
              <c:ext xmlns:c16="http://schemas.microsoft.com/office/drawing/2014/chart" uri="{C3380CC4-5D6E-409C-BE32-E72D297353CC}">
                <c16:uniqueId val="{00000283-B1B9-4BDE-A581-DFBD1F6389AC}"/>
              </c:ext>
            </c:extLst>
          </c:dPt>
          <c:dPt>
            <c:idx val="321"/>
            <c:invertIfNegative val="1"/>
            <c:bubble3D val="0"/>
            <c:spPr>
              <a:solidFill>
                <a:srgbClr val="7ECAC4"/>
              </a:solidFill>
            </c:spPr>
            <c:extLst>
              <c:ext xmlns:c16="http://schemas.microsoft.com/office/drawing/2014/chart" uri="{C3380CC4-5D6E-409C-BE32-E72D297353CC}">
                <c16:uniqueId val="{00000285-B1B9-4BDE-A581-DFBD1F6389AC}"/>
              </c:ext>
            </c:extLst>
          </c:dPt>
          <c:dPt>
            <c:idx val="322"/>
            <c:invertIfNegative val="1"/>
            <c:bubble3D val="0"/>
            <c:spPr>
              <a:solidFill>
                <a:srgbClr val="7ECAC4"/>
              </a:solidFill>
            </c:spPr>
            <c:extLst>
              <c:ext xmlns:c16="http://schemas.microsoft.com/office/drawing/2014/chart" uri="{C3380CC4-5D6E-409C-BE32-E72D297353CC}">
                <c16:uniqueId val="{00000287-B1B9-4BDE-A581-DFBD1F6389AC}"/>
              </c:ext>
            </c:extLst>
          </c:dPt>
          <c:dPt>
            <c:idx val="323"/>
            <c:invertIfNegative val="1"/>
            <c:bubble3D val="0"/>
            <c:spPr>
              <a:solidFill>
                <a:srgbClr val="7ECAC4"/>
              </a:solidFill>
            </c:spPr>
            <c:extLst>
              <c:ext xmlns:c16="http://schemas.microsoft.com/office/drawing/2014/chart" uri="{C3380CC4-5D6E-409C-BE32-E72D297353CC}">
                <c16:uniqueId val="{00000289-B1B9-4BDE-A581-DFBD1F6389AC}"/>
              </c:ext>
            </c:extLst>
          </c:dPt>
          <c:dPt>
            <c:idx val="324"/>
            <c:invertIfNegative val="1"/>
            <c:bubble3D val="0"/>
            <c:spPr>
              <a:solidFill>
                <a:srgbClr val="7ECAC4"/>
              </a:solidFill>
            </c:spPr>
            <c:extLst>
              <c:ext xmlns:c16="http://schemas.microsoft.com/office/drawing/2014/chart" uri="{C3380CC4-5D6E-409C-BE32-E72D297353CC}">
                <c16:uniqueId val="{0000028B-B1B9-4BDE-A581-DFBD1F6389AC}"/>
              </c:ext>
            </c:extLst>
          </c:dPt>
          <c:dPt>
            <c:idx val="325"/>
            <c:invertIfNegative val="1"/>
            <c:bubble3D val="0"/>
            <c:spPr>
              <a:solidFill>
                <a:srgbClr val="7ECAC4"/>
              </a:solidFill>
            </c:spPr>
            <c:extLst>
              <c:ext xmlns:c16="http://schemas.microsoft.com/office/drawing/2014/chart" uri="{C3380CC4-5D6E-409C-BE32-E72D297353CC}">
                <c16:uniqueId val="{0000028D-B1B9-4BDE-A581-DFBD1F6389AC}"/>
              </c:ext>
            </c:extLst>
          </c:dPt>
          <c:dPt>
            <c:idx val="326"/>
            <c:invertIfNegative val="1"/>
            <c:bubble3D val="0"/>
            <c:spPr>
              <a:solidFill>
                <a:srgbClr val="7ECAC4"/>
              </a:solidFill>
            </c:spPr>
            <c:extLst>
              <c:ext xmlns:c16="http://schemas.microsoft.com/office/drawing/2014/chart" uri="{C3380CC4-5D6E-409C-BE32-E72D297353CC}">
                <c16:uniqueId val="{0000028F-B1B9-4BDE-A581-DFBD1F6389AC}"/>
              </c:ext>
            </c:extLst>
          </c:dPt>
          <c:dPt>
            <c:idx val="327"/>
            <c:invertIfNegative val="1"/>
            <c:bubble3D val="0"/>
            <c:spPr>
              <a:solidFill>
                <a:srgbClr val="7ECAC4"/>
              </a:solidFill>
            </c:spPr>
            <c:extLst>
              <c:ext xmlns:c16="http://schemas.microsoft.com/office/drawing/2014/chart" uri="{C3380CC4-5D6E-409C-BE32-E72D297353CC}">
                <c16:uniqueId val="{00000291-B1B9-4BDE-A581-DFBD1F6389AC}"/>
              </c:ext>
            </c:extLst>
          </c:dPt>
          <c:dPt>
            <c:idx val="328"/>
            <c:invertIfNegative val="1"/>
            <c:bubble3D val="0"/>
            <c:spPr>
              <a:solidFill>
                <a:srgbClr val="7ECAC4"/>
              </a:solidFill>
            </c:spPr>
            <c:extLst>
              <c:ext xmlns:c16="http://schemas.microsoft.com/office/drawing/2014/chart" uri="{C3380CC4-5D6E-409C-BE32-E72D297353CC}">
                <c16:uniqueId val="{00000293-B1B9-4BDE-A581-DFBD1F6389AC}"/>
              </c:ext>
            </c:extLst>
          </c:dPt>
          <c:dPt>
            <c:idx val="329"/>
            <c:invertIfNegative val="1"/>
            <c:bubble3D val="0"/>
            <c:spPr>
              <a:solidFill>
                <a:srgbClr val="7ECAC4"/>
              </a:solidFill>
            </c:spPr>
            <c:extLst>
              <c:ext xmlns:c16="http://schemas.microsoft.com/office/drawing/2014/chart" uri="{C3380CC4-5D6E-409C-BE32-E72D297353CC}">
                <c16:uniqueId val="{00000295-B1B9-4BDE-A581-DFBD1F6389AC}"/>
              </c:ext>
            </c:extLst>
          </c:dPt>
          <c:dPt>
            <c:idx val="330"/>
            <c:invertIfNegative val="1"/>
            <c:bubble3D val="0"/>
            <c:spPr>
              <a:solidFill>
                <a:srgbClr val="7ECAC4"/>
              </a:solidFill>
            </c:spPr>
            <c:extLst>
              <c:ext xmlns:c16="http://schemas.microsoft.com/office/drawing/2014/chart" uri="{C3380CC4-5D6E-409C-BE32-E72D297353CC}">
                <c16:uniqueId val="{00000297-B1B9-4BDE-A581-DFBD1F6389AC}"/>
              </c:ext>
            </c:extLst>
          </c:dPt>
          <c:dPt>
            <c:idx val="331"/>
            <c:invertIfNegative val="1"/>
            <c:bubble3D val="0"/>
            <c:spPr>
              <a:solidFill>
                <a:srgbClr val="7ECAC4"/>
              </a:solidFill>
            </c:spPr>
            <c:extLst>
              <c:ext xmlns:c16="http://schemas.microsoft.com/office/drawing/2014/chart" uri="{C3380CC4-5D6E-409C-BE32-E72D297353CC}">
                <c16:uniqueId val="{00000299-B1B9-4BDE-A581-DFBD1F6389AC}"/>
              </c:ext>
            </c:extLst>
          </c:dPt>
          <c:dPt>
            <c:idx val="332"/>
            <c:invertIfNegative val="1"/>
            <c:bubble3D val="0"/>
            <c:spPr>
              <a:solidFill>
                <a:srgbClr val="7ECAC4"/>
              </a:solidFill>
            </c:spPr>
            <c:extLst>
              <c:ext xmlns:c16="http://schemas.microsoft.com/office/drawing/2014/chart" uri="{C3380CC4-5D6E-409C-BE32-E72D297353CC}">
                <c16:uniqueId val="{0000029B-B1B9-4BDE-A581-DFBD1F6389AC}"/>
              </c:ext>
            </c:extLst>
          </c:dPt>
          <c:dPt>
            <c:idx val="333"/>
            <c:invertIfNegative val="1"/>
            <c:bubble3D val="0"/>
            <c:spPr>
              <a:solidFill>
                <a:srgbClr val="7ECAC4"/>
              </a:solidFill>
            </c:spPr>
            <c:extLst>
              <c:ext xmlns:c16="http://schemas.microsoft.com/office/drawing/2014/chart" uri="{C3380CC4-5D6E-409C-BE32-E72D297353CC}">
                <c16:uniqueId val="{0000029D-B1B9-4BDE-A581-DFBD1F6389AC}"/>
              </c:ext>
            </c:extLst>
          </c:dPt>
          <c:dPt>
            <c:idx val="334"/>
            <c:invertIfNegative val="1"/>
            <c:bubble3D val="0"/>
            <c:spPr>
              <a:solidFill>
                <a:srgbClr val="7ECAC4"/>
              </a:solidFill>
            </c:spPr>
            <c:extLst>
              <c:ext xmlns:c16="http://schemas.microsoft.com/office/drawing/2014/chart" uri="{C3380CC4-5D6E-409C-BE32-E72D297353CC}">
                <c16:uniqueId val="{0000029F-B1B9-4BDE-A581-DFBD1F6389AC}"/>
              </c:ext>
            </c:extLst>
          </c:dPt>
          <c:dPt>
            <c:idx val="335"/>
            <c:invertIfNegative val="1"/>
            <c:bubble3D val="0"/>
            <c:spPr>
              <a:solidFill>
                <a:srgbClr val="7ECAC4"/>
              </a:solidFill>
            </c:spPr>
            <c:extLst>
              <c:ext xmlns:c16="http://schemas.microsoft.com/office/drawing/2014/chart" uri="{C3380CC4-5D6E-409C-BE32-E72D297353CC}">
                <c16:uniqueId val="{000002A1-B1B9-4BDE-A581-DFBD1F6389AC}"/>
              </c:ext>
            </c:extLst>
          </c:dPt>
          <c:dPt>
            <c:idx val="336"/>
            <c:invertIfNegative val="1"/>
            <c:bubble3D val="0"/>
            <c:spPr>
              <a:solidFill>
                <a:srgbClr val="7ECAC4"/>
              </a:solidFill>
            </c:spPr>
            <c:extLst>
              <c:ext xmlns:c16="http://schemas.microsoft.com/office/drawing/2014/chart" uri="{C3380CC4-5D6E-409C-BE32-E72D297353CC}">
                <c16:uniqueId val="{000002A3-B1B9-4BDE-A581-DFBD1F6389AC}"/>
              </c:ext>
            </c:extLst>
          </c:dPt>
          <c:dPt>
            <c:idx val="337"/>
            <c:invertIfNegative val="1"/>
            <c:bubble3D val="0"/>
            <c:spPr>
              <a:solidFill>
                <a:srgbClr val="7ECAC4"/>
              </a:solidFill>
            </c:spPr>
            <c:extLst>
              <c:ext xmlns:c16="http://schemas.microsoft.com/office/drawing/2014/chart" uri="{C3380CC4-5D6E-409C-BE32-E72D297353CC}">
                <c16:uniqueId val="{000002A5-B1B9-4BDE-A581-DFBD1F6389AC}"/>
              </c:ext>
            </c:extLst>
          </c:dPt>
          <c:dPt>
            <c:idx val="338"/>
            <c:invertIfNegative val="1"/>
            <c:bubble3D val="0"/>
            <c:spPr>
              <a:solidFill>
                <a:srgbClr val="7ECAC4"/>
              </a:solidFill>
            </c:spPr>
            <c:extLst>
              <c:ext xmlns:c16="http://schemas.microsoft.com/office/drawing/2014/chart" uri="{C3380CC4-5D6E-409C-BE32-E72D297353CC}">
                <c16:uniqueId val="{000002A7-B1B9-4BDE-A581-DFBD1F6389AC}"/>
              </c:ext>
            </c:extLst>
          </c:dPt>
          <c:dPt>
            <c:idx val="339"/>
            <c:invertIfNegative val="1"/>
            <c:bubble3D val="0"/>
            <c:spPr>
              <a:solidFill>
                <a:srgbClr val="7ECAC4"/>
              </a:solidFill>
            </c:spPr>
            <c:extLst>
              <c:ext xmlns:c16="http://schemas.microsoft.com/office/drawing/2014/chart" uri="{C3380CC4-5D6E-409C-BE32-E72D297353CC}">
                <c16:uniqueId val="{000002A9-B1B9-4BDE-A581-DFBD1F6389AC}"/>
              </c:ext>
            </c:extLst>
          </c:dPt>
          <c:dPt>
            <c:idx val="340"/>
            <c:invertIfNegative val="1"/>
            <c:bubble3D val="0"/>
            <c:spPr>
              <a:solidFill>
                <a:srgbClr val="7ECAC4"/>
              </a:solidFill>
            </c:spPr>
            <c:extLst>
              <c:ext xmlns:c16="http://schemas.microsoft.com/office/drawing/2014/chart" uri="{C3380CC4-5D6E-409C-BE32-E72D297353CC}">
                <c16:uniqueId val="{000002AB-B1B9-4BDE-A581-DFBD1F6389AC}"/>
              </c:ext>
            </c:extLst>
          </c:dPt>
          <c:dPt>
            <c:idx val="341"/>
            <c:invertIfNegative val="1"/>
            <c:bubble3D val="0"/>
            <c:spPr>
              <a:solidFill>
                <a:srgbClr val="7ECAC4"/>
              </a:solidFill>
            </c:spPr>
            <c:extLst>
              <c:ext xmlns:c16="http://schemas.microsoft.com/office/drawing/2014/chart" uri="{C3380CC4-5D6E-409C-BE32-E72D297353CC}">
                <c16:uniqueId val="{000002AD-B1B9-4BDE-A581-DFBD1F6389AC}"/>
              </c:ext>
            </c:extLst>
          </c:dPt>
          <c:dPt>
            <c:idx val="342"/>
            <c:invertIfNegative val="1"/>
            <c:bubble3D val="0"/>
            <c:spPr>
              <a:solidFill>
                <a:srgbClr val="7ECAC4"/>
              </a:solidFill>
            </c:spPr>
            <c:extLst>
              <c:ext xmlns:c16="http://schemas.microsoft.com/office/drawing/2014/chart" uri="{C3380CC4-5D6E-409C-BE32-E72D297353CC}">
                <c16:uniqueId val="{000002AF-B1B9-4BDE-A581-DFBD1F6389AC}"/>
              </c:ext>
            </c:extLst>
          </c:dPt>
          <c:dPt>
            <c:idx val="343"/>
            <c:invertIfNegative val="1"/>
            <c:bubble3D val="0"/>
            <c:spPr>
              <a:solidFill>
                <a:srgbClr val="7ECAC4"/>
              </a:solidFill>
            </c:spPr>
            <c:extLst>
              <c:ext xmlns:c16="http://schemas.microsoft.com/office/drawing/2014/chart" uri="{C3380CC4-5D6E-409C-BE32-E72D297353CC}">
                <c16:uniqueId val="{000002B1-B1B9-4BDE-A581-DFBD1F6389AC}"/>
              </c:ext>
            </c:extLst>
          </c:dPt>
          <c:dPt>
            <c:idx val="344"/>
            <c:invertIfNegative val="1"/>
            <c:bubble3D val="0"/>
            <c:spPr>
              <a:solidFill>
                <a:srgbClr val="7ECAC4"/>
              </a:solidFill>
            </c:spPr>
            <c:extLst>
              <c:ext xmlns:c16="http://schemas.microsoft.com/office/drawing/2014/chart" uri="{C3380CC4-5D6E-409C-BE32-E72D297353CC}">
                <c16:uniqueId val="{000002B3-B1B9-4BDE-A581-DFBD1F6389AC}"/>
              </c:ext>
            </c:extLst>
          </c:dPt>
          <c:dPt>
            <c:idx val="345"/>
            <c:invertIfNegative val="1"/>
            <c:bubble3D val="0"/>
            <c:spPr>
              <a:solidFill>
                <a:srgbClr val="7ECAC4"/>
              </a:solidFill>
            </c:spPr>
            <c:extLst>
              <c:ext xmlns:c16="http://schemas.microsoft.com/office/drawing/2014/chart" uri="{C3380CC4-5D6E-409C-BE32-E72D297353CC}">
                <c16:uniqueId val="{000002B5-B1B9-4BDE-A581-DFBD1F6389AC}"/>
              </c:ext>
            </c:extLst>
          </c:dPt>
          <c:dPt>
            <c:idx val="346"/>
            <c:invertIfNegative val="1"/>
            <c:bubble3D val="0"/>
            <c:spPr>
              <a:solidFill>
                <a:srgbClr val="7ECAC4"/>
              </a:solidFill>
            </c:spPr>
            <c:extLst>
              <c:ext xmlns:c16="http://schemas.microsoft.com/office/drawing/2014/chart" uri="{C3380CC4-5D6E-409C-BE32-E72D297353CC}">
                <c16:uniqueId val="{000002B7-B1B9-4BDE-A581-DFBD1F6389AC}"/>
              </c:ext>
            </c:extLst>
          </c:dPt>
          <c:dPt>
            <c:idx val="347"/>
            <c:invertIfNegative val="1"/>
            <c:bubble3D val="0"/>
            <c:spPr>
              <a:solidFill>
                <a:srgbClr val="7ECAC4"/>
              </a:solidFill>
            </c:spPr>
            <c:extLst>
              <c:ext xmlns:c16="http://schemas.microsoft.com/office/drawing/2014/chart" uri="{C3380CC4-5D6E-409C-BE32-E72D297353CC}">
                <c16:uniqueId val="{000002B9-B1B9-4BDE-A581-DFBD1F6389AC}"/>
              </c:ext>
            </c:extLst>
          </c:dPt>
          <c:dPt>
            <c:idx val="348"/>
            <c:invertIfNegative val="1"/>
            <c:bubble3D val="0"/>
            <c:spPr>
              <a:solidFill>
                <a:srgbClr val="7ECAC4"/>
              </a:solidFill>
            </c:spPr>
            <c:extLst>
              <c:ext xmlns:c16="http://schemas.microsoft.com/office/drawing/2014/chart" uri="{C3380CC4-5D6E-409C-BE32-E72D297353CC}">
                <c16:uniqueId val="{000002BB-B1B9-4BDE-A581-DFBD1F6389AC}"/>
              </c:ext>
            </c:extLst>
          </c:dPt>
          <c:dPt>
            <c:idx val="349"/>
            <c:invertIfNegative val="1"/>
            <c:bubble3D val="0"/>
            <c:spPr>
              <a:solidFill>
                <a:srgbClr val="7ECAC4"/>
              </a:solidFill>
            </c:spPr>
            <c:extLst>
              <c:ext xmlns:c16="http://schemas.microsoft.com/office/drawing/2014/chart" uri="{C3380CC4-5D6E-409C-BE32-E72D297353CC}">
                <c16:uniqueId val="{000002BD-B1B9-4BDE-A581-DFBD1F6389AC}"/>
              </c:ext>
            </c:extLst>
          </c:dPt>
          <c:dPt>
            <c:idx val="350"/>
            <c:invertIfNegative val="1"/>
            <c:bubble3D val="0"/>
            <c:spPr>
              <a:solidFill>
                <a:srgbClr val="7ECAC4"/>
              </a:solidFill>
            </c:spPr>
            <c:extLst>
              <c:ext xmlns:c16="http://schemas.microsoft.com/office/drawing/2014/chart" uri="{C3380CC4-5D6E-409C-BE32-E72D297353CC}">
                <c16:uniqueId val="{000002BF-B1B9-4BDE-A581-DFBD1F6389AC}"/>
              </c:ext>
            </c:extLst>
          </c:dPt>
          <c:dPt>
            <c:idx val="351"/>
            <c:invertIfNegative val="1"/>
            <c:bubble3D val="0"/>
            <c:spPr>
              <a:solidFill>
                <a:srgbClr val="7ECAC4"/>
              </a:solidFill>
            </c:spPr>
            <c:extLst>
              <c:ext xmlns:c16="http://schemas.microsoft.com/office/drawing/2014/chart" uri="{C3380CC4-5D6E-409C-BE32-E72D297353CC}">
                <c16:uniqueId val="{000002C1-B1B9-4BDE-A581-DFBD1F6389AC}"/>
              </c:ext>
            </c:extLst>
          </c:dPt>
          <c:dPt>
            <c:idx val="352"/>
            <c:invertIfNegative val="1"/>
            <c:bubble3D val="0"/>
            <c:spPr>
              <a:solidFill>
                <a:srgbClr val="7ECAC4"/>
              </a:solidFill>
            </c:spPr>
            <c:extLst>
              <c:ext xmlns:c16="http://schemas.microsoft.com/office/drawing/2014/chart" uri="{C3380CC4-5D6E-409C-BE32-E72D297353CC}">
                <c16:uniqueId val="{000002C3-B1B9-4BDE-A581-DFBD1F6389AC}"/>
              </c:ext>
            </c:extLst>
          </c:dPt>
          <c:dPt>
            <c:idx val="353"/>
            <c:invertIfNegative val="1"/>
            <c:bubble3D val="0"/>
            <c:spPr>
              <a:solidFill>
                <a:srgbClr val="7ECAC4"/>
              </a:solidFill>
            </c:spPr>
            <c:extLst>
              <c:ext xmlns:c16="http://schemas.microsoft.com/office/drawing/2014/chart" uri="{C3380CC4-5D6E-409C-BE32-E72D297353CC}">
                <c16:uniqueId val="{000002C5-B1B9-4BDE-A581-DFBD1F6389AC}"/>
              </c:ext>
            </c:extLst>
          </c:dPt>
          <c:dPt>
            <c:idx val="354"/>
            <c:invertIfNegative val="1"/>
            <c:bubble3D val="0"/>
            <c:spPr>
              <a:solidFill>
                <a:srgbClr val="7ECAC4"/>
              </a:solidFill>
            </c:spPr>
            <c:extLst>
              <c:ext xmlns:c16="http://schemas.microsoft.com/office/drawing/2014/chart" uri="{C3380CC4-5D6E-409C-BE32-E72D297353CC}">
                <c16:uniqueId val="{000002C7-B1B9-4BDE-A581-DFBD1F6389AC}"/>
              </c:ext>
            </c:extLst>
          </c:dPt>
          <c:dPt>
            <c:idx val="355"/>
            <c:invertIfNegative val="1"/>
            <c:bubble3D val="0"/>
            <c:spPr>
              <a:solidFill>
                <a:srgbClr val="7ECAC4"/>
              </a:solidFill>
            </c:spPr>
            <c:extLst>
              <c:ext xmlns:c16="http://schemas.microsoft.com/office/drawing/2014/chart" uri="{C3380CC4-5D6E-409C-BE32-E72D297353CC}">
                <c16:uniqueId val="{000002C9-B1B9-4BDE-A581-DFBD1F6389AC}"/>
              </c:ext>
            </c:extLst>
          </c:dPt>
          <c:dPt>
            <c:idx val="356"/>
            <c:invertIfNegative val="1"/>
            <c:bubble3D val="0"/>
            <c:spPr>
              <a:solidFill>
                <a:srgbClr val="7ECAC4"/>
              </a:solidFill>
            </c:spPr>
            <c:extLst>
              <c:ext xmlns:c16="http://schemas.microsoft.com/office/drawing/2014/chart" uri="{C3380CC4-5D6E-409C-BE32-E72D297353CC}">
                <c16:uniqueId val="{000002CB-B1B9-4BDE-A581-DFBD1F6389AC}"/>
              </c:ext>
            </c:extLst>
          </c:dPt>
          <c:dPt>
            <c:idx val="357"/>
            <c:invertIfNegative val="1"/>
            <c:bubble3D val="0"/>
            <c:spPr>
              <a:solidFill>
                <a:srgbClr val="7ECAC4"/>
              </a:solidFill>
            </c:spPr>
            <c:extLst>
              <c:ext xmlns:c16="http://schemas.microsoft.com/office/drawing/2014/chart" uri="{C3380CC4-5D6E-409C-BE32-E72D297353CC}">
                <c16:uniqueId val="{000002CD-B1B9-4BDE-A581-DFBD1F6389AC}"/>
              </c:ext>
            </c:extLst>
          </c:dPt>
          <c:dPt>
            <c:idx val="358"/>
            <c:invertIfNegative val="1"/>
            <c:bubble3D val="0"/>
            <c:spPr>
              <a:solidFill>
                <a:srgbClr val="7ECAC4"/>
              </a:solidFill>
            </c:spPr>
            <c:extLst>
              <c:ext xmlns:c16="http://schemas.microsoft.com/office/drawing/2014/chart" uri="{C3380CC4-5D6E-409C-BE32-E72D297353CC}">
                <c16:uniqueId val="{000002CF-B1B9-4BDE-A581-DFBD1F6389AC}"/>
              </c:ext>
            </c:extLst>
          </c:dPt>
          <c:dPt>
            <c:idx val="359"/>
            <c:invertIfNegative val="1"/>
            <c:bubble3D val="0"/>
            <c:spPr>
              <a:solidFill>
                <a:srgbClr val="7ECAC4"/>
              </a:solidFill>
            </c:spPr>
            <c:extLst>
              <c:ext xmlns:c16="http://schemas.microsoft.com/office/drawing/2014/chart" uri="{C3380CC4-5D6E-409C-BE32-E72D297353CC}">
                <c16:uniqueId val="{000002D1-B1B9-4BDE-A581-DFBD1F6389AC}"/>
              </c:ext>
            </c:extLst>
          </c:dPt>
          <c:dPt>
            <c:idx val="360"/>
            <c:invertIfNegative val="1"/>
            <c:bubble3D val="0"/>
            <c:spPr>
              <a:solidFill>
                <a:srgbClr val="7ECAC4"/>
              </a:solidFill>
            </c:spPr>
            <c:extLst>
              <c:ext xmlns:c16="http://schemas.microsoft.com/office/drawing/2014/chart" uri="{C3380CC4-5D6E-409C-BE32-E72D297353CC}">
                <c16:uniqueId val="{000002D3-B1B9-4BDE-A581-DFBD1F6389AC}"/>
              </c:ext>
            </c:extLst>
          </c:dPt>
          <c:dPt>
            <c:idx val="361"/>
            <c:invertIfNegative val="1"/>
            <c:bubble3D val="0"/>
            <c:spPr>
              <a:solidFill>
                <a:srgbClr val="7ECAC4"/>
              </a:solidFill>
            </c:spPr>
            <c:extLst>
              <c:ext xmlns:c16="http://schemas.microsoft.com/office/drawing/2014/chart" uri="{C3380CC4-5D6E-409C-BE32-E72D297353CC}">
                <c16:uniqueId val="{000002D5-B1B9-4BDE-A581-DFBD1F6389AC}"/>
              </c:ext>
            </c:extLst>
          </c:dPt>
          <c:dPt>
            <c:idx val="362"/>
            <c:invertIfNegative val="1"/>
            <c:bubble3D val="0"/>
            <c:spPr>
              <a:solidFill>
                <a:srgbClr val="7ECAC4"/>
              </a:solidFill>
            </c:spPr>
            <c:extLst>
              <c:ext xmlns:c16="http://schemas.microsoft.com/office/drawing/2014/chart" uri="{C3380CC4-5D6E-409C-BE32-E72D297353CC}">
                <c16:uniqueId val="{000002D7-B1B9-4BDE-A581-DFBD1F6389AC}"/>
              </c:ext>
            </c:extLst>
          </c:dPt>
          <c:dPt>
            <c:idx val="363"/>
            <c:invertIfNegative val="1"/>
            <c:bubble3D val="0"/>
            <c:spPr>
              <a:solidFill>
                <a:srgbClr val="7ECAC4"/>
              </a:solidFill>
            </c:spPr>
            <c:extLst>
              <c:ext xmlns:c16="http://schemas.microsoft.com/office/drawing/2014/chart" uri="{C3380CC4-5D6E-409C-BE32-E72D297353CC}">
                <c16:uniqueId val="{000002D9-B1B9-4BDE-A581-DFBD1F6389AC}"/>
              </c:ext>
            </c:extLst>
          </c:dPt>
          <c:dPt>
            <c:idx val="364"/>
            <c:invertIfNegative val="1"/>
            <c:bubble3D val="0"/>
            <c:spPr>
              <a:solidFill>
                <a:srgbClr val="7ECAC4"/>
              </a:solidFill>
            </c:spPr>
            <c:extLst>
              <c:ext xmlns:c16="http://schemas.microsoft.com/office/drawing/2014/chart" uri="{C3380CC4-5D6E-409C-BE32-E72D297353CC}">
                <c16:uniqueId val="{000002DB-B1B9-4BDE-A581-DFBD1F6389AC}"/>
              </c:ext>
            </c:extLst>
          </c:dPt>
          <c:dPt>
            <c:idx val="365"/>
            <c:invertIfNegative val="1"/>
            <c:bubble3D val="0"/>
            <c:spPr>
              <a:solidFill>
                <a:srgbClr val="7ECAC4"/>
              </a:solidFill>
            </c:spPr>
            <c:extLst>
              <c:ext xmlns:c16="http://schemas.microsoft.com/office/drawing/2014/chart" uri="{C3380CC4-5D6E-409C-BE32-E72D297353CC}">
                <c16:uniqueId val="{000002DD-B1B9-4BDE-A581-DFBD1F6389AC}"/>
              </c:ext>
            </c:extLst>
          </c:dPt>
          <c:dPt>
            <c:idx val="366"/>
            <c:invertIfNegative val="1"/>
            <c:bubble3D val="0"/>
            <c:spPr>
              <a:solidFill>
                <a:srgbClr val="7ECAC4"/>
              </a:solidFill>
            </c:spPr>
            <c:extLst>
              <c:ext xmlns:c16="http://schemas.microsoft.com/office/drawing/2014/chart" uri="{C3380CC4-5D6E-409C-BE32-E72D297353CC}">
                <c16:uniqueId val="{000002DF-B1B9-4BDE-A581-DFBD1F6389AC}"/>
              </c:ext>
            </c:extLst>
          </c:dPt>
          <c:dPt>
            <c:idx val="367"/>
            <c:invertIfNegative val="1"/>
            <c:bubble3D val="0"/>
            <c:spPr>
              <a:solidFill>
                <a:srgbClr val="7ECAC4"/>
              </a:solidFill>
            </c:spPr>
            <c:extLst>
              <c:ext xmlns:c16="http://schemas.microsoft.com/office/drawing/2014/chart" uri="{C3380CC4-5D6E-409C-BE32-E72D297353CC}">
                <c16:uniqueId val="{000002E1-B1B9-4BDE-A581-DFBD1F6389AC}"/>
              </c:ext>
            </c:extLst>
          </c:dPt>
          <c:dPt>
            <c:idx val="368"/>
            <c:invertIfNegative val="1"/>
            <c:bubble3D val="0"/>
            <c:spPr>
              <a:solidFill>
                <a:srgbClr val="7ECAC4"/>
              </a:solidFill>
            </c:spPr>
            <c:extLst>
              <c:ext xmlns:c16="http://schemas.microsoft.com/office/drawing/2014/chart" uri="{C3380CC4-5D6E-409C-BE32-E72D297353CC}">
                <c16:uniqueId val="{000002E3-B1B9-4BDE-A581-DFBD1F6389AC}"/>
              </c:ext>
            </c:extLst>
          </c:dPt>
          <c:dPt>
            <c:idx val="369"/>
            <c:invertIfNegative val="1"/>
            <c:bubble3D val="0"/>
            <c:spPr>
              <a:solidFill>
                <a:srgbClr val="7ECAC4"/>
              </a:solidFill>
            </c:spPr>
            <c:extLst>
              <c:ext xmlns:c16="http://schemas.microsoft.com/office/drawing/2014/chart" uri="{C3380CC4-5D6E-409C-BE32-E72D297353CC}">
                <c16:uniqueId val="{000002E5-B1B9-4BDE-A581-DFBD1F6389AC}"/>
              </c:ext>
            </c:extLst>
          </c:dPt>
          <c:dPt>
            <c:idx val="370"/>
            <c:invertIfNegative val="1"/>
            <c:bubble3D val="0"/>
            <c:spPr>
              <a:solidFill>
                <a:srgbClr val="7ECAC4"/>
              </a:solidFill>
            </c:spPr>
            <c:extLst>
              <c:ext xmlns:c16="http://schemas.microsoft.com/office/drawing/2014/chart" uri="{C3380CC4-5D6E-409C-BE32-E72D297353CC}">
                <c16:uniqueId val="{000002E7-B1B9-4BDE-A581-DFBD1F6389AC}"/>
              </c:ext>
            </c:extLst>
          </c:dPt>
          <c:dPt>
            <c:idx val="371"/>
            <c:invertIfNegative val="1"/>
            <c:bubble3D val="0"/>
            <c:spPr>
              <a:solidFill>
                <a:srgbClr val="7ECAC4"/>
              </a:solidFill>
            </c:spPr>
            <c:extLst>
              <c:ext xmlns:c16="http://schemas.microsoft.com/office/drawing/2014/chart" uri="{C3380CC4-5D6E-409C-BE32-E72D297353CC}">
                <c16:uniqueId val="{000002E9-B1B9-4BDE-A581-DFBD1F6389AC}"/>
              </c:ext>
            </c:extLst>
          </c:dPt>
          <c:dPt>
            <c:idx val="372"/>
            <c:invertIfNegative val="1"/>
            <c:bubble3D val="0"/>
            <c:spPr>
              <a:solidFill>
                <a:srgbClr val="7ECAC4"/>
              </a:solidFill>
            </c:spPr>
            <c:extLst>
              <c:ext xmlns:c16="http://schemas.microsoft.com/office/drawing/2014/chart" uri="{C3380CC4-5D6E-409C-BE32-E72D297353CC}">
                <c16:uniqueId val="{000002EB-B1B9-4BDE-A581-DFBD1F6389AC}"/>
              </c:ext>
            </c:extLst>
          </c:dPt>
          <c:dPt>
            <c:idx val="373"/>
            <c:invertIfNegative val="1"/>
            <c:bubble3D val="0"/>
            <c:spPr>
              <a:solidFill>
                <a:srgbClr val="7ECAC4"/>
              </a:solidFill>
            </c:spPr>
            <c:extLst>
              <c:ext xmlns:c16="http://schemas.microsoft.com/office/drawing/2014/chart" uri="{C3380CC4-5D6E-409C-BE32-E72D297353CC}">
                <c16:uniqueId val="{000002ED-B1B9-4BDE-A581-DFBD1F6389AC}"/>
              </c:ext>
            </c:extLst>
          </c:dPt>
          <c:dPt>
            <c:idx val="374"/>
            <c:invertIfNegative val="1"/>
            <c:bubble3D val="0"/>
            <c:spPr>
              <a:solidFill>
                <a:srgbClr val="7ECAC4"/>
              </a:solidFill>
            </c:spPr>
            <c:extLst>
              <c:ext xmlns:c16="http://schemas.microsoft.com/office/drawing/2014/chart" uri="{C3380CC4-5D6E-409C-BE32-E72D297353CC}">
                <c16:uniqueId val="{000002EF-B1B9-4BDE-A581-DFBD1F6389AC}"/>
              </c:ext>
            </c:extLst>
          </c:dPt>
          <c:dPt>
            <c:idx val="375"/>
            <c:invertIfNegative val="1"/>
            <c:bubble3D val="0"/>
            <c:spPr>
              <a:solidFill>
                <a:srgbClr val="7ECAC4"/>
              </a:solidFill>
            </c:spPr>
            <c:extLst>
              <c:ext xmlns:c16="http://schemas.microsoft.com/office/drawing/2014/chart" uri="{C3380CC4-5D6E-409C-BE32-E72D297353CC}">
                <c16:uniqueId val="{000002F1-B1B9-4BDE-A581-DFBD1F6389AC}"/>
              </c:ext>
            </c:extLst>
          </c:dPt>
          <c:dPt>
            <c:idx val="376"/>
            <c:invertIfNegative val="1"/>
            <c:bubble3D val="0"/>
            <c:spPr>
              <a:solidFill>
                <a:srgbClr val="7ECAC4"/>
              </a:solidFill>
            </c:spPr>
            <c:extLst>
              <c:ext xmlns:c16="http://schemas.microsoft.com/office/drawing/2014/chart" uri="{C3380CC4-5D6E-409C-BE32-E72D297353CC}">
                <c16:uniqueId val="{000002F3-B1B9-4BDE-A581-DFBD1F6389AC}"/>
              </c:ext>
            </c:extLst>
          </c:dPt>
          <c:dPt>
            <c:idx val="377"/>
            <c:invertIfNegative val="1"/>
            <c:bubble3D val="0"/>
            <c:spPr>
              <a:solidFill>
                <a:srgbClr val="7ECAC4"/>
              </a:solidFill>
            </c:spPr>
            <c:extLst>
              <c:ext xmlns:c16="http://schemas.microsoft.com/office/drawing/2014/chart" uri="{C3380CC4-5D6E-409C-BE32-E72D297353CC}">
                <c16:uniqueId val="{000002F5-B1B9-4BDE-A581-DFBD1F6389AC}"/>
              </c:ext>
            </c:extLst>
          </c:dPt>
          <c:dPt>
            <c:idx val="378"/>
            <c:invertIfNegative val="1"/>
            <c:bubble3D val="0"/>
            <c:spPr>
              <a:solidFill>
                <a:srgbClr val="7ECAC4"/>
              </a:solidFill>
            </c:spPr>
            <c:extLst>
              <c:ext xmlns:c16="http://schemas.microsoft.com/office/drawing/2014/chart" uri="{C3380CC4-5D6E-409C-BE32-E72D297353CC}">
                <c16:uniqueId val="{000002F7-B1B9-4BDE-A581-DFBD1F6389AC}"/>
              </c:ext>
            </c:extLst>
          </c:dPt>
          <c:dPt>
            <c:idx val="379"/>
            <c:invertIfNegative val="1"/>
            <c:bubble3D val="0"/>
            <c:spPr>
              <a:solidFill>
                <a:srgbClr val="7ECAC4"/>
              </a:solidFill>
            </c:spPr>
            <c:extLst>
              <c:ext xmlns:c16="http://schemas.microsoft.com/office/drawing/2014/chart" uri="{C3380CC4-5D6E-409C-BE32-E72D297353CC}">
                <c16:uniqueId val="{000002F9-B1B9-4BDE-A581-DFBD1F6389AC}"/>
              </c:ext>
            </c:extLst>
          </c:dPt>
          <c:dPt>
            <c:idx val="380"/>
            <c:invertIfNegative val="1"/>
            <c:bubble3D val="0"/>
            <c:spPr>
              <a:solidFill>
                <a:srgbClr val="7ECAC4"/>
              </a:solidFill>
            </c:spPr>
            <c:extLst>
              <c:ext xmlns:c16="http://schemas.microsoft.com/office/drawing/2014/chart" uri="{C3380CC4-5D6E-409C-BE32-E72D297353CC}">
                <c16:uniqueId val="{000002FB-B1B9-4BDE-A581-DFBD1F6389AC}"/>
              </c:ext>
            </c:extLst>
          </c:dPt>
          <c:dPt>
            <c:idx val="381"/>
            <c:invertIfNegative val="1"/>
            <c:bubble3D val="0"/>
            <c:spPr>
              <a:solidFill>
                <a:srgbClr val="7ECAC4"/>
              </a:solidFill>
            </c:spPr>
            <c:extLst>
              <c:ext xmlns:c16="http://schemas.microsoft.com/office/drawing/2014/chart" uri="{C3380CC4-5D6E-409C-BE32-E72D297353CC}">
                <c16:uniqueId val="{000002FD-B1B9-4BDE-A581-DFBD1F6389AC}"/>
              </c:ext>
            </c:extLst>
          </c:dPt>
          <c:dPt>
            <c:idx val="382"/>
            <c:invertIfNegative val="1"/>
            <c:bubble3D val="0"/>
            <c:spPr>
              <a:solidFill>
                <a:srgbClr val="7ECAC4"/>
              </a:solidFill>
            </c:spPr>
            <c:extLst>
              <c:ext xmlns:c16="http://schemas.microsoft.com/office/drawing/2014/chart" uri="{C3380CC4-5D6E-409C-BE32-E72D297353CC}">
                <c16:uniqueId val="{000002FF-B1B9-4BDE-A581-DFBD1F6389AC}"/>
              </c:ext>
            </c:extLst>
          </c:dPt>
          <c:dPt>
            <c:idx val="383"/>
            <c:invertIfNegative val="1"/>
            <c:bubble3D val="0"/>
            <c:spPr>
              <a:solidFill>
                <a:srgbClr val="7ECAC4"/>
              </a:solidFill>
            </c:spPr>
            <c:extLst>
              <c:ext xmlns:c16="http://schemas.microsoft.com/office/drawing/2014/chart" uri="{C3380CC4-5D6E-409C-BE32-E72D297353CC}">
                <c16:uniqueId val="{00000301-B1B9-4BDE-A581-DFBD1F6389AC}"/>
              </c:ext>
            </c:extLst>
          </c:dPt>
          <c:dPt>
            <c:idx val="384"/>
            <c:invertIfNegative val="1"/>
            <c:bubble3D val="0"/>
            <c:spPr>
              <a:solidFill>
                <a:srgbClr val="7ECAC4"/>
              </a:solidFill>
            </c:spPr>
            <c:extLst>
              <c:ext xmlns:c16="http://schemas.microsoft.com/office/drawing/2014/chart" uri="{C3380CC4-5D6E-409C-BE32-E72D297353CC}">
                <c16:uniqueId val="{00000303-B1B9-4BDE-A581-DFBD1F6389AC}"/>
              </c:ext>
            </c:extLst>
          </c:dPt>
          <c:dPt>
            <c:idx val="385"/>
            <c:invertIfNegative val="1"/>
            <c:bubble3D val="0"/>
            <c:spPr>
              <a:solidFill>
                <a:srgbClr val="7ECAC4"/>
              </a:solidFill>
            </c:spPr>
            <c:extLst>
              <c:ext xmlns:c16="http://schemas.microsoft.com/office/drawing/2014/chart" uri="{C3380CC4-5D6E-409C-BE32-E72D297353CC}">
                <c16:uniqueId val="{00000305-B1B9-4BDE-A581-DFBD1F6389AC}"/>
              </c:ext>
            </c:extLst>
          </c:dPt>
          <c:dPt>
            <c:idx val="386"/>
            <c:invertIfNegative val="1"/>
            <c:bubble3D val="0"/>
            <c:spPr>
              <a:solidFill>
                <a:srgbClr val="7ECAC4"/>
              </a:solidFill>
            </c:spPr>
            <c:extLst>
              <c:ext xmlns:c16="http://schemas.microsoft.com/office/drawing/2014/chart" uri="{C3380CC4-5D6E-409C-BE32-E72D297353CC}">
                <c16:uniqueId val="{00000307-B1B9-4BDE-A581-DFBD1F6389AC}"/>
              </c:ext>
            </c:extLst>
          </c:dPt>
          <c:dPt>
            <c:idx val="387"/>
            <c:invertIfNegative val="1"/>
            <c:bubble3D val="0"/>
            <c:spPr>
              <a:solidFill>
                <a:srgbClr val="7ECAC4"/>
              </a:solidFill>
            </c:spPr>
            <c:extLst>
              <c:ext xmlns:c16="http://schemas.microsoft.com/office/drawing/2014/chart" uri="{C3380CC4-5D6E-409C-BE32-E72D297353CC}">
                <c16:uniqueId val="{00000309-B1B9-4BDE-A581-DFBD1F6389AC}"/>
              </c:ext>
            </c:extLst>
          </c:dPt>
          <c:dPt>
            <c:idx val="388"/>
            <c:invertIfNegative val="1"/>
            <c:bubble3D val="0"/>
            <c:spPr>
              <a:solidFill>
                <a:srgbClr val="7ECAC4"/>
              </a:solidFill>
            </c:spPr>
            <c:extLst>
              <c:ext xmlns:c16="http://schemas.microsoft.com/office/drawing/2014/chart" uri="{C3380CC4-5D6E-409C-BE32-E72D297353CC}">
                <c16:uniqueId val="{0000030B-B1B9-4BDE-A581-DFBD1F6389AC}"/>
              </c:ext>
            </c:extLst>
          </c:dPt>
          <c:dPt>
            <c:idx val="389"/>
            <c:invertIfNegative val="1"/>
            <c:bubble3D val="0"/>
            <c:spPr>
              <a:solidFill>
                <a:srgbClr val="7ECAC4"/>
              </a:solidFill>
            </c:spPr>
            <c:extLst>
              <c:ext xmlns:c16="http://schemas.microsoft.com/office/drawing/2014/chart" uri="{C3380CC4-5D6E-409C-BE32-E72D297353CC}">
                <c16:uniqueId val="{0000030D-B1B9-4BDE-A581-DFBD1F6389AC}"/>
              </c:ext>
            </c:extLst>
          </c:dPt>
          <c:dPt>
            <c:idx val="390"/>
            <c:invertIfNegative val="1"/>
            <c:bubble3D val="0"/>
            <c:spPr>
              <a:solidFill>
                <a:srgbClr val="7ECAC4"/>
              </a:solidFill>
            </c:spPr>
            <c:extLst>
              <c:ext xmlns:c16="http://schemas.microsoft.com/office/drawing/2014/chart" uri="{C3380CC4-5D6E-409C-BE32-E72D297353CC}">
                <c16:uniqueId val="{0000030F-B1B9-4BDE-A581-DFBD1F6389AC}"/>
              </c:ext>
            </c:extLst>
          </c:dPt>
          <c:dPt>
            <c:idx val="391"/>
            <c:invertIfNegative val="1"/>
            <c:bubble3D val="0"/>
            <c:spPr>
              <a:solidFill>
                <a:srgbClr val="7ECAC4"/>
              </a:solidFill>
            </c:spPr>
            <c:extLst>
              <c:ext xmlns:c16="http://schemas.microsoft.com/office/drawing/2014/chart" uri="{C3380CC4-5D6E-409C-BE32-E72D297353CC}">
                <c16:uniqueId val="{00000311-B1B9-4BDE-A581-DFBD1F6389AC}"/>
              </c:ext>
            </c:extLst>
          </c:dPt>
          <c:dPt>
            <c:idx val="392"/>
            <c:invertIfNegative val="1"/>
            <c:bubble3D val="0"/>
            <c:spPr>
              <a:solidFill>
                <a:srgbClr val="7ECAC4"/>
              </a:solidFill>
            </c:spPr>
            <c:extLst>
              <c:ext xmlns:c16="http://schemas.microsoft.com/office/drawing/2014/chart" uri="{C3380CC4-5D6E-409C-BE32-E72D297353CC}">
                <c16:uniqueId val="{00000313-B1B9-4BDE-A581-DFBD1F6389AC}"/>
              </c:ext>
            </c:extLst>
          </c:dPt>
          <c:dPt>
            <c:idx val="393"/>
            <c:invertIfNegative val="1"/>
            <c:bubble3D val="0"/>
            <c:spPr>
              <a:solidFill>
                <a:srgbClr val="7ECAC4"/>
              </a:solidFill>
            </c:spPr>
            <c:extLst>
              <c:ext xmlns:c16="http://schemas.microsoft.com/office/drawing/2014/chart" uri="{C3380CC4-5D6E-409C-BE32-E72D297353CC}">
                <c16:uniqueId val="{00000315-B1B9-4BDE-A581-DFBD1F6389AC}"/>
              </c:ext>
            </c:extLst>
          </c:dPt>
          <c:dPt>
            <c:idx val="394"/>
            <c:invertIfNegative val="1"/>
            <c:bubble3D val="0"/>
            <c:spPr>
              <a:solidFill>
                <a:srgbClr val="7ECAC4"/>
              </a:solidFill>
            </c:spPr>
            <c:extLst>
              <c:ext xmlns:c16="http://schemas.microsoft.com/office/drawing/2014/chart" uri="{C3380CC4-5D6E-409C-BE32-E72D297353CC}">
                <c16:uniqueId val="{00000317-B1B9-4BDE-A581-DFBD1F6389AC}"/>
              </c:ext>
            </c:extLst>
          </c:dPt>
          <c:dPt>
            <c:idx val="395"/>
            <c:invertIfNegative val="1"/>
            <c:bubble3D val="0"/>
            <c:spPr>
              <a:solidFill>
                <a:srgbClr val="7ECAC4"/>
              </a:solidFill>
            </c:spPr>
            <c:extLst>
              <c:ext xmlns:c16="http://schemas.microsoft.com/office/drawing/2014/chart" uri="{C3380CC4-5D6E-409C-BE32-E72D297353CC}">
                <c16:uniqueId val="{00000319-B1B9-4BDE-A581-DFBD1F6389AC}"/>
              </c:ext>
            </c:extLst>
          </c:dPt>
          <c:dPt>
            <c:idx val="396"/>
            <c:invertIfNegative val="1"/>
            <c:bubble3D val="0"/>
            <c:spPr>
              <a:solidFill>
                <a:srgbClr val="7ECAC4"/>
              </a:solidFill>
            </c:spPr>
            <c:extLst>
              <c:ext xmlns:c16="http://schemas.microsoft.com/office/drawing/2014/chart" uri="{C3380CC4-5D6E-409C-BE32-E72D297353CC}">
                <c16:uniqueId val="{0000031B-B1B9-4BDE-A581-DFBD1F6389AC}"/>
              </c:ext>
            </c:extLst>
          </c:dPt>
          <c:dPt>
            <c:idx val="397"/>
            <c:invertIfNegative val="1"/>
            <c:bubble3D val="0"/>
            <c:spPr>
              <a:solidFill>
                <a:srgbClr val="7ECAC4"/>
              </a:solidFill>
            </c:spPr>
            <c:extLst>
              <c:ext xmlns:c16="http://schemas.microsoft.com/office/drawing/2014/chart" uri="{C3380CC4-5D6E-409C-BE32-E72D297353CC}">
                <c16:uniqueId val="{0000031D-B1B9-4BDE-A581-DFBD1F6389AC}"/>
              </c:ext>
            </c:extLst>
          </c:dPt>
          <c:dPt>
            <c:idx val="398"/>
            <c:invertIfNegative val="1"/>
            <c:bubble3D val="0"/>
            <c:spPr>
              <a:solidFill>
                <a:srgbClr val="7ECAC4"/>
              </a:solidFill>
            </c:spPr>
            <c:extLst>
              <c:ext xmlns:c16="http://schemas.microsoft.com/office/drawing/2014/chart" uri="{C3380CC4-5D6E-409C-BE32-E72D297353CC}">
                <c16:uniqueId val="{0000031F-B1B9-4BDE-A581-DFBD1F6389AC}"/>
              </c:ext>
            </c:extLst>
          </c:dPt>
          <c:dPt>
            <c:idx val="399"/>
            <c:invertIfNegative val="1"/>
            <c:bubble3D val="0"/>
            <c:spPr>
              <a:solidFill>
                <a:srgbClr val="7ECAC4"/>
              </a:solidFill>
            </c:spPr>
            <c:extLst>
              <c:ext xmlns:c16="http://schemas.microsoft.com/office/drawing/2014/chart" uri="{C3380CC4-5D6E-409C-BE32-E72D297353CC}">
                <c16:uniqueId val="{00000321-B1B9-4BDE-A581-DFBD1F6389AC}"/>
              </c:ext>
            </c:extLst>
          </c:dPt>
          <c:dPt>
            <c:idx val="400"/>
            <c:invertIfNegative val="1"/>
            <c:bubble3D val="0"/>
            <c:spPr>
              <a:solidFill>
                <a:srgbClr val="7ECAC4"/>
              </a:solidFill>
            </c:spPr>
            <c:extLst>
              <c:ext xmlns:c16="http://schemas.microsoft.com/office/drawing/2014/chart" uri="{C3380CC4-5D6E-409C-BE32-E72D297353CC}">
                <c16:uniqueId val="{00000323-B1B9-4BDE-A581-DFBD1F6389AC}"/>
              </c:ext>
            </c:extLst>
          </c:dPt>
          <c:dPt>
            <c:idx val="401"/>
            <c:invertIfNegative val="1"/>
            <c:bubble3D val="0"/>
            <c:spPr>
              <a:solidFill>
                <a:srgbClr val="7ECAC4"/>
              </a:solidFill>
            </c:spPr>
            <c:extLst>
              <c:ext xmlns:c16="http://schemas.microsoft.com/office/drawing/2014/chart" uri="{C3380CC4-5D6E-409C-BE32-E72D297353CC}">
                <c16:uniqueId val="{00000325-B1B9-4BDE-A581-DFBD1F6389AC}"/>
              </c:ext>
            </c:extLst>
          </c:dPt>
          <c:dPt>
            <c:idx val="402"/>
            <c:invertIfNegative val="1"/>
            <c:bubble3D val="0"/>
            <c:spPr>
              <a:solidFill>
                <a:srgbClr val="7ECAC4"/>
              </a:solidFill>
            </c:spPr>
            <c:extLst>
              <c:ext xmlns:c16="http://schemas.microsoft.com/office/drawing/2014/chart" uri="{C3380CC4-5D6E-409C-BE32-E72D297353CC}">
                <c16:uniqueId val="{00000327-B1B9-4BDE-A581-DFBD1F6389AC}"/>
              </c:ext>
            </c:extLst>
          </c:dPt>
          <c:dPt>
            <c:idx val="403"/>
            <c:invertIfNegative val="1"/>
            <c:bubble3D val="0"/>
            <c:spPr>
              <a:solidFill>
                <a:srgbClr val="7ECAC4"/>
              </a:solidFill>
            </c:spPr>
            <c:extLst>
              <c:ext xmlns:c16="http://schemas.microsoft.com/office/drawing/2014/chart" uri="{C3380CC4-5D6E-409C-BE32-E72D297353CC}">
                <c16:uniqueId val="{00000329-B1B9-4BDE-A581-DFBD1F6389AC}"/>
              </c:ext>
            </c:extLst>
          </c:dPt>
          <c:dPt>
            <c:idx val="404"/>
            <c:invertIfNegative val="1"/>
            <c:bubble3D val="0"/>
            <c:spPr>
              <a:solidFill>
                <a:srgbClr val="7ECAC4"/>
              </a:solidFill>
            </c:spPr>
            <c:extLst>
              <c:ext xmlns:c16="http://schemas.microsoft.com/office/drawing/2014/chart" uri="{C3380CC4-5D6E-409C-BE32-E72D297353CC}">
                <c16:uniqueId val="{0000032B-B1B9-4BDE-A581-DFBD1F6389AC}"/>
              </c:ext>
            </c:extLst>
          </c:dPt>
          <c:dPt>
            <c:idx val="405"/>
            <c:invertIfNegative val="1"/>
            <c:bubble3D val="0"/>
            <c:spPr>
              <a:solidFill>
                <a:srgbClr val="7ECAC4"/>
              </a:solidFill>
            </c:spPr>
            <c:extLst>
              <c:ext xmlns:c16="http://schemas.microsoft.com/office/drawing/2014/chart" uri="{C3380CC4-5D6E-409C-BE32-E72D297353CC}">
                <c16:uniqueId val="{0000032D-B1B9-4BDE-A581-DFBD1F6389AC}"/>
              </c:ext>
            </c:extLst>
          </c:dPt>
          <c:dPt>
            <c:idx val="406"/>
            <c:invertIfNegative val="1"/>
            <c:bubble3D val="0"/>
            <c:spPr>
              <a:solidFill>
                <a:srgbClr val="7ECAC4"/>
              </a:solidFill>
            </c:spPr>
            <c:extLst>
              <c:ext xmlns:c16="http://schemas.microsoft.com/office/drawing/2014/chart" uri="{C3380CC4-5D6E-409C-BE32-E72D297353CC}">
                <c16:uniqueId val="{0000032F-B1B9-4BDE-A581-DFBD1F6389AC}"/>
              </c:ext>
            </c:extLst>
          </c:dPt>
          <c:dPt>
            <c:idx val="407"/>
            <c:invertIfNegative val="1"/>
            <c:bubble3D val="0"/>
            <c:spPr>
              <a:solidFill>
                <a:srgbClr val="7ECAC4"/>
              </a:solidFill>
            </c:spPr>
            <c:extLst>
              <c:ext xmlns:c16="http://schemas.microsoft.com/office/drawing/2014/chart" uri="{C3380CC4-5D6E-409C-BE32-E72D297353CC}">
                <c16:uniqueId val="{00000331-B1B9-4BDE-A581-DFBD1F6389AC}"/>
              </c:ext>
            </c:extLst>
          </c:dPt>
          <c:dPt>
            <c:idx val="408"/>
            <c:invertIfNegative val="1"/>
            <c:bubble3D val="0"/>
            <c:spPr>
              <a:solidFill>
                <a:srgbClr val="7ECAC4"/>
              </a:solidFill>
            </c:spPr>
            <c:extLst>
              <c:ext xmlns:c16="http://schemas.microsoft.com/office/drawing/2014/chart" uri="{C3380CC4-5D6E-409C-BE32-E72D297353CC}">
                <c16:uniqueId val="{00000333-B1B9-4BDE-A581-DFBD1F6389AC}"/>
              </c:ext>
            </c:extLst>
          </c:dPt>
          <c:dPt>
            <c:idx val="409"/>
            <c:invertIfNegative val="1"/>
            <c:bubble3D val="0"/>
            <c:spPr>
              <a:solidFill>
                <a:srgbClr val="7ECAC4"/>
              </a:solidFill>
            </c:spPr>
            <c:extLst>
              <c:ext xmlns:c16="http://schemas.microsoft.com/office/drawing/2014/chart" uri="{C3380CC4-5D6E-409C-BE32-E72D297353CC}">
                <c16:uniqueId val="{00000335-B1B9-4BDE-A581-DFBD1F6389AC}"/>
              </c:ext>
            </c:extLst>
          </c:dPt>
          <c:dPt>
            <c:idx val="410"/>
            <c:invertIfNegative val="1"/>
            <c:bubble3D val="0"/>
            <c:spPr>
              <a:solidFill>
                <a:srgbClr val="7ECAC4"/>
              </a:solidFill>
            </c:spPr>
            <c:extLst>
              <c:ext xmlns:c16="http://schemas.microsoft.com/office/drawing/2014/chart" uri="{C3380CC4-5D6E-409C-BE32-E72D297353CC}">
                <c16:uniqueId val="{00000337-B1B9-4BDE-A581-DFBD1F6389AC}"/>
              </c:ext>
            </c:extLst>
          </c:dPt>
          <c:dPt>
            <c:idx val="411"/>
            <c:invertIfNegative val="1"/>
            <c:bubble3D val="0"/>
            <c:spPr>
              <a:solidFill>
                <a:srgbClr val="7ECAC4"/>
              </a:solidFill>
            </c:spPr>
            <c:extLst>
              <c:ext xmlns:c16="http://schemas.microsoft.com/office/drawing/2014/chart" uri="{C3380CC4-5D6E-409C-BE32-E72D297353CC}">
                <c16:uniqueId val="{00000339-B1B9-4BDE-A581-DFBD1F6389AC}"/>
              </c:ext>
            </c:extLst>
          </c:dPt>
          <c:dPt>
            <c:idx val="412"/>
            <c:invertIfNegative val="1"/>
            <c:bubble3D val="0"/>
            <c:spPr>
              <a:solidFill>
                <a:srgbClr val="7ECAC4"/>
              </a:solidFill>
            </c:spPr>
            <c:extLst>
              <c:ext xmlns:c16="http://schemas.microsoft.com/office/drawing/2014/chart" uri="{C3380CC4-5D6E-409C-BE32-E72D297353CC}">
                <c16:uniqueId val="{0000033B-B1B9-4BDE-A581-DFBD1F6389AC}"/>
              </c:ext>
            </c:extLst>
          </c:dPt>
          <c:dPt>
            <c:idx val="413"/>
            <c:invertIfNegative val="1"/>
            <c:bubble3D val="0"/>
            <c:spPr>
              <a:solidFill>
                <a:srgbClr val="7ECAC4"/>
              </a:solidFill>
            </c:spPr>
            <c:extLst>
              <c:ext xmlns:c16="http://schemas.microsoft.com/office/drawing/2014/chart" uri="{C3380CC4-5D6E-409C-BE32-E72D297353CC}">
                <c16:uniqueId val="{0000033D-B1B9-4BDE-A581-DFBD1F6389AC}"/>
              </c:ext>
            </c:extLst>
          </c:dPt>
          <c:dPt>
            <c:idx val="414"/>
            <c:invertIfNegative val="1"/>
            <c:bubble3D val="0"/>
            <c:spPr>
              <a:solidFill>
                <a:srgbClr val="7ECAC4"/>
              </a:solidFill>
            </c:spPr>
            <c:extLst>
              <c:ext xmlns:c16="http://schemas.microsoft.com/office/drawing/2014/chart" uri="{C3380CC4-5D6E-409C-BE32-E72D297353CC}">
                <c16:uniqueId val="{0000033F-B1B9-4BDE-A581-DFBD1F6389AC}"/>
              </c:ext>
            </c:extLst>
          </c:dPt>
          <c:dPt>
            <c:idx val="415"/>
            <c:invertIfNegative val="1"/>
            <c:bubble3D val="0"/>
            <c:spPr>
              <a:solidFill>
                <a:srgbClr val="7ECAC4"/>
              </a:solidFill>
            </c:spPr>
            <c:extLst>
              <c:ext xmlns:c16="http://schemas.microsoft.com/office/drawing/2014/chart" uri="{C3380CC4-5D6E-409C-BE32-E72D297353CC}">
                <c16:uniqueId val="{00000341-B1B9-4BDE-A581-DFBD1F6389AC}"/>
              </c:ext>
            </c:extLst>
          </c:dPt>
          <c:dPt>
            <c:idx val="416"/>
            <c:invertIfNegative val="1"/>
            <c:bubble3D val="0"/>
            <c:spPr>
              <a:solidFill>
                <a:srgbClr val="7ECAC4"/>
              </a:solidFill>
            </c:spPr>
            <c:extLst>
              <c:ext xmlns:c16="http://schemas.microsoft.com/office/drawing/2014/chart" uri="{C3380CC4-5D6E-409C-BE32-E72D297353CC}">
                <c16:uniqueId val="{00000343-B1B9-4BDE-A581-DFBD1F6389AC}"/>
              </c:ext>
            </c:extLst>
          </c:dPt>
          <c:dPt>
            <c:idx val="417"/>
            <c:invertIfNegative val="1"/>
            <c:bubble3D val="0"/>
            <c:spPr>
              <a:solidFill>
                <a:srgbClr val="7ECAC4"/>
              </a:solidFill>
            </c:spPr>
            <c:extLst>
              <c:ext xmlns:c16="http://schemas.microsoft.com/office/drawing/2014/chart" uri="{C3380CC4-5D6E-409C-BE32-E72D297353CC}">
                <c16:uniqueId val="{00000345-B1B9-4BDE-A581-DFBD1F6389AC}"/>
              </c:ext>
            </c:extLst>
          </c:dPt>
          <c:dPt>
            <c:idx val="418"/>
            <c:invertIfNegative val="1"/>
            <c:bubble3D val="0"/>
            <c:spPr>
              <a:solidFill>
                <a:srgbClr val="7ECAC4"/>
              </a:solidFill>
            </c:spPr>
            <c:extLst>
              <c:ext xmlns:c16="http://schemas.microsoft.com/office/drawing/2014/chart" uri="{C3380CC4-5D6E-409C-BE32-E72D297353CC}">
                <c16:uniqueId val="{00000347-B1B9-4BDE-A581-DFBD1F6389AC}"/>
              </c:ext>
            </c:extLst>
          </c:dPt>
          <c:dPt>
            <c:idx val="419"/>
            <c:invertIfNegative val="1"/>
            <c:bubble3D val="0"/>
            <c:spPr>
              <a:solidFill>
                <a:srgbClr val="7ECAC4"/>
              </a:solidFill>
            </c:spPr>
            <c:extLst>
              <c:ext xmlns:c16="http://schemas.microsoft.com/office/drawing/2014/chart" uri="{C3380CC4-5D6E-409C-BE32-E72D297353CC}">
                <c16:uniqueId val="{00000349-B1B9-4BDE-A581-DFBD1F6389AC}"/>
              </c:ext>
            </c:extLst>
          </c:dPt>
          <c:dPt>
            <c:idx val="420"/>
            <c:invertIfNegative val="1"/>
            <c:bubble3D val="0"/>
            <c:spPr>
              <a:solidFill>
                <a:srgbClr val="7ECAC4"/>
              </a:solidFill>
            </c:spPr>
            <c:extLst>
              <c:ext xmlns:c16="http://schemas.microsoft.com/office/drawing/2014/chart" uri="{C3380CC4-5D6E-409C-BE32-E72D297353CC}">
                <c16:uniqueId val="{0000034B-B1B9-4BDE-A581-DFBD1F6389AC}"/>
              </c:ext>
            </c:extLst>
          </c:dPt>
          <c:dPt>
            <c:idx val="421"/>
            <c:invertIfNegative val="1"/>
            <c:bubble3D val="0"/>
            <c:spPr>
              <a:solidFill>
                <a:srgbClr val="7ECAC4"/>
              </a:solidFill>
            </c:spPr>
            <c:extLst>
              <c:ext xmlns:c16="http://schemas.microsoft.com/office/drawing/2014/chart" uri="{C3380CC4-5D6E-409C-BE32-E72D297353CC}">
                <c16:uniqueId val="{0000034D-B1B9-4BDE-A581-DFBD1F6389AC}"/>
              </c:ext>
            </c:extLst>
          </c:dPt>
          <c:dPt>
            <c:idx val="422"/>
            <c:invertIfNegative val="1"/>
            <c:bubble3D val="0"/>
            <c:spPr>
              <a:solidFill>
                <a:srgbClr val="7ECAC4"/>
              </a:solidFill>
            </c:spPr>
            <c:extLst>
              <c:ext xmlns:c16="http://schemas.microsoft.com/office/drawing/2014/chart" uri="{C3380CC4-5D6E-409C-BE32-E72D297353CC}">
                <c16:uniqueId val="{0000034F-B1B9-4BDE-A581-DFBD1F6389AC}"/>
              </c:ext>
            </c:extLst>
          </c:dPt>
          <c:dPt>
            <c:idx val="423"/>
            <c:invertIfNegative val="1"/>
            <c:bubble3D val="0"/>
            <c:spPr>
              <a:solidFill>
                <a:srgbClr val="7ECAC4"/>
              </a:solidFill>
            </c:spPr>
            <c:extLst>
              <c:ext xmlns:c16="http://schemas.microsoft.com/office/drawing/2014/chart" uri="{C3380CC4-5D6E-409C-BE32-E72D297353CC}">
                <c16:uniqueId val="{00000351-B1B9-4BDE-A581-DFBD1F6389AC}"/>
              </c:ext>
            </c:extLst>
          </c:dPt>
          <c:dPt>
            <c:idx val="424"/>
            <c:invertIfNegative val="1"/>
            <c:bubble3D val="0"/>
            <c:spPr>
              <a:solidFill>
                <a:srgbClr val="7ECAC4"/>
              </a:solidFill>
            </c:spPr>
            <c:extLst>
              <c:ext xmlns:c16="http://schemas.microsoft.com/office/drawing/2014/chart" uri="{C3380CC4-5D6E-409C-BE32-E72D297353CC}">
                <c16:uniqueId val="{00000353-B1B9-4BDE-A581-DFBD1F6389AC}"/>
              </c:ext>
            </c:extLst>
          </c:dPt>
          <c:dPt>
            <c:idx val="425"/>
            <c:invertIfNegative val="1"/>
            <c:bubble3D val="0"/>
            <c:spPr>
              <a:solidFill>
                <a:srgbClr val="7ECAC4"/>
              </a:solidFill>
            </c:spPr>
            <c:extLst>
              <c:ext xmlns:c16="http://schemas.microsoft.com/office/drawing/2014/chart" uri="{C3380CC4-5D6E-409C-BE32-E72D297353CC}">
                <c16:uniqueId val="{00000355-B1B9-4BDE-A581-DFBD1F6389AC}"/>
              </c:ext>
            </c:extLst>
          </c:dPt>
          <c:dPt>
            <c:idx val="426"/>
            <c:invertIfNegative val="1"/>
            <c:bubble3D val="0"/>
            <c:spPr>
              <a:solidFill>
                <a:srgbClr val="7ECAC4"/>
              </a:solidFill>
            </c:spPr>
            <c:extLst>
              <c:ext xmlns:c16="http://schemas.microsoft.com/office/drawing/2014/chart" uri="{C3380CC4-5D6E-409C-BE32-E72D297353CC}">
                <c16:uniqueId val="{00000357-B1B9-4BDE-A581-DFBD1F6389AC}"/>
              </c:ext>
            </c:extLst>
          </c:dPt>
          <c:dPt>
            <c:idx val="427"/>
            <c:invertIfNegative val="1"/>
            <c:bubble3D val="0"/>
            <c:spPr>
              <a:solidFill>
                <a:srgbClr val="7ECAC4"/>
              </a:solidFill>
            </c:spPr>
            <c:extLst>
              <c:ext xmlns:c16="http://schemas.microsoft.com/office/drawing/2014/chart" uri="{C3380CC4-5D6E-409C-BE32-E72D297353CC}">
                <c16:uniqueId val="{00000359-B1B9-4BDE-A581-DFBD1F6389AC}"/>
              </c:ext>
            </c:extLst>
          </c:dPt>
          <c:dPt>
            <c:idx val="428"/>
            <c:invertIfNegative val="1"/>
            <c:bubble3D val="0"/>
            <c:spPr>
              <a:solidFill>
                <a:srgbClr val="7ECAC4"/>
              </a:solidFill>
            </c:spPr>
            <c:extLst>
              <c:ext xmlns:c16="http://schemas.microsoft.com/office/drawing/2014/chart" uri="{C3380CC4-5D6E-409C-BE32-E72D297353CC}">
                <c16:uniqueId val="{0000035B-B1B9-4BDE-A581-DFBD1F6389AC}"/>
              </c:ext>
            </c:extLst>
          </c:dPt>
          <c:dPt>
            <c:idx val="429"/>
            <c:invertIfNegative val="1"/>
            <c:bubble3D val="0"/>
            <c:spPr>
              <a:solidFill>
                <a:srgbClr val="7ECAC4"/>
              </a:solidFill>
            </c:spPr>
            <c:extLst>
              <c:ext xmlns:c16="http://schemas.microsoft.com/office/drawing/2014/chart" uri="{C3380CC4-5D6E-409C-BE32-E72D297353CC}">
                <c16:uniqueId val="{0000035D-B1B9-4BDE-A581-DFBD1F6389AC}"/>
              </c:ext>
            </c:extLst>
          </c:dPt>
          <c:dPt>
            <c:idx val="430"/>
            <c:invertIfNegative val="1"/>
            <c:bubble3D val="0"/>
            <c:spPr>
              <a:solidFill>
                <a:srgbClr val="7ECAC4"/>
              </a:solidFill>
            </c:spPr>
            <c:extLst>
              <c:ext xmlns:c16="http://schemas.microsoft.com/office/drawing/2014/chart" uri="{C3380CC4-5D6E-409C-BE32-E72D297353CC}">
                <c16:uniqueId val="{0000035F-B1B9-4BDE-A581-DFBD1F6389AC}"/>
              </c:ext>
            </c:extLst>
          </c:dPt>
          <c:dPt>
            <c:idx val="431"/>
            <c:invertIfNegative val="1"/>
            <c:bubble3D val="0"/>
            <c:spPr>
              <a:solidFill>
                <a:srgbClr val="7ECAC4"/>
              </a:solidFill>
            </c:spPr>
            <c:extLst>
              <c:ext xmlns:c16="http://schemas.microsoft.com/office/drawing/2014/chart" uri="{C3380CC4-5D6E-409C-BE32-E72D297353CC}">
                <c16:uniqueId val="{00000361-B1B9-4BDE-A581-DFBD1F6389AC}"/>
              </c:ext>
            </c:extLst>
          </c:dPt>
          <c:dPt>
            <c:idx val="432"/>
            <c:invertIfNegative val="1"/>
            <c:bubble3D val="0"/>
            <c:spPr>
              <a:solidFill>
                <a:srgbClr val="7ECAC4"/>
              </a:solidFill>
            </c:spPr>
            <c:extLst>
              <c:ext xmlns:c16="http://schemas.microsoft.com/office/drawing/2014/chart" uri="{C3380CC4-5D6E-409C-BE32-E72D297353CC}">
                <c16:uniqueId val="{00000363-B1B9-4BDE-A581-DFBD1F6389AC}"/>
              </c:ext>
            </c:extLst>
          </c:dPt>
          <c:dPt>
            <c:idx val="433"/>
            <c:invertIfNegative val="1"/>
            <c:bubble3D val="0"/>
            <c:spPr>
              <a:solidFill>
                <a:srgbClr val="7ECAC4"/>
              </a:solidFill>
            </c:spPr>
            <c:extLst>
              <c:ext xmlns:c16="http://schemas.microsoft.com/office/drawing/2014/chart" uri="{C3380CC4-5D6E-409C-BE32-E72D297353CC}">
                <c16:uniqueId val="{00000365-B1B9-4BDE-A581-DFBD1F6389AC}"/>
              </c:ext>
            </c:extLst>
          </c:dPt>
          <c:dPt>
            <c:idx val="434"/>
            <c:invertIfNegative val="1"/>
            <c:bubble3D val="0"/>
            <c:spPr>
              <a:solidFill>
                <a:srgbClr val="7ECAC4"/>
              </a:solidFill>
            </c:spPr>
            <c:extLst>
              <c:ext xmlns:c16="http://schemas.microsoft.com/office/drawing/2014/chart" uri="{C3380CC4-5D6E-409C-BE32-E72D297353CC}">
                <c16:uniqueId val="{00000367-B1B9-4BDE-A581-DFBD1F6389AC}"/>
              </c:ext>
            </c:extLst>
          </c:dPt>
          <c:dPt>
            <c:idx val="435"/>
            <c:invertIfNegative val="1"/>
            <c:bubble3D val="0"/>
            <c:spPr>
              <a:solidFill>
                <a:srgbClr val="7ECAC4"/>
              </a:solidFill>
            </c:spPr>
            <c:extLst>
              <c:ext xmlns:c16="http://schemas.microsoft.com/office/drawing/2014/chart" uri="{C3380CC4-5D6E-409C-BE32-E72D297353CC}">
                <c16:uniqueId val="{00000369-B1B9-4BDE-A581-DFBD1F6389AC}"/>
              </c:ext>
            </c:extLst>
          </c:dPt>
          <c:dPt>
            <c:idx val="436"/>
            <c:invertIfNegative val="1"/>
            <c:bubble3D val="0"/>
            <c:spPr>
              <a:solidFill>
                <a:srgbClr val="7ECAC4"/>
              </a:solidFill>
            </c:spPr>
            <c:extLst>
              <c:ext xmlns:c16="http://schemas.microsoft.com/office/drawing/2014/chart" uri="{C3380CC4-5D6E-409C-BE32-E72D297353CC}">
                <c16:uniqueId val="{0000036B-B1B9-4BDE-A581-DFBD1F6389AC}"/>
              </c:ext>
            </c:extLst>
          </c:dPt>
          <c:dPt>
            <c:idx val="437"/>
            <c:invertIfNegative val="1"/>
            <c:bubble3D val="0"/>
            <c:spPr>
              <a:solidFill>
                <a:srgbClr val="7ECAC4"/>
              </a:solidFill>
            </c:spPr>
            <c:extLst>
              <c:ext xmlns:c16="http://schemas.microsoft.com/office/drawing/2014/chart" uri="{C3380CC4-5D6E-409C-BE32-E72D297353CC}">
                <c16:uniqueId val="{0000036D-B1B9-4BDE-A581-DFBD1F6389AC}"/>
              </c:ext>
            </c:extLst>
          </c:dPt>
          <c:dPt>
            <c:idx val="438"/>
            <c:invertIfNegative val="1"/>
            <c:bubble3D val="0"/>
            <c:spPr>
              <a:solidFill>
                <a:srgbClr val="7ECAC4"/>
              </a:solidFill>
            </c:spPr>
            <c:extLst>
              <c:ext xmlns:c16="http://schemas.microsoft.com/office/drawing/2014/chart" uri="{C3380CC4-5D6E-409C-BE32-E72D297353CC}">
                <c16:uniqueId val="{0000036F-B1B9-4BDE-A581-DFBD1F6389AC}"/>
              </c:ext>
            </c:extLst>
          </c:dPt>
          <c:dPt>
            <c:idx val="439"/>
            <c:invertIfNegative val="1"/>
            <c:bubble3D val="0"/>
            <c:spPr>
              <a:solidFill>
                <a:srgbClr val="7ECAC4"/>
              </a:solidFill>
            </c:spPr>
            <c:extLst>
              <c:ext xmlns:c16="http://schemas.microsoft.com/office/drawing/2014/chart" uri="{C3380CC4-5D6E-409C-BE32-E72D297353CC}">
                <c16:uniqueId val="{00000371-B1B9-4BDE-A581-DFBD1F6389AC}"/>
              </c:ext>
            </c:extLst>
          </c:dPt>
          <c:dPt>
            <c:idx val="440"/>
            <c:invertIfNegative val="1"/>
            <c:bubble3D val="0"/>
            <c:spPr>
              <a:solidFill>
                <a:srgbClr val="7ECAC4"/>
              </a:solidFill>
            </c:spPr>
            <c:extLst>
              <c:ext xmlns:c16="http://schemas.microsoft.com/office/drawing/2014/chart" uri="{C3380CC4-5D6E-409C-BE32-E72D297353CC}">
                <c16:uniqueId val="{00000373-B1B9-4BDE-A581-DFBD1F6389AC}"/>
              </c:ext>
            </c:extLst>
          </c:dPt>
          <c:dPt>
            <c:idx val="441"/>
            <c:invertIfNegative val="1"/>
            <c:bubble3D val="0"/>
            <c:spPr>
              <a:solidFill>
                <a:srgbClr val="7ECAC4"/>
              </a:solidFill>
            </c:spPr>
            <c:extLst>
              <c:ext xmlns:c16="http://schemas.microsoft.com/office/drawing/2014/chart" uri="{C3380CC4-5D6E-409C-BE32-E72D297353CC}">
                <c16:uniqueId val="{00000375-B1B9-4BDE-A581-DFBD1F6389AC}"/>
              </c:ext>
            </c:extLst>
          </c:dPt>
          <c:dPt>
            <c:idx val="442"/>
            <c:invertIfNegative val="1"/>
            <c:bubble3D val="0"/>
            <c:spPr>
              <a:solidFill>
                <a:srgbClr val="7ECAC4"/>
              </a:solidFill>
            </c:spPr>
            <c:extLst>
              <c:ext xmlns:c16="http://schemas.microsoft.com/office/drawing/2014/chart" uri="{C3380CC4-5D6E-409C-BE32-E72D297353CC}">
                <c16:uniqueId val="{00000377-B1B9-4BDE-A581-DFBD1F6389AC}"/>
              </c:ext>
            </c:extLst>
          </c:dPt>
          <c:dPt>
            <c:idx val="443"/>
            <c:invertIfNegative val="1"/>
            <c:bubble3D val="0"/>
            <c:spPr>
              <a:solidFill>
                <a:srgbClr val="7ECAC4"/>
              </a:solidFill>
            </c:spPr>
            <c:extLst>
              <c:ext xmlns:c16="http://schemas.microsoft.com/office/drawing/2014/chart" uri="{C3380CC4-5D6E-409C-BE32-E72D297353CC}">
                <c16:uniqueId val="{00000379-B1B9-4BDE-A581-DFBD1F6389AC}"/>
              </c:ext>
            </c:extLst>
          </c:dPt>
          <c:dPt>
            <c:idx val="444"/>
            <c:invertIfNegative val="1"/>
            <c:bubble3D val="0"/>
            <c:spPr>
              <a:solidFill>
                <a:srgbClr val="7ECAC4"/>
              </a:solidFill>
            </c:spPr>
            <c:extLst>
              <c:ext xmlns:c16="http://schemas.microsoft.com/office/drawing/2014/chart" uri="{C3380CC4-5D6E-409C-BE32-E72D297353CC}">
                <c16:uniqueId val="{0000037B-B1B9-4BDE-A581-DFBD1F6389AC}"/>
              </c:ext>
            </c:extLst>
          </c:dPt>
          <c:dPt>
            <c:idx val="445"/>
            <c:invertIfNegative val="1"/>
            <c:bubble3D val="0"/>
            <c:spPr>
              <a:solidFill>
                <a:srgbClr val="7ECAC4"/>
              </a:solidFill>
            </c:spPr>
            <c:extLst>
              <c:ext xmlns:c16="http://schemas.microsoft.com/office/drawing/2014/chart" uri="{C3380CC4-5D6E-409C-BE32-E72D297353CC}">
                <c16:uniqueId val="{0000037D-B1B9-4BDE-A581-DFBD1F6389AC}"/>
              </c:ext>
            </c:extLst>
          </c:dPt>
          <c:dPt>
            <c:idx val="446"/>
            <c:invertIfNegative val="1"/>
            <c:bubble3D val="0"/>
            <c:spPr>
              <a:solidFill>
                <a:srgbClr val="7ECAC4"/>
              </a:solidFill>
            </c:spPr>
            <c:extLst>
              <c:ext xmlns:c16="http://schemas.microsoft.com/office/drawing/2014/chart" uri="{C3380CC4-5D6E-409C-BE32-E72D297353CC}">
                <c16:uniqueId val="{0000037F-B1B9-4BDE-A581-DFBD1F6389AC}"/>
              </c:ext>
            </c:extLst>
          </c:dPt>
          <c:dPt>
            <c:idx val="447"/>
            <c:invertIfNegative val="1"/>
            <c:bubble3D val="0"/>
            <c:spPr>
              <a:solidFill>
                <a:srgbClr val="7ECAC4"/>
              </a:solidFill>
            </c:spPr>
            <c:extLst>
              <c:ext xmlns:c16="http://schemas.microsoft.com/office/drawing/2014/chart" uri="{C3380CC4-5D6E-409C-BE32-E72D297353CC}">
                <c16:uniqueId val="{00000381-B1B9-4BDE-A581-DFBD1F6389AC}"/>
              </c:ext>
            </c:extLst>
          </c:dPt>
          <c:dPt>
            <c:idx val="448"/>
            <c:invertIfNegative val="1"/>
            <c:bubble3D val="0"/>
            <c:spPr>
              <a:solidFill>
                <a:srgbClr val="7ECAC4"/>
              </a:solidFill>
            </c:spPr>
            <c:extLst>
              <c:ext xmlns:c16="http://schemas.microsoft.com/office/drawing/2014/chart" uri="{C3380CC4-5D6E-409C-BE32-E72D297353CC}">
                <c16:uniqueId val="{00000383-B1B9-4BDE-A581-DFBD1F6389AC}"/>
              </c:ext>
            </c:extLst>
          </c:dPt>
          <c:dPt>
            <c:idx val="449"/>
            <c:invertIfNegative val="1"/>
            <c:bubble3D val="0"/>
            <c:spPr>
              <a:solidFill>
                <a:srgbClr val="7ECAC4"/>
              </a:solidFill>
            </c:spPr>
            <c:extLst>
              <c:ext xmlns:c16="http://schemas.microsoft.com/office/drawing/2014/chart" uri="{C3380CC4-5D6E-409C-BE32-E72D297353CC}">
                <c16:uniqueId val="{00000385-B1B9-4BDE-A581-DFBD1F6389AC}"/>
              </c:ext>
            </c:extLst>
          </c:dPt>
          <c:dPt>
            <c:idx val="450"/>
            <c:invertIfNegative val="1"/>
            <c:bubble3D val="0"/>
            <c:spPr>
              <a:solidFill>
                <a:srgbClr val="7ECAC4"/>
              </a:solidFill>
            </c:spPr>
            <c:extLst>
              <c:ext xmlns:c16="http://schemas.microsoft.com/office/drawing/2014/chart" uri="{C3380CC4-5D6E-409C-BE32-E72D297353CC}">
                <c16:uniqueId val="{00000387-B1B9-4BDE-A581-DFBD1F6389AC}"/>
              </c:ext>
            </c:extLst>
          </c:dPt>
          <c:dPt>
            <c:idx val="451"/>
            <c:invertIfNegative val="1"/>
            <c:bubble3D val="0"/>
            <c:spPr>
              <a:solidFill>
                <a:srgbClr val="7ECAC4"/>
              </a:solidFill>
            </c:spPr>
            <c:extLst>
              <c:ext xmlns:c16="http://schemas.microsoft.com/office/drawing/2014/chart" uri="{C3380CC4-5D6E-409C-BE32-E72D297353CC}">
                <c16:uniqueId val="{00000389-B1B9-4BDE-A581-DFBD1F6389AC}"/>
              </c:ext>
            </c:extLst>
          </c:dPt>
          <c:dPt>
            <c:idx val="452"/>
            <c:invertIfNegative val="1"/>
            <c:bubble3D val="0"/>
            <c:spPr>
              <a:solidFill>
                <a:srgbClr val="7ECAC4"/>
              </a:solidFill>
            </c:spPr>
            <c:extLst>
              <c:ext xmlns:c16="http://schemas.microsoft.com/office/drawing/2014/chart" uri="{C3380CC4-5D6E-409C-BE32-E72D297353CC}">
                <c16:uniqueId val="{0000038B-B1B9-4BDE-A581-DFBD1F6389AC}"/>
              </c:ext>
            </c:extLst>
          </c:dPt>
          <c:dPt>
            <c:idx val="453"/>
            <c:invertIfNegative val="1"/>
            <c:bubble3D val="0"/>
            <c:spPr>
              <a:solidFill>
                <a:srgbClr val="7ECAC4"/>
              </a:solidFill>
            </c:spPr>
            <c:extLst>
              <c:ext xmlns:c16="http://schemas.microsoft.com/office/drawing/2014/chart" uri="{C3380CC4-5D6E-409C-BE32-E72D297353CC}">
                <c16:uniqueId val="{0000038D-B1B9-4BDE-A581-DFBD1F6389AC}"/>
              </c:ext>
            </c:extLst>
          </c:dPt>
          <c:dPt>
            <c:idx val="454"/>
            <c:invertIfNegative val="1"/>
            <c:bubble3D val="0"/>
            <c:spPr>
              <a:solidFill>
                <a:srgbClr val="7ECAC4"/>
              </a:solidFill>
            </c:spPr>
            <c:extLst>
              <c:ext xmlns:c16="http://schemas.microsoft.com/office/drawing/2014/chart" uri="{C3380CC4-5D6E-409C-BE32-E72D297353CC}">
                <c16:uniqueId val="{0000038F-B1B9-4BDE-A581-DFBD1F6389AC}"/>
              </c:ext>
            </c:extLst>
          </c:dPt>
          <c:dPt>
            <c:idx val="455"/>
            <c:invertIfNegative val="1"/>
            <c:bubble3D val="0"/>
            <c:spPr>
              <a:solidFill>
                <a:srgbClr val="7ECAC4"/>
              </a:solidFill>
            </c:spPr>
            <c:extLst>
              <c:ext xmlns:c16="http://schemas.microsoft.com/office/drawing/2014/chart" uri="{C3380CC4-5D6E-409C-BE32-E72D297353CC}">
                <c16:uniqueId val="{00000391-B1B9-4BDE-A581-DFBD1F6389AC}"/>
              </c:ext>
            </c:extLst>
          </c:dPt>
          <c:dPt>
            <c:idx val="456"/>
            <c:invertIfNegative val="1"/>
            <c:bubble3D val="0"/>
            <c:spPr>
              <a:solidFill>
                <a:srgbClr val="7ECAC4"/>
              </a:solidFill>
            </c:spPr>
            <c:extLst>
              <c:ext xmlns:c16="http://schemas.microsoft.com/office/drawing/2014/chart" uri="{C3380CC4-5D6E-409C-BE32-E72D297353CC}">
                <c16:uniqueId val="{00000393-B1B9-4BDE-A581-DFBD1F6389AC}"/>
              </c:ext>
            </c:extLst>
          </c:dPt>
          <c:dPt>
            <c:idx val="457"/>
            <c:invertIfNegative val="1"/>
            <c:bubble3D val="0"/>
            <c:spPr>
              <a:solidFill>
                <a:srgbClr val="7ECAC4"/>
              </a:solidFill>
            </c:spPr>
            <c:extLst>
              <c:ext xmlns:c16="http://schemas.microsoft.com/office/drawing/2014/chart" uri="{C3380CC4-5D6E-409C-BE32-E72D297353CC}">
                <c16:uniqueId val="{00000395-B1B9-4BDE-A581-DFBD1F6389AC}"/>
              </c:ext>
            </c:extLst>
          </c:dPt>
          <c:dPt>
            <c:idx val="458"/>
            <c:invertIfNegative val="1"/>
            <c:bubble3D val="0"/>
            <c:spPr>
              <a:solidFill>
                <a:srgbClr val="7ECAC4"/>
              </a:solidFill>
            </c:spPr>
            <c:extLst>
              <c:ext xmlns:c16="http://schemas.microsoft.com/office/drawing/2014/chart" uri="{C3380CC4-5D6E-409C-BE32-E72D297353CC}">
                <c16:uniqueId val="{00000397-B1B9-4BDE-A581-DFBD1F6389AC}"/>
              </c:ext>
            </c:extLst>
          </c:dPt>
          <c:dPt>
            <c:idx val="459"/>
            <c:invertIfNegative val="1"/>
            <c:bubble3D val="0"/>
            <c:spPr>
              <a:solidFill>
                <a:srgbClr val="7ECAC4"/>
              </a:solidFill>
            </c:spPr>
            <c:extLst>
              <c:ext xmlns:c16="http://schemas.microsoft.com/office/drawing/2014/chart" uri="{C3380CC4-5D6E-409C-BE32-E72D297353CC}">
                <c16:uniqueId val="{00000399-B1B9-4BDE-A581-DFBD1F6389AC}"/>
              </c:ext>
            </c:extLst>
          </c:dPt>
          <c:dPt>
            <c:idx val="460"/>
            <c:invertIfNegative val="1"/>
            <c:bubble3D val="0"/>
            <c:spPr>
              <a:solidFill>
                <a:srgbClr val="7ECAC4"/>
              </a:solidFill>
            </c:spPr>
            <c:extLst>
              <c:ext xmlns:c16="http://schemas.microsoft.com/office/drawing/2014/chart" uri="{C3380CC4-5D6E-409C-BE32-E72D297353CC}">
                <c16:uniqueId val="{0000039B-B1B9-4BDE-A581-DFBD1F6389AC}"/>
              </c:ext>
            </c:extLst>
          </c:dPt>
          <c:dPt>
            <c:idx val="461"/>
            <c:invertIfNegative val="1"/>
            <c:bubble3D val="0"/>
            <c:spPr>
              <a:solidFill>
                <a:srgbClr val="7ECAC4"/>
              </a:solidFill>
            </c:spPr>
            <c:extLst>
              <c:ext xmlns:c16="http://schemas.microsoft.com/office/drawing/2014/chart" uri="{C3380CC4-5D6E-409C-BE32-E72D297353CC}">
                <c16:uniqueId val="{0000039D-B1B9-4BDE-A581-DFBD1F6389AC}"/>
              </c:ext>
            </c:extLst>
          </c:dPt>
          <c:dPt>
            <c:idx val="462"/>
            <c:invertIfNegative val="1"/>
            <c:bubble3D val="0"/>
            <c:spPr>
              <a:solidFill>
                <a:srgbClr val="7ECAC4"/>
              </a:solidFill>
            </c:spPr>
            <c:extLst>
              <c:ext xmlns:c16="http://schemas.microsoft.com/office/drawing/2014/chart" uri="{C3380CC4-5D6E-409C-BE32-E72D297353CC}">
                <c16:uniqueId val="{0000039F-B1B9-4BDE-A581-DFBD1F6389AC}"/>
              </c:ext>
            </c:extLst>
          </c:dPt>
          <c:dPt>
            <c:idx val="463"/>
            <c:invertIfNegative val="1"/>
            <c:bubble3D val="0"/>
            <c:spPr>
              <a:solidFill>
                <a:srgbClr val="7ECAC4"/>
              </a:solidFill>
            </c:spPr>
            <c:extLst>
              <c:ext xmlns:c16="http://schemas.microsoft.com/office/drawing/2014/chart" uri="{C3380CC4-5D6E-409C-BE32-E72D297353CC}">
                <c16:uniqueId val="{000003A1-B1B9-4BDE-A581-DFBD1F6389AC}"/>
              </c:ext>
            </c:extLst>
          </c:dPt>
          <c:dPt>
            <c:idx val="464"/>
            <c:invertIfNegative val="1"/>
            <c:bubble3D val="0"/>
            <c:spPr>
              <a:solidFill>
                <a:srgbClr val="7ECAC4"/>
              </a:solidFill>
            </c:spPr>
            <c:extLst>
              <c:ext xmlns:c16="http://schemas.microsoft.com/office/drawing/2014/chart" uri="{C3380CC4-5D6E-409C-BE32-E72D297353CC}">
                <c16:uniqueId val="{000003A3-B1B9-4BDE-A581-DFBD1F6389AC}"/>
              </c:ext>
            </c:extLst>
          </c:dPt>
          <c:dPt>
            <c:idx val="465"/>
            <c:invertIfNegative val="1"/>
            <c:bubble3D val="0"/>
            <c:spPr>
              <a:solidFill>
                <a:srgbClr val="7ECAC4"/>
              </a:solidFill>
            </c:spPr>
            <c:extLst>
              <c:ext xmlns:c16="http://schemas.microsoft.com/office/drawing/2014/chart" uri="{C3380CC4-5D6E-409C-BE32-E72D297353CC}">
                <c16:uniqueId val="{000003A5-B1B9-4BDE-A581-DFBD1F6389AC}"/>
              </c:ext>
            </c:extLst>
          </c:dPt>
          <c:dPt>
            <c:idx val="466"/>
            <c:invertIfNegative val="1"/>
            <c:bubble3D val="0"/>
            <c:spPr>
              <a:solidFill>
                <a:srgbClr val="7ECAC4"/>
              </a:solidFill>
            </c:spPr>
            <c:extLst>
              <c:ext xmlns:c16="http://schemas.microsoft.com/office/drawing/2014/chart" uri="{C3380CC4-5D6E-409C-BE32-E72D297353CC}">
                <c16:uniqueId val="{000003A7-B1B9-4BDE-A581-DFBD1F6389AC}"/>
              </c:ext>
            </c:extLst>
          </c:dPt>
          <c:dPt>
            <c:idx val="467"/>
            <c:invertIfNegative val="1"/>
            <c:bubble3D val="0"/>
            <c:spPr>
              <a:solidFill>
                <a:srgbClr val="7ECAC4"/>
              </a:solidFill>
            </c:spPr>
            <c:extLst>
              <c:ext xmlns:c16="http://schemas.microsoft.com/office/drawing/2014/chart" uri="{C3380CC4-5D6E-409C-BE32-E72D297353CC}">
                <c16:uniqueId val="{000003A9-B1B9-4BDE-A581-DFBD1F6389AC}"/>
              </c:ext>
            </c:extLst>
          </c:dPt>
          <c:dPt>
            <c:idx val="468"/>
            <c:invertIfNegative val="1"/>
            <c:bubble3D val="0"/>
            <c:spPr>
              <a:solidFill>
                <a:srgbClr val="7ECAC4"/>
              </a:solidFill>
            </c:spPr>
            <c:extLst>
              <c:ext xmlns:c16="http://schemas.microsoft.com/office/drawing/2014/chart" uri="{C3380CC4-5D6E-409C-BE32-E72D297353CC}">
                <c16:uniqueId val="{000003AB-B1B9-4BDE-A581-DFBD1F6389AC}"/>
              </c:ext>
            </c:extLst>
          </c:dPt>
          <c:dPt>
            <c:idx val="469"/>
            <c:invertIfNegative val="1"/>
            <c:bubble3D val="0"/>
            <c:spPr>
              <a:solidFill>
                <a:srgbClr val="7ECAC4"/>
              </a:solidFill>
            </c:spPr>
            <c:extLst>
              <c:ext xmlns:c16="http://schemas.microsoft.com/office/drawing/2014/chart" uri="{C3380CC4-5D6E-409C-BE32-E72D297353CC}">
                <c16:uniqueId val="{000003AD-B1B9-4BDE-A581-DFBD1F6389AC}"/>
              </c:ext>
            </c:extLst>
          </c:dPt>
          <c:dPt>
            <c:idx val="470"/>
            <c:invertIfNegative val="1"/>
            <c:bubble3D val="0"/>
            <c:spPr>
              <a:solidFill>
                <a:srgbClr val="7ECAC4"/>
              </a:solidFill>
            </c:spPr>
            <c:extLst>
              <c:ext xmlns:c16="http://schemas.microsoft.com/office/drawing/2014/chart" uri="{C3380CC4-5D6E-409C-BE32-E72D297353CC}">
                <c16:uniqueId val="{000003AF-B1B9-4BDE-A581-DFBD1F6389AC}"/>
              </c:ext>
            </c:extLst>
          </c:dPt>
          <c:dPt>
            <c:idx val="471"/>
            <c:invertIfNegative val="1"/>
            <c:bubble3D val="0"/>
            <c:spPr>
              <a:solidFill>
                <a:srgbClr val="7ECAC4"/>
              </a:solidFill>
            </c:spPr>
            <c:extLst>
              <c:ext xmlns:c16="http://schemas.microsoft.com/office/drawing/2014/chart" uri="{C3380CC4-5D6E-409C-BE32-E72D297353CC}">
                <c16:uniqueId val="{000003B1-B1B9-4BDE-A581-DFBD1F6389AC}"/>
              </c:ext>
            </c:extLst>
          </c:dPt>
          <c:dPt>
            <c:idx val="472"/>
            <c:invertIfNegative val="1"/>
            <c:bubble3D val="0"/>
            <c:spPr>
              <a:solidFill>
                <a:srgbClr val="7ECAC4"/>
              </a:solidFill>
            </c:spPr>
            <c:extLst>
              <c:ext xmlns:c16="http://schemas.microsoft.com/office/drawing/2014/chart" uri="{C3380CC4-5D6E-409C-BE32-E72D297353CC}">
                <c16:uniqueId val="{000003B3-B1B9-4BDE-A581-DFBD1F6389AC}"/>
              </c:ext>
            </c:extLst>
          </c:dPt>
          <c:dPt>
            <c:idx val="473"/>
            <c:invertIfNegative val="1"/>
            <c:bubble3D val="0"/>
            <c:spPr>
              <a:solidFill>
                <a:srgbClr val="7ECAC4"/>
              </a:solidFill>
            </c:spPr>
            <c:extLst>
              <c:ext xmlns:c16="http://schemas.microsoft.com/office/drawing/2014/chart" uri="{C3380CC4-5D6E-409C-BE32-E72D297353CC}">
                <c16:uniqueId val="{000003B5-B1B9-4BDE-A581-DFBD1F6389AC}"/>
              </c:ext>
            </c:extLst>
          </c:dPt>
          <c:dPt>
            <c:idx val="474"/>
            <c:invertIfNegative val="1"/>
            <c:bubble3D val="0"/>
            <c:spPr>
              <a:solidFill>
                <a:srgbClr val="7ECAC4"/>
              </a:solidFill>
            </c:spPr>
            <c:extLst>
              <c:ext xmlns:c16="http://schemas.microsoft.com/office/drawing/2014/chart" uri="{C3380CC4-5D6E-409C-BE32-E72D297353CC}">
                <c16:uniqueId val="{000003B7-B1B9-4BDE-A581-DFBD1F6389AC}"/>
              </c:ext>
            </c:extLst>
          </c:dPt>
          <c:dPt>
            <c:idx val="475"/>
            <c:invertIfNegative val="1"/>
            <c:bubble3D val="0"/>
            <c:spPr>
              <a:solidFill>
                <a:srgbClr val="7ECAC4"/>
              </a:solidFill>
            </c:spPr>
            <c:extLst>
              <c:ext xmlns:c16="http://schemas.microsoft.com/office/drawing/2014/chart" uri="{C3380CC4-5D6E-409C-BE32-E72D297353CC}">
                <c16:uniqueId val="{000003B9-B1B9-4BDE-A581-DFBD1F6389AC}"/>
              </c:ext>
            </c:extLst>
          </c:dPt>
          <c:dPt>
            <c:idx val="476"/>
            <c:invertIfNegative val="1"/>
            <c:bubble3D val="0"/>
            <c:spPr>
              <a:solidFill>
                <a:srgbClr val="7ECAC4"/>
              </a:solidFill>
            </c:spPr>
            <c:extLst>
              <c:ext xmlns:c16="http://schemas.microsoft.com/office/drawing/2014/chart" uri="{C3380CC4-5D6E-409C-BE32-E72D297353CC}">
                <c16:uniqueId val="{000003BB-B1B9-4BDE-A581-DFBD1F6389AC}"/>
              </c:ext>
            </c:extLst>
          </c:dPt>
          <c:dPt>
            <c:idx val="477"/>
            <c:invertIfNegative val="1"/>
            <c:bubble3D val="0"/>
            <c:spPr>
              <a:solidFill>
                <a:srgbClr val="7ECAC4"/>
              </a:solidFill>
            </c:spPr>
            <c:extLst>
              <c:ext xmlns:c16="http://schemas.microsoft.com/office/drawing/2014/chart" uri="{C3380CC4-5D6E-409C-BE32-E72D297353CC}">
                <c16:uniqueId val="{000003BD-B1B9-4BDE-A581-DFBD1F6389AC}"/>
              </c:ext>
            </c:extLst>
          </c:dPt>
          <c:dPt>
            <c:idx val="478"/>
            <c:invertIfNegative val="1"/>
            <c:bubble3D val="0"/>
            <c:spPr>
              <a:solidFill>
                <a:srgbClr val="7ECAC4"/>
              </a:solidFill>
            </c:spPr>
            <c:extLst>
              <c:ext xmlns:c16="http://schemas.microsoft.com/office/drawing/2014/chart" uri="{C3380CC4-5D6E-409C-BE32-E72D297353CC}">
                <c16:uniqueId val="{000003BF-B1B9-4BDE-A581-DFBD1F6389AC}"/>
              </c:ext>
            </c:extLst>
          </c:dPt>
          <c:dPt>
            <c:idx val="479"/>
            <c:invertIfNegative val="1"/>
            <c:bubble3D val="0"/>
            <c:spPr>
              <a:solidFill>
                <a:srgbClr val="7ECAC4"/>
              </a:solidFill>
            </c:spPr>
            <c:extLst>
              <c:ext xmlns:c16="http://schemas.microsoft.com/office/drawing/2014/chart" uri="{C3380CC4-5D6E-409C-BE32-E72D297353CC}">
                <c16:uniqueId val="{000003C1-B1B9-4BDE-A581-DFBD1F6389AC}"/>
              </c:ext>
            </c:extLst>
          </c:dPt>
          <c:dPt>
            <c:idx val="480"/>
            <c:invertIfNegative val="1"/>
            <c:bubble3D val="0"/>
            <c:spPr>
              <a:solidFill>
                <a:srgbClr val="7ECAC4"/>
              </a:solidFill>
            </c:spPr>
            <c:extLst>
              <c:ext xmlns:c16="http://schemas.microsoft.com/office/drawing/2014/chart" uri="{C3380CC4-5D6E-409C-BE32-E72D297353CC}">
                <c16:uniqueId val="{000003C3-B1B9-4BDE-A581-DFBD1F6389AC}"/>
              </c:ext>
            </c:extLst>
          </c:dPt>
          <c:dPt>
            <c:idx val="481"/>
            <c:invertIfNegative val="1"/>
            <c:bubble3D val="0"/>
            <c:spPr>
              <a:solidFill>
                <a:srgbClr val="7ECAC4"/>
              </a:solidFill>
            </c:spPr>
            <c:extLst>
              <c:ext xmlns:c16="http://schemas.microsoft.com/office/drawing/2014/chart" uri="{C3380CC4-5D6E-409C-BE32-E72D297353CC}">
                <c16:uniqueId val="{000003C5-B1B9-4BDE-A581-DFBD1F6389AC}"/>
              </c:ext>
            </c:extLst>
          </c:dPt>
          <c:dPt>
            <c:idx val="482"/>
            <c:invertIfNegative val="1"/>
            <c:bubble3D val="0"/>
            <c:spPr>
              <a:solidFill>
                <a:srgbClr val="7ECAC4"/>
              </a:solidFill>
            </c:spPr>
            <c:extLst>
              <c:ext xmlns:c16="http://schemas.microsoft.com/office/drawing/2014/chart" uri="{C3380CC4-5D6E-409C-BE32-E72D297353CC}">
                <c16:uniqueId val="{000003C7-B1B9-4BDE-A581-DFBD1F6389AC}"/>
              </c:ext>
            </c:extLst>
          </c:dPt>
          <c:dPt>
            <c:idx val="483"/>
            <c:invertIfNegative val="1"/>
            <c:bubble3D val="0"/>
            <c:spPr>
              <a:solidFill>
                <a:srgbClr val="7ECAC4"/>
              </a:solidFill>
            </c:spPr>
            <c:extLst>
              <c:ext xmlns:c16="http://schemas.microsoft.com/office/drawing/2014/chart" uri="{C3380CC4-5D6E-409C-BE32-E72D297353CC}">
                <c16:uniqueId val="{000003C9-B1B9-4BDE-A581-DFBD1F6389AC}"/>
              </c:ext>
            </c:extLst>
          </c:dPt>
          <c:dPt>
            <c:idx val="484"/>
            <c:invertIfNegative val="1"/>
            <c:bubble3D val="0"/>
            <c:spPr>
              <a:solidFill>
                <a:srgbClr val="7ECAC4"/>
              </a:solidFill>
            </c:spPr>
            <c:extLst>
              <c:ext xmlns:c16="http://schemas.microsoft.com/office/drawing/2014/chart" uri="{C3380CC4-5D6E-409C-BE32-E72D297353CC}">
                <c16:uniqueId val="{000003CB-B1B9-4BDE-A581-DFBD1F6389AC}"/>
              </c:ext>
            </c:extLst>
          </c:dPt>
          <c:dPt>
            <c:idx val="485"/>
            <c:invertIfNegative val="1"/>
            <c:bubble3D val="0"/>
            <c:spPr>
              <a:solidFill>
                <a:srgbClr val="7ECAC4"/>
              </a:solidFill>
            </c:spPr>
            <c:extLst>
              <c:ext xmlns:c16="http://schemas.microsoft.com/office/drawing/2014/chart" uri="{C3380CC4-5D6E-409C-BE32-E72D297353CC}">
                <c16:uniqueId val="{000003CD-B1B9-4BDE-A581-DFBD1F6389AC}"/>
              </c:ext>
            </c:extLst>
          </c:dPt>
          <c:dPt>
            <c:idx val="486"/>
            <c:invertIfNegative val="1"/>
            <c:bubble3D val="0"/>
            <c:spPr>
              <a:solidFill>
                <a:srgbClr val="7ECAC4"/>
              </a:solidFill>
            </c:spPr>
            <c:extLst>
              <c:ext xmlns:c16="http://schemas.microsoft.com/office/drawing/2014/chart" uri="{C3380CC4-5D6E-409C-BE32-E72D297353CC}">
                <c16:uniqueId val="{000003CF-B1B9-4BDE-A581-DFBD1F6389AC}"/>
              </c:ext>
            </c:extLst>
          </c:dPt>
          <c:dPt>
            <c:idx val="487"/>
            <c:invertIfNegative val="1"/>
            <c:bubble3D val="0"/>
            <c:spPr>
              <a:solidFill>
                <a:srgbClr val="7ECAC4"/>
              </a:solidFill>
            </c:spPr>
            <c:extLst>
              <c:ext xmlns:c16="http://schemas.microsoft.com/office/drawing/2014/chart" uri="{C3380CC4-5D6E-409C-BE32-E72D297353CC}">
                <c16:uniqueId val="{000003D1-B1B9-4BDE-A581-DFBD1F6389AC}"/>
              </c:ext>
            </c:extLst>
          </c:dPt>
          <c:dPt>
            <c:idx val="488"/>
            <c:invertIfNegative val="1"/>
            <c:bubble3D val="0"/>
            <c:spPr>
              <a:solidFill>
                <a:srgbClr val="7ECAC4"/>
              </a:solidFill>
            </c:spPr>
            <c:extLst>
              <c:ext xmlns:c16="http://schemas.microsoft.com/office/drawing/2014/chart" uri="{C3380CC4-5D6E-409C-BE32-E72D297353CC}">
                <c16:uniqueId val="{000003D3-B1B9-4BDE-A581-DFBD1F6389AC}"/>
              </c:ext>
            </c:extLst>
          </c:dPt>
          <c:dPt>
            <c:idx val="489"/>
            <c:invertIfNegative val="1"/>
            <c:bubble3D val="0"/>
            <c:spPr>
              <a:solidFill>
                <a:srgbClr val="7ECAC4"/>
              </a:solidFill>
            </c:spPr>
            <c:extLst>
              <c:ext xmlns:c16="http://schemas.microsoft.com/office/drawing/2014/chart" uri="{C3380CC4-5D6E-409C-BE32-E72D297353CC}">
                <c16:uniqueId val="{000003D5-B1B9-4BDE-A581-DFBD1F6389AC}"/>
              </c:ext>
            </c:extLst>
          </c:dPt>
          <c:dPt>
            <c:idx val="490"/>
            <c:invertIfNegative val="1"/>
            <c:bubble3D val="0"/>
            <c:spPr>
              <a:solidFill>
                <a:srgbClr val="7ECAC4"/>
              </a:solidFill>
            </c:spPr>
            <c:extLst>
              <c:ext xmlns:c16="http://schemas.microsoft.com/office/drawing/2014/chart" uri="{C3380CC4-5D6E-409C-BE32-E72D297353CC}">
                <c16:uniqueId val="{000003D7-B1B9-4BDE-A581-DFBD1F6389AC}"/>
              </c:ext>
            </c:extLst>
          </c:dPt>
          <c:dPt>
            <c:idx val="491"/>
            <c:invertIfNegative val="1"/>
            <c:bubble3D val="0"/>
            <c:spPr>
              <a:solidFill>
                <a:srgbClr val="7ECAC4"/>
              </a:solidFill>
            </c:spPr>
            <c:extLst>
              <c:ext xmlns:c16="http://schemas.microsoft.com/office/drawing/2014/chart" uri="{C3380CC4-5D6E-409C-BE32-E72D297353CC}">
                <c16:uniqueId val="{000003D9-B1B9-4BDE-A581-DFBD1F6389AC}"/>
              </c:ext>
            </c:extLst>
          </c:dPt>
          <c:dPt>
            <c:idx val="492"/>
            <c:invertIfNegative val="1"/>
            <c:bubble3D val="0"/>
            <c:spPr>
              <a:solidFill>
                <a:srgbClr val="7ECAC4"/>
              </a:solidFill>
            </c:spPr>
            <c:extLst>
              <c:ext xmlns:c16="http://schemas.microsoft.com/office/drawing/2014/chart" uri="{C3380CC4-5D6E-409C-BE32-E72D297353CC}">
                <c16:uniqueId val="{000003DB-B1B9-4BDE-A581-DFBD1F6389AC}"/>
              </c:ext>
            </c:extLst>
          </c:dPt>
          <c:dPt>
            <c:idx val="493"/>
            <c:invertIfNegative val="1"/>
            <c:bubble3D val="0"/>
            <c:spPr>
              <a:solidFill>
                <a:srgbClr val="7ECAC4"/>
              </a:solidFill>
            </c:spPr>
            <c:extLst>
              <c:ext xmlns:c16="http://schemas.microsoft.com/office/drawing/2014/chart" uri="{C3380CC4-5D6E-409C-BE32-E72D297353CC}">
                <c16:uniqueId val="{000003DD-B1B9-4BDE-A581-DFBD1F6389AC}"/>
              </c:ext>
            </c:extLst>
          </c:dPt>
          <c:dPt>
            <c:idx val="494"/>
            <c:invertIfNegative val="1"/>
            <c:bubble3D val="0"/>
            <c:spPr>
              <a:solidFill>
                <a:srgbClr val="AEABAB"/>
              </a:solidFill>
            </c:spPr>
            <c:extLst>
              <c:ext xmlns:c16="http://schemas.microsoft.com/office/drawing/2014/chart" uri="{C3380CC4-5D6E-409C-BE32-E72D297353CC}">
                <c16:uniqueId val="{000003DF-B1B9-4BDE-A581-DFBD1F6389AC}"/>
              </c:ext>
            </c:extLst>
          </c:dPt>
          <c:dPt>
            <c:idx val="495"/>
            <c:invertIfNegative val="1"/>
            <c:bubble3D val="0"/>
            <c:spPr>
              <a:solidFill>
                <a:srgbClr val="AEABAB"/>
              </a:solidFill>
            </c:spPr>
            <c:extLst>
              <c:ext xmlns:c16="http://schemas.microsoft.com/office/drawing/2014/chart" uri="{C3380CC4-5D6E-409C-BE32-E72D297353CC}">
                <c16:uniqueId val="{000003E1-B1B9-4BDE-A581-DFBD1F6389AC}"/>
              </c:ext>
            </c:extLst>
          </c:dPt>
          <c:dPt>
            <c:idx val="496"/>
            <c:invertIfNegative val="1"/>
            <c:bubble3D val="0"/>
            <c:spPr>
              <a:solidFill>
                <a:srgbClr val="AEABAB"/>
              </a:solidFill>
            </c:spPr>
            <c:extLst>
              <c:ext xmlns:c16="http://schemas.microsoft.com/office/drawing/2014/chart" uri="{C3380CC4-5D6E-409C-BE32-E72D297353CC}">
                <c16:uniqueId val="{000003E3-B1B9-4BDE-A581-DFBD1F6389AC}"/>
              </c:ext>
            </c:extLst>
          </c:dPt>
          <c:dPt>
            <c:idx val="497"/>
            <c:invertIfNegative val="1"/>
            <c:bubble3D val="0"/>
            <c:spPr>
              <a:solidFill>
                <a:srgbClr val="AEABAB"/>
              </a:solidFill>
            </c:spPr>
            <c:extLst>
              <c:ext xmlns:c16="http://schemas.microsoft.com/office/drawing/2014/chart" uri="{C3380CC4-5D6E-409C-BE32-E72D297353CC}">
                <c16:uniqueId val="{000003E5-B1B9-4BDE-A581-DFBD1F6389AC}"/>
              </c:ext>
            </c:extLst>
          </c:dPt>
          <c:dPt>
            <c:idx val="498"/>
            <c:invertIfNegative val="1"/>
            <c:bubble3D val="0"/>
            <c:spPr>
              <a:solidFill>
                <a:srgbClr val="AEABAB"/>
              </a:solidFill>
            </c:spPr>
            <c:extLst>
              <c:ext xmlns:c16="http://schemas.microsoft.com/office/drawing/2014/chart" uri="{C3380CC4-5D6E-409C-BE32-E72D297353CC}">
                <c16:uniqueId val="{000003E7-B1B9-4BDE-A581-DFBD1F6389AC}"/>
              </c:ext>
            </c:extLst>
          </c:dPt>
          <c:dPt>
            <c:idx val="499"/>
            <c:invertIfNegative val="1"/>
            <c:bubble3D val="0"/>
            <c:spPr>
              <a:solidFill>
                <a:srgbClr val="AEABAB"/>
              </a:solidFill>
            </c:spPr>
            <c:extLst>
              <c:ext xmlns:c16="http://schemas.microsoft.com/office/drawing/2014/chart" uri="{C3380CC4-5D6E-409C-BE32-E72D297353CC}">
                <c16:uniqueId val="{000003E9-B1B9-4BDE-A581-DFBD1F6389AC}"/>
              </c:ext>
            </c:extLst>
          </c:dPt>
          <c:dPt>
            <c:idx val="500"/>
            <c:invertIfNegative val="1"/>
            <c:bubble3D val="0"/>
            <c:spPr>
              <a:solidFill>
                <a:srgbClr val="AEABAB"/>
              </a:solidFill>
            </c:spPr>
            <c:extLst>
              <c:ext xmlns:c16="http://schemas.microsoft.com/office/drawing/2014/chart" uri="{C3380CC4-5D6E-409C-BE32-E72D297353CC}">
                <c16:uniqueId val="{000003EB-B1B9-4BDE-A581-DFBD1F6389AC}"/>
              </c:ext>
            </c:extLst>
          </c:dPt>
          <c:dPt>
            <c:idx val="501"/>
            <c:invertIfNegative val="1"/>
            <c:bubble3D val="0"/>
            <c:spPr>
              <a:solidFill>
                <a:srgbClr val="AEABAB"/>
              </a:solidFill>
            </c:spPr>
            <c:extLst>
              <c:ext xmlns:c16="http://schemas.microsoft.com/office/drawing/2014/chart" uri="{C3380CC4-5D6E-409C-BE32-E72D297353CC}">
                <c16:uniqueId val="{000003ED-B1B9-4BDE-A581-DFBD1F6389AC}"/>
              </c:ext>
            </c:extLst>
          </c:dPt>
          <c:dPt>
            <c:idx val="502"/>
            <c:invertIfNegative val="1"/>
            <c:bubble3D val="0"/>
            <c:spPr>
              <a:solidFill>
                <a:srgbClr val="AEABAB"/>
              </a:solidFill>
            </c:spPr>
            <c:extLst>
              <c:ext xmlns:c16="http://schemas.microsoft.com/office/drawing/2014/chart" uri="{C3380CC4-5D6E-409C-BE32-E72D297353CC}">
                <c16:uniqueId val="{000003EF-B1B9-4BDE-A581-DFBD1F6389AC}"/>
              </c:ext>
            </c:extLst>
          </c:dPt>
          <c:dPt>
            <c:idx val="503"/>
            <c:invertIfNegative val="1"/>
            <c:bubble3D val="0"/>
            <c:spPr>
              <a:solidFill>
                <a:srgbClr val="AEABAB"/>
              </a:solidFill>
            </c:spPr>
            <c:extLst>
              <c:ext xmlns:c16="http://schemas.microsoft.com/office/drawing/2014/chart" uri="{C3380CC4-5D6E-409C-BE32-E72D297353CC}">
                <c16:uniqueId val="{000003F1-B1B9-4BDE-A581-DFBD1F6389AC}"/>
              </c:ext>
            </c:extLst>
          </c:dPt>
          <c:dPt>
            <c:idx val="504"/>
            <c:invertIfNegative val="1"/>
            <c:bubble3D val="0"/>
            <c:spPr>
              <a:solidFill>
                <a:srgbClr val="AEABAB"/>
              </a:solidFill>
            </c:spPr>
            <c:extLst>
              <c:ext xmlns:c16="http://schemas.microsoft.com/office/drawing/2014/chart" uri="{C3380CC4-5D6E-409C-BE32-E72D297353CC}">
                <c16:uniqueId val="{000003F3-B1B9-4BDE-A581-DFBD1F6389AC}"/>
              </c:ext>
            </c:extLst>
          </c:dPt>
          <c:dPt>
            <c:idx val="505"/>
            <c:invertIfNegative val="1"/>
            <c:bubble3D val="0"/>
            <c:spPr>
              <a:solidFill>
                <a:srgbClr val="AEABAB"/>
              </a:solidFill>
            </c:spPr>
            <c:extLst>
              <c:ext xmlns:c16="http://schemas.microsoft.com/office/drawing/2014/chart" uri="{C3380CC4-5D6E-409C-BE32-E72D297353CC}">
                <c16:uniqueId val="{000003F5-B1B9-4BDE-A581-DFBD1F6389AC}"/>
              </c:ext>
            </c:extLst>
          </c:dPt>
          <c:dPt>
            <c:idx val="506"/>
            <c:invertIfNegative val="1"/>
            <c:bubble3D val="0"/>
            <c:spPr>
              <a:solidFill>
                <a:srgbClr val="AEABAB"/>
              </a:solidFill>
            </c:spPr>
            <c:extLst>
              <c:ext xmlns:c16="http://schemas.microsoft.com/office/drawing/2014/chart" uri="{C3380CC4-5D6E-409C-BE32-E72D297353CC}">
                <c16:uniqueId val="{000003F7-B1B9-4BDE-A581-DFBD1F6389AC}"/>
              </c:ext>
            </c:extLst>
          </c:dPt>
          <c:dPt>
            <c:idx val="507"/>
            <c:invertIfNegative val="1"/>
            <c:bubble3D val="0"/>
            <c:spPr>
              <a:solidFill>
                <a:srgbClr val="AEABAB"/>
              </a:solidFill>
            </c:spPr>
            <c:extLst>
              <c:ext xmlns:c16="http://schemas.microsoft.com/office/drawing/2014/chart" uri="{C3380CC4-5D6E-409C-BE32-E72D297353CC}">
                <c16:uniqueId val="{000003F9-B1B9-4BDE-A581-DFBD1F6389AC}"/>
              </c:ext>
            </c:extLst>
          </c:dPt>
          <c:dPt>
            <c:idx val="508"/>
            <c:invertIfNegative val="1"/>
            <c:bubble3D val="0"/>
            <c:spPr>
              <a:solidFill>
                <a:srgbClr val="AEABAB"/>
              </a:solidFill>
            </c:spPr>
            <c:extLst>
              <c:ext xmlns:c16="http://schemas.microsoft.com/office/drawing/2014/chart" uri="{C3380CC4-5D6E-409C-BE32-E72D297353CC}">
                <c16:uniqueId val="{000003FB-B1B9-4BDE-A581-DFBD1F6389AC}"/>
              </c:ext>
            </c:extLst>
          </c:dPt>
          <c:dPt>
            <c:idx val="509"/>
            <c:invertIfNegative val="1"/>
            <c:bubble3D val="0"/>
            <c:spPr>
              <a:solidFill>
                <a:srgbClr val="AEABAB"/>
              </a:solidFill>
            </c:spPr>
            <c:extLst>
              <c:ext xmlns:c16="http://schemas.microsoft.com/office/drawing/2014/chart" uri="{C3380CC4-5D6E-409C-BE32-E72D297353CC}">
                <c16:uniqueId val="{000003FD-B1B9-4BDE-A581-DFBD1F6389AC}"/>
              </c:ext>
            </c:extLst>
          </c:dPt>
          <c:dPt>
            <c:idx val="510"/>
            <c:invertIfNegative val="1"/>
            <c:bubble3D val="0"/>
            <c:spPr>
              <a:solidFill>
                <a:srgbClr val="AEABAB"/>
              </a:solidFill>
            </c:spPr>
            <c:extLst>
              <c:ext xmlns:c16="http://schemas.microsoft.com/office/drawing/2014/chart" uri="{C3380CC4-5D6E-409C-BE32-E72D297353CC}">
                <c16:uniqueId val="{000003FF-B1B9-4BDE-A581-DFBD1F6389AC}"/>
              </c:ext>
            </c:extLst>
          </c:dPt>
          <c:dPt>
            <c:idx val="511"/>
            <c:invertIfNegative val="1"/>
            <c:bubble3D val="0"/>
            <c:spPr>
              <a:solidFill>
                <a:srgbClr val="AEABAB"/>
              </a:solidFill>
            </c:spPr>
            <c:extLst>
              <c:ext xmlns:c16="http://schemas.microsoft.com/office/drawing/2014/chart" uri="{C3380CC4-5D6E-409C-BE32-E72D297353CC}">
                <c16:uniqueId val="{00000401-B1B9-4BDE-A581-DFBD1F6389AC}"/>
              </c:ext>
            </c:extLst>
          </c:dPt>
          <c:dPt>
            <c:idx val="512"/>
            <c:invertIfNegative val="1"/>
            <c:bubble3D val="0"/>
            <c:spPr>
              <a:solidFill>
                <a:srgbClr val="AEABAB"/>
              </a:solidFill>
            </c:spPr>
            <c:extLst>
              <c:ext xmlns:c16="http://schemas.microsoft.com/office/drawing/2014/chart" uri="{C3380CC4-5D6E-409C-BE32-E72D297353CC}">
                <c16:uniqueId val="{00000403-B1B9-4BDE-A581-DFBD1F6389AC}"/>
              </c:ext>
            </c:extLst>
          </c:dPt>
          <c:dPt>
            <c:idx val="513"/>
            <c:invertIfNegative val="1"/>
            <c:bubble3D val="0"/>
            <c:spPr>
              <a:solidFill>
                <a:srgbClr val="AEABAB"/>
              </a:solidFill>
            </c:spPr>
            <c:extLst>
              <c:ext xmlns:c16="http://schemas.microsoft.com/office/drawing/2014/chart" uri="{C3380CC4-5D6E-409C-BE32-E72D297353CC}">
                <c16:uniqueId val="{00000405-B1B9-4BDE-A581-DFBD1F6389AC}"/>
              </c:ext>
            </c:extLst>
          </c:dPt>
          <c:dPt>
            <c:idx val="514"/>
            <c:invertIfNegative val="1"/>
            <c:bubble3D val="0"/>
            <c:spPr>
              <a:solidFill>
                <a:srgbClr val="AEABAB"/>
              </a:solidFill>
            </c:spPr>
            <c:extLst>
              <c:ext xmlns:c16="http://schemas.microsoft.com/office/drawing/2014/chart" uri="{C3380CC4-5D6E-409C-BE32-E72D297353CC}">
                <c16:uniqueId val="{00000407-B1B9-4BDE-A581-DFBD1F6389AC}"/>
              </c:ext>
            </c:extLst>
          </c:dPt>
          <c:dPt>
            <c:idx val="515"/>
            <c:invertIfNegative val="1"/>
            <c:bubble3D val="0"/>
            <c:spPr>
              <a:solidFill>
                <a:srgbClr val="AEABAB"/>
              </a:solidFill>
            </c:spPr>
            <c:extLst>
              <c:ext xmlns:c16="http://schemas.microsoft.com/office/drawing/2014/chart" uri="{C3380CC4-5D6E-409C-BE32-E72D297353CC}">
                <c16:uniqueId val="{00000409-B1B9-4BDE-A581-DFBD1F6389AC}"/>
              </c:ext>
            </c:extLst>
          </c:dPt>
          <c:dPt>
            <c:idx val="516"/>
            <c:invertIfNegative val="1"/>
            <c:bubble3D val="0"/>
            <c:spPr>
              <a:solidFill>
                <a:srgbClr val="AEABAB"/>
              </a:solidFill>
            </c:spPr>
            <c:extLst>
              <c:ext xmlns:c16="http://schemas.microsoft.com/office/drawing/2014/chart" uri="{C3380CC4-5D6E-409C-BE32-E72D297353CC}">
                <c16:uniqueId val="{0000040B-B1B9-4BDE-A581-DFBD1F6389AC}"/>
              </c:ext>
            </c:extLst>
          </c:dPt>
          <c:dPt>
            <c:idx val="517"/>
            <c:invertIfNegative val="1"/>
            <c:bubble3D val="0"/>
            <c:spPr>
              <a:solidFill>
                <a:srgbClr val="AEABAB"/>
              </a:solidFill>
            </c:spPr>
            <c:extLst>
              <c:ext xmlns:c16="http://schemas.microsoft.com/office/drawing/2014/chart" uri="{C3380CC4-5D6E-409C-BE32-E72D297353CC}">
                <c16:uniqueId val="{0000040D-B1B9-4BDE-A581-DFBD1F6389AC}"/>
              </c:ext>
            </c:extLst>
          </c:dPt>
          <c:dPt>
            <c:idx val="518"/>
            <c:invertIfNegative val="1"/>
            <c:bubble3D val="0"/>
            <c:spPr>
              <a:solidFill>
                <a:srgbClr val="AEABAB"/>
              </a:solidFill>
            </c:spPr>
            <c:extLst>
              <c:ext xmlns:c16="http://schemas.microsoft.com/office/drawing/2014/chart" uri="{C3380CC4-5D6E-409C-BE32-E72D297353CC}">
                <c16:uniqueId val="{0000040F-B1B9-4BDE-A581-DFBD1F6389AC}"/>
              </c:ext>
            </c:extLst>
          </c:dPt>
          <c:dPt>
            <c:idx val="519"/>
            <c:invertIfNegative val="1"/>
            <c:bubble3D val="0"/>
            <c:spPr>
              <a:solidFill>
                <a:srgbClr val="AEABAB"/>
              </a:solidFill>
            </c:spPr>
            <c:extLst>
              <c:ext xmlns:c16="http://schemas.microsoft.com/office/drawing/2014/chart" uri="{C3380CC4-5D6E-409C-BE32-E72D297353CC}">
                <c16:uniqueId val="{00000411-B1B9-4BDE-A581-DFBD1F6389AC}"/>
              </c:ext>
            </c:extLst>
          </c:dPt>
          <c:dPt>
            <c:idx val="520"/>
            <c:invertIfNegative val="1"/>
            <c:bubble3D val="0"/>
            <c:spPr>
              <a:solidFill>
                <a:srgbClr val="AEABAB"/>
              </a:solidFill>
            </c:spPr>
            <c:extLst>
              <c:ext xmlns:c16="http://schemas.microsoft.com/office/drawing/2014/chart" uri="{C3380CC4-5D6E-409C-BE32-E72D297353CC}">
                <c16:uniqueId val="{00000413-B1B9-4BDE-A581-DFBD1F6389AC}"/>
              </c:ext>
            </c:extLst>
          </c:dPt>
          <c:dPt>
            <c:idx val="521"/>
            <c:invertIfNegative val="1"/>
            <c:bubble3D val="0"/>
            <c:spPr>
              <a:solidFill>
                <a:srgbClr val="AEABAB"/>
              </a:solidFill>
            </c:spPr>
            <c:extLst>
              <c:ext xmlns:c16="http://schemas.microsoft.com/office/drawing/2014/chart" uri="{C3380CC4-5D6E-409C-BE32-E72D297353CC}">
                <c16:uniqueId val="{00000415-B1B9-4BDE-A581-DFBD1F6389AC}"/>
              </c:ext>
            </c:extLst>
          </c:dPt>
          <c:dPt>
            <c:idx val="522"/>
            <c:invertIfNegative val="1"/>
            <c:bubble3D val="0"/>
            <c:spPr>
              <a:solidFill>
                <a:srgbClr val="AEABAB"/>
              </a:solidFill>
            </c:spPr>
            <c:extLst>
              <c:ext xmlns:c16="http://schemas.microsoft.com/office/drawing/2014/chart" uri="{C3380CC4-5D6E-409C-BE32-E72D297353CC}">
                <c16:uniqueId val="{00000417-B1B9-4BDE-A581-DFBD1F6389AC}"/>
              </c:ext>
            </c:extLst>
          </c:dPt>
          <c:dPt>
            <c:idx val="523"/>
            <c:invertIfNegative val="1"/>
            <c:bubble3D val="0"/>
            <c:spPr>
              <a:solidFill>
                <a:srgbClr val="AEABAB"/>
              </a:solidFill>
            </c:spPr>
            <c:extLst>
              <c:ext xmlns:c16="http://schemas.microsoft.com/office/drawing/2014/chart" uri="{C3380CC4-5D6E-409C-BE32-E72D297353CC}">
                <c16:uniqueId val="{00000419-B1B9-4BDE-A581-DFBD1F6389AC}"/>
              </c:ext>
            </c:extLst>
          </c:dPt>
          <c:dPt>
            <c:idx val="524"/>
            <c:invertIfNegative val="1"/>
            <c:bubble3D val="0"/>
            <c:spPr>
              <a:solidFill>
                <a:srgbClr val="AEABAB"/>
              </a:solidFill>
            </c:spPr>
            <c:extLst>
              <c:ext xmlns:c16="http://schemas.microsoft.com/office/drawing/2014/chart" uri="{C3380CC4-5D6E-409C-BE32-E72D297353CC}">
                <c16:uniqueId val="{0000041B-B1B9-4BDE-A581-DFBD1F6389AC}"/>
              </c:ext>
            </c:extLst>
          </c:dPt>
          <c:dPt>
            <c:idx val="525"/>
            <c:invertIfNegative val="1"/>
            <c:bubble3D val="0"/>
            <c:spPr>
              <a:solidFill>
                <a:srgbClr val="AEABAB"/>
              </a:solidFill>
            </c:spPr>
            <c:extLst>
              <c:ext xmlns:c16="http://schemas.microsoft.com/office/drawing/2014/chart" uri="{C3380CC4-5D6E-409C-BE32-E72D297353CC}">
                <c16:uniqueId val="{0000041D-B1B9-4BDE-A581-DFBD1F6389AC}"/>
              </c:ext>
            </c:extLst>
          </c:dPt>
          <c:dPt>
            <c:idx val="526"/>
            <c:invertIfNegative val="1"/>
            <c:bubble3D val="0"/>
            <c:spPr>
              <a:solidFill>
                <a:srgbClr val="AEABAB"/>
              </a:solidFill>
            </c:spPr>
            <c:extLst>
              <c:ext xmlns:c16="http://schemas.microsoft.com/office/drawing/2014/chart" uri="{C3380CC4-5D6E-409C-BE32-E72D297353CC}">
                <c16:uniqueId val="{0000041F-B1B9-4BDE-A581-DFBD1F6389AC}"/>
              </c:ext>
            </c:extLst>
          </c:dPt>
          <c:dPt>
            <c:idx val="527"/>
            <c:invertIfNegative val="1"/>
            <c:bubble3D val="0"/>
            <c:spPr>
              <a:solidFill>
                <a:srgbClr val="AEABAB"/>
              </a:solidFill>
            </c:spPr>
            <c:extLst>
              <c:ext xmlns:c16="http://schemas.microsoft.com/office/drawing/2014/chart" uri="{C3380CC4-5D6E-409C-BE32-E72D297353CC}">
                <c16:uniqueId val="{00000421-B1B9-4BDE-A581-DFBD1F6389AC}"/>
              </c:ext>
            </c:extLst>
          </c:dPt>
          <c:dPt>
            <c:idx val="528"/>
            <c:invertIfNegative val="1"/>
            <c:bubble3D val="0"/>
            <c:spPr>
              <a:solidFill>
                <a:srgbClr val="AEABAB"/>
              </a:solidFill>
            </c:spPr>
            <c:extLst>
              <c:ext xmlns:c16="http://schemas.microsoft.com/office/drawing/2014/chart" uri="{C3380CC4-5D6E-409C-BE32-E72D297353CC}">
                <c16:uniqueId val="{00000423-B1B9-4BDE-A581-DFBD1F6389AC}"/>
              </c:ext>
            </c:extLst>
          </c:dPt>
          <c:dPt>
            <c:idx val="529"/>
            <c:invertIfNegative val="1"/>
            <c:bubble3D val="0"/>
            <c:spPr>
              <a:solidFill>
                <a:srgbClr val="AEABAB"/>
              </a:solidFill>
            </c:spPr>
            <c:extLst>
              <c:ext xmlns:c16="http://schemas.microsoft.com/office/drawing/2014/chart" uri="{C3380CC4-5D6E-409C-BE32-E72D297353CC}">
                <c16:uniqueId val="{00000425-B1B9-4BDE-A581-DFBD1F6389AC}"/>
              </c:ext>
            </c:extLst>
          </c:dPt>
          <c:dPt>
            <c:idx val="530"/>
            <c:invertIfNegative val="1"/>
            <c:bubble3D val="0"/>
            <c:spPr>
              <a:solidFill>
                <a:srgbClr val="AEABAB"/>
              </a:solidFill>
            </c:spPr>
            <c:extLst>
              <c:ext xmlns:c16="http://schemas.microsoft.com/office/drawing/2014/chart" uri="{C3380CC4-5D6E-409C-BE32-E72D297353CC}">
                <c16:uniqueId val="{00000427-B1B9-4BDE-A581-DFBD1F6389AC}"/>
              </c:ext>
            </c:extLst>
          </c:dPt>
          <c:dPt>
            <c:idx val="531"/>
            <c:invertIfNegative val="1"/>
            <c:bubble3D val="0"/>
            <c:spPr>
              <a:solidFill>
                <a:srgbClr val="AEABAB"/>
              </a:solidFill>
            </c:spPr>
            <c:extLst>
              <c:ext xmlns:c16="http://schemas.microsoft.com/office/drawing/2014/chart" uri="{C3380CC4-5D6E-409C-BE32-E72D297353CC}">
                <c16:uniqueId val="{00000429-B1B9-4BDE-A581-DFBD1F6389AC}"/>
              </c:ext>
            </c:extLst>
          </c:dPt>
          <c:dPt>
            <c:idx val="532"/>
            <c:invertIfNegative val="1"/>
            <c:bubble3D val="0"/>
            <c:spPr>
              <a:solidFill>
                <a:srgbClr val="AEABAB"/>
              </a:solidFill>
            </c:spPr>
            <c:extLst>
              <c:ext xmlns:c16="http://schemas.microsoft.com/office/drawing/2014/chart" uri="{C3380CC4-5D6E-409C-BE32-E72D297353CC}">
                <c16:uniqueId val="{0000042B-B1B9-4BDE-A581-DFBD1F6389AC}"/>
              </c:ext>
            </c:extLst>
          </c:dPt>
          <c:dPt>
            <c:idx val="533"/>
            <c:invertIfNegative val="1"/>
            <c:bubble3D val="0"/>
            <c:spPr>
              <a:solidFill>
                <a:srgbClr val="AEABAB"/>
              </a:solidFill>
            </c:spPr>
            <c:extLst>
              <c:ext xmlns:c16="http://schemas.microsoft.com/office/drawing/2014/chart" uri="{C3380CC4-5D6E-409C-BE32-E72D297353CC}">
                <c16:uniqueId val="{0000042D-B1B9-4BDE-A581-DFBD1F6389AC}"/>
              </c:ext>
            </c:extLst>
          </c:dPt>
          <c:dPt>
            <c:idx val="534"/>
            <c:invertIfNegative val="1"/>
            <c:bubble3D val="0"/>
            <c:spPr>
              <a:solidFill>
                <a:srgbClr val="AEABAB"/>
              </a:solidFill>
            </c:spPr>
            <c:extLst>
              <c:ext xmlns:c16="http://schemas.microsoft.com/office/drawing/2014/chart" uri="{C3380CC4-5D6E-409C-BE32-E72D297353CC}">
                <c16:uniqueId val="{0000042F-B1B9-4BDE-A581-DFBD1F6389AC}"/>
              </c:ext>
            </c:extLst>
          </c:dPt>
          <c:dPt>
            <c:idx val="535"/>
            <c:invertIfNegative val="1"/>
            <c:bubble3D val="0"/>
            <c:spPr>
              <a:solidFill>
                <a:srgbClr val="AEABAB"/>
              </a:solidFill>
            </c:spPr>
            <c:extLst>
              <c:ext xmlns:c16="http://schemas.microsoft.com/office/drawing/2014/chart" uri="{C3380CC4-5D6E-409C-BE32-E72D297353CC}">
                <c16:uniqueId val="{00000431-B1B9-4BDE-A581-DFBD1F6389AC}"/>
              </c:ext>
            </c:extLst>
          </c:dPt>
          <c:dPt>
            <c:idx val="536"/>
            <c:invertIfNegative val="1"/>
            <c:bubble3D val="0"/>
            <c:spPr>
              <a:solidFill>
                <a:srgbClr val="AEABAB"/>
              </a:solidFill>
            </c:spPr>
            <c:extLst>
              <c:ext xmlns:c16="http://schemas.microsoft.com/office/drawing/2014/chart" uri="{C3380CC4-5D6E-409C-BE32-E72D297353CC}">
                <c16:uniqueId val="{00000433-B1B9-4BDE-A581-DFBD1F6389AC}"/>
              </c:ext>
            </c:extLst>
          </c:dPt>
          <c:dPt>
            <c:idx val="537"/>
            <c:invertIfNegative val="1"/>
            <c:bubble3D val="0"/>
            <c:spPr>
              <a:solidFill>
                <a:srgbClr val="AEABAB"/>
              </a:solidFill>
            </c:spPr>
            <c:extLst>
              <c:ext xmlns:c16="http://schemas.microsoft.com/office/drawing/2014/chart" uri="{C3380CC4-5D6E-409C-BE32-E72D297353CC}">
                <c16:uniqueId val="{00000435-B1B9-4BDE-A581-DFBD1F6389AC}"/>
              </c:ext>
            </c:extLst>
          </c:dPt>
          <c:dPt>
            <c:idx val="538"/>
            <c:invertIfNegative val="1"/>
            <c:bubble3D val="0"/>
            <c:spPr>
              <a:solidFill>
                <a:srgbClr val="AEABAB"/>
              </a:solidFill>
            </c:spPr>
            <c:extLst>
              <c:ext xmlns:c16="http://schemas.microsoft.com/office/drawing/2014/chart" uri="{C3380CC4-5D6E-409C-BE32-E72D297353CC}">
                <c16:uniqueId val="{00000437-B1B9-4BDE-A581-DFBD1F6389AC}"/>
              </c:ext>
            </c:extLst>
          </c:dPt>
          <c:dPt>
            <c:idx val="539"/>
            <c:invertIfNegative val="1"/>
            <c:bubble3D val="0"/>
            <c:spPr>
              <a:solidFill>
                <a:srgbClr val="AEABAB"/>
              </a:solidFill>
            </c:spPr>
            <c:extLst>
              <c:ext xmlns:c16="http://schemas.microsoft.com/office/drawing/2014/chart" uri="{C3380CC4-5D6E-409C-BE32-E72D297353CC}">
                <c16:uniqueId val="{00000439-B1B9-4BDE-A581-DFBD1F6389AC}"/>
              </c:ext>
            </c:extLst>
          </c:dPt>
          <c:dPt>
            <c:idx val="540"/>
            <c:invertIfNegative val="1"/>
            <c:bubble3D val="0"/>
            <c:spPr>
              <a:solidFill>
                <a:srgbClr val="AEABAB"/>
              </a:solidFill>
            </c:spPr>
            <c:extLst>
              <c:ext xmlns:c16="http://schemas.microsoft.com/office/drawing/2014/chart" uri="{C3380CC4-5D6E-409C-BE32-E72D297353CC}">
                <c16:uniqueId val="{0000043B-B1B9-4BDE-A581-DFBD1F6389AC}"/>
              </c:ext>
            </c:extLst>
          </c:dPt>
          <c:dPt>
            <c:idx val="541"/>
            <c:invertIfNegative val="1"/>
            <c:bubble3D val="0"/>
            <c:spPr>
              <a:solidFill>
                <a:srgbClr val="AEABAB"/>
              </a:solidFill>
            </c:spPr>
            <c:extLst>
              <c:ext xmlns:c16="http://schemas.microsoft.com/office/drawing/2014/chart" uri="{C3380CC4-5D6E-409C-BE32-E72D297353CC}">
                <c16:uniqueId val="{0000043D-B1B9-4BDE-A581-DFBD1F6389AC}"/>
              </c:ext>
            </c:extLst>
          </c:dPt>
          <c:dPt>
            <c:idx val="542"/>
            <c:invertIfNegative val="1"/>
            <c:bubble3D val="0"/>
            <c:spPr>
              <a:solidFill>
                <a:srgbClr val="AEABAB"/>
              </a:solidFill>
            </c:spPr>
            <c:extLst>
              <c:ext xmlns:c16="http://schemas.microsoft.com/office/drawing/2014/chart" uri="{C3380CC4-5D6E-409C-BE32-E72D297353CC}">
                <c16:uniqueId val="{0000043F-B1B9-4BDE-A581-DFBD1F6389AC}"/>
              </c:ext>
            </c:extLst>
          </c:dPt>
          <c:dPt>
            <c:idx val="543"/>
            <c:invertIfNegative val="1"/>
            <c:bubble3D val="0"/>
            <c:spPr>
              <a:solidFill>
                <a:srgbClr val="AEABAB"/>
              </a:solidFill>
            </c:spPr>
            <c:extLst>
              <c:ext xmlns:c16="http://schemas.microsoft.com/office/drawing/2014/chart" uri="{C3380CC4-5D6E-409C-BE32-E72D297353CC}">
                <c16:uniqueId val="{00000441-B1B9-4BDE-A581-DFBD1F6389AC}"/>
              </c:ext>
            </c:extLst>
          </c:dPt>
          <c:dPt>
            <c:idx val="544"/>
            <c:invertIfNegative val="1"/>
            <c:bubble3D val="0"/>
            <c:spPr>
              <a:solidFill>
                <a:srgbClr val="AEABAB"/>
              </a:solidFill>
            </c:spPr>
            <c:extLst>
              <c:ext xmlns:c16="http://schemas.microsoft.com/office/drawing/2014/chart" uri="{C3380CC4-5D6E-409C-BE32-E72D297353CC}">
                <c16:uniqueId val="{00000443-B1B9-4BDE-A581-DFBD1F6389AC}"/>
              </c:ext>
            </c:extLst>
          </c:dPt>
          <c:dPt>
            <c:idx val="545"/>
            <c:invertIfNegative val="1"/>
            <c:bubble3D val="0"/>
            <c:spPr>
              <a:solidFill>
                <a:srgbClr val="AEABAB"/>
              </a:solidFill>
            </c:spPr>
            <c:extLst>
              <c:ext xmlns:c16="http://schemas.microsoft.com/office/drawing/2014/chart" uri="{C3380CC4-5D6E-409C-BE32-E72D297353CC}">
                <c16:uniqueId val="{00000445-B1B9-4BDE-A581-DFBD1F6389AC}"/>
              </c:ext>
            </c:extLst>
          </c:dPt>
          <c:dPt>
            <c:idx val="546"/>
            <c:invertIfNegative val="1"/>
            <c:bubble3D val="0"/>
            <c:spPr>
              <a:solidFill>
                <a:srgbClr val="AEABAB"/>
              </a:solidFill>
            </c:spPr>
            <c:extLst>
              <c:ext xmlns:c16="http://schemas.microsoft.com/office/drawing/2014/chart" uri="{C3380CC4-5D6E-409C-BE32-E72D297353CC}">
                <c16:uniqueId val="{00000447-B1B9-4BDE-A581-DFBD1F6389AC}"/>
              </c:ext>
            </c:extLst>
          </c:dPt>
          <c:dPt>
            <c:idx val="547"/>
            <c:invertIfNegative val="1"/>
            <c:bubble3D val="0"/>
            <c:spPr>
              <a:solidFill>
                <a:srgbClr val="AEABAB"/>
              </a:solidFill>
            </c:spPr>
            <c:extLst>
              <c:ext xmlns:c16="http://schemas.microsoft.com/office/drawing/2014/chart" uri="{C3380CC4-5D6E-409C-BE32-E72D297353CC}">
                <c16:uniqueId val="{00000449-B1B9-4BDE-A581-DFBD1F6389AC}"/>
              </c:ext>
            </c:extLst>
          </c:dPt>
          <c:dPt>
            <c:idx val="548"/>
            <c:invertIfNegative val="1"/>
            <c:bubble3D val="0"/>
            <c:spPr>
              <a:solidFill>
                <a:srgbClr val="AEABAB"/>
              </a:solidFill>
            </c:spPr>
            <c:extLst>
              <c:ext xmlns:c16="http://schemas.microsoft.com/office/drawing/2014/chart" uri="{C3380CC4-5D6E-409C-BE32-E72D297353CC}">
                <c16:uniqueId val="{0000044B-B1B9-4BDE-A581-DFBD1F6389AC}"/>
              </c:ext>
            </c:extLst>
          </c:dPt>
          <c:dPt>
            <c:idx val="549"/>
            <c:invertIfNegative val="1"/>
            <c:bubble3D val="0"/>
            <c:spPr>
              <a:solidFill>
                <a:srgbClr val="AEABAB"/>
              </a:solidFill>
            </c:spPr>
            <c:extLst>
              <c:ext xmlns:c16="http://schemas.microsoft.com/office/drawing/2014/chart" uri="{C3380CC4-5D6E-409C-BE32-E72D297353CC}">
                <c16:uniqueId val="{0000044D-B1B9-4BDE-A581-DFBD1F6389AC}"/>
              </c:ext>
            </c:extLst>
          </c:dPt>
          <c:dPt>
            <c:idx val="550"/>
            <c:invertIfNegative val="1"/>
            <c:bubble3D val="0"/>
            <c:spPr>
              <a:solidFill>
                <a:srgbClr val="AEABAB"/>
              </a:solidFill>
            </c:spPr>
            <c:extLst>
              <c:ext xmlns:c16="http://schemas.microsoft.com/office/drawing/2014/chart" uri="{C3380CC4-5D6E-409C-BE32-E72D297353CC}">
                <c16:uniqueId val="{0000044F-B1B9-4BDE-A581-DFBD1F6389AC}"/>
              </c:ext>
            </c:extLst>
          </c:dPt>
          <c:dPt>
            <c:idx val="551"/>
            <c:invertIfNegative val="1"/>
            <c:bubble3D val="0"/>
            <c:spPr>
              <a:solidFill>
                <a:srgbClr val="AEABAB"/>
              </a:solidFill>
            </c:spPr>
            <c:extLst>
              <c:ext xmlns:c16="http://schemas.microsoft.com/office/drawing/2014/chart" uri="{C3380CC4-5D6E-409C-BE32-E72D297353CC}">
                <c16:uniqueId val="{00000451-B1B9-4BDE-A581-DFBD1F6389AC}"/>
              </c:ext>
            </c:extLst>
          </c:dPt>
          <c:dPt>
            <c:idx val="552"/>
            <c:invertIfNegative val="1"/>
            <c:bubble3D val="0"/>
            <c:spPr>
              <a:solidFill>
                <a:srgbClr val="AEABAB"/>
              </a:solidFill>
            </c:spPr>
            <c:extLst>
              <c:ext xmlns:c16="http://schemas.microsoft.com/office/drawing/2014/chart" uri="{C3380CC4-5D6E-409C-BE32-E72D297353CC}">
                <c16:uniqueId val="{00000453-B1B9-4BDE-A581-DFBD1F6389AC}"/>
              </c:ext>
            </c:extLst>
          </c:dPt>
          <c:dPt>
            <c:idx val="553"/>
            <c:invertIfNegative val="1"/>
            <c:bubble3D val="0"/>
            <c:spPr>
              <a:solidFill>
                <a:srgbClr val="AEABAB"/>
              </a:solidFill>
            </c:spPr>
            <c:extLst>
              <c:ext xmlns:c16="http://schemas.microsoft.com/office/drawing/2014/chart" uri="{C3380CC4-5D6E-409C-BE32-E72D297353CC}">
                <c16:uniqueId val="{00000455-B1B9-4BDE-A581-DFBD1F6389AC}"/>
              </c:ext>
            </c:extLst>
          </c:dPt>
          <c:dPt>
            <c:idx val="554"/>
            <c:invertIfNegative val="1"/>
            <c:bubble3D val="0"/>
            <c:spPr>
              <a:solidFill>
                <a:srgbClr val="AEABAB"/>
              </a:solidFill>
            </c:spPr>
            <c:extLst>
              <c:ext xmlns:c16="http://schemas.microsoft.com/office/drawing/2014/chart" uri="{C3380CC4-5D6E-409C-BE32-E72D297353CC}">
                <c16:uniqueId val="{00000457-B1B9-4BDE-A581-DFBD1F6389AC}"/>
              </c:ext>
            </c:extLst>
          </c:dPt>
          <c:dPt>
            <c:idx val="555"/>
            <c:invertIfNegative val="1"/>
            <c:bubble3D val="0"/>
            <c:spPr>
              <a:solidFill>
                <a:srgbClr val="AEABAB"/>
              </a:solidFill>
            </c:spPr>
            <c:extLst>
              <c:ext xmlns:c16="http://schemas.microsoft.com/office/drawing/2014/chart" uri="{C3380CC4-5D6E-409C-BE32-E72D297353CC}">
                <c16:uniqueId val="{00000459-B1B9-4BDE-A581-DFBD1F6389AC}"/>
              </c:ext>
            </c:extLst>
          </c:dPt>
          <c:dPt>
            <c:idx val="556"/>
            <c:invertIfNegative val="1"/>
            <c:bubble3D val="0"/>
            <c:spPr>
              <a:solidFill>
                <a:srgbClr val="AEABAB"/>
              </a:solidFill>
            </c:spPr>
            <c:extLst>
              <c:ext xmlns:c16="http://schemas.microsoft.com/office/drawing/2014/chart" uri="{C3380CC4-5D6E-409C-BE32-E72D297353CC}">
                <c16:uniqueId val="{0000045B-B1B9-4BDE-A581-DFBD1F6389AC}"/>
              </c:ext>
            </c:extLst>
          </c:dPt>
          <c:dPt>
            <c:idx val="557"/>
            <c:invertIfNegative val="1"/>
            <c:bubble3D val="0"/>
            <c:spPr>
              <a:solidFill>
                <a:srgbClr val="AEABAB"/>
              </a:solidFill>
            </c:spPr>
            <c:extLst>
              <c:ext xmlns:c16="http://schemas.microsoft.com/office/drawing/2014/chart" uri="{C3380CC4-5D6E-409C-BE32-E72D297353CC}">
                <c16:uniqueId val="{0000045D-B1B9-4BDE-A581-DFBD1F6389AC}"/>
              </c:ext>
            </c:extLst>
          </c:dPt>
          <c:dPt>
            <c:idx val="558"/>
            <c:invertIfNegative val="1"/>
            <c:bubble3D val="0"/>
            <c:spPr>
              <a:solidFill>
                <a:srgbClr val="AEABAB"/>
              </a:solidFill>
            </c:spPr>
            <c:extLst>
              <c:ext xmlns:c16="http://schemas.microsoft.com/office/drawing/2014/chart" uri="{C3380CC4-5D6E-409C-BE32-E72D297353CC}">
                <c16:uniqueId val="{0000045F-B1B9-4BDE-A581-DFBD1F6389AC}"/>
              </c:ext>
            </c:extLst>
          </c:dPt>
          <c:dPt>
            <c:idx val="559"/>
            <c:invertIfNegative val="1"/>
            <c:bubble3D val="0"/>
            <c:spPr>
              <a:solidFill>
                <a:srgbClr val="AEABAB"/>
              </a:solidFill>
            </c:spPr>
            <c:extLst>
              <c:ext xmlns:c16="http://schemas.microsoft.com/office/drawing/2014/chart" uri="{C3380CC4-5D6E-409C-BE32-E72D297353CC}">
                <c16:uniqueId val="{00000461-B1B9-4BDE-A581-DFBD1F6389AC}"/>
              </c:ext>
            </c:extLst>
          </c:dPt>
          <c:dPt>
            <c:idx val="560"/>
            <c:invertIfNegative val="1"/>
            <c:bubble3D val="0"/>
            <c:spPr>
              <a:solidFill>
                <a:srgbClr val="AEABAB"/>
              </a:solidFill>
            </c:spPr>
            <c:extLst>
              <c:ext xmlns:c16="http://schemas.microsoft.com/office/drawing/2014/chart" uri="{C3380CC4-5D6E-409C-BE32-E72D297353CC}">
                <c16:uniqueId val="{00000463-B1B9-4BDE-A581-DFBD1F6389AC}"/>
              </c:ext>
            </c:extLst>
          </c:dPt>
          <c:dPt>
            <c:idx val="561"/>
            <c:invertIfNegative val="1"/>
            <c:bubble3D val="0"/>
            <c:spPr>
              <a:solidFill>
                <a:srgbClr val="AEABAB"/>
              </a:solidFill>
            </c:spPr>
            <c:extLst>
              <c:ext xmlns:c16="http://schemas.microsoft.com/office/drawing/2014/chart" uri="{C3380CC4-5D6E-409C-BE32-E72D297353CC}">
                <c16:uniqueId val="{00000465-B1B9-4BDE-A581-DFBD1F6389AC}"/>
              </c:ext>
            </c:extLst>
          </c:dPt>
          <c:dPt>
            <c:idx val="562"/>
            <c:invertIfNegative val="1"/>
            <c:bubble3D val="0"/>
            <c:spPr>
              <a:solidFill>
                <a:srgbClr val="AEABAB"/>
              </a:solidFill>
            </c:spPr>
            <c:extLst>
              <c:ext xmlns:c16="http://schemas.microsoft.com/office/drawing/2014/chart" uri="{C3380CC4-5D6E-409C-BE32-E72D297353CC}">
                <c16:uniqueId val="{00000467-B1B9-4BDE-A581-DFBD1F6389AC}"/>
              </c:ext>
            </c:extLst>
          </c:dPt>
          <c:dPt>
            <c:idx val="563"/>
            <c:invertIfNegative val="1"/>
            <c:bubble3D val="0"/>
            <c:spPr>
              <a:solidFill>
                <a:srgbClr val="AEABAB"/>
              </a:solidFill>
            </c:spPr>
            <c:extLst>
              <c:ext xmlns:c16="http://schemas.microsoft.com/office/drawing/2014/chart" uri="{C3380CC4-5D6E-409C-BE32-E72D297353CC}">
                <c16:uniqueId val="{00000469-B1B9-4BDE-A581-DFBD1F6389AC}"/>
              </c:ext>
            </c:extLst>
          </c:dPt>
          <c:dPt>
            <c:idx val="564"/>
            <c:invertIfNegative val="1"/>
            <c:bubble3D val="0"/>
            <c:spPr>
              <a:solidFill>
                <a:srgbClr val="AEABAB"/>
              </a:solidFill>
            </c:spPr>
            <c:extLst>
              <c:ext xmlns:c16="http://schemas.microsoft.com/office/drawing/2014/chart" uri="{C3380CC4-5D6E-409C-BE32-E72D297353CC}">
                <c16:uniqueId val="{0000046B-B1B9-4BDE-A581-DFBD1F6389AC}"/>
              </c:ext>
            </c:extLst>
          </c:dPt>
          <c:dPt>
            <c:idx val="565"/>
            <c:invertIfNegative val="1"/>
            <c:bubble3D val="0"/>
            <c:spPr>
              <a:solidFill>
                <a:srgbClr val="AEABAB"/>
              </a:solidFill>
            </c:spPr>
            <c:extLst>
              <c:ext xmlns:c16="http://schemas.microsoft.com/office/drawing/2014/chart" uri="{C3380CC4-5D6E-409C-BE32-E72D297353CC}">
                <c16:uniqueId val="{0000046D-B1B9-4BDE-A581-DFBD1F6389AC}"/>
              </c:ext>
            </c:extLst>
          </c:dPt>
          <c:dPt>
            <c:idx val="566"/>
            <c:invertIfNegative val="1"/>
            <c:bubble3D val="0"/>
            <c:spPr>
              <a:solidFill>
                <a:srgbClr val="AEABAB"/>
              </a:solidFill>
            </c:spPr>
            <c:extLst>
              <c:ext xmlns:c16="http://schemas.microsoft.com/office/drawing/2014/chart" uri="{C3380CC4-5D6E-409C-BE32-E72D297353CC}">
                <c16:uniqueId val="{0000046F-B1B9-4BDE-A581-DFBD1F6389AC}"/>
              </c:ext>
            </c:extLst>
          </c:dPt>
          <c:dPt>
            <c:idx val="567"/>
            <c:invertIfNegative val="1"/>
            <c:bubble3D val="0"/>
            <c:spPr>
              <a:solidFill>
                <a:srgbClr val="AEABAB"/>
              </a:solidFill>
            </c:spPr>
            <c:extLst>
              <c:ext xmlns:c16="http://schemas.microsoft.com/office/drawing/2014/chart" uri="{C3380CC4-5D6E-409C-BE32-E72D297353CC}">
                <c16:uniqueId val="{00000471-B1B9-4BDE-A581-DFBD1F6389AC}"/>
              </c:ext>
            </c:extLst>
          </c:dPt>
          <c:dPt>
            <c:idx val="568"/>
            <c:invertIfNegative val="1"/>
            <c:bubble3D val="0"/>
            <c:spPr>
              <a:solidFill>
                <a:srgbClr val="AEABAB"/>
              </a:solidFill>
            </c:spPr>
            <c:extLst>
              <c:ext xmlns:c16="http://schemas.microsoft.com/office/drawing/2014/chart" uri="{C3380CC4-5D6E-409C-BE32-E72D297353CC}">
                <c16:uniqueId val="{00000473-B1B9-4BDE-A581-DFBD1F6389AC}"/>
              </c:ext>
            </c:extLst>
          </c:dPt>
          <c:dPt>
            <c:idx val="569"/>
            <c:invertIfNegative val="1"/>
            <c:bubble3D val="0"/>
            <c:spPr>
              <a:solidFill>
                <a:srgbClr val="AEABAB"/>
              </a:solidFill>
            </c:spPr>
            <c:extLst>
              <c:ext xmlns:c16="http://schemas.microsoft.com/office/drawing/2014/chart" uri="{C3380CC4-5D6E-409C-BE32-E72D297353CC}">
                <c16:uniqueId val="{00000475-B1B9-4BDE-A581-DFBD1F6389AC}"/>
              </c:ext>
            </c:extLst>
          </c:dPt>
          <c:dPt>
            <c:idx val="570"/>
            <c:invertIfNegative val="1"/>
            <c:bubble3D val="0"/>
            <c:spPr>
              <a:solidFill>
                <a:srgbClr val="AEABAB"/>
              </a:solidFill>
            </c:spPr>
            <c:extLst>
              <c:ext xmlns:c16="http://schemas.microsoft.com/office/drawing/2014/chart" uri="{C3380CC4-5D6E-409C-BE32-E72D297353CC}">
                <c16:uniqueId val="{00000477-B1B9-4BDE-A581-DFBD1F6389AC}"/>
              </c:ext>
            </c:extLst>
          </c:dPt>
          <c:dPt>
            <c:idx val="571"/>
            <c:invertIfNegative val="1"/>
            <c:bubble3D val="0"/>
            <c:spPr>
              <a:solidFill>
                <a:srgbClr val="AEABAB"/>
              </a:solidFill>
            </c:spPr>
            <c:extLst>
              <c:ext xmlns:c16="http://schemas.microsoft.com/office/drawing/2014/chart" uri="{C3380CC4-5D6E-409C-BE32-E72D297353CC}">
                <c16:uniqueId val="{00000479-B1B9-4BDE-A581-DFBD1F6389AC}"/>
              </c:ext>
            </c:extLst>
          </c:dPt>
          <c:dPt>
            <c:idx val="572"/>
            <c:invertIfNegative val="1"/>
            <c:bubble3D val="0"/>
            <c:spPr>
              <a:solidFill>
                <a:srgbClr val="AEABAB"/>
              </a:solidFill>
            </c:spPr>
            <c:extLst>
              <c:ext xmlns:c16="http://schemas.microsoft.com/office/drawing/2014/chart" uri="{C3380CC4-5D6E-409C-BE32-E72D297353CC}">
                <c16:uniqueId val="{0000047B-B1B9-4BDE-A581-DFBD1F6389AC}"/>
              </c:ext>
            </c:extLst>
          </c:dPt>
          <c:dPt>
            <c:idx val="573"/>
            <c:invertIfNegative val="1"/>
            <c:bubble3D val="0"/>
            <c:spPr>
              <a:solidFill>
                <a:srgbClr val="AEABAB"/>
              </a:solidFill>
            </c:spPr>
            <c:extLst>
              <c:ext xmlns:c16="http://schemas.microsoft.com/office/drawing/2014/chart" uri="{C3380CC4-5D6E-409C-BE32-E72D297353CC}">
                <c16:uniqueId val="{0000047D-B1B9-4BDE-A581-DFBD1F6389AC}"/>
              </c:ext>
            </c:extLst>
          </c:dPt>
          <c:dPt>
            <c:idx val="574"/>
            <c:invertIfNegative val="1"/>
            <c:bubble3D val="0"/>
            <c:spPr>
              <a:solidFill>
                <a:srgbClr val="AEABAB"/>
              </a:solidFill>
            </c:spPr>
            <c:extLst>
              <c:ext xmlns:c16="http://schemas.microsoft.com/office/drawing/2014/chart" uri="{C3380CC4-5D6E-409C-BE32-E72D297353CC}">
                <c16:uniqueId val="{0000047F-B1B9-4BDE-A581-DFBD1F6389AC}"/>
              </c:ext>
            </c:extLst>
          </c:dPt>
          <c:dPt>
            <c:idx val="575"/>
            <c:invertIfNegative val="1"/>
            <c:bubble3D val="0"/>
            <c:spPr>
              <a:solidFill>
                <a:srgbClr val="AEABAB"/>
              </a:solidFill>
            </c:spPr>
            <c:extLst>
              <c:ext xmlns:c16="http://schemas.microsoft.com/office/drawing/2014/chart" uri="{C3380CC4-5D6E-409C-BE32-E72D297353CC}">
                <c16:uniqueId val="{00000481-B1B9-4BDE-A581-DFBD1F6389AC}"/>
              </c:ext>
            </c:extLst>
          </c:dPt>
          <c:dPt>
            <c:idx val="576"/>
            <c:invertIfNegative val="1"/>
            <c:bubble3D val="0"/>
            <c:spPr>
              <a:solidFill>
                <a:srgbClr val="AEABAB"/>
              </a:solidFill>
            </c:spPr>
            <c:extLst>
              <c:ext xmlns:c16="http://schemas.microsoft.com/office/drawing/2014/chart" uri="{C3380CC4-5D6E-409C-BE32-E72D297353CC}">
                <c16:uniqueId val="{00000483-B1B9-4BDE-A581-DFBD1F6389AC}"/>
              </c:ext>
            </c:extLst>
          </c:dPt>
          <c:dPt>
            <c:idx val="577"/>
            <c:invertIfNegative val="1"/>
            <c:bubble3D val="0"/>
            <c:spPr>
              <a:solidFill>
                <a:srgbClr val="AEABAB"/>
              </a:solidFill>
            </c:spPr>
            <c:extLst>
              <c:ext xmlns:c16="http://schemas.microsoft.com/office/drawing/2014/chart" uri="{C3380CC4-5D6E-409C-BE32-E72D297353CC}">
                <c16:uniqueId val="{00000485-B1B9-4BDE-A581-DFBD1F6389AC}"/>
              </c:ext>
            </c:extLst>
          </c:dPt>
          <c:dPt>
            <c:idx val="578"/>
            <c:invertIfNegative val="1"/>
            <c:bubble3D val="0"/>
            <c:spPr>
              <a:solidFill>
                <a:srgbClr val="AEABAB"/>
              </a:solidFill>
            </c:spPr>
            <c:extLst>
              <c:ext xmlns:c16="http://schemas.microsoft.com/office/drawing/2014/chart" uri="{C3380CC4-5D6E-409C-BE32-E72D297353CC}">
                <c16:uniqueId val="{00000487-B1B9-4BDE-A581-DFBD1F6389AC}"/>
              </c:ext>
            </c:extLst>
          </c:dPt>
          <c:dPt>
            <c:idx val="579"/>
            <c:invertIfNegative val="1"/>
            <c:bubble3D val="0"/>
            <c:spPr>
              <a:solidFill>
                <a:srgbClr val="AEABAB"/>
              </a:solidFill>
            </c:spPr>
            <c:extLst>
              <c:ext xmlns:c16="http://schemas.microsoft.com/office/drawing/2014/chart" uri="{C3380CC4-5D6E-409C-BE32-E72D297353CC}">
                <c16:uniqueId val="{00000489-B1B9-4BDE-A581-DFBD1F6389AC}"/>
              </c:ext>
            </c:extLst>
          </c:dPt>
          <c:dPt>
            <c:idx val="580"/>
            <c:invertIfNegative val="1"/>
            <c:bubble3D val="0"/>
            <c:spPr>
              <a:solidFill>
                <a:srgbClr val="AEABAB"/>
              </a:solidFill>
            </c:spPr>
            <c:extLst>
              <c:ext xmlns:c16="http://schemas.microsoft.com/office/drawing/2014/chart" uri="{C3380CC4-5D6E-409C-BE32-E72D297353CC}">
                <c16:uniqueId val="{0000048B-B1B9-4BDE-A581-DFBD1F6389AC}"/>
              </c:ext>
            </c:extLst>
          </c:dPt>
          <c:dPt>
            <c:idx val="581"/>
            <c:invertIfNegative val="1"/>
            <c:bubble3D val="0"/>
            <c:spPr>
              <a:solidFill>
                <a:srgbClr val="AEABAB"/>
              </a:solidFill>
            </c:spPr>
            <c:extLst>
              <c:ext xmlns:c16="http://schemas.microsoft.com/office/drawing/2014/chart" uri="{C3380CC4-5D6E-409C-BE32-E72D297353CC}">
                <c16:uniqueId val="{0000048D-B1B9-4BDE-A581-DFBD1F6389AC}"/>
              </c:ext>
            </c:extLst>
          </c:dPt>
          <c:dPt>
            <c:idx val="582"/>
            <c:invertIfNegative val="1"/>
            <c:bubble3D val="0"/>
            <c:spPr>
              <a:solidFill>
                <a:srgbClr val="AEABAB"/>
              </a:solidFill>
            </c:spPr>
            <c:extLst>
              <c:ext xmlns:c16="http://schemas.microsoft.com/office/drawing/2014/chart" uri="{C3380CC4-5D6E-409C-BE32-E72D297353CC}">
                <c16:uniqueId val="{0000048F-B1B9-4BDE-A581-DFBD1F6389AC}"/>
              </c:ext>
            </c:extLst>
          </c:dPt>
          <c:dPt>
            <c:idx val="583"/>
            <c:invertIfNegative val="1"/>
            <c:bubble3D val="0"/>
            <c:spPr>
              <a:solidFill>
                <a:srgbClr val="AEABAB"/>
              </a:solidFill>
            </c:spPr>
            <c:extLst>
              <c:ext xmlns:c16="http://schemas.microsoft.com/office/drawing/2014/chart" uri="{C3380CC4-5D6E-409C-BE32-E72D297353CC}">
                <c16:uniqueId val="{00000491-B1B9-4BDE-A581-DFBD1F6389AC}"/>
              </c:ext>
            </c:extLst>
          </c:dPt>
          <c:dPt>
            <c:idx val="584"/>
            <c:invertIfNegative val="1"/>
            <c:bubble3D val="0"/>
            <c:spPr>
              <a:solidFill>
                <a:srgbClr val="AEABAB"/>
              </a:solidFill>
            </c:spPr>
            <c:extLst>
              <c:ext xmlns:c16="http://schemas.microsoft.com/office/drawing/2014/chart" uri="{C3380CC4-5D6E-409C-BE32-E72D297353CC}">
                <c16:uniqueId val="{00000493-B1B9-4BDE-A581-DFBD1F6389AC}"/>
              </c:ext>
            </c:extLst>
          </c:dPt>
          <c:dPt>
            <c:idx val="585"/>
            <c:invertIfNegative val="1"/>
            <c:bubble3D val="0"/>
            <c:spPr>
              <a:solidFill>
                <a:srgbClr val="AEABAB"/>
              </a:solidFill>
            </c:spPr>
            <c:extLst>
              <c:ext xmlns:c16="http://schemas.microsoft.com/office/drawing/2014/chart" uri="{C3380CC4-5D6E-409C-BE32-E72D297353CC}">
                <c16:uniqueId val="{00000495-B1B9-4BDE-A581-DFBD1F6389AC}"/>
              </c:ext>
            </c:extLst>
          </c:dPt>
          <c:dPt>
            <c:idx val="586"/>
            <c:invertIfNegative val="1"/>
            <c:bubble3D val="0"/>
            <c:spPr>
              <a:solidFill>
                <a:srgbClr val="AEABAB"/>
              </a:solidFill>
            </c:spPr>
            <c:extLst>
              <c:ext xmlns:c16="http://schemas.microsoft.com/office/drawing/2014/chart" uri="{C3380CC4-5D6E-409C-BE32-E72D297353CC}">
                <c16:uniqueId val="{00000497-B1B9-4BDE-A581-DFBD1F6389AC}"/>
              </c:ext>
            </c:extLst>
          </c:dPt>
          <c:dPt>
            <c:idx val="587"/>
            <c:invertIfNegative val="1"/>
            <c:bubble3D val="0"/>
            <c:spPr>
              <a:solidFill>
                <a:srgbClr val="AEABAB"/>
              </a:solidFill>
            </c:spPr>
            <c:extLst>
              <c:ext xmlns:c16="http://schemas.microsoft.com/office/drawing/2014/chart" uri="{C3380CC4-5D6E-409C-BE32-E72D297353CC}">
                <c16:uniqueId val="{00000499-B1B9-4BDE-A581-DFBD1F6389AC}"/>
              </c:ext>
            </c:extLst>
          </c:dPt>
          <c:dPt>
            <c:idx val="588"/>
            <c:invertIfNegative val="1"/>
            <c:bubble3D val="0"/>
            <c:spPr>
              <a:solidFill>
                <a:srgbClr val="AEABAB"/>
              </a:solidFill>
            </c:spPr>
            <c:extLst>
              <c:ext xmlns:c16="http://schemas.microsoft.com/office/drawing/2014/chart" uri="{C3380CC4-5D6E-409C-BE32-E72D297353CC}">
                <c16:uniqueId val="{0000049B-B1B9-4BDE-A581-DFBD1F6389AC}"/>
              </c:ext>
            </c:extLst>
          </c:dPt>
          <c:dPt>
            <c:idx val="589"/>
            <c:invertIfNegative val="1"/>
            <c:bubble3D val="0"/>
            <c:spPr>
              <a:solidFill>
                <a:srgbClr val="AEABAB"/>
              </a:solidFill>
            </c:spPr>
            <c:extLst>
              <c:ext xmlns:c16="http://schemas.microsoft.com/office/drawing/2014/chart" uri="{C3380CC4-5D6E-409C-BE32-E72D297353CC}">
                <c16:uniqueId val="{0000049D-B1B9-4BDE-A581-DFBD1F6389AC}"/>
              </c:ext>
            </c:extLst>
          </c:dPt>
          <c:dPt>
            <c:idx val="590"/>
            <c:invertIfNegative val="1"/>
            <c:bubble3D val="0"/>
            <c:spPr>
              <a:solidFill>
                <a:srgbClr val="AEABAB"/>
              </a:solidFill>
            </c:spPr>
            <c:extLst>
              <c:ext xmlns:c16="http://schemas.microsoft.com/office/drawing/2014/chart" uri="{C3380CC4-5D6E-409C-BE32-E72D297353CC}">
                <c16:uniqueId val="{0000049F-B1B9-4BDE-A581-DFBD1F6389AC}"/>
              </c:ext>
            </c:extLst>
          </c:dPt>
          <c:dPt>
            <c:idx val="591"/>
            <c:invertIfNegative val="1"/>
            <c:bubble3D val="0"/>
            <c:spPr>
              <a:solidFill>
                <a:srgbClr val="AEABAB"/>
              </a:solidFill>
            </c:spPr>
            <c:extLst>
              <c:ext xmlns:c16="http://schemas.microsoft.com/office/drawing/2014/chart" uri="{C3380CC4-5D6E-409C-BE32-E72D297353CC}">
                <c16:uniqueId val="{000004A1-B1B9-4BDE-A581-DFBD1F6389AC}"/>
              </c:ext>
            </c:extLst>
          </c:dPt>
          <c:dPt>
            <c:idx val="592"/>
            <c:invertIfNegative val="1"/>
            <c:bubble3D val="0"/>
            <c:spPr>
              <a:solidFill>
                <a:srgbClr val="AEABAB"/>
              </a:solidFill>
            </c:spPr>
            <c:extLst>
              <c:ext xmlns:c16="http://schemas.microsoft.com/office/drawing/2014/chart" uri="{C3380CC4-5D6E-409C-BE32-E72D297353CC}">
                <c16:uniqueId val="{000004A3-B1B9-4BDE-A581-DFBD1F6389AC}"/>
              </c:ext>
            </c:extLst>
          </c:dPt>
          <c:dPt>
            <c:idx val="593"/>
            <c:invertIfNegative val="1"/>
            <c:bubble3D val="0"/>
            <c:spPr>
              <a:solidFill>
                <a:srgbClr val="AEABAB"/>
              </a:solidFill>
            </c:spPr>
            <c:extLst>
              <c:ext xmlns:c16="http://schemas.microsoft.com/office/drawing/2014/chart" uri="{C3380CC4-5D6E-409C-BE32-E72D297353CC}">
                <c16:uniqueId val="{000004A5-B1B9-4BDE-A581-DFBD1F6389AC}"/>
              </c:ext>
            </c:extLst>
          </c:dPt>
          <c:dPt>
            <c:idx val="594"/>
            <c:invertIfNegative val="1"/>
            <c:bubble3D val="0"/>
            <c:spPr>
              <a:solidFill>
                <a:srgbClr val="AEABAB"/>
              </a:solidFill>
            </c:spPr>
            <c:extLst>
              <c:ext xmlns:c16="http://schemas.microsoft.com/office/drawing/2014/chart" uri="{C3380CC4-5D6E-409C-BE32-E72D297353CC}">
                <c16:uniqueId val="{000004A7-B1B9-4BDE-A581-DFBD1F6389AC}"/>
              </c:ext>
            </c:extLst>
          </c:dPt>
          <c:dPt>
            <c:idx val="595"/>
            <c:invertIfNegative val="1"/>
            <c:bubble3D val="0"/>
            <c:spPr>
              <a:solidFill>
                <a:srgbClr val="AEABAB"/>
              </a:solidFill>
            </c:spPr>
            <c:extLst>
              <c:ext xmlns:c16="http://schemas.microsoft.com/office/drawing/2014/chart" uri="{C3380CC4-5D6E-409C-BE32-E72D297353CC}">
                <c16:uniqueId val="{000004A9-B1B9-4BDE-A581-DFBD1F6389AC}"/>
              </c:ext>
            </c:extLst>
          </c:dPt>
          <c:dPt>
            <c:idx val="596"/>
            <c:invertIfNegative val="1"/>
            <c:bubble3D val="0"/>
            <c:spPr>
              <a:solidFill>
                <a:srgbClr val="AEABAB"/>
              </a:solidFill>
            </c:spPr>
            <c:extLst>
              <c:ext xmlns:c16="http://schemas.microsoft.com/office/drawing/2014/chart" uri="{C3380CC4-5D6E-409C-BE32-E72D297353CC}">
                <c16:uniqueId val="{000004AB-B1B9-4BDE-A581-DFBD1F6389AC}"/>
              </c:ext>
            </c:extLst>
          </c:dPt>
          <c:dPt>
            <c:idx val="597"/>
            <c:invertIfNegative val="1"/>
            <c:bubble3D val="0"/>
            <c:spPr>
              <a:solidFill>
                <a:srgbClr val="AEABAB"/>
              </a:solidFill>
            </c:spPr>
            <c:extLst>
              <c:ext xmlns:c16="http://schemas.microsoft.com/office/drawing/2014/chart" uri="{C3380CC4-5D6E-409C-BE32-E72D297353CC}">
                <c16:uniqueId val="{000004AD-B1B9-4BDE-A581-DFBD1F6389AC}"/>
              </c:ext>
            </c:extLst>
          </c:dPt>
          <c:dPt>
            <c:idx val="598"/>
            <c:invertIfNegative val="1"/>
            <c:bubble3D val="0"/>
            <c:spPr>
              <a:solidFill>
                <a:srgbClr val="AEABAB"/>
              </a:solidFill>
            </c:spPr>
            <c:extLst>
              <c:ext xmlns:c16="http://schemas.microsoft.com/office/drawing/2014/chart" uri="{C3380CC4-5D6E-409C-BE32-E72D297353CC}">
                <c16:uniqueId val="{000004AF-B1B9-4BDE-A581-DFBD1F6389AC}"/>
              </c:ext>
            </c:extLst>
          </c:dPt>
          <c:dPt>
            <c:idx val="599"/>
            <c:invertIfNegative val="1"/>
            <c:bubble3D val="0"/>
            <c:spPr>
              <a:solidFill>
                <a:srgbClr val="AEABAB"/>
              </a:solidFill>
            </c:spPr>
            <c:extLst>
              <c:ext xmlns:c16="http://schemas.microsoft.com/office/drawing/2014/chart" uri="{C3380CC4-5D6E-409C-BE32-E72D297353CC}">
                <c16:uniqueId val="{000004B1-B1B9-4BDE-A581-DFBD1F6389AC}"/>
              </c:ext>
            </c:extLst>
          </c:dPt>
          <c:dPt>
            <c:idx val="600"/>
            <c:invertIfNegative val="1"/>
            <c:bubble3D val="0"/>
            <c:spPr>
              <a:solidFill>
                <a:srgbClr val="AEABAB"/>
              </a:solidFill>
            </c:spPr>
            <c:extLst>
              <c:ext xmlns:c16="http://schemas.microsoft.com/office/drawing/2014/chart" uri="{C3380CC4-5D6E-409C-BE32-E72D297353CC}">
                <c16:uniqueId val="{000004B3-B1B9-4BDE-A581-DFBD1F6389AC}"/>
              </c:ext>
            </c:extLst>
          </c:dPt>
          <c:dPt>
            <c:idx val="601"/>
            <c:invertIfNegative val="1"/>
            <c:bubble3D val="0"/>
            <c:spPr>
              <a:solidFill>
                <a:srgbClr val="AEABAB"/>
              </a:solidFill>
            </c:spPr>
            <c:extLst>
              <c:ext xmlns:c16="http://schemas.microsoft.com/office/drawing/2014/chart" uri="{C3380CC4-5D6E-409C-BE32-E72D297353CC}">
                <c16:uniqueId val="{000004B5-B1B9-4BDE-A581-DFBD1F6389AC}"/>
              </c:ext>
            </c:extLst>
          </c:dPt>
          <c:dPt>
            <c:idx val="602"/>
            <c:invertIfNegative val="1"/>
            <c:bubble3D val="0"/>
            <c:spPr>
              <a:solidFill>
                <a:srgbClr val="AEABAB"/>
              </a:solidFill>
            </c:spPr>
            <c:extLst>
              <c:ext xmlns:c16="http://schemas.microsoft.com/office/drawing/2014/chart" uri="{C3380CC4-5D6E-409C-BE32-E72D297353CC}">
                <c16:uniqueId val="{000004B7-B1B9-4BDE-A581-DFBD1F6389AC}"/>
              </c:ext>
            </c:extLst>
          </c:dPt>
          <c:dPt>
            <c:idx val="603"/>
            <c:invertIfNegative val="1"/>
            <c:bubble3D val="0"/>
            <c:spPr>
              <a:solidFill>
                <a:srgbClr val="AEABAB"/>
              </a:solidFill>
            </c:spPr>
            <c:extLst>
              <c:ext xmlns:c16="http://schemas.microsoft.com/office/drawing/2014/chart" uri="{C3380CC4-5D6E-409C-BE32-E72D297353CC}">
                <c16:uniqueId val="{000004B9-B1B9-4BDE-A581-DFBD1F6389AC}"/>
              </c:ext>
            </c:extLst>
          </c:dPt>
          <c:dPt>
            <c:idx val="604"/>
            <c:invertIfNegative val="1"/>
            <c:bubble3D val="0"/>
            <c:spPr>
              <a:solidFill>
                <a:srgbClr val="AEABAB"/>
              </a:solidFill>
            </c:spPr>
            <c:extLst>
              <c:ext xmlns:c16="http://schemas.microsoft.com/office/drawing/2014/chart" uri="{C3380CC4-5D6E-409C-BE32-E72D297353CC}">
                <c16:uniqueId val="{000004BB-B1B9-4BDE-A581-DFBD1F6389AC}"/>
              </c:ext>
            </c:extLst>
          </c:dPt>
          <c:dPt>
            <c:idx val="605"/>
            <c:invertIfNegative val="1"/>
            <c:bubble3D val="0"/>
            <c:spPr>
              <a:solidFill>
                <a:srgbClr val="AEABAB"/>
              </a:solidFill>
            </c:spPr>
            <c:extLst>
              <c:ext xmlns:c16="http://schemas.microsoft.com/office/drawing/2014/chart" uri="{C3380CC4-5D6E-409C-BE32-E72D297353CC}">
                <c16:uniqueId val="{000004BD-B1B9-4BDE-A581-DFBD1F6389AC}"/>
              </c:ext>
            </c:extLst>
          </c:dPt>
          <c:dPt>
            <c:idx val="606"/>
            <c:invertIfNegative val="1"/>
            <c:bubble3D val="0"/>
            <c:spPr>
              <a:solidFill>
                <a:srgbClr val="AEABAB"/>
              </a:solidFill>
            </c:spPr>
            <c:extLst>
              <c:ext xmlns:c16="http://schemas.microsoft.com/office/drawing/2014/chart" uri="{C3380CC4-5D6E-409C-BE32-E72D297353CC}">
                <c16:uniqueId val="{000004BF-B1B9-4BDE-A581-DFBD1F6389AC}"/>
              </c:ext>
            </c:extLst>
          </c:dPt>
          <c:dPt>
            <c:idx val="607"/>
            <c:invertIfNegative val="1"/>
            <c:bubble3D val="0"/>
            <c:spPr>
              <a:solidFill>
                <a:srgbClr val="AEABAB"/>
              </a:solidFill>
            </c:spPr>
            <c:extLst>
              <c:ext xmlns:c16="http://schemas.microsoft.com/office/drawing/2014/chart" uri="{C3380CC4-5D6E-409C-BE32-E72D297353CC}">
                <c16:uniqueId val="{000004C1-B1B9-4BDE-A581-DFBD1F6389AC}"/>
              </c:ext>
            </c:extLst>
          </c:dPt>
          <c:dPt>
            <c:idx val="608"/>
            <c:invertIfNegative val="1"/>
            <c:bubble3D val="0"/>
            <c:spPr>
              <a:solidFill>
                <a:srgbClr val="AEABAB"/>
              </a:solidFill>
            </c:spPr>
            <c:extLst>
              <c:ext xmlns:c16="http://schemas.microsoft.com/office/drawing/2014/chart" uri="{C3380CC4-5D6E-409C-BE32-E72D297353CC}">
                <c16:uniqueId val="{000004C3-B1B9-4BDE-A581-DFBD1F6389AC}"/>
              </c:ext>
            </c:extLst>
          </c:dPt>
          <c:dPt>
            <c:idx val="609"/>
            <c:invertIfNegative val="1"/>
            <c:bubble3D val="0"/>
            <c:spPr>
              <a:solidFill>
                <a:srgbClr val="AEABAB"/>
              </a:solidFill>
            </c:spPr>
            <c:extLst>
              <c:ext xmlns:c16="http://schemas.microsoft.com/office/drawing/2014/chart" uri="{C3380CC4-5D6E-409C-BE32-E72D297353CC}">
                <c16:uniqueId val="{000004C5-B1B9-4BDE-A581-DFBD1F6389AC}"/>
              </c:ext>
            </c:extLst>
          </c:dPt>
          <c:dPt>
            <c:idx val="610"/>
            <c:invertIfNegative val="1"/>
            <c:bubble3D val="0"/>
            <c:spPr>
              <a:solidFill>
                <a:srgbClr val="AEABAB"/>
              </a:solidFill>
            </c:spPr>
            <c:extLst>
              <c:ext xmlns:c16="http://schemas.microsoft.com/office/drawing/2014/chart" uri="{C3380CC4-5D6E-409C-BE32-E72D297353CC}">
                <c16:uniqueId val="{000004C7-B1B9-4BDE-A581-DFBD1F6389AC}"/>
              </c:ext>
            </c:extLst>
          </c:dPt>
          <c:dPt>
            <c:idx val="611"/>
            <c:invertIfNegative val="1"/>
            <c:bubble3D val="0"/>
            <c:spPr>
              <a:solidFill>
                <a:srgbClr val="AEABAB"/>
              </a:solidFill>
            </c:spPr>
            <c:extLst>
              <c:ext xmlns:c16="http://schemas.microsoft.com/office/drawing/2014/chart" uri="{C3380CC4-5D6E-409C-BE32-E72D297353CC}">
                <c16:uniqueId val="{000004C9-B1B9-4BDE-A581-DFBD1F6389AC}"/>
              </c:ext>
            </c:extLst>
          </c:dPt>
          <c:dPt>
            <c:idx val="612"/>
            <c:invertIfNegative val="1"/>
            <c:bubble3D val="0"/>
            <c:spPr>
              <a:solidFill>
                <a:srgbClr val="AEABAB"/>
              </a:solidFill>
            </c:spPr>
            <c:extLst>
              <c:ext xmlns:c16="http://schemas.microsoft.com/office/drawing/2014/chart" uri="{C3380CC4-5D6E-409C-BE32-E72D297353CC}">
                <c16:uniqueId val="{000004CB-B1B9-4BDE-A581-DFBD1F6389AC}"/>
              </c:ext>
            </c:extLst>
          </c:dPt>
          <c:dPt>
            <c:idx val="613"/>
            <c:invertIfNegative val="1"/>
            <c:bubble3D val="0"/>
            <c:spPr>
              <a:solidFill>
                <a:srgbClr val="AEABAB"/>
              </a:solidFill>
            </c:spPr>
            <c:extLst>
              <c:ext xmlns:c16="http://schemas.microsoft.com/office/drawing/2014/chart" uri="{C3380CC4-5D6E-409C-BE32-E72D297353CC}">
                <c16:uniqueId val="{000004CD-B1B9-4BDE-A581-DFBD1F6389AC}"/>
              </c:ext>
            </c:extLst>
          </c:dPt>
          <c:dPt>
            <c:idx val="614"/>
            <c:invertIfNegative val="1"/>
            <c:bubble3D val="0"/>
            <c:spPr>
              <a:solidFill>
                <a:srgbClr val="AEABAB"/>
              </a:solidFill>
            </c:spPr>
            <c:extLst>
              <c:ext xmlns:c16="http://schemas.microsoft.com/office/drawing/2014/chart" uri="{C3380CC4-5D6E-409C-BE32-E72D297353CC}">
                <c16:uniqueId val="{000004CF-B1B9-4BDE-A581-DFBD1F6389AC}"/>
              </c:ext>
            </c:extLst>
          </c:dPt>
          <c:dPt>
            <c:idx val="615"/>
            <c:invertIfNegative val="1"/>
            <c:bubble3D val="0"/>
            <c:spPr>
              <a:solidFill>
                <a:srgbClr val="AEABAB"/>
              </a:solidFill>
            </c:spPr>
            <c:extLst>
              <c:ext xmlns:c16="http://schemas.microsoft.com/office/drawing/2014/chart" uri="{C3380CC4-5D6E-409C-BE32-E72D297353CC}">
                <c16:uniqueId val="{000004D1-B1B9-4BDE-A581-DFBD1F6389AC}"/>
              </c:ext>
            </c:extLst>
          </c:dPt>
          <c:dPt>
            <c:idx val="616"/>
            <c:invertIfNegative val="1"/>
            <c:bubble3D val="0"/>
            <c:spPr>
              <a:solidFill>
                <a:srgbClr val="AEABAB"/>
              </a:solidFill>
            </c:spPr>
            <c:extLst>
              <c:ext xmlns:c16="http://schemas.microsoft.com/office/drawing/2014/chart" uri="{C3380CC4-5D6E-409C-BE32-E72D297353CC}">
                <c16:uniqueId val="{000004D3-B1B9-4BDE-A581-DFBD1F6389AC}"/>
              </c:ext>
            </c:extLst>
          </c:dPt>
          <c:dPt>
            <c:idx val="617"/>
            <c:invertIfNegative val="1"/>
            <c:bubble3D val="0"/>
            <c:spPr>
              <a:solidFill>
                <a:srgbClr val="AEABAB"/>
              </a:solidFill>
            </c:spPr>
            <c:extLst>
              <c:ext xmlns:c16="http://schemas.microsoft.com/office/drawing/2014/chart" uri="{C3380CC4-5D6E-409C-BE32-E72D297353CC}">
                <c16:uniqueId val="{000004D5-B1B9-4BDE-A581-DFBD1F6389AC}"/>
              </c:ext>
            </c:extLst>
          </c:dPt>
          <c:dPt>
            <c:idx val="618"/>
            <c:invertIfNegative val="1"/>
            <c:bubble3D val="0"/>
            <c:spPr>
              <a:solidFill>
                <a:srgbClr val="AEABAB"/>
              </a:solidFill>
            </c:spPr>
            <c:extLst>
              <c:ext xmlns:c16="http://schemas.microsoft.com/office/drawing/2014/chart" uri="{C3380CC4-5D6E-409C-BE32-E72D297353CC}">
                <c16:uniqueId val="{000004D7-B1B9-4BDE-A581-DFBD1F6389AC}"/>
              </c:ext>
            </c:extLst>
          </c:dPt>
          <c:dPt>
            <c:idx val="619"/>
            <c:invertIfNegative val="1"/>
            <c:bubble3D val="0"/>
            <c:spPr>
              <a:solidFill>
                <a:srgbClr val="AEABAB"/>
              </a:solidFill>
            </c:spPr>
            <c:extLst>
              <c:ext xmlns:c16="http://schemas.microsoft.com/office/drawing/2014/chart" uri="{C3380CC4-5D6E-409C-BE32-E72D297353CC}">
                <c16:uniqueId val="{000004D9-B1B9-4BDE-A581-DFBD1F6389AC}"/>
              </c:ext>
            </c:extLst>
          </c:dPt>
          <c:dPt>
            <c:idx val="620"/>
            <c:invertIfNegative val="1"/>
            <c:bubble3D val="0"/>
            <c:spPr>
              <a:solidFill>
                <a:srgbClr val="AEABAB"/>
              </a:solidFill>
            </c:spPr>
            <c:extLst>
              <c:ext xmlns:c16="http://schemas.microsoft.com/office/drawing/2014/chart" uri="{C3380CC4-5D6E-409C-BE32-E72D297353CC}">
                <c16:uniqueId val="{000004DB-B1B9-4BDE-A581-DFBD1F6389AC}"/>
              </c:ext>
            </c:extLst>
          </c:dPt>
          <c:dPt>
            <c:idx val="621"/>
            <c:invertIfNegative val="1"/>
            <c:bubble3D val="0"/>
            <c:spPr>
              <a:solidFill>
                <a:srgbClr val="AEABAB"/>
              </a:solidFill>
            </c:spPr>
            <c:extLst>
              <c:ext xmlns:c16="http://schemas.microsoft.com/office/drawing/2014/chart" uri="{C3380CC4-5D6E-409C-BE32-E72D297353CC}">
                <c16:uniqueId val="{000004DD-B1B9-4BDE-A581-DFBD1F6389AC}"/>
              </c:ext>
            </c:extLst>
          </c:dPt>
          <c:dPt>
            <c:idx val="622"/>
            <c:invertIfNegative val="1"/>
            <c:bubble3D val="0"/>
            <c:spPr>
              <a:solidFill>
                <a:srgbClr val="AEABAB"/>
              </a:solidFill>
            </c:spPr>
            <c:extLst>
              <c:ext xmlns:c16="http://schemas.microsoft.com/office/drawing/2014/chart" uri="{C3380CC4-5D6E-409C-BE32-E72D297353CC}">
                <c16:uniqueId val="{000004DF-B1B9-4BDE-A581-DFBD1F6389AC}"/>
              </c:ext>
            </c:extLst>
          </c:dPt>
          <c:dPt>
            <c:idx val="623"/>
            <c:invertIfNegative val="1"/>
            <c:bubble3D val="0"/>
            <c:spPr>
              <a:solidFill>
                <a:srgbClr val="AEABAB"/>
              </a:solidFill>
            </c:spPr>
            <c:extLst>
              <c:ext xmlns:c16="http://schemas.microsoft.com/office/drawing/2014/chart" uri="{C3380CC4-5D6E-409C-BE32-E72D297353CC}">
                <c16:uniqueId val="{000004E1-B1B9-4BDE-A581-DFBD1F6389AC}"/>
              </c:ext>
            </c:extLst>
          </c:dPt>
          <c:dPt>
            <c:idx val="624"/>
            <c:invertIfNegative val="1"/>
            <c:bubble3D val="0"/>
            <c:spPr>
              <a:solidFill>
                <a:srgbClr val="AEABAB"/>
              </a:solidFill>
            </c:spPr>
            <c:extLst>
              <c:ext xmlns:c16="http://schemas.microsoft.com/office/drawing/2014/chart" uri="{C3380CC4-5D6E-409C-BE32-E72D297353CC}">
                <c16:uniqueId val="{000004E3-B1B9-4BDE-A581-DFBD1F6389AC}"/>
              </c:ext>
            </c:extLst>
          </c:dPt>
          <c:dPt>
            <c:idx val="625"/>
            <c:invertIfNegative val="1"/>
            <c:bubble3D val="0"/>
            <c:spPr>
              <a:solidFill>
                <a:srgbClr val="AEABAB"/>
              </a:solidFill>
            </c:spPr>
            <c:extLst>
              <c:ext xmlns:c16="http://schemas.microsoft.com/office/drawing/2014/chart" uri="{C3380CC4-5D6E-409C-BE32-E72D297353CC}">
                <c16:uniqueId val="{000004E5-B1B9-4BDE-A581-DFBD1F6389AC}"/>
              </c:ext>
            </c:extLst>
          </c:dPt>
          <c:dPt>
            <c:idx val="626"/>
            <c:invertIfNegative val="1"/>
            <c:bubble3D val="0"/>
            <c:spPr>
              <a:solidFill>
                <a:srgbClr val="AEABAB"/>
              </a:solidFill>
            </c:spPr>
            <c:extLst>
              <c:ext xmlns:c16="http://schemas.microsoft.com/office/drawing/2014/chart" uri="{C3380CC4-5D6E-409C-BE32-E72D297353CC}">
                <c16:uniqueId val="{000004E7-B1B9-4BDE-A581-DFBD1F6389AC}"/>
              </c:ext>
            </c:extLst>
          </c:dPt>
          <c:dPt>
            <c:idx val="627"/>
            <c:invertIfNegative val="1"/>
            <c:bubble3D val="0"/>
            <c:spPr>
              <a:solidFill>
                <a:srgbClr val="AEABAB"/>
              </a:solidFill>
            </c:spPr>
            <c:extLst>
              <c:ext xmlns:c16="http://schemas.microsoft.com/office/drawing/2014/chart" uri="{C3380CC4-5D6E-409C-BE32-E72D297353CC}">
                <c16:uniqueId val="{000004E9-B1B9-4BDE-A581-DFBD1F6389AC}"/>
              </c:ext>
            </c:extLst>
          </c:dPt>
          <c:dPt>
            <c:idx val="628"/>
            <c:invertIfNegative val="1"/>
            <c:bubble3D val="0"/>
            <c:spPr>
              <a:solidFill>
                <a:srgbClr val="AEABAB"/>
              </a:solidFill>
            </c:spPr>
            <c:extLst>
              <c:ext xmlns:c16="http://schemas.microsoft.com/office/drawing/2014/chart" uri="{C3380CC4-5D6E-409C-BE32-E72D297353CC}">
                <c16:uniqueId val="{000004EB-B1B9-4BDE-A581-DFBD1F6389AC}"/>
              </c:ext>
            </c:extLst>
          </c:dPt>
          <c:dPt>
            <c:idx val="629"/>
            <c:invertIfNegative val="1"/>
            <c:bubble3D val="0"/>
            <c:spPr>
              <a:solidFill>
                <a:srgbClr val="AEABAB"/>
              </a:solidFill>
            </c:spPr>
            <c:extLst>
              <c:ext xmlns:c16="http://schemas.microsoft.com/office/drawing/2014/chart" uri="{C3380CC4-5D6E-409C-BE32-E72D297353CC}">
                <c16:uniqueId val="{000004ED-B1B9-4BDE-A581-DFBD1F6389AC}"/>
              </c:ext>
            </c:extLst>
          </c:dPt>
          <c:dPt>
            <c:idx val="630"/>
            <c:invertIfNegative val="1"/>
            <c:bubble3D val="0"/>
            <c:spPr>
              <a:solidFill>
                <a:srgbClr val="AEABAB"/>
              </a:solidFill>
            </c:spPr>
            <c:extLst>
              <c:ext xmlns:c16="http://schemas.microsoft.com/office/drawing/2014/chart" uri="{C3380CC4-5D6E-409C-BE32-E72D297353CC}">
                <c16:uniqueId val="{000004EF-B1B9-4BDE-A581-DFBD1F6389AC}"/>
              </c:ext>
            </c:extLst>
          </c:dPt>
          <c:dPt>
            <c:idx val="631"/>
            <c:invertIfNegative val="1"/>
            <c:bubble3D val="0"/>
            <c:spPr>
              <a:solidFill>
                <a:srgbClr val="AEABAB"/>
              </a:solidFill>
            </c:spPr>
            <c:extLst>
              <c:ext xmlns:c16="http://schemas.microsoft.com/office/drawing/2014/chart" uri="{C3380CC4-5D6E-409C-BE32-E72D297353CC}">
                <c16:uniqueId val="{000004F1-B1B9-4BDE-A581-DFBD1F6389AC}"/>
              </c:ext>
            </c:extLst>
          </c:dPt>
          <c:dPt>
            <c:idx val="632"/>
            <c:invertIfNegative val="1"/>
            <c:bubble3D val="0"/>
            <c:spPr>
              <a:solidFill>
                <a:srgbClr val="AEABAB"/>
              </a:solidFill>
            </c:spPr>
            <c:extLst>
              <c:ext xmlns:c16="http://schemas.microsoft.com/office/drawing/2014/chart" uri="{C3380CC4-5D6E-409C-BE32-E72D297353CC}">
                <c16:uniqueId val="{000004F3-B1B9-4BDE-A581-DFBD1F6389AC}"/>
              </c:ext>
            </c:extLst>
          </c:dPt>
          <c:dPt>
            <c:idx val="633"/>
            <c:invertIfNegative val="1"/>
            <c:bubble3D val="0"/>
            <c:spPr>
              <a:solidFill>
                <a:srgbClr val="AEABAB"/>
              </a:solidFill>
            </c:spPr>
            <c:extLst>
              <c:ext xmlns:c16="http://schemas.microsoft.com/office/drawing/2014/chart" uri="{C3380CC4-5D6E-409C-BE32-E72D297353CC}">
                <c16:uniqueId val="{000004F5-B1B9-4BDE-A581-DFBD1F6389AC}"/>
              </c:ext>
            </c:extLst>
          </c:dPt>
          <c:dPt>
            <c:idx val="634"/>
            <c:invertIfNegative val="1"/>
            <c:bubble3D val="0"/>
            <c:spPr>
              <a:solidFill>
                <a:srgbClr val="AEABAB"/>
              </a:solidFill>
            </c:spPr>
            <c:extLst>
              <c:ext xmlns:c16="http://schemas.microsoft.com/office/drawing/2014/chart" uri="{C3380CC4-5D6E-409C-BE32-E72D297353CC}">
                <c16:uniqueId val="{000004F7-B1B9-4BDE-A581-DFBD1F6389AC}"/>
              </c:ext>
            </c:extLst>
          </c:dPt>
          <c:dPt>
            <c:idx val="635"/>
            <c:invertIfNegative val="1"/>
            <c:bubble3D val="0"/>
            <c:spPr>
              <a:solidFill>
                <a:srgbClr val="AEABAB"/>
              </a:solidFill>
            </c:spPr>
            <c:extLst>
              <c:ext xmlns:c16="http://schemas.microsoft.com/office/drawing/2014/chart" uri="{C3380CC4-5D6E-409C-BE32-E72D297353CC}">
                <c16:uniqueId val="{000004F9-B1B9-4BDE-A581-DFBD1F6389AC}"/>
              </c:ext>
            </c:extLst>
          </c:dPt>
          <c:dPt>
            <c:idx val="636"/>
            <c:invertIfNegative val="1"/>
            <c:bubble3D val="0"/>
            <c:spPr>
              <a:solidFill>
                <a:srgbClr val="AEABAB"/>
              </a:solidFill>
            </c:spPr>
            <c:extLst>
              <c:ext xmlns:c16="http://schemas.microsoft.com/office/drawing/2014/chart" uri="{C3380CC4-5D6E-409C-BE32-E72D297353CC}">
                <c16:uniqueId val="{000004FB-B1B9-4BDE-A581-DFBD1F6389AC}"/>
              </c:ext>
            </c:extLst>
          </c:dPt>
          <c:dPt>
            <c:idx val="637"/>
            <c:invertIfNegative val="1"/>
            <c:bubble3D val="0"/>
            <c:spPr>
              <a:solidFill>
                <a:srgbClr val="AEABAB"/>
              </a:solidFill>
            </c:spPr>
            <c:extLst>
              <c:ext xmlns:c16="http://schemas.microsoft.com/office/drawing/2014/chart" uri="{C3380CC4-5D6E-409C-BE32-E72D297353CC}">
                <c16:uniqueId val="{000004FD-B1B9-4BDE-A581-DFBD1F6389AC}"/>
              </c:ext>
            </c:extLst>
          </c:dPt>
          <c:dPt>
            <c:idx val="638"/>
            <c:invertIfNegative val="1"/>
            <c:bubble3D val="0"/>
            <c:spPr>
              <a:solidFill>
                <a:srgbClr val="AEABAB"/>
              </a:solidFill>
            </c:spPr>
            <c:extLst>
              <c:ext xmlns:c16="http://schemas.microsoft.com/office/drawing/2014/chart" uri="{C3380CC4-5D6E-409C-BE32-E72D297353CC}">
                <c16:uniqueId val="{000004FF-B1B9-4BDE-A581-DFBD1F6389AC}"/>
              </c:ext>
            </c:extLst>
          </c:dPt>
          <c:dPt>
            <c:idx val="639"/>
            <c:invertIfNegative val="1"/>
            <c:bubble3D val="0"/>
            <c:spPr>
              <a:solidFill>
                <a:srgbClr val="AEABAB"/>
              </a:solidFill>
            </c:spPr>
            <c:extLst>
              <c:ext xmlns:c16="http://schemas.microsoft.com/office/drawing/2014/chart" uri="{C3380CC4-5D6E-409C-BE32-E72D297353CC}">
                <c16:uniqueId val="{00000501-B1B9-4BDE-A581-DFBD1F6389AC}"/>
              </c:ext>
            </c:extLst>
          </c:dPt>
          <c:dPt>
            <c:idx val="640"/>
            <c:invertIfNegative val="1"/>
            <c:bubble3D val="0"/>
            <c:spPr>
              <a:solidFill>
                <a:srgbClr val="AEABAB"/>
              </a:solidFill>
            </c:spPr>
            <c:extLst>
              <c:ext xmlns:c16="http://schemas.microsoft.com/office/drawing/2014/chart" uri="{C3380CC4-5D6E-409C-BE32-E72D297353CC}">
                <c16:uniqueId val="{00000503-B1B9-4BDE-A581-DFBD1F6389AC}"/>
              </c:ext>
            </c:extLst>
          </c:dPt>
          <c:dPt>
            <c:idx val="641"/>
            <c:invertIfNegative val="1"/>
            <c:bubble3D val="0"/>
            <c:spPr>
              <a:solidFill>
                <a:srgbClr val="AEABAB"/>
              </a:solidFill>
            </c:spPr>
            <c:extLst>
              <c:ext xmlns:c16="http://schemas.microsoft.com/office/drawing/2014/chart" uri="{C3380CC4-5D6E-409C-BE32-E72D297353CC}">
                <c16:uniqueId val="{00000505-B1B9-4BDE-A581-DFBD1F6389AC}"/>
              </c:ext>
            </c:extLst>
          </c:dPt>
          <c:dPt>
            <c:idx val="642"/>
            <c:invertIfNegative val="1"/>
            <c:bubble3D val="0"/>
            <c:spPr>
              <a:solidFill>
                <a:srgbClr val="AEABAB"/>
              </a:solidFill>
            </c:spPr>
            <c:extLst>
              <c:ext xmlns:c16="http://schemas.microsoft.com/office/drawing/2014/chart" uri="{C3380CC4-5D6E-409C-BE32-E72D297353CC}">
                <c16:uniqueId val="{00000507-B1B9-4BDE-A581-DFBD1F6389AC}"/>
              </c:ext>
            </c:extLst>
          </c:dPt>
          <c:dPt>
            <c:idx val="643"/>
            <c:invertIfNegative val="1"/>
            <c:bubble3D val="0"/>
            <c:spPr>
              <a:solidFill>
                <a:srgbClr val="AEABAB"/>
              </a:solidFill>
            </c:spPr>
            <c:extLst>
              <c:ext xmlns:c16="http://schemas.microsoft.com/office/drawing/2014/chart" uri="{C3380CC4-5D6E-409C-BE32-E72D297353CC}">
                <c16:uniqueId val="{00000509-B1B9-4BDE-A581-DFBD1F6389AC}"/>
              </c:ext>
            </c:extLst>
          </c:dPt>
          <c:dPt>
            <c:idx val="644"/>
            <c:invertIfNegative val="1"/>
            <c:bubble3D val="0"/>
            <c:spPr>
              <a:solidFill>
                <a:srgbClr val="AEABAB"/>
              </a:solidFill>
            </c:spPr>
            <c:extLst>
              <c:ext xmlns:c16="http://schemas.microsoft.com/office/drawing/2014/chart" uri="{C3380CC4-5D6E-409C-BE32-E72D297353CC}">
                <c16:uniqueId val="{0000050B-B1B9-4BDE-A581-DFBD1F6389AC}"/>
              </c:ext>
            </c:extLst>
          </c:dPt>
          <c:dPt>
            <c:idx val="645"/>
            <c:invertIfNegative val="1"/>
            <c:bubble3D val="0"/>
            <c:spPr>
              <a:solidFill>
                <a:srgbClr val="AEABAB"/>
              </a:solidFill>
            </c:spPr>
            <c:extLst>
              <c:ext xmlns:c16="http://schemas.microsoft.com/office/drawing/2014/chart" uri="{C3380CC4-5D6E-409C-BE32-E72D297353CC}">
                <c16:uniqueId val="{0000050D-B1B9-4BDE-A581-DFBD1F6389AC}"/>
              </c:ext>
            </c:extLst>
          </c:dPt>
          <c:dPt>
            <c:idx val="646"/>
            <c:invertIfNegative val="1"/>
            <c:bubble3D val="0"/>
            <c:spPr>
              <a:solidFill>
                <a:srgbClr val="AEABAB"/>
              </a:solidFill>
            </c:spPr>
            <c:extLst>
              <c:ext xmlns:c16="http://schemas.microsoft.com/office/drawing/2014/chart" uri="{C3380CC4-5D6E-409C-BE32-E72D297353CC}">
                <c16:uniqueId val="{0000050F-B1B9-4BDE-A581-DFBD1F6389AC}"/>
              </c:ext>
            </c:extLst>
          </c:dPt>
          <c:dPt>
            <c:idx val="647"/>
            <c:invertIfNegative val="1"/>
            <c:bubble3D val="0"/>
            <c:spPr>
              <a:solidFill>
                <a:srgbClr val="AEABAB"/>
              </a:solidFill>
            </c:spPr>
            <c:extLst>
              <c:ext xmlns:c16="http://schemas.microsoft.com/office/drawing/2014/chart" uri="{C3380CC4-5D6E-409C-BE32-E72D297353CC}">
                <c16:uniqueId val="{00000511-B1B9-4BDE-A581-DFBD1F6389AC}"/>
              </c:ext>
            </c:extLst>
          </c:dPt>
          <c:dPt>
            <c:idx val="648"/>
            <c:invertIfNegative val="1"/>
            <c:bubble3D val="0"/>
            <c:spPr>
              <a:solidFill>
                <a:srgbClr val="AEABAB"/>
              </a:solidFill>
            </c:spPr>
            <c:extLst>
              <c:ext xmlns:c16="http://schemas.microsoft.com/office/drawing/2014/chart" uri="{C3380CC4-5D6E-409C-BE32-E72D297353CC}">
                <c16:uniqueId val="{00000513-B1B9-4BDE-A581-DFBD1F6389AC}"/>
              </c:ext>
            </c:extLst>
          </c:dPt>
          <c:dPt>
            <c:idx val="649"/>
            <c:invertIfNegative val="1"/>
            <c:bubble3D val="0"/>
            <c:spPr>
              <a:solidFill>
                <a:srgbClr val="AEABAB"/>
              </a:solidFill>
            </c:spPr>
            <c:extLst>
              <c:ext xmlns:c16="http://schemas.microsoft.com/office/drawing/2014/chart" uri="{C3380CC4-5D6E-409C-BE32-E72D297353CC}">
                <c16:uniqueId val="{00000515-B1B9-4BDE-A581-DFBD1F6389AC}"/>
              </c:ext>
            </c:extLst>
          </c:dPt>
          <c:dPt>
            <c:idx val="650"/>
            <c:invertIfNegative val="1"/>
            <c:bubble3D val="0"/>
            <c:spPr>
              <a:solidFill>
                <a:srgbClr val="AEABAB"/>
              </a:solidFill>
            </c:spPr>
            <c:extLst>
              <c:ext xmlns:c16="http://schemas.microsoft.com/office/drawing/2014/chart" uri="{C3380CC4-5D6E-409C-BE32-E72D297353CC}">
                <c16:uniqueId val="{00000517-B1B9-4BDE-A581-DFBD1F6389AC}"/>
              </c:ext>
            </c:extLst>
          </c:dPt>
          <c:dPt>
            <c:idx val="651"/>
            <c:invertIfNegative val="1"/>
            <c:bubble3D val="0"/>
            <c:spPr>
              <a:solidFill>
                <a:srgbClr val="AEABAB"/>
              </a:solidFill>
            </c:spPr>
            <c:extLst>
              <c:ext xmlns:c16="http://schemas.microsoft.com/office/drawing/2014/chart" uri="{C3380CC4-5D6E-409C-BE32-E72D297353CC}">
                <c16:uniqueId val="{00000519-B1B9-4BDE-A581-DFBD1F6389AC}"/>
              </c:ext>
            </c:extLst>
          </c:dPt>
          <c:dPt>
            <c:idx val="652"/>
            <c:invertIfNegative val="1"/>
            <c:bubble3D val="0"/>
            <c:spPr>
              <a:solidFill>
                <a:srgbClr val="AEABAB"/>
              </a:solidFill>
            </c:spPr>
            <c:extLst>
              <c:ext xmlns:c16="http://schemas.microsoft.com/office/drawing/2014/chart" uri="{C3380CC4-5D6E-409C-BE32-E72D297353CC}">
                <c16:uniqueId val="{0000051B-B1B9-4BDE-A581-DFBD1F6389AC}"/>
              </c:ext>
            </c:extLst>
          </c:dPt>
          <c:dPt>
            <c:idx val="653"/>
            <c:invertIfNegative val="1"/>
            <c:bubble3D val="0"/>
            <c:spPr>
              <a:solidFill>
                <a:srgbClr val="AEABAB"/>
              </a:solidFill>
            </c:spPr>
            <c:extLst>
              <c:ext xmlns:c16="http://schemas.microsoft.com/office/drawing/2014/chart" uri="{C3380CC4-5D6E-409C-BE32-E72D297353CC}">
                <c16:uniqueId val="{0000051D-B1B9-4BDE-A581-DFBD1F6389AC}"/>
              </c:ext>
            </c:extLst>
          </c:dPt>
          <c:dPt>
            <c:idx val="654"/>
            <c:invertIfNegative val="1"/>
            <c:bubble3D val="0"/>
            <c:spPr>
              <a:solidFill>
                <a:srgbClr val="AEABAB"/>
              </a:solidFill>
            </c:spPr>
            <c:extLst>
              <c:ext xmlns:c16="http://schemas.microsoft.com/office/drawing/2014/chart" uri="{C3380CC4-5D6E-409C-BE32-E72D297353CC}">
                <c16:uniqueId val="{0000051F-B1B9-4BDE-A581-DFBD1F6389AC}"/>
              </c:ext>
            </c:extLst>
          </c:dPt>
          <c:dPt>
            <c:idx val="655"/>
            <c:invertIfNegative val="1"/>
            <c:bubble3D val="0"/>
            <c:spPr>
              <a:solidFill>
                <a:srgbClr val="AEABAB"/>
              </a:solidFill>
            </c:spPr>
            <c:extLst>
              <c:ext xmlns:c16="http://schemas.microsoft.com/office/drawing/2014/chart" uri="{C3380CC4-5D6E-409C-BE32-E72D297353CC}">
                <c16:uniqueId val="{00000521-B1B9-4BDE-A581-DFBD1F6389AC}"/>
              </c:ext>
            </c:extLst>
          </c:dPt>
          <c:dPt>
            <c:idx val="656"/>
            <c:invertIfNegative val="1"/>
            <c:bubble3D val="0"/>
            <c:spPr>
              <a:solidFill>
                <a:srgbClr val="AEABAB"/>
              </a:solidFill>
            </c:spPr>
            <c:extLst>
              <c:ext xmlns:c16="http://schemas.microsoft.com/office/drawing/2014/chart" uri="{C3380CC4-5D6E-409C-BE32-E72D297353CC}">
                <c16:uniqueId val="{00000523-B1B9-4BDE-A581-DFBD1F6389AC}"/>
              </c:ext>
            </c:extLst>
          </c:dPt>
          <c:dPt>
            <c:idx val="657"/>
            <c:invertIfNegative val="1"/>
            <c:bubble3D val="0"/>
            <c:spPr>
              <a:solidFill>
                <a:srgbClr val="AEABAB"/>
              </a:solidFill>
            </c:spPr>
            <c:extLst>
              <c:ext xmlns:c16="http://schemas.microsoft.com/office/drawing/2014/chart" uri="{C3380CC4-5D6E-409C-BE32-E72D297353CC}">
                <c16:uniqueId val="{00000525-B1B9-4BDE-A581-DFBD1F6389AC}"/>
              </c:ext>
            </c:extLst>
          </c:dPt>
          <c:dPt>
            <c:idx val="658"/>
            <c:invertIfNegative val="1"/>
            <c:bubble3D val="0"/>
            <c:spPr>
              <a:solidFill>
                <a:srgbClr val="AEABAB"/>
              </a:solidFill>
            </c:spPr>
            <c:extLst>
              <c:ext xmlns:c16="http://schemas.microsoft.com/office/drawing/2014/chart" uri="{C3380CC4-5D6E-409C-BE32-E72D297353CC}">
                <c16:uniqueId val="{00000527-B1B9-4BDE-A581-DFBD1F6389AC}"/>
              </c:ext>
            </c:extLst>
          </c:dPt>
          <c:dPt>
            <c:idx val="659"/>
            <c:invertIfNegative val="1"/>
            <c:bubble3D val="0"/>
            <c:spPr>
              <a:solidFill>
                <a:srgbClr val="AEABAB"/>
              </a:solidFill>
            </c:spPr>
            <c:extLst>
              <c:ext xmlns:c16="http://schemas.microsoft.com/office/drawing/2014/chart" uri="{C3380CC4-5D6E-409C-BE32-E72D297353CC}">
                <c16:uniqueId val="{00000529-B1B9-4BDE-A581-DFBD1F6389AC}"/>
              </c:ext>
            </c:extLst>
          </c:dPt>
          <c:dPt>
            <c:idx val="660"/>
            <c:invertIfNegative val="1"/>
            <c:bubble3D val="0"/>
            <c:spPr>
              <a:solidFill>
                <a:srgbClr val="AEABAB"/>
              </a:solidFill>
            </c:spPr>
            <c:extLst>
              <c:ext xmlns:c16="http://schemas.microsoft.com/office/drawing/2014/chart" uri="{C3380CC4-5D6E-409C-BE32-E72D297353CC}">
                <c16:uniqueId val="{0000052B-B1B9-4BDE-A581-DFBD1F6389AC}"/>
              </c:ext>
            </c:extLst>
          </c:dPt>
          <c:dPt>
            <c:idx val="661"/>
            <c:invertIfNegative val="1"/>
            <c:bubble3D val="0"/>
            <c:spPr>
              <a:solidFill>
                <a:srgbClr val="AEABAB"/>
              </a:solidFill>
            </c:spPr>
            <c:extLst>
              <c:ext xmlns:c16="http://schemas.microsoft.com/office/drawing/2014/chart" uri="{C3380CC4-5D6E-409C-BE32-E72D297353CC}">
                <c16:uniqueId val="{0000052D-B1B9-4BDE-A581-DFBD1F6389AC}"/>
              </c:ext>
            </c:extLst>
          </c:dPt>
          <c:dPt>
            <c:idx val="662"/>
            <c:invertIfNegative val="1"/>
            <c:bubble3D val="0"/>
            <c:spPr>
              <a:solidFill>
                <a:srgbClr val="AEABAB"/>
              </a:solidFill>
            </c:spPr>
            <c:extLst>
              <c:ext xmlns:c16="http://schemas.microsoft.com/office/drawing/2014/chart" uri="{C3380CC4-5D6E-409C-BE32-E72D297353CC}">
                <c16:uniqueId val="{0000052F-B1B9-4BDE-A581-DFBD1F6389AC}"/>
              </c:ext>
            </c:extLst>
          </c:dPt>
          <c:dPt>
            <c:idx val="663"/>
            <c:invertIfNegative val="1"/>
            <c:bubble3D val="0"/>
            <c:spPr>
              <a:solidFill>
                <a:srgbClr val="AEABAB"/>
              </a:solidFill>
            </c:spPr>
            <c:extLst>
              <c:ext xmlns:c16="http://schemas.microsoft.com/office/drawing/2014/chart" uri="{C3380CC4-5D6E-409C-BE32-E72D297353CC}">
                <c16:uniqueId val="{00000531-B1B9-4BDE-A581-DFBD1F6389AC}"/>
              </c:ext>
            </c:extLst>
          </c:dPt>
          <c:dPt>
            <c:idx val="664"/>
            <c:invertIfNegative val="1"/>
            <c:bubble3D val="0"/>
            <c:spPr>
              <a:solidFill>
                <a:srgbClr val="AEABAB"/>
              </a:solidFill>
            </c:spPr>
            <c:extLst>
              <c:ext xmlns:c16="http://schemas.microsoft.com/office/drawing/2014/chart" uri="{C3380CC4-5D6E-409C-BE32-E72D297353CC}">
                <c16:uniqueId val="{00000533-B1B9-4BDE-A581-DFBD1F6389AC}"/>
              </c:ext>
            </c:extLst>
          </c:dPt>
          <c:dPt>
            <c:idx val="665"/>
            <c:invertIfNegative val="1"/>
            <c:bubble3D val="0"/>
            <c:spPr>
              <a:solidFill>
                <a:srgbClr val="AEABAB"/>
              </a:solidFill>
            </c:spPr>
            <c:extLst>
              <c:ext xmlns:c16="http://schemas.microsoft.com/office/drawing/2014/chart" uri="{C3380CC4-5D6E-409C-BE32-E72D297353CC}">
                <c16:uniqueId val="{00000535-B1B9-4BDE-A581-DFBD1F6389AC}"/>
              </c:ext>
            </c:extLst>
          </c:dPt>
          <c:dPt>
            <c:idx val="666"/>
            <c:invertIfNegative val="1"/>
            <c:bubble3D val="0"/>
            <c:spPr>
              <a:solidFill>
                <a:srgbClr val="AEABAB"/>
              </a:solidFill>
            </c:spPr>
            <c:extLst>
              <c:ext xmlns:c16="http://schemas.microsoft.com/office/drawing/2014/chart" uri="{C3380CC4-5D6E-409C-BE32-E72D297353CC}">
                <c16:uniqueId val="{00000537-B1B9-4BDE-A581-DFBD1F6389AC}"/>
              </c:ext>
            </c:extLst>
          </c:dPt>
          <c:dPt>
            <c:idx val="667"/>
            <c:invertIfNegative val="1"/>
            <c:bubble3D val="0"/>
            <c:spPr>
              <a:solidFill>
                <a:srgbClr val="AEABAB"/>
              </a:solidFill>
            </c:spPr>
            <c:extLst>
              <c:ext xmlns:c16="http://schemas.microsoft.com/office/drawing/2014/chart" uri="{C3380CC4-5D6E-409C-BE32-E72D297353CC}">
                <c16:uniqueId val="{00000539-B1B9-4BDE-A581-DFBD1F6389AC}"/>
              </c:ext>
            </c:extLst>
          </c:dPt>
          <c:dPt>
            <c:idx val="668"/>
            <c:invertIfNegative val="1"/>
            <c:bubble3D val="0"/>
            <c:spPr>
              <a:solidFill>
                <a:srgbClr val="AEABAB"/>
              </a:solidFill>
            </c:spPr>
            <c:extLst>
              <c:ext xmlns:c16="http://schemas.microsoft.com/office/drawing/2014/chart" uri="{C3380CC4-5D6E-409C-BE32-E72D297353CC}">
                <c16:uniqueId val="{0000053B-B1B9-4BDE-A581-DFBD1F6389AC}"/>
              </c:ext>
            </c:extLst>
          </c:dPt>
          <c:dPt>
            <c:idx val="669"/>
            <c:invertIfNegative val="1"/>
            <c:bubble3D val="0"/>
            <c:spPr>
              <a:solidFill>
                <a:srgbClr val="AEABAB"/>
              </a:solidFill>
            </c:spPr>
            <c:extLst>
              <c:ext xmlns:c16="http://schemas.microsoft.com/office/drawing/2014/chart" uri="{C3380CC4-5D6E-409C-BE32-E72D297353CC}">
                <c16:uniqueId val="{0000053D-B1B9-4BDE-A581-DFBD1F6389AC}"/>
              </c:ext>
            </c:extLst>
          </c:dPt>
          <c:dPt>
            <c:idx val="670"/>
            <c:invertIfNegative val="1"/>
            <c:bubble3D val="0"/>
            <c:spPr>
              <a:solidFill>
                <a:srgbClr val="AEABAB"/>
              </a:solidFill>
            </c:spPr>
            <c:extLst>
              <c:ext xmlns:c16="http://schemas.microsoft.com/office/drawing/2014/chart" uri="{C3380CC4-5D6E-409C-BE32-E72D297353CC}">
                <c16:uniqueId val="{0000053F-B1B9-4BDE-A581-DFBD1F6389AC}"/>
              </c:ext>
            </c:extLst>
          </c:dPt>
          <c:dPt>
            <c:idx val="671"/>
            <c:invertIfNegative val="1"/>
            <c:bubble3D val="0"/>
            <c:spPr>
              <a:solidFill>
                <a:srgbClr val="AEABAB"/>
              </a:solidFill>
            </c:spPr>
            <c:extLst>
              <c:ext xmlns:c16="http://schemas.microsoft.com/office/drawing/2014/chart" uri="{C3380CC4-5D6E-409C-BE32-E72D297353CC}">
                <c16:uniqueId val="{00000541-B1B9-4BDE-A581-DFBD1F6389AC}"/>
              </c:ext>
            </c:extLst>
          </c:dPt>
          <c:dPt>
            <c:idx val="672"/>
            <c:invertIfNegative val="1"/>
            <c:bubble3D val="0"/>
            <c:spPr>
              <a:solidFill>
                <a:srgbClr val="AEABAB"/>
              </a:solidFill>
            </c:spPr>
            <c:extLst>
              <c:ext xmlns:c16="http://schemas.microsoft.com/office/drawing/2014/chart" uri="{C3380CC4-5D6E-409C-BE32-E72D297353CC}">
                <c16:uniqueId val="{00000543-B1B9-4BDE-A581-DFBD1F6389AC}"/>
              </c:ext>
            </c:extLst>
          </c:dPt>
          <c:dPt>
            <c:idx val="673"/>
            <c:invertIfNegative val="1"/>
            <c:bubble3D val="0"/>
            <c:spPr>
              <a:solidFill>
                <a:srgbClr val="AEABAB"/>
              </a:solidFill>
            </c:spPr>
            <c:extLst>
              <c:ext xmlns:c16="http://schemas.microsoft.com/office/drawing/2014/chart" uri="{C3380CC4-5D6E-409C-BE32-E72D297353CC}">
                <c16:uniqueId val="{00000545-B1B9-4BDE-A581-DFBD1F6389AC}"/>
              </c:ext>
            </c:extLst>
          </c:dPt>
          <c:dPt>
            <c:idx val="674"/>
            <c:invertIfNegative val="1"/>
            <c:bubble3D val="0"/>
            <c:spPr>
              <a:solidFill>
                <a:srgbClr val="AEABAB"/>
              </a:solidFill>
            </c:spPr>
            <c:extLst>
              <c:ext xmlns:c16="http://schemas.microsoft.com/office/drawing/2014/chart" uri="{C3380CC4-5D6E-409C-BE32-E72D297353CC}">
                <c16:uniqueId val="{00000547-B1B9-4BDE-A581-DFBD1F6389AC}"/>
              </c:ext>
            </c:extLst>
          </c:dPt>
          <c:dPt>
            <c:idx val="675"/>
            <c:invertIfNegative val="1"/>
            <c:bubble3D val="0"/>
            <c:spPr>
              <a:solidFill>
                <a:srgbClr val="AEABAB"/>
              </a:solidFill>
            </c:spPr>
            <c:extLst>
              <c:ext xmlns:c16="http://schemas.microsoft.com/office/drawing/2014/chart" uri="{C3380CC4-5D6E-409C-BE32-E72D297353CC}">
                <c16:uniqueId val="{00000549-B1B9-4BDE-A581-DFBD1F6389AC}"/>
              </c:ext>
            </c:extLst>
          </c:dPt>
          <c:dPt>
            <c:idx val="676"/>
            <c:invertIfNegative val="1"/>
            <c:bubble3D val="0"/>
            <c:spPr>
              <a:solidFill>
                <a:srgbClr val="AEABAB"/>
              </a:solidFill>
            </c:spPr>
            <c:extLst>
              <c:ext xmlns:c16="http://schemas.microsoft.com/office/drawing/2014/chart" uri="{C3380CC4-5D6E-409C-BE32-E72D297353CC}">
                <c16:uniqueId val="{0000054B-B1B9-4BDE-A581-DFBD1F6389AC}"/>
              </c:ext>
            </c:extLst>
          </c:dPt>
          <c:dPt>
            <c:idx val="677"/>
            <c:invertIfNegative val="1"/>
            <c:bubble3D val="0"/>
            <c:spPr>
              <a:solidFill>
                <a:srgbClr val="AEABAB"/>
              </a:solidFill>
            </c:spPr>
            <c:extLst>
              <c:ext xmlns:c16="http://schemas.microsoft.com/office/drawing/2014/chart" uri="{C3380CC4-5D6E-409C-BE32-E72D297353CC}">
                <c16:uniqueId val="{0000054D-B1B9-4BDE-A581-DFBD1F6389AC}"/>
              </c:ext>
            </c:extLst>
          </c:dPt>
          <c:dPt>
            <c:idx val="678"/>
            <c:invertIfNegative val="1"/>
            <c:bubble3D val="0"/>
            <c:spPr>
              <a:solidFill>
                <a:srgbClr val="AEABAB"/>
              </a:solidFill>
            </c:spPr>
            <c:extLst>
              <c:ext xmlns:c16="http://schemas.microsoft.com/office/drawing/2014/chart" uri="{C3380CC4-5D6E-409C-BE32-E72D297353CC}">
                <c16:uniqueId val="{0000054F-B1B9-4BDE-A581-DFBD1F6389AC}"/>
              </c:ext>
            </c:extLst>
          </c:dPt>
          <c:dPt>
            <c:idx val="679"/>
            <c:invertIfNegative val="1"/>
            <c:bubble3D val="0"/>
            <c:spPr>
              <a:solidFill>
                <a:srgbClr val="AEABAB"/>
              </a:solidFill>
            </c:spPr>
            <c:extLst>
              <c:ext xmlns:c16="http://schemas.microsoft.com/office/drawing/2014/chart" uri="{C3380CC4-5D6E-409C-BE32-E72D297353CC}">
                <c16:uniqueId val="{00000551-B1B9-4BDE-A581-DFBD1F6389AC}"/>
              </c:ext>
            </c:extLst>
          </c:dPt>
          <c:dPt>
            <c:idx val="680"/>
            <c:invertIfNegative val="1"/>
            <c:bubble3D val="0"/>
            <c:spPr>
              <a:solidFill>
                <a:srgbClr val="AEABAB"/>
              </a:solidFill>
            </c:spPr>
            <c:extLst>
              <c:ext xmlns:c16="http://schemas.microsoft.com/office/drawing/2014/chart" uri="{C3380CC4-5D6E-409C-BE32-E72D297353CC}">
                <c16:uniqueId val="{00000553-B1B9-4BDE-A581-DFBD1F6389AC}"/>
              </c:ext>
            </c:extLst>
          </c:dPt>
          <c:dPt>
            <c:idx val="681"/>
            <c:invertIfNegative val="1"/>
            <c:bubble3D val="0"/>
            <c:spPr>
              <a:solidFill>
                <a:srgbClr val="AEABAB"/>
              </a:solidFill>
            </c:spPr>
            <c:extLst>
              <c:ext xmlns:c16="http://schemas.microsoft.com/office/drawing/2014/chart" uri="{C3380CC4-5D6E-409C-BE32-E72D297353CC}">
                <c16:uniqueId val="{00000555-B1B9-4BDE-A581-DFBD1F6389AC}"/>
              </c:ext>
            </c:extLst>
          </c:dPt>
          <c:dPt>
            <c:idx val="682"/>
            <c:invertIfNegative val="1"/>
            <c:bubble3D val="0"/>
            <c:spPr>
              <a:solidFill>
                <a:srgbClr val="AEABAB"/>
              </a:solidFill>
            </c:spPr>
            <c:extLst>
              <c:ext xmlns:c16="http://schemas.microsoft.com/office/drawing/2014/chart" uri="{C3380CC4-5D6E-409C-BE32-E72D297353CC}">
                <c16:uniqueId val="{00000557-B1B9-4BDE-A581-DFBD1F6389AC}"/>
              </c:ext>
            </c:extLst>
          </c:dPt>
          <c:dPt>
            <c:idx val="683"/>
            <c:invertIfNegative val="1"/>
            <c:bubble3D val="0"/>
            <c:spPr>
              <a:solidFill>
                <a:srgbClr val="AEABAB"/>
              </a:solidFill>
            </c:spPr>
            <c:extLst>
              <c:ext xmlns:c16="http://schemas.microsoft.com/office/drawing/2014/chart" uri="{C3380CC4-5D6E-409C-BE32-E72D297353CC}">
                <c16:uniqueId val="{00000559-B1B9-4BDE-A581-DFBD1F6389AC}"/>
              </c:ext>
            </c:extLst>
          </c:dPt>
          <c:dPt>
            <c:idx val="684"/>
            <c:invertIfNegative val="1"/>
            <c:bubble3D val="0"/>
            <c:spPr>
              <a:solidFill>
                <a:srgbClr val="AEABAB"/>
              </a:solidFill>
            </c:spPr>
            <c:extLst>
              <c:ext xmlns:c16="http://schemas.microsoft.com/office/drawing/2014/chart" uri="{C3380CC4-5D6E-409C-BE32-E72D297353CC}">
                <c16:uniqueId val="{0000055B-B1B9-4BDE-A581-DFBD1F6389AC}"/>
              </c:ext>
            </c:extLst>
          </c:dPt>
          <c:dPt>
            <c:idx val="685"/>
            <c:invertIfNegative val="1"/>
            <c:bubble3D val="0"/>
            <c:spPr>
              <a:solidFill>
                <a:srgbClr val="AEABAB"/>
              </a:solidFill>
            </c:spPr>
            <c:extLst>
              <c:ext xmlns:c16="http://schemas.microsoft.com/office/drawing/2014/chart" uri="{C3380CC4-5D6E-409C-BE32-E72D297353CC}">
                <c16:uniqueId val="{0000055D-B1B9-4BDE-A581-DFBD1F6389AC}"/>
              </c:ext>
            </c:extLst>
          </c:dPt>
          <c:dPt>
            <c:idx val="686"/>
            <c:invertIfNegative val="1"/>
            <c:bubble3D val="0"/>
            <c:spPr>
              <a:solidFill>
                <a:srgbClr val="AEABAB"/>
              </a:solidFill>
            </c:spPr>
            <c:extLst>
              <c:ext xmlns:c16="http://schemas.microsoft.com/office/drawing/2014/chart" uri="{C3380CC4-5D6E-409C-BE32-E72D297353CC}">
                <c16:uniqueId val="{0000055F-B1B9-4BDE-A581-DFBD1F6389AC}"/>
              </c:ext>
            </c:extLst>
          </c:dPt>
          <c:dPt>
            <c:idx val="687"/>
            <c:invertIfNegative val="1"/>
            <c:bubble3D val="0"/>
            <c:spPr>
              <a:solidFill>
                <a:srgbClr val="AEABAB"/>
              </a:solidFill>
            </c:spPr>
            <c:extLst>
              <c:ext xmlns:c16="http://schemas.microsoft.com/office/drawing/2014/chart" uri="{C3380CC4-5D6E-409C-BE32-E72D297353CC}">
                <c16:uniqueId val="{00000561-B1B9-4BDE-A581-DFBD1F6389AC}"/>
              </c:ext>
            </c:extLst>
          </c:dPt>
          <c:dPt>
            <c:idx val="688"/>
            <c:invertIfNegative val="1"/>
            <c:bubble3D val="0"/>
            <c:spPr>
              <a:solidFill>
                <a:srgbClr val="AEABAB"/>
              </a:solidFill>
            </c:spPr>
            <c:extLst>
              <c:ext xmlns:c16="http://schemas.microsoft.com/office/drawing/2014/chart" uri="{C3380CC4-5D6E-409C-BE32-E72D297353CC}">
                <c16:uniqueId val="{00000563-B1B9-4BDE-A581-DFBD1F6389AC}"/>
              </c:ext>
            </c:extLst>
          </c:dPt>
          <c:dPt>
            <c:idx val="689"/>
            <c:invertIfNegative val="1"/>
            <c:bubble3D val="0"/>
            <c:spPr>
              <a:solidFill>
                <a:srgbClr val="AEABAB"/>
              </a:solidFill>
            </c:spPr>
            <c:extLst>
              <c:ext xmlns:c16="http://schemas.microsoft.com/office/drawing/2014/chart" uri="{C3380CC4-5D6E-409C-BE32-E72D297353CC}">
                <c16:uniqueId val="{00000565-B1B9-4BDE-A581-DFBD1F6389AC}"/>
              </c:ext>
            </c:extLst>
          </c:dPt>
          <c:dPt>
            <c:idx val="690"/>
            <c:invertIfNegative val="1"/>
            <c:bubble3D val="0"/>
            <c:spPr>
              <a:solidFill>
                <a:srgbClr val="AEABAB"/>
              </a:solidFill>
            </c:spPr>
            <c:extLst>
              <c:ext xmlns:c16="http://schemas.microsoft.com/office/drawing/2014/chart" uri="{C3380CC4-5D6E-409C-BE32-E72D297353CC}">
                <c16:uniqueId val="{00000567-B1B9-4BDE-A581-DFBD1F6389AC}"/>
              </c:ext>
            </c:extLst>
          </c:dPt>
          <c:dPt>
            <c:idx val="691"/>
            <c:invertIfNegative val="1"/>
            <c:bubble3D val="0"/>
            <c:spPr>
              <a:solidFill>
                <a:srgbClr val="AEABAB"/>
              </a:solidFill>
            </c:spPr>
            <c:extLst>
              <c:ext xmlns:c16="http://schemas.microsoft.com/office/drawing/2014/chart" uri="{C3380CC4-5D6E-409C-BE32-E72D297353CC}">
                <c16:uniqueId val="{00000569-B1B9-4BDE-A581-DFBD1F6389AC}"/>
              </c:ext>
            </c:extLst>
          </c:dPt>
          <c:dPt>
            <c:idx val="692"/>
            <c:invertIfNegative val="1"/>
            <c:bubble3D val="0"/>
            <c:spPr>
              <a:solidFill>
                <a:srgbClr val="AEABAB"/>
              </a:solidFill>
            </c:spPr>
            <c:extLst>
              <c:ext xmlns:c16="http://schemas.microsoft.com/office/drawing/2014/chart" uri="{C3380CC4-5D6E-409C-BE32-E72D297353CC}">
                <c16:uniqueId val="{0000056B-B1B9-4BDE-A581-DFBD1F6389AC}"/>
              </c:ext>
            </c:extLst>
          </c:dPt>
          <c:dPt>
            <c:idx val="693"/>
            <c:invertIfNegative val="1"/>
            <c:bubble3D val="0"/>
            <c:spPr>
              <a:solidFill>
                <a:srgbClr val="AEABAB"/>
              </a:solidFill>
            </c:spPr>
            <c:extLst>
              <c:ext xmlns:c16="http://schemas.microsoft.com/office/drawing/2014/chart" uri="{C3380CC4-5D6E-409C-BE32-E72D297353CC}">
                <c16:uniqueId val="{0000056D-B1B9-4BDE-A581-DFBD1F6389AC}"/>
              </c:ext>
            </c:extLst>
          </c:dPt>
          <c:dPt>
            <c:idx val="694"/>
            <c:invertIfNegative val="1"/>
            <c:bubble3D val="0"/>
            <c:spPr>
              <a:solidFill>
                <a:srgbClr val="AEABAB"/>
              </a:solidFill>
            </c:spPr>
            <c:extLst>
              <c:ext xmlns:c16="http://schemas.microsoft.com/office/drawing/2014/chart" uri="{C3380CC4-5D6E-409C-BE32-E72D297353CC}">
                <c16:uniqueId val="{0000056F-B1B9-4BDE-A581-DFBD1F6389AC}"/>
              </c:ext>
            </c:extLst>
          </c:dPt>
          <c:dPt>
            <c:idx val="695"/>
            <c:invertIfNegative val="1"/>
            <c:bubble3D val="0"/>
            <c:spPr>
              <a:solidFill>
                <a:srgbClr val="AEABAB"/>
              </a:solidFill>
            </c:spPr>
            <c:extLst>
              <c:ext xmlns:c16="http://schemas.microsoft.com/office/drawing/2014/chart" uri="{C3380CC4-5D6E-409C-BE32-E72D297353CC}">
                <c16:uniqueId val="{00000571-B1B9-4BDE-A581-DFBD1F6389AC}"/>
              </c:ext>
            </c:extLst>
          </c:dPt>
          <c:dPt>
            <c:idx val="696"/>
            <c:invertIfNegative val="1"/>
            <c:bubble3D val="0"/>
            <c:spPr>
              <a:solidFill>
                <a:srgbClr val="AEABAB"/>
              </a:solidFill>
            </c:spPr>
            <c:extLst>
              <c:ext xmlns:c16="http://schemas.microsoft.com/office/drawing/2014/chart" uri="{C3380CC4-5D6E-409C-BE32-E72D297353CC}">
                <c16:uniqueId val="{00000573-B1B9-4BDE-A581-DFBD1F6389AC}"/>
              </c:ext>
            </c:extLst>
          </c:dPt>
          <c:dPt>
            <c:idx val="697"/>
            <c:invertIfNegative val="1"/>
            <c:bubble3D val="0"/>
            <c:spPr>
              <a:solidFill>
                <a:srgbClr val="AEABAB"/>
              </a:solidFill>
            </c:spPr>
            <c:extLst>
              <c:ext xmlns:c16="http://schemas.microsoft.com/office/drawing/2014/chart" uri="{C3380CC4-5D6E-409C-BE32-E72D297353CC}">
                <c16:uniqueId val="{00000575-B1B9-4BDE-A581-DFBD1F6389AC}"/>
              </c:ext>
            </c:extLst>
          </c:dPt>
          <c:dPt>
            <c:idx val="698"/>
            <c:invertIfNegative val="1"/>
            <c:bubble3D val="0"/>
            <c:spPr>
              <a:solidFill>
                <a:srgbClr val="AEABAB"/>
              </a:solidFill>
            </c:spPr>
            <c:extLst>
              <c:ext xmlns:c16="http://schemas.microsoft.com/office/drawing/2014/chart" uri="{C3380CC4-5D6E-409C-BE32-E72D297353CC}">
                <c16:uniqueId val="{00000577-B1B9-4BDE-A581-DFBD1F6389AC}"/>
              </c:ext>
            </c:extLst>
          </c:dPt>
          <c:dPt>
            <c:idx val="699"/>
            <c:invertIfNegative val="1"/>
            <c:bubble3D val="0"/>
            <c:spPr>
              <a:solidFill>
                <a:srgbClr val="AEABAB"/>
              </a:solidFill>
            </c:spPr>
            <c:extLst>
              <c:ext xmlns:c16="http://schemas.microsoft.com/office/drawing/2014/chart" uri="{C3380CC4-5D6E-409C-BE32-E72D297353CC}">
                <c16:uniqueId val="{00000579-B1B9-4BDE-A581-DFBD1F6389AC}"/>
              </c:ext>
            </c:extLst>
          </c:dPt>
          <c:dPt>
            <c:idx val="700"/>
            <c:invertIfNegative val="1"/>
            <c:bubble3D val="0"/>
            <c:spPr>
              <a:solidFill>
                <a:srgbClr val="AEABAB"/>
              </a:solidFill>
            </c:spPr>
            <c:extLst>
              <c:ext xmlns:c16="http://schemas.microsoft.com/office/drawing/2014/chart" uri="{C3380CC4-5D6E-409C-BE32-E72D297353CC}">
                <c16:uniqueId val="{0000057B-B1B9-4BDE-A581-DFBD1F6389AC}"/>
              </c:ext>
            </c:extLst>
          </c:dPt>
          <c:dPt>
            <c:idx val="701"/>
            <c:invertIfNegative val="1"/>
            <c:bubble3D val="0"/>
            <c:spPr>
              <a:solidFill>
                <a:srgbClr val="AEABAB"/>
              </a:solidFill>
            </c:spPr>
            <c:extLst>
              <c:ext xmlns:c16="http://schemas.microsoft.com/office/drawing/2014/chart" uri="{C3380CC4-5D6E-409C-BE32-E72D297353CC}">
                <c16:uniqueId val="{0000057D-B1B9-4BDE-A581-DFBD1F6389AC}"/>
              </c:ext>
            </c:extLst>
          </c:dPt>
          <c:dPt>
            <c:idx val="702"/>
            <c:invertIfNegative val="1"/>
            <c:bubble3D val="0"/>
            <c:spPr>
              <a:solidFill>
                <a:srgbClr val="AEABAB"/>
              </a:solidFill>
            </c:spPr>
            <c:extLst>
              <c:ext xmlns:c16="http://schemas.microsoft.com/office/drawing/2014/chart" uri="{C3380CC4-5D6E-409C-BE32-E72D297353CC}">
                <c16:uniqueId val="{0000057F-B1B9-4BDE-A581-DFBD1F6389AC}"/>
              </c:ext>
            </c:extLst>
          </c:dPt>
          <c:dPt>
            <c:idx val="703"/>
            <c:invertIfNegative val="1"/>
            <c:bubble3D val="0"/>
            <c:spPr>
              <a:solidFill>
                <a:srgbClr val="AEABAB"/>
              </a:solidFill>
            </c:spPr>
            <c:extLst>
              <c:ext xmlns:c16="http://schemas.microsoft.com/office/drawing/2014/chart" uri="{C3380CC4-5D6E-409C-BE32-E72D297353CC}">
                <c16:uniqueId val="{00000581-B1B9-4BDE-A581-DFBD1F6389AC}"/>
              </c:ext>
            </c:extLst>
          </c:dPt>
          <c:dPt>
            <c:idx val="704"/>
            <c:invertIfNegative val="1"/>
            <c:bubble3D val="0"/>
            <c:spPr>
              <a:solidFill>
                <a:srgbClr val="AEABAB"/>
              </a:solidFill>
            </c:spPr>
            <c:extLst>
              <c:ext xmlns:c16="http://schemas.microsoft.com/office/drawing/2014/chart" uri="{C3380CC4-5D6E-409C-BE32-E72D297353CC}">
                <c16:uniqueId val="{00000583-B1B9-4BDE-A581-DFBD1F6389AC}"/>
              </c:ext>
            </c:extLst>
          </c:dPt>
          <c:dPt>
            <c:idx val="705"/>
            <c:invertIfNegative val="1"/>
            <c:bubble3D val="0"/>
            <c:spPr>
              <a:solidFill>
                <a:srgbClr val="AEABAB"/>
              </a:solidFill>
            </c:spPr>
            <c:extLst>
              <c:ext xmlns:c16="http://schemas.microsoft.com/office/drawing/2014/chart" uri="{C3380CC4-5D6E-409C-BE32-E72D297353CC}">
                <c16:uniqueId val="{00000585-B1B9-4BDE-A581-DFBD1F6389AC}"/>
              </c:ext>
            </c:extLst>
          </c:dPt>
          <c:dPt>
            <c:idx val="706"/>
            <c:invertIfNegative val="1"/>
            <c:bubble3D val="0"/>
            <c:spPr>
              <a:solidFill>
                <a:srgbClr val="AEABAB"/>
              </a:solidFill>
            </c:spPr>
            <c:extLst>
              <c:ext xmlns:c16="http://schemas.microsoft.com/office/drawing/2014/chart" uri="{C3380CC4-5D6E-409C-BE32-E72D297353CC}">
                <c16:uniqueId val="{00000587-B1B9-4BDE-A581-DFBD1F6389AC}"/>
              </c:ext>
            </c:extLst>
          </c:dPt>
          <c:dPt>
            <c:idx val="707"/>
            <c:invertIfNegative val="1"/>
            <c:bubble3D val="0"/>
            <c:spPr>
              <a:solidFill>
                <a:srgbClr val="AEABAB"/>
              </a:solidFill>
            </c:spPr>
            <c:extLst>
              <c:ext xmlns:c16="http://schemas.microsoft.com/office/drawing/2014/chart" uri="{C3380CC4-5D6E-409C-BE32-E72D297353CC}">
                <c16:uniqueId val="{00000589-B1B9-4BDE-A581-DFBD1F6389AC}"/>
              </c:ext>
            </c:extLst>
          </c:dPt>
          <c:dPt>
            <c:idx val="708"/>
            <c:invertIfNegative val="1"/>
            <c:bubble3D val="0"/>
            <c:spPr>
              <a:solidFill>
                <a:srgbClr val="AEABAB"/>
              </a:solidFill>
            </c:spPr>
            <c:extLst>
              <c:ext xmlns:c16="http://schemas.microsoft.com/office/drawing/2014/chart" uri="{C3380CC4-5D6E-409C-BE32-E72D297353CC}">
                <c16:uniqueId val="{0000058B-B1B9-4BDE-A581-DFBD1F6389AC}"/>
              </c:ext>
            </c:extLst>
          </c:dPt>
          <c:dPt>
            <c:idx val="709"/>
            <c:invertIfNegative val="1"/>
            <c:bubble3D val="0"/>
            <c:spPr>
              <a:solidFill>
                <a:srgbClr val="AEABAB"/>
              </a:solidFill>
            </c:spPr>
            <c:extLst>
              <c:ext xmlns:c16="http://schemas.microsoft.com/office/drawing/2014/chart" uri="{C3380CC4-5D6E-409C-BE32-E72D297353CC}">
                <c16:uniqueId val="{0000058D-B1B9-4BDE-A581-DFBD1F6389AC}"/>
              </c:ext>
            </c:extLst>
          </c:dPt>
          <c:dPt>
            <c:idx val="710"/>
            <c:invertIfNegative val="1"/>
            <c:bubble3D val="0"/>
            <c:spPr>
              <a:solidFill>
                <a:srgbClr val="AEABAB"/>
              </a:solidFill>
            </c:spPr>
            <c:extLst>
              <c:ext xmlns:c16="http://schemas.microsoft.com/office/drawing/2014/chart" uri="{C3380CC4-5D6E-409C-BE32-E72D297353CC}">
                <c16:uniqueId val="{0000058F-B1B9-4BDE-A581-DFBD1F6389AC}"/>
              </c:ext>
            </c:extLst>
          </c:dPt>
          <c:dPt>
            <c:idx val="711"/>
            <c:invertIfNegative val="1"/>
            <c:bubble3D val="0"/>
            <c:spPr>
              <a:solidFill>
                <a:srgbClr val="AEABAB"/>
              </a:solidFill>
            </c:spPr>
            <c:extLst>
              <c:ext xmlns:c16="http://schemas.microsoft.com/office/drawing/2014/chart" uri="{C3380CC4-5D6E-409C-BE32-E72D297353CC}">
                <c16:uniqueId val="{00000591-B1B9-4BDE-A581-DFBD1F6389AC}"/>
              </c:ext>
            </c:extLst>
          </c:dPt>
          <c:dPt>
            <c:idx val="712"/>
            <c:invertIfNegative val="1"/>
            <c:bubble3D val="0"/>
            <c:spPr>
              <a:solidFill>
                <a:srgbClr val="AEABAB"/>
              </a:solidFill>
            </c:spPr>
            <c:extLst>
              <c:ext xmlns:c16="http://schemas.microsoft.com/office/drawing/2014/chart" uri="{C3380CC4-5D6E-409C-BE32-E72D297353CC}">
                <c16:uniqueId val="{00000593-B1B9-4BDE-A581-DFBD1F6389AC}"/>
              </c:ext>
            </c:extLst>
          </c:dPt>
          <c:dPt>
            <c:idx val="713"/>
            <c:invertIfNegative val="1"/>
            <c:bubble3D val="0"/>
            <c:spPr>
              <a:solidFill>
                <a:srgbClr val="AEABAB"/>
              </a:solidFill>
            </c:spPr>
            <c:extLst>
              <c:ext xmlns:c16="http://schemas.microsoft.com/office/drawing/2014/chart" uri="{C3380CC4-5D6E-409C-BE32-E72D297353CC}">
                <c16:uniqueId val="{00000595-B1B9-4BDE-A581-DFBD1F6389AC}"/>
              </c:ext>
            </c:extLst>
          </c:dPt>
          <c:dPt>
            <c:idx val="714"/>
            <c:invertIfNegative val="1"/>
            <c:bubble3D val="0"/>
            <c:spPr>
              <a:solidFill>
                <a:srgbClr val="AEABAB"/>
              </a:solidFill>
            </c:spPr>
            <c:extLst>
              <c:ext xmlns:c16="http://schemas.microsoft.com/office/drawing/2014/chart" uri="{C3380CC4-5D6E-409C-BE32-E72D297353CC}">
                <c16:uniqueId val="{00000597-B1B9-4BDE-A581-DFBD1F6389AC}"/>
              </c:ext>
            </c:extLst>
          </c:dPt>
          <c:dPt>
            <c:idx val="715"/>
            <c:invertIfNegative val="1"/>
            <c:bubble3D val="0"/>
            <c:spPr>
              <a:solidFill>
                <a:srgbClr val="AEABAB"/>
              </a:solidFill>
            </c:spPr>
            <c:extLst>
              <c:ext xmlns:c16="http://schemas.microsoft.com/office/drawing/2014/chart" uri="{C3380CC4-5D6E-409C-BE32-E72D297353CC}">
                <c16:uniqueId val="{00000599-B1B9-4BDE-A581-DFBD1F6389AC}"/>
              </c:ext>
            </c:extLst>
          </c:dPt>
          <c:dPt>
            <c:idx val="716"/>
            <c:invertIfNegative val="1"/>
            <c:bubble3D val="0"/>
            <c:spPr>
              <a:solidFill>
                <a:srgbClr val="AEABAB"/>
              </a:solidFill>
            </c:spPr>
            <c:extLst>
              <c:ext xmlns:c16="http://schemas.microsoft.com/office/drawing/2014/chart" uri="{C3380CC4-5D6E-409C-BE32-E72D297353CC}">
                <c16:uniqueId val="{0000059B-B1B9-4BDE-A581-DFBD1F6389AC}"/>
              </c:ext>
            </c:extLst>
          </c:dPt>
          <c:dPt>
            <c:idx val="717"/>
            <c:invertIfNegative val="1"/>
            <c:bubble3D val="0"/>
            <c:spPr>
              <a:solidFill>
                <a:srgbClr val="AEABAB"/>
              </a:solidFill>
            </c:spPr>
            <c:extLst>
              <c:ext xmlns:c16="http://schemas.microsoft.com/office/drawing/2014/chart" uri="{C3380CC4-5D6E-409C-BE32-E72D297353CC}">
                <c16:uniqueId val="{0000059D-B1B9-4BDE-A581-DFBD1F6389AC}"/>
              </c:ext>
            </c:extLst>
          </c:dPt>
          <c:dPt>
            <c:idx val="718"/>
            <c:invertIfNegative val="1"/>
            <c:bubble3D val="0"/>
            <c:spPr>
              <a:solidFill>
                <a:srgbClr val="AEABAB"/>
              </a:solidFill>
            </c:spPr>
            <c:extLst>
              <c:ext xmlns:c16="http://schemas.microsoft.com/office/drawing/2014/chart" uri="{C3380CC4-5D6E-409C-BE32-E72D297353CC}">
                <c16:uniqueId val="{0000059F-B1B9-4BDE-A581-DFBD1F6389AC}"/>
              </c:ext>
            </c:extLst>
          </c:dPt>
          <c:dPt>
            <c:idx val="719"/>
            <c:invertIfNegative val="1"/>
            <c:bubble3D val="0"/>
            <c:spPr>
              <a:solidFill>
                <a:srgbClr val="AEABAB"/>
              </a:solidFill>
            </c:spPr>
            <c:extLst>
              <c:ext xmlns:c16="http://schemas.microsoft.com/office/drawing/2014/chart" uri="{C3380CC4-5D6E-409C-BE32-E72D297353CC}">
                <c16:uniqueId val="{000005A1-B1B9-4BDE-A581-DFBD1F6389AC}"/>
              </c:ext>
            </c:extLst>
          </c:dPt>
          <c:dPt>
            <c:idx val="720"/>
            <c:invertIfNegative val="1"/>
            <c:bubble3D val="0"/>
            <c:spPr>
              <a:solidFill>
                <a:srgbClr val="AEABAB"/>
              </a:solidFill>
            </c:spPr>
            <c:extLst>
              <c:ext xmlns:c16="http://schemas.microsoft.com/office/drawing/2014/chart" uri="{C3380CC4-5D6E-409C-BE32-E72D297353CC}">
                <c16:uniqueId val="{000005A3-B1B9-4BDE-A581-DFBD1F6389AC}"/>
              </c:ext>
            </c:extLst>
          </c:dPt>
          <c:dPt>
            <c:idx val="721"/>
            <c:invertIfNegative val="1"/>
            <c:bubble3D val="0"/>
            <c:spPr>
              <a:solidFill>
                <a:srgbClr val="AEABAB"/>
              </a:solidFill>
            </c:spPr>
            <c:extLst>
              <c:ext xmlns:c16="http://schemas.microsoft.com/office/drawing/2014/chart" uri="{C3380CC4-5D6E-409C-BE32-E72D297353CC}">
                <c16:uniqueId val="{000005A5-B1B9-4BDE-A581-DFBD1F6389AC}"/>
              </c:ext>
            </c:extLst>
          </c:dPt>
          <c:dPt>
            <c:idx val="722"/>
            <c:invertIfNegative val="1"/>
            <c:bubble3D val="0"/>
            <c:spPr>
              <a:solidFill>
                <a:srgbClr val="AEABAB"/>
              </a:solidFill>
            </c:spPr>
            <c:extLst>
              <c:ext xmlns:c16="http://schemas.microsoft.com/office/drawing/2014/chart" uri="{C3380CC4-5D6E-409C-BE32-E72D297353CC}">
                <c16:uniqueId val="{000005A7-B1B9-4BDE-A581-DFBD1F6389AC}"/>
              </c:ext>
            </c:extLst>
          </c:dPt>
          <c:dPt>
            <c:idx val="723"/>
            <c:invertIfNegative val="1"/>
            <c:bubble3D val="0"/>
            <c:spPr>
              <a:solidFill>
                <a:srgbClr val="AEABAB"/>
              </a:solidFill>
            </c:spPr>
            <c:extLst>
              <c:ext xmlns:c16="http://schemas.microsoft.com/office/drawing/2014/chart" uri="{C3380CC4-5D6E-409C-BE32-E72D297353CC}">
                <c16:uniqueId val="{000005A9-B1B9-4BDE-A581-DFBD1F6389AC}"/>
              </c:ext>
            </c:extLst>
          </c:dPt>
          <c:dPt>
            <c:idx val="724"/>
            <c:invertIfNegative val="1"/>
            <c:bubble3D val="0"/>
            <c:spPr>
              <a:solidFill>
                <a:srgbClr val="AEABAB"/>
              </a:solidFill>
            </c:spPr>
            <c:extLst>
              <c:ext xmlns:c16="http://schemas.microsoft.com/office/drawing/2014/chart" uri="{C3380CC4-5D6E-409C-BE32-E72D297353CC}">
                <c16:uniqueId val="{000005AB-B1B9-4BDE-A581-DFBD1F6389AC}"/>
              </c:ext>
            </c:extLst>
          </c:dPt>
          <c:dPt>
            <c:idx val="725"/>
            <c:invertIfNegative val="1"/>
            <c:bubble3D val="0"/>
            <c:spPr>
              <a:solidFill>
                <a:srgbClr val="AEABAB"/>
              </a:solidFill>
            </c:spPr>
            <c:extLst>
              <c:ext xmlns:c16="http://schemas.microsoft.com/office/drawing/2014/chart" uri="{C3380CC4-5D6E-409C-BE32-E72D297353CC}">
                <c16:uniqueId val="{000005AD-B1B9-4BDE-A581-DFBD1F6389AC}"/>
              </c:ext>
            </c:extLst>
          </c:dPt>
          <c:dPt>
            <c:idx val="726"/>
            <c:invertIfNegative val="1"/>
            <c:bubble3D val="0"/>
            <c:spPr>
              <a:solidFill>
                <a:srgbClr val="AEABAB"/>
              </a:solidFill>
            </c:spPr>
            <c:extLst>
              <c:ext xmlns:c16="http://schemas.microsoft.com/office/drawing/2014/chart" uri="{C3380CC4-5D6E-409C-BE32-E72D297353CC}">
                <c16:uniqueId val="{000005AF-B1B9-4BDE-A581-DFBD1F6389AC}"/>
              </c:ext>
            </c:extLst>
          </c:dPt>
          <c:dPt>
            <c:idx val="727"/>
            <c:invertIfNegative val="1"/>
            <c:bubble3D val="0"/>
            <c:spPr>
              <a:solidFill>
                <a:srgbClr val="AEABAB"/>
              </a:solidFill>
            </c:spPr>
            <c:extLst>
              <c:ext xmlns:c16="http://schemas.microsoft.com/office/drawing/2014/chart" uri="{C3380CC4-5D6E-409C-BE32-E72D297353CC}">
                <c16:uniqueId val="{000005B1-B1B9-4BDE-A581-DFBD1F6389AC}"/>
              </c:ext>
            </c:extLst>
          </c:dPt>
          <c:dPt>
            <c:idx val="728"/>
            <c:invertIfNegative val="1"/>
            <c:bubble3D val="0"/>
            <c:spPr>
              <a:solidFill>
                <a:srgbClr val="AEABAB"/>
              </a:solidFill>
            </c:spPr>
            <c:extLst>
              <c:ext xmlns:c16="http://schemas.microsoft.com/office/drawing/2014/chart" uri="{C3380CC4-5D6E-409C-BE32-E72D297353CC}">
                <c16:uniqueId val="{000005B3-B1B9-4BDE-A581-DFBD1F6389AC}"/>
              </c:ext>
            </c:extLst>
          </c:dPt>
          <c:dPt>
            <c:idx val="729"/>
            <c:invertIfNegative val="1"/>
            <c:bubble3D val="0"/>
            <c:spPr>
              <a:solidFill>
                <a:srgbClr val="AEABAB"/>
              </a:solidFill>
            </c:spPr>
            <c:extLst>
              <c:ext xmlns:c16="http://schemas.microsoft.com/office/drawing/2014/chart" uri="{C3380CC4-5D6E-409C-BE32-E72D297353CC}">
                <c16:uniqueId val="{000005B5-B1B9-4BDE-A581-DFBD1F6389AC}"/>
              </c:ext>
            </c:extLst>
          </c:dPt>
          <c:dPt>
            <c:idx val="730"/>
            <c:invertIfNegative val="1"/>
            <c:bubble3D val="0"/>
            <c:spPr>
              <a:solidFill>
                <a:srgbClr val="AEABAB"/>
              </a:solidFill>
            </c:spPr>
            <c:extLst>
              <c:ext xmlns:c16="http://schemas.microsoft.com/office/drawing/2014/chart" uri="{C3380CC4-5D6E-409C-BE32-E72D297353CC}">
                <c16:uniqueId val="{000005B7-B1B9-4BDE-A581-DFBD1F6389AC}"/>
              </c:ext>
            </c:extLst>
          </c:dPt>
          <c:dPt>
            <c:idx val="731"/>
            <c:invertIfNegative val="1"/>
            <c:bubble3D val="0"/>
            <c:spPr>
              <a:solidFill>
                <a:srgbClr val="AEABAB"/>
              </a:solidFill>
            </c:spPr>
            <c:extLst>
              <c:ext xmlns:c16="http://schemas.microsoft.com/office/drawing/2014/chart" uri="{C3380CC4-5D6E-409C-BE32-E72D297353CC}">
                <c16:uniqueId val="{000005B9-B1B9-4BDE-A581-DFBD1F6389AC}"/>
              </c:ext>
            </c:extLst>
          </c:dPt>
          <c:dPt>
            <c:idx val="732"/>
            <c:invertIfNegative val="1"/>
            <c:bubble3D val="0"/>
            <c:spPr>
              <a:solidFill>
                <a:srgbClr val="AEABAB"/>
              </a:solidFill>
            </c:spPr>
            <c:extLst>
              <c:ext xmlns:c16="http://schemas.microsoft.com/office/drawing/2014/chart" uri="{C3380CC4-5D6E-409C-BE32-E72D297353CC}">
                <c16:uniqueId val="{000005BB-B1B9-4BDE-A581-DFBD1F6389AC}"/>
              </c:ext>
            </c:extLst>
          </c:dPt>
          <c:dPt>
            <c:idx val="733"/>
            <c:invertIfNegative val="1"/>
            <c:bubble3D val="0"/>
            <c:spPr>
              <a:solidFill>
                <a:srgbClr val="AEABAB"/>
              </a:solidFill>
            </c:spPr>
            <c:extLst>
              <c:ext xmlns:c16="http://schemas.microsoft.com/office/drawing/2014/chart" uri="{C3380CC4-5D6E-409C-BE32-E72D297353CC}">
                <c16:uniqueId val="{000005BD-B1B9-4BDE-A581-DFBD1F6389AC}"/>
              </c:ext>
            </c:extLst>
          </c:dPt>
          <c:dPt>
            <c:idx val="734"/>
            <c:invertIfNegative val="1"/>
            <c:bubble3D val="0"/>
            <c:spPr>
              <a:solidFill>
                <a:srgbClr val="AEABAB"/>
              </a:solidFill>
            </c:spPr>
            <c:extLst>
              <c:ext xmlns:c16="http://schemas.microsoft.com/office/drawing/2014/chart" uri="{C3380CC4-5D6E-409C-BE32-E72D297353CC}">
                <c16:uniqueId val="{000005BF-B1B9-4BDE-A581-DFBD1F6389AC}"/>
              </c:ext>
            </c:extLst>
          </c:dPt>
          <c:dPt>
            <c:idx val="735"/>
            <c:invertIfNegative val="1"/>
            <c:bubble3D val="0"/>
            <c:spPr>
              <a:solidFill>
                <a:srgbClr val="AEABAB"/>
              </a:solidFill>
            </c:spPr>
            <c:extLst>
              <c:ext xmlns:c16="http://schemas.microsoft.com/office/drawing/2014/chart" uri="{C3380CC4-5D6E-409C-BE32-E72D297353CC}">
                <c16:uniqueId val="{000005C1-B1B9-4BDE-A581-DFBD1F6389AC}"/>
              </c:ext>
            </c:extLst>
          </c:dPt>
          <c:dPt>
            <c:idx val="736"/>
            <c:invertIfNegative val="1"/>
            <c:bubble3D val="0"/>
            <c:spPr>
              <a:solidFill>
                <a:srgbClr val="AEABAB"/>
              </a:solidFill>
            </c:spPr>
            <c:extLst>
              <c:ext xmlns:c16="http://schemas.microsoft.com/office/drawing/2014/chart" uri="{C3380CC4-5D6E-409C-BE32-E72D297353CC}">
                <c16:uniqueId val="{000005C3-B1B9-4BDE-A581-DFBD1F6389AC}"/>
              </c:ext>
            </c:extLst>
          </c:dPt>
          <c:dPt>
            <c:idx val="737"/>
            <c:invertIfNegative val="1"/>
            <c:bubble3D val="0"/>
            <c:spPr>
              <a:solidFill>
                <a:srgbClr val="AEABAB"/>
              </a:solidFill>
            </c:spPr>
            <c:extLst>
              <c:ext xmlns:c16="http://schemas.microsoft.com/office/drawing/2014/chart" uri="{C3380CC4-5D6E-409C-BE32-E72D297353CC}">
                <c16:uniqueId val="{000005C5-B1B9-4BDE-A581-DFBD1F6389AC}"/>
              </c:ext>
            </c:extLst>
          </c:dPt>
          <c:dPt>
            <c:idx val="738"/>
            <c:invertIfNegative val="1"/>
            <c:bubble3D val="0"/>
            <c:spPr>
              <a:solidFill>
                <a:srgbClr val="AEABAB"/>
              </a:solidFill>
            </c:spPr>
            <c:extLst>
              <c:ext xmlns:c16="http://schemas.microsoft.com/office/drawing/2014/chart" uri="{C3380CC4-5D6E-409C-BE32-E72D297353CC}">
                <c16:uniqueId val="{000005C7-B1B9-4BDE-A581-DFBD1F6389AC}"/>
              </c:ext>
            </c:extLst>
          </c:dPt>
          <c:dPt>
            <c:idx val="739"/>
            <c:invertIfNegative val="1"/>
            <c:bubble3D val="0"/>
            <c:spPr>
              <a:solidFill>
                <a:srgbClr val="AEABAB"/>
              </a:solidFill>
            </c:spPr>
            <c:extLst>
              <c:ext xmlns:c16="http://schemas.microsoft.com/office/drawing/2014/chart" uri="{C3380CC4-5D6E-409C-BE32-E72D297353CC}">
                <c16:uniqueId val="{000005C9-B1B9-4BDE-A581-DFBD1F6389AC}"/>
              </c:ext>
            </c:extLst>
          </c:dPt>
          <c:dPt>
            <c:idx val="740"/>
            <c:invertIfNegative val="1"/>
            <c:bubble3D val="0"/>
            <c:spPr>
              <a:solidFill>
                <a:srgbClr val="AEABAB"/>
              </a:solidFill>
            </c:spPr>
            <c:extLst>
              <c:ext xmlns:c16="http://schemas.microsoft.com/office/drawing/2014/chart" uri="{C3380CC4-5D6E-409C-BE32-E72D297353CC}">
                <c16:uniqueId val="{000005CB-B1B9-4BDE-A581-DFBD1F6389AC}"/>
              </c:ext>
            </c:extLst>
          </c:dPt>
          <c:dPt>
            <c:idx val="741"/>
            <c:invertIfNegative val="1"/>
            <c:bubble3D val="0"/>
            <c:spPr>
              <a:solidFill>
                <a:srgbClr val="AEABAB"/>
              </a:solidFill>
            </c:spPr>
            <c:extLst>
              <c:ext xmlns:c16="http://schemas.microsoft.com/office/drawing/2014/chart" uri="{C3380CC4-5D6E-409C-BE32-E72D297353CC}">
                <c16:uniqueId val="{000005CD-B1B9-4BDE-A581-DFBD1F6389AC}"/>
              </c:ext>
            </c:extLst>
          </c:dPt>
          <c:dPt>
            <c:idx val="742"/>
            <c:invertIfNegative val="1"/>
            <c:bubble3D val="0"/>
            <c:spPr>
              <a:solidFill>
                <a:srgbClr val="AEABAB"/>
              </a:solidFill>
            </c:spPr>
            <c:extLst>
              <c:ext xmlns:c16="http://schemas.microsoft.com/office/drawing/2014/chart" uri="{C3380CC4-5D6E-409C-BE32-E72D297353CC}">
                <c16:uniqueId val="{000005CF-B1B9-4BDE-A581-DFBD1F6389AC}"/>
              </c:ext>
            </c:extLst>
          </c:dPt>
          <c:dPt>
            <c:idx val="743"/>
            <c:invertIfNegative val="1"/>
            <c:bubble3D val="0"/>
            <c:spPr>
              <a:solidFill>
                <a:srgbClr val="AEABAB"/>
              </a:solidFill>
            </c:spPr>
            <c:extLst>
              <c:ext xmlns:c16="http://schemas.microsoft.com/office/drawing/2014/chart" uri="{C3380CC4-5D6E-409C-BE32-E72D297353CC}">
                <c16:uniqueId val="{000005D1-B1B9-4BDE-A581-DFBD1F6389AC}"/>
              </c:ext>
            </c:extLst>
          </c:dPt>
          <c:dPt>
            <c:idx val="744"/>
            <c:invertIfNegative val="1"/>
            <c:bubble3D val="0"/>
            <c:spPr>
              <a:solidFill>
                <a:srgbClr val="AEABAB"/>
              </a:solidFill>
            </c:spPr>
            <c:extLst>
              <c:ext xmlns:c16="http://schemas.microsoft.com/office/drawing/2014/chart" uri="{C3380CC4-5D6E-409C-BE32-E72D297353CC}">
                <c16:uniqueId val="{000005D3-B1B9-4BDE-A581-DFBD1F6389AC}"/>
              </c:ext>
            </c:extLst>
          </c:dPt>
          <c:dPt>
            <c:idx val="745"/>
            <c:invertIfNegative val="1"/>
            <c:bubble3D val="0"/>
            <c:spPr>
              <a:solidFill>
                <a:srgbClr val="AEABAB"/>
              </a:solidFill>
            </c:spPr>
            <c:extLst>
              <c:ext xmlns:c16="http://schemas.microsoft.com/office/drawing/2014/chart" uri="{C3380CC4-5D6E-409C-BE32-E72D297353CC}">
                <c16:uniqueId val="{000005D5-B1B9-4BDE-A581-DFBD1F6389AC}"/>
              </c:ext>
            </c:extLst>
          </c:dPt>
          <c:dPt>
            <c:idx val="746"/>
            <c:invertIfNegative val="1"/>
            <c:bubble3D val="0"/>
            <c:spPr>
              <a:solidFill>
                <a:srgbClr val="AEABAB"/>
              </a:solidFill>
            </c:spPr>
            <c:extLst>
              <c:ext xmlns:c16="http://schemas.microsoft.com/office/drawing/2014/chart" uri="{C3380CC4-5D6E-409C-BE32-E72D297353CC}">
                <c16:uniqueId val="{000005D7-B1B9-4BDE-A581-DFBD1F6389AC}"/>
              </c:ext>
            </c:extLst>
          </c:dPt>
          <c:dPt>
            <c:idx val="747"/>
            <c:invertIfNegative val="1"/>
            <c:bubble3D val="0"/>
            <c:spPr>
              <a:solidFill>
                <a:srgbClr val="AEABAB"/>
              </a:solidFill>
            </c:spPr>
            <c:extLst>
              <c:ext xmlns:c16="http://schemas.microsoft.com/office/drawing/2014/chart" uri="{C3380CC4-5D6E-409C-BE32-E72D297353CC}">
                <c16:uniqueId val="{000005D9-B1B9-4BDE-A581-DFBD1F6389AC}"/>
              </c:ext>
            </c:extLst>
          </c:dPt>
          <c:dPt>
            <c:idx val="748"/>
            <c:invertIfNegative val="1"/>
            <c:bubble3D val="0"/>
            <c:spPr>
              <a:solidFill>
                <a:srgbClr val="AEABAB"/>
              </a:solidFill>
            </c:spPr>
            <c:extLst>
              <c:ext xmlns:c16="http://schemas.microsoft.com/office/drawing/2014/chart" uri="{C3380CC4-5D6E-409C-BE32-E72D297353CC}">
                <c16:uniqueId val="{000005DB-B1B9-4BDE-A581-DFBD1F6389AC}"/>
              </c:ext>
            </c:extLst>
          </c:dPt>
          <c:dPt>
            <c:idx val="749"/>
            <c:invertIfNegative val="1"/>
            <c:bubble3D val="0"/>
            <c:spPr>
              <a:solidFill>
                <a:srgbClr val="AEABAB"/>
              </a:solidFill>
            </c:spPr>
            <c:extLst>
              <c:ext xmlns:c16="http://schemas.microsoft.com/office/drawing/2014/chart" uri="{C3380CC4-5D6E-409C-BE32-E72D297353CC}">
                <c16:uniqueId val="{000005DD-B1B9-4BDE-A581-DFBD1F6389AC}"/>
              </c:ext>
            </c:extLst>
          </c:dPt>
          <c:dPt>
            <c:idx val="750"/>
            <c:invertIfNegative val="1"/>
            <c:bubble3D val="0"/>
            <c:spPr>
              <a:solidFill>
                <a:srgbClr val="AEABAB"/>
              </a:solidFill>
            </c:spPr>
            <c:extLst>
              <c:ext xmlns:c16="http://schemas.microsoft.com/office/drawing/2014/chart" uri="{C3380CC4-5D6E-409C-BE32-E72D297353CC}">
                <c16:uniqueId val="{000005DF-B1B9-4BDE-A581-DFBD1F6389AC}"/>
              </c:ext>
            </c:extLst>
          </c:dPt>
          <c:dPt>
            <c:idx val="751"/>
            <c:invertIfNegative val="1"/>
            <c:bubble3D val="0"/>
            <c:spPr>
              <a:solidFill>
                <a:srgbClr val="AEABAB"/>
              </a:solidFill>
            </c:spPr>
            <c:extLst>
              <c:ext xmlns:c16="http://schemas.microsoft.com/office/drawing/2014/chart" uri="{C3380CC4-5D6E-409C-BE32-E72D297353CC}">
                <c16:uniqueId val="{000005E1-B1B9-4BDE-A581-DFBD1F6389AC}"/>
              </c:ext>
            </c:extLst>
          </c:dPt>
          <c:dPt>
            <c:idx val="752"/>
            <c:invertIfNegative val="1"/>
            <c:bubble3D val="0"/>
            <c:spPr>
              <a:solidFill>
                <a:srgbClr val="AEABAB"/>
              </a:solidFill>
            </c:spPr>
            <c:extLst>
              <c:ext xmlns:c16="http://schemas.microsoft.com/office/drawing/2014/chart" uri="{C3380CC4-5D6E-409C-BE32-E72D297353CC}">
                <c16:uniqueId val="{000005E3-B1B9-4BDE-A581-DFBD1F6389AC}"/>
              </c:ext>
            </c:extLst>
          </c:dPt>
          <c:dPt>
            <c:idx val="753"/>
            <c:invertIfNegative val="1"/>
            <c:bubble3D val="0"/>
            <c:spPr>
              <a:solidFill>
                <a:srgbClr val="AEABAB"/>
              </a:solidFill>
            </c:spPr>
            <c:extLst>
              <c:ext xmlns:c16="http://schemas.microsoft.com/office/drawing/2014/chart" uri="{C3380CC4-5D6E-409C-BE32-E72D297353CC}">
                <c16:uniqueId val="{000005E5-B1B9-4BDE-A581-DFBD1F6389AC}"/>
              </c:ext>
            </c:extLst>
          </c:dPt>
          <c:dPt>
            <c:idx val="754"/>
            <c:invertIfNegative val="1"/>
            <c:bubble3D val="0"/>
            <c:spPr>
              <a:solidFill>
                <a:srgbClr val="AEABAB"/>
              </a:solidFill>
            </c:spPr>
            <c:extLst>
              <c:ext xmlns:c16="http://schemas.microsoft.com/office/drawing/2014/chart" uri="{C3380CC4-5D6E-409C-BE32-E72D297353CC}">
                <c16:uniqueId val="{000005E7-B1B9-4BDE-A581-DFBD1F6389AC}"/>
              </c:ext>
            </c:extLst>
          </c:dPt>
          <c:dPt>
            <c:idx val="755"/>
            <c:invertIfNegative val="1"/>
            <c:bubble3D val="0"/>
            <c:spPr>
              <a:solidFill>
                <a:srgbClr val="AEABAB"/>
              </a:solidFill>
            </c:spPr>
            <c:extLst>
              <c:ext xmlns:c16="http://schemas.microsoft.com/office/drawing/2014/chart" uri="{C3380CC4-5D6E-409C-BE32-E72D297353CC}">
                <c16:uniqueId val="{000005E9-B1B9-4BDE-A581-DFBD1F6389AC}"/>
              </c:ext>
            </c:extLst>
          </c:dPt>
          <c:dPt>
            <c:idx val="756"/>
            <c:invertIfNegative val="1"/>
            <c:bubble3D val="0"/>
            <c:spPr>
              <a:solidFill>
                <a:srgbClr val="AEABAB"/>
              </a:solidFill>
            </c:spPr>
            <c:extLst>
              <c:ext xmlns:c16="http://schemas.microsoft.com/office/drawing/2014/chart" uri="{C3380CC4-5D6E-409C-BE32-E72D297353CC}">
                <c16:uniqueId val="{000005EB-B1B9-4BDE-A581-DFBD1F6389AC}"/>
              </c:ext>
            </c:extLst>
          </c:dPt>
          <c:dPt>
            <c:idx val="757"/>
            <c:invertIfNegative val="1"/>
            <c:bubble3D val="0"/>
            <c:spPr>
              <a:solidFill>
                <a:srgbClr val="AEABAB"/>
              </a:solidFill>
            </c:spPr>
            <c:extLst>
              <c:ext xmlns:c16="http://schemas.microsoft.com/office/drawing/2014/chart" uri="{C3380CC4-5D6E-409C-BE32-E72D297353CC}">
                <c16:uniqueId val="{000005ED-B1B9-4BDE-A581-DFBD1F6389AC}"/>
              </c:ext>
            </c:extLst>
          </c:dPt>
          <c:dPt>
            <c:idx val="758"/>
            <c:invertIfNegative val="1"/>
            <c:bubble3D val="0"/>
            <c:spPr>
              <a:solidFill>
                <a:srgbClr val="AEABAB"/>
              </a:solidFill>
            </c:spPr>
            <c:extLst>
              <c:ext xmlns:c16="http://schemas.microsoft.com/office/drawing/2014/chart" uri="{C3380CC4-5D6E-409C-BE32-E72D297353CC}">
                <c16:uniqueId val="{000005EF-B1B9-4BDE-A581-DFBD1F6389AC}"/>
              </c:ext>
            </c:extLst>
          </c:dPt>
          <c:dPt>
            <c:idx val="759"/>
            <c:invertIfNegative val="1"/>
            <c:bubble3D val="0"/>
            <c:spPr>
              <a:solidFill>
                <a:srgbClr val="AEABAB"/>
              </a:solidFill>
            </c:spPr>
            <c:extLst>
              <c:ext xmlns:c16="http://schemas.microsoft.com/office/drawing/2014/chart" uri="{C3380CC4-5D6E-409C-BE32-E72D297353CC}">
                <c16:uniqueId val="{000005F1-B1B9-4BDE-A581-DFBD1F6389AC}"/>
              </c:ext>
            </c:extLst>
          </c:dPt>
          <c:dPt>
            <c:idx val="760"/>
            <c:invertIfNegative val="1"/>
            <c:bubble3D val="0"/>
            <c:spPr>
              <a:solidFill>
                <a:srgbClr val="AEABAB"/>
              </a:solidFill>
            </c:spPr>
            <c:extLst>
              <c:ext xmlns:c16="http://schemas.microsoft.com/office/drawing/2014/chart" uri="{C3380CC4-5D6E-409C-BE32-E72D297353CC}">
                <c16:uniqueId val="{000005F3-B1B9-4BDE-A581-DFBD1F6389AC}"/>
              </c:ext>
            </c:extLst>
          </c:dPt>
          <c:dPt>
            <c:idx val="761"/>
            <c:invertIfNegative val="1"/>
            <c:bubble3D val="0"/>
            <c:spPr>
              <a:solidFill>
                <a:srgbClr val="AEABAB"/>
              </a:solidFill>
            </c:spPr>
            <c:extLst>
              <c:ext xmlns:c16="http://schemas.microsoft.com/office/drawing/2014/chart" uri="{C3380CC4-5D6E-409C-BE32-E72D297353CC}">
                <c16:uniqueId val="{000005F5-B1B9-4BDE-A581-DFBD1F6389AC}"/>
              </c:ext>
            </c:extLst>
          </c:dPt>
          <c:dPt>
            <c:idx val="762"/>
            <c:invertIfNegative val="1"/>
            <c:bubble3D val="0"/>
            <c:spPr>
              <a:solidFill>
                <a:srgbClr val="AEABAB"/>
              </a:solidFill>
            </c:spPr>
            <c:extLst>
              <c:ext xmlns:c16="http://schemas.microsoft.com/office/drawing/2014/chart" uri="{C3380CC4-5D6E-409C-BE32-E72D297353CC}">
                <c16:uniqueId val="{000005F7-B1B9-4BDE-A581-DFBD1F6389AC}"/>
              </c:ext>
            </c:extLst>
          </c:dPt>
          <c:dPt>
            <c:idx val="763"/>
            <c:invertIfNegative val="1"/>
            <c:bubble3D val="0"/>
            <c:spPr>
              <a:solidFill>
                <a:srgbClr val="AEABAB"/>
              </a:solidFill>
            </c:spPr>
            <c:extLst>
              <c:ext xmlns:c16="http://schemas.microsoft.com/office/drawing/2014/chart" uri="{C3380CC4-5D6E-409C-BE32-E72D297353CC}">
                <c16:uniqueId val="{000005F9-B1B9-4BDE-A581-DFBD1F6389AC}"/>
              </c:ext>
            </c:extLst>
          </c:dPt>
          <c:dPt>
            <c:idx val="764"/>
            <c:invertIfNegative val="1"/>
            <c:bubble3D val="0"/>
            <c:spPr>
              <a:solidFill>
                <a:srgbClr val="AEABAB"/>
              </a:solidFill>
            </c:spPr>
            <c:extLst>
              <c:ext xmlns:c16="http://schemas.microsoft.com/office/drawing/2014/chart" uri="{C3380CC4-5D6E-409C-BE32-E72D297353CC}">
                <c16:uniqueId val="{000005FB-B1B9-4BDE-A581-DFBD1F6389AC}"/>
              </c:ext>
            </c:extLst>
          </c:dPt>
          <c:dPt>
            <c:idx val="765"/>
            <c:invertIfNegative val="1"/>
            <c:bubble3D val="0"/>
            <c:spPr>
              <a:solidFill>
                <a:srgbClr val="AEABAB"/>
              </a:solidFill>
            </c:spPr>
            <c:extLst>
              <c:ext xmlns:c16="http://schemas.microsoft.com/office/drawing/2014/chart" uri="{C3380CC4-5D6E-409C-BE32-E72D297353CC}">
                <c16:uniqueId val="{000005FD-B1B9-4BDE-A581-DFBD1F6389AC}"/>
              </c:ext>
            </c:extLst>
          </c:dPt>
          <c:dPt>
            <c:idx val="766"/>
            <c:invertIfNegative val="1"/>
            <c:bubble3D val="0"/>
            <c:spPr>
              <a:solidFill>
                <a:srgbClr val="AEABAB"/>
              </a:solidFill>
            </c:spPr>
            <c:extLst>
              <c:ext xmlns:c16="http://schemas.microsoft.com/office/drawing/2014/chart" uri="{C3380CC4-5D6E-409C-BE32-E72D297353CC}">
                <c16:uniqueId val="{000005FF-B1B9-4BDE-A581-DFBD1F6389AC}"/>
              </c:ext>
            </c:extLst>
          </c:dPt>
          <c:dPt>
            <c:idx val="767"/>
            <c:invertIfNegative val="1"/>
            <c:bubble3D val="0"/>
            <c:spPr>
              <a:solidFill>
                <a:srgbClr val="AEABAB"/>
              </a:solidFill>
            </c:spPr>
            <c:extLst>
              <c:ext xmlns:c16="http://schemas.microsoft.com/office/drawing/2014/chart" uri="{C3380CC4-5D6E-409C-BE32-E72D297353CC}">
                <c16:uniqueId val="{00000601-B1B9-4BDE-A581-DFBD1F6389AC}"/>
              </c:ext>
            </c:extLst>
          </c:dPt>
          <c:dPt>
            <c:idx val="768"/>
            <c:invertIfNegative val="1"/>
            <c:bubble3D val="0"/>
            <c:spPr>
              <a:solidFill>
                <a:srgbClr val="AEABAB"/>
              </a:solidFill>
            </c:spPr>
            <c:extLst>
              <c:ext xmlns:c16="http://schemas.microsoft.com/office/drawing/2014/chart" uri="{C3380CC4-5D6E-409C-BE32-E72D297353CC}">
                <c16:uniqueId val="{00000603-B1B9-4BDE-A581-DFBD1F6389AC}"/>
              </c:ext>
            </c:extLst>
          </c:dPt>
          <c:dPt>
            <c:idx val="769"/>
            <c:invertIfNegative val="1"/>
            <c:bubble3D val="0"/>
            <c:spPr>
              <a:solidFill>
                <a:srgbClr val="AEABAB"/>
              </a:solidFill>
            </c:spPr>
            <c:extLst>
              <c:ext xmlns:c16="http://schemas.microsoft.com/office/drawing/2014/chart" uri="{C3380CC4-5D6E-409C-BE32-E72D297353CC}">
                <c16:uniqueId val="{00000605-B1B9-4BDE-A581-DFBD1F6389AC}"/>
              </c:ext>
            </c:extLst>
          </c:dPt>
          <c:dPt>
            <c:idx val="770"/>
            <c:invertIfNegative val="1"/>
            <c:bubble3D val="0"/>
            <c:spPr>
              <a:solidFill>
                <a:srgbClr val="AEABAB"/>
              </a:solidFill>
            </c:spPr>
            <c:extLst>
              <c:ext xmlns:c16="http://schemas.microsoft.com/office/drawing/2014/chart" uri="{C3380CC4-5D6E-409C-BE32-E72D297353CC}">
                <c16:uniqueId val="{00000607-B1B9-4BDE-A581-DFBD1F6389AC}"/>
              </c:ext>
            </c:extLst>
          </c:dPt>
          <c:dPt>
            <c:idx val="771"/>
            <c:invertIfNegative val="1"/>
            <c:bubble3D val="0"/>
            <c:spPr>
              <a:solidFill>
                <a:srgbClr val="AEABAB"/>
              </a:solidFill>
            </c:spPr>
            <c:extLst>
              <c:ext xmlns:c16="http://schemas.microsoft.com/office/drawing/2014/chart" uri="{C3380CC4-5D6E-409C-BE32-E72D297353CC}">
                <c16:uniqueId val="{00000609-B1B9-4BDE-A581-DFBD1F6389AC}"/>
              </c:ext>
            </c:extLst>
          </c:dPt>
          <c:dPt>
            <c:idx val="772"/>
            <c:invertIfNegative val="1"/>
            <c:bubble3D val="0"/>
            <c:spPr>
              <a:solidFill>
                <a:srgbClr val="AEABAB"/>
              </a:solidFill>
            </c:spPr>
            <c:extLst>
              <c:ext xmlns:c16="http://schemas.microsoft.com/office/drawing/2014/chart" uri="{C3380CC4-5D6E-409C-BE32-E72D297353CC}">
                <c16:uniqueId val="{0000060B-B1B9-4BDE-A581-DFBD1F6389AC}"/>
              </c:ext>
            </c:extLst>
          </c:dPt>
          <c:dPt>
            <c:idx val="773"/>
            <c:invertIfNegative val="1"/>
            <c:bubble3D val="0"/>
            <c:spPr>
              <a:solidFill>
                <a:srgbClr val="AEABAB"/>
              </a:solidFill>
            </c:spPr>
            <c:extLst>
              <c:ext xmlns:c16="http://schemas.microsoft.com/office/drawing/2014/chart" uri="{C3380CC4-5D6E-409C-BE32-E72D297353CC}">
                <c16:uniqueId val="{0000060D-B1B9-4BDE-A581-DFBD1F6389AC}"/>
              </c:ext>
            </c:extLst>
          </c:dPt>
          <c:dPt>
            <c:idx val="774"/>
            <c:invertIfNegative val="1"/>
            <c:bubble3D val="0"/>
            <c:spPr>
              <a:solidFill>
                <a:srgbClr val="AEABAB"/>
              </a:solidFill>
            </c:spPr>
            <c:extLst>
              <c:ext xmlns:c16="http://schemas.microsoft.com/office/drawing/2014/chart" uri="{C3380CC4-5D6E-409C-BE32-E72D297353CC}">
                <c16:uniqueId val="{0000060F-B1B9-4BDE-A581-DFBD1F6389AC}"/>
              </c:ext>
            </c:extLst>
          </c:dPt>
          <c:dPt>
            <c:idx val="775"/>
            <c:invertIfNegative val="1"/>
            <c:bubble3D val="0"/>
            <c:spPr>
              <a:solidFill>
                <a:srgbClr val="AEABAB"/>
              </a:solidFill>
            </c:spPr>
            <c:extLst>
              <c:ext xmlns:c16="http://schemas.microsoft.com/office/drawing/2014/chart" uri="{C3380CC4-5D6E-409C-BE32-E72D297353CC}">
                <c16:uniqueId val="{00000611-B1B9-4BDE-A581-DFBD1F6389AC}"/>
              </c:ext>
            </c:extLst>
          </c:dPt>
          <c:dPt>
            <c:idx val="776"/>
            <c:invertIfNegative val="1"/>
            <c:bubble3D val="0"/>
            <c:spPr>
              <a:solidFill>
                <a:srgbClr val="AEABAB"/>
              </a:solidFill>
            </c:spPr>
            <c:extLst>
              <c:ext xmlns:c16="http://schemas.microsoft.com/office/drawing/2014/chart" uri="{C3380CC4-5D6E-409C-BE32-E72D297353CC}">
                <c16:uniqueId val="{00000613-B1B9-4BDE-A581-DFBD1F6389AC}"/>
              </c:ext>
            </c:extLst>
          </c:dPt>
          <c:dPt>
            <c:idx val="777"/>
            <c:invertIfNegative val="1"/>
            <c:bubble3D val="0"/>
            <c:spPr>
              <a:solidFill>
                <a:srgbClr val="AEABAB"/>
              </a:solidFill>
            </c:spPr>
            <c:extLst>
              <c:ext xmlns:c16="http://schemas.microsoft.com/office/drawing/2014/chart" uri="{C3380CC4-5D6E-409C-BE32-E72D297353CC}">
                <c16:uniqueId val="{00000615-B1B9-4BDE-A581-DFBD1F6389AC}"/>
              </c:ext>
            </c:extLst>
          </c:dPt>
          <c:dPt>
            <c:idx val="778"/>
            <c:invertIfNegative val="1"/>
            <c:bubble3D val="0"/>
            <c:spPr>
              <a:solidFill>
                <a:srgbClr val="AEABAB"/>
              </a:solidFill>
            </c:spPr>
            <c:extLst>
              <c:ext xmlns:c16="http://schemas.microsoft.com/office/drawing/2014/chart" uri="{C3380CC4-5D6E-409C-BE32-E72D297353CC}">
                <c16:uniqueId val="{00000617-B1B9-4BDE-A581-DFBD1F6389AC}"/>
              </c:ext>
            </c:extLst>
          </c:dPt>
          <c:dPt>
            <c:idx val="779"/>
            <c:invertIfNegative val="1"/>
            <c:bubble3D val="0"/>
            <c:spPr>
              <a:solidFill>
                <a:srgbClr val="AEABAB"/>
              </a:solidFill>
            </c:spPr>
            <c:extLst>
              <c:ext xmlns:c16="http://schemas.microsoft.com/office/drawing/2014/chart" uri="{C3380CC4-5D6E-409C-BE32-E72D297353CC}">
                <c16:uniqueId val="{00000619-B1B9-4BDE-A581-DFBD1F6389AC}"/>
              </c:ext>
            </c:extLst>
          </c:dPt>
          <c:dPt>
            <c:idx val="780"/>
            <c:invertIfNegative val="1"/>
            <c:bubble3D val="0"/>
            <c:spPr>
              <a:solidFill>
                <a:srgbClr val="AEABAB"/>
              </a:solidFill>
            </c:spPr>
            <c:extLst>
              <c:ext xmlns:c16="http://schemas.microsoft.com/office/drawing/2014/chart" uri="{C3380CC4-5D6E-409C-BE32-E72D297353CC}">
                <c16:uniqueId val="{0000061B-B1B9-4BDE-A581-DFBD1F6389AC}"/>
              </c:ext>
            </c:extLst>
          </c:dPt>
          <c:dPt>
            <c:idx val="781"/>
            <c:invertIfNegative val="1"/>
            <c:bubble3D val="0"/>
            <c:spPr>
              <a:solidFill>
                <a:srgbClr val="AEABAB"/>
              </a:solidFill>
            </c:spPr>
            <c:extLst>
              <c:ext xmlns:c16="http://schemas.microsoft.com/office/drawing/2014/chart" uri="{C3380CC4-5D6E-409C-BE32-E72D297353CC}">
                <c16:uniqueId val="{0000061D-B1B9-4BDE-A581-DFBD1F6389AC}"/>
              </c:ext>
            </c:extLst>
          </c:dPt>
          <c:dPt>
            <c:idx val="782"/>
            <c:invertIfNegative val="1"/>
            <c:bubble3D val="0"/>
            <c:spPr>
              <a:solidFill>
                <a:srgbClr val="AEABAB"/>
              </a:solidFill>
            </c:spPr>
            <c:extLst>
              <c:ext xmlns:c16="http://schemas.microsoft.com/office/drawing/2014/chart" uri="{C3380CC4-5D6E-409C-BE32-E72D297353CC}">
                <c16:uniqueId val="{0000061F-B1B9-4BDE-A581-DFBD1F6389AC}"/>
              </c:ext>
            </c:extLst>
          </c:dPt>
          <c:dPt>
            <c:idx val="783"/>
            <c:invertIfNegative val="1"/>
            <c:bubble3D val="0"/>
            <c:spPr>
              <a:solidFill>
                <a:srgbClr val="AEABAB"/>
              </a:solidFill>
            </c:spPr>
            <c:extLst>
              <c:ext xmlns:c16="http://schemas.microsoft.com/office/drawing/2014/chart" uri="{C3380CC4-5D6E-409C-BE32-E72D297353CC}">
                <c16:uniqueId val="{00000621-B1B9-4BDE-A581-DFBD1F6389AC}"/>
              </c:ext>
            </c:extLst>
          </c:dPt>
          <c:dPt>
            <c:idx val="784"/>
            <c:invertIfNegative val="1"/>
            <c:bubble3D val="0"/>
            <c:spPr>
              <a:solidFill>
                <a:srgbClr val="AEABAB"/>
              </a:solidFill>
            </c:spPr>
            <c:extLst>
              <c:ext xmlns:c16="http://schemas.microsoft.com/office/drawing/2014/chart" uri="{C3380CC4-5D6E-409C-BE32-E72D297353CC}">
                <c16:uniqueId val="{00000623-B1B9-4BDE-A581-DFBD1F6389AC}"/>
              </c:ext>
            </c:extLst>
          </c:dPt>
          <c:dPt>
            <c:idx val="785"/>
            <c:invertIfNegative val="1"/>
            <c:bubble3D val="0"/>
            <c:spPr>
              <a:solidFill>
                <a:srgbClr val="AEABAB"/>
              </a:solidFill>
            </c:spPr>
            <c:extLst>
              <c:ext xmlns:c16="http://schemas.microsoft.com/office/drawing/2014/chart" uri="{C3380CC4-5D6E-409C-BE32-E72D297353CC}">
                <c16:uniqueId val="{00000625-B1B9-4BDE-A581-DFBD1F6389AC}"/>
              </c:ext>
            </c:extLst>
          </c:dPt>
          <c:dPt>
            <c:idx val="786"/>
            <c:invertIfNegative val="1"/>
            <c:bubble3D val="0"/>
            <c:spPr>
              <a:solidFill>
                <a:srgbClr val="AEABAB"/>
              </a:solidFill>
            </c:spPr>
            <c:extLst>
              <c:ext xmlns:c16="http://schemas.microsoft.com/office/drawing/2014/chart" uri="{C3380CC4-5D6E-409C-BE32-E72D297353CC}">
                <c16:uniqueId val="{00000627-B1B9-4BDE-A581-DFBD1F6389AC}"/>
              </c:ext>
            </c:extLst>
          </c:dPt>
          <c:dPt>
            <c:idx val="787"/>
            <c:invertIfNegative val="1"/>
            <c:bubble3D val="0"/>
            <c:spPr>
              <a:solidFill>
                <a:srgbClr val="AEABAB"/>
              </a:solidFill>
            </c:spPr>
            <c:extLst>
              <c:ext xmlns:c16="http://schemas.microsoft.com/office/drawing/2014/chart" uri="{C3380CC4-5D6E-409C-BE32-E72D297353CC}">
                <c16:uniqueId val="{00000629-B1B9-4BDE-A581-DFBD1F6389AC}"/>
              </c:ext>
            </c:extLst>
          </c:dPt>
          <c:dPt>
            <c:idx val="788"/>
            <c:invertIfNegative val="1"/>
            <c:bubble3D val="0"/>
            <c:spPr>
              <a:solidFill>
                <a:srgbClr val="AEABAB"/>
              </a:solidFill>
            </c:spPr>
            <c:extLst>
              <c:ext xmlns:c16="http://schemas.microsoft.com/office/drawing/2014/chart" uri="{C3380CC4-5D6E-409C-BE32-E72D297353CC}">
                <c16:uniqueId val="{0000062B-B1B9-4BDE-A581-DFBD1F6389AC}"/>
              </c:ext>
            </c:extLst>
          </c:dPt>
          <c:dPt>
            <c:idx val="789"/>
            <c:invertIfNegative val="1"/>
            <c:bubble3D val="0"/>
            <c:spPr>
              <a:solidFill>
                <a:srgbClr val="AEABAB"/>
              </a:solidFill>
            </c:spPr>
            <c:extLst>
              <c:ext xmlns:c16="http://schemas.microsoft.com/office/drawing/2014/chart" uri="{C3380CC4-5D6E-409C-BE32-E72D297353CC}">
                <c16:uniqueId val="{0000062D-B1B9-4BDE-A581-DFBD1F6389AC}"/>
              </c:ext>
            </c:extLst>
          </c:dPt>
          <c:dPt>
            <c:idx val="790"/>
            <c:invertIfNegative val="1"/>
            <c:bubble3D val="0"/>
            <c:spPr>
              <a:solidFill>
                <a:srgbClr val="AEABAB"/>
              </a:solidFill>
            </c:spPr>
            <c:extLst>
              <c:ext xmlns:c16="http://schemas.microsoft.com/office/drawing/2014/chart" uri="{C3380CC4-5D6E-409C-BE32-E72D297353CC}">
                <c16:uniqueId val="{0000062F-B1B9-4BDE-A581-DFBD1F6389AC}"/>
              </c:ext>
            </c:extLst>
          </c:dPt>
          <c:dPt>
            <c:idx val="791"/>
            <c:invertIfNegative val="1"/>
            <c:bubble3D val="0"/>
            <c:spPr>
              <a:solidFill>
                <a:srgbClr val="AEABAB"/>
              </a:solidFill>
            </c:spPr>
            <c:extLst>
              <c:ext xmlns:c16="http://schemas.microsoft.com/office/drawing/2014/chart" uri="{C3380CC4-5D6E-409C-BE32-E72D297353CC}">
                <c16:uniqueId val="{00000631-B1B9-4BDE-A581-DFBD1F6389AC}"/>
              </c:ext>
            </c:extLst>
          </c:dPt>
          <c:dPt>
            <c:idx val="792"/>
            <c:invertIfNegative val="1"/>
            <c:bubble3D val="0"/>
            <c:spPr>
              <a:solidFill>
                <a:srgbClr val="AEABAB"/>
              </a:solidFill>
            </c:spPr>
            <c:extLst>
              <c:ext xmlns:c16="http://schemas.microsoft.com/office/drawing/2014/chart" uri="{C3380CC4-5D6E-409C-BE32-E72D297353CC}">
                <c16:uniqueId val="{00000633-B1B9-4BDE-A581-DFBD1F6389AC}"/>
              </c:ext>
            </c:extLst>
          </c:dPt>
          <c:dPt>
            <c:idx val="793"/>
            <c:invertIfNegative val="1"/>
            <c:bubble3D val="0"/>
            <c:spPr>
              <a:solidFill>
                <a:srgbClr val="AEABAB"/>
              </a:solidFill>
            </c:spPr>
            <c:extLst>
              <c:ext xmlns:c16="http://schemas.microsoft.com/office/drawing/2014/chart" uri="{C3380CC4-5D6E-409C-BE32-E72D297353CC}">
                <c16:uniqueId val="{00000635-B1B9-4BDE-A581-DFBD1F6389AC}"/>
              </c:ext>
            </c:extLst>
          </c:dPt>
          <c:dPt>
            <c:idx val="794"/>
            <c:invertIfNegative val="1"/>
            <c:bubble3D val="0"/>
            <c:spPr>
              <a:solidFill>
                <a:srgbClr val="AEABAB"/>
              </a:solidFill>
            </c:spPr>
            <c:extLst>
              <c:ext xmlns:c16="http://schemas.microsoft.com/office/drawing/2014/chart" uri="{C3380CC4-5D6E-409C-BE32-E72D297353CC}">
                <c16:uniqueId val="{00000637-B1B9-4BDE-A581-DFBD1F6389AC}"/>
              </c:ext>
            </c:extLst>
          </c:dPt>
          <c:dPt>
            <c:idx val="795"/>
            <c:invertIfNegative val="1"/>
            <c:bubble3D val="0"/>
            <c:spPr>
              <a:solidFill>
                <a:srgbClr val="AEABAB"/>
              </a:solidFill>
            </c:spPr>
            <c:extLst>
              <c:ext xmlns:c16="http://schemas.microsoft.com/office/drawing/2014/chart" uri="{C3380CC4-5D6E-409C-BE32-E72D297353CC}">
                <c16:uniqueId val="{00000639-B1B9-4BDE-A581-DFBD1F6389AC}"/>
              </c:ext>
            </c:extLst>
          </c:dPt>
          <c:dPt>
            <c:idx val="796"/>
            <c:invertIfNegative val="1"/>
            <c:bubble3D val="0"/>
            <c:spPr>
              <a:solidFill>
                <a:srgbClr val="AEABAB"/>
              </a:solidFill>
            </c:spPr>
            <c:extLst>
              <c:ext xmlns:c16="http://schemas.microsoft.com/office/drawing/2014/chart" uri="{C3380CC4-5D6E-409C-BE32-E72D297353CC}">
                <c16:uniqueId val="{0000063B-B1B9-4BDE-A581-DFBD1F6389AC}"/>
              </c:ext>
            </c:extLst>
          </c:dPt>
          <c:dPt>
            <c:idx val="797"/>
            <c:invertIfNegative val="1"/>
            <c:bubble3D val="0"/>
            <c:spPr>
              <a:solidFill>
                <a:srgbClr val="AEABAB"/>
              </a:solidFill>
            </c:spPr>
            <c:extLst>
              <c:ext xmlns:c16="http://schemas.microsoft.com/office/drawing/2014/chart" uri="{C3380CC4-5D6E-409C-BE32-E72D297353CC}">
                <c16:uniqueId val="{0000063D-B1B9-4BDE-A581-DFBD1F6389AC}"/>
              </c:ext>
            </c:extLst>
          </c:dPt>
          <c:dPt>
            <c:idx val="798"/>
            <c:invertIfNegative val="1"/>
            <c:bubble3D val="0"/>
            <c:spPr>
              <a:solidFill>
                <a:srgbClr val="AEABAB"/>
              </a:solidFill>
            </c:spPr>
            <c:extLst>
              <c:ext xmlns:c16="http://schemas.microsoft.com/office/drawing/2014/chart" uri="{C3380CC4-5D6E-409C-BE32-E72D297353CC}">
                <c16:uniqueId val="{0000063F-B1B9-4BDE-A581-DFBD1F6389AC}"/>
              </c:ext>
            </c:extLst>
          </c:dPt>
          <c:dPt>
            <c:idx val="799"/>
            <c:invertIfNegative val="1"/>
            <c:bubble3D val="0"/>
            <c:spPr>
              <a:solidFill>
                <a:srgbClr val="AEABAB"/>
              </a:solidFill>
            </c:spPr>
            <c:extLst>
              <c:ext xmlns:c16="http://schemas.microsoft.com/office/drawing/2014/chart" uri="{C3380CC4-5D6E-409C-BE32-E72D297353CC}">
                <c16:uniqueId val="{00000641-B1B9-4BDE-A581-DFBD1F6389AC}"/>
              </c:ext>
            </c:extLst>
          </c:dPt>
          <c:dPt>
            <c:idx val="800"/>
            <c:invertIfNegative val="1"/>
            <c:bubble3D val="0"/>
            <c:spPr>
              <a:solidFill>
                <a:srgbClr val="AEABAB"/>
              </a:solidFill>
            </c:spPr>
            <c:extLst>
              <c:ext xmlns:c16="http://schemas.microsoft.com/office/drawing/2014/chart" uri="{C3380CC4-5D6E-409C-BE32-E72D297353CC}">
                <c16:uniqueId val="{00000643-B1B9-4BDE-A581-DFBD1F6389AC}"/>
              </c:ext>
            </c:extLst>
          </c:dPt>
          <c:dPt>
            <c:idx val="801"/>
            <c:invertIfNegative val="1"/>
            <c:bubble3D val="0"/>
            <c:spPr>
              <a:solidFill>
                <a:srgbClr val="AEABAB"/>
              </a:solidFill>
            </c:spPr>
            <c:extLst>
              <c:ext xmlns:c16="http://schemas.microsoft.com/office/drawing/2014/chart" uri="{C3380CC4-5D6E-409C-BE32-E72D297353CC}">
                <c16:uniqueId val="{00000645-B1B9-4BDE-A581-DFBD1F6389AC}"/>
              </c:ext>
            </c:extLst>
          </c:dPt>
          <c:dPt>
            <c:idx val="802"/>
            <c:invertIfNegative val="1"/>
            <c:bubble3D val="0"/>
            <c:spPr>
              <a:solidFill>
                <a:srgbClr val="AEABAB"/>
              </a:solidFill>
            </c:spPr>
            <c:extLst>
              <c:ext xmlns:c16="http://schemas.microsoft.com/office/drawing/2014/chart" uri="{C3380CC4-5D6E-409C-BE32-E72D297353CC}">
                <c16:uniqueId val="{00000647-B1B9-4BDE-A581-DFBD1F6389AC}"/>
              </c:ext>
            </c:extLst>
          </c:dPt>
          <c:dPt>
            <c:idx val="803"/>
            <c:invertIfNegative val="1"/>
            <c:bubble3D val="0"/>
            <c:spPr>
              <a:solidFill>
                <a:srgbClr val="AEABAB"/>
              </a:solidFill>
            </c:spPr>
            <c:extLst>
              <c:ext xmlns:c16="http://schemas.microsoft.com/office/drawing/2014/chart" uri="{C3380CC4-5D6E-409C-BE32-E72D297353CC}">
                <c16:uniqueId val="{00000649-B1B9-4BDE-A581-DFBD1F6389AC}"/>
              </c:ext>
            </c:extLst>
          </c:dPt>
          <c:dPt>
            <c:idx val="804"/>
            <c:invertIfNegative val="1"/>
            <c:bubble3D val="0"/>
            <c:spPr>
              <a:solidFill>
                <a:srgbClr val="AEABAB"/>
              </a:solidFill>
            </c:spPr>
            <c:extLst>
              <c:ext xmlns:c16="http://schemas.microsoft.com/office/drawing/2014/chart" uri="{C3380CC4-5D6E-409C-BE32-E72D297353CC}">
                <c16:uniqueId val="{0000064B-B1B9-4BDE-A581-DFBD1F6389AC}"/>
              </c:ext>
            </c:extLst>
          </c:dPt>
          <c:dPt>
            <c:idx val="805"/>
            <c:invertIfNegative val="1"/>
            <c:bubble3D val="0"/>
            <c:spPr>
              <a:solidFill>
                <a:srgbClr val="AEABAB"/>
              </a:solidFill>
            </c:spPr>
            <c:extLst>
              <c:ext xmlns:c16="http://schemas.microsoft.com/office/drawing/2014/chart" uri="{C3380CC4-5D6E-409C-BE32-E72D297353CC}">
                <c16:uniqueId val="{0000064D-B1B9-4BDE-A581-DFBD1F6389AC}"/>
              </c:ext>
            </c:extLst>
          </c:dPt>
          <c:dPt>
            <c:idx val="806"/>
            <c:invertIfNegative val="1"/>
            <c:bubble3D val="0"/>
            <c:spPr>
              <a:solidFill>
                <a:srgbClr val="AEABAB"/>
              </a:solidFill>
            </c:spPr>
            <c:extLst>
              <c:ext xmlns:c16="http://schemas.microsoft.com/office/drawing/2014/chart" uri="{C3380CC4-5D6E-409C-BE32-E72D297353CC}">
                <c16:uniqueId val="{0000064F-B1B9-4BDE-A581-DFBD1F6389AC}"/>
              </c:ext>
            </c:extLst>
          </c:dPt>
          <c:dPt>
            <c:idx val="807"/>
            <c:invertIfNegative val="1"/>
            <c:bubble3D val="0"/>
            <c:spPr>
              <a:solidFill>
                <a:srgbClr val="AEABAB"/>
              </a:solidFill>
            </c:spPr>
            <c:extLst>
              <c:ext xmlns:c16="http://schemas.microsoft.com/office/drawing/2014/chart" uri="{C3380CC4-5D6E-409C-BE32-E72D297353CC}">
                <c16:uniqueId val="{00000651-B1B9-4BDE-A581-DFBD1F6389AC}"/>
              </c:ext>
            </c:extLst>
          </c:dPt>
          <c:dPt>
            <c:idx val="808"/>
            <c:invertIfNegative val="1"/>
            <c:bubble3D val="0"/>
            <c:spPr>
              <a:solidFill>
                <a:srgbClr val="AEABAB"/>
              </a:solidFill>
            </c:spPr>
            <c:extLst>
              <c:ext xmlns:c16="http://schemas.microsoft.com/office/drawing/2014/chart" uri="{C3380CC4-5D6E-409C-BE32-E72D297353CC}">
                <c16:uniqueId val="{00000653-B1B9-4BDE-A581-DFBD1F6389AC}"/>
              </c:ext>
            </c:extLst>
          </c:dPt>
          <c:dPt>
            <c:idx val="809"/>
            <c:invertIfNegative val="1"/>
            <c:bubble3D val="0"/>
            <c:spPr>
              <a:solidFill>
                <a:srgbClr val="AEABAB"/>
              </a:solidFill>
            </c:spPr>
            <c:extLst>
              <c:ext xmlns:c16="http://schemas.microsoft.com/office/drawing/2014/chart" uri="{C3380CC4-5D6E-409C-BE32-E72D297353CC}">
                <c16:uniqueId val="{00000655-B1B9-4BDE-A581-DFBD1F6389AC}"/>
              </c:ext>
            </c:extLst>
          </c:dPt>
          <c:dPt>
            <c:idx val="810"/>
            <c:invertIfNegative val="1"/>
            <c:bubble3D val="0"/>
            <c:spPr>
              <a:solidFill>
                <a:srgbClr val="AEABAB"/>
              </a:solidFill>
            </c:spPr>
            <c:extLst>
              <c:ext xmlns:c16="http://schemas.microsoft.com/office/drawing/2014/chart" uri="{C3380CC4-5D6E-409C-BE32-E72D297353CC}">
                <c16:uniqueId val="{00000657-B1B9-4BDE-A581-DFBD1F6389AC}"/>
              </c:ext>
            </c:extLst>
          </c:dPt>
          <c:dPt>
            <c:idx val="811"/>
            <c:invertIfNegative val="1"/>
            <c:bubble3D val="0"/>
            <c:spPr>
              <a:solidFill>
                <a:srgbClr val="AEABAB"/>
              </a:solidFill>
            </c:spPr>
            <c:extLst>
              <c:ext xmlns:c16="http://schemas.microsoft.com/office/drawing/2014/chart" uri="{C3380CC4-5D6E-409C-BE32-E72D297353CC}">
                <c16:uniqueId val="{00000659-B1B9-4BDE-A581-DFBD1F6389AC}"/>
              </c:ext>
            </c:extLst>
          </c:dPt>
          <c:dPt>
            <c:idx val="812"/>
            <c:invertIfNegative val="1"/>
            <c:bubble3D val="0"/>
            <c:spPr>
              <a:solidFill>
                <a:srgbClr val="AEABAB"/>
              </a:solidFill>
            </c:spPr>
            <c:extLst>
              <c:ext xmlns:c16="http://schemas.microsoft.com/office/drawing/2014/chart" uri="{C3380CC4-5D6E-409C-BE32-E72D297353CC}">
                <c16:uniqueId val="{0000065B-B1B9-4BDE-A581-DFBD1F6389AC}"/>
              </c:ext>
            </c:extLst>
          </c:dPt>
          <c:dPt>
            <c:idx val="813"/>
            <c:invertIfNegative val="1"/>
            <c:bubble3D val="0"/>
            <c:spPr>
              <a:solidFill>
                <a:srgbClr val="AEABAB"/>
              </a:solidFill>
            </c:spPr>
            <c:extLst>
              <c:ext xmlns:c16="http://schemas.microsoft.com/office/drawing/2014/chart" uri="{C3380CC4-5D6E-409C-BE32-E72D297353CC}">
                <c16:uniqueId val="{0000065D-B1B9-4BDE-A581-DFBD1F6389AC}"/>
              </c:ext>
            </c:extLst>
          </c:dPt>
          <c:dPt>
            <c:idx val="814"/>
            <c:invertIfNegative val="1"/>
            <c:bubble3D val="0"/>
            <c:spPr>
              <a:solidFill>
                <a:srgbClr val="AEABAB"/>
              </a:solidFill>
            </c:spPr>
            <c:extLst>
              <c:ext xmlns:c16="http://schemas.microsoft.com/office/drawing/2014/chart" uri="{C3380CC4-5D6E-409C-BE32-E72D297353CC}">
                <c16:uniqueId val="{0000065F-B1B9-4BDE-A581-DFBD1F6389AC}"/>
              </c:ext>
            </c:extLst>
          </c:dPt>
          <c:dPt>
            <c:idx val="815"/>
            <c:invertIfNegative val="1"/>
            <c:bubble3D val="0"/>
            <c:spPr>
              <a:solidFill>
                <a:srgbClr val="AEABAB"/>
              </a:solidFill>
            </c:spPr>
            <c:extLst>
              <c:ext xmlns:c16="http://schemas.microsoft.com/office/drawing/2014/chart" uri="{C3380CC4-5D6E-409C-BE32-E72D297353CC}">
                <c16:uniqueId val="{00000661-B1B9-4BDE-A581-DFBD1F6389AC}"/>
              </c:ext>
            </c:extLst>
          </c:dPt>
          <c:dPt>
            <c:idx val="816"/>
            <c:invertIfNegative val="1"/>
            <c:bubble3D val="0"/>
            <c:spPr>
              <a:solidFill>
                <a:srgbClr val="AEABAB"/>
              </a:solidFill>
            </c:spPr>
            <c:extLst>
              <c:ext xmlns:c16="http://schemas.microsoft.com/office/drawing/2014/chart" uri="{C3380CC4-5D6E-409C-BE32-E72D297353CC}">
                <c16:uniqueId val="{00000663-B1B9-4BDE-A581-DFBD1F6389AC}"/>
              </c:ext>
            </c:extLst>
          </c:dPt>
          <c:dPt>
            <c:idx val="817"/>
            <c:invertIfNegative val="1"/>
            <c:bubble3D val="0"/>
            <c:spPr>
              <a:solidFill>
                <a:srgbClr val="AEABAB"/>
              </a:solidFill>
            </c:spPr>
            <c:extLst>
              <c:ext xmlns:c16="http://schemas.microsoft.com/office/drawing/2014/chart" uri="{C3380CC4-5D6E-409C-BE32-E72D297353CC}">
                <c16:uniqueId val="{00000665-B1B9-4BDE-A581-DFBD1F6389AC}"/>
              </c:ext>
            </c:extLst>
          </c:dPt>
          <c:dPt>
            <c:idx val="818"/>
            <c:invertIfNegative val="1"/>
            <c:bubble3D val="0"/>
            <c:spPr>
              <a:solidFill>
                <a:srgbClr val="AEABAB"/>
              </a:solidFill>
            </c:spPr>
            <c:extLst>
              <c:ext xmlns:c16="http://schemas.microsoft.com/office/drawing/2014/chart" uri="{C3380CC4-5D6E-409C-BE32-E72D297353CC}">
                <c16:uniqueId val="{00000667-B1B9-4BDE-A581-DFBD1F6389AC}"/>
              </c:ext>
            </c:extLst>
          </c:dPt>
          <c:dPt>
            <c:idx val="819"/>
            <c:invertIfNegative val="1"/>
            <c:bubble3D val="0"/>
            <c:spPr>
              <a:solidFill>
                <a:srgbClr val="AEABAB"/>
              </a:solidFill>
            </c:spPr>
            <c:extLst>
              <c:ext xmlns:c16="http://schemas.microsoft.com/office/drawing/2014/chart" uri="{C3380CC4-5D6E-409C-BE32-E72D297353CC}">
                <c16:uniqueId val="{00000669-B1B9-4BDE-A581-DFBD1F6389AC}"/>
              </c:ext>
            </c:extLst>
          </c:dPt>
          <c:dPt>
            <c:idx val="820"/>
            <c:invertIfNegative val="1"/>
            <c:bubble3D val="0"/>
            <c:spPr>
              <a:solidFill>
                <a:srgbClr val="AEABAB"/>
              </a:solidFill>
            </c:spPr>
            <c:extLst>
              <c:ext xmlns:c16="http://schemas.microsoft.com/office/drawing/2014/chart" uri="{C3380CC4-5D6E-409C-BE32-E72D297353CC}">
                <c16:uniqueId val="{0000066B-B1B9-4BDE-A581-DFBD1F6389AC}"/>
              </c:ext>
            </c:extLst>
          </c:dPt>
          <c:dPt>
            <c:idx val="821"/>
            <c:invertIfNegative val="1"/>
            <c:bubble3D val="0"/>
            <c:spPr>
              <a:solidFill>
                <a:srgbClr val="AEABAB"/>
              </a:solidFill>
            </c:spPr>
            <c:extLst>
              <c:ext xmlns:c16="http://schemas.microsoft.com/office/drawing/2014/chart" uri="{C3380CC4-5D6E-409C-BE32-E72D297353CC}">
                <c16:uniqueId val="{0000066D-B1B9-4BDE-A581-DFBD1F6389AC}"/>
              </c:ext>
            </c:extLst>
          </c:dPt>
          <c:dPt>
            <c:idx val="822"/>
            <c:invertIfNegative val="1"/>
            <c:bubble3D val="0"/>
            <c:spPr>
              <a:solidFill>
                <a:srgbClr val="AEABAB"/>
              </a:solidFill>
            </c:spPr>
            <c:extLst>
              <c:ext xmlns:c16="http://schemas.microsoft.com/office/drawing/2014/chart" uri="{C3380CC4-5D6E-409C-BE32-E72D297353CC}">
                <c16:uniqueId val="{0000066F-B1B9-4BDE-A581-DFBD1F6389AC}"/>
              </c:ext>
            </c:extLst>
          </c:dPt>
          <c:dPt>
            <c:idx val="823"/>
            <c:invertIfNegative val="1"/>
            <c:bubble3D val="0"/>
            <c:spPr>
              <a:solidFill>
                <a:srgbClr val="AEABAB"/>
              </a:solidFill>
            </c:spPr>
            <c:extLst>
              <c:ext xmlns:c16="http://schemas.microsoft.com/office/drawing/2014/chart" uri="{C3380CC4-5D6E-409C-BE32-E72D297353CC}">
                <c16:uniqueId val="{00000671-B1B9-4BDE-A581-DFBD1F6389AC}"/>
              </c:ext>
            </c:extLst>
          </c:dPt>
          <c:dPt>
            <c:idx val="824"/>
            <c:invertIfNegative val="1"/>
            <c:bubble3D val="0"/>
            <c:spPr>
              <a:solidFill>
                <a:srgbClr val="AEABAB"/>
              </a:solidFill>
            </c:spPr>
            <c:extLst>
              <c:ext xmlns:c16="http://schemas.microsoft.com/office/drawing/2014/chart" uri="{C3380CC4-5D6E-409C-BE32-E72D297353CC}">
                <c16:uniqueId val="{00000673-B1B9-4BDE-A581-DFBD1F6389AC}"/>
              </c:ext>
            </c:extLst>
          </c:dPt>
          <c:dPt>
            <c:idx val="825"/>
            <c:invertIfNegative val="1"/>
            <c:bubble3D val="0"/>
            <c:spPr>
              <a:solidFill>
                <a:srgbClr val="AEABAB"/>
              </a:solidFill>
            </c:spPr>
            <c:extLst>
              <c:ext xmlns:c16="http://schemas.microsoft.com/office/drawing/2014/chart" uri="{C3380CC4-5D6E-409C-BE32-E72D297353CC}">
                <c16:uniqueId val="{00000675-B1B9-4BDE-A581-DFBD1F6389AC}"/>
              </c:ext>
            </c:extLst>
          </c:dPt>
          <c:dPt>
            <c:idx val="826"/>
            <c:invertIfNegative val="1"/>
            <c:bubble3D val="0"/>
            <c:spPr>
              <a:solidFill>
                <a:srgbClr val="AEABAB"/>
              </a:solidFill>
            </c:spPr>
            <c:extLst>
              <c:ext xmlns:c16="http://schemas.microsoft.com/office/drawing/2014/chart" uri="{C3380CC4-5D6E-409C-BE32-E72D297353CC}">
                <c16:uniqueId val="{00000677-B1B9-4BDE-A581-DFBD1F6389AC}"/>
              </c:ext>
            </c:extLst>
          </c:dPt>
          <c:dPt>
            <c:idx val="827"/>
            <c:invertIfNegative val="1"/>
            <c:bubble3D val="0"/>
            <c:spPr>
              <a:solidFill>
                <a:srgbClr val="AEABAB"/>
              </a:solidFill>
            </c:spPr>
            <c:extLst>
              <c:ext xmlns:c16="http://schemas.microsoft.com/office/drawing/2014/chart" uri="{C3380CC4-5D6E-409C-BE32-E72D297353CC}">
                <c16:uniqueId val="{00000679-B1B9-4BDE-A581-DFBD1F6389AC}"/>
              </c:ext>
            </c:extLst>
          </c:dPt>
          <c:dPt>
            <c:idx val="828"/>
            <c:invertIfNegative val="1"/>
            <c:bubble3D val="0"/>
            <c:spPr>
              <a:solidFill>
                <a:srgbClr val="AEABAB"/>
              </a:solidFill>
            </c:spPr>
            <c:extLst>
              <c:ext xmlns:c16="http://schemas.microsoft.com/office/drawing/2014/chart" uri="{C3380CC4-5D6E-409C-BE32-E72D297353CC}">
                <c16:uniqueId val="{0000067B-B1B9-4BDE-A581-DFBD1F6389AC}"/>
              </c:ext>
            </c:extLst>
          </c:dPt>
          <c:dPt>
            <c:idx val="829"/>
            <c:invertIfNegative val="1"/>
            <c:bubble3D val="0"/>
            <c:spPr>
              <a:solidFill>
                <a:srgbClr val="AEABAB"/>
              </a:solidFill>
            </c:spPr>
            <c:extLst>
              <c:ext xmlns:c16="http://schemas.microsoft.com/office/drawing/2014/chart" uri="{C3380CC4-5D6E-409C-BE32-E72D297353CC}">
                <c16:uniqueId val="{0000067D-B1B9-4BDE-A581-DFBD1F6389AC}"/>
              </c:ext>
            </c:extLst>
          </c:dPt>
          <c:dPt>
            <c:idx val="830"/>
            <c:invertIfNegative val="1"/>
            <c:bubble3D val="0"/>
            <c:spPr>
              <a:solidFill>
                <a:srgbClr val="AEABAB"/>
              </a:solidFill>
            </c:spPr>
            <c:extLst>
              <c:ext xmlns:c16="http://schemas.microsoft.com/office/drawing/2014/chart" uri="{C3380CC4-5D6E-409C-BE32-E72D297353CC}">
                <c16:uniqueId val="{0000067F-B1B9-4BDE-A581-DFBD1F6389AC}"/>
              </c:ext>
            </c:extLst>
          </c:dPt>
          <c:dPt>
            <c:idx val="831"/>
            <c:invertIfNegative val="1"/>
            <c:bubble3D val="0"/>
            <c:spPr>
              <a:solidFill>
                <a:srgbClr val="AEABAB"/>
              </a:solidFill>
            </c:spPr>
            <c:extLst>
              <c:ext xmlns:c16="http://schemas.microsoft.com/office/drawing/2014/chart" uri="{C3380CC4-5D6E-409C-BE32-E72D297353CC}">
                <c16:uniqueId val="{00000681-B1B9-4BDE-A581-DFBD1F6389AC}"/>
              </c:ext>
            </c:extLst>
          </c:dPt>
          <c:dPt>
            <c:idx val="832"/>
            <c:invertIfNegative val="1"/>
            <c:bubble3D val="0"/>
            <c:spPr>
              <a:solidFill>
                <a:srgbClr val="AEABAB"/>
              </a:solidFill>
            </c:spPr>
            <c:extLst>
              <c:ext xmlns:c16="http://schemas.microsoft.com/office/drawing/2014/chart" uri="{C3380CC4-5D6E-409C-BE32-E72D297353CC}">
                <c16:uniqueId val="{00000683-B1B9-4BDE-A581-DFBD1F6389AC}"/>
              </c:ext>
            </c:extLst>
          </c:dPt>
          <c:dPt>
            <c:idx val="833"/>
            <c:invertIfNegative val="1"/>
            <c:bubble3D val="0"/>
            <c:spPr>
              <a:solidFill>
                <a:srgbClr val="AEABAB"/>
              </a:solidFill>
            </c:spPr>
            <c:extLst>
              <c:ext xmlns:c16="http://schemas.microsoft.com/office/drawing/2014/chart" uri="{C3380CC4-5D6E-409C-BE32-E72D297353CC}">
                <c16:uniqueId val="{00000685-B1B9-4BDE-A581-DFBD1F6389AC}"/>
              </c:ext>
            </c:extLst>
          </c:dPt>
          <c:dPt>
            <c:idx val="834"/>
            <c:invertIfNegative val="1"/>
            <c:bubble3D val="0"/>
            <c:spPr>
              <a:solidFill>
                <a:srgbClr val="AEABAB"/>
              </a:solidFill>
            </c:spPr>
            <c:extLst>
              <c:ext xmlns:c16="http://schemas.microsoft.com/office/drawing/2014/chart" uri="{C3380CC4-5D6E-409C-BE32-E72D297353CC}">
                <c16:uniqueId val="{00000687-B1B9-4BDE-A581-DFBD1F6389AC}"/>
              </c:ext>
            </c:extLst>
          </c:dPt>
          <c:dPt>
            <c:idx val="835"/>
            <c:invertIfNegative val="1"/>
            <c:bubble3D val="0"/>
            <c:spPr>
              <a:solidFill>
                <a:srgbClr val="AEABAB"/>
              </a:solidFill>
            </c:spPr>
            <c:extLst>
              <c:ext xmlns:c16="http://schemas.microsoft.com/office/drawing/2014/chart" uri="{C3380CC4-5D6E-409C-BE32-E72D297353CC}">
                <c16:uniqueId val="{00000689-B1B9-4BDE-A581-DFBD1F6389AC}"/>
              </c:ext>
            </c:extLst>
          </c:dPt>
          <c:dPt>
            <c:idx val="836"/>
            <c:invertIfNegative val="1"/>
            <c:bubble3D val="0"/>
            <c:spPr>
              <a:solidFill>
                <a:srgbClr val="AEABAB"/>
              </a:solidFill>
            </c:spPr>
            <c:extLst>
              <c:ext xmlns:c16="http://schemas.microsoft.com/office/drawing/2014/chart" uri="{C3380CC4-5D6E-409C-BE32-E72D297353CC}">
                <c16:uniqueId val="{0000068B-B1B9-4BDE-A581-DFBD1F6389AC}"/>
              </c:ext>
            </c:extLst>
          </c:dPt>
          <c:dPt>
            <c:idx val="837"/>
            <c:invertIfNegative val="1"/>
            <c:bubble3D val="0"/>
            <c:spPr>
              <a:solidFill>
                <a:srgbClr val="AEABAB"/>
              </a:solidFill>
            </c:spPr>
            <c:extLst>
              <c:ext xmlns:c16="http://schemas.microsoft.com/office/drawing/2014/chart" uri="{C3380CC4-5D6E-409C-BE32-E72D297353CC}">
                <c16:uniqueId val="{0000068D-B1B9-4BDE-A581-DFBD1F6389AC}"/>
              </c:ext>
            </c:extLst>
          </c:dPt>
          <c:dPt>
            <c:idx val="838"/>
            <c:invertIfNegative val="1"/>
            <c:bubble3D val="0"/>
            <c:spPr>
              <a:solidFill>
                <a:srgbClr val="AEABAB"/>
              </a:solidFill>
            </c:spPr>
            <c:extLst>
              <c:ext xmlns:c16="http://schemas.microsoft.com/office/drawing/2014/chart" uri="{C3380CC4-5D6E-409C-BE32-E72D297353CC}">
                <c16:uniqueId val="{0000068F-B1B9-4BDE-A581-DFBD1F6389AC}"/>
              </c:ext>
            </c:extLst>
          </c:dPt>
          <c:dPt>
            <c:idx val="839"/>
            <c:invertIfNegative val="1"/>
            <c:bubble3D val="0"/>
            <c:spPr>
              <a:solidFill>
                <a:srgbClr val="AEABAB"/>
              </a:solidFill>
            </c:spPr>
            <c:extLst>
              <c:ext xmlns:c16="http://schemas.microsoft.com/office/drawing/2014/chart" uri="{C3380CC4-5D6E-409C-BE32-E72D297353CC}">
                <c16:uniqueId val="{00000691-B1B9-4BDE-A581-DFBD1F6389AC}"/>
              </c:ext>
            </c:extLst>
          </c:dPt>
          <c:dPt>
            <c:idx val="840"/>
            <c:invertIfNegative val="1"/>
            <c:bubble3D val="0"/>
            <c:spPr>
              <a:solidFill>
                <a:srgbClr val="AEABAB"/>
              </a:solidFill>
            </c:spPr>
            <c:extLst>
              <c:ext xmlns:c16="http://schemas.microsoft.com/office/drawing/2014/chart" uri="{C3380CC4-5D6E-409C-BE32-E72D297353CC}">
                <c16:uniqueId val="{00000693-B1B9-4BDE-A581-DFBD1F6389AC}"/>
              </c:ext>
            </c:extLst>
          </c:dPt>
          <c:dPt>
            <c:idx val="841"/>
            <c:invertIfNegative val="1"/>
            <c:bubble3D val="0"/>
            <c:spPr>
              <a:solidFill>
                <a:srgbClr val="AEABAB"/>
              </a:solidFill>
            </c:spPr>
            <c:extLst>
              <c:ext xmlns:c16="http://schemas.microsoft.com/office/drawing/2014/chart" uri="{C3380CC4-5D6E-409C-BE32-E72D297353CC}">
                <c16:uniqueId val="{00000695-B1B9-4BDE-A581-DFBD1F6389AC}"/>
              </c:ext>
            </c:extLst>
          </c:dPt>
          <c:dPt>
            <c:idx val="842"/>
            <c:invertIfNegative val="1"/>
            <c:bubble3D val="0"/>
            <c:spPr>
              <a:solidFill>
                <a:srgbClr val="AEABAB"/>
              </a:solidFill>
            </c:spPr>
            <c:extLst>
              <c:ext xmlns:c16="http://schemas.microsoft.com/office/drawing/2014/chart" uri="{C3380CC4-5D6E-409C-BE32-E72D297353CC}">
                <c16:uniqueId val="{00000697-B1B9-4BDE-A581-DFBD1F6389AC}"/>
              </c:ext>
            </c:extLst>
          </c:dPt>
          <c:dPt>
            <c:idx val="843"/>
            <c:invertIfNegative val="1"/>
            <c:bubble3D val="0"/>
            <c:spPr>
              <a:solidFill>
                <a:srgbClr val="AEABAB"/>
              </a:solidFill>
            </c:spPr>
            <c:extLst>
              <c:ext xmlns:c16="http://schemas.microsoft.com/office/drawing/2014/chart" uri="{C3380CC4-5D6E-409C-BE32-E72D297353CC}">
                <c16:uniqueId val="{00000699-B1B9-4BDE-A581-DFBD1F6389AC}"/>
              </c:ext>
            </c:extLst>
          </c:dPt>
          <c:dPt>
            <c:idx val="844"/>
            <c:invertIfNegative val="1"/>
            <c:bubble3D val="0"/>
            <c:spPr>
              <a:solidFill>
                <a:srgbClr val="AEABAB"/>
              </a:solidFill>
            </c:spPr>
            <c:extLst>
              <c:ext xmlns:c16="http://schemas.microsoft.com/office/drawing/2014/chart" uri="{C3380CC4-5D6E-409C-BE32-E72D297353CC}">
                <c16:uniqueId val="{0000069B-B1B9-4BDE-A581-DFBD1F6389AC}"/>
              </c:ext>
            </c:extLst>
          </c:dPt>
          <c:dPt>
            <c:idx val="845"/>
            <c:invertIfNegative val="1"/>
            <c:bubble3D val="0"/>
            <c:spPr>
              <a:solidFill>
                <a:srgbClr val="AEABAB"/>
              </a:solidFill>
            </c:spPr>
            <c:extLst>
              <c:ext xmlns:c16="http://schemas.microsoft.com/office/drawing/2014/chart" uri="{C3380CC4-5D6E-409C-BE32-E72D297353CC}">
                <c16:uniqueId val="{0000069D-B1B9-4BDE-A581-DFBD1F6389AC}"/>
              </c:ext>
            </c:extLst>
          </c:dPt>
          <c:dPt>
            <c:idx val="846"/>
            <c:invertIfNegative val="1"/>
            <c:bubble3D val="0"/>
            <c:spPr>
              <a:solidFill>
                <a:srgbClr val="AEABAB"/>
              </a:solidFill>
            </c:spPr>
            <c:extLst>
              <c:ext xmlns:c16="http://schemas.microsoft.com/office/drawing/2014/chart" uri="{C3380CC4-5D6E-409C-BE32-E72D297353CC}">
                <c16:uniqueId val="{0000069F-B1B9-4BDE-A581-DFBD1F6389AC}"/>
              </c:ext>
            </c:extLst>
          </c:dPt>
          <c:dPt>
            <c:idx val="847"/>
            <c:invertIfNegative val="1"/>
            <c:bubble3D val="0"/>
            <c:spPr>
              <a:solidFill>
                <a:srgbClr val="AEABAB"/>
              </a:solidFill>
            </c:spPr>
            <c:extLst>
              <c:ext xmlns:c16="http://schemas.microsoft.com/office/drawing/2014/chart" uri="{C3380CC4-5D6E-409C-BE32-E72D297353CC}">
                <c16:uniqueId val="{000006A1-B1B9-4BDE-A581-DFBD1F6389AC}"/>
              </c:ext>
            </c:extLst>
          </c:dPt>
          <c:dPt>
            <c:idx val="848"/>
            <c:invertIfNegative val="1"/>
            <c:bubble3D val="0"/>
            <c:spPr>
              <a:solidFill>
                <a:srgbClr val="AEABAB"/>
              </a:solidFill>
            </c:spPr>
            <c:extLst>
              <c:ext xmlns:c16="http://schemas.microsoft.com/office/drawing/2014/chart" uri="{C3380CC4-5D6E-409C-BE32-E72D297353CC}">
                <c16:uniqueId val="{000006A3-B1B9-4BDE-A581-DFBD1F6389AC}"/>
              </c:ext>
            </c:extLst>
          </c:dPt>
          <c:dPt>
            <c:idx val="849"/>
            <c:invertIfNegative val="1"/>
            <c:bubble3D val="0"/>
            <c:spPr>
              <a:solidFill>
                <a:srgbClr val="AEABAB"/>
              </a:solidFill>
            </c:spPr>
            <c:extLst>
              <c:ext xmlns:c16="http://schemas.microsoft.com/office/drawing/2014/chart" uri="{C3380CC4-5D6E-409C-BE32-E72D297353CC}">
                <c16:uniqueId val="{000006A5-B1B9-4BDE-A581-DFBD1F6389AC}"/>
              </c:ext>
            </c:extLst>
          </c:dPt>
          <c:dPt>
            <c:idx val="850"/>
            <c:invertIfNegative val="1"/>
            <c:bubble3D val="0"/>
            <c:spPr>
              <a:solidFill>
                <a:srgbClr val="AEABAB"/>
              </a:solidFill>
            </c:spPr>
            <c:extLst>
              <c:ext xmlns:c16="http://schemas.microsoft.com/office/drawing/2014/chart" uri="{C3380CC4-5D6E-409C-BE32-E72D297353CC}">
                <c16:uniqueId val="{000006A7-B1B9-4BDE-A581-DFBD1F6389AC}"/>
              </c:ext>
            </c:extLst>
          </c:dPt>
          <c:dPt>
            <c:idx val="851"/>
            <c:invertIfNegative val="1"/>
            <c:bubble3D val="0"/>
            <c:spPr>
              <a:solidFill>
                <a:srgbClr val="AEABAB"/>
              </a:solidFill>
            </c:spPr>
            <c:extLst>
              <c:ext xmlns:c16="http://schemas.microsoft.com/office/drawing/2014/chart" uri="{C3380CC4-5D6E-409C-BE32-E72D297353CC}">
                <c16:uniqueId val="{000006A9-B1B9-4BDE-A581-DFBD1F6389AC}"/>
              </c:ext>
            </c:extLst>
          </c:dPt>
          <c:dPt>
            <c:idx val="852"/>
            <c:invertIfNegative val="1"/>
            <c:bubble3D val="0"/>
            <c:spPr>
              <a:solidFill>
                <a:srgbClr val="AEABAB"/>
              </a:solidFill>
            </c:spPr>
            <c:extLst>
              <c:ext xmlns:c16="http://schemas.microsoft.com/office/drawing/2014/chart" uri="{C3380CC4-5D6E-409C-BE32-E72D297353CC}">
                <c16:uniqueId val="{000006AB-B1B9-4BDE-A581-DFBD1F6389AC}"/>
              </c:ext>
            </c:extLst>
          </c:dPt>
          <c:dPt>
            <c:idx val="853"/>
            <c:invertIfNegative val="1"/>
            <c:bubble3D val="0"/>
            <c:spPr>
              <a:solidFill>
                <a:srgbClr val="AEABAB"/>
              </a:solidFill>
            </c:spPr>
            <c:extLst>
              <c:ext xmlns:c16="http://schemas.microsoft.com/office/drawing/2014/chart" uri="{C3380CC4-5D6E-409C-BE32-E72D297353CC}">
                <c16:uniqueId val="{000006AD-B1B9-4BDE-A581-DFBD1F6389AC}"/>
              </c:ext>
            </c:extLst>
          </c:dPt>
          <c:dPt>
            <c:idx val="854"/>
            <c:invertIfNegative val="1"/>
            <c:bubble3D val="0"/>
            <c:spPr>
              <a:solidFill>
                <a:srgbClr val="AEABAB"/>
              </a:solidFill>
            </c:spPr>
            <c:extLst>
              <c:ext xmlns:c16="http://schemas.microsoft.com/office/drawing/2014/chart" uri="{C3380CC4-5D6E-409C-BE32-E72D297353CC}">
                <c16:uniqueId val="{000006AF-B1B9-4BDE-A581-DFBD1F6389AC}"/>
              </c:ext>
            </c:extLst>
          </c:dPt>
          <c:dPt>
            <c:idx val="855"/>
            <c:invertIfNegative val="1"/>
            <c:bubble3D val="0"/>
            <c:spPr>
              <a:solidFill>
                <a:srgbClr val="AEABAB"/>
              </a:solidFill>
            </c:spPr>
            <c:extLst>
              <c:ext xmlns:c16="http://schemas.microsoft.com/office/drawing/2014/chart" uri="{C3380CC4-5D6E-409C-BE32-E72D297353CC}">
                <c16:uniqueId val="{000006B1-B1B9-4BDE-A581-DFBD1F6389AC}"/>
              </c:ext>
            </c:extLst>
          </c:dPt>
          <c:dPt>
            <c:idx val="856"/>
            <c:invertIfNegative val="1"/>
            <c:bubble3D val="0"/>
            <c:spPr>
              <a:solidFill>
                <a:srgbClr val="AEABAB"/>
              </a:solidFill>
            </c:spPr>
            <c:extLst>
              <c:ext xmlns:c16="http://schemas.microsoft.com/office/drawing/2014/chart" uri="{C3380CC4-5D6E-409C-BE32-E72D297353CC}">
                <c16:uniqueId val="{000006B3-B1B9-4BDE-A581-DFBD1F6389AC}"/>
              </c:ext>
            </c:extLst>
          </c:dPt>
          <c:dPt>
            <c:idx val="857"/>
            <c:invertIfNegative val="1"/>
            <c:bubble3D val="0"/>
            <c:spPr>
              <a:solidFill>
                <a:srgbClr val="AEABAB"/>
              </a:solidFill>
            </c:spPr>
            <c:extLst>
              <c:ext xmlns:c16="http://schemas.microsoft.com/office/drawing/2014/chart" uri="{C3380CC4-5D6E-409C-BE32-E72D297353CC}">
                <c16:uniqueId val="{000006B5-B1B9-4BDE-A581-DFBD1F6389AC}"/>
              </c:ext>
            </c:extLst>
          </c:dPt>
          <c:dPt>
            <c:idx val="858"/>
            <c:invertIfNegative val="1"/>
            <c:bubble3D val="0"/>
            <c:spPr>
              <a:solidFill>
                <a:srgbClr val="AEABAB"/>
              </a:solidFill>
            </c:spPr>
            <c:extLst>
              <c:ext xmlns:c16="http://schemas.microsoft.com/office/drawing/2014/chart" uri="{C3380CC4-5D6E-409C-BE32-E72D297353CC}">
                <c16:uniqueId val="{000006B7-B1B9-4BDE-A581-DFBD1F6389AC}"/>
              </c:ext>
            </c:extLst>
          </c:dPt>
          <c:dPt>
            <c:idx val="859"/>
            <c:invertIfNegative val="1"/>
            <c:bubble3D val="0"/>
            <c:spPr>
              <a:solidFill>
                <a:srgbClr val="AEABAB"/>
              </a:solidFill>
            </c:spPr>
            <c:extLst>
              <c:ext xmlns:c16="http://schemas.microsoft.com/office/drawing/2014/chart" uri="{C3380CC4-5D6E-409C-BE32-E72D297353CC}">
                <c16:uniqueId val="{000006B9-B1B9-4BDE-A581-DFBD1F6389AC}"/>
              </c:ext>
            </c:extLst>
          </c:dPt>
          <c:dPt>
            <c:idx val="860"/>
            <c:invertIfNegative val="1"/>
            <c:bubble3D val="0"/>
            <c:spPr>
              <a:solidFill>
                <a:srgbClr val="AEABAB"/>
              </a:solidFill>
            </c:spPr>
            <c:extLst>
              <c:ext xmlns:c16="http://schemas.microsoft.com/office/drawing/2014/chart" uri="{C3380CC4-5D6E-409C-BE32-E72D297353CC}">
                <c16:uniqueId val="{000006BB-B1B9-4BDE-A581-DFBD1F6389AC}"/>
              </c:ext>
            </c:extLst>
          </c:dPt>
          <c:dPt>
            <c:idx val="861"/>
            <c:invertIfNegative val="1"/>
            <c:bubble3D val="0"/>
            <c:spPr>
              <a:solidFill>
                <a:srgbClr val="AEABAB"/>
              </a:solidFill>
            </c:spPr>
            <c:extLst>
              <c:ext xmlns:c16="http://schemas.microsoft.com/office/drawing/2014/chart" uri="{C3380CC4-5D6E-409C-BE32-E72D297353CC}">
                <c16:uniqueId val="{000006BD-B1B9-4BDE-A581-DFBD1F6389AC}"/>
              </c:ext>
            </c:extLst>
          </c:dPt>
          <c:dPt>
            <c:idx val="862"/>
            <c:invertIfNegative val="1"/>
            <c:bubble3D val="0"/>
            <c:spPr>
              <a:solidFill>
                <a:srgbClr val="AEABAB"/>
              </a:solidFill>
            </c:spPr>
            <c:extLst>
              <c:ext xmlns:c16="http://schemas.microsoft.com/office/drawing/2014/chart" uri="{C3380CC4-5D6E-409C-BE32-E72D297353CC}">
                <c16:uniqueId val="{000006BF-B1B9-4BDE-A581-DFBD1F6389AC}"/>
              </c:ext>
            </c:extLst>
          </c:dPt>
          <c:dPt>
            <c:idx val="863"/>
            <c:invertIfNegative val="1"/>
            <c:bubble3D val="0"/>
            <c:spPr>
              <a:solidFill>
                <a:srgbClr val="AEABAB"/>
              </a:solidFill>
            </c:spPr>
            <c:extLst>
              <c:ext xmlns:c16="http://schemas.microsoft.com/office/drawing/2014/chart" uri="{C3380CC4-5D6E-409C-BE32-E72D297353CC}">
                <c16:uniqueId val="{000006C1-B1B9-4BDE-A581-DFBD1F6389AC}"/>
              </c:ext>
            </c:extLst>
          </c:dPt>
          <c:dPt>
            <c:idx val="864"/>
            <c:invertIfNegative val="1"/>
            <c:bubble3D val="0"/>
            <c:spPr>
              <a:solidFill>
                <a:srgbClr val="AEABAB"/>
              </a:solidFill>
            </c:spPr>
            <c:extLst>
              <c:ext xmlns:c16="http://schemas.microsoft.com/office/drawing/2014/chart" uri="{C3380CC4-5D6E-409C-BE32-E72D297353CC}">
                <c16:uniqueId val="{000006C3-B1B9-4BDE-A581-DFBD1F6389AC}"/>
              </c:ext>
            </c:extLst>
          </c:dPt>
          <c:dPt>
            <c:idx val="865"/>
            <c:invertIfNegative val="1"/>
            <c:bubble3D val="0"/>
            <c:spPr>
              <a:solidFill>
                <a:srgbClr val="AEABAB"/>
              </a:solidFill>
            </c:spPr>
            <c:extLst>
              <c:ext xmlns:c16="http://schemas.microsoft.com/office/drawing/2014/chart" uri="{C3380CC4-5D6E-409C-BE32-E72D297353CC}">
                <c16:uniqueId val="{000006C5-B1B9-4BDE-A581-DFBD1F6389AC}"/>
              </c:ext>
            </c:extLst>
          </c:dPt>
          <c:dPt>
            <c:idx val="866"/>
            <c:invertIfNegative val="1"/>
            <c:bubble3D val="0"/>
            <c:spPr>
              <a:solidFill>
                <a:srgbClr val="AEABAB"/>
              </a:solidFill>
            </c:spPr>
            <c:extLst>
              <c:ext xmlns:c16="http://schemas.microsoft.com/office/drawing/2014/chart" uri="{C3380CC4-5D6E-409C-BE32-E72D297353CC}">
                <c16:uniqueId val="{000006C7-B1B9-4BDE-A581-DFBD1F6389AC}"/>
              </c:ext>
            </c:extLst>
          </c:dPt>
          <c:dPt>
            <c:idx val="867"/>
            <c:invertIfNegative val="1"/>
            <c:bubble3D val="0"/>
            <c:spPr>
              <a:solidFill>
                <a:srgbClr val="AEABAB"/>
              </a:solidFill>
            </c:spPr>
            <c:extLst>
              <c:ext xmlns:c16="http://schemas.microsoft.com/office/drawing/2014/chart" uri="{C3380CC4-5D6E-409C-BE32-E72D297353CC}">
                <c16:uniqueId val="{000006C9-B1B9-4BDE-A581-DFBD1F6389AC}"/>
              </c:ext>
            </c:extLst>
          </c:dPt>
          <c:dPt>
            <c:idx val="868"/>
            <c:invertIfNegative val="1"/>
            <c:bubble3D val="0"/>
            <c:spPr>
              <a:solidFill>
                <a:srgbClr val="AEABAB"/>
              </a:solidFill>
            </c:spPr>
            <c:extLst>
              <c:ext xmlns:c16="http://schemas.microsoft.com/office/drawing/2014/chart" uri="{C3380CC4-5D6E-409C-BE32-E72D297353CC}">
                <c16:uniqueId val="{000006CB-B1B9-4BDE-A581-DFBD1F6389AC}"/>
              </c:ext>
            </c:extLst>
          </c:dPt>
          <c:dPt>
            <c:idx val="869"/>
            <c:invertIfNegative val="1"/>
            <c:bubble3D val="0"/>
            <c:spPr>
              <a:solidFill>
                <a:srgbClr val="AEABAB"/>
              </a:solidFill>
            </c:spPr>
            <c:extLst>
              <c:ext xmlns:c16="http://schemas.microsoft.com/office/drawing/2014/chart" uri="{C3380CC4-5D6E-409C-BE32-E72D297353CC}">
                <c16:uniqueId val="{000006CD-B1B9-4BDE-A581-DFBD1F6389AC}"/>
              </c:ext>
            </c:extLst>
          </c:dPt>
          <c:dPt>
            <c:idx val="870"/>
            <c:invertIfNegative val="1"/>
            <c:bubble3D val="0"/>
            <c:spPr>
              <a:solidFill>
                <a:srgbClr val="AEABAB"/>
              </a:solidFill>
            </c:spPr>
            <c:extLst>
              <c:ext xmlns:c16="http://schemas.microsoft.com/office/drawing/2014/chart" uri="{C3380CC4-5D6E-409C-BE32-E72D297353CC}">
                <c16:uniqueId val="{000006CF-B1B9-4BDE-A581-DFBD1F6389AC}"/>
              </c:ext>
            </c:extLst>
          </c:dPt>
          <c:dPt>
            <c:idx val="871"/>
            <c:invertIfNegative val="1"/>
            <c:bubble3D val="0"/>
            <c:spPr>
              <a:solidFill>
                <a:srgbClr val="AEABAB"/>
              </a:solidFill>
            </c:spPr>
            <c:extLst>
              <c:ext xmlns:c16="http://schemas.microsoft.com/office/drawing/2014/chart" uri="{C3380CC4-5D6E-409C-BE32-E72D297353CC}">
                <c16:uniqueId val="{000006D1-B1B9-4BDE-A581-DFBD1F6389AC}"/>
              </c:ext>
            </c:extLst>
          </c:dPt>
          <c:dPt>
            <c:idx val="872"/>
            <c:invertIfNegative val="1"/>
            <c:bubble3D val="0"/>
            <c:spPr>
              <a:solidFill>
                <a:srgbClr val="AEABAB"/>
              </a:solidFill>
            </c:spPr>
            <c:extLst>
              <c:ext xmlns:c16="http://schemas.microsoft.com/office/drawing/2014/chart" uri="{C3380CC4-5D6E-409C-BE32-E72D297353CC}">
                <c16:uniqueId val="{000006D3-B1B9-4BDE-A581-DFBD1F6389AC}"/>
              </c:ext>
            </c:extLst>
          </c:dPt>
          <c:dPt>
            <c:idx val="873"/>
            <c:invertIfNegative val="1"/>
            <c:bubble3D val="0"/>
            <c:spPr>
              <a:solidFill>
                <a:srgbClr val="AEABAB"/>
              </a:solidFill>
            </c:spPr>
            <c:extLst>
              <c:ext xmlns:c16="http://schemas.microsoft.com/office/drawing/2014/chart" uri="{C3380CC4-5D6E-409C-BE32-E72D297353CC}">
                <c16:uniqueId val="{000006D5-B1B9-4BDE-A581-DFBD1F6389AC}"/>
              </c:ext>
            </c:extLst>
          </c:dPt>
          <c:dPt>
            <c:idx val="874"/>
            <c:invertIfNegative val="1"/>
            <c:bubble3D val="0"/>
            <c:spPr>
              <a:solidFill>
                <a:srgbClr val="AEABAB"/>
              </a:solidFill>
            </c:spPr>
            <c:extLst>
              <c:ext xmlns:c16="http://schemas.microsoft.com/office/drawing/2014/chart" uri="{C3380CC4-5D6E-409C-BE32-E72D297353CC}">
                <c16:uniqueId val="{000006D7-B1B9-4BDE-A581-DFBD1F6389AC}"/>
              </c:ext>
            </c:extLst>
          </c:dPt>
          <c:dPt>
            <c:idx val="875"/>
            <c:invertIfNegative val="1"/>
            <c:bubble3D val="0"/>
            <c:spPr>
              <a:solidFill>
                <a:srgbClr val="AEABAB"/>
              </a:solidFill>
            </c:spPr>
            <c:extLst>
              <c:ext xmlns:c16="http://schemas.microsoft.com/office/drawing/2014/chart" uri="{C3380CC4-5D6E-409C-BE32-E72D297353CC}">
                <c16:uniqueId val="{000006D9-B1B9-4BDE-A581-DFBD1F6389AC}"/>
              </c:ext>
            </c:extLst>
          </c:dPt>
          <c:dPt>
            <c:idx val="876"/>
            <c:invertIfNegative val="1"/>
            <c:bubble3D val="0"/>
            <c:spPr>
              <a:solidFill>
                <a:srgbClr val="AEABAB"/>
              </a:solidFill>
            </c:spPr>
            <c:extLst>
              <c:ext xmlns:c16="http://schemas.microsoft.com/office/drawing/2014/chart" uri="{C3380CC4-5D6E-409C-BE32-E72D297353CC}">
                <c16:uniqueId val="{000006DB-B1B9-4BDE-A581-DFBD1F6389AC}"/>
              </c:ext>
            </c:extLst>
          </c:dPt>
          <c:dPt>
            <c:idx val="877"/>
            <c:invertIfNegative val="1"/>
            <c:bubble3D val="0"/>
            <c:spPr>
              <a:solidFill>
                <a:srgbClr val="AEABAB"/>
              </a:solidFill>
            </c:spPr>
            <c:extLst>
              <c:ext xmlns:c16="http://schemas.microsoft.com/office/drawing/2014/chart" uri="{C3380CC4-5D6E-409C-BE32-E72D297353CC}">
                <c16:uniqueId val="{000006DD-B1B9-4BDE-A581-DFBD1F6389AC}"/>
              </c:ext>
            </c:extLst>
          </c:dPt>
          <c:dPt>
            <c:idx val="878"/>
            <c:invertIfNegative val="1"/>
            <c:bubble3D val="0"/>
            <c:spPr>
              <a:solidFill>
                <a:srgbClr val="AEABAB"/>
              </a:solidFill>
            </c:spPr>
            <c:extLst>
              <c:ext xmlns:c16="http://schemas.microsoft.com/office/drawing/2014/chart" uri="{C3380CC4-5D6E-409C-BE32-E72D297353CC}">
                <c16:uniqueId val="{000006DF-B1B9-4BDE-A581-DFBD1F6389AC}"/>
              </c:ext>
            </c:extLst>
          </c:dPt>
          <c:dPt>
            <c:idx val="879"/>
            <c:invertIfNegative val="1"/>
            <c:bubble3D val="0"/>
            <c:spPr>
              <a:solidFill>
                <a:srgbClr val="AEABAB"/>
              </a:solidFill>
            </c:spPr>
            <c:extLst>
              <c:ext xmlns:c16="http://schemas.microsoft.com/office/drawing/2014/chart" uri="{C3380CC4-5D6E-409C-BE32-E72D297353CC}">
                <c16:uniqueId val="{000006E1-B1B9-4BDE-A581-DFBD1F6389AC}"/>
              </c:ext>
            </c:extLst>
          </c:dPt>
          <c:dPt>
            <c:idx val="880"/>
            <c:invertIfNegative val="1"/>
            <c:bubble3D val="0"/>
            <c:spPr>
              <a:solidFill>
                <a:srgbClr val="AEABAB"/>
              </a:solidFill>
            </c:spPr>
            <c:extLst>
              <c:ext xmlns:c16="http://schemas.microsoft.com/office/drawing/2014/chart" uri="{C3380CC4-5D6E-409C-BE32-E72D297353CC}">
                <c16:uniqueId val="{000006E3-B1B9-4BDE-A581-DFBD1F6389AC}"/>
              </c:ext>
            </c:extLst>
          </c:dPt>
          <c:dPt>
            <c:idx val="881"/>
            <c:invertIfNegative val="1"/>
            <c:bubble3D val="0"/>
            <c:spPr>
              <a:solidFill>
                <a:srgbClr val="AEABAB"/>
              </a:solidFill>
            </c:spPr>
            <c:extLst>
              <c:ext xmlns:c16="http://schemas.microsoft.com/office/drawing/2014/chart" uri="{C3380CC4-5D6E-409C-BE32-E72D297353CC}">
                <c16:uniqueId val="{000006E5-B1B9-4BDE-A581-DFBD1F6389AC}"/>
              </c:ext>
            </c:extLst>
          </c:dPt>
          <c:dPt>
            <c:idx val="882"/>
            <c:invertIfNegative val="1"/>
            <c:bubble3D val="0"/>
            <c:spPr>
              <a:solidFill>
                <a:srgbClr val="AEABAB"/>
              </a:solidFill>
            </c:spPr>
            <c:extLst>
              <c:ext xmlns:c16="http://schemas.microsoft.com/office/drawing/2014/chart" uri="{C3380CC4-5D6E-409C-BE32-E72D297353CC}">
                <c16:uniqueId val="{000006E7-B1B9-4BDE-A581-DFBD1F6389AC}"/>
              </c:ext>
            </c:extLst>
          </c:dPt>
          <c:dPt>
            <c:idx val="883"/>
            <c:invertIfNegative val="1"/>
            <c:bubble3D val="0"/>
            <c:spPr>
              <a:solidFill>
                <a:srgbClr val="AEABAB"/>
              </a:solidFill>
            </c:spPr>
            <c:extLst>
              <c:ext xmlns:c16="http://schemas.microsoft.com/office/drawing/2014/chart" uri="{C3380CC4-5D6E-409C-BE32-E72D297353CC}">
                <c16:uniqueId val="{000006E9-B1B9-4BDE-A581-DFBD1F6389AC}"/>
              </c:ext>
            </c:extLst>
          </c:dPt>
          <c:dPt>
            <c:idx val="884"/>
            <c:invertIfNegative val="1"/>
            <c:bubble3D val="0"/>
            <c:spPr>
              <a:solidFill>
                <a:srgbClr val="AEABAB"/>
              </a:solidFill>
            </c:spPr>
            <c:extLst>
              <c:ext xmlns:c16="http://schemas.microsoft.com/office/drawing/2014/chart" uri="{C3380CC4-5D6E-409C-BE32-E72D297353CC}">
                <c16:uniqueId val="{000006EB-B1B9-4BDE-A581-DFBD1F6389AC}"/>
              </c:ext>
            </c:extLst>
          </c:dPt>
          <c:dPt>
            <c:idx val="885"/>
            <c:invertIfNegative val="1"/>
            <c:bubble3D val="0"/>
            <c:spPr>
              <a:solidFill>
                <a:srgbClr val="AEABAB"/>
              </a:solidFill>
            </c:spPr>
            <c:extLst>
              <c:ext xmlns:c16="http://schemas.microsoft.com/office/drawing/2014/chart" uri="{C3380CC4-5D6E-409C-BE32-E72D297353CC}">
                <c16:uniqueId val="{000006ED-B1B9-4BDE-A581-DFBD1F6389AC}"/>
              </c:ext>
            </c:extLst>
          </c:dPt>
          <c:dPt>
            <c:idx val="886"/>
            <c:invertIfNegative val="1"/>
            <c:bubble3D val="0"/>
            <c:spPr>
              <a:solidFill>
                <a:srgbClr val="AEABAB"/>
              </a:solidFill>
            </c:spPr>
            <c:extLst>
              <c:ext xmlns:c16="http://schemas.microsoft.com/office/drawing/2014/chart" uri="{C3380CC4-5D6E-409C-BE32-E72D297353CC}">
                <c16:uniqueId val="{000006EF-B1B9-4BDE-A581-DFBD1F6389AC}"/>
              </c:ext>
            </c:extLst>
          </c:dPt>
          <c:dPt>
            <c:idx val="887"/>
            <c:invertIfNegative val="1"/>
            <c:bubble3D val="0"/>
            <c:spPr>
              <a:solidFill>
                <a:srgbClr val="AEABAB"/>
              </a:solidFill>
            </c:spPr>
            <c:extLst>
              <c:ext xmlns:c16="http://schemas.microsoft.com/office/drawing/2014/chart" uri="{C3380CC4-5D6E-409C-BE32-E72D297353CC}">
                <c16:uniqueId val="{000006F1-B1B9-4BDE-A581-DFBD1F6389AC}"/>
              </c:ext>
            </c:extLst>
          </c:dPt>
          <c:dPt>
            <c:idx val="888"/>
            <c:invertIfNegative val="1"/>
            <c:bubble3D val="0"/>
            <c:spPr>
              <a:solidFill>
                <a:srgbClr val="AEABAB"/>
              </a:solidFill>
            </c:spPr>
            <c:extLst>
              <c:ext xmlns:c16="http://schemas.microsoft.com/office/drawing/2014/chart" uri="{C3380CC4-5D6E-409C-BE32-E72D297353CC}">
                <c16:uniqueId val="{000006F3-B1B9-4BDE-A581-DFBD1F6389AC}"/>
              </c:ext>
            </c:extLst>
          </c:dPt>
          <c:dPt>
            <c:idx val="889"/>
            <c:invertIfNegative val="1"/>
            <c:bubble3D val="0"/>
            <c:spPr>
              <a:solidFill>
                <a:srgbClr val="AEABAB"/>
              </a:solidFill>
            </c:spPr>
            <c:extLst>
              <c:ext xmlns:c16="http://schemas.microsoft.com/office/drawing/2014/chart" uri="{C3380CC4-5D6E-409C-BE32-E72D297353CC}">
                <c16:uniqueId val="{000006F5-B1B9-4BDE-A581-DFBD1F6389AC}"/>
              </c:ext>
            </c:extLst>
          </c:dPt>
          <c:dPt>
            <c:idx val="890"/>
            <c:invertIfNegative val="1"/>
            <c:bubble3D val="0"/>
            <c:spPr>
              <a:solidFill>
                <a:srgbClr val="AEABAB"/>
              </a:solidFill>
            </c:spPr>
            <c:extLst>
              <c:ext xmlns:c16="http://schemas.microsoft.com/office/drawing/2014/chart" uri="{C3380CC4-5D6E-409C-BE32-E72D297353CC}">
                <c16:uniqueId val="{000006F7-B1B9-4BDE-A581-DFBD1F6389AC}"/>
              </c:ext>
            </c:extLst>
          </c:dPt>
          <c:dPt>
            <c:idx val="891"/>
            <c:invertIfNegative val="1"/>
            <c:bubble3D val="0"/>
            <c:spPr>
              <a:solidFill>
                <a:srgbClr val="AEABAB"/>
              </a:solidFill>
            </c:spPr>
            <c:extLst>
              <c:ext xmlns:c16="http://schemas.microsoft.com/office/drawing/2014/chart" uri="{C3380CC4-5D6E-409C-BE32-E72D297353CC}">
                <c16:uniqueId val="{000006F9-B1B9-4BDE-A581-DFBD1F6389AC}"/>
              </c:ext>
            </c:extLst>
          </c:dPt>
          <c:dPt>
            <c:idx val="892"/>
            <c:invertIfNegative val="1"/>
            <c:bubble3D val="0"/>
            <c:spPr>
              <a:solidFill>
                <a:srgbClr val="AEABAB"/>
              </a:solidFill>
            </c:spPr>
            <c:extLst>
              <c:ext xmlns:c16="http://schemas.microsoft.com/office/drawing/2014/chart" uri="{C3380CC4-5D6E-409C-BE32-E72D297353CC}">
                <c16:uniqueId val="{000006FB-B1B9-4BDE-A581-DFBD1F6389AC}"/>
              </c:ext>
            </c:extLst>
          </c:dPt>
          <c:dPt>
            <c:idx val="893"/>
            <c:invertIfNegative val="1"/>
            <c:bubble3D val="0"/>
            <c:spPr>
              <a:solidFill>
                <a:srgbClr val="AEABAB"/>
              </a:solidFill>
            </c:spPr>
            <c:extLst>
              <c:ext xmlns:c16="http://schemas.microsoft.com/office/drawing/2014/chart" uri="{C3380CC4-5D6E-409C-BE32-E72D297353CC}">
                <c16:uniqueId val="{000006FD-B1B9-4BDE-A581-DFBD1F6389AC}"/>
              </c:ext>
            </c:extLst>
          </c:dPt>
          <c:dPt>
            <c:idx val="894"/>
            <c:invertIfNegative val="1"/>
            <c:bubble3D val="0"/>
            <c:spPr>
              <a:solidFill>
                <a:srgbClr val="AEABAB"/>
              </a:solidFill>
            </c:spPr>
            <c:extLst>
              <c:ext xmlns:c16="http://schemas.microsoft.com/office/drawing/2014/chart" uri="{C3380CC4-5D6E-409C-BE32-E72D297353CC}">
                <c16:uniqueId val="{000006FF-B1B9-4BDE-A581-DFBD1F6389AC}"/>
              </c:ext>
            </c:extLst>
          </c:dPt>
          <c:dPt>
            <c:idx val="895"/>
            <c:invertIfNegative val="1"/>
            <c:bubble3D val="0"/>
            <c:spPr>
              <a:solidFill>
                <a:srgbClr val="AEABAB"/>
              </a:solidFill>
            </c:spPr>
            <c:extLst>
              <c:ext xmlns:c16="http://schemas.microsoft.com/office/drawing/2014/chart" uri="{C3380CC4-5D6E-409C-BE32-E72D297353CC}">
                <c16:uniqueId val="{00000701-B1B9-4BDE-A581-DFBD1F6389AC}"/>
              </c:ext>
            </c:extLst>
          </c:dPt>
          <c:dPt>
            <c:idx val="896"/>
            <c:invertIfNegative val="1"/>
            <c:bubble3D val="0"/>
            <c:spPr>
              <a:solidFill>
                <a:srgbClr val="AEABAB"/>
              </a:solidFill>
            </c:spPr>
            <c:extLst>
              <c:ext xmlns:c16="http://schemas.microsoft.com/office/drawing/2014/chart" uri="{C3380CC4-5D6E-409C-BE32-E72D297353CC}">
                <c16:uniqueId val="{00000703-B1B9-4BDE-A581-DFBD1F6389AC}"/>
              </c:ext>
            </c:extLst>
          </c:dPt>
          <c:dPt>
            <c:idx val="897"/>
            <c:invertIfNegative val="1"/>
            <c:bubble3D val="0"/>
            <c:spPr>
              <a:solidFill>
                <a:srgbClr val="AEABAB"/>
              </a:solidFill>
            </c:spPr>
            <c:extLst>
              <c:ext xmlns:c16="http://schemas.microsoft.com/office/drawing/2014/chart" uri="{C3380CC4-5D6E-409C-BE32-E72D297353CC}">
                <c16:uniqueId val="{00000705-B1B9-4BDE-A581-DFBD1F6389AC}"/>
              </c:ext>
            </c:extLst>
          </c:dPt>
          <c:dPt>
            <c:idx val="898"/>
            <c:invertIfNegative val="1"/>
            <c:bubble3D val="0"/>
            <c:spPr>
              <a:solidFill>
                <a:srgbClr val="AEABAB"/>
              </a:solidFill>
            </c:spPr>
            <c:extLst>
              <c:ext xmlns:c16="http://schemas.microsoft.com/office/drawing/2014/chart" uri="{C3380CC4-5D6E-409C-BE32-E72D297353CC}">
                <c16:uniqueId val="{00000707-B1B9-4BDE-A581-DFBD1F6389AC}"/>
              </c:ext>
            </c:extLst>
          </c:dPt>
          <c:dPt>
            <c:idx val="899"/>
            <c:invertIfNegative val="1"/>
            <c:bubble3D val="0"/>
            <c:spPr>
              <a:solidFill>
                <a:srgbClr val="AEABAB"/>
              </a:solidFill>
            </c:spPr>
            <c:extLst>
              <c:ext xmlns:c16="http://schemas.microsoft.com/office/drawing/2014/chart" uri="{C3380CC4-5D6E-409C-BE32-E72D297353CC}">
                <c16:uniqueId val="{00000709-B1B9-4BDE-A581-DFBD1F6389AC}"/>
              </c:ext>
            </c:extLst>
          </c:dPt>
          <c:dPt>
            <c:idx val="900"/>
            <c:invertIfNegative val="1"/>
            <c:bubble3D val="0"/>
            <c:spPr>
              <a:solidFill>
                <a:srgbClr val="AEABAB"/>
              </a:solidFill>
            </c:spPr>
            <c:extLst>
              <c:ext xmlns:c16="http://schemas.microsoft.com/office/drawing/2014/chart" uri="{C3380CC4-5D6E-409C-BE32-E72D297353CC}">
                <c16:uniqueId val="{0000070B-B1B9-4BDE-A581-DFBD1F6389AC}"/>
              </c:ext>
            </c:extLst>
          </c:dPt>
          <c:dPt>
            <c:idx val="901"/>
            <c:invertIfNegative val="1"/>
            <c:bubble3D val="0"/>
            <c:spPr>
              <a:solidFill>
                <a:srgbClr val="AEABAB"/>
              </a:solidFill>
            </c:spPr>
            <c:extLst>
              <c:ext xmlns:c16="http://schemas.microsoft.com/office/drawing/2014/chart" uri="{C3380CC4-5D6E-409C-BE32-E72D297353CC}">
                <c16:uniqueId val="{0000070D-B1B9-4BDE-A581-DFBD1F6389AC}"/>
              </c:ext>
            </c:extLst>
          </c:dPt>
          <c:dPt>
            <c:idx val="902"/>
            <c:invertIfNegative val="1"/>
            <c:bubble3D val="0"/>
            <c:spPr>
              <a:solidFill>
                <a:srgbClr val="AEABAB"/>
              </a:solidFill>
            </c:spPr>
            <c:extLst>
              <c:ext xmlns:c16="http://schemas.microsoft.com/office/drawing/2014/chart" uri="{C3380CC4-5D6E-409C-BE32-E72D297353CC}">
                <c16:uniqueId val="{0000070F-B1B9-4BDE-A581-DFBD1F6389AC}"/>
              </c:ext>
            </c:extLst>
          </c:dPt>
          <c:dPt>
            <c:idx val="903"/>
            <c:invertIfNegative val="1"/>
            <c:bubble3D val="0"/>
            <c:spPr>
              <a:solidFill>
                <a:srgbClr val="AEABAB"/>
              </a:solidFill>
            </c:spPr>
            <c:extLst>
              <c:ext xmlns:c16="http://schemas.microsoft.com/office/drawing/2014/chart" uri="{C3380CC4-5D6E-409C-BE32-E72D297353CC}">
                <c16:uniqueId val="{00000711-B1B9-4BDE-A581-DFBD1F6389AC}"/>
              </c:ext>
            </c:extLst>
          </c:dPt>
          <c:dPt>
            <c:idx val="904"/>
            <c:invertIfNegative val="1"/>
            <c:bubble3D val="0"/>
            <c:spPr>
              <a:solidFill>
                <a:srgbClr val="AEABAB"/>
              </a:solidFill>
            </c:spPr>
            <c:extLst>
              <c:ext xmlns:c16="http://schemas.microsoft.com/office/drawing/2014/chart" uri="{C3380CC4-5D6E-409C-BE32-E72D297353CC}">
                <c16:uniqueId val="{00000713-B1B9-4BDE-A581-DFBD1F6389AC}"/>
              </c:ext>
            </c:extLst>
          </c:dPt>
          <c:dPt>
            <c:idx val="905"/>
            <c:invertIfNegative val="1"/>
            <c:bubble3D val="0"/>
            <c:spPr>
              <a:solidFill>
                <a:srgbClr val="AEABAB"/>
              </a:solidFill>
            </c:spPr>
            <c:extLst>
              <c:ext xmlns:c16="http://schemas.microsoft.com/office/drawing/2014/chart" uri="{C3380CC4-5D6E-409C-BE32-E72D297353CC}">
                <c16:uniqueId val="{00000715-B1B9-4BDE-A581-DFBD1F6389AC}"/>
              </c:ext>
            </c:extLst>
          </c:dPt>
          <c:dPt>
            <c:idx val="906"/>
            <c:invertIfNegative val="1"/>
            <c:bubble3D val="0"/>
            <c:spPr>
              <a:solidFill>
                <a:srgbClr val="AEABAB"/>
              </a:solidFill>
            </c:spPr>
            <c:extLst>
              <c:ext xmlns:c16="http://schemas.microsoft.com/office/drawing/2014/chart" uri="{C3380CC4-5D6E-409C-BE32-E72D297353CC}">
                <c16:uniqueId val="{00000717-B1B9-4BDE-A581-DFBD1F6389AC}"/>
              </c:ext>
            </c:extLst>
          </c:dPt>
          <c:dPt>
            <c:idx val="907"/>
            <c:invertIfNegative val="1"/>
            <c:bubble3D val="0"/>
            <c:spPr>
              <a:solidFill>
                <a:srgbClr val="AEABAB"/>
              </a:solidFill>
            </c:spPr>
            <c:extLst>
              <c:ext xmlns:c16="http://schemas.microsoft.com/office/drawing/2014/chart" uri="{C3380CC4-5D6E-409C-BE32-E72D297353CC}">
                <c16:uniqueId val="{00000719-B1B9-4BDE-A581-DFBD1F6389AC}"/>
              </c:ext>
            </c:extLst>
          </c:dPt>
          <c:dPt>
            <c:idx val="908"/>
            <c:invertIfNegative val="1"/>
            <c:bubble3D val="0"/>
            <c:spPr>
              <a:solidFill>
                <a:srgbClr val="AEABAB"/>
              </a:solidFill>
            </c:spPr>
            <c:extLst>
              <c:ext xmlns:c16="http://schemas.microsoft.com/office/drawing/2014/chart" uri="{C3380CC4-5D6E-409C-BE32-E72D297353CC}">
                <c16:uniqueId val="{0000071B-B1B9-4BDE-A581-DFBD1F6389AC}"/>
              </c:ext>
            </c:extLst>
          </c:dPt>
          <c:dPt>
            <c:idx val="909"/>
            <c:invertIfNegative val="1"/>
            <c:bubble3D val="0"/>
            <c:spPr>
              <a:solidFill>
                <a:srgbClr val="AEABAB"/>
              </a:solidFill>
            </c:spPr>
            <c:extLst>
              <c:ext xmlns:c16="http://schemas.microsoft.com/office/drawing/2014/chart" uri="{C3380CC4-5D6E-409C-BE32-E72D297353CC}">
                <c16:uniqueId val="{0000071D-B1B9-4BDE-A581-DFBD1F6389AC}"/>
              </c:ext>
            </c:extLst>
          </c:dPt>
          <c:dPt>
            <c:idx val="910"/>
            <c:invertIfNegative val="1"/>
            <c:bubble3D val="0"/>
            <c:spPr>
              <a:solidFill>
                <a:srgbClr val="AEABAB"/>
              </a:solidFill>
            </c:spPr>
            <c:extLst>
              <c:ext xmlns:c16="http://schemas.microsoft.com/office/drawing/2014/chart" uri="{C3380CC4-5D6E-409C-BE32-E72D297353CC}">
                <c16:uniqueId val="{0000071F-B1B9-4BDE-A581-DFBD1F6389AC}"/>
              </c:ext>
            </c:extLst>
          </c:dPt>
          <c:dPt>
            <c:idx val="911"/>
            <c:invertIfNegative val="1"/>
            <c:bubble3D val="0"/>
            <c:spPr>
              <a:solidFill>
                <a:srgbClr val="AEABAB"/>
              </a:solidFill>
            </c:spPr>
            <c:extLst>
              <c:ext xmlns:c16="http://schemas.microsoft.com/office/drawing/2014/chart" uri="{C3380CC4-5D6E-409C-BE32-E72D297353CC}">
                <c16:uniqueId val="{00000721-B1B9-4BDE-A581-DFBD1F6389AC}"/>
              </c:ext>
            </c:extLst>
          </c:dPt>
          <c:dPt>
            <c:idx val="912"/>
            <c:invertIfNegative val="1"/>
            <c:bubble3D val="0"/>
            <c:spPr>
              <a:solidFill>
                <a:srgbClr val="AEABAB"/>
              </a:solidFill>
            </c:spPr>
            <c:extLst>
              <c:ext xmlns:c16="http://schemas.microsoft.com/office/drawing/2014/chart" uri="{C3380CC4-5D6E-409C-BE32-E72D297353CC}">
                <c16:uniqueId val="{00000723-B1B9-4BDE-A581-DFBD1F6389AC}"/>
              </c:ext>
            </c:extLst>
          </c:dPt>
          <c:dPt>
            <c:idx val="913"/>
            <c:invertIfNegative val="1"/>
            <c:bubble3D val="0"/>
            <c:spPr>
              <a:solidFill>
                <a:srgbClr val="AEABAB"/>
              </a:solidFill>
            </c:spPr>
            <c:extLst>
              <c:ext xmlns:c16="http://schemas.microsoft.com/office/drawing/2014/chart" uri="{C3380CC4-5D6E-409C-BE32-E72D297353CC}">
                <c16:uniqueId val="{00000725-B1B9-4BDE-A581-DFBD1F6389AC}"/>
              </c:ext>
            </c:extLst>
          </c:dPt>
          <c:dPt>
            <c:idx val="914"/>
            <c:invertIfNegative val="1"/>
            <c:bubble3D val="0"/>
            <c:spPr>
              <a:solidFill>
                <a:srgbClr val="AEABAB"/>
              </a:solidFill>
            </c:spPr>
            <c:extLst>
              <c:ext xmlns:c16="http://schemas.microsoft.com/office/drawing/2014/chart" uri="{C3380CC4-5D6E-409C-BE32-E72D297353CC}">
                <c16:uniqueId val="{00000727-B1B9-4BDE-A581-DFBD1F6389AC}"/>
              </c:ext>
            </c:extLst>
          </c:dPt>
          <c:dPt>
            <c:idx val="915"/>
            <c:invertIfNegative val="1"/>
            <c:bubble3D val="0"/>
            <c:spPr>
              <a:solidFill>
                <a:srgbClr val="AEABAB"/>
              </a:solidFill>
            </c:spPr>
            <c:extLst>
              <c:ext xmlns:c16="http://schemas.microsoft.com/office/drawing/2014/chart" uri="{C3380CC4-5D6E-409C-BE32-E72D297353CC}">
                <c16:uniqueId val="{00000729-B1B9-4BDE-A581-DFBD1F6389AC}"/>
              </c:ext>
            </c:extLst>
          </c:dPt>
          <c:dPt>
            <c:idx val="916"/>
            <c:invertIfNegative val="1"/>
            <c:bubble3D val="0"/>
            <c:spPr>
              <a:solidFill>
                <a:srgbClr val="AEABAB"/>
              </a:solidFill>
            </c:spPr>
            <c:extLst>
              <c:ext xmlns:c16="http://schemas.microsoft.com/office/drawing/2014/chart" uri="{C3380CC4-5D6E-409C-BE32-E72D297353CC}">
                <c16:uniqueId val="{0000072B-B1B9-4BDE-A581-DFBD1F6389AC}"/>
              </c:ext>
            </c:extLst>
          </c:dPt>
          <c:dPt>
            <c:idx val="917"/>
            <c:invertIfNegative val="1"/>
            <c:bubble3D val="0"/>
            <c:spPr>
              <a:solidFill>
                <a:srgbClr val="AEABAB"/>
              </a:solidFill>
            </c:spPr>
            <c:extLst>
              <c:ext xmlns:c16="http://schemas.microsoft.com/office/drawing/2014/chart" uri="{C3380CC4-5D6E-409C-BE32-E72D297353CC}">
                <c16:uniqueId val="{0000072D-B1B9-4BDE-A581-DFBD1F6389AC}"/>
              </c:ext>
            </c:extLst>
          </c:dPt>
          <c:dPt>
            <c:idx val="918"/>
            <c:invertIfNegative val="1"/>
            <c:bubble3D val="0"/>
            <c:spPr>
              <a:solidFill>
                <a:srgbClr val="AEABAB"/>
              </a:solidFill>
            </c:spPr>
            <c:extLst>
              <c:ext xmlns:c16="http://schemas.microsoft.com/office/drawing/2014/chart" uri="{C3380CC4-5D6E-409C-BE32-E72D297353CC}">
                <c16:uniqueId val="{0000072F-B1B9-4BDE-A581-DFBD1F6389AC}"/>
              </c:ext>
            </c:extLst>
          </c:dPt>
          <c:dPt>
            <c:idx val="919"/>
            <c:invertIfNegative val="1"/>
            <c:bubble3D val="0"/>
            <c:spPr>
              <a:solidFill>
                <a:srgbClr val="AEABAB"/>
              </a:solidFill>
            </c:spPr>
            <c:extLst>
              <c:ext xmlns:c16="http://schemas.microsoft.com/office/drawing/2014/chart" uri="{C3380CC4-5D6E-409C-BE32-E72D297353CC}">
                <c16:uniqueId val="{00000731-B1B9-4BDE-A581-DFBD1F6389AC}"/>
              </c:ext>
            </c:extLst>
          </c:dPt>
          <c:dPt>
            <c:idx val="920"/>
            <c:invertIfNegative val="1"/>
            <c:bubble3D val="0"/>
            <c:spPr>
              <a:solidFill>
                <a:srgbClr val="AEABAB"/>
              </a:solidFill>
            </c:spPr>
            <c:extLst>
              <c:ext xmlns:c16="http://schemas.microsoft.com/office/drawing/2014/chart" uri="{C3380CC4-5D6E-409C-BE32-E72D297353CC}">
                <c16:uniqueId val="{00000733-B1B9-4BDE-A581-DFBD1F6389AC}"/>
              </c:ext>
            </c:extLst>
          </c:dPt>
          <c:dPt>
            <c:idx val="921"/>
            <c:invertIfNegative val="1"/>
            <c:bubble3D val="0"/>
            <c:spPr>
              <a:solidFill>
                <a:srgbClr val="AEABAB"/>
              </a:solidFill>
            </c:spPr>
            <c:extLst>
              <c:ext xmlns:c16="http://schemas.microsoft.com/office/drawing/2014/chart" uri="{C3380CC4-5D6E-409C-BE32-E72D297353CC}">
                <c16:uniqueId val="{00000735-B1B9-4BDE-A581-DFBD1F6389AC}"/>
              </c:ext>
            </c:extLst>
          </c:dPt>
          <c:dPt>
            <c:idx val="922"/>
            <c:invertIfNegative val="1"/>
            <c:bubble3D val="0"/>
            <c:spPr>
              <a:solidFill>
                <a:srgbClr val="AEABAB"/>
              </a:solidFill>
            </c:spPr>
            <c:extLst>
              <c:ext xmlns:c16="http://schemas.microsoft.com/office/drawing/2014/chart" uri="{C3380CC4-5D6E-409C-BE32-E72D297353CC}">
                <c16:uniqueId val="{00000737-B1B9-4BDE-A581-DFBD1F6389AC}"/>
              </c:ext>
            </c:extLst>
          </c:dPt>
          <c:dPt>
            <c:idx val="923"/>
            <c:invertIfNegative val="1"/>
            <c:bubble3D val="0"/>
            <c:spPr>
              <a:solidFill>
                <a:srgbClr val="AEABAB"/>
              </a:solidFill>
            </c:spPr>
            <c:extLst>
              <c:ext xmlns:c16="http://schemas.microsoft.com/office/drawing/2014/chart" uri="{C3380CC4-5D6E-409C-BE32-E72D297353CC}">
                <c16:uniqueId val="{00000739-B1B9-4BDE-A581-DFBD1F6389AC}"/>
              </c:ext>
            </c:extLst>
          </c:dPt>
          <c:dPt>
            <c:idx val="924"/>
            <c:invertIfNegative val="1"/>
            <c:bubble3D val="0"/>
            <c:spPr>
              <a:solidFill>
                <a:srgbClr val="AEABAB"/>
              </a:solidFill>
            </c:spPr>
            <c:extLst>
              <c:ext xmlns:c16="http://schemas.microsoft.com/office/drawing/2014/chart" uri="{C3380CC4-5D6E-409C-BE32-E72D297353CC}">
                <c16:uniqueId val="{0000073B-B1B9-4BDE-A581-DFBD1F6389AC}"/>
              </c:ext>
            </c:extLst>
          </c:dPt>
          <c:dPt>
            <c:idx val="925"/>
            <c:invertIfNegative val="1"/>
            <c:bubble3D val="0"/>
            <c:spPr>
              <a:solidFill>
                <a:srgbClr val="AEABAB"/>
              </a:solidFill>
            </c:spPr>
            <c:extLst>
              <c:ext xmlns:c16="http://schemas.microsoft.com/office/drawing/2014/chart" uri="{C3380CC4-5D6E-409C-BE32-E72D297353CC}">
                <c16:uniqueId val="{0000073D-B1B9-4BDE-A581-DFBD1F6389AC}"/>
              </c:ext>
            </c:extLst>
          </c:dPt>
          <c:dPt>
            <c:idx val="926"/>
            <c:invertIfNegative val="1"/>
            <c:bubble3D val="0"/>
            <c:spPr>
              <a:solidFill>
                <a:srgbClr val="AEABAB"/>
              </a:solidFill>
            </c:spPr>
            <c:extLst>
              <c:ext xmlns:c16="http://schemas.microsoft.com/office/drawing/2014/chart" uri="{C3380CC4-5D6E-409C-BE32-E72D297353CC}">
                <c16:uniqueId val="{0000073F-B1B9-4BDE-A581-DFBD1F6389AC}"/>
              </c:ext>
            </c:extLst>
          </c:dPt>
          <c:dPt>
            <c:idx val="927"/>
            <c:invertIfNegative val="1"/>
            <c:bubble3D val="0"/>
            <c:spPr>
              <a:solidFill>
                <a:srgbClr val="AEABAB"/>
              </a:solidFill>
            </c:spPr>
            <c:extLst>
              <c:ext xmlns:c16="http://schemas.microsoft.com/office/drawing/2014/chart" uri="{C3380CC4-5D6E-409C-BE32-E72D297353CC}">
                <c16:uniqueId val="{00000741-B1B9-4BDE-A581-DFBD1F6389AC}"/>
              </c:ext>
            </c:extLst>
          </c:dPt>
          <c:dPt>
            <c:idx val="928"/>
            <c:invertIfNegative val="1"/>
            <c:bubble3D val="0"/>
            <c:spPr>
              <a:solidFill>
                <a:srgbClr val="AEABAB"/>
              </a:solidFill>
            </c:spPr>
            <c:extLst>
              <c:ext xmlns:c16="http://schemas.microsoft.com/office/drawing/2014/chart" uri="{C3380CC4-5D6E-409C-BE32-E72D297353CC}">
                <c16:uniqueId val="{00000743-B1B9-4BDE-A581-DFBD1F6389AC}"/>
              </c:ext>
            </c:extLst>
          </c:dPt>
          <c:dPt>
            <c:idx val="929"/>
            <c:invertIfNegative val="1"/>
            <c:bubble3D val="0"/>
            <c:spPr>
              <a:solidFill>
                <a:srgbClr val="AEABAB"/>
              </a:solidFill>
            </c:spPr>
            <c:extLst>
              <c:ext xmlns:c16="http://schemas.microsoft.com/office/drawing/2014/chart" uri="{C3380CC4-5D6E-409C-BE32-E72D297353CC}">
                <c16:uniqueId val="{00000745-B1B9-4BDE-A581-DFBD1F6389AC}"/>
              </c:ext>
            </c:extLst>
          </c:dPt>
          <c:dPt>
            <c:idx val="930"/>
            <c:invertIfNegative val="1"/>
            <c:bubble3D val="0"/>
            <c:spPr>
              <a:solidFill>
                <a:srgbClr val="AEABAB"/>
              </a:solidFill>
            </c:spPr>
            <c:extLst>
              <c:ext xmlns:c16="http://schemas.microsoft.com/office/drawing/2014/chart" uri="{C3380CC4-5D6E-409C-BE32-E72D297353CC}">
                <c16:uniqueId val="{00000747-B1B9-4BDE-A581-DFBD1F6389AC}"/>
              </c:ext>
            </c:extLst>
          </c:dPt>
          <c:dPt>
            <c:idx val="931"/>
            <c:invertIfNegative val="1"/>
            <c:bubble3D val="0"/>
            <c:spPr>
              <a:solidFill>
                <a:srgbClr val="AEABAB"/>
              </a:solidFill>
            </c:spPr>
            <c:extLst>
              <c:ext xmlns:c16="http://schemas.microsoft.com/office/drawing/2014/chart" uri="{C3380CC4-5D6E-409C-BE32-E72D297353CC}">
                <c16:uniqueId val="{00000749-B1B9-4BDE-A581-DFBD1F6389AC}"/>
              </c:ext>
            </c:extLst>
          </c:dPt>
          <c:dPt>
            <c:idx val="932"/>
            <c:invertIfNegative val="1"/>
            <c:bubble3D val="0"/>
            <c:spPr>
              <a:solidFill>
                <a:srgbClr val="AEABAB"/>
              </a:solidFill>
            </c:spPr>
            <c:extLst>
              <c:ext xmlns:c16="http://schemas.microsoft.com/office/drawing/2014/chart" uri="{C3380CC4-5D6E-409C-BE32-E72D297353CC}">
                <c16:uniqueId val="{0000074B-B1B9-4BDE-A581-DFBD1F6389AC}"/>
              </c:ext>
            </c:extLst>
          </c:dPt>
          <c:dPt>
            <c:idx val="933"/>
            <c:invertIfNegative val="1"/>
            <c:bubble3D val="0"/>
            <c:spPr>
              <a:solidFill>
                <a:srgbClr val="AEABAB"/>
              </a:solidFill>
            </c:spPr>
            <c:extLst>
              <c:ext xmlns:c16="http://schemas.microsoft.com/office/drawing/2014/chart" uri="{C3380CC4-5D6E-409C-BE32-E72D297353CC}">
                <c16:uniqueId val="{0000074D-B1B9-4BDE-A581-DFBD1F6389AC}"/>
              </c:ext>
            </c:extLst>
          </c:dPt>
          <c:dPt>
            <c:idx val="934"/>
            <c:invertIfNegative val="1"/>
            <c:bubble3D val="0"/>
            <c:spPr>
              <a:solidFill>
                <a:srgbClr val="AEABAB"/>
              </a:solidFill>
            </c:spPr>
            <c:extLst>
              <c:ext xmlns:c16="http://schemas.microsoft.com/office/drawing/2014/chart" uri="{C3380CC4-5D6E-409C-BE32-E72D297353CC}">
                <c16:uniqueId val="{0000074F-B1B9-4BDE-A581-DFBD1F6389AC}"/>
              </c:ext>
            </c:extLst>
          </c:dPt>
          <c:dPt>
            <c:idx val="935"/>
            <c:invertIfNegative val="1"/>
            <c:bubble3D val="0"/>
            <c:spPr>
              <a:solidFill>
                <a:srgbClr val="AEABAB"/>
              </a:solidFill>
            </c:spPr>
            <c:extLst>
              <c:ext xmlns:c16="http://schemas.microsoft.com/office/drawing/2014/chart" uri="{C3380CC4-5D6E-409C-BE32-E72D297353CC}">
                <c16:uniqueId val="{00000751-B1B9-4BDE-A581-DFBD1F6389AC}"/>
              </c:ext>
            </c:extLst>
          </c:dPt>
          <c:dPt>
            <c:idx val="936"/>
            <c:invertIfNegative val="1"/>
            <c:bubble3D val="0"/>
            <c:spPr>
              <a:solidFill>
                <a:srgbClr val="AEABAB"/>
              </a:solidFill>
            </c:spPr>
            <c:extLst>
              <c:ext xmlns:c16="http://schemas.microsoft.com/office/drawing/2014/chart" uri="{C3380CC4-5D6E-409C-BE32-E72D297353CC}">
                <c16:uniqueId val="{00000753-B1B9-4BDE-A581-DFBD1F6389AC}"/>
              </c:ext>
            </c:extLst>
          </c:dPt>
          <c:dPt>
            <c:idx val="937"/>
            <c:invertIfNegative val="1"/>
            <c:bubble3D val="0"/>
            <c:spPr>
              <a:solidFill>
                <a:srgbClr val="AEABAB"/>
              </a:solidFill>
            </c:spPr>
            <c:extLst>
              <c:ext xmlns:c16="http://schemas.microsoft.com/office/drawing/2014/chart" uri="{C3380CC4-5D6E-409C-BE32-E72D297353CC}">
                <c16:uniqueId val="{00000755-B1B9-4BDE-A581-DFBD1F6389AC}"/>
              </c:ext>
            </c:extLst>
          </c:dPt>
          <c:dPt>
            <c:idx val="938"/>
            <c:invertIfNegative val="1"/>
            <c:bubble3D val="0"/>
            <c:spPr>
              <a:solidFill>
                <a:srgbClr val="AEABAB"/>
              </a:solidFill>
            </c:spPr>
            <c:extLst>
              <c:ext xmlns:c16="http://schemas.microsoft.com/office/drawing/2014/chart" uri="{C3380CC4-5D6E-409C-BE32-E72D297353CC}">
                <c16:uniqueId val="{00000757-B1B9-4BDE-A581-DFBD1F6389AC}"/>
              </c:ext>
            </c:extLst>
          </c:dPt>
          <c:dPt>
            <c:idx val="939"/>
            <c:invertIfNegative val="1"/>
            <c:bubble3D val="0"/>
            <c:spPr>
              <a:solidFill>
                <a:srgbClr val="AEABAB"/>
              </a:solidFill>
            </c:spPr>
            <c:extLst>
              <c:ext xmlns:c16="http://schemas.microsoft.com/office/drawing/2014/chart" uri="{C3380CC4-5D6E-409C-BE32-E72D297353CC}">
                <c16:uniqueId val="{00000759-B1B9-4BDE-A581-DFBD1F6389AC}"/>
              </c:ext>
            </c:extLst>
          </c:dPt>
          <c:dPt>
            <c:idx val="940"/>
            <c:invertIfNegative val="1"/>
            <c:bubble3D val="0"/>
            <c:spPr>
              <a:solidFill>
                <a:srgbClr val="AEABAB"/>
              </a:solidFill>
            </c:spPr>
            <c:extLst>
              <c:ext xmlns:c16="http://schemas.microsoft.com/office/drawing/2014/chart" uri="{C3380CC4-5D6E-409C-BE32-E72D297353CC}">
                <c16:uniqueId val="{0000075B-B1B9-4BDE-A581-DFBD1F6389AC}"/>
              </c:ext>
            </c:extLst>
          </c:dPt>
          <c:dPt>
            <c:idx val="941"/>
            <c:invertIfNegative val="1"/>
            <c:bubble3D val="0"/>
            <c:spPr>
              <a:solidFill>
                <a:srgbClr val="AEABAB"/>
              </a:solidFill>
            </c:spPr>
            <c:extLst>
              <c:ext xmlns:c16="http://schemas.microsoft.com/office/drawing/2014/chart" uri="{C3380CC4-5D6E-409C-BE32-E72D297353CC}">
                <c16:uniqueId val="{0000075D-B1B9-4BDE-A581-DFBD1F6389AC}"/>
              </c:ext>
            </c:extLst>
          </c:dPt>
          <c:dPt>
            <c:idx val="942"/>
            <c:invertIfNegative val="1"/>
            <c:bubble3D val="0"/>
            <c:spPr>
              <a:solidFill>
                <a:srgbClr val="AEABAB"/>
              </a:solidFill>
            </c:spPr>
            <c:extLst>
              <c:ext xmlns:c16="http://schemas.microsoft.com/office/drawing/2014/chart" uri="{C3380CC4-5D6E-409C-BE32-E72D297353CC}">
                <c16:uniqueId val="{0000075F-B1B9-4BDE-A581-DFBD1F6389AC}"/>
              </c:ext>
            </c:extLst>
          </c:dPt>
          <c:dPt>
            <c:idx val="943"/>
            <c:invertIfNegative val="1"/>
            <c:bubble3D val="0"/>
            <c:spPr>
              <a:solidFill>
                <a:srgbClr val="AEABAB"/>
              </a:solidFill>
            </c:spPr>
            <c:extLst>
              <c:ext xmlns:c16="http://schemas.microsoft.com/office/drawing/2014/chart" uri="{C3380CC4-5D6E-409C-BE32-E72D297353CC}">
                <c16:uniqueId val="{00000761-B1B9-4BDE-A581-DFBD1F6389AC}"/>
              </c:ext>
            </c:extLst>
          </c:dPt>
          <c:dPt>
            <c:idx val="944"/>
            <c:invertIfNegative val="1"/>
            <c:bubble3D val="0"/>
            <c:spPr>
              <a:solidFill>
                <a:srgbClr val="AEABAB"/>
              </a:solidFill>
            </c:spPr>
            <c:extLst>
              <c:ext xmlns:c16="http://schemas.microsoft.com/office/drawing/2014/chart" uri="{C3380CC4-5D6E-409C-BE32-E72D297353CC}">
                <c16:uniqueId val="{00000763-B1B9-4BDE-A581-DFBD1F6389AC}"/>
              </c:ext>
            </c:extLst>
          </c:dPt>
          <c:dPt>
            <c:idx val="945"/>
            <c:invertIfNegative val="1"/>
            <c:bubble3D val="0"/>
            <c:spPr>
              <a:solidFill>
                <a:srgbClr val="AEABAB"/>
              </a:solidFill>
            </c:spPr>
            <c:extLst>
              <c:ext xmlns:c16="http://schemas.microsoft.com/office/drawing/2014/chart" uri="{C3380CC4-5D6E-409C-BE32-E72D297353CC}">
                <c16:uniqueId val="{00000765-B1B9-4BDE-A581-DFBD1F6389AC}"/>
              </c:ext>
            </c:extLst>
          </c:dPt>
          <c:dPt>
            <c:idx val="946"/>
            <c:invertIfNegative val="1"/>
            <c:bubble3D val="0"/>
            <c:spPr>
              <a:solidFill>
                <a:srgbClr val="AEABAB"/>
              </a:solidFill>
            </c:spPr>
            <c:extLst>
              <c:ext xmlns:c16="http://schemas.microsoft.com/office/drawing/2014/chart" uri="{C3380CC4-5D6E-409C-BE32-E72D297353CC}">
                <c16:uniqueId val="{00000767-B1B9-4BDE-A581-DFBD1F6389AC}"/>
              </c:ext>
            </c:extLst>
          </c:dPt>
          <c:dPt>
            <c:idx val="947"/>
            <c:invertIfNegative val="1"/>
            <c:bubble3D val="0"/>
            <c:spPr>
              <a:solidFill>
                <a:srgbClr val="AEABAB"/>
              </a:solidFill>
            </c:spPr>
            <c:extLst>
              <c:ext xmlns:c16="http://schemas.microsoft.com/office/drawing/2014/chart" uri="{C3380CC4-5D6E-409C-BE32-E72D297353CC}">
                <c16:uniqueId val="{00000769-B1B9-4BDE-A581-DFBD1F6389AC}"/>
              </c:ext>
            </c:extLst>
          </c:dPt>
          <c:dPt>
            <c:idx val="948"/>
            <c:invertIfNegative val="1"/>
            <c:bubble3D val="0"/>
            <c:spPr>
              <a:solidFill>
                <a:srgbClr val="AEABAB"/>
              </a:solidFill>
            </c:spPr>
            <c:extLst>
              <c:ext xmlns:c16="http://schemas.microsoft.com/office/drawing/2014/chart" uri="{C3380CC4-5D6E-409C-BE32-E72D297353CC}">
                <c16:uniqueId val="{0000076B-B1B9-4BDE-A581-DFBD1F6389AC}"/>
              </c:ext>
            </c:extLst>
          </c:dPt>
          <c:dPt>
            <c:idx val="949"/>
            <c:invertIfNegative val="1"/>
            <c:bubble3D val="0"/>
            <c:spPr>
              <a:solidFill>
                <a:srgbClr val="AEABAB"/>
              </a:solidFill>
            </c:spPr>
            <c:extLst>
              <c:ext xmlns:c16="http://schemas.microsoft.com/office/drawing/2014/chart" uri="{C3380CC4-5D6E-409C-BE32-E72D297353CC}">
                <c16:uniqueId val="{0000076D-B1B9-4BDE-A581-DFBD1F6389AC}"/>
              </c:ext>
            </c:extLst>
          </c:dPt>
          <c:dPt>
            <c:idx val="950"/>
            <c:invertIfNegative val="1"/>
            <c:bubble3D val="0"/>
            <c:spPr>
              <a:solidFill>
                <a:srgbClr val="AEABAB"/>
              </a:solidFill>
            </c:spPr>
            <c:extLst>
              <c:ext xmlns:c16="http://schemas.microsoft.com/office/drawing/2014/chart" uri="{C3380CC4-5D6E-409C-BE32-E72D297353CC}">
                <c16:uniqueId val="{0000076F-B1B9-4BDE-A581-DFBD1F6389AC}"/>
              </c:ext>
            </c:extLst>
          </c:dPt>
          <c:dPt>
            <c:idx val="951"/>
            <c:invertIfNegative val="1"/>
            <c:bubble3D val="0"/>
            <c:spPr>
              <a:solidFill>
                <a:srgbClr val="AEABAB"/>
              </a:solidFill>
            </c:spPr>
            <c:extLst>
              <c:ext xmlns:c16="http://schemas.microsoft.com/office/drawing/2014/chart" uri="{C3380CC4-5D6E-409C-BE32-E72D297353CC}">
                <c16:uniqueId val="{00000771-B1B9-4BDE-A581-DFBD1F6389AC}"/>
              </c:ext>
            </c:extLst>
          </c:dPt>
          <c:dPt>
            <c:idx val="952"/>
            <c:invertIfNegative val="1"/>
            <c:bubble3D val="0"/>
            <c:spPr>
              <a:solidFill>
                <a:srgbClr val="AEABAB"/>
              </a:solidFill>
            </c:spPr>
            <c:extLst>
              <c:ext xmlns:c16="http://schemas.microsoft.com/office/drawing/2014/chart" uri="{C3380CC4-5D6E-409C-BE32-E72D297353CC}">
                <c16:uniqueId val="{00000773-B1B9-4BDE-A581-DFBD1F6389AC}"/>
              </c:ext>
            </c:extLst>
          </c:dPt>
          <c:dPt>
            <c:idx val="953"/>
            <c:invertIfNegative val="1"/>
            <c:bubble3D val="0"/>
            <c:spPr>
              <a:solidFill>
                <a:srgbClr val="AEABAB"/>
              </a:solidFill>
            </c:spPr>
            <c:extLst>
              <c:ext xmlns:c16="http://schemas.microsoft.com/office/drawing/2014/chart" uri="{C3380CC4-5D6E-409C-BE32-E72D297353CC}">
                <c16:uniqueId val="{00000775-B1B9-4BDE-A581-DFBD1F6389AC}"/>
              </c:ext>
            </c:extLst>
          </c:dPt>
          <c:dPt>
            <c:idx val="954"/>
            <c:invertIfNegative val="1"/>
            <c:bubble3D val="0"/>
            <c:spPr>
              <a:solidFill>
                <a:srgbClr val="AEABAB"/>
              </a:solidFill>
            </c:spPr>
            <c:extLst>
              <c:ext xmlns:c16="http://schemas.microsoft.com/office/drawing/2014/chart" uri="{C3380CC4-5D6E-409C-BE32-E72D297353CC}">
                <c16:uniqueId val="{00000777-B1B9-4BDE-A581-DFBD1F6389AC}"/>
              </c:ext>
            </c:extLst>
          </c:dPt>
          <c:dPt>
            <c:idx val="955"/>
            <c:invertIfNegative val="1"/>
            <c:bubble3D val="0"/>
            <c:spPr>
              <a:solidFill>
                <a:srgbClr val="AEABAB"/>
              </a:solidFill>
            </c:spPr>
            <c:extLst>
              <c:ext xmlns:c16="http://schemas.microsoft.com/office/drawing/2014/chart" uri="{C3380CC4-5D6E-409C-BE32-E72D297353CC}">
                <c16:uniqueId val="{00000779-B1B9-4BDE-A581-DFBD1F6389AC}"/>
              </c:ext>
            </c:extLst>
          </c:dPt>
          <c:dPt>
            <c:idx val="956"/>
            <c:invertIfNegative val="1"/>
            <c:bubble3D val="0"/>
            <c:spPr>
              <a:solidFill>
                <a:srgbClr val="AEABAB"/>
              </a:solidFill>
            </c:spPr>
            <c:extLst>
              <c:ext xmlns:c16="http://schemas.microsoft.com/office/drawing/2014/chart" uri="{C3380CC4-5D6E-409C-BE32-E72D297353CC}">
                <c16:uniqueId val="{0000077B-B1B9-4BDE-A581-DFBD1F6389AC}"/>
              </c:ext>
            </c:extLst>
          </c:dPt>
          <c:dPt>
            <c:idx val="957"/>
            <c:invertIfNegative val="1"/>
            <c:bubble3D val="0"/>
            <c:spPr>
              <a:solidFill>
                <a:srgbClr val="AEABAB"/>
              </a:solidFill>
            </c:spPr>
            <c:extLst>
              <c:ext xmlns:c16="http://schemas.microsoft.com/office/drawing/2014/chart" uri="{C3380CC4-5D6E-409C-BE32-E72D297353CC}">
                <c16:uniqueId val="{0000077D-B1B9-4BDE-A581-DFBD1F6389AC}"/>
              </c:ext>
            </c:extLst>
          </c:dPt>
          <c:dPt>
            <c:idx val="958"/>
            <c:invertIfNegative val="1"/>
            <c:bubble3D val="0"/>
            <c:spPr>
              <a:solidFill>
                <a:srgbClr val="AEABAB"/>
              </a:solidFill>
            </c:spPr>
            <c:extLst>
              <c:ext xmlns:c16="http://schemas.microsoft.com/office/drawing/2014/chart" uri="{C3380CC4-5D6E-409C-BE32-E72D297353CC}">
                <c16:uniqueId val="{0000077F-B1B9-4BDE-A581-DFBD1F6389AC}"/>
              </c:ext>
            </c:extLst>
          </c:dPt>
          <c:dPt>
            <c:idx val="959"/>
            <c:invertIfNegative val="1"/>
            <c:bubble3D val="0"/>
            <c:spPr>
              <a:solidFill>
                <a:srgbClr val="AEABAB"/>
              </a:solidFill>
            </c:spPr>
            <c:extLst>
              <c:ext xmlns:c16="http://schemas.microsoft.com/office/drawing/2014/chart" uri="{C3380CC4-5D6E-409C-BE32-E72D297353CC}">
                <c16:uniqueId val="{00000781-B1B9-4BDE-A581-DFBD1F6389AC}"/>
              </c:ext>
            </c:extLst>
          </c:dPt>
          <c:dPt>
            <c:idx val="960"/>
            <c:invertIfNegative val="1"/>
            <c:bubble3D val="0"/>
            <c:spPr>
              <a:solidFill>
                <a:srgbClr val="AEABAB"/>
              </a:solidFill>
            </c:spPr>
            <c:extLst>
              <c:ext xmlns:c16="http://schemas.microsoft.com/office/drawing/2014/chart" uri="{C3380CC4-5D6E-409C-BE32-E72D297353CC}">
                <c16:uniqueId val="{00000783-B1B9-4BDE-A581-DFBD1F6389AC}"/>
              </c:ext>
            </c:extLst>
          </c:dPt>
          <c:dPt>
            <c:idx val="961"/>
            <c:invertIfNegative val="1"/>
            <c:bubble3D val="0"/>
            <c:spPr>
              <a:solidFill>
                <a:srgbClr val="AEABAB"/>
              </a:solidFill>
            </c:spPr>
            <c:extLst>
              <c:ext xmlns:c16="http://schemas.microsoft.com/office/drawing/2014/chart" uri="{C3380CC4-5D6E-409C-BE32-E72D297353CC}">
                <c16:uniqueId val="{00000785-B1B9-4BDE-A581-DFBD1F6389AC}"/>
              </c:ext>
            </c:extLst>
          </c:dPt>
          <c:dPt>
            <c:idx val="962"/>
            <c:invertIfNegative val="1"/>
            <c:bubble3D val="0"/>
            <c:spPr>
              <a:solidFill>
                <a:srgbClr val="AEABAB"/>
              </a:solidFill>
            </c:spPr>
            <c:extLst>
              <c:ext xmlns:c16="http://schemas.microsoft.com/office/drawing/2014/chart" uri="{C3380CC4-5D6E-409C-BE32-E72D297353CC}">
                <c16:uniqueId val="{00000787-B1B9-4BDE-A581-DFBD1F6389AC}"/>
              </c:ext>
            </c:extLst>
          </c:dPt>
          <c:dPt>
            <c:idx val="963"/>
            <c:invertIfNegative val="1"/>
            <c:bubble3D val="0"/>
            <c:spPr>
              <a:solidFill>
                <a:srgbClr val="AEABAB"/>
              </a:solidFill>
            </c:spPr>
            <c:extLst>
              <c:ext xmlns:c16="http://schemas.microsoft.com/office/drawing/2014/chart" uri="{C3380CC4-5D6E-409C-BE32-E72D297353CC}">
                <c16:uniqueId val="{00000789-B1B9-4BDE-A581-DFBD1F6389AC}"/>
              </c:ext>
            </c:extLst>
          </c:dPt>
          <c:dPt>
            <c:idx val="964"/>
            <c:invertIfNegative val="1"/>
            <c:bubble3D val="0"/>
            <c:spPr>
              <a:solidFill>
                <a:srgbClr val="AEABAB"/>
              </a:solidFill>
            </c:spPr>
            <c:extLst>
              <c:ext xmlns:c16="http://schemas.microsoft.com/office/drawing/2014/chart" uri="{C3380CC4-5D6E-409C-BE32-E72D297353CC}">
                <c16:uniqueId val="{0000078B-B1B9-4BDE-A581-DFBD1F6389AC}"/>
              </c:ext>
            </c:extLst>
          </c:dPt>
          <c:dPt>
            <c:idx val="965"/>
            <c:invertIfNegative val="1"/>
            <c:bubble3D val="0"/>
            <c:spPr>
              <a:solidFill>
                <a:srgbClr val="AEABAB"/>
              </a:solidFill>
            </c:spPr>
            <c:extLst>
              <c:ext xmlns:c16="http://schemas.microsoft.com/office/drawing/2014/chart" uri="{C3380CC4-5D6E-409C-BE32-E72D297353CC}">
                <c16:uniqueId val="{0000078D-B1B9-4BDE-A581-DFBD1F6389AC}"/>
              </c:ext>
            </c:extLst>
          </c:dPt>
          <c:dPt>
            <c:idx val="966"/>
            <c:invertIfNegative val="1"/>
            <c:bubble3D val="0"/>
            <c:spPr>
              <a:solidFill>
                <a:srgbClr val="AEABAB"/>
              </a:solidFill>
            </c:spPr>
            <c:extLst>
              <c:ext xmlns:c16="http://schemas.microsoft.com/office/drawing/2014/chart" uri="{C3380CC4-5D6E-409C-BE32-E72D297353CC}">
                <c16:uniqueId val="{0000078F-B1B9-4BDE-A581-DFBD1F6389AC}"/>
              </c:ext>
            </c:extLst>
          </c:dPt>
          <c:dPt>
            <c:idx val="967"/>
            <c:invertIfNegative val="1"/>
            <c:bubble3D val="0"/>
            <c:spPr>
              <a:solidFill>
                <a:srgbClr val="AEABAB"/>
              </a:solidFill>
            </c:spPr>
            <c:extLst>
              <c:ext xmlns:c16="http://schemas.microsoft.com/office/drawing/2014/chart" uri="{C3380CC4-5D6E-409C-BE32-E72D297353CC}">
                <c16:uniqueId val="{00000791-B1B9-4BDE-A581-DFBD1F6389AC}"/>
              </c:ext>
            </c:extLst>
          </c:dPt>
          <c:dPt>
            <c:idx val="968"/>
            <c:invertIfNegative val="1"/>
            <c:bubble3D val="0"/>
            <c:spPr>
              <a:solidFill>
                <a:srgbClr val="AEABAB"/>
              </a:solidFill>
            </c:spPr>
            <c:extLst>
              <c:ext xmlns:c16="http://schemas.microsoft.com/office/drawing/2014/chart" uri="{C3380CC4-5D6E-409C-BE32-E72D297353CC}">
                <c16:uniqueId val="{00000793-B1B9-4BDE-A581-DFBD1F6389AC}"/>
              </c:ext>
            </c:extLst>
          </c:dPt>
          <c:dPt>
            <c:idx val="969"/>
            <c:invertIfNegative val="1"/>
            <c:bubble3D val="0"/>
            <c:spPr>
              <a:solidFill>
                <a:srgbClr val="AEABAB"/>
              </a:solidFill>
            </c:spPr>
            <c:extLst>
              <c:ext xmlns:c16="http://schemas.microsoft.com/office/drawing/2014/chart" uri="{C3380CC4-5D6E-409C-BE32-E72D297353CC}">
                <c16:uniqueId val="{00000795-B1B9-4BDE-A581-DFBD1F6389AC}"/>
              </c:ext>
            </c:extLst>
          </c:dPt>
          <c:dPt>
            <c:idx val="970"/>
            <c:invertIfNegative val="1"/>
            <c:bubble3D val="0"/>
            <c:spPr>
              <a:solidFill>
                <a:srgbClr val="AEABAB"/>
              </a:solidFill>
            </c:spPr>
            <c:extLst>
              <c:ext xmlns:c16="http://schemas.microsoft.com/office/drawing/2014/chart" uri="{C3380CC4-5D6E-409C-BE32-E72D297353CC}">
                <c16:uniqueId val="{00000797-B1B9-4BDE-A581-DFBD1F6389AC}"/>
              </c:ext>
            </c:extLst>
          </c:dPt>
          <c:dPt>
            <c:idx val="971"/>
            <c:invertIfNegative val="1"/>
            <c:bubble3D val="0"/>
            <c:spPr>
              <a:solidFill>
                <a:srgbClr val="AEABAB"/>
              </a:solidFill>
            </c:spPr>
            <c:extLst>
              <c:ext xmlns:c16="http://schemas.microsoft.com/office/drawing/2014/chart" uri="{C3380CC4-5D6E-409C-BE32-E72D297353CC}">
                <c16:uniqueId val="{00000799-B1B9-4BDE-A581-DFBD1F6389AC}"/>
              </c:ext>
            </c:extLst>
          </c:dPt>
          <c:dPt>
            <c:idx val="972"/>
            <c:invertIfNegative val="1"/>
            <c:bubble3D val="0"/>
            <c:spPr>
              <a:solidFill>
                <a:srgbClr val="AEABAB"/>
              </a:solidFill>
            </c:spPr>
            <c:extLst>
              <c:ext xmlns:c16="http://schemas.microsoft.com/office/drawing/2014/chart" uri="{C3380CC4-5D6E-409C-BE32-E72D297353CC}">
                <c16:uniqueId val="{0000079B-B1B9-4BDE-A581-DFBD1F6389AC}"/>
              </c:ext>
            </c:extLst>
          </c:dPt>
          <c:dPt>
            <c:idx val="973"/>
            <c:invertIfNegative val="1"/>
            <c:bubble3D val="0"/>
            <c:spPr>
              <a:solidFill>
                <a:srgbClr val="AEABAB"/>
              </a:solidFill>
            </c:spPr>
            <c:extLst>
              <c:ext xmlns:c16="http://schemas.microsoft.com/office/drawing/2014/chart" uri="{C3380CC4-5D6E-409C-BE32-E72D297353CC}">
                <c16:uniqueId val="{0000079D-B1B9-4BDE-A581-DFBD1F6389AC}"/>
              </c:ext>
            </c:extLst>
          </c:dPt>
          <c:dPt>
            <c:idx val="974"/>
            <c:invertIfNegative val="1"/>
            <c:bubble3D val="0"/>
            <c:spPr>
              <a:solidFill>
                <a:srgbClr val="AEABAB"/>
              </a:solidFill>
            </c:spPr>
            <c:extLst>
              <c:ext xmlns:c16="http://schemas.microsoft.com/office/drawing/2014/chart" uri="{C3380CC4-5D6E-409C-BE32-E72D297353CC}">
                <c16:uniqueId val="{0000079F-B1B9-4BDE-A581-DFBD1F6389AC}"/>
              </c:ext>
            </c:extLst>
          </c:dPt>
          <c:dPt>
            <c:idx val="975"/>
            <c:invertIfNegative val="1"/>
            <c:bubble3D val="0"/>
            <c:spPr>
              <a:solidFill>
                <a:srgbClr val="AEABAB"/>
              </a:solidFill>
            </c:spPr>
            <c:extLst>
              <c:ext xmlns:c16="http://schemas.microsoft.com/office/drawing/2014/chart" uri="{C3380CC4-5D6E-409C-BE32-E72D297353CC}">
                <c16:uniqueId val="{000007A1-B1B9-4BDE-A581-DFBD1F6389AC}"/>
              </c:ext>
            </c:extLst>
          </c:dPt>
          <c:dPt>
            <c:idx val="976"/>
            <c:invertIfNegative val="1"/>
            <c:bubble3D val="0"/>
            <c:spPr>
              <a:solidFill>
                <a:srgbClr val="AEABAB"/>
              </a:solidFill>
            </c:spPr>
            <c:extLst>
              <c:ext xmlns:c16="http://schemas.microsoft.com/office/drawing/2014/chart" uri="{C3380CC4-5D6E-409C-BE32-E72D297353CC}">
                <c16:uniqueId val="{000007A3-B1B9-4BDE-A581-DFBD1F6389AC}"/>
              </c:ext>
            </c:extLst>
          </c:dPt>
          <c:dPt>
            <c:idx val="977"/>
            <c:invertIfNegative val="1"/>
            <c:bubble3D val="0"/>
            <c:spPr>
              <a:solidFill>
                <a:srgbClr val="AEABAB"/>
              </a:solidFill>
            </c:spPr>
            <c:extLst>
              <c:ext xmlns:c16="http://schemas.microsoft.com/office/drawing/2014/chart" uri="{C3380CC4-5D6E-409C-BE32-E72D297353CC}">
                <c16:uniqueId val="{000007A5-B1B9-4BDE-A581-DFBD1F6389AC}"/>
              </c:ext>
            </c:extLst>
          </c:dPt>
          <c:dPt>
            <c:idx val="978"/>
            <c:invertIfNegative val="1"/>
            <c:bubble3D val="0"/>
            <c:spPr>
              <a:solidFill>
                <a:srgbClr val="AEABAB"/>
              </a:solidFill>
            </c:spPr>
            <c:extLst>
              <c:ext xmlns:c16="http://schemas.microsoft.com/office/drawing/2014/chart" uri="{C3380CC4-5D6E-409C-BE32-E72D297353CC}">
                <c16:uniqueId val="{000007A7-B1B9-4BDE-A581-DFBD1F6389AC}"/>
              </c:ext>
            </c:extLst>
          </c:dPt>
          <c:dPt>
            <c:idx val="979"/>
            <c:invertIfNegative val="1"/>
            <c:bubble3D val="0"/>
            <c:spPr>
              <a:solidFill>
                <a:srgbClr val="AEABAB"/>
              </a:solidFill>
            </c:spPr>
            <c:extLst>
              <c:ext xmlns:c16="http://schemas.microsoft.com/office/drawing/2014/chart" uri="{C3380CC4-5D6E-409C-BE32-E72D297353CC}">
                <c16:uniqueId val="{000007A9-B1B9-4BDE-A581-DFBD1F6389AC}"/>
              </c:ext>
            </c:extLst>
          </c:dPt>
          <c:dPt>
            <c:idx val="980"/>
            <c:invertIfNegative val="1"/>
            <c:bubble3D val="0"/>
            <c:spPr>
              <a:solidFill>
                <a:srgbClr val="AEABAB"/>
              </a:solidFill>
            </c:spPr>
            <c:extLst>
              <c:ext xmlns:c16="http://schemas.microsoft.com/office/drawing/2014/chart" uri="{C3380CC4-5D6E-409C-BE32-E72D297353CC}">
                <c16:uniqueId val="{000007AB-B1B9-4BDE-A581-DFBD1F6389AC}"/>
              </c:ext>
            </c:extLst>
          </c:dPt>
          <c:dPt>
            <c:idx val="981"/>
            <c:invertIfNegative val="1"/>
            <c:bubble3D val="0"/>
            <c:spPr>
              <a:solidFill>
                <a:srgbClr val="AEABAB"/>
              </a:solidFill>
            </c:spPr>
            <c:extLst>
              <c:ext xmlns:c16="http://schemas.microsoft.com/office/drawing/2014/chart" uri="{C3380CC4-5D6E-409C-BE32-E72D297353CC}">
                <c16:uniqueId val="{000007AD-B1B9-4BDE-A581-DFBD1F6389AC}"/>
              </c:ext>
            </c:extLst>
          </c:dPt>
          <c:dPt>
            <c:idx val="982"/>
            <c:invertIfNegative val="1"/>
            <c:bubble3D val="0"/>
            <c:spPr>
              <a:solidFill>
                <a:srgbClr val="AEABAB"/>
              </a:solidFill>
            </c:spPr>
            <c:extLst>
              <c:ext xmlns:c16="http://schemas.microsoft.com/office/drawing/2014/chart" uri="{C3380CC4-5D6E-409C-BE32-E72D297353CC}">
                <c16:uniqueId val="{000007AF-B1B9-4BDE-A581-DFBD1F6389AC}"/>
              </c:ext>
            </c:extLst>
          </c:dPt>
          <c:dPt>
            <c:idx val="983"/>
            <c:invertIfNegative val="1"/>
            <c:bubble3D val="0"/>
            <c:spPr>
              <a:solidFill>
                <a:srgbClr val="AEABAB"/>
              </a:solidFill>
            </c:spPr>
            <c:extLst>
              <c:ext xmlns:c16="http://schemas.microsoft.com/office/drawing/2014/chart" uri="{C3380CC4-5D6E-409C-BE32-E72D297353CC}">
                <c16:uniqueId val="{000007B1-B1B9-4BDE-A581-DFBD1F6389AC}"/>
              </c:ext>
            </c:extLst>
          </c:dPt>
          <c:dPt>
            <c:idx val="984"/>
            <c:invertIfNegative val="1"/>
            <c:bubble3D val="0"/>
            <c:spPr>
              <a:solidFill>
                <a:srgbClr val="AEABAB"/>
              </a:solidFill>
            </c:spPr>
            <c:extLst>
              <c:ext xmlns:c16="http://schemas.microsoft.com/office/drawing/2014/chart" uri="{C3380CC4-5D6E-409C-BE32-E72D297353CC}">
                <c16:uniqueId val="{000007B3-B1B9-4BDE-A581-DFBD1F6389AC}"/>
              </c:ext>
            </c:extLst>
          </c:dPt>
          <c:dPt>
            <c:idx val="985"/>
            <c:invertIfNegative val="1"/>
            <c:bubble3D val="0"/>
            <c:spPr>
              <a:solidFill>
                <a:srgbClr val="AEABAB"/>
              </a:solidFill>
            </c:spPr>
            <c:extLst>
              <c:ext xmlns:c16="http://schemas.microsoft.com/office/drawing/2014/chart" uri="{C3380CC4-5D6E-409C-BE32-E72D297353CC}">
                <c16:uniqueId val="{000007B5-B1B9-4BDE-A581-DFBD1F6389AC}"/>
              </c:ext>
            </c:extLst>
          </c:dPt>
          <c:dPt>
            <c:idx val="986"/>
            <c:invertIfNegative val="1"/>
            <c:bubble3D val="0"/>
            <c:spPr>
              <a:solidFill>
                <a:srgbClr val="AEABAB"/>
              </a:solidFill>
            </c:spPr>
            <c:extLst>
              <c:ext xmlns:c16="http://schemas.microsoft.com/office/drawing/2014/chart" uri="{C3380CC4-5D6E-409C-BE32-E72D297353CC}">
                <c16:uniqueId val="{000007B7-B1B9-4BDE-A581-DFBD1F6389AC}"/>
              </c:ext>
            </c:extLst>
          </c:dPt>
          <c:dPt>
            <c:idx val="987"/>
            <c:invertIfNegative val="1"/>
            <c:bubble3D val="0"/>
            <c:spPr>
              <a:solidFill>
                <a:srgbClr val="AEABAB"/>
              </a:solidFill>
            </c:spPr>
            <c:extLst>
              <c:ext xmlns:c16="http://schemas.microsoft.com/office/drawing/2014/chart" uri="{C3380CC4-5D6E-409C-BE32-E72D297353CC}">
                <c16:uniqueId val="{000007B9-B1B9-4BDE-A581-DFBD1F6389AC}"/>
              </c:ext>
            </c:extLst>
          </c:dPt>
          <c:dPt>
            <c:idx val="988"/>
            <c:invertIfNegative val="1"/>
            <c:bubble3D val="0"/>
            <c:spPr>
              <a:solidFill>
                <a:srgbClr val="AEABAB"/>
              </a:solidFill>
            </c:spPr>
            <c:extLst>
              <c:ext xmlns:c16="http://schemas.microsoft.com/office/drawing/2014/chart" uri="{C3380CC4-5D6E-409C-BE32-E72D297353CC}">
                <c16:uniqueId val="{000007BB-B1B9-4BDE-A581-DFBD1F6389AC}"/>
              </c:ext>
            </c:extLst>
          </c:dPt>
          <c:dPt>
            <c:idx val="989"/>
            <c:invertIfNegative val="1"/>
            <c:bubble3D val="0"/>
            <c:spPr>
              <a:solidFill>
                <a:srgbClr val="AEABAB"/>
              </a:solidFill>
            </c:spPr>
            <c:extLst>
              <c:ext xmlns:c16="http://schemas.microsoft.com/office/drawing/2014/chart" uri="{C3380CC4-5D6E-409C-BE32-E72D297353CC}">
                <c16:uniqueId val="{000007BD-B1B9-4BDE-A581-DFBD1F6389AC}"/>
              </c:ext>
            </c:extLst>
          </c:dPt>
          <c:dPt>
            <c:idx val="990"/>
            <c:invertIfNegative val="1"/>
            <c:bubble3D val="0"/>
            <c:spPr>
              <a:solidFill>
                <a:srgbClr val="AEABAB"/>
              </a:solidFill>
            </c:spPr>
            <c:extLst>
              <c:ext xmlns:c16="http://schemas.microsoft.com/office/drawing/2014/chart" uri="{C3380CC4-5D6E-409C-BE32-E72D297353CC}">
                <c16:uniqueId val="{000007BF-B1B9-4BDE-A581-DFBD1F6389AC}"/>
              </c:ext>
            </c:extLst>
          </c:dPt>
          <c:dPt>
            <c:idx val="991"/>
            <c:invertIfNegative val="1"/>
            <c:bubble3D val="0"/>
            <c:spPr>
              <a:solidFill>
                <a:srgbClr val="AEABAB"/>
              </a:solidFill>
            </c:spPr>
            <c:extLst>
              <c:ext xmlns:c16="http://schemas.microsoft.com/office/drawing/2014/chart" uri="{C3380CC4-5D6E-409C-BE32-E72D297353CC}">
                <c16:uniqueId val="{000007C1-B1B9-4BDE-A581-DFBD1F6389AC}"/>
              </c:ext>
            </c:extLst>
          </c:dPt>
          <c:dPt>
            <c:idx val="992"/>
            <c:invertIfNegative val="1"/>
            <c:bubble3D val="0"/>
            <c:spPr>
              <a:solidFill>
                <a:srgbClr val="AEABAB"/>
              </a:solidFill>
            </c:spPr>
            <c:extLst>
              <c:ext xmlns:c16="http://schemas.microsoft.com/office/drawing/2014/chart" uri="{C3380CC4-5D6E-409C-BE32-E72D297353CC}">
                <c16:uniqueId val="{000007C3-B1B9-4BDE-A581-DFBD1F6389AC}"/>
              </c:ext>
            </c:extLst>
          </c:dPt>
          <c:dPt>
            <c:idx val="993"/>
            <c:invertIfNegative val="1"/>
            <c:bubble3D val="0"/>
            <c:spPr>
              <a:solidFill>
                <a:srgbClr val="AEABAB"/>
              </a:solidFill>
            </c:spPr>
            <c:extLst>
              <c:ext xmlns:c16="http://schemas.microsoft.com/office/drawing/2014/chart" uri="{C3380CC4-5D6E-409C-BE32-E72D297353CC}">
                <c16:uniqueId val="{000007C5-B1B9-4BDE-A581-DFBD1F6389AC}"/>
              </c:ext>
            </c:extLst>
          </c:dPt>
          <c:dPt>
            <c:idx val="994"/>
            <c:invertIfNegative val="1"/>
            <c:bubble3D val="0"/>
            <c:spPr>
              <a:solidFill>
                <a:srgbClr val="AEABAB"/>
              </a:solidFill>
            </c:spPr>
            <c:extLst>
              <c:ext xmlns:c16="http://schemas.microsoft.com/office/drawing/2014/chart" uri="{C3380CC4-5D6E-409C-BE32-E72D297353CC}">
                <c16:uniqueId val="{000007C7-B1B9-4BDE-A581-DFBD1F6389AC}"/>
              </c:ext>
            </c:extLst>
          </c:dPt>
          <c:dPt>
            <c:idx val="995"/>
            <c:invertIfNegative val="1"/>
            <c:bubble3D val="0"/>
            <c:spPr>
              <a:solidFill>
                <a:srgbClr val="AEABAB"/>
              </a:solidFill>
            </c:spPr>
            <c:extLst>
              <c:ext xmlns:c16="http://schemas.microsoft.com/office/drawing/2014/chart" uri="{C3380CC4-5D6E-409C-BE32-E72D297353CC}">
                <c16:uniqueId val="{000007C9-B1B9-4BDE-A581-DFBD1F6389AC}"/>
              </c:ext>
            </c:extLst>
          </c:dPt>
          <c:dPt>
            <c:idx val="996"/>
            <c:invertIfNegative val="1"/>
            <c:bubble3D val="0"/>
            <c:spPr>
              <a:solidFill>
                <a:srgbClr val="AEABAB"/>
              </a:solidFill>
            </c:spPr>
            <c:extLst>
              <c:ext xmlns:c16="http://schemas.microsoft.com/office/drawing/2014/chart" uri="{C3380CC4-5D6E-409C-BE32-E72D297353CC}">
                <c16:uniqueId val="{000007CB-B1B9-4BDE-A581-DFBD1F6389AC}"/>
              </c:ext>
            </c:extLst>
          </c:dPt>
          <c:dPt>
            <c:idx val="997"/>
            <c:invertIfNegative val="1"/>
            <c:bubble3D val="0"/>
            <c:spPr>
              <a:solidFill>
                <a:srgbClr val="AEABAB"/>
              </a:solidFill>
            </c:spPr>
            <c:extLst>
              <c:ext xmlns:c16="http://schemas.microsoft.com/office/drawing/2014/chart" uri="{C3380CC4-5D6E-409C-BE32-E72D297353CC}">
                <c16:uniqueId val="{000007CD-B1B9-4BDE-A581-DFBD1F6389AC}"/>
              </c:ext>
            </c:extLst>
          </c:dPt>
          <c:dPt>
            <c:idx val="998"/>
            <c:invertIfNegative val="1"/>
            <c:bubble3D val="0"/>
            <c:spPr>
              <a:solidFill>
                <a:srgbClr val="AEABAB"/>
              </a:solidFill>
            </c:spPr>
            <c:extLst>
              <c:ext xmlns:c16="http://schemas.microsoft.com/office/drawing/2014/chart" uri="{C3380CC4-5D6E-409C-BE32-E72D297353CC}">
                <c16:uniqueId val="{000007CF-B1B9-4BDE-A581-DFBD1F6389AC}"/>
              </c:ext>
            </c:extLst>
          </c:dPt>
          <c:dPt>
            <c:idx val="999"/>
            <c:invertIfNegative val="1"/>
            <c:bubble3D val="0"/>
            <c:spPr>
              <a:solidFill>
                <a:srgbClr val="AEABAB"/>
              </a:solidFill>
            </c:spPr>
            <c:extLst>
              <c:ext xmlns:c16="http://schemas.microsoft.com/office/drawing/2014/chart" uri="{C3380CC4-5D6E-409C-BE32-E72D297353CC}">
                <c16:uniqueId val="{000007D1-B1B9-4BDE-A581-DFBD1F6389AC}"/>
              </c:ext>
            </c:extLst>
          </c:dPt>
          <c:dPt>
            <c:idx val="1000"/>
            <c:invertIfNegative val="1"/>
            <c:bubble3D val="0"/>
            <c:spPr>
              <a:solidFill>
                <a:srgbClr val="AEABAB"/>
              </a:solidFill>
            </c:spPr>
            <c:extLst>
              <c:ext xmlns:c16="http://schemas.microsoft.com/office/drawing/2014/chart" uri="{C3380CC4-5D6E-409C-BE32-E72D297353CC}">
                <c16:uniqueId val="{000007D3-B1B9-4BDE-A581-DFBD1F6389AC}"/>
              </c:ext>
            </c:extLst>
          </c:dPt>
          <c:dPt>
            <c:idx val="1001"/>
            <c:invertIfNegative val="1"/>
            <c:bubble3D val="0"/>
            <c:spPr>
              <a:solidFill>
                <a:srgbClr val="AEABAB"/>
              </a:solidFill>
            </c:spPr>
            <c:extLst>
              <c:ext xmlns:c16="http://schemas.microsoft.com/office/drawing/2014/chart" uri="{C3380CC4-5D6E-409C-BE32-E72D297353CC}">
                <c16:uniqueId val="{000007D5-B1B9-4BDE-A581-DFBD1F6389AC}"/>
              </c:ext>
            </c:extLst>
          </c:dPt>
          <c:dPt>
            <c:idx val="1002"/>
            <c:invertIfNegative val="1"/>
            <c:bubble3D val="0"/>
            <c:spPr>
              <a:solidFill>
                <a:srgbClr val="AEABAB"/>
              </a:solidFill>
            </c:spPr>
            <c:extLst>
              <c:ext xmlns:c16="http://schemas.microsoft.com/office/drawing/2014/chart" uri="{C3380CC4-5D6E-409C-BE32-E72D297353CC}">
                <c16:uniqueId val="{000007D7-B1B9-4BDE-A581-DFBD1F6389AC}"/>
              </c:ext>
            </c:extLst>
          </c:dPt>
          <c:dPt>
            <c:idx val="1003"/>
            <c:invertIfNegative val="1"/>
            <c:bubble3D val="0"/>
            <c:spPr>
              <a:solidFill>
                <a:srgbClr val="AEABAB"/>
              </a:solidFill>
            </c:spPr>
            <c:extLst>
              <c:ext xmlns:c16="http://schemas.microsoft.com/office/drawing/2014/chart" uri="{C3380CC4-5D6E-409C-BE32-E72D297353CC}">
                <c16:uniqueId val="{000007D9-B1B9-4BDE-A581-DFBD1F6389AC}"/>
              </c:ext>
            </c:extLst>
          </c:dPt>
          <c:dPt>
            <c:idx val="1004"/>
            <c:invertIfNegative val="1"/>
            <c:bubble3D val="0"/>
            <c:spPr>
              <a:solidFill>
                <a:srgbClr val="AEABAB"/>
              </a:solidFill>
            </c:spPr>
            <c:extLst>
              <c:ext xmlns:c16="http://schemas.microsoft.com/office/drawing/2014/chart" uri="{C3380CC4-5D6E-409C-BE32-E72D297353CC}">
                <c16:uniqueId val="{000007DB-B1B9-4BDE-A581-DFBD1F6389AC}"/>
              </c:ext>
            </c:extLst>
          </c:dPt>
          <c:dPt>
            <c:idx val="1005"/>
            <c:invertIfNegative val="1"/>
            <c:bubble3D val="0"/>
            <c:spPr>
              <a:solidFill>
                <a:srgbClr val="AEABAB"/>
              </a:solidFill>
            </c:spPr>
            <c:extLst>
              <c:ext xmlns:c16="http://schemas.microsoft.com/office/drawing/2014/chart" uri="{C3380CC4-5D6E-409C-BE32-E72D297353CC}">
                <c16:uniqueId val="{000007DD-B1B9-4BDE-A581-DFBD1F6389AC}"/>
              </c:ext>
            </c:extLst>
          </c:dPt>
          <c:dPt>
            <c:idx val="1006"/>
            <c:invertIfNegative val="1"/>
            <c:bubble3D val="0"/>
            <c:spPr>
              <a:solidFill>
                <a:srgbClr val="AEABAB"/>
              </a:solidFill>
            </c:spPr>
            <c:extLst>
              <c:ext xmlns:c16="http://schemas.microsoft.com/office/drawing/2014/chart" uri="{C3380CC4-5D6E-409C-BE32-E72D297353CC}">
                <c16:uniqueId val="{000007DF-B1B9-4BDE-A581-DFBD1F6389AC}"/>
              </c:ext>
            </c:extLst>
          </c:dPt>
          <c:dPt>
            <c:idx val="1007"/>
            <c:invertIfNegative val="1"/>
            <c:bubble3D val="0"/>
            <c:spPr>
              <a:solidFill>
                <a:srgbClr val="AEABAB"/>
              </a:solidFill>
            </c:spPr>
            <c:extLst>
              <c:ext xmlns:c16="http://schemas.microsoft.com/office/drawing/2014/chart" uri="{C3380CC4-5D6E-409C-BE32-E72D297353CC}">
                <c16:uniqueId val="{000007E1-B1B9-4BDE-A581-DFBD1F6389AC}"/>
              </c:ext>
            </c:extLst>
          </c:dPt>
          <c:dPt>
            <c:idx val="1008"/>
            <c:invertIfNegative val="1"/>
            <c:bubble3D val="0"/>
            <c:spPr>
              <a:solidFill>
                <a:srgbClr val="AEABAB"/>
              </a:solidFill>
            </c:spPr>
            <c:extLst>
              <c:ext xmlns:c16="http://schemas.microsoft.com/office/drawing/2014/chart" uri="{C3380CC4-5D6E-409C-BE32-E72D297353CC}">
                <c16:uniqueId val="{000007E3-B1B9-4BDE-A581-DFBD1F6389AC}"/>
              </c:ext>
            </c:extLst>
          </c:dPt>
          <c:dPt>
            <c:idx val="1009"/>
            <c:invertIfNegative val="1"/>
            <c:bubble3D val="0"/>
            <c:spPr>
              <a:solidFill>
                <a:srgbClr val="AEABAB"/>
              </a:solidFill>
            </c:spPr>
            <c:extLst>
              <c:ext xmlns:c16="http://schemas.microsoft.com/office/drawing/2014/chart" uri="{C3380CC4-5D6E-409C-BE32-E72D297353CC}">
                <c16:uniqueId val="{000007E5-B1B9-4BDE-A581-DFBD1F6389AC}"/>
              </c:ext>
            </c:extLst>
          </c:dPt>
          <c:dPt>
            <c:idx val="1010"/>
            <c:invertIfNegative val="1"/>
            <c:bubble3D val="0"/>
            <c:spPr>
              <a:solidFill>
                <a:srgbClr val="AEABAB"/>
              </a:solidFill>
            </c:spPr>
            <c:extLst>
              <c:ext xmlns:c16="http://schemas.microsoft.com/office/drawing/2014/chart" uri="{C3380CC4-5D6E-409C-BE32-E72D297353CC}">
                <c16:uniqueId val="{000007E7-B1B9-4BDE-A581-DFBD1F6389AC}"/>
              </c:ext>
            </c:extLst>
          </c:dPt>
          <c:dPt>
            <c:idx val="1011"/>
            <c:invertIfNegative val="1"/>
            <c:bubble3D val="0"/>
            <c:spPr>
              <a:solidFill>
                <a:srgbClr val="AEABAB"/>
              </a:solidFill>
            </c:spPr>
            <c:extLst>
              <c:ext xmlns:c16="http://schemas.microsoft.com/office/drawing/2014/chart" uri="{C3380CC4-5D6E-409C-BE32-E72D297353CC}">
                <c16:uniqueId val="{000007E9-B1B9-4BDE-A581-DFBD1F6389AC}"/>
              </c:ext>
            </c:extLst>
          </c:dPt>
          <c:dPt>
            <c:idx val="1012"/>
            <c:invertIfNegative val="1"/>
            <c:bubble3D val="0"/>
            <c:spPr>
              <a:solidFill>
                <a:srgbClr val="AEABAB"/>
              </a:solidFill>
            </c:spPr>
            <c:extLst>
              <c:ext xmlns:c16="http://schemas.microsoft.com/office/drawing/2014/chart" uri="{C3380CC4-5D6E-409C-BE32-E72D297353CC}">
                <c16:uniqueId val="{000007EB-B1B9-4BDE-A581-DFBD1F6389AC}"/>
              </c:ext>
            </c:extLst>
          </c:dPt>
          <c:dPt>
            <c:idx val="1013"/>
            <c:invertIfNegative val="1"/>
            <c:bubble3D val="0"/>
            <c:spPr>
              <a:solidFill>
                <a:srgbClr val="AEABAB"/>
              </a:solidFill>
            </c:spPr>
            <c:extLst>
              <c:ext xmlns:c16="http://schemas.microsoft.com/office/drawing/2014/chart" uri="{C3380CC4-5D6E-409C-BE32-E72D297353CC}">
                <c16:uniqueId val="{000007ED-B1B9-4BDE-A581-DFBD1F6389AC}"/>
              </c:ext>
            </c:extLst>
          </c:dPt>
          <c:dPt>
            <c:idx val="1014"/>
            <c:invertIfNegative val="1"/>
            <c:bubble3D val="0"/>
            <c:spPr>
              <a:solidFill>
                <a:srgbClr val="AEABAB"/>
              </a:solidFill>
            </c:spPr>
            <c:extLst>
              <c:ext xmlns:c16="http://schemas.microsoft.com/office/drawing/2014/chart" uri="{C3380CC4-5D6E-409C-BE32-E72D297353CC}">
                <c16:uniqueId val="{000007EF-B1B9-4BDE-A581-DFBD1F6389AC}"/>
              </c:ext>
            </c:extLst>
          </c:dPt>
          <c:dPt>
            <c:idx val="1015"/>
            <c:invertIfNegative val="1"/>
            <c:bubble3D val="0"/>
            <c:spPr>
              <a:solidFill>
                <a:srgbClr val="AEABAB"/>
              </a:solidFill>
            </c:spPr>
            <c:extLst>
              <c:ext xmlns:c16="http://schemas.microsoft.com/office/drawing/2014/chart" uri="{C3380CC4-5D6E-409C-BE32-E72D297353CC}">
                <c16:uniqueId val="{000007F1-B1B9-4BDE-A581-DFBD1F6389AC}"/>
              </c:ext>
            </c:extLst>
          </c:dPt>
          <c:dPt>
            <c:idx val="1016"/>
            <c:invertIfNegative val="1"/>
            <c:bubble3D val="0"/>
            <c:spPr>
              <a:solidFill>
                <a:srgbClr val="AEABAB"/>
              </a:solidFill>
            </c:spPr>
            <c:extLst>
              <c:ext xmlns:c16="http://schemas.microsoft.com/office/drawing/2014/chart" uri="{C3380CC4-5D6E-409C-BE32-E72D297353CC}">
                <c16:uniqueId val="{000007F3-B1B9-4BDE-A581-DFBD1F6389AC}"/>
              </c:ext>
            </c:extLst>
          </c:dPt>
          <c:dPt>
            <c:idx val="1017"/>
            <c:invertIfNegative val="1"/>
            <c:bubble3D val="0"/>
            <c:spPr>
              <a:solidFill>
                <a:srgbClr val="AEABAB"/>
              </a:solidFill>
            </c:spPr>
            <c:extLst>
              <c:ext xmlns:c16="http://schemas.microsoft.com/office/drawing/2014/chart" uri="{C3380CC4-5D6E-409C-BE32-E72D297353CC}">
                <c16:uniqueId val="{000007F5-B1B9-4BDE-A581-DFBD1F6389AC}"/>
              </c:ext>
            </c:extLst>
          </c:dPt>
          <c:dPt>
            <c:idx val="1018"/>
            <c:invertIfNegative val="1"/>
            <c:bubble3D val="0"/>
            <c:spPr>
              <a:solidFill>
                <a:srgbClr val="AEABAB"/>
              </a:solidFill>
            </c:spPr>
            <c:extLst>
              <c:ext xmlns:c16="http://schemas.microsoft.com/office/drawing/2014/chart" uri="{C3380CC4-5D6E-409C-BE32-E72D297353CC}">
                <c16:uniqueId val="{000007F7-B1B9-4BDE-A581-DFBD1F6389AC}"/>
              </c:ext>
            </c:extLst>
          </c:dPt>
          <c:dPt>
            <c:idx val="1019"/>
            <c:invertIfNegative val="1"/>
            <c:bubble3D val="0"/>
            <c:spPr>
              <a:solidFill>
                <a:srgbClr val="AEABAB"/>
              </a:solidFill>
            </c:spPr>
            <c:extLst>
              <c:ext xmlns:c16="http://schemas.microsoft.com/office/drawing/2014/chart" uri="{C3380CC4-5D6E-409C-BE32-E72D297353CC}">
                <c16:uniqueId val="{000007F9-B1B9-4BDE-A581-DFBD1F6389AC}"/>
              </c:ext>
            </c:extLst>
          </c:dPt>
          <c:dPt>
            <c:idx val="1020"/>
            <c:invertIfNegative val="1"/>
            <c:bubble3D val="0"/>
            <c:spPr>
              <a:solidFill>
                <a:srgbClr val="AEABAB"/>
              </a:solidFill>
            </c:spPr>
            <c:extLst>
              <c:ext xmlns:c16="http://schemas.microsoft.com/office/drawing/2014/chart" uri="{C3380CC4-5D6E-409C-BE32-E72D297353CC}">
                <c16:uniqueId val="{000007FB-B1B9-4BDE-A581-DFBD1F6389AC}"/>
              </c:ext>
            </c:extLst>
          </c:dPt>
          <c:dPt>
            <c:idx val="1021"/>
            <c:invertIfNegative val="1"/>
            <c:bubble3D val="0"/>
            <c:spPr>
              <a:solidFill>
                <a:srgbClr val="AEABAB"/>
              </a:solidFill>
            </c:spPr>
            <c:extLst>
              <c:ext xmlns:c16="http://schemas.microsoft.com/office/drawing/2014/chart" uri="{C3380CC4-5D6E-409C-BE32-E72D297353CC}">
                <c16:uniqueId val="{000007FD-B1B9-4BDE-A581-DFBD1F6389AC}"/>
              </c:ext>
            </c:extLst>
          </c:dPt>
          <c:dPt>
            <c:idx val="1022"/>
            <c:invertIfNegative val="1"/>
            <c:bubble3D val="0"/>
            <c:spPr>
              <a:solidFill>
                <a:srgbClr val="AEABAB"/>
              </a:solidFill>
            </c:spPr>
            <c:extLst>
              <c:ext xmlns:c16="http://schemas.microsoft.com/office/drawing/2014/chart" uri="{C3380CC4-5D6E-409C-BE32-E72D297353CC}">
                <c16:uniqueId val="{000007FF-B1B9-4BDE-A581-DFBD1F6389AC}"/>
              </c:ext>
            </c:extLst>
          </c:dPt>
          <c:dPt>
            <c:idx val="1023"/>
            <c:invertIfNegative val="1"/>
            <c:bubble3D val="0"/>
            <c:spPr>
              <a:solidFill>
                <a:srgbClr val="AEABAB"/>
              </a:solidFill>
            </c:spPr>
            <c:extLst>
              <c:ext xmlns:c16="http://schemas.microsoft.com/office/drawing/2014/chart" uri="{C3380CC4-5D6E-409C-BE32-E72D297353CC}">
                <c16:uniqueId val="{00000801-B1B9-4BDE-A581-DFBD1F6389AC}"/>
              </c:ext>
            </c:extLst>
          </c:dPt>
          <c:dPt>
            <c:idx val="1024"/>
            <c:invertIfNegative val="1"/>
            <c:bubble3D val="0"/>
            <c:spPr>
              <a:solidFill>
                <a:srgbClr val="AEABAB"/>
              </a:solidFill>
            </c:spPr>
            <c:extLst>
              <c:ext xmlns:c16="http://schemas.microsoft.com/office/drawing/2014/chart" uri="{C3380CC4-5D6E-409C-BE32-E72D297353CC}">
                <c16:uniqueId val="{00000803-B1B9-4BDE-A581-DFBD1F6389AC}"/>
              </c:ext>
            </c:extLst>
          </c:dPt>
          <c:dPt>
            <c:idx val="1025"/>
            <c:invertIfNegative val="1"/>
            <c:bubble3D val="0"/>
            <c:spPr>
              <a:solidFill>
                <a:srgbClr val="AEABAB"/>
              </a:solidFill>
            </c:spPr>
            <c:extLst>
              <c:ext xmlns:c16="http://schemas.microsoft.com/office/drawing/2014/chart" uri="{C3380CC4-5D6E-409C-BE32-E72D297353CC}">
                <c16:uniqueId val="{00000805-B1B9-4BDE-A581-DFBD1F6389AC}"/>
              </c:ext>
            </c:extLst>
          </c:dPt>
          <c:dPt>
            <c:idx val="1026"/>
            <c:invertIfNegative val="1"/>
            <c:bubble3D val="0"/>
            <c:spPr>
              <a:solidFill>
                <a:srgbClr val="AEABAB"/>
              </a:solidFill>
            </c:spPr>
            <c:extLst>
              <c:ext xmlns:c16="http://schemas.microsoft.com/office/drawing/2014/chart" uri="{C3380CC4-5D6E-409C-BE32-E72D297353CC}">
                <c16:uniqueId val="{00000807-B1B9-4BDE-A581-DFBD1F6389AC}"/>
              </c:ext>
            </c:extLst>
          </c:dPt>
          <c:dPt>
            <c:idx val="1027"/>
            <c:invertIfNegative val="1"/>
            <c:bubble3D val="0"/>
            <c:spPr>
              <a:solidFill>
                <a:srgbClr val="AEABAB"/>
              </a:solidFill>
            </c:spPr>
            <c:extLst>
              <c:ext xmlns:c16="http://schemas.microsoft.com/office/drawing/2014/chart" uri="{C3380CC4-5D6E-409C-BE32-E72D297353CC}">
                <c16:uniqueId val="{00000809-B1B9-4BDE-A581-DFBD1F6389AC}"/>
              </c:ext>
            </c:extLst>
          </c:dPt>
          <c:dPt>
            <c:idx val="1028"/>
            <c:invertIfNegative val="1"/>
            <c:bubble3D val="0"/>
            <c:spPr>
              <a:solidFill>
                <a:srgbClr val="AEABAB"/>
              </a:solidFill>
            </c:spPr>
            <c:extLst>
              <c:ext xmlns:c16="http://schemas.microsoft.com/office/drawing/2014/chart" uri="{C3380CC4-5D6E-409C-BE32-E72D297353CC}">
                <c16:uniqueId val="{0000080B-B1B9-4BDE-A581-DFBD1F6389AC}"/>
              </c:ext>
            </c:extLst>
          </c:dPt>
          <c:dPt>
            <c:idx val="1029"/>
            <c:invertIfNegative val="1"/>
            <c:bubble3D val="0"/>
            <c:spPr>
              <a:solidFill>
                <a:srgbClr val="AEABAB"/>
              </a:solidFill>
            </c:spPr>
            <c:extLst>
              <c:ext xmlns:c16="http://schemas.microsoft.com/office/drawing/2014/chart" uri="{C3380CC4-5D6E-409C-BE32-E72D297353CC}">
                <c16:uniqueId val="{0000080D-B1B9-4BDE-A581-DFBD1F6389AC}"/>
              </c:ext>
            </c:extLst>
          </c:dPt>
          <c:dPt>
            <c:idx val="1030"/>
            <c:invertIfNegative val="1"/>
            <c:bubble3D val="0"/>
            <c:spPr>
              <a:solidFill>
                <a:srgbClr val="AEABAB"/>
              </a:solidFill>
            </c:spPr>
            <c:extLst>
              <c:ext xmlns:c16="http://schemas.microsoft.com/office/drawing/2014/chart" uri="{C3380CC4-5D6E-409C-BE32-E72D297353CC}">
                <c16:uniqueId val="{0000080F-B1B9-4BDE-A581-DFBD1F6389AC}"/>
              </c:ext>
            </c:extLst>
          </c:dPt>
          <c:dPt>
            <c:idx val="1031"/>
            <c:invertIfNegative val="1"/>
            <c:bubble3D val="0"/>
            <c:spPr>
              <a:solidFill>
                <a:srgbClr val="AEABAB"/>
              </a:solidFill>
            </c:spPr>
            <c:extLst>
              <c:ext xmlns:c16="http://schemas.microsoft.com/office/drawing/2014/chart" uri="{C3380CC4-5D6E-409C-BE32-E72D297353CC}">
                <c16:uniqueId val="{00000811-B1B9-4BDE-A581-DFBD1F6389AC}"/>
              </c:ext>
            </c:extLst>
          </c:dPt>
          <c:dPt>
            <c:idx val="1032"/>
            <c:invertIfNegative val="1"/>
            <c:bubble3D val="0"/>
            <c:spPr>
              <a:solidFill>
                <a:srgbClr val="AEABAB"/>
              </a:solidFill>
            </c:spPr>
            <c:extLst>
              <c:ext xmlns:c16="http://schemas.microsoft.com/office/drawing/2014/chart" uri="{C3380CC4-5D6E-409C-BE32-E72D297353CC}">
                <c16:uniqueId val="{00000813-B1B9-4BDE-A581-DFBD1F6389AC}"/>
              </c:ext>
            </c:extLst>
          </c:dPt>
          <c:dPt>
            <c:idx val="1033"/>
            <c:invertIfNegative val="1"/>
            <c:bubble3D val="0"/>
            <c:spPr>
              <a:solidFill>
                <a:srgbClr val="AEABAB"/>
              </a:solidFill>
            </c:spPr>
            <c:extLst>
              <c:ext xmlns:c16="http://schemas.microsoft.com/office/drawing/2014/chart" uri="{C3380CC4-5D6E-409C-BE32-E72D297353CC}">
                <c16:uniqueId val="{00000815-B1B9-4BDE-A581-DFBD1F6389AC}"/>
              </c:ext>
            </c:extLst>
          </c:dPt>
          <c:dPt>
            <c:idx val="1034"/>
            <c:invertIfNegative val="1"/>
            <c:bubble3D val="0"/>
            <c:spPr>
              <a:solidFill>
                <a:srgbClr val="AEABAB"/>
              </a:solidFill>
            </c:spPr>
            <c:extLst>
              <c:ext xmlns:c16="http://schemas.microsoft.com/office/drawing/2014/chart" uri="{C3380CC4-5D6E-409C-BE32-E72D297353CC}">
                <c16:uniqueId val="{00000817-B1B9-4BDE-A581-DFBD1F6389AC}"/>
              </c:ext>
            </c:extLst>
          </c:dPt>
          <c:dPt>
            <c:idx val="1035"/>
            <c:invertIfNegative val="1"/>
            <c:bubble3D val="0"/>
            <c:spPr>
              <a:solidFill>
                <a:srgbClr val="AEABAB"/>
              </a:solidFill>
            </c:spPr>
            <c:extLst>
              <c:ext xmlns:c16="http://schemas.microsoft.com/office/drawing/2014/chart" uri="{C3380CC4-5D6E-409C-BE32-E72D297353CC}">
                <c16:uniqueId val="{00000819-B1B9-4BDE-A581-DFBD1F6389AC}"/>
              </c:ext>
            </c:extLst>
          </c:dPt>
          <c:dPt>
            <c:idx val="1036"/>
            <c:invertIfNegative val="1"/>
            <c:bubble3D val="0"/>
            <c:spPr>
              <a:solidFill>
                <a:srgbClr val="AEABAB"/>
              </a:solidFill>
            </c:spPr>
            <c:extLst>
              <c:ext xmlns:c16="http://schemas.microsoft.com/office/drawing/2014/chart" uri="{C3380CC4-5D6E-409C-BE32-E72D297353CC}">
                <c16:uniqueId val="{0000081B-B1B9-4BDE-A581-DFBD1F6389AC}"/>
              </c:ext>
            </c:extLst>
          </c:dPt>
          <c:dPt>
            <c:idx val="1037"/>
            <c:invertIfNegative val="1"/>
            <c:bubble3D val="0"/>
            <c:spPr>
              <a:solidFill>
                <a:srgbClr val="AEABAB"/>
              </a:solidFill>
            </c:spPr>
            <c:extLst>
              <c:ext xmlns:c16="http://schemas.microsoft.com/office/drawing/2014/chart" uri="{C3380CC4-5D6E-409C-BE32-E72D297353CC}">
                <c16:uniqueId val="{0000081D-B1B9-4BDE-A581-DFBD1F6389AC}"/>
              </c:ext>
            </c:extLst>
          </c:dPt>
          <c:dPt>
            <c:idx val="1038"/>
            <c:invertIfNegative val="1"/>
            <c:bubble3D val="0"/>
            <c:spPr>
              <a:solidFill>
                <a:srgbClr val="AEABAB"/>
              </a:solidFill>
            </c:spPr>
            <c:extLst>
              <c:ext xmlns:c16="http://schemas.microsoft.com/office/drawing/2014/chart" uri="{C3380CC4-5D6E-409C-BE32-E72D297353CC}">
                <c16:uniqueId val="{0000081F-B1B9-4BDE-A581-DFBD1F6389AC}"/>
              </c:ext>
            </c:extLst>
          </c:dPt>
          <c:dPt>
            <c:idx val="1039"/>
            <c:invertIfNegative val="1"/>
            <c:bubble3D val="0"/>
            <c:spPr>
              <a:solidFill>
                <a:srgbClr val="AEABAB"/>
              </a:solidFill>
            </c:spPr>
            <c:extLst>
              <c:ext xmlns:c16="http://schemas.microsoft.com/office/drawing/2014/chart" uri="{C3380CC4-5D6E-409C-BE32-E72D297353CC}">
                <c16:uniqueId val="{00000821-B1B9-4BDE-A581-DFBD1F6389AC}"/>
              </c:ext>
            </c:extLst>
          </c:dPt>
          <c:dPt>
            <c:idx val="1040"/>
            <c:invertIfNegative val="1"/>
            <c:bubble3D val="0"/>
            <c:spPr>
              <a:solidFill>
                <a:srgbClr val="AEABAB"/>
              </a:solidFill>
            </c:spPr>
            <c:extLst>
              <c:ext xmlns:c16="http://schemas.microsoft.com/office/drawing/2014/chart" uri="{C3380CC4-5D6E-409C-BE32-E72D297353CC}">
                <c16:uniqueId val="{00000823-B1B9-4BDE-A581-DFBD1F6389AC}"/>
              </c:ext>
            </c:extLst>
          </c:dPt>
          <c:dPt>
            <c:idx val="1041"/>
            <c:invertIfNegative val="1"/>
            <c:bubble3D val="0"/>
            <c:spPr>
              <a:solidFill>
                <a:srgbClr val="AEABAB"/>
              </a:solidFill>
            </c:spPr>
            <c:extLst>
              <c:ext xmlns:c16="http://schemas.microsoft.com/office/drawing/2014/chart" uri="{C3380CC4-5D6E-409C-BE32-E72D297353CC}">
                <c16:uniqueId val="{00000825-B1B9-4BDE-A581-DFBD1F6389AC}"/>
              </c:ext>
            </c:extLst>
          </c:dPt>
          <c:dPt>
            <c:idx val="1042"/>
            <c:invertIfNegative val="1"/>
            <c:bubble3D val="0"/>
            <c:spPr>
              <a:solidFill>
                <a:srgbClr val="AEABAB"/>
              </a:solidFill>
            </c:spPr>
            <c:extLst>
              <c:ext xmlns:c16="http://schemas.microsoft.com/office/drawing/2014/chart" uri="{C3380CC4-5D6E-409C-BE32-E72D297353CC}">
                <c16:uniqueId val="{00000827-B1B9-4BDE-A581-DFBD1F6389AC}"/>
              </c:ext>
            </c:extLst>
          </c:dPt>
          <c:dPt>
            <c:idx val="1043"/>
            <c:invertIfNegative val="1"/>
            <c:bubble3D val="0"/>
            <c:spPr>
              <a:solidFill>
                <a:srgbClr val="AEABAB"/>
              </a:solidFill>
            </c:spPr>
            <c:extLst>
              <c:ext xmlns:c16="http://schemas.microsoft.com/office/drawing/2014/chart" uri="{C3380CC4-5D6E-409C-BE32-E72D297353CC}">
                <c16:uniqueId val="{00000829-B1B9-4BDE-A581-DFBD1F6389AC}"/>
              </c:ext>
            </c:extLst>
          </c:dPt>
          <c:dPt>
            <c:idx val="1044"/>
            <c:invertIfNegative val="1"/>
            <c:bubble3D val="0"/>
            <c:spPr>
              <a:solidFill>
                <a:srgbClr val="AEABAB"/>
              </a:solidFill>
            </c:spPr>
            <c:extLst>
              <c:ext xmlns:c16="http://schemas.microsoft.com/office/drawing/2014/chart" uri="{C3380CC4-5D6E-409C-BE32-E72D297353CC}">
                <c16:uniqueId val="{0000082B-B1B9-4BDE-A581-DFBD1F6389AC}"/>
              </c:ext>
            </c:extLst>
          </c:dPt>
          <c:dPt>
            <c:idx val="1045"/>
            <c:invertIfNegative val="1"/>
            <c:bubble3D val="0"/>
            <c:spPr>
              <a:solidFill>
                <a:srgbClr val="AEABAB"/>
              </a:solidFill>
            </c:spPr>
            <c:extLst>
              <c:ext xmlns:c16="http://schemas.microsoft.com/office/drawing/2014/chart" uri="{C3380CC4-5D6E-409C-BE32-E72D297353CC}">
                <c16:uniqueId val="{0000082D-B1B9-4BDE-A581-DFBD1F6389AC}"/>
              </c:ext>
            </c:extLst>
          </c:dPt>
          <c:dPt>
            <c:idx val="1046"/>
            <c:invertIfNegative val="1"/>
            <c:bubble3D val="0"/>
            <c:spPr>
              <a:solidFill>
                <a:srgbClr val="AEABAB"/>
              </a:solidFill>
            </c:spPr>
            <c:extLst>
              <c:ext xmlns:c16="http://schemas.microsoft.com/office/drawing/2014/chart" uri="{C3380CC4-5D6E-409C-BE32-E72D297353CC}">
                <c16:uniqueId val="{0000082F-B1B9-4BDE-A581-DFBD1F6389AC}"/>
              </c:ext>
            </c:extLst>
          </c:dPt>
          <c:dPt>
            <c:idx val="1047"/>
            <c:invertIfNegative val="1"/>
            <c:bubble3D val="0"/>
            <c:spPr>
              <a:solidFill>
                <a:srgbClr val="AEABAB"/>
              </a:solidFill>
            </c:spPr>
            <c:extLst>
              <c:ext xmlns:c16="http://schemas.microsoft.com/office/drawing/2014/chart" uri="{C3380CC4-5D6E-409C-BE32-E72D297353CC}">
                <c16:uniqueId val="{00000831-B1B9-4BDE-A581-DFBD1F6389AC}"/>
              </c:ext>
            </c:extLst>
          </c:dPt>
          <c:dPt>
            <c:idx val="1048"/>
            <c:invertIfNegative val="1"/>
            <c:bubble3D val="0"/>
            <c:spPr>
              <a:solidFill>
                <a:srgbClr val="AEABAB"/>
              </a:solidFill>
            </c:spPr>
            <c:extLst>
              <c:ext xmlns:c16="http://schemas.microsoft.com/office/drawing/2014/chart" uri="{C3380CC4-5D6E-409C-BE32-E72D297353CC}">
                <c16:uniqueId val="{00000833-B1B9-4BDE-A581-DFBD1F6389AC}"/>
              </c:ext>
            </c:extLst>
          </c:dPt>
          <c:dPt>
            <c:idx val="1049"/>
            <c:invertIfNegative val="1"/>
            <c:bubble3D val="0"/>
            <c:spPr>
              <a:solidFill>
                <a:srgbClr val="AEABAB"/>
              </a:solidFill>
            </c:spPr>
            <c:extLst>
              <c:ext xmlns:c16="http://schemas.microsoft.com/office/drawing/2014/chart" uri="{C3380CC4-5D6E-409C-BE32-E72D297353CC}">
                <c16:uniqueId val="{00000835-B1B9-4BDE-A581-DFBD1F6389AC}"/>
              </c:ext>
            </c:extLst>
          </c:dPt>
          <c:dPt>
            <c:idx val="1050"/>
            <c:invertIfNegative val="1"/>
            <c:bubble3D val="0"/>
            <c:spPr>
              <a:solidFill>
                <a:srgbClr val="AEABAB"/>
              </a:solidFill>
            </c:spPr>
            <c:extLst>
              <c:ext xmlns:c16="http://schemas.microsoft.com/office/drawing/2014/chart" uri="{C3380CC4-5D6E-409C-BE32-E72D297353CC}">
                <c16:uniqueId val="{00000837-B1B9-4BDE-A581-DFBD1F6389AC}"/>
              </c:ext>
            </c:extLst>
          </c:dPt>
          <c:dPt>
            <c:idx val="1051"/>
            <c:invertIfNegative val="1"/>
            <c:bubble3D val="0"/>
            <c:spPr>
              <a:solidFill>
                <a:srgbClr val="AEABAB"/>
              </a:solidFill>
            </c:spPr>
            <c:extLst>
              <c:ext xmlns:c16="http://schemas.microsoft.com/office/drawing/2014/chart" uri="{C3380CC4-5D6E-409C-BE32-E72D297353CC}">
                <c16:uniqueId val="{00000839-B1B9-4BDE-A581-DFBD1F6389AC}"/>
              </c:ext>
            </c:extLst>
          </c:dPt>
          <c:dPt>
            <c:idx val="1052"/>
            <c:invertIfNegative val="1"/>
            <c:bubble3D val="0"/>
            <c:spPr>
              <a:solidFill>
                <a:srgbClr val="AEABAB"/>
              </a:solidFill>
            </c:spPr>
            <c:extLst>
              <c:ext xmlns:c16="http://schemas.microsoft.com/office/drawing/2014/chart" uri="{C3380CC4-5D6E-409C-BE32-E72D297353CC}">
                <c16:uniqueId val="{0000083B-B1B9-4BDE-A581-DFBD1F6389AC}"/>
              </c:ext>
            </c:extLst>
          </c:dPt>
          <c:dPt>
            <c:idx val="1053"/>
            <c:invertIfNegative val="1"/>
            <c:bubble3D val="0"/>
            <c:spPr>
              <a:solidFill>
                <a:srgbClr val="AEABAB"/>
              </a:solidFill>
            </c:spPr>
            <c:extLst>
              <c:ext xmlns:c16="http://schemas.microsoft.com/office/drawing/2014/chart" uri="{C3380CC4-5D6E-409C-BE32-E72D297353CC}">
                <c16:uniqueId val="{0000083D-B1B9-4BDE-A581-DFBD1F6389AC}"/>
              </c:ext>
            </c:extLst>
          </c:dPt>
          <c:dPt>
            <c:idx val="1054"/>
            <c:invertIfNegative val="1"/>
            <c:bubble3D val="0"/>
            <c:spPr>
              <a:solidFill>
                <a:srgbClr val="AEABAB"/>
              </a:solidFill>
            </c:spPr>
            <c:extLst>
              <c:ext xmlns:c16="http://schemas.microsoft.com/office/drawing/2014/chart" uri="{C3380CC4-5D6E-409C-BE32-E72D297353CC}">
                <c16:uniqueId val="{0000083F-B1B9-4BDE-A581-DFBD1F6389AC}"/>
              </c:ext>
            </c:extLst>
          </c:dPt>
          <c:dPt>
            <c:idx val="1055"/>
            <c:invertIfNegative val="1"/>
            <c:bubble3D val="0"/>
            <c:spPr>
              <a:solidFill>
                <a:srgbClr val="AEABAB"/>
              </a:solidFill>
            </c:spPr>
            <c:extLst>
              <c:ext xmlns:c16="http://schemas.microsoft.com/office/drawing/2014/chart" uri="{C3380CC4-5D6E-409C-BE32-E72D297353CC}">
                <c16:uniqueId val="{00000841-B1B9-4BDE-A581-DFBD1F6389AC}"/>
              </c:ext>
            </c:extLst>
          </c:dPt>
          <c:dPt>
            <c:idx val="1056"/>
            <c:invertIfNegative val="1"/>
            <c:bubble3D val="0"/>
            <c:spPr>
              <a:solidFill>
                <a:srgbClr val="AEABAB"/>
              </a:solidFill>
            </c:spPr>
            <c:extLst>
              <c:ext xmlns:c16="http://schemas.microsoft.com/office/drawing/2014/chart" uri="{C3380CC4-5D6E-409C-BE32-E72D297353CC}">
                <c16:uniqueId val="{00000843-B1B9-4BDE-A581-DFBD1F6389AC}"/>
              </c:ext>
            </c:extLst>
          </c:dPt>
          <c:dPt>
            <c:idx val="1057"/>
            <c:invertIfNegative val="1"/>
            <c:bubble3D val="0"/>
            <c:spPr>
              <a:solidFill>
                <a:srgbClr val="AEABAB"/>
              </a:solidFill>
            </c:spPr>
            <c:extLst>
              <c:ext xmlns:c16="http://schemas.microsoft.com/office/drawing/2014/chart" uri="{C3380CC4-5D6E-409C-BE32-E72D297353CC}">
                <c16:uniqueId val="{00000845-B1B9-4BDE-A581-DFBD1F6389AC}"/>
              </c:ext>
            </c:extLst>
          </c:dPt>
          <c:dPt>
            <c:idx val="1058"/>
            <c:invertIfNegative val="1"/>
            <c:bubble3D val="0"/>
            <c:spPr>
              <a:solidFill>
                <a:srgbClr val="AEABAB"/>
              </a:solidFill>
            </c:spPr>
            <c:extLst>
              <c:ext xmlns:c16="http://schemas.microsoft.com/office/drawing/2014/chart" uri="{C3380CC4-5D6E-409C-BE32-E72D297353CC}">
                <c16:uniqueId val="{00000847-B1B9-4BDE-A581-DFBD1F6389AC}"/>
              </c:ext>
            </c:extLst>
          </c:dPt>
          <c:dPt>
            <c:idx val="1059"/>
            <c:invertIfNegative val="1"/>
            <c:bubble3D val="0"/>
            <c:spPr>
              <a:solidFill>
                <a:srgbClr val="AEABAB"/>
              </a:solidFill>
            </c:spPr>
            <c:extLst>
              <c:ext xmlns:c16="http://schemas.microsoft.com/office/drawing/2014/chart" uri="{C3380CC4-5D6E-409C-BE32-E72D297353CC}">
                <c16:uniqueId val="{00000849-B1B9-4BDE-A581-DFBD1F6389AC}"/>
              </c:ext>
            </c:extLst>
          </c:dPt>
          <c:dPt>
            <c:idx val="1060"/>
            <c:invertIfNegative val="1"/>
            <c:bubble3D val="0"/>
            <c:spPr>
              <a:solidFill>
                <a:srgbClr val="AEABAB"/>
              </a:solidFill>
            </c:spPr>
            <c:extLst>
              <c:ext xmlns:c16="http://schemas.microsoft.com/office/drawing/2014/chart" uri="{C3380CC4-5D6E-409C-BE32-E72D297353CC}">
                <c16:uniqueId val="{0000084B-B1B9-4BDE-A581-DFBD1F6389AC}"/>
              </c:ext>
            </c:extLst>
          </c:dPt>
          <c:dPt>
            <c:idx val="1061"/>
            <c:invertIfNegative val="1"/>
            <c:bubble3D val="0"/>
            <c:spPr>
              <a:solidFill>
                <a:srgbClr val="AEABAB"/>
              </a:solidFill>
            </c:spPr>
            <c:extLst>
              <c:ext xmlns:c16="http://schemas.microsoft.com/office/drawing/2014/chart" uri="{C3380CC4-5D6E-409C-BE32-E72D297353CC}">
                <c16:uniqueId val="{0000084D-B1B9-4BDE-A581-DFBD1F6389AC}"/>
              </c:ext>
            </c:extLst>
          </c:dPt>
          <c:dPt>
            <c:idx val="1062"/>
            <c:invertIfNegative val="1"/>
            <c:bubble3D val="0"/>
            <c:spPr>
              <a:solidFill>
                <a:srgbClr val="AEABAB"/>
              </a:solidFill>
            </c:spPr>
            <c:extLst>
              <c:ext xmlns:c16="http://schemas.microsoft.com/office/drawing/2014/chart" uri="{C3380CC4-5D6E-409C-BE32-E72D297353CC}">
                <c16:uniqueId val="{0000084F-B1B9-4BDE-A581-DFBD1F6389AC}"/>
              </c:ext>
            </c:extLst>
          </c:dPt>
          <c:dPt>
            <c:idx val="1063"/>
            <c:invertIfNegative val="1"/>
            <c:bubble3D val="0"/>
            <c:spPr>
              <a:solidFill>
                <a:srgbClr val="AEABAB"/>
              </a:solidFill>
            </c:spPr>
            <c:extLst>
              <c:ext xmlns:c16="http://schemas.microsoft.com/office/drawing/2014/chart" uri="{C3380CC4-5D6E-409C-BE32-E72D297353CC}">
                <c16:uniqueId val="{00000851-B1B9-4BDE-A581-DFBD1F6389AC}"/>
              </c:ext>
            </c:extLst>
          </c:dPt>
          <c:dPt>
            <c:idx val="1064"/>
            <c:invertIfNegative val="1"/>
            <c:bubble3D val="0"/>
            <c:spPr>
              <a:solidFill>
                <a:srgbClr val="AEABAB"/>
              </a:solidFill>
            </c:spPr>
            <c:extLst>
              <c:ext xmlns:c16="http://schemas.microsoft.com/office/drawing/2014/chart" uri="{C3380CC4-5D6E-409C-BE32-E72D297353CC}">
                <c16:uniqueId val="{00000853-B1B9-4BDE-A581-DFBD1F6389AC}"/>
              </c:ext>
            </c:extLst>
          </c:dPt>
          <c:dPt>
            <c:idx val="1065"/>
            <c:invertIfNegative val="1"/>
            <c:bubble3D val="0"/>
            <c:spPr>
              <a:solidFill>
                <a:srgbClr val="AEABAB"/>
              </a:solidFill>
            </c:spPr>
            <c:extLst>
              <c:ext xmlns:c16="http://schemas.microsoft.com/office/drawing/2014/chart" uri="{C3380CC4-5D6E-409C-BE32-E72D297353CC}">
                <c16:uniqueId val="{00000855-B1B9-4BDE-A581-DFBD1F6389AC}"/>
              </c:ext>
            </c:extLst>
          </c:dPt>
          <c:dPt>
            <c:idx val="1066"/>
            <c:invertIfNegative val="1"/>
            <c:bubble3D val="0"/>
            <c:spPr>
              <a:solidFill>
                <a:srgbClr val="AEABAB"/>
              </a:solidFill>
            </c:spPr>
            <c:extLst>
              <c:ext xmlns:c16="http://schemas.microsoft.com/office/drawing/2014/chart" uri="{C3380CC4-5D6E-409C-BE32-E72D297353CC}">
                <c16:uniqueId val="{00000857-B1B9-4BDE-A581-DFBD1F6389AC}"/>
              </c:ext>
            </c:extLst>
          </c:dPt>
          <c:dPt>
            <c:idx val="1067"/>
            <c:invertIfNegative val="1"/>
            <c:bubble3D val="0"/>
            <c:spPr>
              <a:solidFill>
                <a:srgbClr val="AEABAB"/>
              </a:solidFill>
            </c:spPr>
            <c:extLst>
              <c:ext xmlns:c16="http://schemas.microsoft.com/office/drawing/2014/chart" uri="{C3380CC4-5D6E-409C-BE32-E72D297353CC}">
                <c16:uniqueId val="{00000859-B1B9-4BDE-A581-DFBD1F6389AC}"/>
              </c:ext>
            </c:extLst>
          </c:dPt>
          <c:dPt>
            <c:idx val="1068"/>
            <c:invertIfNegative val="1"/>
            <c:bubble3D val="0"/>
            <c:spPr>
              <a:solidFill>
                <a:srgbClr val="AEABAB"/>
              </a:solidFill>
            </c:spPr>
            <c:extLst>
              <c:ext xmlns:c16="http://schemas.microsoft.com/office/drawing/2014/chart" uri="{C3380CC4-5D6E-409C-BE32-E72D297353CC}">
                <c16:uniqueId val="{0000085B-B1B9-4BDE-A581-DFBD1F6389AC}"/>
              </c:ext>
            </c:extLst>
          </c:dPt>
          <c:dPt>
            <c:idx val="1069"/>
            <c:invertIfNegative val="1"/>
            <c:bubble3D val="0"/>
            <c:spPr>
              <a:solidFill>
                <a:srgbClr val="AEABAB"/>
              </a:solidFill>
            </c:spPr>
            <c:extLst>
              <c:ext xmlns:c16="http://schemas.microsoft.com/office/drawing/2014/chart" uri="{C3380CC4-5D6E-409C-BE32-E72D297353CC}">
                <c16:uniqueId val="{0000085D-B1B9-4BDE-A581-DFBD1F6389AC}"/>
              </c:ext>
            </c:extLst>
          </c:dPt>
          <c:dPt>
            <c:idx val="1070"/>
            <c:invertIfNegative val="1"/>
            <c:bubble3D val="0"/>
            <c:spPr>
              <a:solidFill>
                <a:srgbClr val="AEABAB"/>
              </a:solidFill>
            </c:spPr>
            <c:extLst>
              <c:ext xmlns:c16="http://schemas.microsoft.com/office/drawing/2014/chart" uri="{C3380CC4-5D6E-409C-BE32-E72D297353CC}">
                <c16:uniqueId val="{0000085F-B1B9-4BDE-A581-DFBD1F6389AC}"/>
              </c:ext>
            </c:extLst>
          </c:dPt>
          <c:dPt>
            <c:idx val="1071"/>
            <c:invertIfNegative val="1"/>
            <c:bubble3D val="0"/>
            <c:spPr>
              <a:solidFill>
                <a:srgbClr val="AEABAB"/>
              </a:solidFill>
            </c:spPr>
            <c:extLst>
              <c:ext xmlns:c16="http://schemas.microsoft.com/office/drawing/2014/chart" uri="{C3380CC4-5D6E-409C-BE32-E72D297353CC}">
                <c16:uniqueId val="{00000861-B1B9-4BDE-A581-DFBD1F6389AC}"/>
              </c:ext>
            </c:extLst>
          </c:dPt>
          <c:dPt>
            <c:idx val="1072"/>
            <c:invertIfNegative val="1"/>
            <c:bubble3D val="0"/>
            <c:spPr>
              <a:solidFill>
                <a:srgbClr val="AEABAB"/>
              </a:solidFill>
            </c:spPr>
            <c:extLst>
              <c:ext xmlns:c16="http://schemas.microsoft.com/office/drawing/2014/chart" uri="{C3380CC4-5D6E-409C-BE32-E72D297353CC}">
                <c16:uniqueId val="{00000863-B1B9-4BDE-A581-DFBD1F6389AC}"/>
              </c:ext>
            </c:extLst>
          </c:dPt>
          <c:dPt>
            <c:idx val="1073"/>
            <c:invertIfNegative val="1"/>
            <c:bubble3D val="0"/>
            <c:spPr>
              <a:solidFill>
                <a:srgbClr val="AEABAB"/>
              </a:solidFill>
            </c:spPr>
            <c:extLst>
              <c:ext xmlns:c16="http://schemas.microsoft.com/office/drawing/2014/chart" uri="{C3380CC4-5D6E-409C-BE32-E72D297353CC}">
                <c16:uniqueId val="{00000865-B1B9-4BDE-A581-DFBD1F6389AC}"/>
              </c:ext>
            </c:extLst>
          </c:dPt>
          <c:dPt>
            <c:idx val="1074"/>
            <c:invertIfNegative val="1"/>
            <c:bubble3D val="0"/>
            <c:spPr>
              <a:solidFill>
                <a:srgbClr val="AEABAB"/>
              </a:solidFill>
            </c:spPr>
            <c:extLst>
              <c:ext xmlns:c16="http://schemas.microsoft.com/office/drawing/2014/chart" uri="{C3380CC4-5D6E-409C-BE32-E72D297353CC}">
                <c16:uniqueId val="{00000867-B1B9-4BDE-A581-DFBD1F6389AC}"/>
              </c:ext>
            </c:extLst>
          </c:dPt>
          <c:dPt>
            <c:idx val="1075"/>
            <c:invertIfNegative val="1"/>
            <c:bubble3D val="0"/>
            <c:spPr>
              <a:solidFill>
                <a:srgbClr val="AEABAB"/>
              </a:solidFill>
            </c:spPr>
            <c:extLst>
              <c:ext xmlns:c16="http://schemas.microsoft.com/office/drawing/2014/chart" uri="{C3380CC4-5D6E-409C-BE32-E72D297353CC}">
                <c16:uniqueId val="{00000869-B1B9-4BDE-A581-DFBD1F6389AC}"/>
              </c:ext>
            </c:extLst>
          </c:dPt>
          <c:dPt>
            <c:idx val="1076"/>
            <c:invertIfNegative val="1"/>
            <c:bubble3D val="0"/>
            <c:spPr>
              <a:solidFill>
                <a:srgbClr val="AEABAB"/>
              </a:solidFill>
            </c:spPr>
            <c:extLst>
              <c:ext xmlns:c16="http://schemas.microsoft.com/office/drawing/2014/chart" uri="{C3380CC4-5D6E-409C-BE32-E72D297353CC}">
                <c16:uniqueId val="{0000086B-B1B9-4BDE-A581-DFBD1F6389AC}"/>
              </c:ext>
            </c:extLst>
          </c:dPt>
          <c:dPt>
            <c:idx val="1077"/>
            <c:invertIfNegative val="1"/>
            <c:bubble3D val="0"/>
            <c:spPr>
              <a:solidFill>
                <a:srgbClr val="AEABAB"/>
              </a:solidFill>
            </c:spPr>
            <c:extLst>
              <c:ext xmlns:c16="http://schemas.microsoft.com/office/drawing/2014/chart" uri="{C3380CC4-5D6E-409C-BE32-E72D297353CC}">
                <c16:uniqueId val="{0000086D-B1B9-4BDE-A581-DFBD1F6389AC}"/>
              </c:ext>
            </c:extLst>
          </c:dPt>
          <c:dPt>
            <c:idx val="1078"/>
            <c:invertIfNegative val="1"/>
            <c:bubble3D val="0"/>
            <c:spPr>
              <a:solidFill>
                <a:srgbClr val="AEABAB"/>
              </a:solidFill>
            </c:spPr>
            <c:extLst>
              <c:ext xmlns:c16="http://schemas.microsoft.com/office/drawing/2014/chart" uri="{C3380CC4-5D6E-409C-BE32-E72D297353CC}">
                <c16:uniqueId val="{0000086F-B1B9-4BDE-A581-DFBD1F6389AC}"/>
              </c:ext>
            </c:extLst>
          </c:dPt>
          <c:dPt>
            <c:idx val="1079"/>
            <c:invertIfNegative val="1"/>
            <c:bubble3D val="0"/>
            <c:spPr>
              <a:solidFill>
                <a:srgbClr val="AEABAB"/>
              </a:solidFill>
            </c:spPr>
            <c:extLst>
              <c:ext xmlns:c16="http://schemas.microsoft.com/office/drawing/2014/chart" uri="{C3380CC4-5D6E-409C-BE32-E72D297353CC}">
                <c16:uniqueId val="{00000871-B1B9-4BDE-A581-DFBD1F6389AC}"/>
              </c:ext>
            </c:extLst>
          </c:dPt>
          <c:dPt>
            <c:idx val="1080"/>
            <c:invertIfNegative val="1"/>
            <c:bubble3D val="0"/>
            <c:spPr>
              <a:solidFill>
                <a:srgbClr val="AEABAB"/>
              </a:solidFill>
            </c:spPr>
            <c:extLst>
              <c:ext xmlns:c16="http://schemas.microsoft.com/office/drawing/2014/chart" uri="{C3380CC4-5D6E-409C-BE32-E72D297353CC}">
                <c16:uniqueId val="{00000873-B1B9-4BDE-A581-DFBD1F6389AC}"/>
              </c:ext>
            </c:extLst>
          </c:dPt>
          <c:dPt>
            <c:idx val="1081"/>
            <c:invertIfNegative val="1"/>
            <c:bubble3D val="0"/>
            <c:spPr>
              <a:solidFill>
                <a:srgbClr val="AEABAB"/>
              </a:solidFill>
            </c:spPr>
            <c:extLst>
              <c:ext xmlns:c16="http://schemas.microsoft.com/office/drawing/2014/chart" uri="{C3380CC4-5D6E-409C-BE32-E72D297353CC}">
                <c16:uniqueId val="{00000875-B1B9-4BDE-A581-DFBD1F6389AC}"/>
              </c:ext>
            </c:extLst>
          </c:dPt>
          <c:dPt>
            <c:idx val="1082"/>
            <c:invertIfNegative val="1"/>
            <c:bubble3D val="0"/>
            <c:spPr>
              <a:solidFill>
                <a:srgbClr val="AEABAB"/>
              </a:solidFill>
            </c:spPr>
            <c:extLst>
              <c:ext xmlns:c16="http://schemas.microsoft.com/office/drawing/2014/chart" uri="{C3380CC4-5D6E-409C-BE32-E72D297353CC}">
                <c16:uniqueId val="{00000877-B1B9-4BDE-A581-DFBD1F6389AC}"/>
              </c:ext>
            </c:extLst>
          </c:dPt>
          <c:dPt>
            <c:idx val="1083"/>
            <c:invertIfNegative val="1"/>
            <c:bubble3D val="0"/>
            <c:spPr>
              <a:solidFill>
                <a:srgbClr val="AEABAB"/>
              </a:solidFill>
            </c:spPr>
            <c:extLst>
              <c:ext xmlns:c16="http://schemas.microsoft.com/office/drawing/2014/chart" uri="{C3380CC4-5D6E-409C-BE32-E72D297353CC}">
                <c16:uniqueId val="{00000879-B1B9-4BDE-A581-DFBD1F6389AC}"/>
              </c:ext>
            </c:extLst>
          </c:dPt>
          <c:dPt>
            <c:idx val="1084"/>
            <c:invertIfNegative val="1"/>
            <c:bubble3D val="0"/>
            <c:spPr>
              <a:solidFill>
                <a:srgbClr val="AEABAB"/>
              </a:solidFill>
            </c:spPr>
            <c:extLst>
              <c:ext xmlns:c16="http://schemas.microsoft.com/office/drawing/2014/chart" uri="{C3380CC4-5D6E-409C-BE32-E72D297353CC}">
                <c16:uniqueId val="{0000087B-B1B9-4BDE-A581-DFBD1F6389AC}"/>
              </c:ext>
            </c:extLst>
          </c:dPt>
          <c:dPt>
            <c:idx val="1085"/>
            <c:invertIfNegative val="1"/>
            <c:bubble3D val="0"/>
            <c:spPr>
              <a:solidFill>
                <a:srgbClr val="AEABAB"/>
              </a:solidFill>
            </c:spPr>
            <c:extLst>
              <c:ext xmlns:c16="http://schemas.microsoft.com/office/drawing/2014/chart" uri="{C3380CC4-5D6E-409C-BE32-E72D297353CC}">
                <c16:uniqueId val="{0000087D-B1B9-4BDE-A581-DFBD1F6389AC}"/>
              </c:ext>
            </c:extLst>
          </c:dPt>
          <c:dPt>
            <c:idx val="1086"/>
            <c:invertIfNegative val="1"/>
            <c:bubble3D val="0"/>
            <c:spPr>
              <a:solidFill>
                <a:srgbClr val="AEABAB"/>
              </a:solidFill>
            </c:spPr>
            <c:extLst>
              <c:ext xmlns:c16="http://schemas.microsoft.com/office/drawing/2014/chart" uri="{C3380CC4-5D6E-409C-BE32-E72D297353CC}">
                <c16:uniqueId val="{0000087F-B1B9-4BDE-A581-DFBD1F6389AC}"/>
              </c:ext>
            </c:extLst>
          </c:dPt>
          <c:dPt>
            <c:idx val="1087"/>
            <c:invertIfNegative val="1"/>
            <c:bubble3D val="0"/>
            <c:spPr>
              <a:solidFill>
                <a:srgbClr val="AEABAB"/>
              </a:solidFill>
            </c:spPr>
            <c:extLst>
              <c:ext xmlns:c16="http://schemas.microsoft.com/office/drawing/2014/chart" uri="{C3380CC4-5D6E-409C-BE32-E72D297353CC}">
                <c16:uniqueId val="{00000881-B1B9-4BDE-A581-DFBD1F6389AC}"/>
              </c:ext>
            </c:extLst>
          </c:dPt>
          <c:dPt>
            <c:idx val="1088"/>
            <c:invertIfNegative val="1"/>
            <c:bubble3D val="0"/>
            <c:spPr>
              <a:solidFill>
                <a:srgbClr val="AEABAB"/>
              </a:solidFill>
            </c:spPr>
            <c:extLst>
              <c:ext xmlns:c16="http://schemas.microsoft.com/office/drawing/2014/chart" uri="{C3380CC4-5D6E-409C-BE32-E72D297353CC}">
                <c16:uniqueId val="{00000883-B1B9-4BDE-A581-DFBD1F6389AC}"/>
              </c:ext>
            </c:extLst>
          </c:dPt>
          <c:dPt>
            <c:idx val="1089"/>
            <c:invertIfNegative val="1"/>
            <c:bubble3D val="0"/>
            <c:spPr>
              <a:solidFill>
                <a:srgbClr val="AEABAB"/>
              </a:solidFill>
            </c:spPr>
            <c:extLst>
              <c:ext xmlns:c16="http://schemas.microsoft.com/office/drawing/2014/chart" uri="{C3380CC4-5D6E-409C-BE32-E72D297353CC}">
                <c16:uniqueId val="{00000885-B1B9-4BDE-A581-DFBD1F6389AC}"/>
              </c:ext>
            </c:extLst>
          </c:dPt>
          <c:dPt>
            <c:idx val="1090"/>
            <c:invertIfNegative val="1"/>
            <c:bubble3D val="0"/>
            <c:spPr>
              <a:solidFill>
                <a:srgbClr val="AEABAB"/>
              </a:solidFill>
            </c:spPr>
            <c:extLst>
              <c:ext xmlns:c16="http://schemas.microsoft.com/office/drawing/2014/chart" uri="{C3380CC4-5D6E-409C-BE32-E72D297353CC}">
                <c16:uniqueId val="{00000887-B1B9-4BDE-A581-DFBD1F6389AC}"/>
              </c:ext>
            </c:extLst>
          </c:dPt>
          <c:dPt>
            <c:idx val="1091"/>
            <c:invertIfNegative val="1"/>
            <c:bubble3D val="0"/>
            <c:spPr>
              <a:solidFill>
                <a:srgbClr val="AEABAB"/>
              </a:solidFill>
            </c:spPr>
            <c:extLst>
              <c:ext xmlns:c16="http://schemas.microsoft.com/office/drawing/2014/chart" uri="{C3380CC4-5D6E-409C-BE32-E72D297353CC}">
                <c16:uniqueId val="{00000889-B1B9-4BDE-A581-DFBD1F6389AC}"/>
              </c:ext>
            </c:extLst>
          </c:dPt>
          <c:dPt>
            <c:idx val="1092"/>
            <c:invertIfNegative val="1"/>
            <c:bubble3D val="0"/>
            <c:spPr>
              <a:solidFill>
                <a:srgbClr val="AEABAB"/>
              </a:solidFill>
            </c:spPr>
            <c:extLst>
              <c:ext xmlns:c16="http://schemas.microsoft.com/office/drawing/2014/chart" uri="{C3380CC4-5D6E-409C-BE32-E72D297353CC}">
                <c16:uniqueId val="{0000088B-B1B9-4BDE-A581-DFBD1F6389AC}"/>
              </c:ext>
            </c:extLst>
          </c:dPt>
          <c:dPt>
            <c:idx val="1093"/>
            <c:invertIfNegative val="1"/>
            <c:bubble3D val="0"/>
            <c:spPr>
              <a:solidFill>
                <a:srgbClr val="AEABAB"/>
              </a:solidFill>
            </c:spPr>
            <c:extLst>
              <c:ext xmlns:c16="http://schemas.microsoft.com/office/drawing/2014/chart" uri="{C3380CC4-5D6E-409C-BE32-E72D297353CC}">
                <c16:uniqueId val="{0000088D-B1B9-4BDE-A581-DFBD1F6389AC}"/>
              </c:ext>
            </c:extLst>
          </c:dPt>
          <c:dPt>
            <c:idx val="1094"/>
            <c:invertIfNegative val="1"/>
            <c:bubble3D val="0"/>
            <c:spPr>
              <a:solidFill>
                <a:srgbClr val="AEABAB"/>
              </a:solidFill>
            </c:spPr>
            <c:extLst>
              <c:ext xmlns:c16="http://schemas.microsoft.com/office/drawing/2014/chart" uri="{C3380CC4-5D6E-409C-BE32-E72D297353CC}">
                <c16:uniqueId val="{0000088F-B1B9-4BDE-A581-DFBD1F6389AC}"/>
              </c:ext>
            </c:extLst>
          </c:dPt>
          <c:dPt>
            <c:idx val="1095"/>
            <c:invertIfNegative val="1"/>
            <c:bubble3D val="0"/>
            <c:spPr>
              <a:solidFill>
                <a:srgbClr val="AEABAB"/>
              </a:solidFill>
            </c:spPr>
            <c:extLst>
              <c:ext xmlns:c16="http://schemas.microsoft.com/office/drawing/2014/chart" uri="{C3380CC4-5D6E-409C-BE32-E72D297353CC}">
                <c16:uniqueId val="{00000891-B1B9-4BDE-A581-DFBD1F6389AC}"/>
              </c:ext>
            </c:extLst>
          </c:dPt>
          <c:dPt>
            <c:idx val="1096"/>
            <c:invertIfNegative val="1"/>
            <c:bubble3D val="0"/>
            <c:spPr>
              <a:solidFill>
                <a:srgbClr val="AEABAB"/>
              </a:solidFill>
            </c:spPr>
            <c:extLst>
              <c:ext xmlns:c16="http://schemas.microsoft.com/office/drawing/2014/chart" uri="{C3380CC4-5D6E-409C-BE32-E72D297353CC}">
                <c16:uniqueId val="{00000893-B1B9-4BDE-A581-DFBD1F6389AC}"/>
              </c:ext>
            </c:extLst>
          </c:dPt>
          <c:dPt>
            <c:idx val="1097"/>
            <c:invertIfNegative val="1"/>
            <c:bubble3D val="0"/>
            <c:spPr>
              <a:solidFill>
                <a:srgbClr val="AEABAB"/>
              </a:solidFill>
            </c:spPr>
            <c:extLst>
              <c:ext xmlns:c16="http://schemas.microsoft.com/office/drawing/2014/chart" uri="{C3380CC4-5D6E-409C-BE32-E72D297353CC}">
                <c16:uniqueId val="{00000895-B1B9-4BDE-A581-DFBD1F6389AC}"/>
              </c:ext>
            </c:extLst>
          </c:dPt>
          <c:dPt>
            <c:idx val="1098"/>
            <c:invertIfNegative val="1"/>
            <c:bubble3D val="0"/>
            <c:spPr>
              <a:solidFill>
                <a:srgbClr val="AEABAB"/>
              </a:solidFill>
            </c:spPr>
            <c:extLst>
              <c:ext xmlns:c16="http://schemas.microsoft.com/office/drawing/2014/chart" uri="{C3380CC4-5D6E-409C-BE32-E72D297353CC}">
                <c16:uniqueId val="{00000897-B1B9-4BDE-A581-DFBD1F6389AC}"/>
              </c:ext>
            </c:extLst>
          </c:dPt>
          <c:dPt>
            <c:idx val="1099"/>
            <c:invertIfNegative val="1"/>
            <c:bubble3D val="0"/>
            <c:spPr>
              <a:solidFill>
                <a:srgbClr val="AEABAB"/>
              </a:solidFill>
            </c:spPr>
            <c:extLst>
              <c:ext xmlns:c16="http://schemas.microsoft.com/office/drawing/2014/chart" uri="{C3380CC4-5D6E-409C-BE32-E72D297353CC}">
                <c16:uniqueId val="{00000899-B1B9-4BDE-A581-DFBD1F6389AC}"/>
              </c:ext>
            </c:extLst>
          </c:dPt>
          <c:dPt>
            <c:idx val="1100"/>
            <c:invertIfNegative val="1"/>
            <c:bubble3D val="0"/>
            <c:spPr>
              <a:solidFill>
                <a:srgbClr val="AEABAB"/>
              </a:solidFill>
            </c:spPr>
            <c:extLst>
              <c:ext xmlns:c16="http://schemas.microsoft.com/office/drawing/2014/chart" uri="{C3380CC4-5D6E-409C-BE32-E72D297353CC}">
                <c16:uniqueId val="{0000089B-B1B9-4BDE-A581-DFBD1F6389AC}"/>
              </c:ext>
            </c:extLst>
          </c:dPt>
          <c:dPt>
            <c:idx val="1101"/>
            <c:invertIfNegative val="1"/>
            <c:bubble3D val="0"/>
            <c:spPr>
              <a:solidFill>
                <a:srgbClr val="AEABAB"/>
              </a:solidFill>
            </c:spPr>
            <c:extLst>
              <c:ext xmlns:c16="http://schemas.microsoft.com/office/drawing/2014/chart" uri="{C3380CC4-5D6E-409C-BE32-E72D297353CC}">
                <c16:uniqueId val="{0000089D-B1B9-4BDE-A581-DFBD1F6389AC}"/>
              </c:ext>
            </c:extLst>
          </c:dPt>
          <c:dPt>
            <c:idx val="1102"/>
            <c:invertIfNegative val="1"/>
            <c:bubble3D val="0"/>
            <c:spPr>
              <a:solidFill>
                <a:srgbClr val="AEABAB"/>
              </a:solidFill>
            </c:spPr>
            <c:extLst>
              <c:ext xmlns:c16="http://schemas.microsoft.com/office/drawing/2014/chart" uri="{C3380CC4-5D6E-409C-BE32-E72D297353CC}">
                <c16:uniqueId val="{0000089F-B1B9-4BDE-A581-DFBD1F6389AC}"/>
              </c:ext>
            </c:extLst>
          </c:dPt>
          <c:dPt>
            <c:idx val="1103"/>
            <c:invertIfNegative val="1"/>
            <c:bubble3D val="0"/>
            <c:spPr>
              <a:solidFill>
                <a:srgbClr val="AEABAB"/>
              </a:solidFill>
            </c:spPr>
            <c:extLst>
              <c:ext xmlns:c16="http://schemas.microsoft.com/office/drawing/2014/chart" uri="{C3380CC4-5D6E-409C-BE32-E72D297353CC}">
                <c16:uniqueId val="{000008A1-B1B9-4BDE-A581-DFBD1F6389AC}"/>
              </c:ext>
            </c:extLst>
          </c:dPt>
          <c:dPt>
            <c:idx val="1104"/>
            <c:invertIfNegative val="1"/>
            <c:bubble3D val="0"/>
            <c:spPr>
              <a:solidFill>
                <a:srgbClr val="AEABAB"/>
              </a:solidFill>
            </c:spPr>
            <c:extLst>
              <c:ext xmlns:c16="http://schemas.microsoft.com/office/drawing/2014/chart" uri="{C3380CC4-5D6E-409C-BE32-E72D297353CC}">
                <c16:uniqueId val="{000008A3-B1B9-4BDE-A581-DFBD1F6389AC}"/>
              </c:ext>
            </c:extLst>
          </c:dPt>
          <c:dPt>
            <c:idx val="1105"/>
            <c:invertIfNegative val="1"/>
            <c:bubble3D val="0"/>
            <c:spPr>
              <a:solidFill>
                <a:srgbClr val="AEABAB"/>
              </a:solidFill>
            </c:spPr>
            <c:extLst>
              <c:ext xmlns:c16="http://schemas.microsoft.com/office/drawing/2014/chart" uri="{C3380CC4-5D6E-409C-BE32-E72D297353CC}">
                <c16:uniqueId val="{000008A5-B1B9-4BDE-A581-DFBD1F6389AC}"/>
              </c:ext>
            </c:extLst>
          </c:dPt>
          <c:dPt>
            <c:idx val="1106"/>
            <c:invertIfNegative val="1"/>
            <c:bubble3D val="0"/>
            <c:spPr>
              <a:solidFill>
                <a:srgbClr val="AEABAB"/>
              </a:solidFill>
            </c:spPr>
            <c:extLst>
              <c:ext xmlns:c16="http://schemas.microsoft.com/office/drawing/2014/chart" uri="{C3380CC4-5D6E-409C-BE32-E72D297353CC}">
                <c16:uniqueId val="{000008A7-B1B9-4BDE-A581-DFBD1F6389AC}"/>
              </c:ext>
            </c:extLst>
          </c:dPt>
          <c:dPt>
            <c:idx val="1107"/>
            <c:invertIfNegative val="1"/>
            <c:bubble3D val="0"/>
            <c:spPr>
              <a:solidFill>
                <a:srgbClr val="AEABAB"/>
              </a:solidFill>
            </c:spPr>
            <c:extLst>
              <c:ext xmlns:c16="http://schemas.microsoft.com/office/drawing/2014/chart" uri="{C3380CC4-5D6E-409C-BE32-E72D297353CC}">
                <c16:uniqueId val="{000008A9-B1B9-4BDE-A581-DFBD1F6389AC}"/>
              </c:ext>
            </c:extLst>
          </c:dPt>
          <c:dPt>
            <c:idx val="1108"/>
            <c:invertIfNegative val="1"/>
            <c:bubble3D val="0"/>
            <c:spPr>
              <a:solidFill>
                <a:srgbClr val="AEABAB"/>
              </a:solidFill>
            </c:spPr>
            <c:extLst>
              <c:ext xmlns:c16="http://schemas.microsoft.com/office/drawing/2014/chart" uri="{C3380CC4-5D6E-409C-BE32-E72D297353CC}">
                <c16:uniqueId val="{000008AB-B1B9-4BDE-A581-DFBD1F6389AC}"/>
              </c:ext>
            </c:extLst>
          </c:dPt>
          <c:dPt>
            <c:idx val="1109"/>
            <c:invertIfNegative val="1"/>
            <c:bubble3D val="0"/>
            <c:spPr>
              <a:solidFill>
                <a:srgbClr val="AEABAB"/>
              </a:solidFill>
            </c:spPr>
            <c:extLst>
              <c:ext xmlns:c16="http://schemas.microsoft.com/office/drawing/2014/chart" uri="{C3380CC4-5D6E-409C-BE32-E72D297353CC}">
                <c16:uniqueId val="{000008AD-B1B9-4BDE-A581-DFBD1F6389AC}"/>
              </c:ext>
            </c:extLst>
          </c:dPt>
          <c:dPt>
            <c:idx val="1110"/>
            <c:invertIfNegative val="1"/>
            <c:bubble3D val="0"/>
            <c:spPr>
              <a:solidFill>
                <a:srgbClr val="AEABAB"/>
              </a:solidFill>
            </c:spPr>
            <c:extLst>
              <c:ext xmlns:c16="http://schemas.microsoft.com/office/drawing/2014/chart" uri="{C3380CC4-5D6E-409C-BE32-E72D297353CC}">
                <c16:uniqueId val="{000008AF-B1B9-4BDE-A581-DFBD1F6389AC}"/>
              </c:ext>
            </c:extLst>
          </c:dPt>
          <c:dPt>
            <c:idx val="1111"/>
            <c:invertIfNegative val="1"/>
            <c:bubble3D val="0"/>
            <c:spPr>
              <a:solidFill>
                <a:srgbClr val="AEABAB"/>
              </a:solidFill>
            </c:spPr>
            <c:extLst>
              <c:ext xmlns:c16="http://schemas.microsoft.com/office/drawing/2014/chart" uri="{C3380CC4-5D6E-409C-BE32-E72D297353CC}">
                <c16:uniqueId val="{000008B1-B1B9-4BDE-A581-DFBD1F6389AC}"/>
              </c:ext>
            </c:extLst>
          </c:dPt>
          <c:dPt>
            <c:idx val="1112"/>
            <c:invertIfNegative val="1"/>
            <c:bubble3D val="0"/>
            <c:spPr>
              <a:solidFill>
                <a:srgbClr val="AEABAB"/>
              </a:solidFill>
            </c:spPr>
            <c:extLst>
              <c:ext xmlns:c16="http://schemas.microsoft.com/office/drawing/2014/chart" uri="{C3380CC4-5D6E-409C-BE32-E72D297353CC}">
                <c16:uniqueId val="{000008B3-B1B9-4BDE-A581-DFBD1F6389AC}"/>
              </c:ext>
            </c:extLst>
          </c:dPt>
          <c:dPt>
            <c:idx val="1113"/>
            <c:invertIfNegative val="1"/>
            <c:bubble3D val="0"/>
            <c:spPr>
              <a:solidFill>
                <a:srgbClr val="AEABAB"/>
              </a:solidFill>
            </c:spPr>
            <c:extLst>
              <c:ext xmlns:c16="http://schemas.microsoft.com/office/drawing/2014/chart" uri="{C3380CC4-5D6E-409C-BE32-E72D297353CC}">
                <c16:uniqueId val="{000008B5-B1B9-4BDE-A581-DFBD1F6389AC}"/>
              </c:ext>
            </c:extLst>
          </c:dPt>
          <c:dPt>
            <c:idx val="1114"/>
            <c:invertIfNegative val="1"/>
            <c:bubble3D val="0"/>
            <c:spPr>
              <a:solidFill>
                <a:srgbClr val="AEABAB"/>
              </a:solidFill>
            </c:spPr>
            <c:extLst>
              <c:ext xmlns:c16="http://schemas.microsoft.com/office/drawing/2014/chart" uri="{C3380CC4-5D6E-409C-BE32-E72D297353CC}">
                <c16:uniqueId val="{000008B7-B1B9-4BDE-A581-DFBD1F6389AC}"/>
              </c:ext>
            </c:extLst>
          </c:dPt>
          <c:dPt>
            <c:idx val="1115"/>
            <c:invertIfNegative val="1"/>
            <c:bubble3D val="0"/>
            <c:spPr>
              <a:solidFill>
                <a:srgbClr val="AEABAB"/>
              </a:solidFill>
            </c:spPr>
            <c:extLst>
              <c:ext xmlns:c16="http://schemas.microsoft.com/office/drawing/2014/chart" uri="{C3380CC4-5D6E-409C-BE32-E72D297353CC}">
                <c16:uniqueId val="{000008B9-B1B9-4BDE-A581-DFBD1F6389AC}"/>
              </c:ext>
            </c:extLst>
          </c:dPt>
          <c:dPt>
            <c:idx val="1116"/>
            <c:invertIfNegative val="1"/>
            <c:bubble3D val="0"/>
            <c:spPr>
              <a:solidFill>
                <a:srgbClr val="AEABAB"/>
              </a:solidFill>
            </c:spPr>
            <c:extLst>
              <c:ext xmlns:c16="http://schemas.microsoft.com/office/drawing/2014/chart" uri="{C3380CC4-5D6E-409C-BE32-E72D297353CC}">
                <c16:uniqueId val="{000008BB-B1B9-4BDE-A581-DFBD1F6389AC}"/>
              </c:ext>
            </c:extLst>
          </c:dPt>
          <c:dPt>
            <c:idx val="1117"/>
            <c:invertIfNegative val="1"/>
            <c:bubble3D val="0"/>
            <c:spPr>
              <a:solidFill>
                <a:srgbClr val="AEABAB"/>
              </a:solidFill>
            </c:spPr>
            <c:extLst>
              <c:ext xmlns:c16="http://schemas.microsoft.com/office/drawing/2014/chart" uri="{C3380CC4-5D6E-409C-BE32-E72D297353CC}">
                <c16:uniqueId val="{000008BD-B1B9-4BDE-A581-DFBD1F6389AC}"/>
              </c:ext>
            </c:extLst>
          </c:dPt>
          <c:dPt>
            <c:idx val="1118"/>
            <c:invertIfNegative val="1"/>
            <c:bubble3D val="0"/>
            <c:spPr>
              <a:solidFill>
                <a:srgbClr val="AEABAB"/>
              </a:solidFill>
            </c:spPr>
            <c:extLst>
              <c:ext xmlns:c16="http://schemas.microsoft.com/office/drawing/2014/chart" uri="{C3380CC4-5D6E-409C-BE32-E72D297353CC}">
                <c16:uniqueId val="{000008BF-B1B9-4BDE-A581-DFBD1F6389AC}"/>
              </c:ext>
            </c:extLst>
          </c:dPt>
          <c:dPt>
            <c:idx val="1119"/>
            <c:invertIfNegative val="1"/>
            <c:bubble3D val="0"/>
            <c:spPr>
              <a:solidFill>
                <a:srgbClr val="AEABAB"/>
              </a:solidFill>
            </c:spPr>
            <c:extLst>
              <c:ext xmlns:c16="http://schemas.microsoft.com/office/drawing/2014/chart" uri="{C3380CC4-5D6E-409C-BE32-E72D297353CC}">
                <c16:uniqueId val="{000008C1-B1B9-4BDE-A581-DFBD1F6389AC}"/>
              </c:ext>
            </c:extLst>
          </c:dPt>
          <c:dPt>
            <c:idx val="1120"/>
            <c:invertIfNegative val="1"/>
            <c:bubble3D val="0"/>
            <c:spPr>
              <a:solidFill>
                <a:srgbClr val="AEABAB"/>
              </a:solidFill>
            </c:spPr>
            <c:extLst>
              <c:ext xmlns:c16="http://schemas.microsoft.com/office/drawing/2014/chart" uri="{C3380CC4-5D6E-409C-BE32-E72D297353CC}">
                <c16:uniqueId val="{000008C3-B1B9-4BDE-A581-DFBD1F6389AC}"/>
              </c:ext>
            </c:extLst>
          </c:dPt>
          <c:dPt>
            <c:idx val="1121"/>
            <c:invertIfNegative val="1"/>
            <c:bubble3D val="0"/>
            <c:spPr>
              <a:solidFill>
                <a:srgbClr val="AEABAB"/>
              </a:solidFill>
            </c:spPr>
            <c:extLst>
              <c:ext xmlns:c16="http://schemas.microsoft.com/office/drawing/2014/chart" uri="{C3380CC4-5D6E-409C-BE32-E72D297353CC}">
                <c16:uniqueId val="{000008C5-B1B9-4BDE-A581-DFBD1F6389AC}"/>
              </c:ext>
            </c:extLst>
          </c:dPt>
          <c:dPt>
            <c:idx val="1122"/>
            <c:invertIfNegative val="1"/>
            <c:bubble3D val="0"/>
            <c:spPr>
              <a:solidFill>
                <a:srgbClr val="AEABAB"/>
              </a:solidFill>
            </c:spPr>
            <c:extLst>
              <c:ext xmlns:c16="http://schemas.microsoft.com/office/drawing/2014/chart" uri="{C3380CC4-5D6E-409C-BE32-E72D297353CC}">
                <c16:uniqueId val="{000008C7-B1B9-4BDE-A581-DFBD1F6389AC}"/>
              </c:ext>
            </c:extLst>
          </c:dPt>
          <c:dPt>
            <c:idx val="1123"/>
            <c:invertIfNegative val="1"/>
            <c:bubble3D val="0"/>
            <c:spPr>
              <a:solidFill>
                <a:srgbClr val="AEABAB"/>
              </a:solidFill>
            </c:spPr>
            <c:extLst>
              <c:ext xmlns:c16="http://schemas.microsoft.com/office/drawing/2014/chart" uri="{C3380CC4-5D6E-409C-BE32-E72D297353CC}">
                <c16:uniqueId val="{000008C9-B1B9-4BDE-A581-DFBD1F6389AC}"/>
              </c:ext>
            </c:extLst>
          </c:dPt>
          <c:dPt>
            <c:idx val="1124"/>
            <c:invertIfNegative val="1"/>
            <c:bubble3D val="0"/>
            <c:spPr>
              <a:solidFill>
                <a:srgbClr val="AEABAB"/>
              </a:solidFill>
            </c:spPr>
            <c:extLst>
              <c:ext xmlns:c16="http://schemas.microsoft.com/office/drawing/2014/chart" uri="{C3380CC4-5D6E-409C-BE32-E72D297353CC}">
                <c16:uniqueId val="{000008CB-B1B9-4BDE-A581-DFBD1F6389AC}"/>
              </c:ext>
            </c:extLst>
          </c:dPt>
          <c:dPt>
            <c:idx val="1125"/>
            <c:invertIfNegative val="1"/>
            <c:bubble3D val="0"/>
            <c:spPr>
              <a:solidFill>
                <a:srgbClr val="AEABAB"/>
              </a:solidFill>
            </c:spPr>
            <c:extLst>
              <c:ext xmlns:c16="http://schemas.microsoft.com/office/drawing/2014/chart" uri="{C3380CC4-5D6E-409C-BE32-E72D297353CC}">
                <c16:uniqueId val="{000008CD-B1B9-4BDE-A581-DFBD1F6389AC}"/>
              </c:ext>
            </c:extLst>
          </c:dPt>
          <c:dPt>
            <c:idx val="1126"/>
            <c:invertIfNegative val="1"/>
            <c:bubble3D val="0"/>
            <c:spPr>
              <a:solidFill>
                <a:srgbClr val="AEABAB"/>
              </a:solidFill>
            </c:spPr>
            <c:extLst>
              <c:ext xmlns:c16="http://schemas.microsoft.com/office/drawing/2014/chart" uri="{C3380CC4-5D6E-409C-BE32-E72D297353CC}">
                <c16:uniqueId val="{000008CF-B1B9-4BDE-A581-DFBD1F6389AC}"/>
              </c:ext>
            </c:extLst>
          </c:dPt>
          <c:dPt>
            <c:idx val="1127"/>
            <c:invertIfNegative val="1"/>
            <c:bubble3D val="0"/>
            <c:spPr>
              <a:solidFill>
                <a:srgbClr val="AEABAB"/>
              </a:solidFill>
            </c:spPr>
            <c:extLst>
              <c:ext xmlns:c16="http://schemas.microsoft.com/office/drawing/2014/chart" uri="{C3380CC4-5D6E-409C-BE32-E72D297353CC}">
                <c16:uniqueId val="{000008D1-B1B9-4BDE-A581-DFBD1F6389AC}"/>
              </c:ext>
            </c:extLst>
          </c:dPt>
          <c:dPt>
            <c:idx val="1128"/>
            <c:invertIfNegative val="1"/>
            <c:bubble3D val="0"/>
            <c:spPr>
              <a:solidFill>
                <a:srgbClr val="AEABAB"/>
              </a:solidFill>
            </c:spPr>
            <c:extLst>
              <c:ext xmlns:c16="http://schemas.microsoft.com/office/drawing/2014/chart" uri="{C3380CC4-5D6E-409C-BE32-E72D297353CC}">
                <c16:uniqueId val="{000008D3-B1B9-4BDE-A581-DFBD1F6389AC}"/>
              </c:ext>
            </c:extLst>
          </c:dPt>
          <c:dPt>
            <c:idx val="1129"/>
            <c:invertIfNegative val="1"/>
            <c:bubble3D val="0"/>
            <c:spPr>
              <a:solidFill>
                <a:srgbClr val="AEABAB"/>
              </a:solidFill>
            </c:spPr>
            <c:extLst>
              <c:ext xmlns:c16="http://schemas.microsoft.com/office/drawing/2014/chart" uri="{C3380CC4-5D6E-409C-BE32-E72D297353CC}">
                <c16:uniqueId val="{000008D5-B1B9-4BDE-A581-DFBD1F6389AC}"/>
              </c:ext>
            </c:extLst>
          </c:dPt>
          <c:dPt>
            <c:idx val="1130"/>
            <c:invertIfNegative val="1"/>
            <c:bubble3D val="0"/>
            <c:spPr>
              <a:solidFill>
                <a:srgbClr val="AEABAB"/>
              </a:solidFill>
            </c:spPr>
            <c:extLst>
              <c:ext xmlns:c16="http://schemas.microsoft.com/office/drawing/2014/chart" uri="{C3380CC4-5D6E-409C-BE32-E72D297353CC}">
                <c16:uniqueId val="{000008D7-B1B9-4BDE-A581-DFBD1F6389AC}"/>
              </c:ext>
            </c:extLst>
          </c:dPt>
          <c:dPt>
            <c:idx val="1131"/>
            <c:invertIfNegative val="1"/>
            <c:bubble3D val="0"/>
            <c:spPr>
              <a:solidFill>
                <a:srgbClr val="AEABAB"/>
              </a:solidFill>
            </c:spPr>
            <c:extLst>
              <c:ext xmlns:c16="http://schemas.microsoft.com/office/drawing/2014/chart" uri="{C3380CC4-5D6E-409C-BE32-E72D297353CC}">
                <c16:uniqueId val="{000008D9-B1B9-4BDE-A581-DFBD1F6389AC}"/>
              </c:ext>
            </c:extLst>
          </c:dPt>
          <c:dPt>
            <c:idx val="1132"/>
            <c:invertIfNegative val="1"/>
            <c:bubble3D val="0"/>
            <c:spPr>
              <a:solidFill>
                <a:srgbClr val="AEABAB"/>
              </a:solidFill>
            </c:spPr>
            <c:extLst>
              <c:ext xmlns:c16="http://schemas.microsoft.com/office/drawing/2014/chart" uri="{C3380CC4-5D6E-409C-BE32-E72D297353CC}">
                <c16:uniqueId val="{000008DB-B1B9-4BDE-A581-DFBD1F6389AC}"/>
              </c:ext>
            </c:extLst>
          </c:dPt>
          <c:dPt>
            <c:idx val="1133"/>
            <c:invertIfNegative val="1"/>
            <c:bubble3D val="0"/>
            <c:spPr>
              <a:solidFill>
                <a:srgbClr val="AEABAB"/>
              </a:solidFill>
            </c:spPr>
            <c:extLst>
              <c:ext xmlns:c16="http://schemas.microsoft.com/office/drawing/2014/chart" uri="{C3380CC4-5D6E-409C-BE32-E72D297353CC}">
                <c16:uniqueId val="{000008DD-B1B9-4BDE-A581-DFBD1F6389AC}"/>
              </c:ext>
            </c:extLst>
          </c:dPt>
          <c:dPt>
            <c:idx val="1134"/>
            <c:invertIfNegative val="1"/>
            <c:bubble3D val="0"/>
            <c:spPr>
              <a:solidFill>
                <a:srgbClr val="AEABAB"/>
              </a:solidFill>
            </c:spPr>
            <c:extLst>
              <c:ext xmlns:c16="http://schemas.microsoft.com/office/drawing/2014/chart" uri="{C3380CC4-5D6E-409C-BE32-E72D297353CC}">
                <c16:uniqueId val="{000008DF-B1B9-4BDE-A581-DFBD1F6389AC}"/>
              </c:ext>
            </c:extLst>
          </c:dPt>
          <c:dPt>
            <c:idx val="1135"/>
            <c:invertIfNegative val="1"/>
            <c:bubble3D val="0"/>
            <c:spPr>
              <a:solidFill>
                <a:srgbClr val="AEABAB"/>
              </a:solidFill>
            </c:spPr>
            <c:extLst>
              <c:ext xmlns:c16="http://schemas.microsoft.com/office/drawing/2014/chart" uri="{C3380CC4-5D6E-409C-BE32-E72D297353CC}">
                <c16:uniqueId val="{000008E1-B1B9-4BDE-A581-DFBD1F6389AC}"/>
              </c:ext>
            </c:extLst>
          </c:dPt>
          <c:dPt>
            <c:idx val="1136"/>
            <c:invertIfNegative val="1"/>
            <c:bubble3D val="0"/>
            <c:spPr>
              <a:solidFill>
                <a:srgbClr val="AEABAB"/>
              </a:solidFill>
            </c:spPr>
            <c:extLst>
              <c:ext xmlns:c16="http://schemas.microsoft.com/office/drawing/2014/chart" uri="{C3380CC4-5D6E-409C-BE32-E72D297353CC}">
                <c16:uniqueId val="{000008E3-B1B9-4BDE-A581-DFBD1F6389AC}"/>
              </c:ext>
            </c:extLst>
          </c:dPt>
          <c:dPt>
            <c:idx val="1137"/>
            <c:invertIfNegative val="1"/>
            <c:bubble3D val="0"/>
            <c:spPr>
              <a:solidFill>
                <a:srgbClr val="AEABAB"/>
              </a:solidFill>
            </c:spPr>
            <c:extLst>
              <c:ext xmlns:c16="http://schemas.microsoft.com/office/drawing/2014/chart" uri="{C3380CC4-5D6E-409C-BE32-E72D297353CC}">
                <c16:uniqueId val="{000008E5-B1B9-4BDE-A581-DFBD1F6389AC}"/>
              </c:ext>
            </c:extLst>
          </c:dPt>
          <c:dPt>
            <c:idx val="1138"/>
            <c:invertIfNegative val="1"/>
            <c:bubble3D val="0"/>
            <c:spPr>
              <a:solidFill>
                <a:srgbClr val="AEABAB"/>
              </a:solidFill>
            </c:spPr>
            <c:extLst>
              <c:ext xmlns:c16="http://schemas.microsoft.com/office/drawing/2014/chart" uri="{C3380CC4-5D6E-409C-BE32-E72D297353CC}">
                <c16:uniqueId val="{000008E7-B1B9-4BDE-A581-DFBD1F6389AC}"/>
              </c:ext>
            </c:extLst>
          </c:dPt>
          <c:dPt>
            <c:idx val="1139"/>
            <c:invertIfNegative val="1"/>
            <c:bubble3D val="0"/>
            <c:spPr>
              <a:solidFill>
                <a:srgbClr val="AEABAB"/>
              </a:solidFill>
            </c:spPr>
            <c:extLst>
              <c:ext xmlns:c16="http://schemas.microsoft.com/office/drawing/2014/chart" uri="{C3380CC4-5D6E-409C-BE32-E72D297353CC}">
                <c16:uniqueId val="{000008E9-B1B9-4BDE-A581-DFBD1F6389AC}"/>
              </c:ext>
            </c:extLst>
          </c:dPt>
          <c:dPt>
            <c:idx val="1140"/>
            <c:invertIfNegative val="1"/>
            <c:bubble3D val="0"/>
            <c:spPr>
              <a:solidFill>
                <a:srgbClr val="AEABAB"/>
              </a:solidFill>
            </c:spPr>
            <c:extLst>
              <c:ext xmlns:c16="http://schemas.microsoft.com/office/drawing/2014/chart" uri="{C3380CC4-5D6E-409C-BE32-E72D297353CC}">
                <c16:uniqueId val="{000008EB-B1B9-4BDE-A581-DFBD1F6389AC}"/>
              </c:ext>
            </c:extLst>
          </c:dPt>
          <c:dPt>
            <c:idx val="1141"/>
            <c:invertIfNegative val="1"/>
            <c:bubble3D val="0"/>
            <c:spPr>
              <a:solidFill>
                <a:srgbClr val="AEABAB"/>
              </a:solidFill>
            </c:spPr>
            <c:extLst>
              <c:ext xmlns:c16="http://schemas.microsoft.com/office/drawing/2014/chart" uri="{C3380CC4-5D6E-409C-BE32-E72D297353CC}">
                <c16:uniqueId val="{000008ED-B1B9-4BDE-A581-DFBD1F6389AC}"/>
              </c:ext>
            </c:extLst>
          </c:dPt>
          <c:dPt>
            <c:idx val="1142"/>
            <c:invertIfNegative val="1"/>
            <c:bubble3D val="0"/>
            <c:spPr>
              <a:solidFill>
                <a:srgbClr val="AEABAB"/>
              </a:solidFill>
            </c:spPr>
            <c:extLst>
              <c:ext xmlns:c16="http://schemas.microsoft.com/office/drawing/2014/chart" uri="{C3380CC4-5D6E-409C-BE32-E72D297353CC}">
                <c16:uniqueId val="{000008EF-B1B9-4BDE-A581-DFBD1F6389AC}"/>
              </c:ext>
            </c:extLst>
          </c:dPt>
          <c:dPt>
            <c:idx val="1143"/>
            <c:invertIfNegative val="1"/>
            <c:bubble3D val="0"/>
            <c:spPr>
              <a:solidFill>
                <a:srgbClr val="AEABAB"/>
              </a:solidFill>
            </c:spPr>
            <c:extLst>
              <c:ext xmlns:c16="http://schemas.microsoft.com/office/drawing/2014/chart" uri="{C3380CC4-5D6E-409C-BE32-E72D297353CC}">
                <c16:uniqueId val="{000008F1-B1B9-4BDE-A581-DFBD1F6389AC}"/>
              </c:ext>
            </c:extLst>
          </c:dPt>
          <c:dPt>
            <c:idx val="1144"/>
            <c:invertIfNegative val="1"/>
            <c:bubble3D val="0"/>
            <c:spPr>
              <a:solidFill>
                <a:srgbClr val="AEABAB"/>
              </a:solidFill>
            </c:spPr>
            <c:extLst>
              <c:ext xmlns:c16="http://schemas.microsoft.com/office/drawing/2014/chart" uri="{C3380CC4-5D6E-409C-BE32-E72D297353CC}">
                <c16:uniqueId val="{000008F3-B1B9-4BDE-A581-DFBD1F6389AC}"/>
              </c:ext>
            </c:extLst>
          </c:dPt>
          <c:dPt>
            <c:idx val="1145"/>
            <c:invertIfNegative val="1"/>
            <c:bubble3D val="0"/>
            <c:spPr>
              <a:solidFill>
                <a:srgbClr val="AEABAB"/>
              </a:solidFill>
            </c:spPr>
            <c:extLst>
              <c:ext xmlns:c16="http://schemas.microsoft.com/office/drawing/2014/chart" uri="{C3380CC4-5D6E-409C-BE32-E72D297353CC}">
                <c16:uniqueId val="{000008F5-B1B9-4BDE-A581-DFBD1F6389AC}"/>
              </c:ext>
            </c:extLst>
          </c:dPt>
          <c:dPt>
            <c:idx val="1146"/>
            <c:invertIfNegative val="1"/>
            <c:bubble3D val="0"/>
            <c:spPr>
              <a:solidFill>
                <a:srgbClr val="AEABAB"/>
              </a:solidFill>
            </c:spPr>
            <c:extLst>
              <c:ext xmlns:c16="http://schemas.microsoft.com/office/drawing/2014/chart" uri="{C3380CC4-5D6E-409C-BE32-E72D297353CC}">
                <c16:uniqueId val="{000008F7-B1B9-4BDE-A581-DFBD1F6389AC}"/>
              </c:ext>
            </c:extLst>
          </c:dPt>
          <c:dPt>
            <c:idx val="1147"/>
            <c:invertIfNegative val="1"/>
            <c:bubble3D val="0"/>
            <c:spPr>
              <a:solidFill>
                <a:srgbClr val="AEABAB"/>
              </a:solidFill>
            </c:spPr>
            <c:extLst>
              <c:ext xmlns:c16="http://schemas.microsoft.com/office/drawing/2014/chart" uri="{C3380CC4-5D6E-409C-BE32-E72D297353CC}">
                <c16:uniqueId val="{000008F9-B1B9-4BDE-A581-DFBD1F6389AC}"/>
              </c:ext>
            </c:extLst>
          </c:dPt>
          <c:dPt>
            <c:idx val="1148"/>
            <c:invertIfNegative val="1"/>
            <c:bubble3D val="0"/>
            <c:spPr>
              <a:solidFill>
                <a:srgbClr val="AEABAB"/>
              </a:solidFill>
            </c:spPr>
            <c:extLst>
              <c:ext xmlns:c16="http://schemas.microsoft.com/office/drawing/2014/chart" uri="{C3380CC4-5D6E-409C-BE32-E72D297353CC}">
                <c16:uniqueId val="{000008FB-B1B9-4BDE-A581-DFBD1F6389AC}"/>
              </c:ext>
            </c:extLst>
          </c:dPt>
          <c:dPt>
            <c:idx val="1149"/>
            <c:invertIfNegative val="1"/>
            <c:bubble3D val="0"/>
            <c:spPr>
              <a:solidFill>
                <a:srgbClr val="AEABAB"/>
              </a:solidFill>
            </c:spPr>
            <c:extLst>
              <c:ext xmlns:c16="http://schemas.microsoft.com/office/drawing/2014/chart" uri="{C3380CC4-5D6E-409C-BE32-E72D297353CC}">
                <c16:uniqueId val="{000008FD-B1B9-4BDE-A581-DFBD1F6389AC}"/>
              </c:ext>
            </c:extLst>
          </c:dPt>
          <c:dPt>
            <c:idx val="1150"/>
            <c:invertIfNegative val="1"/>
            <c:bubble3D val="0"/>
            <c:spPr>
              <a:solidFill>
                <a:srgbClr val="AEABAB"/>
              </a:solidFill>
            </c:spPr>
            <c:extLst>
              <c:ext xmlns:c16="http://schemas.microsoft.com/office/drawing/2014/chart" uri="{C3380CC4-5D6E-409C-BE32-E72D297353CC}">
                <c16:uniqueId val="{000008FF-B1B9-4BDE-A581-DFBD1F6389AC}"/>
              </c:ext>
            </c:extLst>
          </c:dPt>
          <c:dPt>
            <c:idx val="1151"/>
            <c:invertIfNegative val="1"/>
            <c:bubble3D val="0"/>
            <c:spPr>
              <a:solidFill>
                <a:srgbClr val="AEABAB"/>
              </a:solidFill>
            </c:spPr>
            <c:extLst>
              <c:ext xmlns:c16="http://schemas.microsoft.com/office/drawing/2014/chart" uri="{C3380CC4-5D6E-409C-BE32-E72D297353CC}">
                <c16:uniqueId val="{00000901-B1B9-4BDE-A581-DFBD1F6389AC}"/>
              </c:ext>
            </c:extLst>
          </c:dPt>
          <c:dPt>
            <c:idx val="1152"/>
            <c:invertIfNegative val="1"/>
            <c:bubble3D val="0"/>
            <c:spPr>
              <a:solidFill>
                <a:srgbClr val="AEABAB"/>
              </a:solidFill>
            </c:spPr>
            <c:extLst>
              <c:ext xmlns:c16="http://schemas.microsoft.com/office/drawing/2014/chart" uri="{C3380CC4-5D6E-409C-BE32-E72D297353CC}">
                <c16:uniqueId val="{00000903-B1B9-4BDE-A581-DFBD1F6389AC}"/>
              </c:ext>
            </c:extLst>
          </c:dPt>
          <c:dPt>
            <c:idx val="1153"/>
            <c:invertIfNegative val="1"/>
            <c:bubble3D val="0"/>
            <c:spPr>
              <a:solidFill>
                <a:srgbClr val="AEABAB"/>
              </a:solidFill>
            </c:spPr>
            <c:extLst>
              <c:ext xmlns:c16="http://schemas.microsoft.com/office/drawing/2014/chart" uri="{C3380CC4-5D6E-409C-BE32-E72D297353CC}">
                <c16:uniqueId val="{00000905-B1B9-4BDE-A581-DFBD1F6389AC}"/>
              </c:ext>
            </c:extLst>
          </c:dPt>
          <c:dPt>
            <c:idx val="1154"/>
            <c:invertIfNegative val="1"/>
            <c:bubble3D val="0"/>
            <c:spPr>
              <a:solidFill>
                <a:srgbClr val="AEABAB"/>
              </a:solidFill>
            </c:spPr>
            <c:extLst>
              <c:ext xmlns:c16="http://schemas.microsoft.com/office/drawing/2014/chart" uri="{C3380CC4-5D6E-409C-BE32-E72D297353CC}">
                <c16:uniqueId val="{00000907-B1B9-4BDE-A581-DFBD1F6389AC}"/>
              </c:ext>
            </c:extLst>
          </c:dPt>
          <c:dPt>
            <c:idx val="1155"/>
            <c:invertIfNegative val="1"/>
            <c:bubble3D val="0"/>
            <c:spPr>
              <a:solidFill>
                <a:srgbClr val="AEABAB"/>
              </a:solidFill>
            </c:spPr>
            <c:extLst>
              <c:ext xmlns:c16="http://schemas.microsoft.com/office/drawing/2014/chart" uri="{C3380CC4-5D6E-409C-BE32-E72D297353CC}">
                <c16:uniqueId val="{00000909-B1B9-4BDE-A581-DFBD1F6389AC}"/>
              </c:ext>
            </c:extLst>
          </c:dPt>
          <c:dPt>
            <c:idx val="1156"/>
            <c:invertIfNegative val="1"/>
            <c:bubble3D val="0"/>
            <c:spPr>
              <a:solidFill>
                <a:srgbClr val="AEABAB"/>
              </a:solidFill>
            </c:spPr>
            <c:extLst>
              <c:ext xmlns:c16="http://schemas.microsoft.com/office/drawing/2014/chart" uri="{C3380CC4-5D6E-409C-BE32-E72D297353CC}">
                <c16:uniqueId val="{0000090B-B1B9-4BDE-A581-DFBD1F6389AC}"/>
              </c:ext>
            </c:extLst>
          </c:dPt>
          <c:dPt>
            <c:idx val="1157"/>
            <c:invertIfNegative val="1"/>
            <c:bubble3D val="0"/>
            <c:spPr>
              <a:solidFill>
                <a:srgbClr val="AEABAB"/>
              </a:solidFill>
            </c:spPr>
            <c:extLst>
              <c:ext xmlns:c16="http://schemas.microsoft.com/office/drawing/2014/chart" uri="{C3380CC4-5D6E-409C-BE32-E72D297353CC}">
                <c16:uniqueId val="{0000090D-B1B9-4BDE-A581-DFBD1F6389AC}"/>
              </c:ext>
            </c:extLst>
          </c:dPt>
          <c:dPt>
            <c:idx val="1158"/>
            <c:invertIfNegative val="1"/>
            <c:bubble3D val="0"/>
            <c:spPr>
              <a:solidFill>
                <a:srgbClr val="AEABAB"/>
              </a:solidFill>
            </c:spPr>
            <c:extLst>
              <c:ext xmlns:c16="http://schemas.microsoft.com/office/drawing/2014/chart" uri="{C3380CC4-5D6E-409C-BE32-E72D297353CC}">
                <c16:uniqueId val="{0000090F-B1B9-4BDE-A581-DFBD1F6389AC}"/>
              </c:ext>
            </c:extLst>
          </c:dPt>
          <c:dPt>
            <c:idx val="1159"/>
            <c:invertIfNegative val="1"/>
            <c:bubble3D val="0"/>
            <c:spPr>
              <a:solidFill>
                <a:srgbClr val="AEABAB"/>
              </a:solidFill>
            </c:spPr>
            <c:extLst>
              <c:ext xmlns:c16="http://schemas.microsoft.com/office/drawing/2014/chart" uri="{C3380CC4-5D6E-409C-BE32-E72D297353CC}">
                <c16:uniqueId val="{00000911-B1B9-4BDE-A581-DFBD1F6389AC}"/>
              </c:ext>
            </c:extLst>
          </c:dPt>
          <c:dPt>
            <c:idx val="1160"/>
            <c:invertIfNegative val="1"/>
            <c:bubble3D val="0"/>
            <c:spPr>
              <a:solidFill>
                <a:srgbClr val="AEABAB"/>
              </a:solidFill>
            </c:spPr>
            <c:extLst>
              <c:ext xmlns:c16="http://schemas.microsoft.com/office/drawing/2014/chart" uri="{C3380CC4-5D6E-409C-BE32-E72D297353CC}">
                <c16:uniqueId val="{00000913-B1B9-4BDE-A581-DFBD1F6389AC}"/>
              </c:ext>
            </c:extLst>
          </c:dPt>
          <c:dPt>
            <c:idx val="1161"/>
            <c:invertIfNegative val="1"/>
            <c:bubble3D val="0"/>
            <c:spPr>
              <a:solidFill>
                <a:srgbClr val="AEABAB"/>
              </a:solidFill>
            </c:spPr>
            <c:extLst>
              <c:ext xmlns:c16="http://schemas.microsoft.com/office/drawing/2014/chart" uri="{C3380CC4-5D6E-409C-BE32-E72D297353CC}">
                <c16:uniqueId val="{00000915-B1B9-4BDE-A581-DFBD1F6389AC}"/>
              </c:ext>
            </c:extLst>
          </c:dPt>
          <c:dPt>
            <c:idx val="1162"/>
            <c:invertIfNegative val="1"/>
            <c:bubble3D val="0"/>
            <c:spPr>
              <a:solidFill>
                <a:srgbClr val="AEABAB"/>
              </a:solidFill>
            </c:spPr>
            <c:extLst>
              <c:ext xmlns:c16="http://schemas.microsoft.com/office/drawing/2014/chart" uri="{C3380CC4-5D6E-409C-BE32-E72D297353CC}">
                <c16:uniqueId val="{00000917-B1B9-4BDE-A581-DFBD1F6389AC}"/>
              </c:ext>
            </c:extLst>
          </c:dPt>
          <c:dPt>
            <c:idx val="1163"/>
            <c:invertIfNegative val="1"/>
            <c:bubble3D val="0"/>
            <c:spPr>
              <a:solidFill>
                <a:srgbClr val="AEABAB"/>
              </a:solidFill>
            </c:spPr>
            <c:extLst>
              <c:ext xmlns:c16="http://schemas.microsoft.com/office/drawing/2014/chart" uri="{C3380CC4-5D6E-409C-BE32-E72D297353CC}">
                <c16:uniqueId val="{00000919-B1B9-4BDE-A581-DFBD1F6389AC}"/>
              </c:ext>
            </c:extLst>
          </c:dPt>
          <c:dPt>
            <c:idx val="1164"/>
            <c:invertIfNegative val="1"/>
            <c:bubble3D val="0"/>
            <c:spPr>
              <a:solidFill>
                <a:srgbClr val="AEABAB"/>
              </a:solidFill>
            </c:spPr>
            <c:extLst>
              <c:ext xmlns:c16="http://schemas.microsoft.com/office/drawing/2014/chart" uri="{C3380CC4-5D6E-409C-BE32-E72D297353CC}">
                <c16:uniqueId val="{0000091B-B1B9-4BDE-A581-DFBD1F6389AC}"/>
              </c:ext>
            </c:extLst>
          </c:dPt>
          <c:dPt>
            <c:idx val="1165"/>
            <c:invertIfNegative val="1"/>
            <c:bubble3D val="0"/>
            <c:spPr>
              <a:solidFill>
                <a:srgbClr val="AEABAB"/>
              </a:solidFill>
            </c:spPr>
            <c:extLst>
              <c:ext xmlns:c16="http://schemas.microsoft.com/office/drawing/2014/chart" uri="{C3380CC4-5D6E-409C-BE32-E72D297353CC}">
                <c16:uniqueId val="{0000091D-B1B9-4BDE-A581-DFBD1F6389AC}"/>
              </c:ext>
            </c:extLst>
          </c:dPt>
          <c:dPt>
            <c:idx val="1166"/>
            <c:invertIfNegative val="1"/>
            <c:bubble3D val="0"/>
            <c:spPr>
              <a:solidFill>
                <a:srgbClr val="AEABAB"/>
              </a:solidFill>
            </c:spPr>
            <c:extLst>
              <c:ext xmlns:c16="http://schemas.microsoft.com/office/drawing/2014/chart" uri="{C3380CC4-5D6E-409C-BE32-E72D297353CC}">
                <c16:uniqueId val="{0000091F-B1B9-4BDE-A581-DFBD1F6389AC}"/>
              </c:ext>
            </c:extLst>
          </c:dPt>
          <c:dPt>
            <c:idx val="1167"/>
            <c:invertIfNegative val="1"/>
            <c:bubble3D val="0"/>
            <c:spPr>
              <a:solidFill>
                <a:srgbClr val="AEABAB"/>
              </a:solidFill>
            </c:spPr>
            <c:extLst>
              <c:ext xmlns:c16="http://schemas.microsoft.com/office/drawing/2014/chart" uri="{C3380CC4-5D6E-409C-BE32-E72D297353CC}">
                <c16:uniqueId val="{00000921-B1B9-4BDE-A581-DFBD1F6389AC}"/>
              </c:ext>
            </c:extLst>
          </c:dPt>
          <c:dPt>
            <c:idx val="1168"/>
            <c:invertIfNegative val="1"/>
            <c:bubble3D val="0"/>
            <c:spPr>
              <a:solidFill>
                <a:srgbClr val="AEABAB"/>
              </a:solidFill>
            </c:spPr>
            <c:extLst>
              <c:ext xmlns:c16="http://schemas.microsoft.com/office/drawing/2014/chart" uri="{C3380CC4-5D6E-409C-BE32-E72D297353CC}">
                <c16:uniqueId val="{00000923-B1B9-4BDE-A581-DFBD1F6389AC}"/>
              </c:ext>
            </c:extLst>
          </c:dPt>
          <c:dPt>
            <c:idx val="1169"/>
            <c:invertIfNegative val="1"/>
            <c:bubble3D val="0"/>
            <c:spPr>
              <a:solidFill>
                <a:srgbClr val="AEABAB"/>
              </a:solidFill>
            </c:spPr>
            <c:extLst>
              <c:ext xmlns:c16="http://schemas.microsoft.com/office/drawing/2014/chart" uri="{C3380CC4-5D6E-409C-BE32-E72D297353CC}">
                <c16:uniqueId val="{00000925-B1B9-4BDE-A581-DFBD1F6389AC}"/>
              </c:ext>
            </c:extLst>
          </c:dPt>
          <c:dPt>
            <c:idx val="1170"/>
            <c:invertIfNegative val="1"/>
            <c:bubble3D val="0"/>
            <c:spPr>
              <a:solidFill>
                <a:srgbClr val="AEABAB"/>
              </a:solidFill>
            </c:spPr>
            <c:extLst>
              <c:ext xmlns:c16="http://schemas.microsoft.com/office/drawing/2014/chart" uri="{C3380CC4-5D6E-409C-BE32-E72D297353CC}">
                <c16:uniqueId val="{00000927-B1B9-4BDE-A581-DFBD1F6389AC}"/>
              </c:ext>
            </c:extLst>
          </c:dPt>
          <c:dPt>
            <c:idx val="1171"/>
            <c:invertIfNegative val="1"/>
            <c:bubble3D val="0"/>
            <c:spPr>
              <a:solidFill>
                <a:srgbClr val="AEABAB"/>
              </a:solidFill>
            </c:spPr>
            <c:extLst>
              <c:ext xmlns:c16="http://schemas.microsoft.com/office/drawing/2014/chart" uri="{C3380CC4-5D6E-409C-BE32-E72D297353CC}">
                <c16:uniqueId val="{00000929-B1B9-4BDE-A581-DFBD1F6389AC}"/>
              </c:ext>
            </c:extLst>
          </c:dPt>
          <c:dPt>
            <c:idx val="1172"/>
            <c:invertIfNegative val="1"/>
            <c:bubble3D val="0"/>
            <c:spPr>
              <a:solidFill>
                <a:srgbClr val="AEABAB"/>
              </a:solidFill>
            </c:spPr>
            <c:extLst>
              <c:ext xmlns:c16="http://schemas.microsoft.com/office/drawing/2014/chart" uri="{C3380CC4-5D6E-409C-BE32-E72D297353CC}">
                <c16:uniqueId val="{0000092B-B1B9-4BDE-A581-DFBD1F6389AC}"/>
              </c:ext>
            </c:extLst>
          </c:dPt>
          <c:dPt>
            <c:idx val="1173"/>
            <c:invertIfNegative val="1"/>
            <c:bubble3D val="0"/>
            <c:spPr>
              <a:solidFill>
                <a:srgbClr val="AEABAB"/>
              </a:solidFill>
            </c:spPr>
            <c:extLst>
              <c:ext xmlns:c16="http://schemas.microsoft.com/office/drawing/2014/chart" uri="{C3380CC4-5D6E-409C-BE32-E72D297353CC}">
                <c16:uniqueId val="{0000092D-B1B9-4BDE-A581-DFBD1F6389AC}"/>
              </c:ext>
            </c:extLst>
          </c:dPt>
          <c:dPt>
            <c:idx val="1174"/>
            <c:invertIfNegative val="1"/>
            <c:bubble3D val="0"/>
            <c:spPr>
              <a:solidFill>
                <a:srgbClr val="AEABAB"/>
              </a:solidFill>
            </c:spPr>
            <c:extLst>
              <c:ext xmlns:c16="http://schemas.microsoft.com/office/drawing/2014/chart" uri="{C3380CC4-5D6E-409C-BE32-E72D297353CC}">
                <c16:uniqueId val="{0000092F-B1B9-4BDE-A581-DFBD1F6389AC}"/>
              </c:ext>
            </c:extLst>
          </c:dPt>
          <c:dPt>
            <c:idx val="1175"/>
            <c:invertIfNegative val="1"/>
            <c:bubble3D val="0"/>
            <c:spPr>
              <a:solidFill>
                <a:srgbClr val="AEABAB"/>
              </a:solidFill>
            </c:spPr>
            <c:extLst>
              <c:ext xmlns:c16="http://schemas.microsoft.com/office/drawing/2014/chart" uri="{C3380CC4-5D6E-409C-BE32-E72D297353CC}">
                <c16:uniqueId val="{00000931-B1B9-4BDE-A581-DFBD1F6389AC}"/>
              </c:ext>
            </c:extLst>
          </c:dPt>
          <c:dPt>
            <c:idx val="1176"/>
            <c:invertIfNegative val="1"/>
            <c:bubble3D val="0"/>
            <c:spPr>
              <a:solidFill>
                <a:srgbClr val="AEABAB"/>
              </a:solidFill>
            </c:spPr>
            <c:extLst>
              <c:ext xmlns:c16="http://schemas.microsoft.com/office/drawing/2014/chart" uri="{C3380CC4-5D6E-409C-BE32-E72D297353CC}">
                <c16:uniqueId val="{00000933-B1B9-4BDE-A581-DFBD1F6389AC}"/>
              </c:ext>
            </c:extLst>
          </c:dPt>
          <c:dPt>
            <c:idx val="1177"/>
            <c:invertIfNegative val="1"/>
            <c:bubble3D val="0"/>
            <c:spPr>
              <a:solidFill>
                <a:srgbClr val="AEABAB"/>
              </a:solidFill>
            </c:spPr>
            <c:extLst>
              <c:ext xmlns:c16="http://schemas.microsoft.com/office/drawing/2014/chart" uri="{C3380CC4-5D6E-409C-BE32-E72D297353CC}">
                <c16:uniqueId val="{00000935-B1B9-4BDE-A581-DFBD1F6389AC}"/>
              </c:ext>
            </c:extLst>
          </c:dPt>
          <c:dPt>
            <c:idx val="1178"/>
            <c:invertIfNegative val="1"/>
            <c:bubble3D val="0"/>
            <c:spPr>
              <a:solidFill>
                <a:srgbClr val="AEABAB"/>
              </a:solidFill>
            </c:spPr>
            <c:extLst>
              <c:ext xmlns:c16="http://schemas.microsoft.com/office/drawing/2014/chart" uri="{C3380CC4-5D6E-409C-BE32-E72D297353CC}">
                <c16:uniqueId val="{00000937-B1B9-4BDE-A581-DFBD1F6389AC}"/>
              </c:ext>
            </c:extLst>
          </c:dPt>
          <c:dPt>
            <c:idx val="1179"/>
            <c:invertIfNegative val="1"/>
            <c:bubble3D val="0"/>
            <c:spPr>
              <a:solidFill>
                <a:srgbClr val="AEABAB"/>
              </a:solidFill>
            </c:spPr>
            <c:extLst>
              <c:ext xmlns:c16="http://schemas.microsoft.com/office/drawing/2014/chart" uri="{C3380CC4-5D6E-409C-BE32-E72D297353CC}">
                <c16:uniqueId val="{00000939-B1B9-4BDE-A581-DFBD1F6389AC}"/>
              </c:ext>
            </c:extLst>
          </c:dPt>
          <c:dPt>
            <c:idx val="1180"/>
            <c:invertIfNegative val="1"/>
            <c:bubble3D val="0"/>
            <c:spPr>
              <a:solidFill>
                <a:srgbClr val="AEABAB"/>
              </a:solidFill>
            </c:spPr>
            <c:extLst>
              <c:ext xmlns:c16="http://schemas.microsoft.com/office/drawing/2014/chart" uri="{C3380CC4-5D6E-409C-BE32-E72D297353CC}">
                <c16:uniqueId val="{0000093B-B1B9-4BDE-A581-DFBD1F6389AC}"/>
              </c:ext>
            </c:extLst>
          </c:dPt>
          <c:dPt>
            <c:idx val="1181"/>
            <c:invertIfNegative val="1"/>
            <c:bubble3D val="0"/>
            <c:spPr>
              <a:solidFill>
                <a:srgbClr val="AEABAB"/>
              </a:solidFill>
            </c:spPr>
            <c:extLst>
              <c:ext xmlns:c16="http://schemas.microsoft.com/office/drawing/2014/chart" uri="{C3380CC4-5D6E-409C-BE32-E72D297353CC}">
                <c16:uniqueId val="{0000093D-B1B9-4BDE-A581-DFBD1F6389AC}"/>
              </c:ext>
            </c:extLst>
          </c:dPt>
          <c:dPt>
            <c:idx val="1182"/>
            <c:invertIfNegative val="1"/>
            <c:bubble3D val="0"/>
            <c:spPr>
              <a:solidFill>
                <a:srgbClr val="AEABAB"/>
              </a:solidFill>
            </c:spPr>
            <c:extLst>
              <c:ext xmlns:c16="http://schemas.microsoft.com/office/drawing/2014/chart" uri="{C3380CC4-5D6E-409C-BE32-E72D297353CC}">
                <c16:uniqueId val="{0000093F-B1B9-4BDE-A581-DFBD1F6389AC}"/>
              </c:ext>
            </c:extLst>
          </c:dPt>
          <c:dPt>
            <c:idx val="1183"/>
            <c:invertIfNegative val="1"/>
            <c:bubble3D val="0"/>
            <c:spPr>
              <a:solidFill>
                <a:srgbClr val="AEABAB"/>
              </a:solidFill>
            </c:spPr>
            <c:extLst>
              <c:ext xmlns:c16="http://schemas.microsoft.com/office/drawing/2014/chart" uri="{C3380CC4-5D6E-409C-BE32-E72D297353CC}">
                <c16:uniqueId val="{00000941-B1B9-4BDE-A581-DFBD1F6389AC}"/>
              </c:ext>
            </c:extLst>
          </c:dPt>
          <c:dPt>
            <c:idx val="1184"/>
            <c:invertIfNegative val="1"/>
            <c:bubble3D val="0"/>
            <c:spPr>
              <a:solidFill>
                <a:srgbClr val="AEABAB"/>
              </a:solidFill>
            </c:spPr>
            <c:extLst>
              <c:ext xmlns:c16="http://schemas.microsoft.com/office/drawing/2014/chart" uri="{C3380CC4-5D6E-409C-BE32-E72D297353CC}">
                <c16:uniqueId val="{00000943-B1B9-4BDE-A581-DFBD1F6389AC}"/>
              </c:ext>
            </c:extLst>
          </c:dPt>
          <c:dPt>
            <c:idx val="1185"/>
            <c:invertIfNegative val="1"/>
            <c:bubble3D val="0"/>
            <c:spPr>
              <a:solidFill>
                <a:srgbClr val="AEABAB"/>
              </a:solidFill>
            </c:spPr>
            <c:extLst>
              <c:ext xmlns:c16="http://schemas.microsoft.com/office/drawing/2014/chart" uri="{C3380CC4-5D6E-409C-BE32-E72D297353CC}">
                <c16:uniqueId val="{00000945-B1B9-4BDE-A581-DFBD1F6389AC}"/>
              </c:ext>
            </c:extLst>
          </c:dPt>
          <c:dPt>
            <c:idx val="1186"/>
            <c:invertIfNegative val="1"/>
            <c:bubble3D val="0"/>
            <c:spPr>
              <a:solidFill>
                <a:srgbClr val="AEABAB"/>
              </a:solidFill>
            </c:spPr>
            <c:extLst>
              <c:ext xmlns:c16="http://schemas.microsoft.com/office/drawing/2014/chart" uri="{C3380CC4-5D6E-409C-BE32-E72D297353CC}">
                <c16:uniqueId val="{00000947-B1B9-4BDE-A581-DFBD1F6389AC}"/>
              </c:ext>
            </c:extLst>
          </c:dPt>
          <c:dPt>
            <c:idx val="1187"/>
            <c:invertIfNegative val="1"/>
            <c:bubble3D val="0"/>
            <c:spPr>
              <a:solidFill>
                <a:srgbClr val="AEABAB"/>
              </a:solidFill>
            </c:spPr>
            <c:extLst>
              <c:ext xmlns:c16="http://schemas.microsoft.com/office/drawing/2014/chart" uri="{C3380CC4-5D6E-409C-BE32-E72D297353CC}">
                <c16:uniqueId val="{00000949-B1B9-4BDE-A581-DFBD1F6389AC}"/>
              </c:ext>
            </c:extLst>
          </c:dPt>
          <c:dPt>
            <c:idx val="1188"/>
            <c:invertIfNegative val="1"/>
            <c:bubble3D val="0"/>
            <c:spPr>
              <a:solidFill>
                <a:srgbClr val="AEABAB"/>
              </a:solidFill>
            </c:spPr>
            <c:extLst>
              <c:ext xmlns:c16="http://schemas.microsoft.com/office/drawing/2014/chart" uri="{C3380CC4-5D6E-409C-BE32-E72D297353CC}">
                <c16:uniqueId val="{0000094B-B1B9-4BDE-A581-DFBD1F6389AC}"/>
              </c:ext>
            </c:extLst>
          </c:dPt>
          <c:dPt>
            <c:idx val="1189"/>
            <c:invertIfNegative val="1"/>
            <c:bubble3D val="0"/>
            <c:spPr>
              <a:solidFill>
                <a:srgbClr val="AEABAB"/>
              </a:solidFill>
            </c:spPr>
            <c:extLst>
              <c:ext xmlns:c16="http://schemas.microsoft.com/office/drawing/2014/chart" uri="{C3380CC4-5D6E-409C-BE32-E72D297353CC}">
                <c16:uniqueId val="{0000094D-B1B9-4BDE-A581-DFBD1F6389AC}"/>
              </c:ext>
            </c:extLst>
          </c:dPt>
          <c:dPt>
            <c:idx val="1190"/>
            <c:invertIfNegative val="1"/>
            <c:bubble3D val="0"/>
            <c:spPr>
              <a:solidFill>
                <a:srgbClr val="AEABAB"/>
              </a:solidFill>
            </c:spPr>
            <c:extLst>
              <c:ext xmlns:c16="http://schemas.microsoft.com/office/drawing/2014/chart" uri="{C3380CC4-5D6E-409C-BE32-E72D297353CC}">
                <c16:uniqueId val="{0000094F-B1B9-4BDE-A581-DFBD1F6389AC}"/>
              </c:ext>
            </c:extLst>
          </c:dPt>
          <c:dPt>
            <c:idx val="1191"/>
            <c:invertIfNegative val="1"/>
            <c:bubble3D val="0"/>
            <c:spPr>
              <a:solidFill>
                <a:srgbClr val="AEABAB"/>
              </a:solidFill>
            </c:spPr>
            <c:extLst>
              <c:ext xmlns:c16="http://schemas.microsoft.com/office/drawing/2014/chart" uri="{C3380CC4-5D6E-409C-BE32-E72D297353CC}">
                <c16:uniqueId val="{00000951-B1B9-4BDE-A581-DFBD1F6389AC}"/>
              </c:ext>
            </c:extLst>
          </c:dPt>
          <c:dPt>
            <c:idx val="1192"/>
            <c:invertIfNegative val="1"/>
            <c:bubble3D val="0"/>
            <c:spPr>
              <a:solidFill>
                <a:srgbClr val="AEABAB"/>
              </a:solidFill>
            </c:spPr>
            <c:extLst>
              <c:ext xmlns:c16="http://schemas.microsoft.com/office/drawing/2014/chart" uri="{C3380CC4-5D6E-409C-BE32-E72D297353CC}">
                <c16:uniqueId val="{00000953-B1B9-4BDE-A581-DFBD1F6389AC}"/>
              </c:ext>
            </c:extLst>
          </c:dPt>
          <c:dPt>
            <c:idx val="1193"/>
            <c:invertIfNegative val="1"/>
            <c:bubble3D val="0"/>
            <c:spPr>
              <a:solidFill>
                <a:srgbClr val="AEABAB"/>
              </a:solidFill>
            </c:spPr>
            <c:extLst>
              <c:ext xmlns:c16="http://schemas.microsoft.com/office/drawing/2014/chart" uri="{C3380CC4-5D6E-409C-BE32-E72D297353CC}">
                <c16:uniqueId val="{00000955-B1B9-4BDE-A581-DFBD1F6389AC}"/>
              </c:ext>
            </c:extLst>
          </c:dPt>
          <c:dPt>
            <c:idx val="1194"/>
            <c:invertIfNegative val="1"/>
            <c:bubble3D val="0"/>
            <c:spPr>
              <a:solidFill>
                <a:srgbClr val="AEABAB"/>
              </a:solidFill>
            </c:spPr>
            <c:extLst>
              <c:ext xmlns:c16="http://schemas.microsoft.com/office/drawing/2014/chart" uri="{C3380CC4-5D6E-409C-BE32-E72D297353CC}">
                <c16:uniqueId val="{00000957-B1B9-4BDE-A581-DFBD1F6389AC}"/>
              </c:ext>
            </c:extLst>
          </c:dPt>
          <c:dPt>
            <c:idx val="1195"/>
            <c:invertIfNegative val="1"/>
            <c:bubble3D val="0"/>
            <c:spPr>
              <a:solidFill>
                <a:srgbClr val="AEABAB"/>
              </a:solidFill>
            </c:spPr>
            <c:extLst>
              <c:ext xmlns:c16="http://schemas.microsoft.com/office/drawing/2014/chart" uri="{C3380CC4-5D6E-409C-BE32-E72D297353CC}">
                <c16:uniqueId val="{00000959-B1B9-4BDE-A581-DFBD1F6389AC}"/>
              </c:ext>
            </c:extLst>
          </c:dPt>
          <c:dPt>
            <c:idx val="1196"/>
            <c:invertIfNegative val="1"/>
            <c:bubble3D val="0"/>
            <c:spPr>
              <a:solidFill>
                <a:srgbClr val="AEABAB"/>
              </a:solidFill>
            </c:spPr>
            <c:extLst>
              <c:ext xmlns:c16="http://schemas.microsoft.com/office/drawing/2014/chart" uri="{C3380CC4-5D6E-409C-BE32-E72D297353CC}">
                <c16:uniqueId val="{0000095B-B1B9-4BDE-A581-DFBD1F6389AC}"/>
              </c:ext>
            </c:extLst>
          </c:dPt>
          <c:dPt>
            <c:idx val="1197"/>
            <c:invertIfNegative val="1"/>
            <c:bubble3D val="0"/>
            <c:spPr>
              <a:solidFill>
                <a:srgbClr val="AEABAB"/>
              </a:solidFill>
            </c:spPr>
            <c:extLst>
              <c:ext xmlns:c16="http://schemas.microsoft.com/office/drawing/2014/chart" uri="{C3380CC4-5D6E-409C-BE32-E72D297353CC}">
                <c16:uniqueId val="{0000095D-B1B9-4BDE-A581-DFBD1F6389AC}"/>
              </c:ext>
            </c:extLst>
          </c:dPt>
          <c:dPt>
            <c:idx val="1198"/>
            <c:invertIfNegative val="1"/>
            <c:bubble3D val="0"/>
            <c:spPr>
              <a:solidFill>
                <a:srgbClr val="AEABAB"/>
              </a:solidFill>
            </c:spPr>
            <c:extLst>
              <c:ext xmlns:c16="http://schemas.microsoft.com/office/drawing/2014/chart" uri="{C3380CC4-5D6E-409C-BE32-E72D297353CC}">
                <c16:uniqueId val="{0000095F-B1B9-4BDE-A581-DFBD1F6389AC}"/>
              </c:ext>
            </c:extLst>
          </c:dPt>
          <c:dPt>
            <c:idx val="1199"/>
            <c:invertIfNegative val="1"/>
            <c:bubble3D val="0"/>
            <c:spPr>
              <a:solidFill>
                <a:srgbClr val="AEABAB"/>
              </a:solidFill>
            </c:spPr>
            <c:extLst>
              <c:ext xmlns:c16="http://schemas.microsoft.com/office/drawing/2014/chart" uri="{C3380CC4-5D6E-409C-BE32-E72D297353CC}">
                <c16:uniqueId val="{00000961-B1B9-4BDE-A581-DFBD1F6389AC}"/>
              </c:ext>
            </c:extLst>
          </c:dPt>
          <c:dPt>
            <c:idx val="1200"/>
            <c:invertIfNegative val="1"/>
            <c:bubble3D val="0"/>
            <c:spPr>
              <a:solidFill>
                <a:srgbClr val="AEABAB"/>
              </a:solidFill>
            </c:spPr>
            <c:extLst>
              <c:ext xmlns:c16="http://schemas.microsoft.com/office/drawing/2014/chart" uri="{C3380CC4-5D6E-409C-BE32-E72D297353CC}">
                <c16:uniqueId val="{00000963-B1B9-4BDE-A581-DFBD1F6389AC}"/>
              </c:ext>
            </c:extLst>
          </c:dPt>
          <c:dPt>
            <c:idx val="1201"/>
            <c:invertIfNegative val="1"/>
            <c:bubble3D val="0"/>
            <c:spPr>
              <a:solidFill>
                <a:srgbClr val="AEABAB"/>
              </a:solidFill>
            </c:spPr>
            <c:extLst>
              <c:ext xmlns:c16="http://schemas.microsoft.com/office/drawing/2014/chart" uri="{C3380CC4-5D6E-409C-BE32-E72D297353CC}">
                <c16:uniqueId val="{00000965-B1B9-4BDE-A581-DFBD1F6389AC}"/>
              </c:ext>
            </c:extLst>
          </c:dPt>
          <c:dPt>
            <c:idx val="1202"/>
            <c:invertIfNegative val="1"/>
            <c:bubble3D val="0"/>
            <c:spPr>
              <a:solidFill>
                <a:srgbClr val="AEABAB"/>
              </a:solidFill>
            </c:spPr>
            <c:extLst>
              <c:ext xmlns:c16="http://schemas.microsoft.com/office/drawing/2014/chart" uri="{C3380CC4-5D6E-409C-BE32-E72D297353CC}">
                <c16:uniqueId val="{00000967-B1B9-4BDE-A581-DFBD1F6389AC}"/>
              </c:ext>
            </c:extLst>
          </c:dPt>
          <c:dPt>
            <c:idx val="1203"/>
            <c:invertIfNegative val="1"/>
            <c:bubble3D val="0"/>
            <c:spPr>
              <a:solidFill>
                <a:srgbClr val="AEABAB"/>
              </a:solidFill>
            </c:spPr>
            <c:extLst>
              <c:ext xmlns:c16="http://schemas.microsoft.com/office/drawing/2014/chart" uri="{C3380CC4-5D6E-409C-BE32-E72D297353CC}">
                <c16:uniqueId val="{00000969-B1B9-4BDE-A581-DFBD1F6389AC}"/>
              </c:ext>
            </c:extLst>
          </c:dPt>
          <c:dPt>
            <c:idx val="1204"/>
            <c:invertIfNegative val="1"/>
            <c:bubble3D val="0"/>
            <c:spPr>
              <a:solidFill>
                <a:srgbClr val="AEABAB"/>
              </a:solidFill>
            </c:spPr>
            <c:extLst>
              <c:ext xmlns:c16="http://schemas.microsoft.com/office/drawing/2014/chart" uri="{C3380CC4-5D6E-409C-BE32-E72D297353CC}">
                <c16:uniqueId val="{0000096B-B1B9-4BDE-A581-DFBD1F6389AC}"/>
              </c:ext>
            </c:extLst>
          </c:dPt>
          <c:dPt>
            <c:idx val="1205"/>
            <c:invertIfNegative val="1"/>
            <c:bubble3D val="0"/>
            <c:spPr>
              <a:solidFill>
                <a:srgbClr val="AEABAB"/>
              </a:solidFill>
            </c:spPr>
            <c:extLst>
              <c:ext xmlns:c16="http://schemas.microsoft.com/office/drawing/2014/chart" uri="{C3380CC4-5D6E-409C-BE32-E72D297353CC}">
                <c16:uniqueId val="{0000096D-B1B9-4BDE-A581-DFBD1F6389AC}"/>
              </c:ext>
            </c:extLst>
          </c:dPt>
          <c:dPt>
            <c:idx val="1206"/>
            <c:invertIfNegative val="1"/>
            <c:bubble3D val="0"/>
            <c:spPr>
              <a:solidFill>
                <a:srgbClr val="AEABAB"/>
              </a:solidFill>
            </c:spPr>
            <c:extLst>
              <c:ext xmlns:c16="http://schemas.microsoft.com/office/drawing/2014/chart" uri="{C3380CC4-5D6E-409C-BE32-E72D297353CC}">
                <c16:uniqueId val="{0000096F-B1B9-4BDE-A581-DFBD1F6389AC}"/>
              </c:ext>
            </c:extLst>
          </c:dPt>
          <c:dPt>
            <c:idx val="1207"/>
            <c:invertIfNegative val="1"/>
            <c:bubble3D val="0"/>
            <c:spPr>
              <a:solidFill>
                <a:srgbClr val="AEABAB"/>
              </a:solidFill>
            </c:spPr>
            <c:extLst>
              <c:ext xmlns:c16="http://schemas.microsoft.com/office/drawing/2014/chart" uri="{C3380CC4-5D6E-409C-BE32-E72D297353CC}">
                <c16:uniqueId val="{00000971-B1B9-4BDE-A581-DFBD1F6389AC}"/>
              </c:ext>
            </c:extLst>
          </c:dPt>
          <c:dPt>
            <c:idx val="1208"/>
            <c:invertIfNegative val="1"/>
            <c:bubble3D val="0"/>
            <c:spPr>
              <a:solidFill>
                <a:srgbClr val="AEABAB"/>
              </a:solidFill>
            </c:spPr>
            <c:extLst>
              <c:ext xmlns:c16="http://schemas.microsoft.com/office/drawing/2014/chart" uri="{C3380CC4-5D6E-409C-BE32-E72D297353CC}">
                <c16:uniqueId val="{00000973-B1B9-4BDE-A581-DFBD1F6389AC}"/>
              </c:ext>
            </c:extLst>
          </c:dPt>
          <c:dPt>
            <c:idx val="1209"/>
            <c:invertIfNegative val="1"/>
            <c:bubble3D val="0"/>
            <c:spPr>
              <a:solidFill>
                <a:srgbClr val="AEABAB"/>
              </a:solidFill>
            </c:spPr>
            <c:extLst>
              <c:ext xmlns:c16="http://schemas.microsoft.com/office/drawing/2014/chart" uri="{C3380CC4-5D6E-409C-BE32-E72D297353CC}">
                <c16:uniqueId val="{00000975-B1B9-4BDE-A581-DFBD1F6389AC}"/>
              </c:ext>
            </c:extLst>
          </c:dPt>
          <c:dPt>
            <c:idx val="1210"/>
            <c:invertIfNegative val="1"/>
            <c:bubble3D val="0"/>
            <c:spPr>
              <a:solidFill>
                <a:srgbClr val="AEABAB"/>
              </a:solidFill>
            </c:spPr>
            <c:extLst>
              <c:ext xmlns:c16="http://schemas.microsoft.com/office/drawing/2014/chart" uri="{C3380CC4-5D6E-409C-BE32-E72D297353CC}">
                <c16:uniqueId val="{00000977-B1B9-4BDE-A581-DFBD1F6389AC}"/>
              </c:ext>
            </c:extLst>
          </c:dPt>
          <c:dPt>
            <c:idx val="1211"/>
            <c:invertIfNegative val="1"/>
            <c:bubble3D val="0"/>
            <c:spPr>
              <a:solidFill>
                <a:srgbClr val="AEABAB"/>
              </a:solidFill>
            </c:spPr>
            <c:extLst>
              <c:ext xmlns:c16="http://schemas.microsoft.com/office/drawing/2014/chart" uri="{C3380CC4-5D6E-409C-BE32-E72D297353CC}">
                <c16:uniqueId val="{00000979-B1B9-4BDE-A581-DFBD1F6389AC}"/>
              </c:ext>
            </c:extLst>
          </c:dPt>
          <c:dPt>
            <c:idx val="1212"/>
            <c:invertIfNegative val="1"/>
            <c:bubble3D val="0"/>
            <c:spPr>
              <a:solidFill>
                <a:srgbClr val="AEABAB"/>
              </a:solidFill>
            </c:spPr>
            <c:extLst>
              <c:ext xmlns:c16="http://schemas.microsoft.com/office/drawing/2014/chart" uri="{C3380CC4-5D6E-409C-BE32-E72D297353CC}">
                <c16:uniqueId val="{0000097B-B1B9-4BDE-A581-DFBD1F6389AC}"/>
              </c:ext>
            </c:extLst>
          </c:dPt>
          <c:dPt>
            <c:idx val="1213"/>
            <c:invertIfNegative val="1"/>
            <c:bubble3D val="0"/>
            <c:spPr>
              <a:solidFill>
                <a:srgbClr val="AEABAB"/>
              </a:solidFill>
            </c:spPr>
            <c:extLst>
              <c:ext xmlns:c16="http://schemas.microsoft.com/office/drawing/2014/chart" uri="{C3380CC4-5D6E-409C-BE32-E72D297353CC}">
                <c16:uniqueId val="{0000097D-B1B9-4BDE-A581-DFBD1F6389AC}"/>
              </c:ext>
            </c:extLst>
          </c:dPt>
          <c:dPt>
            <c:idx val="1214"/>
            <c:invertIfNegative val="1"/>
            <c:bubble3D val="0"/>
            <c:spPr>
              <a:solidFill>
                <a:srgbClr val="AEABAB"/>
              </a:solidFill>
            </c:spPr>
            <c:extLst>
              <c:ext xmlns:c16="http://schemas.microsoft.com/office/drawing/2014/chart" uri="{C3380CC4-5D6E-409C-BE32-E72D297353CC}">
                <c16:uniqueId val="{0000097F-B1B9-4BDE-A581-DFBD1F6389AC}"/>
              </c:ext>
            </c:extLst>
          </c:dPt>
          <c:dPt>
            <c:idx val="1215"/>
            <c:invertIfNegative val="1"/>
            <c:bubble3D val="0"/>
            <c:spPr>
              <a:solidFill>
                <a:srgbClr val="AEABAB"/>
              </a:solidFill>
            </c:spPr>
            <c:extLst>
              <c:ext xmlns:c16="http://schemas.microsoft.com/office/drawing/2014/chart" uri="{C3380CC4-5D6E-409C-BE32-E72D297353CC}">
                <c16:uniqueId val="{00000981-B1B9-4BDE-A581-DFBD1F6389AC}"/>
              </c:ext>
            </c:extLst>
          </c:dPt>
          <c:dPt>
            <c:idx val="1216"/>
            <c:invertIfNegative val="1"/>
            <c:bubble3D val="0"/>
            <c:spPr>
              <a:solidFill>
                <a:srgbClr val="AEABAB"/>
              </a:solidFill>
            </c:spPr>
            <c:extLst>
              <c:ext xmlns:c16="http://schemas.microsoft.com/office/drawing/2014/chart" uri="{C3380CC4-5D6E-409C-BE32-E72D297353CC}">
                <c16:uniqueId val="{00000983-B1B9-4BDE-A581-DFBD1F6389AC}"/>
              </c:ext>
            </c:extLst>
          </c:dPt>
          <c:dPt>
            <c:idx val="1217"/>
            <c:invertIfNegative val="1"/>
            <c:bubble3D val="0"/>
            <c:spPr>
              <a:solidFill>
                <a:srgbClr val="AEABAB"/>
              </a:solidFill>
            </c:spPr>
            <c:extLst>
              <c:ext xmlns:c16="http://schemas.microsoft.com/office/drawing/2014/chart" uri="{C3380CC4-5D6E-409C-BE32-E72D297353CC}">
                <c16:uniqueId val="{00000985-B1B9-4BDE-A581-DFBD1F6389AC}"/>
              </c:ext>
            </c:extLst>
          </c:dPt>
          <c:dPt>
            <c:idx val="1218"/>
            <c:invertIfNegative val="1"/>
            <c:bubble3D val="0"/>
            <c:spPr>
              <a:solidFill>
                <a:srgbClr val="AEABAB"/>
              </a:solidFill>
            </c:spPr>
            <c:extLst>
              <c:ext xmlns:c16="http://schemas.microsoft.com/office/drawing/2014/chart" uri="{C3380CC4-5D6E-409C-BE32-E72D297353CC}">
                <c16:uniqueId val="{00000987-B1B9-4BDE-A581-DFBD1F6389AC}"/>
              </c:ext>
            </c:extLst>
          </c:dPt>
          <c:dPt>
            <c:idx val="1219"/>
            <c:invertIfNegative val="1"/>
            <c:bubble3D val="0"/>
            <c:spPr>
              <a:solidFill>
                <a:srgbClr val="AEABAB"/>
              </a:solidFill>
            </c:spPr>
            <c:extLst>
              <c:ext xmlns:c16="http://schemas.microsoft.com/office/drawing/2014/chart" uri="{C3380CC4-5D6E-409C-BE32-E72D297353CC}">
                <c16:uniqueId val="{00000989-B1B9-4BDE-A581-DFBD1F6389AC}"/>
              </c:ext>
            </c:extLst>
          </c:dPt>
          <c:dPt>
            <c:idx val="1220"/>
            <c:invertIfNegative val="1"/>
            <c:bubble3D val="0"/>
            <c:spPr>
              <a:solidFill>
                <a:srgbClr val="AEABAB"/>
              </a:solidFill>
            </c:spPr>
            <c:extLst>
              <c:ext xmlns:c16="http://schemas.microsoft.com/office/drawing/2014/chart" uri="{C3380CC4-5D6E-409C-BE32-E72D297353CC}">
                <c16:uniqueId val="{0000098B-B1B9-4BDE-A581-DFBD1F6389AC}"/>
              </c:ext>
            </c:extLst>
          </c:dPt>
          <c:dPt>
            <c:idx val="1221"/>
            <c:invertIfNegative val="1"/>
            <c:bubble3D val="0"/>
            <c:spPr>
              <a:solidFill>
                <a:srgbClr val="AEABAB"/>
              </a:solidFill>
            </c:spPr>
            <c:extLst>
              <c:ext xmlns:c16="http://schemas.microsoft.com/office/drawing/2014/chart" uri="{C3380CC4-5D6E-409C-BE32-E72D297353CC}">
                <c16:uniqueId val="{0000098D-B1B9-4BDE-A581-DFBD1F6389AC}"/>
              </c:ext>
            </c:extLst>
          </c:dPt>
          <c:dPt>
            <c:idx val="1222"/>
            <c:invertIfNegative val="1"/>
            <c:bubble3D val="0"/>
            <c:spPr>
              <a:solidFill>
                <a:srgbClr val="AEABAB"/>
              </a:solidFill>
            </c:spPr>
            <c:extLst>
              <c:ext xmlns:c16="http://schemas.microsoft.com/office/drawing/2014/chart" uri="{C3380CC4-5D6E-409C-BE32-E72D297353CC}">
                <c16:uniqueId val="{0000098F-B1B9-4BDE-A581-DFBD1F6389AC}"/>
              </c:ext>
            </c:extLst>
          </c:dPt>
          <c:dPt>
            <c:idx val="1223"/>
            <c:invertIfNegative val="1"/>
            <c:bubble3D val="0"/>
            <c:spPr>
              <a:solidFill>
                <a:srgbClr val="AEABAB"/>
              </a:solidFill>
            </c:spPr>
            <c:extLst>
              <c:ext xmlns:c16="http://schemas.microsoft.com/office/drawing/2014/chart" uri="{C3380CC4-5D6E-409C-BE32-E72D297353CC}">
                <c16:uniqueId val="{00000991-B1B9-4BDE-A581-DFBD1F6389AC}"/>
              </c:ext>
            </c:extLst>
          </c:dPt>
          <c:dPt>
            <c:idx val="1224"/>
            <c:invertIfNegative val="1"/>
            <c:bubble3D val="0"/>
            <c:spPr>
              <a:solidFill>
                <a:srgbClr val="AEABAB"/>
              </a:solidFill>
            </c:spPr>
            <c:extLst>
              <c:ext xmlns:c16="http://schemas.microsoft.com/office/drawing/2014/chart" uri="{C3380CC4-5D6E-409C-BE32-E72D297353CC}">
                <c16:uniqueId val="{00000993-B1B9-4BDE-A581-DFBD1F6389AC}"/>
              </c:ext>
            </c:extLst>
          </c:dPt>
          <c:dPt>
            <c:idx val="1225"/>
            <c:invertIfNegative val="1"/>
            <c:bubble3D val="0"/>
            <c:spPr>
              <a:solidFill>
                <a:srgbClr val="AEABAB"/>
              </a:solidFill>
            </c:spPr>
            <c:extLst>
              <c:ext xmlns:c16="http://schemas.microsoft.com/office/drawing/2014/chart" uri="{C3380CC4-5D6E-409C-BE32-E72D297353CC}">
                <c16:uniqueId val="{00000995-B1B9-4BDE-A581-DFBD1F6389AC}"/>
              </c:ext>
            </c:extLst>
          </c:dPt>
          <c:dPt>
            <c:idx val="1226"/>
            <c:invertIfNegative val="1"/>
            <c:bubble3D val="0"/>
            <c:spPr>
              <a:solidFill>
                <a:srgbClr val="AEABAB"/>
              </a:solidFill>
            </c:spPr>
            <c:extLst>
              <c:ext xmlns:c16="http://schemas.microsoft.com/office/drawing/2014/chart" uri="{C3380CC4-5D6E-409C-BE32-E72D297353CC}">
                <c16:uniqueId val="{00000997-B1B9-4BDE-A581-DFBD1F6389AC}"/>
              </c:ext>
            </c:extLst>
          </c:dPt>
          <c:dPt>
            <c:idx val="1227"/>
            <c:invertIfNegative val="1"/>
            <c:bubble3D val="0"/>
            <c:spPr>
              <a:solidFill>
                <a:srgbClr val="AEABAB"/>
              </a:solidFill>
            </c:spPr>
            <c:extLst>
              <c:ext xmlns:c16="http://schemas.microsoft.com/office/drawing/2014/chart" uri="{C3380CC4-5D6E-409C-BE32-E72D297353CC}">
                <c16:uniqueId val="{00000999-B1B9-4BDE-A581-DFBD1F6389AC}"/>
              </c:ext>
            </c:extLst>
          </c:dPt>
          <c:cat>
            <c:strRef>
              <c:f>Sheet1!$A$2:$A$1229</c:f>
              <c:strCache>
                <c:ptCount val="1228"/>
                <c:pt idx="0">
                  <c:v>Private Lab</c:v>
                </c:pt>
                <c:pt idx="1">
                  <c:v>Private Lab</c:v>
                </c:pt>
                <c:pt idx="2">
                  <c:v>Private Lab</c:v>
                </c:pt>
                <c:pt idx="3">
                  <c:v>Private Lab</c:v>
                </c:pt>
                <c:pt idx="4">
                  <c:v>Caprice Des</c:v>
                </c:pt>
                <c:pt idx="5">
                  <c:v>Private Lab</c:v>
                </c:pt>
                <c:pt idx="6">
                  <c:v>Private Lab</c:v>
                </c:pt>
                <c:pt idx="7">
                  <c:v>Private Lab</c:v>
                </c:pt>
                <c:pt idx="8">
                  <c:v>Mini Babybe</c:v>
                </c:pt>
                <c:pt idx="9">
                  <c:v>Private Lab</c:v>
                </c:pt>
                <c:pt idx="10">
                  <c:v>Private Lab</c:v>
                </c:pt>
                <c:pt idx="11">
                  <c:v>Private Lab</c:v>
                </c:pt>
                <c:pt idx="12">
                  <c:v>President</c:v>
                </c:pt>
                <c:pt idx="13">
                  <c:v>Private Lab</c:v>
                </c:pt>
                <c:pt idx="14">
                  <c:v>Coeur De Li</c:v>
                </c:pt>
                <c:pt idx="15">
                  <c:v>Chaussee Au</c:v>
                </c:pt>
                <c:pt idx="16">
                  <c:v>Private Lab</c:v>
                </c:pt>
                <c:pt idx="17">
                  <c:v>Entremont</c:v>
                </c:pt>
                <c:pt idx="18">
                  <c:v>Private Lab</c:v>
                </c:pt>
                <c:pt idx="19">
                  <c:v>Soignon</c:v>
                </c:pt>
                <c:pt idx="20">
                  <c:v>Private Lab</c:v>
                </c:pt>
                <c:pt idx="21">
                  <c:v>Private Lab</c:v>
                </c:pt>
                <c:pt idx="22">
                  <c:v>Galbani</c:v>
                </c:pt>
                <c:pt idx="23">
                  <c:v>Private Lab</c:v>
                </c:pt>
                <c:pt idx="24">
                  <c:v>Private Lab</c:v>
                </c:pt>
                <c:pt idx="25">
                  <c:v>Galbani</c:v>
                </c:pt>
                <c:pt idx="26">
                  <c:v>La Vache Qu</c:v>
                </c:pt>
                <c:pt idx="27">
                  <c:v>Private Lab</c:v>
                </c:pt>
                <c:pt idx="28">
                  <c:v>Entremont</c:v>
                </c:pt>
                <c:pt idx="29">
                  <c:v>Galbani</c:v>
                </c:pt>
                <c:pt idx="30">
                  <c:v>Private Lab</c:v>
                </c:pt>
                <c:pt idx="31">
                  <c:v>Soignon</c:v>
                </c:pt>
                <c:pt idx="32">
                  <c:v>Private Lab</c:v>
                </c:pt>
                <c:pt idx="33">
                  <c:v>St Moret</c:v>
                </c:pt>
                <c:pt idx="34">
                  <c:v>Caprice Des</c:v>
                </c:pt>
                <c:pt idx="35">
                  <c:v>President</c:v>
                </c:pt>
                <c:pt idx="36">
                  <c:v>Leerdammer</c:v>
                </c:pt>
                <c:pt idx="37">
                  <c:v>St Moret</c:v>
                </c:pt>
                <c:pt idx="38">
                  <c:v>Private Lab</c:v>
                </c:pt>
                <c:pt idx="39">
                  <c:v>President</c:v>
                </c:pt>
                <c:pt idx="40">
                  <c:v>Private Lab</c:v>
                </c:pt>
                <c:pt idx="41">
                  <c:v>Private Lab</c:v>
                </c:pt>
                <c:pt idx="42">
                  <c:v>Private Lab</c:v>
                </c:pt>
                <c:pt idx="43">
                  <c:v>Coeur De Li</c:v>
                </c:pt>
                <c:pt idx="44">
                  <c:v>President</c:v>
                </c:pt>
                <c:pt idx="45">
                  <c:v>Salakis</c:v>
                </c:pt>
                <c:pt idx="46">
                  <c:v>Leerdammer</c:v>
                </c:pt>
                <c:pt idx="47">
                  <c:v>La Vache Qu</c:v>
                </c:pt>
                <c:pt idx="48">
                  <c:v>Private Lab</c:v>
                </c:pt>
                <c:pt idx="49">
                  <c:v>President</c:v>
                </c:pt>
                <c:pt idx="50">
                  <c:v>St Moret</c:v>
                </c:pt>
                <c:pt idx="51">
                  <c:v>Private Lab</c:v>
                </c:pt>
                <c:pt idx="52">
                  <c:v>Private Lab</c:v>
                </c:pt>
                <c:pt idx="53">
                  <c:v>Private Lab</c:v>
                </c:pt>
                <c:pt idx="54">
                  <c:v>President</c:v>
                </c:pt>
                <c:pt idx="55">
                  <c:v>Entremont</c:v>
                </c:pt>
                <c:pt idx="56">
                  <c:v>Private Lab</c:v>
                </c:pt>
                <c:pt idx="57">
                  <c:v>Private Lab</c:v>
                </c:pt>
                <c:pt idx="58">
                  <c:v>Leerdammer</c:v>
                </c:pt>
                <c:pt idx="59">
                  <c:v>La Vache Qu</c:v>
                </c:pt>
                <c:pt idx="60">
                  <c:v>All Others</c:v>
                </c:pt>
                <c:pt idx="61">
                  <c:v>Private Lab</c:v>
                </c:pt>
                <c:pt idx="62">
                  <c:v>All Others</c:v>
                </c:pt>
                <c:pt idx="63">
                  <c:v>Private Lab</c:v>
                </c:pt>
                <c:pt idx="64">
                  <c:v>Private Lab</c:v>
                </c:pt>
                <c:pt idx="65">
                  <c:v>President</c:v>
                </c:pt>
                <c:pt idx="66">
                  <c:v>Salakis</c:v>
                </c:pt>
                <c:pt idx="67">
                  <c:v>Private Lab</c:v>
                </c:pt>
                <c:pt idx="68">
                  <c:v>Le Rustique</c:v>
                </c:pt>
                <c:pt idx="69">
                  <c:v>Tartare</c:v>
                </c:pt>
                <c:pt idx="70">
                  <c:v>Societe</c:v>
                </c:pt>
                <c:pt idx="71">
                  <c:v>St Moret</c:v>
                </c:pt>
                <c:pt idx="72">
                  <c:v>Private Lab</c:v>
                </c:pt>
                <c:pt idx="73">
                  <c:v>Mini Babybe</c:v>
                </c:pt>
                <c:pt idx="74">
                  <c:v>Soignon</c:v>
                </c:pt>
                <c:pt idx="75">
                  <c:v>Galbani</c:v>
                </c:pt>
                <c:pt idx="76">
                  <c:v>Juraflore</c:v>
                </c:pt>
                <c:pt idx="77">
                  <c:v>Private Lab</c:v>
                </c:pt>
                <c:pt idx="78">
                  <c:v>Islos</c:v>
                </c:pt>
                <c:pt idx="79">
                  <c:v>Entremont</c:v>
                </c:pt>
                <c:pt idx="80">
                  <c:v>Chaussee Au</c:v>
                </c:pt>
                <c:pt idx="81">
                  <c:v>Private Lab</c:v>
                </c:pt>
                <c:pt idx="82">
                  <c:v>Private Lab</c:v>
                </c:pt>
                <c:pt idx="83">
                  <c:v>Ficello</c:v>
                </c:pt>
                <c:pt idx="84">
                  <c:v>President</c:v>
                </c:pt>
                <c:pt idx="85">
                  <c:v>Kiri</c:v>
                </c:pt>
                <c:pt idx="86">
                  <c:v>Private Lab</c:v>
                </c:pt>
                <c:pt idx="87">
                  <c:v>Private Lab</c:v>
                </c:pt>
                <c:pt idx="88">
                  <c:v>Galbani</c:v>
                </c:pt>
                <c:pt idx="89">
                  <c:v>Kiri</c:v>
                </c:pt>
                <c:pt idx="90">
                  <c:v>Private Lab</c:v>
                </c:pt>
                <c:pt idx="91">
                  <c:v>Private Lab</c:v>
                </c:pt>
                <c:pt idx="92">
                  <c:v>Paysan Bret</c:v>
                </c:pt>
                <c:pt idx="93">
                  <c:v>Bresse Bleu</c:v>
                </c:pt>
                <c:pt idx="94">
                  <c:v>Private Lab</c:v>
                </c:pt>
                <c:pt idx="95">
                  <c:v>Private Lab</c:v>
                </c:pt>
                <c:pt idx="96">
                  <c:v>Entremont</c:v>
                </c:pt>
                <c:pt idx="97">
                  <c:v>President</c:v>
                </c:pt>
                <c:pt idx="98">
                  <c:v>Entremont</c:v>
                </c:pt>
                <c:pt idx="99">
                  <c:v>President</c:v>
                </c:pt>
                <c:pt idx="100">
                  <c:v>Saint Albra</c:v>
                </c:pt>
                <c:pt idx="101">
                  <c:v>Apericube</c:v>
                </c:pt>
                <c:pt idx="102">
                  <c:v>Salakis</c:v>
                </c:pt>
                <c:pt idx="103">
                  <c:v>Private Lab</c:v>
                </c:pt>
                <c:pt idx="104">
                  <c:v>Leerdammer</c:v>
                </c:pt>
                <c:pt idx="105">
                  <c:v>President</c:v>
                </c:pt>
                <c:pt idx="106">
                  <c:v>President</c:v>
                </c:pt>
                <c:pt idx="107">
                  <c:v>Private Lab</c:v>
                </c:pt>
                <c:pt idx="108">
                  <c:v>Private Lab</c:v>
                </c:pt>
                <c:pt idx="109">
                  <c:v>Leerdammer</c:v>
                </c:pt>
                <c:pt idx="110">
                  <c:v>Private Lab</c:v>
                </c:pt>
                <c:pt idx="111">
                  <c:v>Casa Azzurr</c:v>
                </c:pt>
                <c:pt idx="112">
                  <c:v>Paysan Bret</c:v>
                </c:pt>
                <c:pt idx="113">
                  <c:v>Casa Azzurr</c:v>
                </c:pt>
                <c:pt idx="114">
                  <c:v>Private Lab</c:v>
                </c:pt>
                <c:pt idx="115">
                  <c:v>Private Lab</c:v>
                </c:pt>
                <c:pt idx="116">
                  <c:v>L'Ortolan</c:v>
                </c:pt>
                <c:pt idx="117">
                  <c:v>Private Lab</c:v>
                </c:pt>
                <c:pt idx="118">
                  <c:v>Apericube</c:v>
                </c:pt>
                <c:pt idx="119">
                  <c:v>Private Lab</c:v>
                </c:pt>
                <c:pt idx="120">
                  <c:v>Saint Albra</c:v>
                </c:pt>
                <c:pt idx="121">
                  <c:v>Galbani</c:v>
                </c:pt>
                <c:pt idx="122">
                  <c:v>Kiri</c:v>
                </c:pt>
                <c:pt idx="123">
                  <c:v>Saint Agur</c:v>
                </c:pt>
                <c:pt idx="124">
                  <c:v>Private Lab</c:v>
                </c:pt>
                <c:pt idx="125">
                  <c:v>Private Lab</c:v>
                </c:pt>
                <c:pt idx="126">
                  <c:v>St Moret</c:v>
                </c:pt>
                <c:pt idx="127">
                  <c:v>President</c:v>
                </c:pt>
                <c:pt idx="128">
                  <c:v>L'Ortolan</c:v>
                </c:pt>
                <c:pt idx="129">
                  <c:v>Private Lab</c:v>
                </c:pt>
                <c:pt idx="130">
                  <c:v>President</c:v>
                </c:pt>
                <c:pt idx="131">
                  <c:v>Entremont</c:v>
                </c:pt>
                <c:pt idx="132">
                  <c:v>Boursin</c:v>
                </c:pt>
                <c:pt idx="133">
                  <c:v>Private Lab</c:v>
                </c:pt>
                <c:pt idx="134">
                  <c:v>Private Lab</c:v>
                </c:pt>
                <c:pt idx="135">
                  <c:v>Casa Azzurr</c:v>
                </c:pt>
                <c:pt idx="136">
                  <c:v>Entremont</c:v>
                </c:pt>
                <c:pt idx="137">
                  <c:v>Parmareggio</c:v>
                </c:pt>
                <c:pt idx="138">
                  <c:v>Private Lab</c:v>
                </c:pt>
                <c:pt idx="139">
                  <c:v>Coeur De Li</c:v>
                </c:pt>
                <c:pt idx="140">
                  <c:v>Istara</c:v>
                </c:pt>
                <c:pt idx="141">
                  <c:v>Galbani</c:v>
                </c:pt>
                <c:pt idx="142">
                  <c:v>Apericube</c:v>
                </c:pt>
                <c:pt idx="143">
                  <c:v>Salakis</c:v>
                </c:pt>
                <c:pt idx="144">
                  <c:v>All Others</c:v>
                </c:pt>
                <c:pt idx="145">
                  <c:v>All Others</c:v>
                </c:pt>
                <c:pt idx="146">
                  <c:v>Entremont</c:v>
                </c:pt>
                <c:pt idx="147">
                  <c:v>President</c:v>
                </c:pt>
                <c:pt idx="148">
                  <c:v>Casa Azzurr</c:v>
                </c:pt>
                <c:pt idx="149">
                  <c:v>Private Lab</c:v>
                </c:pt>
                <c:pt idx="150">
                  <c:v>Private Lab</c:v>
                </c:pt>
                <c:pt idx="151">
                  <c:v>Private Lab</c:v>
                </c:pt>
                <c:pt idx="152">
                  <c:v>Leerdammer</c:v>
                </c:pt>
                <c:pt idx="153">
                  <c:v>Casa Azzurr</c:v>
                </c:pt>
                <c:pt idx="154">
                  <c:v>Boursin</c:v>
                </c:pt>
                <c:pt idx="155">
                  <c:v>Carre Frais</c:v>
                </c:pt>
                <c:pt idx="156">
                  <c:v>Private Lab</c:v>
                </c:pt>
                <c:pt idx="157">
                  <c:v>Private Lab</c:v>
                </c:pt>
                <c:pt idx="158">
                  <c:v>Entremont</c:v>
                </c:pt>
                <c:pt idx="159">
                  <c:v>St Moret</c:v>
                </c:pt>
                <c:pt idx="160">
                  <c:v>Private Lab</c:v>
                </c:pt>
                <c:pt idx="161">
                  <c:v>Carre Frais</c:v>
                </c:pt>
                <c:pt idx="162">
                  <c:v>Private Lab</c:v>
                </c:pt>
                <c:pt idx="163">
                  <c:v>Private Lab</c:v>
                </c:pt>
                <c:pt idx="164">
                  <c:v>Boursin</c:v>
                </c:pt>
                <c:pt idx="165">
                  <c:v>Port Salut</c:v>
                </c:pt>
                <c:pt idx="166">
                  <c:v>Saint Agur</c:v>
                </c:pt>
                <c:pt idx="167">
                  <c:v>Apericube</c:v>
                </c:pt>
                <c:pt idx="168">
                  <c:v>Kiri</c:v>
                </c:pt>
                <c:pt idx="169">
                  <c:v>Coeur De Li</c:v>
                </c:pt>
                <c:pt idx="170">
                  <c:v>Lepetit</c:v>
                </c:pt>
                <c:pt idx="171">
                  <c:v>Entremont</c:v>
                </c:pt>
                <c:pt idx="172">
                  <c:v>Private Lab</c:v>
                </c:pt>
                <c:pt idx="173">
                  <c:v>Entremont</c:v>
                </c:pt>
                <c:pt idx="174">
                  <c:v>Private Lab</c:v>
                </c:pt>
                <c:pt idx="175">
                  <c:v>Kiri</c:v>
                </c:pt>
                <c:pt idx="176">
                  <c:v>Philadelphi</c:v>
                </c:pt>
                <c:pt idx="177">
                  <c:v>Lou Perac</c:v>
                </c:pt>
                <c:pt idx="178">
                  <c:v>Tartare</c:v>
                </c:pt>
                <c:pt idx="179">
                  <c:v>Coeur De Li</c:v>
                </c:pt>
                <c:pt idx="180">
                  <c:v>All Others</c:v>
                </c:pt>
                <c:pt idx="181">
                  <c:v>Casa Azzurr</c:v>
                </c:pt>
                <c:pt idx="182">
                  <c:v>Private Lab</c:v>
                </c:pt>
                <c:pt idx="183">
                  <c:v>Soignon</c:v>
                </c:pt>
                <c:pt idx="184">
                  <c:v>President</c:v>
                </c:pt>
                <c:pt idx="185">
                  <c:v>Private Lab</c:v>
                </c:pt>
                <c:pt idx="186">
                  <c:v>Entremont</c:v>
                </c:pt>
                <c:pt idx="187">
                  <c:v>Pave D'Affi</c:v>
                </c:pt>
                <c:pt idx="188">
                  <c:v>Private Lab</c:v>
                </c:pt>
                <c:pt idx="189">
                  <c:v>All Others</c:v>
                </c:pt>
                <c:pt idx="190">
                  <c:v>St Moret</c:v>
                </c:pt>
                <c:pt idx="191">
                  <c:v>Private Lab</c:v>
                </c:pt>
                <c:pt idx="192">
                  <c:v>Private Lab</c:v>
                </c:pt>
                <c:pt idx="193">
                  <c:v>Les Mousque</c:v>
                </c:pt>
                <c:pt idx="194">
                  <c:v>Boursin</c:v>
                </c:pt>
                <c:pt idx="195">
                  <c:v>Private Lab</c:v>
                </c:pt>
                <c:pt idx="196">
                  <c:v>Richesmonts</c:v>
                </c:pt>
                <c:pt idx="197">
                  <c:v>President</c:v>
                </c:pt>
                <c:pt idx="198">
                  <c:v>Lactalis: A</c:v>
                </c:pt>
                <c:pt idx="199">
                  <c:v>Apericube</c:v>
                </c:pt>
                <c:pt idx="200">
                  <c:v>Galbani</c:v>
                </c:pt>
                <c:pt idx="201">
                  <c:v>Galbani</c:v>
                </c:pt>
                <c:pt idx="202">
                  <c:v>Private Lab</c:v>
                </c:pt>
                <c:pt idx="203">
                  <c:v>Saint Agur</c:v>
                </c:pt>
                <c:pt idx="204">
                  <c:v>Savencia: A</c:v>
                </c:pt>
                <c:pt idx="205">
                  <c:v>Salakis</c:v>
                </c:pt>
                <c:pt idx="206">
                  <c:v>President</c:v>
                </c:pt>
                <c:pt idx="207">
                  <c:v>Casa Azzurr</c:v>
                </c:pt>
                <c:pt idx="208">
                  <c:v>Private Lab</c:v>
                </c:pt>
                <c:pt idx="209">
                  <c:v>Caprice Des</c:v>
                </c:pt>
                <c:pt idx="210">
                  <c:v>Saint Agur</c:v>
                </c:pt>
                <c:pt idx="211">
                  <c:v>Galbani</c:v>
                </c:pt>
                <c:pt idx="212">
                  <c:v>Apericube</c:v>
                </c:pt>
                <c:pt idx="213">
                  <c:v>St Moret</c:v>
                </c:pt>
                <c:pt idx="214">
                  <c:v>Casa Azzurr</c:v>
                </c:pt>
                <c:pt idx="215">
                  <c:v>Soignon</c:v>
                </c:pt>
                <c:pt idx="216">
                  <c:v>Leerdammer</c:v>
                </c:pt>
                <c:pt idx="217">
                  <c:v>Private Lab</c:v>
                </c:pt>
                <c:pt idx="218">
                  <c:v>Private Lab</c:v>
                </c:pt>
                <c:pt idx="219">
                  <c:v>Private Lab</c:v>
                </c:pt>
                <c:pt idx="220">
                  <c:v>Private Lab</c:v>
                </c:pt>
                <c:pt idx="221">
                  <c:v>Petit Billy</c:v>
                </c:pt>
                <c:pt idx="222">
                  <c:v>La Vache Qu</c:v>
                </c:pt>
                <c:pt idx="223">
                  <c:v>Private Lab</c:v>
                </c:pt>
                <c:pt idx="224">
                  <c:v>President</c:v>
                </c:pt>
                <c:pt idx="225">
                  <c:v>President</c:v>
                </c:pt>
                <c:pt idx="226">
                  <c:v>Coeur De Li</c:v>
                </c:pt>
                <c:pt idx="227">
                  <c:v>Apericube</c:v>
                </c:pt>
                <c:pt idx="228">
                  <c:v>Private Lab</c:v>
                </c:pt>
                <c:pt idx="229">
                  <c:v>Private Lab</c:v>
                </c:pt>
                <c:pt idx="230">
                  <c:v>Leerdammer</c:v>
                </c:pt>
                <c:pt idx="231">
                  <c:v>Ficello</c:v>
                </c:pt>
                <c:pt idx="232">
                  <c:v>Private Lab</c:v>
                </c:pt>
                <c:pt idx="233">
                  <c:v>Salakis</c:v>
                </c:pt>
                <c:pt idx="234">
                  <c:v>Saint Agur</c:v>
                </c:pt>
                <c:pt idx="235">
                  <c:v>Babybel</c:v>
                </c:pt>
                <c:pt idx="236">
                  <c:v>Private Lab</c:v>
                </c:pt>
                <c:pt idx="237">
                  <c:v>Istara</c:v>
                </c:pt>
                <c:pt idx="238">
                  <c:v>Galbani</c:v>
                </c:pt>
                <c:pt idx="239">
                  <c:v>Aperivrais</c:v>
                </c:pt>
                <c:pt idx="240">
                  <c:v>Les Mousque</c:v>
                </c:pt>
                <c:pt idx="241">
                  <c:v>Private Lab</c:v>
                </c:pt>
                <c:pt idx="242">
                  <c:v>Fauquet</c:v>
                </c:pt>
                <c:pt idx="243">
                  <c:v>Private Lab</c:v>
                </c:pt>
                <c:pt idx="244">
                  <c:v>Private Lab</c:v>
                </c:pt>
                <c:pt idx="245">
                  <c:v>Private Lab</c:v>
                </c:pt>
                <c:pt idx="246">
                  <c:v>Apericube</c:v>
                </c:pt>
                <c:pt idx="247">
                  <c:v>All Others</c:v>
                </c:pt>
                <c:pt idx="248">
                  <c:v>Pochat</c:v>
                </c:pt>
                <c:pt idx="249">
                  <c:v>Entremont</c:v>
                </c:pt>
                <c:pt idx="250">
                  <c:v>Private Lab</c:v>
                </c:pt>
                <c:pt idx="251">
                  <c:v>Private Lab</c:v>
                </c:pt>
                <c:pt idx="252">
                  <c:v>President</c:v>
                </c:pt>
                <c:pt idx="253">
                  <c:v>Soignon</c:v>
                </c:pt>
                <c:pt idx="254">
                  <c:v>Boursin</c:v>
                </c:pt>
                <c:pt idx="255">
                  <c:v>Entremont</c:v>
                </c:pt>
                <c:pt idx="256">
                  <c:v>Galbani</c:v>
                </c:pt>
                <c:pt idx="257">
                  <c:v>La Vache Qu</c:v>
                </c:pt>
                <c:pt idx="258">
                  <c:v>Pave D'Affi</c:v>
                </c:pt>
                <c:pt idx="259">
                  <c:v>President</c:v>
                </c:pt>
                <c:pt idx="260">
                  <c:v>Private Lab</c:v>
                </c:pt>
                <c:pt idx="261">
                  <c:v>President</c:v>
                </c:pt>
                <c:pt idx="262">
                  <c:v>Entremont</c:v>
                </c:pt>
                <c:pt idx="263">
                  <c:v>Private Lab</c:v>
                </c:pt>
                <c:pt idx="264">
                  <c:v>Vieux Pane</c:v>
                </c:pt>
                <c:pt idx="265">
                  <c:v>Lactalis: A</c:v>
                </c:pt>
                <c:pt idx="266">
                  <c:v>Casa Azzurr</c:v>
                </c:pt>
                <c:pt idx="267">
                  <c:v>Private Lab</c:v>
                </c:pt>
                <c:pt idx="268">
                  <c:v>Boursin</c:v>
                </c:pt>
                <c:pt idx="269">
                  <c:v>Leerdammer</c:v>
                </c:pt>
                <c:pt idx="270">
                  <c:v>All Others</c:v>
                </c:pt>
                <c:pt idx="271">
                  <c:v>Societe</c:v>
                </c:pt>
                <c:pt idx="272">
                  <c:v>Private Lab</c:v>
                </c:pt>
                <c:pt idx="273">
                  <c:v>Caprice Des</c:v>
                </c:pt>
                <c:pt idx="274">
                  <c:v>Private Lab</c:v>
                </c:pt>
                <c:pt idx="275">
                  <c:v>Private Lab</c:v>
                </c:pt>
                <c:pt idx="276">
                  <c:v>Casa Azzurr</c:v>
                </c:pt>
                <c:pt idx="277">
                  <c:v>Private Lab</c:v>
                </c:pt>
                <c:pt idx="278">
                  <c:v>Private Lab</c:v>
                </c:pt>
                <c:pt idx="279">
                  <c:v>Apericube</c:v>
                </c:pt>
                <c:pt idx="280">
                  <c:v>Le Rustique</c:v>
                </c:pt>
                <c:pt idx="281">
                  <c:v>Chavroux</c:v>
                </c:pt>
                <c:pt idx="282">
                  <c:v>Private Lab</c:v>
                </c:pt>
                <c:pt idx="283">
                  <c:v>Paysan Bret</c:v>
                </c:pt>
                <c:pt idx="284">
                  <c:v>Galbani</c:v>
                </c:pt>
                <c:pt idx="285">
                  <c:v>Tartare</c:v>
                </c:pt>
                <c:pt idx="286">
                  <c:v>Societe</c:v>
                </c:pt>
                <c:pt idx="287">
                  <c:v>Ficello</c:v>
                </c:pt>
                <c:pt idx="288">
                  <c:v>Private Lab</c:v>
                </c:pt>
                <c:pt idx="289">
                  <c:v>Societe</c:v>
                </c:pt>
                <c:pt idx="290">
                  <c:v>Apericube</c:v>
                </c:pt>
                <c:pt idx="291">
                  <c:v>Soignon</c:v>
                </c:pt>
                <c:pt idx="292">
                  <c:v>Carre Frais</c:v>
                </c:pt>
                <c:pt idx="293">
                  <c:v>Private Lab</c:v>
                </c:pt>
                <c:pt idx="294">
                  <c:v>Private Lab</c:v>
                </c:pt>
                <c:pt idx="295">
                  <c:v>All Others</c:v>
                </c:pt>
                <c:pt idx="296">
                  <c:v>Private Lab</c:v>
                </c:pt>
                <c:pt idx="297">
                  <c:v>Fol Epi</c:v>
                </c:pt>
                <c:pt idx="298">
                  <c:v>Private Lab</c:v>
                </c:pt>
                <c:pt idx="299">
                  <c:v>Le Rustique</c:v>
                </c:pt>
                <c:pt idx="300">
                  <c:v>President</c:v>
                </c:pt>
                <c:pt idx="301">
                  <c:v>Private Lab</c:v>
                </c:pt>
                <c:pt idx="302">
                  <c:v>Bresse Bleu</c:v>
                </c:pt>
                <c:pt idx="303">
                  <c:v>Pochat</c:v>
                </c:pt>
                <c:pt idx="304">
                  <c:v>Private Lab</c:v>
                </c:pt>
                <c:pt idx="305">
                  <c:v>Aperivrais</c:v>
                </c:pt>
                <c:pt idx="306">
                  <c:v>Private Lab</c:v>
                </c:pt>
                <c:pt idx="307">
                  <c:v>Private Lab</c:v>
                </c:pt>
                <c:pt idx="308">
                  <c:v>Galbani</c:v>
                </c:pt>
                <c:pt idx="309">
                  <c:v>Private Lab</c:v>
                </c:pt>
                <c:pt idx="310">
                  <c:v>Le Rustique</c:v>
                </c:pt>
                <c:pt idx="311">
                  <c:v>Pave D'Affi</c:v>
                </c:pt>
                <c:pt idx="312">
                  <c:v>Philadelphi</c:v>
                </c:pt>
                <c:pt idx="313">
                  <c:v>St Moret</c:v>
                </c:pt>
                <c:pt idx="314">
                  <c:v>Private Lab</c:v>
                </c:pt>
                <c:pt idx="315">
                  <c:v>Private Lab</c:v>
                </c:pt>
                <c:pt idx="316">
                  <c:v>Parmareggio</c:v>
                </c:pt>
                <c:pt idx="317">
                  <c:v>Private Lab</c:v>
                </c:pt>
                <c:pt idx="318">
                  <c:v>All Others</c:v>
                </c:pt>
                <c:pt idx="319">
                  <c:v>Etorki</c:v>
                </c:pt>
                <c:pt idx="320">
                  <c:v>Private Lab</c:v>
                </c:pt>
                <c:pt idx="321">
                  <c:v>Paysan Bret</c:v>
                </c:pt>
                <c:pt idx="322">
                  <c:v>Lactalis: A</c:v>
                </c:pt>
                <c:pt idx="323">
                  <c:v>All Others</c:v>
                </c:pt>
                <c:pt idx="324">
                  <c:v>P'Tit Louis</c:v>
                </c:pt>
                <c:pt idx="325">
                  <c:v>Paysan Bret</c:v>
                </c:pt>
                <c:pt idx="326">
                  <c:v>Casa Azzurr</c:v>
                </c:pt>
                <c:pt idx="327">
                  <c:v>Mini Babybe</c:v>
                </c:pt>
                <c:pt idx="328">
                  <c:v>Private Lab</c:v>
                </c:pt>
                <c:pt idx="329">
                  <c:v>Savencia: A</c:v>
                </c:pt>
                <c:pt idx="330">
                  <c:v>Galbani</c:v>
                </c:pt>
                <c:pt idx="331">
                  <c:v>Private Lab</c:v>
                </c:pt>
                <c:pt idx="332">
                  <c:v>Boursin</c:v>
                </c:pt>
                <c:pt idx="333">
                  <c:v>Soignon</c:v>
                </c:pt>
                <c:pt idx="334">
                  <c:v>Private Lab</c:v>
                </c:pt>
                <c:pt idx="335">
                  <c:v>Private Lab</c:v>
                </c:pt>
                <c:pt idx="336">
                  <c:v>Private Lab</c:v>
                </c:pt>
                <c:pt idx="337">
                  <c:v>Private Lab</c:v>
                </c:pt>
                <c:pt idx="338">
                  <c:v>Le Brebiou</c:v>
                </c:pt>
                <c:pt idx="339">
                  <c:v>Caprice Des</c:v>
                </c:pt>
                <c:pt idx="340">
                  <c:v>Private Lab</c:v>
                </c:pt>
                <c:pt idx="341">
                  <c:v>Galbani</c:v>
                </c:pt>
                <c:pt idx="342">
                  <c:v>Private Lab</c:v>
                </c:pt>
                <c:pt idx="343">
                  <c:v>Lactalis: A</c:v>
                </c:pt>
                <c:pt idx="344">
                  <c:v>Private Lab</c:v>
                </c:pt>
                <c:pt idx="345">
                  <c:v>Private Lab</c:v>
                </c:pt>
                <c:pt idx="346">
                  <c:v>Le Rustique</c:v>
                </c:pt>
                <c:pt idx="347">
                  <c:v>Salakis</c:v>
                </c:pt>
                <c:pt idx="348">
                  <c:v>Kiri</c:v>
                </c:pt>
                <c:pt idx="349">
                  <c:v>Private Lab</c:v>
                </c:pt>
                <c:pt idx="350">
                  <c:v>President</c:v>
                </c:pt>
                <c:pt idx="351">
                  <c:v>All Others</c:v>
                </c:pt>
                <c:pt idx="352">
                  <c:v>All Others</c:v>
                </c:pt>
                <c:pt idx="353">
                  <c:v>Soignon</c:v>
                </c:pt>
                <c:pt idx="354">
                  <c:v>St Moret</c:v>
                </c:pt>
                <c:pt idx="355">
                  <c:v>President</c:v>
                </c:pt>
                <c:pt idx="356">
                  <c:v>Private Lab</c:v>
                </c:pt>
                <c:pt idx="357">
                  <c:v>All Others</c:v>
                </c:pt>
                <c:pt idx="358">
                  <c:v>Paysan Bret</c:v>
                </c:pt>
                <c:pt idx="359">
                  <c:v>Aperivrais</c:v>
                </c:pt>
                <c:pt idx="360">
                  <c:v>Private Lab</c:v>
                </c:pt>
                <c:pt idx="361">
                  <c:v>Casa Azzurr</c:v>
                </c:pt>
                <c:pt idx="362">
                  <c:v>President</c:v>
                </c:pt>
                <c:pt idx="363">
                  <c:v>Soignon</c:v>
                </c:pt>
                <c:pt idx="364">
                  <c:v>L'Ortolan</c:v>
                </c:pt>
                <c:pt idx="365">
                  <c:v>President</c:v>
                </c:pt>
                <c:pt idx="366">
                  <c:v>Private Lab</c:v>
                </c:pt>
                <c:pt idx="367">
                  <c:v>Private Lab</c:v>
                </c:pt>
                <c:pt idx="368">
                  <c:v>Boursin</c:v>
                </c:pt>
                <c:pt idx="369">
                  <c:v>Private Lab</c:v>
                </c:pt>
                <c:pt idx="370">
                  <c:v>Boursin</c:v>
                </c:pt>
                <c:pt idx="371">
                  <c:v>Etorki</c:v>
                </c:pt>
                <c:pt idx="372">
                  <c:v>Savencia: A</c:v>
                </c:pt>
                <c:pt idx="373">
                  <c:v>All Others</c:v>
                </c:pt>
                <c:pt idx="374">
                  <c:v>Tartare</c:v>
                </c:pt>
                <c:pt idx="375">
                  <c:v>Galbani</c:v>
                </c:pt>
                <c:pt idx="376">
                  <c:v>All Others</c:v>
                </c:pt>
                <c:pt idx="377">
                  <c:v>Pave D'Affi</c:v>
                </c:pt>
                <c:pt idx="378">
                  <c:v>President</c:v>
                </c:pt>
                <c:pt idx="379">
                  <c:v>Private Lab</c:v>
                </c:pt>
                <c:pt idx="380">
                  <c:v>Leerdammer</c:v>
                </c:pt>
                <c:pt idx="381">
                  <c:v>Societe</c:v>
                </c:pt>
                <c:pt idx="382">
                  <c:v>Islos</c:v>
                </c:pt>
                <c:pt idx="383">
                  <c:v>Les Mousque</c:v>
                </c:pt>
                <c:pt idx="384">
                  <c:v>Private Lab</c:v>
                </c:pt>
                <c:pt idx="385">
                  <c:v>Chavroux</c:v>
                </c:pt>
                <c:pt idx="386">
                  <c:v>Private Lab</c:v>
                </c:pt>
                <c:pt idx="387">
                  <c:v>Private Lab</c:v>
                </c:pt>
                <c:pt idx="388">
                  <c:v>Pave D'Affi</c:v>
                </c:pt>
                <c:pt idx="389">
                  <c:v>Casa Azzurr</c:v>
                </c:pt>
                <c:pt idx="390">
                  <c:v>Private Lab</c:v>
                </c:pt>
                <c:pt idx="391">
                  <c:v>All Others</c:v>
                </c:pt>
                <c:pt idx="392">
                  <c:v>Milleret: A</c:v>
                </c:pt>
                <c:pt idx="393">
                  <c:v>St Moret</c:v>
                </c:pt>
                <c:pt idx="394">
                  <c:v>Les Mousque</c:v>
                </c:pt>
                <c:pt idx="395">
                  <c:v>La Vache Qu</c:v>
                </c:pt>
                <c:pt idx="396">
                  <c:v>Paysan Bret</c:v>
                </c:pt>
                <c:pt idx="397">
                  <c:v>Societe</c:v>
                </c:pt>
                <c:pt idx="398">
                  <c:v>Private Lab</c:v>
                </c:pt>
                <c:pt idx="399">
                  <c:v>Savencia: A</c:v>
                </c:pt>
                <c:pt idx="400">
                  <c:v>Galbani</c:v>
                </c:pt>
                <c:pt idx="401">
                  <c:v>Soignon</c:v>
                </c:pt>
                <c:pt idx="402">
                  <c:v>Private Lab</c:v>
                </c:pt>
                <c:pt idx="403">
                  <c:v>Aperivrais</c:v>
                </c:pt>
                <c:pt idx="404">
                  <c:v>Private Lab</c:v>
                </c:pt>
                <c:pt idx="405">
                  <c:v>Casa Azzurr</c:v>
                </c:pt>
                <c:pt idx="406">
                  <c:v>Galbani</c:v>
                </c:pt>
                <c:pt idx="407">
                  <c:v>Soignon</c:v>
                </c:pt>
                <c:pt idx="408">
                  <c:v>Mini Babybe</c:v>
                </c:pt>
                <c:pt idx="409">
                  <c:v>Fol Epi</c:v>
                </c:pt>
                <c:pt idx="410">
                  <c:v>Kiri</c:v>
                </c:pt>
                <c:pt idx="411">
                  <c:v>Boursin</c:v>
                </c:pt>
                <c:pt idx="412">
                  <c:v>All Others</c:v>
                </c:pt>
                <c:pt idx="413">
                  <c:v>Tartare</c:v>
                </c:pt>
                <c:pt idx="414">
                  <c:v>Caprice Des</c:v>
                </c:pt>
                <c:pt idx="415">
                  <c:v>Apericube</c:v>
                </c:pt>
                <c:pt idx="416">
                  <c:v>President</c:v>
                </c:pt>
                <c:pt idx="417">
                  <c:v>Vieux Pane</c:v>
                </c:pt>
                <c:pt idx="418">
                  <c:v>Private Lab</c:v>
                </c:pt>
                <c:pt idx="419">
                  <c:v>Private Lab</c:v>
                </c:pt>
                <c:pt idx="420">
                  <c:v>All Others</c:v>
                </c:pt>
                <c:pt idx="421">
                  <c:v>Private Lab</c:v>
                </c:pt>
                <c:pt idx="422">
                  <c:v>Lactalis: A</c:v>
                </c:pt>
                <c:pt idx="423">
                  <c:v>Boursin</c:v>
                </c:pt>
                <c:pt idx="424">
                  <c:v>Boursin</c:v>
                </c:pt>
                <c:pt idx="425">
                  <c:v>Private Lab</c:v>
                </c:pt>
                <c:pt idx="426">
                  <c:v>Salakis</c:v>
                </c:pt>
                <c:pt idx="427">
                  <c:v>La Belle Et</c:v>
                </c:pt>
                <c:pt idx="428">
                  <c:v>Aperivrais</c:v>
                </c:pt>
                <c:pt idx="429">
                  <c:v>All Others</c:v>
                </c:pt>
                <c:pt idx="430">
                  <c:v>St Moret</c:v>
                </c:pt>
                <c:pt idx="431">
                  <c:v>Galbani</c:v>
                </c:pt>
                <c:pt idx="432">
                  <c:v>Apericube</c:v>
                </c:pt>
                <c:pt idx="433">
                  <c:v>Societe</c:v>
                </c:pt>
                <c:pt idx="434">
                  <c:v>All Others</c:v>
                </c:pt>
                <c:pt idx="435">
                  <c:v>Lou Perac</c:v>
                </c:pt>
                <c:pt idx="436">
                  <c:v>La Belle Et</c:v>
                </c:pt>
                <c:pt idx="437">
                  <c:v>Boursin</c:v>
                </c:pt>
                <c:pt idx="438">
                  <c:v>Private Lab</c:v>
                </c:pt>
                <c:pt idx="439">
                  <c:v>Caprice Des</c:v>
                </c:pt>
                <c:pt idx="440">
                  <c:v>Private Lab</c:v>
                </c:pt>
                <c:pt idx="441">
                  <c:v>Eurial Autr</c:v>
                </c:pt>
                <c:pt idx="442">
                  <c:v>Entremont</c:v>
                </c:pt>
                <c:pt idx="443">
                  <c:v>Tartare</c:v>
                </c:pt>
                <c:pt idx="444">
                  <c:v>Private Lab</c:v>
                </c:pt>
                <c:pt idx="445">
                  <c:v>Savencia: A</c:v>
                </c:pt>
                <c:pt idx="446">
                  <c:v>Saint Agur</c:v>
                </c:pt>
                <c:pt idx="447">
                  <c:v>Private Lab</c:v>
                </c:pt>
                <c:pt idx="448">
                  <c:v>Eurial Autr</c:v>
                </c:pt>
                <c:pt idx="449">
                  <c:v>All Others</c:v>
                </c:pt>
                <c:pt idx="450">
                  <c:v>Soignon</c:v>
                </c:pt>
                <c:pt idx="451">
                  <c:v>President</c:v>
                </c:pt>
                <c:pt idx="452">
                  <c:v>Bresse Bleu</c:v>
                </c:pt>
                <c:pt idx="453">
                  <c:v>Vieux Pane</c:v>
                </c:pt>
                <c:pt idx="454">
                  <c:v>Lou Perac</c:v>
                </c:pt>
                <c:pt idx="455">
                  <c:v>Richesmonts</c:v>
                </c:pt>
                <c:pt idx="456">
                  <c:v>Juraflore</c:v>
                </c:pt>
                <c:pt idx="457">
                  <c:v>Leerdammer</c:v>
                </c:pt>
                <c:pt idx="458">
                  <c:v>Boursin</c:v>
                </c:pt>
                <c:pt idx="459">
                  <c:v>Caprice Des</c:v>
                </c:pt>
                <c:pt idx="460">
                  <c:v>Lactalis: A</c:v>
                </c:pt>
                <c:pt idx="461">
                  <c:v>Private Lab</c:v>
                </c:pt>
                <c:pt idx="462">
                  <c:v>Coeur De Li</c:v>
                </c:pt>
                <c:pt idx="463">
                  <c:v>All Others</c:v>
                </c:pt>
                <c:pt idx="464">
                  <c:v>Private Lab</c:v>
                </c:pt>
                <c:pt idx="465">
                  <c:v>Boursin</c:v>
                </c:pt>
                <c:pt idx="466">
                  <c:v>Private Lab</c:v>
                </c:pt>
                <c:pt idx="467">
                  <c:v>Boursin</c:v>
                </c:pt>
                <c:pt idx="468">
                  <c:v>Private Lab</c:v>
                </c:pt>
                <c:pt idx="469">
                  <c:v>Private Lab</c:v>
                </c:pt>
                <c:pt idx="470">
                  <c:v>All Others</c:v>
                </c:pt>
                <c:pt idx="471">
                  <c:v>Casa Azzurr</c:v>
                </c:pt>
                <c:pt idx="472">
                  <c:v>Savencia: A</c:v>
                </c:pt>
                <c:pt idx="473">
                  <c:v>La Vache Qu</c:v>
                </c:pt>
                <c:pt idx="474">
                  <c:v>Private Lab</c:v>
                </c:pt>
                <c:pt idx="475">
                  <c:v>Apericube</c:v>
                </c:pt>
                <c:pt idx="476">
                  <c:v>All Others</c:v>
                </c:pt>
                <c:pt idx="477">
                  <c:v>P'Tit Louis</c:v>
                </c:pt>
                <c:pt idx="478">
                  <c:v>Etoile Du V</c:v>
                </c:pt>
                <c:pt idx="479">
                  <c:v>Mini Babybe</c:v>
                </c:pt>
                <c:pt idx="480">
                  <c:v>Pochat</c:v>
                </c:pt>
                <c:pt idx="481">
                  <c:v>Islos</c:v>
                </c:pt>
                <c:pt idx="482">
                  <c:v>Bresse Bleu</c:v>
                </c:pt>
                <c:pt idx="483">
                  <c:v>Kiri</c:v>
                </c:pt>
                <c:pt idx="484">
                  <c:v>All Others</c:v>
                </c:pt>
                <c:pt idx="485">
                  <c:v>L'Ortolan</c:v>
                </c:pt>
                <c:pt idx="486">
                  <c:v>L'Ortolan</c:v>
                </c:pt>
                <c:pt idx="487">
                  <c:v>Private Lab</c:v>
                </c:pt>
                <c:pt idx="488">
                  <c:v>President</c:v>
                </c:pt>
                <c:pt idx="489">
                  <c:v>Les Mousque</c:v>
                </c:pt>
                <c:pt idx="490">
                  <c:v>Savencia: A</c:v>
                </c:pt>
                <c:pt idx="491">
                  <c:v>President</c:v>
                </c:pt>
                <c:pt idx="492">
                  <c:v>Paysan Bret</c:v>
                </c:pt>
                <c:pt idx="493">
                  <c:v>Private Lab</c:v>
                </c:pt>
                <c:pt idx="494">
                  <c:v>Tartare</c:v>
                </c:pt>
                <c:pt idx="495">
                  <c:v>All Others</c:v>
                </c:pt>
                <c:pt idx="496">
                  <c:v>Private Lab</c:v>
                </c:pt>
                <c:pt idx="497">
                  <c:v>Private Lab</c:v>
                </c:pt>
                <c:pt idx="498">
                  <c:v>Private Lab</c:v>
                </c:pt>
                <c:pt idx="499">
                  <c:v>All Others</c:v>
                </c:pt>
                <c:pt idx="500">
                  <c:v>All Others</c:v>
                </c:pt>
                <c:pt idx="501">
                  <c:v>All Others</c:v>
                </c:pt>
                <c:pt idx="502">
                  <c:v>Le Coq Crem</c:v>
                </c:pt>
                <c:pt idx="503">
                  <c:v>Private Lab</c:v>
                </c:pt>
                <c:pt idx="504">
                  <c:v>Juraflore</c:v>
                </c:pt>
                <c:pt idx="505">
                  <c:v>All Others</c:v>
                </c:pt>
                <c:pt idx="506">
                  <c:v>All Others</c:v>
                </c:pt>
                <c:pt idx="507">
                  <c:v>Private Lab</c:v>
                </c:pt>
                <c:pt idx="508">
                  <c:v>Private Lab</c:v>
                </c:pt>
                <c:pt idx="509">
                  <c:v>St Moret</c:v>
                </c:pt>
                <c:pt idx="510">
                  <c:v>Fol Epi</c:v>
                </c:pt>
                <c:pt idx="511">
                  <c:v>Le Saint Am</c:v>
                </c:pt>
                <c:pt idx="512">
                  <c:v>Private Lab</c:v>
                </c:pt>
                <c:pt idx="513">
                  <c:v>All Others</c:v>
                </c:pt>
                <c:pt idx="514">
                  <c:v>Lactalis: A</c:v>
                </c:pt>
                <c:pt idx="515">
                  <c:v>Private Lab</c:v>
                </c:pt>
                <c:pt idx="516">
                  <c:v>Corsica</c:v>
                </c:pt>
                <c:pt idx="517">
                  <c:v>Lou Perac</c:v>
                </c:pt>
                <c:pt idx="518">
                  <c:v>Private Lab</c:v>
                </c:pt>
                <c:pt idx="519">
                  <c:v>Savencia: A</c:v>
                </c:pt>
                <c:pt idx="520">
                  <c:v>Paysan Bret</c:v>
                </c:pt>
                <c:pt idx="521">
                  <c:v>Etoile Du Q</c:v>
                </c:pt>
                <c:pt idx="522">
                  <c:v>Lactalis: A</c:v>
                </c:pt>
                <c:pt idx="523">
                  <c:v>All Others</c:v>
                </c:pt>
                <c:pt idx="524">
                  <c:v>Paysan Bret</c:v>
                </c:pt>
                <c:pt idx="525">
                  <c:v>Paysan Bret</c:v>
                </c:pt>
                <c:pt idx="526">
                  <c:v>Savencia: A</c:v>
                </c:pt>
                <c:pt idx="527">
                  <c:v>All Others</c:v>
                </c:pt>
                <c:pt idx="528">
                  <c:v>Pochat</c:v>
                </c:pt>
                <c:pt idx="529">
                  <c:v>Private Lab</c:v>
                </c:pt>
                <c:pt idx="530">
                  <c:v>Private Lab</c:v>
                </c:pt>
                <c:pt idx="531">
                  <c:v>Saint Albra</c:v>
                </c:pt>
                <c:pt idx="532">
                  <c:v>President</c:v>
                </c:pt>
                <c:pt idx="533">
                  <c:v>Galbani</c:v>
                </c:pt>
                <c:pt idx="534">
                  <c:v>Boursin</c:v>
                </c:pt>
                <c:pt idx="535">
                  <c:v>Private Lab</c:v>
                </c:pt>
                <c:pt idx="536">
                  <c:v>Private Lab</c:v>
                </c:pt>
                <c:pt idx="537">
                  <c:v>Tartare</c:v>
                </c:pt>
                <c:pt idx="538">
                  <c:v>All Others</c:v>
                </c:pt>
                <c:pt idx="539">
                  <c:v>All Others</c:v>
                </c:pt>
                <c:pt idx="540">
                  <c:v>Istara</c:v>
                </c:pt>
                <c:pt idx="541">
                  <c:v>President</c:v>
                </c:pt>
                <c:pt idx="542">
                  <c:v>Richesmonts</c:v>
                </c:pt>
                <c:pt idx="543">
                  <c:v>Paysan Bret</c:v>
                </c:pt>
                <c:pt idx="544">
                  <c:v>Chavroux</c:v>
                </c:pt>
                <c:pt idx="545">
                  <c:v>Private Lab</c:v>
                </c:pt>
                <c:pt idx="546">
                  <c:v>Galbani</c:v>
                </c:pt>
                <c:pt idx="547">
                  <c:v>Soignon</c:v>
                </c:pt>
                <c:pt idx="548">
                  <c:v>Eurial Autr</c:v>
                </c:pt>
                <c:pt idx="549">
                  <c:v>Private Lab</c:v>
                </c:pt>
                <c:pt idx="550">
                  <c:v>Violife</c:v>
                </c:pt>
                <c:pt idx="551">
                  <c:v>All Others</c:v>
                </c:pt>
                <c:pt idx="552">
                  <c:v>All Others</c:v>
                </c:pt>
                <c:pt idx="553">
                  <c:v>All Others</c:v>
                </c:pt>
                <c:pt idx="554">
                  <c:v>Entremont</c:v>
                </c:pt>
                <c:pt idx="555">
                  <c:v>All Others</c:v>
                </c:pt>
                <c:pt idx="556">
                  <c:v>All Others</c:v>
                </c:pt>
                <c:pt idx="557">
                  <c:v>Chaussee Au</c:v>
                </c:pt>
                <c:pt idx="558">
                  <c:v>Soignon</c:v>
                </c:pt>
                <c:pt idx="559">
                  <c:v>All Others</c:v>
                </c:pt>
                <c:pt idx="560">
                  <c:v>Milleret: A</c:v>
                </c:pt>
                <c:pt idx="561">
                  <c:v>Private Lab</c:v>
                </c:pt>
                <c:pt idx="562">
                  <c:v>All Others</c:v>
                </c:pt>
                <c:pt idx="563">
                  <c:v>Carre Frais</c:v>
                </c:pt>
                <c:pt idx="564">
                  <c:v>All Others</c:v>
                </c:pt>
                <c:pt idx="565">
                  <c:v>Private Lab</c:v>
                </c:pt>
                <c:pt idx="566">
                  <c:v>All Others</c:v>
                </c:pt>
                <c:pt idx="567">
                  <c:v>Les Mousque</c:v>
                </c:pt>
                <c:pt idx="568">
                  <c:v>Societe</c:v>
                </c:pt>
                <c:pt idx="569">
                  <c:v>Lactalis: A</c:v>
                </c:pt>
                <c:pt idx="570">
                  <c:v>Entremont</c:v>
                </c:pt>
                <c:pt idx="571">
                  <c:v>All Others</c:v>
                </c:pt>
                <c:pt idx="572">
                  <c:v>Lactalis: A</c:v>
                </c:pt>
                <c:pt idx="573">
                  <c:v>Triballat N</c:v>
                </c:pt>
                <c:pt idx="574">
                  <c:v>Boursin</c:v>
                </c:pt>
                <c:pt idx="575">
                  <c:v>L'Ortolan</c:v>
                </c:pt>
                <c:pt idx="576">
                  <c:v>Entremont</c:v>
                </c:pt>
                <c:pt idx="577">
                  <c:v>Soignon</c:v>
                </c:pt>
                <c:pt idx="578">
                  <c:v>All Others</c:v>
                </c:pt>
                <c:pt idx="579">
                  <c:v>Savencia: A</c:v>
                </c:pt>
                <c:pt idx="580">
                  <c:v>All Others</c:v>
                </c:pt>
                <c:pt idx="581">
                  <c:v>Raguin</c:v>
                </c:pt>
                <c:pt idx="582">
                  <c:v>Entremont</c:v>
                </c:pt>
                <c:pt idx="583">
                  <c:v>All Others</c:v>
                </c:pt>
                <c:pt idx="584">
                  <c:v>Triballat N</c:v>
                </c:pt>
                <c:pt idx="585">
                  <c:v>Societe</c:v>
                </c:pt>
                <c:pt idx="586">
                  <c:v>Lactalis: A</c:v>
                </c:pt>
                <c:pt idx="587">
                  <c:v>All Others</c:v>
                </c:pt>
                <c:pt idx="588">
                  <c:v>Kiri</c:v>
                </c:pt>
                <c:pt idx="589">
                  <c:v>All Others</c:v>
                </c:pt>
                <c:pt idx="590">
                  <c:v>Paysan Bret</c:v>
                </c:pt>
                <c:pt idx="591">
                  <c:v>All Others</c:v>
                </c:pt>
                <c:pt idx="592">
                  <c:v>Lactalis: A</c:v>
                </c:pt>
                <c:pt idx="593">
                  <c:v>Savencia: A</c:v>
                </c:pt>
                <c:pt idx="594">
                  <c:v>Triballat N</c:v>
                </c:pt>
                <c:pt idx="595">
                  <c:v>Raguin</c:v>
                </c:pt>
                <c:pt idx="596">
                  <c:v>President</c:v>
                </c:pt>
                <c:pt idx="597">
                  <c:v>All Others</c:v>
                </c:pt>
                <c:pt idx="598">
                  <c:v>Etoile Du V</c:v>
                </c:pt>
                <c:pt idx="599">
                  <c:v>Private Lab</c:v>
                </c:pt>
                <c:pt idx="600">
                  <c:v>All Others</c:v>
                </c:pt>
                <c:pt idx="601">
                  <c:v>Etoile Du V</c:v>
                </c:pt>
                <c:pt idx="602">
                  <c:v>Cousteron</c:v>
                </c:pt>
                <c:pt idx="603">
                  <c:v>All Others</c:v>
                </c:pt>
                <c:pt idx="604">
                  <c:v>All Others</c:v>
                </c:pt>
                <c:pt idx="605">
                  <c:v>All Others</c:v>
                </c:pt>
                <c:pt idx="606">
                  <c:v>All Others</c:v>
                </c:pt>
                <c:pt idx="607">
                  <c:v>Boursin</c:v>
                </c:pt>
                <c:pt idx="608">
                  <c:v>All Others</c:v>
                </c:pt>
                <c:pt idx="609">
                  <c:v>Private Lab</c:v>
                </c:pt>
                <c:pt idx="610">
                  <c:v>All Others</c:v>
                </c:pt>
                <c:pt idx="611">
                  <c:v>Entremont</c:v>
                </c:pt>
                <c:pt idx="612">
                  <c:v>La Belle Et</c:v>
                </c:pt>
                <c:pt idx="613">
                  <c:v>Paysan Bret</c:v>
                </c:pt>
                <c:pt idx="614">
                  <c:v>Violife</c:v>
                </c:pt>
                <c:pt idx="615">
                  <c:v>All Others</c:v>
                </c:pt>
                <c:pt idx="616">
                  <c:v>All Others</c:v>
                </c:pt>
                <c:pt idx="617">
                  <c:v>Salakis</c:v>
                </c:pt>
                <c:pt idx="618">
                  <c:v>All Others</c:v>
                </c:pt>
                <c:pt idx="619">
                  <c:v>Aperivrais</c:v>
                </c:pt>
                <c:pt idx="620">
                  <c:v>Boursin</c:v>
                </c:pt>
                <c:pt idx="621">
                  <c:v>Raguin</c:v>
                </c:pt>
                <c:pt idx="622">
                  <c:v>All Others</c:v>
                </c:pt>
                <c:pt idx="623">
                  <c:v>All Others</c:v>
                </c:pt>
                <c:pt idx="624">
                  <c:v>Raguin</c:v>
                </c:pt>
                <c:pt idx="625">
                  <c:v>Private Lab</c:v>
                </c:pt>
                <c:pt idx="626">
                  <c:v>Fol Epi</c:v>
                </c:pt>
                <c:pt idx="627">
                  <c:v>All Others</c:v>
                </c:pt>
                <c:pt idx="628">
                  <c:v>Etoile Du V</c:v>
                </c:pt>
                <c:pt idx="629">
                  <c:v>Etorki</c:v>
                </c:pt>
                <c:pt idx="630">
                  <c:v>All Others</c:v>
                </c:pt>
                <c:pt idx="631">
                  <c:v>Le Brebiou</c:v>
                </c:pt>
                <c:pt idx="632">
                  <c:v>All Others</c:v>
                </c:pt>
                <c:pt idx="633">
                  <c:v>Savencia: A</c:v>
                </c:pt>
                <c:pt idx="634">
                  <c:v>Tartare</c:v>
                </c:pt>
                <c:pt idx="635">
                  <c:v>Nurishh</c:v>
                </c:pt>
                <c:pt idx="636">
                  <c:v>Soignon</c:v>
                </c:pt>
                <c:pt idx="637">
                  <c:v>Milleret: A</c:v>
                </c:pt>
                <c:pt idx="638">
                  <c:v>All Others</c:v>
                </c:pt>
                <c:pt idx="639">
                  <c:v>All Others</c:v>
                </c:pt>
                <c:pt idx="640">
                  <c:v>Paysan Bret</c:v>
                </c:pt>
                <c:pt idx="641">
                  <c:v>Fauquet</c:v>
                </c:pt>
                <c:pt idx="642">
                  <c:v>Private Lab</c:v>
                </c:pt>
                <c:pt idx="643">
                  <c:v>Violife</c:v>
                </c:pt>
                <c:pt idx="644">
                  <c:v>Savencia: A</c:v>
                </c:pt>
                <c:pt idx="645">
                  <c:v>All Others</c:v>
                </c:pt>
                <c:pt idx="646">
                  <c:v>All Others</c:v>
                </c:pt>
                <c:pt idx="647">
                  <c:v>Saint Agur</c:v>
                </c:pt>
                <c:pt idx="648">
                  <c:v>Milleret: A</c:v>
                </c:pt>
                <c:pt idx="649">
                  <c:v>Salakis</c:v>
                </c:pt>
                <c:pt idx="650">
                  <c:v>Chavroux</c:v>
                </c:pt>
                <c:pt idx="651">
                  <c:v>All Others</c:v>
                </c:pt>
                <c:pt idx="652">
                  <c:v>All Others</c:v>
                </c:pt>
                <c:pt idx="653">
                  <c:v>All Others</c:v>
                </c:pt>
                <c:pt idx="654">
                  <c:v>All Others</c:v>
                </c:pt>
                <c:pt idx="655">
                  <c:v>All Others</c:v>
                </c:pt>
                <c:pt idx="656">
                  <c:v>All Others</c:v>
                </c:pt>
                <c:pt idx="657">
                  <c:v>All Others</c:v>
                </c:pt>
                <c:pt idx="658">
                  <c:v>Nurishh</c:v>
                </c:pt>
                <c:pt idx="659">
                  <c:v>All Others</c:v>
                </c:pt>
                <c:pt idx="660">
                  <c:v>Casa Azzurr</c:v>
                </c:pt>
                <c:pt idx="661">
                  <c:v>All Others</c:v>
                </c:pt>
                <c:pt idx="662">
                  <c:v>Private Lab</c:v>
                </c:pt>
                <c:pt idx="663">
                  <c:v>All Others</c:v>
                </c:pt>
                <c:pt idx="664">
                  <c:v>All Others</c:v>
                </c:pt>
                <c:pt idx="665">
                  <c:v>All Others</c:v>
                </c:pt>
                <c:pt idx="666">
                  <c:v>All Others</c:v>
                </c:pt>
                <c:pt idx="667">
                  <c:v>Lactalis: A</c:v>
                </c:pt>
                <c:pt idx="668">
                  <c:v>All Others</c:v>
                </c:pt>
                <c:pt idx="669">
                  <c:v>Milleret: A</c:v>
                </c:pt>
                <c:pt idx="670">
                  <c:v>All Others</c:v>
                </c:pt>
                <c:pt idx="671">
                  <c:v>All Others</c:v>
                </c:pt>
                <c:pt idx="672">
                  <c:v>All Others</c:v>
                </c:pt>
                <c:pt idx="673">
                  <c:v>Nurishh</c:v>
                </c:pt>
                <c:pt idx="674">
                  <c:v>All Others</c:v>
                </c:pt>
                <c:pt idx="675">
                  <c:v>All Others</c:v>
                </c:pt>
                <c:pt idx="676">
                  <c:v>All Others</c:v>
                </c:pt>
                <c:pt idx="677">
                  <c:v>Private Lab</c:v>
                </c:pt>
                <c:pt idx="678">
                  <c:v>All Others</c:v>
                </c:pt>
                <c:pt idx="679">
                  <c:v>All Others</c:v>
                </c:pt>
                <c:pt idx="680">
                  <c:v>All Others</c:v>
                </c:pt>
                <c:pt idx="681">
                  <c:v>Les Mousque</c:v>
                </c:pt>
                <c:pt idx="682">
                  <c:v>All Others</c:v>
                </c:pt>
                <c:pt idx="683">
                  <c:v>Nurishh</c:v>
                </c:pt>
                <c:pt idx="684">
                  <c:v>All Others</c:v>
                </c:pt>
                <c:pt idx="685">
                  <c:v>Richesmonts</c:v>
                </c:pt>
                <c:pt idx="686">
                  <c:v>La Belle Et</c:v>
                </c:pt>
                <c:pt idx="687">
                  <c:v>Lactalis: A</c:v>
                </c:pt>
                <c:pt idx="688">
                  <c:v>All Others</c:v>
                </c:pt>
                <c:pt idx="689">
                  <c:v>Paysan Bret</c:v>
                </c:pt>
                <c:pt idx="690">
                  <c:v>Rians</c:v>
                </c:pt>
                <c:pt idx="691">
                  <c:v>All Others</c:v>
                </c:pt>
                <c:pt idx="692">
                  <c:v>All Others</c:v>
                </c:pt>
                <c:pt idx="693">
                  <c:v>Entremont</c:v>
                </c:pt>
                <c:pt idx="694">
                  <c:v>All Others</c:v>
                </c:pt>
                <c:pt idx="695">
                  <c:v>Casa Azzurr</c:v>
                </c:pt>
                <c:pt idx="696">
                  <c:v>All Others</c:v>
                </c:pt>
                <c:pt idx="697">
                  <c:v>All Others</c:v>
                </c:pt>
                <c:pt idx="698">
                  <c:v>All Others</c:v>
                </c:pt>
                <c:pt idx="699">
                  <c:v>Etoile Du V</c:v>
                </c:pt>
                <c:pt idx="700">
                  <c:v>All Others</c:v>
                </c:pt>
                <c:pt idx="701">
                  <c:v>Nurishh</c:v>
                </c:pt>
                <c:pt idx="702">
                  <c:v>All Others</c:v>
                </c:pt>
                <c:pt idx="703">
                  <c:v>All Others</c:v>
                </c:pt>
                <c:pt idx="704">
                  <c:v>Nurishh</c:v>
                </c:pt>
                <c:pt idx="705">
                  <c:v>All Others</c:v>
                </c:pt>
                <c:pt idx="706">
                  <c:v>Violife</c:v>
                </c:pt>
                <c:pt idx="707">
                  <c:v>Entremont</c:v>
                </c:pt>
                <c:pt idx="708">
                  <c:v>All Others</c:v>
                </c:pt>
                <c:pt idx="709">
                  <c:v>All Others</c:v>
                </c:pt>
                <c:pt idx="710">
                  <c:v>All Others</c:v>
                </c:pt>
                <c:pt idx="711">
                  <c:v>All Others</c:v>
                </c:pt>
                <c:pt idx="712">
                  <c:v>All Others</c:v>
                </c:pt>
                <c:pt idx="713">
                  <c:v>All Others</c:v>
                </c:pt>
                <c:pt idx="714">
                  <c:v>All Others</c:v>
                </c:pt>
                <c:pt idx="715">
                  <c:v>Milleret: A</c:v>
                </c:pt>
                <c:pt idx="716">
                  <c:v>La Belle Et</c:v>
                </c:pt>
                <c:pt idx="717">
                  <c:v>All Others</c:v>
                </c:pt>
                <c:pt idx="718">
                  <c:v>Tartare</c:v>
                </c:pt>
                <c:pt idx="719">
                  <c:v>All Others</c:v>
                </c:pt>
                <c:pt idx="720">
                  <c:v>Etoile Du V</c:v>
                </c:pt>
                <c:pt idx="721">
                  <c:v>Milleret: A</c:v>
                </c:pt>
                <c:pt idx="722">
                  <c:v>Paysan Bret</c:v>
                </c:pt>
                <c:pt idx="723">
                  <c:v>All Others</c:v>
                </c:pt>
                <c:pt idx="724">
                  <c:v>Triballat N</c:v>
                </c:pt>
                <c:pt idx="725">
                  <c:v>All Others</c:v>
                </c:pt>
                <c:pt idx="726">
                  <c:v>All Others</c:v>
                </c:pt>
                <c:pt idx="727">
                  <c:v>All Others</c:v>
                </c:pt>
                <c:pt idx="728">
                  <c:v>Entremont</c:v>
                </c:pt>
                <c:pt idx="729">
                  <c:v>All Others</c:v>
                </c:pt>
                <c:pt idx="730">
                  <c:v>All Others</c:v>
                </c:pt>
                <c:pt idx="731">
                  <c:v>All Others</c:v>
                </c:pt>
                <c:pt idx="732">
                  <c:v>All Others</c:v>
                </c:pt>
                <c:pt idx="733">
                  <c:v>All Others</c:v>
                </c:pt>
                <c:pt idx="734">
                  <c:v>All Others</c:v>
                </c:pt>
                <c:pt idx="735">
                  <c:v>La Belle Et</c:v>
                </c:pt>
                <c:pt idx="736">
                  <c:v>Lactalis: A</c:v>
                </c:pt>
                <c:pt idx="737">
                  <c:v>All Others</c:v>
                </c:pt>
                <c:pt idx="738">
                  <c:v>All Others</c:v>
                </c:pt>
                <c:pt idx="739">
                  <c:v>All Others</c:v>
                </c:pt>
                <c:pt idx="740">
                  <c:v>Savencia: A</c:v>
                </c:pt>
                <c:pt idx="741">
                  <c:v>Istara</c:v>
                </c:pt>
                <c:pt idx="742">
                  <c:v>All Others</c:v>
                </c:pt>
                <c:pt idx="743">
                  <c:v>All Others</c:v>
                </c:pt>
                <c:pt idx="744">
                  <c:v>All Others</c:v>
                </c:pt>
                <c:pt idx="745">
                  <c:v>La Belle Et</c:v>
                </c:pt>
                <c:pt idx="746">
                  <c:v>Other Suppl</c:v>
                </c:pt>
                <c:pt idx="747">
                  <c:v>All Others</c:v>
                </c:pt>
                <c:pt idx="748">
                  <c:v>All Others</c:v>
                </c:pt>
                <c:pt idx="749">
                  <c:v>All Others</c:v>
                </c:pt>
                <c:pt idx="750">
                  <c:v>All Others</c:v>
                </c:pt>
                <c:pt idx="751">
                  <c:v>All Others</c:v>
                </c:pt>
                <c:pt idx="752">
                  <c:v>Etoile Du V</c:v>
                </c:pt>
                <c:pt idx="753">
                  <c:v>Petit Billy</c:v>
                </c:pt>
                <c:pt idx="754">
                  <c:v>All Others</c:v>
                </c:pt>
                <c:pt idx="755">
                  <c:v>All Others</c:v>
                </c:pt>
                <c:pt idx="756">
                  <c:v>All Others</c:v>
                </c:pt>
                <c:pt idx="757">
                  <c:v>La Belle Et</c:v>
                </c:pt>
                <c:pt idx="758">
                  <c:v>All Others</c:v>
                </c:pt>
                <c:pt idx="759">
                  <c:v>Aperivrais</c:v>
                </c:pt>
                <c:pt idx="760">
                  <c:v>All Others</c:v>
                </c:pt>
                <c:pt idx="761">
                  <c:v>Private Lab</c:v>
                </c:pt>
                <c:pt idx="762">
                  <c:v>Soignon</c:v>
                </c:pt>
                <c:pt idx="763">
                  <c:v>All Others</c:v>
                </c:pt>
                <c:pt idx="764">
                  <c:v>All Others</c:v>
                </c:pt>
                <c:pt idx="765">
                  <c:v>All Others</c:v>
                </c:pt>
                <c:pt idx="766">
                  <c:v>Savencia: A</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All Others</c:v>
                </c:pt>
                <c:pt idx="777">
                  <c:v>All Others</c:v>
                </c:pt>
                <c:pt idx="778">
                  <c:v>L'Ortolan</c:v>
                </c:pt>
                <c:pt idx="779">
                  <c:v>Milleret: A</c:v>
                </c:pt>
                <c:pt idx="780">
                  <c:v>All Others</c:v>
                </c:pt>
                <c:pt idx="781">
                  <c:v>All Others</c:v>
                </c:pt>
                <c:pt idx="782">
                  <c:v>All Others</c:v>
                </c:pt>
                <c:pt idx="783">
                  <c:v>All Others</c:v>
                </c:pt>
                <c:pt idx="784">
                  <c:v>All Others</c:v>
                </c:pt>
                <c:pt idx="785">
                  <c:v>All Others</c:v>
                </c:pt>
                <c:pt idx="786">
                  <c:v>Lindahls Pr</c:v>
                </c:pt>
                <c:pt idx="787">
                  <c:v>All Others</c:v>
                </c:pt>
                <c:pt idx="788">
                  <c:v>Raguin</c:v>
                </c:pt>
                <c:pt idx="789">
                  <c:v>All Others</c:v>
                </c:pt>
                <c:pt idx="790">
                  <c:v>All Others</c:v>
                </c:pt>
                <c:pt idx="791">
                  <c:v>All Others</c:v>
                </c:pt>
                <c:pt idx="792">
                  <c:v>All Others</c:v>
                </c:pt>
                <c:pt idx="793">
                  <c:v>All Others</c:v>
                </c:pt>
                <c:pt idx="794">
                  <c:v>All Others</c:v>
                </c:pt>
                <c:pt idx="795">
                  <c:v>All Others</c:v>
                </c:pt>
                <c:pt idx="796">
                  <c:v>All Others</c:v>
                </c:pt>
                <c:pt idx="797">
                  <c:v>All Others</c:v>
                </c:pt>
                <c:pt idx="798">
                  <c:v>All Others</c:v>
                </c:pt>
                <c:pt idx="799">
                  <c:v>All Others</c:v>
                </c:pt>
                <c:pt idx="800">
                  <c:v>La Belle Et</c:v>
                </c:pt>
                <c:pt idx="801">
                  <c:v>All Others</c:v>
                </c:pt>
                <c:pt idx="802">
                  <c:v>Lactalis: A</c:v>
                </c:pt>
                <c:pt idx="803">
                  <c:v>All Others</c:v>
                </c:pt>
                <c:pt idx="804">
                  <c:v>All Others</c:v>
                </c:pt>
                <c:pt idx="805">
                  <c:v>All Others</c:v>
                </c:pt>
                <c:pt idx="806">
                  <c:v>All Others</c:v>
                </c:pt>
                <c:pt idx="807">
                  <c:v>Etoile Du V</c:v>
                </c:pt>
                <c:pt idx="808">
                  <c:v>All Others</c:v>
                </c:pt>
                <c:pt idx="809">
                  <c:v>All Others</c:v>
                </c:pt>
                <c:pt idx="810">
                  <c:v>All Others</c:v>
                </c:pt>
                <c:pt idx="811">
                  <c:v>All Others</c:v>
                </c:pt>
                <c:pt idx="812">
                  <c:v>All Others</c:v>
                </c:pt>
                <c:pt idx="813">
                  <c:v>All Others</c:v>
                </c:pt>
                <c:pt idx="814">
                  <c:v>All Others</c:v>
                </c:pt>
                <c:pt idx="815">
                  <c:v>La Belle Et</c:v>
                </c:pt>
                <c:pt idx="816">
                  <c:v>All Others</c:v>
                </c:pt>
                <c:pt idx="817">
                  <c:v>Milleret: A</c:v>
                </c:pt>
                <c:pt idx="818">
                  <c:v>Raguin</c:v>
                </c:pt>
                <c:pt idx="819">
                  <c:v>All Others</c:v>
                </c:pt>
                <c:pt idx="820">
                  <c:v>All Others</c:v>
                </c:pt>
                <c:pt idx="821">
                  <c:v>Corsica</c:v>
                </c:pt>
                <c:pt idx="822">
                  <c:v>All Others</c:v>
                </c:pt>
                <c:pt idx="823">
                  <c:v>All Others</c:v>
                </c:pt>
                <c:pt idx="824">
                  <c:v>All Others</c:v>
                </c:pt>
                <c:pt idx="825">
                  <c:v>Entremont</c:v>
                </c:pt>
                <c:pt idx="826">
                  <c:v>All Others</c:v>
                </c:pt>
                <c:pt idx="827">
                  <c:v>La Belle Et</c:v>
                </c:pt>
                <c:pt idx="828">
                  <c:v>All Others</c:v>
                </c:pt>
                <c:pt idx="829">
                  <c:v>All Others</c:v>
                </c:pt>
                <c:pt idx="830">
                  <c:v>All Others</c:v>
                </c:pt>
                <c:pt idx="831">
                  <c:v>All Others</c:v>
                </c:pt>
                <c:pt idx="832">
                  <c:v>All Others</c:v>
                </c:pt>
                <c:pt idx="833">
                  <c:v>All Others</c:v>
                </c:pt>
                <c:pt idx="834">
                  <c:v>All Others</c:v>
                </c:pt>
                <c:pt idx="835">
                  <c:v>All Others</c:v>
                </c:pt>
                <c:pt idx="836">
                  <c:v>All Others</c:v>
                </c:pt>
                <c:pt idx="837">
                  <c:v>Raguin</c:v>
                </c:pt>
                <c:pt idx="838">
                  <c:v>All Others</c:v>
                </c:pt>
                <c:pt idx="839">
                  <c:v>All Others</c:v>
                </c:pt>
                <c:pt idx="840">
                  <c:v>All Others</c:v>
                </c:pt>
                <c:pt idx="841">
                  <c:v>All Others</c:v>
                </c:pt>
                <c:pt idx="842">
                  <c:v>Paysan Bret</c:v>
                </c:pt>
                <c:pt idx="843">
                  <c:v>All Others</c:v>
                </c:pt>
                <c:pt idx="844">
                  <c:v>All Others</c:v>
                </c:pt>
                <c:pt idx="845">
                  <c:v>Mini Babybe</c:v>
                </c:pt>
                <c:pt idx="846">
                  <c:v>All Others</c:v>
                </c:pt>
                <c:pt idx="847">
                  <c:v>Savencia: A</c:v>
                </c:pt>
                <c:pt idx="848">
                  <c:v>All Others</c:v>
                </c:pt>
                <c:pt idx="849">
                  <c:v>All Others</c:v>
                </c:pt>
                <c:pt idx="850">
                  <c:v>All Others</c:v>
                </c:pt>
                <c:pt idx="851">
                  <c:v>All Others</c:v>
                </c:pt>
                <c:pt idx="852">
                  <c:v>All Others</c:v>
                </c:pt>
                <c:pt idx="853">
                  <c:v>All Others</c:v>
                </c:pt>
                <c:pt idx="854">
                  <c:v>All Others</c:v>
                </c:pt>
                <c:pt idx="855">
                  <c:v>Eurial Autr</c:v>
                </c:pt>
                <c:pt idx="856">
                  <c:v>All Others</c:v>
                </c:pt>
                <c:pt idx="857">
                  <c:v>Lactalis: A</c:v>
                </c:pt>
                <c:pt idx="858">
                  <c:v>All Others</c:v>
                </c:pt>
                <c:pt idx="859">
                  <c:v>All Others</c:v>
                </c:pt>
                <c:pt idx="860">
                  <c:v>All Others</c:v>
                </c:pt>
                <c:pt idx="861">
                  <c:v>All Others</c:v>
                </c:pt>
                <c:pt idx="862">
                  <c:v>All Others</c:v>
                </c:pt>
                <c:pt idx="863">
                  <c:v>All Others</c:v>
                </c:pt>
                <c:pt idx="864">
                  <c:v>All Others</c:v>
                </c:pt>
                <c:pt idx="865">
                  <c:v>Milleret</c:v>
                </c:pt>
                <c:pt idx="866">
                  <c:v>All Others</c:v>
                </c:pt>
                <c:pt idx="867">
                  <c:v>La Belle Et</c:v>
                </c:pt>
                <c:pt idx="868">
                  <c:v>Raguin</c:v>
                </c:pt>
                <c:pt idx="869">
                  <c:v>All Others</c:v>
                </c:pt>
                <c:pt idx="870">
                  <c:v>Raguin</c:v>
                </c:pt>
                <c:pt idx="871">
                  <c:v>All Others</c:v>
                </c:pt>
                <c:pt idx="872">
                  <c:v>All Others</c:v>
                </c:pt>
                <c:pt idx="873">
                  <c:v>Raguin</c:v>
                </c:pt>
                <c:pt idx="874">
                  <c:v>All Others</c:v>
                </c:pt>
                <c:pt idx="875">
                  <c:v>All Others</c:v>
                </c:pt>
                <c:pt idx="876">
                  <c:v>All Others</c:v>
                </c:pt>
                <c:pt idx="877">
                  <c:v>All Others</c:v>
                </c:pt>
                <c:pt idx="878">
                  <c:v>Raguin</c:v>
                </c:pt>
                <c:pt idx="879">
                  <c:v>All Others</c:v>
                </c:pt>
                <c:pt idx="880">
                  <c:v>All Others</c:v>
                </c:pt>
                <c:pt idx="881">
                  <c:v>La Belle Et</c:v>
                </c:pt>
                <c:pt idx="882">
                  <c:v>All Others</c:v>
                </c:pt>
                <c:pt idx="883">
                  <c:v>All Others</c:v>
                </c:pt>
                <c:pt idx="884">
                  <c:v>All Others</c:v>
                </c:pt>
                <c:pt idx="885">
                  <c:v>All Others</c:v>
                </c:pt>
                <c:pt idx="886">
                  <c:v>All Others</c:v>
                </c:pt>
                <c:pt idx="887">
                  <c:v>All Others</c:v>
                </c:pt>
                <c:pt idx="888">
                  <c:v>All Others</c:v>
                </c:pt>
                <c:pt idx="889">
                  <c:v>All Others</c:v>
                </c:pt>
                <c:pt idx="890">
                  <c:v>All Others</c:v>
                </c:pt>
                <c:pt idx="891">
                  <c:v>All Others</c:v>
                </c:pt>
                <c:pt idx="892">
                  <c:v>La Belle Et</c:v>
                </c:pt>
                <c:pt idx="893">
                  <c:v>All Others</c:v>
                </c:pt>
                <c:pt idx="894">
                  <c:v>Etoile Du V</c:v>
                </c:pt>
                <c:pt idx="895">
                  <c:v>All Others</c:v>
                </c:pt>
                <c:pt idx="896">
                  <c:v>All Others</c:v>
                </c:pt>
                <c:pt idx="897">
                  <c:v>All Others</c:v>
                </c:pt>
                <c:pt idx="898">
                  <c:v>All Others</c:v>
                </c:pt>
                <c:pt idx="899">
                  <c:v>All Others</c:v>
                </c:pt>
                <c:pt idx="900">
                  <c:v>La Table M</c:v>
                </c:pt>
                <c:pt idx="901">
                  <c:v>All Others</c:v>
                </c:pt>
                <c:pt idx="902">
                  <c:v>Apericube</c:v>
                </c:pt>
                <c:pt idx="903">
                  <c:v>La Belle Et</c:v>
                </c:pt>
                <c:pt idx="904">
                  <c:v>All Others</c:v>
                </c:pt>
                <c:pt idx="905">
                  <c:v>All Others</c:v>
                </c:pt>
                <c:pt idx="906">
                  <c:v>All Others</c:v>
                </c:pt>
                <c:pt idx="907">
                  <c:v>All Others</c:v>
                </c:pt>
                <c:pt idx="908">
                  <c:v>Lactalis: A</c:v>
                </c:pt>
                <c:pt idx="909">
                  <c:v>Lactalis: A</c:v>
                </c:pt>
                <c:pt idx="910">
                  <c:v>All Others</c:v>
                </c:pt>
                <c:pt idx="911">
                  <c:v>All Others</c:v>
                </c:pt>
                <c:pt idx="912">
                  <c:v>All Others</c:v>
                </c:pt>
                <c:pt idx="913">
                  <c:v>Paysan Bret</c:v>
                </c:pt>
                <c:pt idx="914">
                  <c:v>All Others</c:v>
                </c:pt>
                <c:pt idx="915">
                  <c:v>All Others</c:v>
                </c:pt>
                <c:pt idx="916">
                  <c:v>Lactalis: A</c:v>
                </c:pt>
                <c:pt idx="917">
                  <c:v>All Others</c:v>
                </c:pt>
                <c:pt idx="918">
                  <c:v>All Others</c:v>
                </c:pt>
                <c:pt idx="919">
                  <c:v>All Others</c:v>
                </c:pt>
                <c:pt idx="920">
                  <c:v>All Others</c:v>
                </c:pt>
                <c:pt idx="921">
                  <c:v>Raguin</c:v>
                </c:pt>
                <c:pt idx="922">
                  <c:v>Baillon</c:v>
                </c:pt>
                <c:pt idx="923">
                  <c:v>All Others</c:v>
                </c:pt>
                <c:pt idx="924">
                  <c:v>All Others</c:v>
                </c:pt>
                <c:pt idx="925">
                  <c:v>All Others</c:v>
                </c:pt>
                <c:pt idx="926">
                  <c:v>All Others</c:v>
                </c:pt>
                <c:pt idx="927">
                  <c:v>All Others</c:v>
                </c:pt>
                <c:pt idx="928">
                  <c:v>Casa Azzurr</c:v>
                </c:pt>
                <c:pt idx="929">
                  <c:v>All Others</c:v>
                </c:pt>
                <c:pt idx="930">
                  <c:v>All Others</c:v>
                </c:pt>
                <c:pt idx="931">
                  <c:v>All Others</c:v>
                </c:pt>
                <c:pt idx="932">
                  <c:v>La Belle Et</c:v>
                </c:pt>
                <c:pt idx="933">
                  <c:v>Other Suppl</c:v>
                </c:pt>
                <c:pt idx="934">
                  <c:v>Entremont</c:v>
                </c:pt>
                <c:pt idx="935">
                  <c:v>All Others</c:v>
                </c:pt>
                <c:pt idx="936">
                  <c:v>Raguin</c:v>
                </c:pt>
                <c:pt idx="937">
                  <c:v>Raguin</c:v>
                </c:pt>
                <c:pt idx="938">
                  <c:v>All Others</c:v>
                </c:pt>
                <c:pt idx="939">
                  <c:v>Richesmonts</c:v>
                </c:pt>
                <c:pt idx="940">
                  <c:v>All Others</c:v>
                </c:pt>
                <c:pt idx="941">
                  <c:v>All Others</c:v>
                </c:pt>
                <c:pt idx="942">
                  <c:v>All Others</c:v>
                </c:pt>
                <c:pt idx="943">
                  <c:v>Raguin</c:v>
                </c:pt>
                <c:pt idx="944">
                  <c:v>Raguin</c:v>
                </c:pt>
                <c:pt idx="945">
                  <c:v>All Others</c:v>
                </c:pt>
                <c:pt idx="946">
                  <c:v>All Others</c:v>
                </c:pt>
                <c:pt idx="947">
                  <c:v>All Others</c:v>
                </c:pt>
                <c:pt idx="948">
                  <c:v>All Others</c:v>
                </c:pt>
                <c:pt idx="949">
                  <c:v>All Others</c:v>
                </c:pt>
                <c:pt idx="950">
                  <c:v>All Others</c:v>
                </c:pt>
                <c:pt idx="951">
                  <c:v>All Others</c:v>
                </c:pt>
                <c:pt idx="952">
                  <c:v>All Others</c:v>
                </c:pt>
                <c:pt idx="953">
                  <c:v>All Others</c:v>
                </c:pt>
                <c:pt idx="954">
                  <c:v>Boursin</c:v>
                </c:pt>
                <c:pt idx="955">
                  <c:v>All Others</c:v>
                </c:pt>
                <c:pt idx="956">
                  <c:v>La Belle Et</c:v>
                </c:pt>
                <c:pt idx="957">
                  <c:v>All Others</c:v>
                </c:pt>
                <c:pt idx="958">
                  <c:v>All Others</c:v>
                </c:pt>
                <c:pt idx="959">
                  <c:v>Raguin</c:v>
                </c:pt>
                <c:pt idx="960">
                  <c:v>All Others</c:v>
                </c:pt>
                <c:pt idx="961">
                  <c:v>All Others</c:v>
                </c:pt>
                <c:pt idx="962">
                  <c:v>Juraflore</c:v>
                </c:pt>
                <c:pt idx="963">
                  <c:v>All Others</c:v>
                </c:pt>
                <c:pt idx="964">
                  <c:v>Paysan Bret</c:v>
                </c:pt>
                <c:pt idx="965">
                  <c:v>All Others</c:v>
                </c:pt>
                <c:pt idx="966">
                  <c:v>All Others</c:v>
                </c:pt>
                <c:pt idx="967">
                  <c:v>All Others</c:v>
                </c:pt>
                <c:pt idx="968">
                  <c:v>All Others</c:v>
                </c:pt>
                <c:pt idx="969">
                  <c:v>All Others</c:v>
                </c:pt>
                <c:pt idx="970">
                  <c:v>All Others</c:v>
                </c:pt>
                <c:pt idx="971">
                  <c:v>Raguin</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All Others</c:v>
                </c:pt>
                <c:pt idx="983">
                  <c:v>Raguin</c:v>
                </c:pt>
                <c:pt idx="984">
                  <c:v>All Others</c:v>
                </c:pt>
                <c:pt idx="985">
                  <c:v>Raguin</c:v>
                </c:pt>
                <c:pt idx="986">
                  <c:v>All Others</c:v>
                </c:pt>
                <c:pt idx="987">
                  <c:v>All Others</c:v>
                </c:pt>
                <c:pt idx="988">
                  <c:v>All Others</c:v>
                </c:pt>
                <c:pt idx="989">
                  <c:v>Other Suppl</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All Others</c:v>
                </c:pt>
                <c:pt idx="1005">
                  <c:v>All Others</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All Others</c:v>
                </c:pt>
                <c:pt idx="1016">
                  <c:v>Raguin</c:v>
                </c:pt>
                <c:pt idx="1017">
                  <c:v>All Others</c:v>
                </c:pt>
                <c:pt idx="1018">
                  <c:v>All Others</c:v>
                </c:pt>
                <c:pt idx="1019">
                  <c:v>All Others</c:v>
                </c:pt>
                <c:pt idx="1020">
                  <c:v>All Others</c:v>
                </c:pt>
                <c:pt idx="1021">
                  <c:v>All Others</c:v>
                </c:pt>
                <c:pt idx="1022">
                  <c:v>Private Lab</c:v>
                </c:pt>
                <c:pt idx="1023">
                  <c:v>All Others</c:v>
                </c:pt>
                <c:pt idx="1024">
                  <c:v>All Others</c:v>
                </c:pt>
                <c:pt idx="1025">
                  <c:v>All Others</c:v>
                </c:pt>
                <c:pt idx="1026">
                  <c:v>Private Lab</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All Others</c:v>
                </c:pt>
                <c:pt idx="1037">
                  <c:v>Limiano</c:v>
                </c:pt>
                <c:pt idx="1038">
                  <c:v>All Others</c:v>
                </c:pt>
                <c:pt idx="1039">
                  <c:v>Raguin</c:v>
                </c:pt>
                <c:pt idx="1040">
                  <c:v>All Others</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Dodin</c:v>
                </c:pt>
                <c:pt idx="1051">
                  <c:v>Other Suppl</c:v>
                </c:pt>
                <c:pt idx="1052">
                  <c:v>All Others</c:v>
                </c:pt>
                <c:pt idx="1053">
                  <c:v>All Others</c:v>
                </c:pt>
                <c:pt idx="1054">
                  <c:v>All Others</c:v>
                </c:pt>
                <c:pt idx="1055">
                  <c:v>All Others</c:v>
                </c:pt>
                <c:pt idx="1056">
                  <c:v>All Others</c:v>
                </c:pt>
                <c:pt idx="1057">
                  <c:v>All Others</c:v>
                </c:pt>
                <c:pt idx="1058">
                  <c:v>All Others</c:v>
                </c:pt>
                <c:pt idx="1059">
                  <c:v>Limiano</c:v>
                </c:pt>
                <c:pt idx="1060">
                  <c:v>All Others</c:v>
                </c:pt>
                <c:pt idx="1061">
                  <c:v>All Others</c:v>
                </c:pt>
                <c:pt idx="1062">
                  <c:v>Private Lab</c:v>
                </c:pt>
                <c:pt idx="1063">
                  <c:v>La Vache Qu</c:v>
                </c:pt>
                <c:pt idx="1064">
                  <c:v>All Others</c:v>
                </c:pt>
                <c:pt idx="1065">
                  <c:v>All Others</c:v>
                </c:pt>
                <c:pt idx="1066">
                  <c:v>All Others</c:v>
                </c:pt>
                <c:pt idx="1067">
                  <c:v>All Others</c:v>
                </c:pt>
                <c:pt idx="1068">
                  <c:v>Pochat</c:v>
                </c:pt>
                <c:pt idx="1069">
                  <c:v>President</c:v>
                </c:pt>
                <c:pt idx="1070">
                  <c:v>L'Ortolan</c:v>
                </c:pt>
                <c:pt idx="1071">
                  <c:v>All Others</c:v>
                </c:pt>
                <c:pt idx="1072">
                  <c:v>All Others</c:v>
                </c:pt>
                <c:pt idx="1073">
                  <c:v>All Others</c:v>
                </c:pt>
                <c:pt idx="1074">
                  <c:v>Other Suppl</c:v>
                </c:pt>
                <c:pt idx="1075">
                  <c:v>All Others</c:v>
                </c:pt>
                <c:pt idx="1076">
                  <c:v>All Others</c:v>
                </c:pt>
                <c:pt idx="1077">
                  <c:v>All Others</c:v>
                </c:pt>
                <c:pt idx="1078">
                  <c:v>All Others</c:v>
                </c:pt>
                <c:pt idx="1079">
                  <c:v>All Others</c:v>
                </c:pt>
                <c:pt idx="1080">
                  <c:v>Lincet</c:v>
                </c:pt>
                <c:pt idx="1081">
                  <c:v>All Others</c:v>
                </c:pt>
                <c:pt idx="1082">
                  <c:v>All Others</c:v>
                </c:pt>
                <c:pt idx="1083">
                  <c:v>All Others</c:v>
                </c:pt>
                <c:pt idx="1084">
                  <c:v>All Others</c:v>
                </c:pt>
                <c:pt idx="1085">
                  <c:v>Lactalis: A</c:v>
                </c:pt>
                <c:pt idx="1086">
                  <c:v>All Others</c:v>
                </c:pt>
                <c:pt idx="1087">
                  <c:v>All Others</c:v>
                </c:pt>
                <c:pt idx="1088">
                  <c:v>All Others</c:v>
                </c:pt>
                <c:pt idx="1089">
                  <c:v>All Others</c:v>
                </c:pt>
                <c:pt idx="1090">
                  <c:v>All Others</c:v>
                </c:pt>
                <c:pt idx="1091">
                  <c:v>All Others</c:v>
                </c:pt>
                <c:pt idx="1092">
                  <c:v>All Others</c:v>
                </c:pt>
                <c:pt idx="1093">
                  <c:v>Lactalis: A</c:v>
                </c:pt>
                <c:pt idx="1094">
                  <c:v>All Others</c:v>
                </c:pt>
                <c:pt idx="1095">
                  <c:v>All Others</c:v>
                </c:pt>
                <c:pt idx="1096">
                  <c:v>All Others</c:v>
                </c:pt>
                <c:pt idx="1097">
                  <c:v>All Others</c:v>
                </c:pt>
                <c:pt idx="1098">
                  <c:v>All Others</c:v>
                </c:pt>
                <c:pt idx="1099">
                  <c:v>Entremont</c:v>
                </c:pt>
                <c:pt idx="1100">
                  <c:v>All Others</c:v>
                </c:pt>
                <c:pt idx="1101">
                  <c:v>Entremont</c:v>
                </c:pt>
                <c:pt idx="1102">
                  <c:v>All Others</c:v>
                </c:pt>
                <c:pt idx="1103">
                  <c:v>Pochat</c:v>
                </c:pt>
                <c:pt idx="1104">
                  <c:v>Private Lab</c:v>
                </c:pt>
                <c:pt idx="1105">
                  <c:v>All Others</c:v>
                </c:pt>
                <c:pt idx="1106">
                  <c:v>Private Lab</c:v>
                </c:pt>
                <c:pt idx="1107">
                  <c:v>All Others</c:v>
                </c:pt>
                <c:pt idx="1108">
                  <c:v>All Others</c:v>
                </c:pt>
                <c:pt idx="1109">
                  <c:v>All Others</c:v>
                </c:pt>
                <c:pt idx="1110">
                  <c:v>All Others</c:v>
                </c:pt>
                <c:pt idx="1111">
                  <c:v>All Others</c:v>
                </c:pt>
                <c:pt idx="1112">
                  <c:v>Kiri</c:v>
                </c:pt>
                <c:pt idx="1113">
                  <c:v>All Others</c:v>
                </c:pt>
                <c:pt idx="1114">
                  <c:v>All Others</c:v>
                </c:pt>
                <c:pt idx="1115">
                  <c:v>All Others</c:v>
                </c:pt>
                <c:pt idx="1116">
                  <c:v>Other Suppl</c:v>
                </c:pt>
                <c:pt idx="1117">
                  <c:v>Private Lab</c:v>
                </c:pt>
                <c:pt idx="1118">
                  <c:v>Private Lab</c:v>
                </c:pt>
                <c:pt idx="1119">
                  <c:v>All Others</c:v>
                </c:pt>
                <c:pt idx="1120">
                  <c:v>Private Lab</c:v>
                </c:pt>
                <c:pt idx="1121">
                  <c:v>Milleret: A</c:v>
                </c:pt>
                <c:pt idx="1122">
                  <c:v>All Others</c:v>
                </c:pt>
                <c:pt idx="1123">
                  <c:v>Mini Babybe</c:v>
                </c:pt>
                <c:pt idx="1124">
                  <c:v>All Others</c:v>
                </c:pt>
                <c:pt idx="1125">
                  <c:v>Boursin</c:v>
                </c:pt>
                <c:pt idx="1126">
                  <c:v>Private Lab</c:v>
                </c:pt>
                <c:pt idx="1127">
                  <c:v>All Others</c:v>
                </c:pt>
                <c:pt idx="1128">
                  <c:v>All Others</c:v>
                </c:pt>
                <c:pt idx="1129">
                  <c:v>All Others</c:v>
                </c:pt>
                <c:pt idx="1130">
                  <c:v>All Others</c:v>
                </c:pt>
                <c:pt idx="1131">
                  <c:v>All Others</c:v>
                </c:pt>
                <c:pt idx="1132">
                  <c:v>All Others</c:v>
                </c:pt>
                <c:pt idx="1133">
                  <c:v>All Others</c:v>
                </c:pt>
                <c:pt idx="1134">
                  <c:v>All Others</c:v>
                </c:pt>
                <c:pt idx="1135">
                  <c:v>All Others</c:v>
                </c:pt>
                <c:pt idx="1136">
                  <c:v>All Others</c:v>
                </c:pt>
                <c:pt idx="1137">
                  <c:v>All Others</c:v>
                </c:pt>
                <c:pt idx="1138">
                  <c:v>All Others</c:v>
                </c:pt>
                <c:pt idx="1139">
                  <c:v>All Others</c:v>
                </c:pt>
                <c:pt idx="1140">
                  <c:v>All Others</c:v>
                </c:pt>
                <c:pt idx="1141">
                  <c:v>Private Lab</c:v>
                </c:pt>
                <c:pt idx="1142">
                  <c:v>All Others</c:v>
                </c:pt>
                <c:pt idx="1143">
                  <c:v>Private Lab</c:v>
                </c:pt>
                <c:pt idx="1144">
                  <c:v>Entremont</c:v>
                </c:pt>
                <c:pt idx="1145">
                  <c:v>Apericube</c:v>
                </c:pt>
                <c:pt idx="1146">
                  <c:v>All Others</c:v>
                </c:pt>
                <c:pt idx="1147">
                  <c:v>Entremont</c:v>
                </c:pt>
                <c:pt idx="1148">
                  <c:v>All Others</c:v>
                </c:pt>
                <c:pt idx="1149">
                  <c:v>All Others</c:v>
                </c:pt>
                <c:pt idx="1150">
                  <c:v>All Others</c:v>
                </c:pt>
                <c:pt idx="1151">
                  <c:v>All Others</c:v>
                </c:pt>
                <c:pt idx="1152">
                  <c:v>All Others</c:v>
                </c:pt>
                <c:pt idx="1153">
                  <c:v>All Others</c:v>
                </c:pt>
                <c:pt idx="1154">
                  <c:v>All Others</c:v>
                </c:pt>
                <c:pt idx="1155">
                  <c:v>Lactalis: A</c:v>
                </c:pt>
                <c:pt idx="1156">
                  <c:v>Les Mousque</c:v>
                </c:pt>
                <c:pt idx="1157">
                  <c:v>All Others</c:v>
                </c:pt>
                <c:pt idx="1158">
                  <c:v>Etoile Du V</c:v>
                </c:pt>
                <c:pt idx="1159">
                  <c:v>All Others</c:v>
                </c:pt>
                <c:pt idx="1160">
                  <c:v>Private Lab</c:v>
                </c:pt>
                <c:pt idx="1161">
                  <c:v>All Others</c:v>
                </c:pt>
                <c:pt idx="1162">
                  <c:v>All Others</c:v>
                </c:pt>
                <c:pt idx="1163">
                  <c:v>Mini Babybe</c:v>
                </c:pt>
                <c:pt idx="1164">
                  <c:v>All Others</c:v>
                </c:pt>
                <c:pt idx="1165">
                  <c:v>All Others</c:v>
                </c:pt>
                <c:pt idx="1166">
                  <c:v>All Others</c:v>
                </c:pt>
                <c:pt idx="1167">
                  <c:v>Private Lab</c:v>
                </c:pt>
                <c:pt idx="1168">
                  <c:v>Other Suppl</c:v>
                </c:pt>
                <c:pt idx="1169">
                  <c:v>Private Lab</c:v>
                </c:pt>
                <c:pt idx="1170">
                  <c:v>Etoile Du V</c:v>
                </c:pt>
                <c:pt idx="1171">
                  <c:v>All Others</c:v>
                </c:pt>
                <c:pt idx="1172">
                  <c:v>All Others</c:v>
                </c:pt>
                <c:pt idx="1173">
                  <c:v>All Others</c:v>
                </c:pt>
                <c:pt idx="1174">
                  <c:v>All Others</c:v>
                </c:pt>
                <c:pt idx="1175">
                  <c:v>Entremont</c:v>
                </c:pt>
                <c:pt idx="1176">
                  <c:v>Richesmonts</c:v>
                </c:pt>
                <c:pt idx="1177">
                  <c:v>All Others</c:v>
                </c:pt>
                <c:pt idx="1178">
                  <c:v>Lactalis: A</c:v>
                </c:pt>
                <c:pt idx="1179">
                  <c:v>All Others</c:v>
                </c:pt>
                <c:pt idx="1180">
                  <c:v>Richesmonts</c:v>
                </c:pt>
                <c:pt idx="1181">
                  <c:v>All Others</c:v>
                </c:pt>
                <c:pt idx="1182">
                  <c:v>All Others</c:v>
                </c:pt>
                <c:pt idx="1183">
                  <c:v>All Others</c:v>
                </c:pt>
                <c:pt idx="1184">
                  <c:v>All Others</c:v>
                </c:pt>
                <c:pt idx="1185">
                  <c:v>All Others</c:v>
                </c:pt>
                <c:pt idx="1186">
                  <c:v>All Others</c:v>
                </c:pt>
                <c:pt idx="1187">
                  <c:v>Private Lab</c:v>
                </c:pt>
                <c:pt idx="1188">
                  <c:v>All Others</c:v>
                </c:pt>
                <c:pt idx="1189">
                  <c:v>All Others</c:v>
                </c:pt>
                <c:pt idx="1190">
                  <c:v>O'Tapas Ape</c:v>
                </c:pt>
                <c:pt idx="1191">
                  <c:v>All Others</c:v>
                </c:pt>
                <c:pt idx="1192">
                  <c:v>Private Lab</c:v>
                </c:pt>
                <c:pt idx="1193">
                  <c:v>Lactalis: A</c:v>
                </c:pt>
                <c:pt idx="1194">
                  <c:v>Gillot</c:v>
                </c:pt>
                <c:pt idx="1195">
                  <c:v>All Others</c:v>
                </c:pt>
                <c:pt idx="1196">
                  <c:v>Mini Babybe</c:v>
                </c:pt>
                <c:pt idx="1197">
                  <c:v>All Others</c:v>
                </c:pt>
                <c:pt idx="1198">
                  <c:v>All Others</c:v>
                </c:pt>
                <c:pt idx="1199">
                  <c:v>Entremont</c:v>
                </c:pt>
                <c:pt idx="1200">
                  <c:v>All Others</c:v>
                </c:pt>
                <c:pt idx="1201">
                  <c:v>All Others</c:v>
                </c:pt>
                <c:pt idx="1202">
                  <c:v>All Others</c:v>
                </c:pt>
                <c:pt idx="1203">
                  <c:v>Richesmonts</c:v>
                </c:pt>
                <c:pt idx="1204">
                  <c:v>All Others</c:v>
                </c:pt>
                <c:pt idx="1205">
                  <c:v>All Others</c:v>
                </c:pt>
                <c:pt idx="1206">
                  <c:v>Entremont</c:v>
                </c:pt>
                <c:pt idx="1207">
                  <c:v>All Others</c:v>
                </c:pt>
                <c:pt idx="1208">
                  <c:v>All Others</c:v>
                </c:pt>
                <c:pt idx="1209">
                  <c:v>All Others</c:v>
                </c:pt>
                <c:pt idx="1210">
                  <c:v>Private Lab</c:v>
                </c:pt>
                <c:pt idx="1211">
                  <c:v>Private Lab</c:v>
                </c:pt>
                <c:pt idx="1212">
                  <c:v>All Others</c:v>
                </c:pt>
                <c:pt idx="1213">
                  <c:v>All Others</c:v>
                </c:pt>
                <c:pt idx="1214">
                  <c:v>All Others</c:v>
                </c:pt>
                <c:pt idx="1215">
                  <c:v>All Others</c:v>
                </c:pt>
                <c:pt idx="1216">
                  <c:v>All Others</c:v>
                </c:pt>
                <c:pt idx="1217">
                  <c:v>Private Lab</c:v>
                </c:pt>
                <c:pt idx="1218">
                  <c:v>Entremont</c:v>
                </c:pt>
                <c:pt idx="1219">
                  <c:v>Private Lab</c:v>
                </c:pt>
                <c:pt idx="1220">
                  <c:v>All Others</c:v>
                </c:pt>
                <c:pt idx="1221">
                  <c:v>All Others</c:v>
                </c:pt>
                <c:pt idx="1222">
                  <c:v>All Others</c:v>
                </c:pt>
                <c:pt idx="1223">
                  <c:v>All Others</c:v>
                </c:pt>
                <c:pt idx="1224">
                  <c:v>All Others</c:v>
                </c:pt>
                <c:pt idx="1225">
                  <c:v>All Others</c:v>
                </c:pt>
                <c:pt idx="1226">
                  <c:v>Les Mousque</c:v>
                </c:pt>
                <c:pt idx="1227">
                  <c:v>All Others</c:v>
                </c:pt>
              </c:strCache>
            </c:strRef>
          </c:cat>
          <c:val>
            <c:numRef>
              <c:f>Sheet1!$C$2:$C$1229</c:f>
              <c:numCache>
                <c:formatCode>General</c:formatCode>
                <c:ptCount val="1228"/>
                <c:pt idx="0">
                  <c:v>1.6829335840251862E-2</c:v>
                </c:pt>
                <c:pt idx="1">
                  <c:v>3.3247282806438204E-2</c:v>
                </c:pt>
                <c:pt idx="2">
                  <c:v>4.8734605874314205E-2</c:v>
                </c:pt>
                <c:pt idx="3">
                  <c:v>6.2296876216116681E-2</c:v>
                </c:pt>
                <c:pt idx="4">
                  <c:v>7.4145588717010477E-2</c:v>
                </c:pt>
                <c:pt idx="5">
                  <c:v>8.5522756423574459E-2</c:v>
                </c:pt>
                <c:pt idx="6">
                  <c:v>9.6560060054676086E-2</c:v>
                </c:pt>
                <c:pt idx="7">
                  <c:v>0.1058022409978627</c:v>
                </c:pt>
                <c:pt idx="8">
                  <c:v>0.11444442358626733</c:v>
                </c:pt>
                <c:pt idx="9">
                  <c:v>0.12272579720831814</c:v>
                </c:pt>
                <c:pt idx="10">
                  <c:v>0.1307480489929051</c:v>
                </c:pt>
                <c:pt idx="11">
                  <c:v>0.13868198631811388</c:v>
                </c:pt>
                <c:pt idx="12">
                  <c:v>0.1461852983739973</c:v>
                </c:pt>
                <c:pt idx="13">
                  <c:v>0.15366785537183722</c:v>
                </c:pt>
                <c:pt idx="14">
                  <c:v>0.16112396232619486</c:v>
                </c:pt>
                <c:pt idx="15">
                  <c:v>0.16841628571784134</c:v>
                </c:pt>
                <c:pt idx="16">
                  <c:v>0.17568186377046427</c:v>
                </c:pt>
                <c:pt idx="17">
                  <c:v>0.18267313335778665</c:v>
                </c:pt>
                <c:pt idx="18">
                  <c:v>0.1895344729069505</c:v>
                </c:pt>
                <c:pt idx="19">
                  <c:v>0.19610391281356962</c:v>
                </c:pt>
                <c:pt idx="20">
                  <c:v>0.20218731735179804</c:v>
                </c:pt>
                <c:pt idx="21">
                  <c:v>0.20807247311914143</c:v>
                </c:pt>
                <c:pt idx="22">
                  <c:v>0.21385579410982422</c:v>
                </c:pt>
                <c:pt idx="23">
                  <c:v>0.21952842145760834</c:v>
                </c:pt>
                <c:pt idx="24">
                  <c:v>0.22497483132824148</c:v>
                </c:pt>
                <c:pt idx="25">
                  <c:v>0.23040653969942712</c:v>
                </c:pt>
                <c:pt idx="26">
                  <c:v>0.23564972296005096</c:v>
                </c:pt>
                <c:pt idx="27">
                  <c:v>0.24088341457827686</c:v>
                </c:pt>
                <c:pt idx="28">
                  <c:v>0.24602478415477877</c:v>
                </c:pt>
                <c:pt idx="29">
                  <c:v>0.25112413739426576</c:v>
                </c:pt>
                <c:pt idx="30">
                  <c:v>0.25618138992658324</c:v>
                </c:pt>
                <c:pt idx="31">
                  <c:v>0.26120542171050787</c:v>
                </c:pt>
                <c:pt idx="32">
                  <c:v>0.2661296436014835</c:v>
                </c:pt>
                <c:pt idx="33">
                  <c:v>0.27092969371735537</c:v>
                </c:pt>
                <c:pt idx="34">
                  <c:v>0.27566079232434082</c:v>
                </c:pt>
                <c:pt idx="35">
                  <c:v>0.28038874814306564</c:v>
                </c:pt>
                <c:pt idx="36">
                  <c:v>0.28510383751320656</c:v>
                </c:pt>
                <c:pt idx="37">
                  <c:v>0.28981567863239355</c:v>
                </c:pt>
                <c:pt idx="38">
                  <c:v>0.29449695666305914</c:v>
                </c:pt>
                <c:pt idx="39">
                  <c:v>0.29912006147209469</c:v>
                </c:pt>
                <c:pt idx="40">
                  <c:v>0.30373013109223707</c:v>
                </c:pt>
                <c:pt idx="41">
                  <c:v>0.30831626068099793</c:v>
                </c:pt>
                <c:pt idx="42">
                  <c:v>0.31285678820117135</c:v>
                </c:pt>
                <c:pt idx="43">
                  <c:v>0.31738200253827609</c:v>
                </c:pt>
                <c:pt idx="44">
                  <c:v>0.3218377380530279</c:v>
                </c:pt>
                <c:pt idx="45">
                  <c:v>0.32617117902861686</c:v>
                </c:pt>
                <c:pt idx="46">
                  <c:v>0.33046834083770704</c:v>
                </c:pt>
                <c:pt idx="47">
                  <c:v>0.33474272270504213</c:v>
                </c:pt>
                <c:pt idx="48">
                  <c:v>0.33897114393063255</c:v>
                </c:pt>
                <c:pt idx="49">
                  <c:v>0.34315788629982663</c:v>
                </c:pt>
                <c:pt idx="50">
                  <c:v>0.3473300748173439</c:v>
                </c:pt>
                <c:pt idx="51">
                  <c:v>0.35143189862588442</c:v>
                </c:pt>
                <c:pt idx="52">
                  <c:v>0.35552931409384453</c:v>
                </c:pt>
                <c:pt idx="53">
                  <c:v>0.35960219893934064</c:v>
                </c:pt>
                <c:pt idx="54">
                  <c:v>0.3636588003449896</c:v>
                </c:pt>
                <c:pt idx="55">
                  <c:v>0.36766996842236038</c:v>
                </c:pt>
                <c:pt idx="56">
                  <c:v>0.37165536141748612</c:v>
                </c:pt>
                <c:pt idx="57">
                  <c:v>0.37562459752799671</c:v>
                </c:pt>
                <c:pt idx="58">
                  <c:v>0.37955696388092591</c:v>
                </c:pt>
                <c:pt idx="59">
                  <c:v>0.38344381253542231</c:v>
                </c:pt>
                <c:pt idx="60">
                  <c:v>0.38731564330239132</c:v>
                </c:pt>
                <c:pt idx="61">
                  <c:v>0.39113957291405871</c:v>
                </c:pt>
                <c:pt idx="62">
                  <c:v>0.39495658417304491</c:v>
                </c:pt>
                <c:pt idx="63">
                  <c:v>0.39875967435651416</c:v>
                </c:pt>
                <c:pt idx="64">
                  <c:v>0.40253211708130737</c:v>
                </c:pt>
                <c:pt idx="65">
                  <c:v>0.40628513357799279</c:v>
                </c:pt>
                <c:pt idx="66">
                  <c:v>0.40998887790436356</c:v>
                </c:pt>
                <c:pt idx="67">
                  <c:v>0.41368783422445804</c:v>
                </c:pt>
                <c:pt idx="68">
                  <c:v>0.41733507163975303</c:v>
                </c:pt>
                <c:pt idx="69">
                  <c:v>0.42092719425152397</c:v>
                </c:pt>
                <c:pt idx="70">
                  <c:v>0.42449360505866585</c:v>
                </c:pt>
                <c:pt idx="71">
                  <c:v>0.42803782651513517</c:v>
                </c:pt>
                <c:pt idx="72">
                  <c:v>0.43158166830590855</c:v>
                </c:pt>
                <c:pt idx="73">
                  <c:v>0.43509511574846987</c:v>
                </c:pt>
                <c:pt idx="74">
                  <c:v>0.43860168702342733</c:v>
                </c:pt>
                <c:pt idx="75">
                  <c:v>0.4420823988459851</c:v>
                </c:pt>
                <c:pt idx="76">
                  <c:v>0.44551582119686245</c:v>
                </c:pt>
                <c:pt idx="77">
                  <c:v>0.44894821001334534</c:v>
                </c:pt>
                <c:pt idx="78">
                  <c:v>0.45236574968261012</c:v>
                </c:pt>
                <c:pt idx="79">
                  <c:v>0.4557718361033814</c:v>
                </c:pt>
                <c:pt idx="80">
                  <c:v>0.45915115609259044</c:v>
                </c:pt>
                <c:pt idx="81">
                  <c:v>0.46252296713803581</c:v>
                </c:pt>
                <c:pt idx="82">
                  <c:v>0.46589414540732133</c:v>
                </c:pt>
                <c:pt idx="83">
                  <c:v>0.46914294476728935</c:v>
                </c:pt>
                <c:pt idx="84">
                  <c:v>0.47234913719915994</c:v>
                </c:pt>
                <c:pt idx="85">
                  <c:v>0.47550236626644998</c:v>
                </c:pt>
                <c:pt idx="86">
                  <c:v>0.47857685688691443</c:v>
                </c:pt>
                <c:pt idx="87">
                  <c:v>0.48165082019391231</c:v>
                </c:pt>
                <c:pt idx="88">
                  <c:v>0.48469896623358782</c:v>
                </c:pt>
                <c:pt idx="89">
                  <c:v>0.48772445888674021</c:v>
                </c:pt>
                <c:pt idx="90">
                  <c:v>0.4907254209174286</c:v>
                </c:pt>
                <c:pt idx="91">
                  <c:v>0.49369497615804914</c:v>
                </c:pt>
                <c:pt idx="92">
                  <c:v>0.49652890637507235</c:v>
                </c:pt>
                <c:pt idx="93">
                  <c:v>0.49935825951120594</c:v>
                </c:pt>
                <c:pt idx="94">
                  <c:v>0.50216930432378082</c:v>
                </c:pt>
                <c:pt idx="95">
                  <c:v>0.50497081530888044</c:v>
                </c:pt>
                <c:pt idx="96">
                  <c:v>0.50774351388616756</c:v>
                </c:pt>
                <c:pt idx="97">
                  <c:v>0.51051222597364765</c:v>
                </c:pt>
                <c:pt idx="98">
                  <c:v>0.51325693475213019</c:v>
                </c:pt>
                <c:pt idx="99">
                  <c:v>0.51597183977348327</c:v>
                </c:pt>
                <c:pt idx="100">
                  <c:v>0.51867265497901005</c:v>
                </c:pt>
                <c:pt idx="101">
                  <c:v>0.52137085470974265</c:v>
                </c:pt>
                <c:pt idx="102">
                  <c:v>0.52406401332373509</c:v>
                </c:pt>
                <c:pt idx="103">
                  <c:v>0.52674978954919571</c:v>
                </c:pt>
                <c:pt idx="104">
                  <c:v>0.52941710980332701</c:v>
                </c:pt>
                <c:pt idx="105">
                  <c:v>0.53206586862343574</c:v>
                </c:pt>
                <c:pt idx="106">
                  <c:v>0.53464238549862675</c:v>
                </c:pt>
                <c:pt idx="107">
                  <c:v>0.53720150102942155</c:v>
                </c:pt>
                <c:pt idx="108">
                  <c:v>0.53975810654811551</c:v>
                </c:pt>
                <c:pt idx="109">
                  <c:v>0.54228862059648453</c:v>
                </c:pt>
                <c:pt idx="110">
                  <c:v>0.54479738823749291</c:v>
                </c:pt>
                <c:pt idx="111">
                  <c:v>0.54730465830825625</c:v>
                </c:pt>
                <c:pt idx="112">
                  <c:v>0.54981121123270515</c:v>
                </c:pt>
                <c:pt idx="113">
                  <c:v>0.55231327144641895</c:v>
                </c:pt>
                <c:pt idx="114">
                  <c:v>0.55481229433456547</c:v>
                </c:pt>
                <c:pt idx="115">
                  <c:v>0.55731060007639743</c:v>
                </c:pt>
                <c:pt idx="116">
                  <c:v>0.55980331629548397</c:v>
                </c:pt>
                <c:pt idx="117">
                  <c:v>0.56228139429273893</c:v>
                </c:pt>
                <c:pt idx="118">
                  <c:v>0.56475017048044396</c:v>
                </c:pt>
                <c:pt idx="119">
                  <c:v>0.5671827729643435</c:v>
                </c:pt>
                <c:pt idx="120">
                  <c:v>0.5696118319017478</c:v>
                </c:pt>
                <c:pt idx="121">
                  <c:v>0.57202931103542665</c:v>
                </c:pt>
                <c:pt idx="122">
                  <c:v>0.57444626285563893</c:v>
                </c:pt>
                <c:pt idx="123">
                  <c:v>0.57685821574418827</c:v>
                </c:pt>
                <c:pt idx="124">
                  <c:v>0.57926476894284007</c:v>
                </c:pt>
                <c:pt idx="125">
                  <c:v>0.58165295054031718</c:v>
                </c:pt>
                <c:pt idx="126">
                  <c:v>0.58396621144046656</c:v>
                </c:pt>
                <c:pt idx="127">
                  <c:v>0.58626287251268894</c:v>
                </c:pt>
                <c:pt idx="128">
                  <c:v>0.58855824694005288</c:v>
                </c:pt>
                <c:pt idx="129">
                  <c:v>0.59083543959909013</c:v>
                </c:pt>
                <c:pt idx="130">
                  <c:v>0.5931040897799692</c:v>
                </c:pt>
                <c:pt idx="131">
                  <c:v>0.5953316727880732</c:v>
                </c:pt>
                <c:pt idx="132">
                  <c:v>0.59754229739509279</c:v>
                </c:pt>
                <c:pt idx="133">
                  <c:v>0.59966078979323645</c:v>
                </c:pt>
                <c:pt idx="134">
                  <c:v>0.60177358720594132</c:v>
                </c:pt>
                <c:pt idx="135">
                  <c:v>0.60384010758882156</c:v>
                </c:pt>
                <c:pt idx="136">
                  <c:v>0.60589120932593976</c:v>
                </c:pt>
                <c:pt idx="137">
                  <c:v>0.60794159391674341</c:v>
                </c:pt>
                <c:pt idx="138">
                  <c:v>0.60999094497315265</c:v>
                </c:pt>
                <c:pt idx="139">
                  <c:v>0.61203139497824655</c:v>
                </c:pt>
                <c:pt idx="140">
                  <c:v>0.61406946152647157</c:v>
                </c:pt>
                <c:pt idx="141">
                  <c:v>0.61610240258780169</c:v>
                </c:pt>
                <c:pt idx="142">
                  <c:v>0.61812211862739075</c:v>
                </c:pt>
                <c:pt idx="143">
                  <c:v>0.62012858855269992</c:v>
                </c:pt>
                <c:pt idx="144">
                  <c:v>0.62213250628083105</c:v>
                </c:pt>
                <c:pt idx="145">
                  <c:v>0.624135432659645</c:v>
                </c:pt>
                <c:pt idx="146">
                  <c:v>0.6261331702739481</c:v>
                </c:pt>
                <c:pt idx="147">
                  <c:v>0.62812894628215565</c:v>
                </c:pt>
                <c:pt idx="148">
                  <c:v>0.6301112230656194</c:v>
                </c:pt>
                <c:pt idx="149">
                  <c:v>0.63208497846346368</c:v>
                </c:pt>
                <c:pt idx="150">
                  <c:v>0.634038569394347</c:v>
                </c:pt>
                <c:pt idx="151">
                  <c:v>0.6359827108679097</c:v>
                </c:pt>
                <c:pt idx="152">
                  <c:v>0.63792678906385647</c:v>
                </c:pt>
                <c:pt idx="153">
                  <c:v>0.63980929813944853</c:v>
                </c:pt>
                <c:pt idx="154">
                  <c:v>0.64168851677900929</c:v>
                </c:pt>
                <c:pt idx="155">
                  <c:v>0.64356185060028337</c:v>
                </c:pt>
                <c:pt idx="156">
                  <c:v>0.64542649429562859</c:v>
                </c:pt>
                <c:pt idx="157">
                  <c:v>0.64729105362081918</c:v>
                </c:pt>
                <c:pt idx="158">
                  <c:v>0.64915116242035209</c:v>
                </c:pt>
                <c:pt idx="159">
                  <c:v>0.65100867683762953</c:v>
                </c:pt>
                <c:pt idx="160">
                  <c:v>0.65286186728448126</c:v>
                </c:pt>
                <c:pt idx="161">
                  <c:v>0.65471415075217054</c:v>
                </c:pt>
                <c:pt idx="162">
                  <c:v>0.65656457807645752</c:v>
                </c:pt>
                <c:pt idx="163">
                  <c:v>0.65839785716681221</c:v>
                </c:pt>
                <c:pt idx="164">
                  <c:v>0.6602178479578098</c:v>
                </c:pt>
                <c:pt idx="165">
                  <c:v>0.66203305074253116</c:v>
                </c:pt>
                <c:pt idx="166">
                  <c:v>0.66383838221915858</c:v>
                </c:pt>
                <c:pt idx="167">
                  <c:v>0.66563932644774437</c:v>
                </c:pt>
                <c:pt idx="168">
                  <c:v>0.66743820360754125</c:v>
                </c:pt>
                <c:pt idx="169">
                  <c:v>0.6692370385822608</c:v>
                </c:pt>
                <c:pt idx="170">
                  <c:v>0.67103125429101329</c:v>
                </c:pt>
                <c:pt idx="171">
                  <c:v>0.67278161861188734</c:v>
                </c:pt>
                <c:pt idx="172">
                  <c:v>0.67449950042322171</c:v>
                </c:pt>
                <c:pt idx="173">
                  <c:v>0.6762151675179966</c:v>
                </c:pt>
                <c:pt idx="174">
                  <c:v>0.67792870426636664</c:v>
                </c:pt>
                <c:pt idx="175">
                  <c:v>0.6796293956586914</c:v>
                </c:pt>
                <c:pt idx="176">
                  <c:v>0.68132654350452093</c:v>
                </c:pt>
                <c:pt idx="177">
                  <c:v>0.6830147692064964</c:v>
                </c:pt>
                <c:pt idx="178">
                  <c:v>0.68468951677626677</c:v>
                </c:pt>
                <c:pt idx="179">
                  <c:v>0.68633958607580259</c:v>
                </c:pt>
                <c:pt idx="180">
                  <c:v>0.6879845509809821</c:v>
                </c:pt>
                <c:pt idx="181">
                  <c:v>0.68959064233740741</c:v>
                </c:pt>
                <c:pt idx="182">
                  <c:v>0.69118901382468234</c:v>
                </c:pt>
                <c:pt idx="183">
                  <c:v>0.69278645724025623</c:v>
                </c:pt>
                <c:pt idx="184">
                  <c:v>0.69436673132935911</c:v>
                </c:pt>
                <c:pt idx="185">
                  <c:v>0.69593979177023957</c:v>
                </c:pt>
                <c:pt idx="186">
                  <c:v>0.69749935298637633</c:v>
                </c:pt>
                <c:pt idx="187">
                  <c:v>0.69905737444719074</c:v>
                </c:pt>
                <c:pt idx="188">
                  <c:v>0.70060763385377745</c:v>
                </c:pt>
                <c:pt idx="189">
                  <c:v>0.70214017552788799</c:v>
                </c:pt>
                <c:pt idx="190">
                  <c:v>0.70367126181683093</c:v>
                </c:pt>
                <c:pt idx="191">
                  <c:v>0.70518488348376163</c:v>
                </c:pt>
                <c:pt idx="192">
                  <c:v>0.70668703080966011</c:v>
                </c:pt>
                <c:pt idx="193">
                  <c:v>0.70818563458906336</c:v>
                </c:pt>
                <c:pt idx="194">
                  <c:v>0.7096610787610157</c:v>
                </c:pt>
                <c:pt idx="195">
                  <c:v>0.71113519410303228</c:v>
                </c:pt>
                <c:pt idx="196">
                  <c:v>0.71259315256043365</c:v>
                </c:pt>
                <c:pt idx="197">
                  <c:v>0.71404210450382632</c:v>
                </c:pt>
                <c:pt idx="198">
                  <c:v>0.71549048694867512</c:v>
                </c:pt>
                <c:pt idx="199">
                  <c:v>0.71693749837851084</c:v>
                </c:pt>
                <c:pt idx="200">
                  <c:v>0.71838229509178708</c:v>
                </c:pt>
                <c:pt idx="201">
                  <c:v>0.71982019454492085</c:v>
                </c:pt>
                <c:pt idx="202">
                  <c:v>0.72125533087548988</c:v>
                </c:pt>
                <c:pt idx="203">
                  <c:v>0.72268454020269479</c:v>
                </c:pt>
                <c:pt idx="204">
                  <c:v>0.72411035363117515</c:v>
                </c:pt>
                <c:pt idx="205">
                  <c:v>0.72552157102290138</c:v>
                </c:pt>
                <c:pt idx="206">
                  <c:v>0.72691085217441898</c:v>
                </c:pt>
                <c:pt idx="207">
                  <c:v>0.72829561952266286</c:v>
                </c:pt>
                <c:pt idx="208">
                  <c:v>0.72967916350366435</c:v>
                </c:pt>
                <c:pt idx="209">
                  <c:v>0.73105232995564418</c:v>
                </c:pt>
                <c:pt idx="210">
                  <c:v>0.73242349261645101</c:v>
                </c:pt>
                <c:pt idx="211">
                  <c:v>0.73378689322303026</c:v>
                </c:pt>
                <c:pt idx="212">
                  <c:v>0.73513702662279101</c:v>
                </c:pt>
                <c:pt idx="213">
                  <c:v>0.73648572572992277</c:v>
                </c:pt>
                <c:pt idx="214">
                  <c:v>0.73783244213842025</c:v>
                </c:pt>
                <c:pt idx="215">
                  <c:v>0.73916875992535735</c:v>
                </c:pt>
                <c:pt idx="216">
                  <c:v>0.74048113768091295</c:v>
                </c:pt>
                <c:pt idx="217">
                  <c:v>0.74178598540016616</c:v>
                </c:pt>
                <c:pt idx="218">
                  <c:v>0.74308731066546285</c:v>
                </c:pt>
                <c:pt idx="219">
                  <c:v>0.74438570406788551</c:v>
                </c:pt>
                <c:pt idx="220">
                  <c:v>0.7456804695536583</c:v>
                </c:pt>
                <c:pt idx="221">
                  <c:v>0.74696247405354055</c:v>
                </c:pt>
                <c:pt idx="222">
                  <c:v>0.74824344501902829</c:v>
                </c:pt>
                <c:pt idx="223">
                  <c:v>0.74951543056304604</c:v>
                </c:pt>
                <c:pt idx="224">
                  <c:v>0.75078739501452507</c:v>
                </c:pt>
                <c:pt idx="225">
                  <c:v>0.75205758769275655</c:v>
                </c:pt>
                <c:pt idx="226">
                  <c:v>0.75332588204250839</c:v>
                </c:pt>
                <c:pt idx="227">
                  <c:v>0.75457616336424282</c:v>
                </c:pt>
                <c:pt idx="228">
                  <c:v>0.75582239491855407</c:v>
                </c:pt>
                <c:pt idx="229">
                  <c:v>0.75706831008478548</c:v>
                </c:pt>
                <c:pt idx="230">
                  <c:v>0.75829990341726528</c:v>
                </c:pt>
                <c:pt idx="231">
                  <c:v>0.75952565411653561</c:v>
                </c:pt>
                <c:pt idx="232">
                  <c:v>0.76074887371116651</c:v>
                </c:pt>
                <c:pt idx="233">
                  <c:v>0.76197160817740817</c:v>
                </c:pt>
                <c:pt idx="234">
                  <c:v>0.76319052489415207</c:v>
                </c:pt>
                <c:pt idx="235">
                  <c:v>0.76440549730616614</c:v>
                </c:pt>
                <c:pt idx="236">
                  <c:v>0.76561764331799942</c:v>
                </c:pt>
                <c:pt idx="237">
                  <c:v>0.76682160542483191</c:v>
                </c:pt>
                <c:pt idx="238">
                  <c:v>0.76802552534658708</c:v>
                </c:pt>
                <c:pt idx="239">
                  <c:v>0.76922619701738826</c:v>
                </c:pt>
                <c:pt idx="240">
                  <c:v>0.77042539221048312</c:v>
                </c:pt>
                <c:pt idx="241">
                  <c:v>0.77162458740357798</c:v>
                </c:pt>
                <c:pt idx="242">
                  <c:v>0.77282308654289689</c:v>
                </c:pt>
                <c:pt idx="243">
                  <c:v>0.77401445640414801</c:v>
                </c:pt>
                <c:pt idx="244">
                  <c:v>0.77520405449215157</c:v>
                </c:pt>
                <c:pt idx="245">
                  <c:v>0.77638863255595358</c:v>
                </c:pt>
                <c:pt idx="246">
                  <c:v>0.77757089044050276</c:v>
                </c:pt>
                <c:pt idx="247">
                  <c:v>0.77874776972769311</c:v>
                </c:pt>
                <c:pt idx="248">
                  <c:v>0.77991654948003719</c:v>
                </c:pt>
                <c:pt idx="249">
                  <c:v>0.78108440116068012</c:v>
                </c:pt>
                <c:pt idx="250">
                  <c:v>0.78223423981330564</c:v>
                </c:pt>
                <c:pt idx="251">
                  <c:v>0.78338319257930733</c:v>
                </c:pt>
                <c:pt idx="252">
                  <c:v>0.78453155475422653</c:v>
                </c:pt>
                <c:pt idx="253">
                  <c:v>0.78567643666026643</c:v>
                </c:pt>
                <c:pt idx="254">
                  <c:v>0.78682020066175729</c:v>
                </c:pt>
                <c:pt idx="255">
                  <c:v>0.78795997817344099</c:v>
                </c:pt>
                <c:pt idx="256">
                  <c:v>0.78909621213862946</c:v>
                </c:pt>
                <c:pt idx="257">
                  <c:v>0.79022848070654939</c:v>
                </c:pt>
                <c:pt idx="258">
                  <c:v>0.79135923061168567</c:v>
                </c:pt>
                <c:pt idx="259">
                  <c:v>0.79248806109580372</c:v>
                </c:pt>
                <c:pt idx="260">
                  <c:v>0.79360780069575843</c:v>
                </c:pt>
                <c:pt idx="261">
                  <c:v>0.79471920874294155</c:v>
                </c:pt>
                <c:pt idx="262">
                  <c:v>0.79582009161333234</c:v>
                </c:pt>
                <c:pt idx="263">
                  <c:v>0.79691660832822009</c:v>
                </c:pt>
                <c:pt idx="264">
                  <c:v>0.79801110015939625</c:v>
                </c:pt>
                <c:pt idx="265">
                  <c:v>0.79909519336901202</c:v>
                </c:pt>
                <c:pt idx="266">
                  <c:v>0.80017825304423329</c:v>
                </c:pt>
                <c:pt idx="267">
                  <c:v>0.8012556599190932</c:v>
                </c:pt>
                <c:pt idx="268">
                  <c:v>0.80232903811906864</c:v>
                </c:pt>
                <c:pt idx="269">
                  <c:v>0.80339872512477817</c:v>
                </c:pt>
                <c:pt idx="270">
                  <c:v>0.80446529043476567</c:v>
                </c:pt>
                <c:pt idx="271">
                  <c:v>0.80552381948752294</c:v>
                </c:pt>
                <c:pt idx="272">
                  <c:v>0.8065796486953315</c:v>
                </c:pt>
                <c:pt idx="273">
                  <c:v>0.80763098519240506</c:v>
                </c:pt>
                <c:pt idx="274">
                  <c:v>0.80867981167737779</c:v>
                </c:pt>
                <c:pt idx="275">
                  <c:v>0.80972349158291701</c:v>
                </c:pt>
                <c:pt idx="276">
                  <c:v>0.81076531534505392</c:v>
                </c:pt>
                <c:pt idx="277">
                  <c:v>0.81180334245023167</c:v>
                </c:pt>
                <c:pt idx="278">
                  <c:v>0.81283643390136251</c:v>
                </c:pt>
                <c:pt idx="279">
                  <c:v>0.81385431763211791</c:v>
                </c:pt>
                <c:pt idx="280">
                  <c:v>0.81486939605523123</c:v>
                </c:pt>
                <c:pt idx="281">
                  <c:v>0.81588019269299616</c:v>
                </c:pt>
                <c:pt idx="282">
                  <c:v>0.81688246794514163</c:v>
                </c:pt>
                <c:pt idx="283">
                  <c:v>0.8178843213465139</c:v>
                </c:pt>
                <c:pt idx="284">
                  <c:v>0.81888254683123629</c:v>
                </c:pt>
                <c:pt idx="285">
                  <c:v>0.81987128067356074</c:v>
                </c:pt>
                <c:pt idx="286">
                  <c:v>0.82085965594272792</c:v>
                </c:pt>
                <c:pt idx="287">
                  <c:v>0.82184752499096714</c:v>
                </c:pt>
                <c:pt idx="288">
                  <c:v>0.82283121771655132</c:v>
                </c:pt>
                <c:pt idx="289">
                  <c:v>0.82380927873431276</c:v>
                </c:pt>
                <c:pt idx="290">
                  <c:v>0.8247861374773704</c:v>
                </c:pt>
                <c:pt idx="291">
                  <c:v>0.82574399184309355</c:v>
                </c:pt>
                <c:pt idx="292">
                  <c:v>0.82669324045304249</c:v>
                </c:pt>
                <c:pt idx="293">
                  <c:v>0.82764010560612267</c:v>
                </c:pt>
                <c:pt idx="294">
                  <c:v>0.82858450293217933</c:v>
                </c:pt>
                <c:pt idx="295">
                  <c:v>0.82952381695641841</c:v>
                </c:pt>
                <c:pt idx="296">
                  <c:v>0.83044556089595201</c:v>
                </c:pt>
                <c:pt idx="297">
                  <c:v>0.83136397221437697</c:v>
                </c:pt>
                <c:pt idx="298">
                  <c:v>0.83228050629686101</c:v>
                </c:pt>
                <c:pt idx="299">
                  <c:v>0.83319233674322346</c:v>
                </c:pt>
                <c:pt idx="300">
                  <c:v>0.83410262743426355</c:v>
                </c:pt>
                <c:pt idx="301">
                  <c:v>0.83500962768927234</c:v>
                </c:pt>
                <c:pt idx="302">
                  <c:v>0.83591648029651044</c:v>
                </c:pt>
                <c:pt idx="303">
                  <c:v>0.83681472714797445</c:v>
                </c:pt>
                <c:pt idx="304">
                  <c:v>0.83770485337205358</c:v>
                </c:pt>
                <c:pt idx="305">
                  <c:v>0.83859409370950888</c:v>
                </c:pt>
                <c:pt idx="306">
                  <c:v>0.8394823426976471</c:v>
                </c:pt>
                <c:pt idx="307">
                  <c:v>0.84036637317805285</c:v>
                </c:pt>
                <c:pt idx="308">
                  <c:v>0.84124964432706684</c:v>
                </c:pt>
                <c:pt idx="309">
                  <c:v>0.84213086949983051</c:v>
                </c:pt>
                <c:pt idx="310">
                  <c:v>0.84299969225986093</c:v>
                </c:pt>
                <c:pt idx="311">
                  <c:v>0.84386684870933704</c:v>
                </c:pt>
                <c:pt idx="312">
                  <c:v>0.84473335129011462</c:v>
                </c:pt>
                <c:pt idx="313">
                  <c:v>0.84559785007971933</c:v>
                </c:pt>
                <c:pt idx="314">
                  <c:v>0.84646072474384704</c:v>
                </c:pt>
                <c:pt idx="315">
                  <c:v>0.84732030897194344</c:v>
                </c:pt>
                <c:pt idx="316">
                  <c:v>0.84817957681195988</c:v>
                </c:pt>
                <c:pt idx="317">
                  <c:v>0.84903606043687296</c:v>
                </c:pt>
                <c:pt idx="318">
                  <c:v>0.84989056136315178</c:v>
                </c:pt>
                <c:pt idx="319">
                  <c:v>0.85073592922018992</c:v>
                </c:pt>
                <c:pt idx="320">
                  <c:v>0.8515782808441994</c:v>
                </c:pt>
                <c:pt idx="321">
                  <c:v>0.85241092990042433</c:v>
                </c:pt>
                <c:pt idx="322">
                  <c:v>0.85324298836556667</c:v>
                </c:pt>
                <c:pt idx="323">
                  <c:v>0.85405346916365776</c:v>
                </c:pt>
                <c:pt idx="324">
                  <c:v>0.85486171415265066</c:v>
                </c:pt>
                <c:pt idx="325">
                  <c:v>0.85566236582772515</c:v>
                </c:pt>
                <c:pt idx="326">
                  <c:v>0.85645801857113668</c:v>
                </c:pt>
                <c:pt idx="327">
                  <c:v>0.85725253231746057</c:v>
                </c:pt>
                <c:pt idx="328">
                  <c:v>0.8580463289174699</c:v>
                </c:pt>
                <c:pt idx="329">
                  <c:v>0.8588394294637034</c:v>
                </c:pt>
                <c:pt idx="330">
                  <c:v>0.85963145429046506</c:v>
                </c:pt>
                <c:pt idx="331">
                  <c:v>0.86041765757655597</c:v>
                </c:pt>
                <c:pt idx="332">
                  <c:v>0.86119858772798141</c:v>
                </c:pt>
                <c:pt idx="333">
                  <c:v>0.8619763329060689</c:v>
                </c:pt>
                <c:pt idx="334">
                  <c:v>0.86275312891991662</c:v>
                </c:pt>
                <c:pt idx="335">
                  <c:v>0.86352667668281036</c:v>
                </c:pt>
                <c:pt idx="336">
                  <c:v>0.86429908544861633</c:v>
                </c:pt>
                <c:pt idx="337">
                  <c:v>0.86506972244117464</c:v>
                </c:pt>
                <c:pt idx="338">
                  <c:v>0.86583673151708307</c:v>
                </c:pt>
                <c:pt idx="339">
                  <c:v>0.86660051343457623</c:v>
                </c:pt>
                <c:pt idx="340">
                  <c:v>0.86735760901731351</c:v>
                </c:pt>
                <c:pt idx="341">
                  <c:v>0.86811413510150692</c:v>
                </c:pt>
                <c:pt idx="342">
                  <c:v>0.86886391157332843</c:v>
                </c:pt>
                <c:pt idx="343">
                  <c:v>0.86960995466580682</c:v>
                </c:pt>
                <c:pt idx="344">
                  <c:v>0.87035441581788553</c:v>
                </c:pt>
                <c:pt idx="345">
                  <c:v>0.87109607166232217</c:v>
                </c:pt>
                <c:pt idx="346">
                  <c:v>0.87183165285562414</c:v>
                </c:pt>
                <c:pt idx="347">
                  <c:v>0.87256225620980177</c:v>
                </c:pt>
                <c:pt idx="348">
                  <c:v>0.87329271191620883</c:v>
                </c:pt>
                <c:pt idx="349">
                  <c:v>0.87402080525828574</c:v>
                </c:pt>
                <c:pt idx="350">
                  <c:v>0.87474849784212805</c:v>
                </c:pt>
                <c:pt idx="351">
                  <c:v>0.87547437646764548</c:v>
                </c:pt>
                <c:pt idx="352">
                  <c:v>0.87619846222737652</c:v>
                </c:pt>
                <c:pt idx="353">
                  <c:v>0.876919341921231</c:v>
                </c:pt>
                <c:pt idx="354">
                  <c:v>0.87763840765676049</c:v>
                </c:pt>
                <c:pt idx="355">
                  <c:v>0.87835182059192851</c:v>
                </c:pt>
                <c:pt idx="356">
                  <c:v>0.8790612681298281</c:v>
                </c:pt>
                <c:pt idx="357">
                  <c:v>0.87975858745799695</c:v>
                </c:pt>
                <c:pt idx="358">
                  <c:v>0.8804556747682406</c:v>
                </c:pt>
                <c:pt idx="359">
                  <c:v>0.88114677179750422</c:v>
                </c:pt>
                <c:pt idx="360">
                  <c:v>0.88183660327444813</c:v>
                </c:pt>
                <c:pt idx="361">
                  <c:v>0.88252531684684288</c:v>
                </c:pt>
                <c:pt idx="362">
                  <c:v>0.88320974863388924</c:v>
                </c:pt>
                <c:pt idx="363">
                  <c:v>0.88389105872521356</c:v>
                </c:pt>
                <c:pt idx="364">
                  <c:v>0.88457173604037809</c:v>
                </c:pt>
                <c:pt idx="365">
                  <c:v>0.88525127435845485</c:v>
                </c:pt>
                <c:pt idx="366">
                  <c:v>0.8859232193626132</c:v>
                </c:pt>
                <c:pt idx="367">
                  <c:v>0.88659406755476111</c:v>
                </c:pt>
                <c:pt idx="368">
                  <c:v>0.88725877781815843</c:v>
                </c:pt>
                <c:pt idx="369">
                  <c:v>0.88792196941877211</c:v>
                </c:pt>
                <c:pt idx="370">
                  <c:v>0.88858478135368979</c:v>
                </c:pt>
                <c:pt idx="371">
                  <c:v>0.88924706597514092</c:v>
                </c:pt>
                <c:pt idx="372">
                  <c:v>0.8899063976411794</c:v>
                </c:pt>
                <c:pt idx="373">
                  <c:v>0.89056486451313277</c:v>
                </c:pt>
                <c:pt idx="374">
                  <c:v>0.8912228673492355</c:v>
                </c:pt>
                <c:pt idx="375">
                  <c:v>0.89187222224448681</c:v>
                </c:pt>
                <c:pt idx="376">
                  <c:v>0.89251799140816557</c:v>
                </c:pt>
                <c:pt idx="377">
                  <c:v>0.89315971080442114</c:v>
                </c:pt>
                <c:pt idx="378">
                  <c:v>0.89380102944244222</c:v>
                </c:pt>
                <c:pt idx="379">
                  <c:v>0.89444179967445803</c:v>
                </c:pt>
                <c:pt idx="380">
                  <c:v>0.89508079813322627</c:v>
                </c:pt>
                <c:pt idx="381">
                  <c:v>0.89571344773785722</c:v>
                </c:pt>
                <c:pt idx="382">
                  <c:v>0.89634447321701116</c:v>
                </c:pt>
                <c:pt idx="383">
                  <c:v>0.89697497138269855</c:v>
                </c:pt>
                <c:pt idx="384">
                  <c:v>0.89760536408569258</c:v>
                </c:pt>
                <c:pt idx="385">
                  <c:v>0.89823457560652153</c:v>
                </c:pt>
                <c:pt idx="386">
                  <c:v>0.89886165678094565</c:v>
                </c:pt>
                <c:pt idx="387">
                  <c:v>0.89948407650432549</c:v>
                </c:pt>
                <c:pt idx="388">
                  <c:v>0.90010415495591378</c:v>
                </c:pt>
                <c:pt idx="389">
                  <c:v>0.90071988834453764</c:v>
                </c:pt>
                <c:pt idx="390">
                  <c:v>0.90133300625836743</c:v>
                </c:pt>
                <c:pt idx="391">
                  <c:v>0.90194559685873066</c:v>
                </c:pt>
                <c:pt idx="392">
                  <c:v>0.90255791325609136</c:v>
                </c:pt>
                <c:pt idx="393">
                  <c:v>0.90316856334289775</c:v>
                </c:pt>
                <c:pt idx="394">
                  <c:v>0.90377225289194563</c:v>
                </c:pt>
                <c:pt idx="395">
                  <c:v>0.90437069039886664</c:v>
                </c:pt>
                <c:pt idx="396">
                  <c:v>0.90495995265146967</c:v>
                </c:pt>
                <c:pt idx="397">
                  <c:v>0.90554621976358263</c:v>
                </c:pt>
                <c:pt idx="398">
                  <c:v>0.90612890114412303</c:v>
                </c:pt>
                <c:pt idx="399">
                  <c:v>0.90670432669136369</c:v>
                </c:pt>
                <c:pt idx="400">
                  <c:v>0.90727163161121938</c:v>
                </c:pt>
                <c:pt idx="401">
                  <c:v>0.90782961362898651</c:v>
                </c:pt>
                <c:pt idx="402">
                  <c:v>0.90838723707359637</c:v>
                </c:pt>
                <c:pt idx="403">
                  <c:v>0.90894439648235559</c:v>
                </c:pt>
                <c:pt idx="404">
                  <c:v>0.90950031143133381</c:v>
                </c:pt>
                <c:pt idx="405">
                  <c:v>0.91005531940114959</c:v>
                </c:pt>
                <c:pt idx="406">
                  <c:v>0.91061011644557865</c:v>
                </c:pt>
                <c:pt idx="407">
                  <c:v>0.9111640486959226</c:v>
                </c:pt>
                <c:pt idx="408">
                  <c:v>0.91171391008630476</c:v>
                </c:pt>
                <c:pt idx="409">
                  <c:v>0.9122586248972534</c:v>
                </c:pt>
                <c:pt idx="410">
                  <c:v>0.91280074532594657</c:v>
                </c:pt>
                <c:pt idx="411">
                  <c:v>0.91334280247702382</c:v>
                </c:pt>
                <c:pt idx="412">
                  <c:v>0.91388243398615487</c:v>
                </c:pt>
                <c:pt idx="413">
                  <c:v>0.9144199562414197</c:v>
                </c:pt>
                <c:pt idx="414">
                  <c:v>0.91495595983390088</c:v>
                </c:pt>
                <c:pt idx="415">
                  <c:v>0.91548869408288946</c:v>
                </c:pt>
                <c:pt idx="416">
                  <c:v>0.91602069009302489</c:v>
                </c:pt>
                <c:pt idx="417">
                  <c:v>0.916552643918083</c:v>
                </c:pt>
                <c:pt idx="418">
                  <c:v>0.91707626619036953</c:v>
                </c:pt>
                <c:pt idx="419">
                  <c:v>0.91759737845055522</c:v>
                </c:pt>
                <c:pt idx="420">
                  <c:v>0.91811642364195212</c:v>
                </c:pt>
                <c:pt idx="421">
                  <c:v>0.91863542664827169</c:v>
                </c:pt>
                <c:pt idx="422">
                  <c:v>0.91914422086587877</c:v>
                </c:pt>
                <c:pt idx="423">
                  <c:v>0.91965204482670737</c:v>
                </c:pt>
                <c:pt idx="424">
                  <c:v>0.92015891962329621</c:v>
                </c:pt>
                <c:pt idx="425">
                  <c:v>0.92066031035983287</c:v>
                </c:pt>
                <c:pt idx="426">
                  <c:v>0.92116039335897248</c:v>
                </c:pt>
                <c:pt idx="427">
                  <c:v>0.92165893660278975</c:v>
                </c:pt>
                <c:pt idx="428">
                  <c:v>0.92215653068236725</c:v>
                </c:pt>
                <c:pt idx="429">
                  <c:v>0.92265161474984392</c:v>
                </c:pt>
                <c:pt idx="430">
                  <c:v>0.92314463174853179</c:v>
                </c:pt>
                <c:pt idx="431">
                  <c:v>0.92363262872301799</c:v>
                </c:pt>
                <c:pt idx="432">
                  <c:v>0.92411815787048079</c:v>
                </c:pt>
                <c:pt idx="433">
                  <c:v>0.9246022527253146</c:v>
                </c:pt>
                <c:pt idx="434">
                  <c:v>0.92508598900699113</c:v>
                </c:pt>
                <c:pt idx="435">
                  <c:v>0.92556902923489182</c:v>
                </c:pt>
                <c:pt idx="436">
                  <c:v>0.92604960163576899</c:v>
                </c:pt>
                <c:pt idx="437">
                  <c:v>0.92652954126048637</c:v>
                </c:pt>
                <c:pt idx="438">
                  <c:v>0.92700616935663371</c:v>
                </c:pt>
                <c:pt idx="439">
                  <c:v>0.9274816373631547</c:v>
                </c:pt>
                <c:pt idx="440">
                  <c:v>0.92795430006203361</c:v>
                </c:pt>
                <c:pt idx="441">
                  <c:v>0.92842561283843816</c:v>
                </c:pt>
                <c:pt idx="442">
                  <c:v>0.92889555459982964</c:v>
                </c:pt>
                <c:pt idx="443">
                  <c:v>0.92936412534620816</c:v>
                </c:pt>
                <c:pt idx="444">
                  <c:v>0.9298288783430888</c:v>
                </c:pt>
                <c:pt idx="445">
                  <c:v>0.93029012997855154</c:v>
                </c:pt>
                <c:pt idx="446">
                  <c:v>0.93075104413339571</c:v>
                </c:pt>
                <c:pt idx="447">
                  <c:v>0.93120552506394794</c:v>
                </c:pt>
                <c:pt idx="448">
                  <c:v>0.9316596896064202</c:v>
                </c:pt>
                <c:pt idx="449">
                  <c:v>0.93211244094880208</c:v>
                </c:pt>
                <c:pt idx="450">
                  <c:v>0.93255698729364445</c:v>
                </c:pt>
                <c:pt idx="451">
                  <c:v>0.93300054228916962</c:v>
                </c:pt>
                <c:pt idx="452">
                  <c:v>0.93344397072946284</c:v>
                </c:pt>
                <c:pt idx="453">
                  <c:v>0.9338870827816762</c:v>
                </c:pt>
                <c:pt idx="454">
                  <c:v>0.9343280223024073</c:v>
                </c:pt>
                <c:pt idx="455">
                  <c:v>0.93476881417536783</c:v>
                </c:pt>
                <c:pt idx="456">
                  <c:v>0.93520692729591826</c:v>
                </c:pt>
                <c:pt idx="457">
                  <c:v>0.93564301553275708</c:v>
                </c:pt>
                <c:pt idx="458">
                  <c:v>0.93607087767951769</c:v>
                </c:pt>
                <c:pt idx="459">
                  <c:v>0.9364956814081723</c:v>
                </c:pt>
                <c:pt idx="460">
                  <c:v>0.93691921958450719</c:v>
                </c:pt>
                <c:pt idx="461">
                  <c:v>0.9373413656532904</c:v>
                </c:pt>
                <c:pt idx="462">
                  <c:v>0.93776218289213786</c:v>
                </c:pt>
                <c:pt idx="463">
                  <c:v>0.9381757864827629</c:v>
                </c:pt>
                <c:pt idx="464">
                  <c:v>0.93858882057484405</c:v>
                </c:pt>
                <c:pt idx="465">
                  <c:v>0.93900020944890961</c:v>
                </c:pt>
                <c:pt idx="466">
                  <c:v>0.93940849771979185</c:v>
                </c:pt>
                <c:pt idx="467">
                  <c:v>0.93981275731578962</c:v>
                </c:pt>
                <c:pt idx="468">
                  <c:v>0.94021613102516355</c:v>
                </c:pt>
                <c:pt idx="469">
                  <c:v>0.94061891414345489</c:v>
                </c:pt>
                <c:pt idx="470">
                  <c:v>0.94102015750642398</c:v>
                </c:pt>
                <c:pt idx="471">
                  <c:v>0.94141724563927665</c:v>
                </c:pt>
                <c:pt idx="472">
                  <c:v>0.94181353225566011</c:v>
                </c:pt>
                <c:pt idx="473">
                  <c:v>0.94220855331972386</c:v>
                </c:pt>
                <c:pt idx="474">
                  <c:v>0.94260319471809173</c:v>
                </c:pt>
                <c:pt idx="475">
                  <c:v>0.94299140289216765</c:v>
                </c:pt>
                <c:pt idx="476">
                  <c:v>0.94337883064231298</c:v>
                </c:pt>
                <c:pt idx="477">
                  <c:v>0.94376391712066687</c:v>
                </c:pt>
                <c:pt idx="478">
                  <c:v>0.94414847628555421</c:v>
                </c:pt>
                <c:pt idx="479">
                  <c:v>0.94453170662050578</c:v>
                </c:pt>
                <c:pt idx="480">
                  <c:v>0.94491014894918113</c:v>
                </c:pt>
                <c:pt idx="481">
                  <c:v>0.94528859127785647</c:v>
                </c:pt>
                <c:pt idx="482">
                  <c:v>0.94566490326012698</c:v>
                </c:pt>
                <c:pt idx="483">
                  <c:v>0.94603927472884053</c:v>
                </c:pt>
                <c:pt idx="484">
                  <c:v>0.94641103072276</c:v>
                </c:pt>
                <c:pt idx="485">
                  <c:v>0.94678152116435976</c:v>
                </c:pt>
                <c:pt idx="486">
                  <c:v>0.94715188505072756</c:v>
                </c:pt>
                <c:pt idx="487">
                  <c:v>0.9475203084235384</c:v>
                </c:pt>
                <c:pt idx="488">
                  <c:v>0.9478822985720573</c:v>
                </c:pt>
                <c:pt idx="489">
                  <c:v>0.94824232711448064</c:v>
                </c:pt>
                <c:pt idx="490">
                  <c:v>0.94860174397328278</c:v>
                </c:pt>
                <c:pt idx="491">
                  <c:v>0.94895806022890161</c:v>
                </c:pt>
                <c:pt idx="492">
                  <c:v>0.9493141022815178</c:v>
                </c:pt>
                <c:pt idx="493">
                  <c:v>0.94966864676388896</c:v>
                </c:pt>
                <c:pt idx="494">
                  <c:v>0.95002255847010031</c:v>
                </c:pt>
                <c:pt idx="495">
                  <c:v>0.9503755421046105</c:v>
                </c:pt>
                <c:pt idx="496">
                  <c:v>0.95072827262865678</c:v>
                </c:pt>
                <c:pt idx="497">
                  <c:v>0.95107977978546066</c:v>
                </c:pt>
                <c:pt idx="498">
                  <c:v>0.95142892457793438</c:v>
                </c:pt>
                <c:pt idx="499">
                  <c:v>0.95176777621154096</c:v>
                </c:pt>
                <c:pt idx="500">
                  <c:v>0.95210616380929702</c:v>
                </c:pt>
                <c:pt idx="501">
                  <c:v>0.95244170391433369</c:v>
                </c:pt>
                <c:pt idx="502">
                  <c:v>0.95277089516523306</c:v>
                </c:pt>
                <c:pt idx="503">
                  <c:v>0.95309548824270407</c:v>
                </c:pt>
                <c:pt idx="504">
                  <c:v>0.95341862593500737</c:v>
                </c:pt>
                <c:pt idx="505">
                  <c:v>0.953735878809024</c:v>
                </c:pt>
                <c:pt idx="506">
                  <c:v>0.95405296294273123</c:v>
                </c:pt>
                <c:pt idx="507">
                  <c:v>0.95437004707643847</c:v>
                </c:pt>
                <c:pt idx="508">
                  <c:v>0.95468533834435942</c:v>
                </c:pt>
                <c:pt idx="509">
                  <c:v>0.95500048196450982</c:v>
                </c:pt>
                <c:pt idx="510">
                  <c:v>0.95531526701150293</c:v>
                </c:pt>
                <c:pt idx="511">
                  <c:v>0.95562901852410165</c:v>
                </c:pt>
                <c:pt idx="512">
                  <c:v>0.95594190524261513</c:v>
                </c:pt>
                <c:pt idx="513">
                  <c:v>0.95625181791317726</c:v>
                </c:pt>
                <c:pt idx="514">
                  <c:v>0.95655645744907392</c:v>
                </c:pt>
                <c:pt idx="515">
                  <c:v>0.95686027437596277</c:v>
                </c:pt>
                <c:pt idx="516">
                  <c:v>0.95716094851459099</c:v>
                </c:pt>
                <c:pt idx="517">
                  <c:v>0.95746086332182734</c:v>
                </c:pt>
                <c:pt idx="518">
                  <c:v>0.95776003989021052</c:v>
                </c:pt>
                <c:pt idx="519">
                  <c:v>0.95805845712720183</c:v>
                </c:pt>
                <c:pt idx="520">
                  <c:v>0.95835307770723399</c:v>
                </c:pt>
                <c:pt idx="521">
                  <c:v>0.95864012606588644</c:v>
                </c:pt>
                <c:pt idx="522">
                  <c:v>0.95892599324237382</c:v>
                </c:pt>
                <c:pt idx="523">
                  <c:v>0.95921072142177344</c:v>
                </c:pt>
                <c:pt idx="524">
                  <c:v>0.95949488010262918</c:v>
                </c:pt>
                <c:pt idx="525">
                  <c:v>0.95977739356546932</c:v>
                </c:pt>
                <c:pt idx="526">
                  <c:v>0.96005805088490714</c:v>
                </c:pt>
                <c:pt idx="527">
                  <c:v>0.96033837072372641</c:v>
                </c:pt>
                <c:pt idx="528">
                  <c:v>0.96061681332660476</c:v>
                </c:pt>
                <c:pt idx="529">
                  <c:v>0.96089439113539798</c:v>
                </c:pt>
                <c:pt idx="530">
                  <c:v>0.96117095650233542</c:v>
                </c:pt>
                <c:pt idx="531">
                  <c:v>0.96144684690803561</c:v>
                </c:pt>
                <c:pt idx="532">
                  <c:v>0.96172079680017897</c:v>
                </c:pt>
                <c:pt idx="533">
                  <c:v>0.96199318584446125</c:v>
                </c:pt>
                <c:pt idx="534">
                  <c:v>0.96226371874534133</c:v>
                </c:pt>
                <c:pt idx="535">
                  <c:v>0.9625342094611441</c:v>
                </c:pt>
                <c:pt idx="536">
                  <c:v>0.96280292840369919</c:v>
                </c:pt>
                <c:pt idx="537">
                  <c:v>0.96307040288647328</c:v>
                </c:pt>
                <c:pt idx="538">
                  <c:v>0.96333336356597365</c:v>
                </c:pt>
                <c:pt idx="539">
                  <c:v>0.96359607113501011</c:v>
                </c:pt>
                <c:pt idx="540">
                  <c:v>0.9638582302980413</c:v>
                </c:pt>
                <c:pt idx="541">
                  <c:v>0.96411218446353297</c:v>
                </c:pt>
                <c:pt idx="542">
                  <c:v>0.96436293256314798</c:v>
                </c:pt>
                <c:pt idx="543">
                  <c:v>0.96461201435220867</c:v>
                </c:pt>
                <c:pt idx="544">
                  <c:v>0.96485883923963256</c:v>
                </c:pt>
                <c:pt idx="545">
                  <c:v>0.96510275335672102</c:v>
                </c:pt>
                <c:pt idx="546">
                  <c:v>0.96534601360511096</c:v>
                </c:pt>
                <c:pt idx="547">
                  <c:v>0.96558771300563995</c:v>
                </c:pt>
                <c:pt idx="548">
                  <c:v>0.96582780937323054</c:v>
                </c:pt>
                <c:pt idx="549">
                  <c:v>0.96606723077958401</c:v>
                </c:pt>
                <c:pt idx="550">
                  <c:v>0.9663058928545456</c:v>
                </c:pt>
                <c:pt idx="551">
                  <c:v>0.96654455492950719</c:v>
                </c:pt>
                <c:pt idx="552">
                  <c:v>0.96678275296861826</c:v>
                </c:pt>
                <c:pt idx="553">
                  <c:v>0.96701970654794822</c:v>
                </c:pt>
                <c:pt idx="554">
                  <c:v>0.96725480398387598</c:v>
                </c:pt>
                <c:pt idx="555">
                  <c:v>0.96748836166448138</c:v>
                </c:pt>
                <c:pt idx="556">
                  <c:v>0.96771683604326919</c:v>
                </c:pt>
                <c:pt idx="557">
                  <c:v>0.96794490966382241</c:v>
                </c:pt>
                <c:pt idx="558">
                  <c:v>0.96817220286044514</c:v>
                </c:pt>
                <c:pt idx="559">
                  <c:v>0.96839909529883328</c:v>
                </c:pt>
                <c:pt idx="560">
                  <c:v>0.96862446907443778</c:v>
                </c:pt>
                <c:pt idx="561">
                  <c:v>0.9688421229808919</c:v>
                </c:pt>
                <c:pt idx="562">
                  <c:v>0.96905971360973009</c:v>
                </c:pt>
                <c:pt idx="563">
                  <c:v>0.96927319119352917</c:v>
                </c:pt>
                <c:pt idx="564">
                  <c:v>0.9694865633146349</c:v>
                </c:pt>
                <c:pt idx="565">
                  <c:v>0.96969932375211942</c:v>
                </c:pt>
                <c:pt idx="566">
                  <c:v>0.96991189435675607</c:v>
                </c:pt>
                <c:pt idx="567">
                  <c:v>0.97012005662081224</c:v>
                </c:pt>
                <c:pt idx="568">
                  <c:v>0.97032636274146622</c:v>
                </c:pt>
                <c:pt idx="569">
                  <c:v>0.97053231028896292</c:v>
                </c:pt>
                <c:pt idx="570">
                  <c:v>0.97073646497067334</c:v>
                </c:pt>
                <c:pt idx="571">
                  <c:v>0.9709398814135306</c:v>
                </c:pt>
                <c:pt idx="572">
                  <c:v>0.97114312911607859</c:v>
                </c:pt>
                <c:pt idx="573">
                  <c:v>0.97134612370816265</c:v>
                </c:pt>
                <c:pt idx="574">
                  <c:v>0.97154884409724407</c:v>
                </c:pt>
                <c:pt idx="575">
                  <c:v>0.97174920212199534</c:v>
                </c:pt>
                <c:pt idx="576">
                  <c:v>0.97194776728096033</c:v>
                </c:pt>
                <c:pt idx="577">
                  <c:v>0.97214614260707732</c:v>
                </c:pt>
                <c:pt idx="578">
                  <c:v>0.97234278834502408</c:v>
                </c:pt>
                <c:pt idx="579">
                  <c:v>0.97253633347978752</c:v>
                </c:pt>
                <c:pt idx="580">
                  <c:v>0.97272964659662564</c:v>
                </c:pt>
                <c:pt idx="581">
                  <c:v>0.97292270660299984</c:v>
                </c:pt>
                <c:pt idx="582">
                  <c:v>0.97311441668689969</c:v>
                </c:pt>
                <c:pt idx="583">
                  <c:v>0.97330481903340238</c:v>
                </c:pt>
                <c:pt idx="584">
                  <c:v>0.97349361834696679</c:v>
                </c:pt>
                <c:pt idx="585">
                  <c:v>0.97368218564260589</c:v>
                </c:pt>
                <c:pt idx="586">
                  <c:v>0.97386839057391483</c:v>
                </c:pt>
                <c:pt idx="587">
                  <c:v>0.97405297137974689</c:v>
                </c:pt>
                <c:pt idx="588">
                  <c:v>0.97423601243025659</c:v>
                </c:pt>
                <c:pt idx="589">
                  <c:v>0.97441698641197738</c:v>
                </c:pt>
                <c:pt idx="590">
                  <c:v>0.97459745417277033</c:v>
                </c:pt>
                <c:pt idx="591">
                  <c:v>0.97477347140790549</c:v>
                </c:pt>
                <c:pt idx="592">
                  <c:v>0.97494910897734477</c:v>
                </c:pt>
                <c:pt idx="593">
                  <c:v>0.97512337553177098</c:v>
                </c:pt>
                <c:pt idx="594">
                  <c:v>0.97529572266517894</c:v>
                </c:pt>
                <c:pt idx="595">
                  <c:v>0.97546773231796835</c:v>
                </c:pt>
                <c:pt idx="596">
                  <c:v>0.97563910919459784</c:v>
                </c:pt>
                <c:pt idx="597">
                  <c:v>0.97580869320544106</c:v>
                </c:pt>
                <c:pt idx="598">
                  <c:v>0.97597827721628427</c:v>
                </c:pt>
                <c:pt idx="599">
                  <c:v>0.97614765030174089</c:v>
                </c:pt>
                <c:pt idx="600">
                  <c:v>0.97631632733342166</c:v>
                </c:pt>
                <c:pt idx="601">
                  <c:v>0.9764836966277054</c:v>
                </c:pt>
                <c:pt idx="602">
                  <c:v>0.97665087608914114</c:v>
                </c:pt>
                <c:pt idx="603">
                  <c:v>0.976817675884881</c:v>
                </c:pt>
                <c:pt idx="604">
                  <c:v>0.9769839483671543</c:v>
                </c:pt>
                <c:pt idx="605">
                  <c:v>0.97714998883150228</c:v>
                </c:pt>
                <c:pt idx="606">
                  <c:v>0.97731455281814394</c:v>
                </c:pt>
                <c:pt idx="607">
                  <c:v>0.97747842075100977</c:v>
                </c:pt>
                <c:pt idx="608">
                  <c:v>0.97764123405694248</c:v>
                </c:pt>
                <c:pt idx="609">
                  <c:v>0.97780273962547815</c:v>
                </c:pt>
                <c:pt idx="610">
                  <c:v>0.97796405536116582</c:v>
                </c:pt>
                <c:pt idx="611">
                  <c:v>0.97812440084007513</c:v>
                </c:pt>
                <c:pt idx="612">
                  <c:v>0.9782836705995126</c:v>
                </c:pt>
                <c:pt idx="613">
                  <c:v>0.97844184354693964</c:v>
                </c:pt>
                <c:pt idx="614">
                  <c:v>0.97859955245851615</c:v>
                </c:pt>
                <c:pt idx="615">
                  <c:v>0.97875605909538888</c:v>
                </c:pt>
                <c:pt idx="616">
                  <c:v>0.97891005572016088</c:v>
                </c:pt>
                <c:pt idx="617">
                  <c:v>0.97906280788515176</c:v>
                </c:pt>
                <c:pt idx="618">
                  <c:v>0.97921549677252673</c:v>
                </c:pt>
                <c:pt idx="619">
                  <c:v>0.97936818565990169</c:v>
                </c:pt>
                <c:pt idx="620">
                  <c:v>0.97951908168149038</c:v>
                </c:pt>
                <c:pt idx="621">
                  <c:v>0.97966957694484447</c:v>
                </c:pt>
                <c:pt idx="622">
                  <c:v>0.97981762547371376</c:v>
                </c:pt>
                <c:pt idx="623">
                  <c:v>0.97996478811595922</c:v>
                </c:pt>
                <c:pt idx="624">
                  <c:v>0.98011186638805003</c:v>
                </c:pt>
                <c:pt idx="625">
                  <c:v>0.98025772129289845</c:v>
                </c:pt>
                <c:pt idx="626">
                  <c:v>0.98040195207226988</c:v>
                </c:pt>
                <c:pt idx="627">
                  <c:v>0.98054586646356134</c:v>
                </c:pt>
                <c:pt idx="628">
                  <c:v>0.98068938009661821</c:v>
                </c:pt>
                <c:pt idx="629">
                  <c:v>0.98083139615943016</c:v>
                </c:pt>
                <c:pt idx="630">
                  <c:v>0.98097149280122375</c:v>
                </c:pt>
                <c:pt idx="631">
                  <c:v>0.98111085120416419</c:v>
                </c:pt>
                <c:pt idx="632">
                  <c:v>0.98124940809063554</c:v>
                </c:pt>
                <c:pt idx="633">
                  <c:v>0.98138745875617894</c:v>
                </c:pt>
                <c:pt idx="634">
                  <c:v>0.98152493992317846</c:v>
                </c:pt>
                <c:pt idx="635">
                  <c:v>0.98166235781256206</c:v>
                </c:pt>
                <c:pt idx="636">
                  <c:v>0.98179933275863374</c:v>
                </c:pt>
                <c:pt idx="637">
                  <c:v>0.98193599131662546</c:v>
                </c:pt>
                <c:pt idx="638">
                  <c:v>0.9820725022268465</c:v>
                </c:pt>
                <c:pt idx="639">
                  <c:v>0.98220724136381998</c:v>
                </c:pt>
                <c:pt idx="640">
                  <c:v>0.98234191722317743</c:v>
                </c:pt>
                <c:pt idx="641">
                  <c:v>0.98247410416297276</c:v>
                </c:pt>
                <c:pt idx="642">
                  <c:v>0.98260578488184025</c:v>
                </c:pt>
                <c:pt idx="643">
                  <c:v>0.98273390096167379</c:v>
                </c:pt>
                <c:pt idx="644">
                  <c:v>0.98286077258172633</c:v>
                </c:pt>
                <c:pt idx="645">
                  <c:v>0.98298720125846695</c:v>
                </c:pt>
                <c:pt idx="646">
                  <c:v>0.98311101446041349</c:v>
                </c:pt>
                <c:pt idx="647">
                  <c:v>0.983234764384744</c:v>
                </c:pt>
                <c:pt idx="648">
                  <c:v>0.98335828229114919</c:v>
                </c:pt>
                <c:pt idx="649">
                  <c:v>0.98348015497953878</c:v>
                </c:pt>
                <c:pt idx="650">
                  <c:v>0.98360135270669113</c:v>
                </c:pt>
                <c:pt idx="651">
                  <c:v>0.98372134815913981</c:v>
                </c:pt>
                <c:pt idx="652">
                  <c:v>0.98384049991004197</c:v>
                </c:pt>
                <c:pt idx="653">
                  <c:v>0.98395950401317356</c:v>
                </c:pt>
                <c:pt idx="654">
                  <c:v>0.98407844483868911</c:v>
                </c:pt>
                <c:pt idx="655">
                  <c:v>0.98419628885219423</c:v>
                </c:pt>
                <c:pt idx="656">
                  <c:v>0.98431358445969419</c:v>
                </c:pt>
                <c:pt idx="657">
                  <c:v>0.98443060586419151</c:v>
                </c:pt>
                <c:pt idx="658">
                  <c:v>0.98454617188352112</c:v>
                </c:pt>
                <c:pt idx="659">
                  <c:v>0.9846602614251444</c:v>
                </c:pt>
                <c:pt idx="660">
                  <c:v>0.98477416113391969</c:v>
                </c:pt>
                <c:pt idx="661">
                  <c:v>0.98488801865761766</c:v>
                </c:pt>
                <c:pt idx="662">
                  <c:v>0.98500174962608367</c:v>
                </c:pt>
                <c:pt idx="663">
                  <c:v>0.98511535403931771</c:v>
                </c:pt>
                <c:pt idx="664">
                  <c:v>0.98522828349131453</c:v>
                </c:pt>
                <c:pt idx="665">
                  <c:v>0.98533897713421326</c:v>
                </c:pt>
                <c:pt idx="666">
                  <c:v>0.98544680219185388</c:v>
                </c:pt>
                <c:pt idx="667">
                  <c:v>0.98555275001355358</c:v>
                </c:pt>
                <c:pt idx="668">
                  <c:v>0.98565766430085888</c:v>
                </c:pt>
                <c:pt idx="669">
                  <c:v>0.98576219892246819</c:v>
                </c:pt>
                <c:pt idx="670">
                  <c:v>0.98586633278584301</c:v>
                </c:pt>
                <c:pt idx="671">
                  <c:v>0.98596951748497796</c:v>
                </c:pt>
                <c:pt idx="672">
                  <c:v>0.98607215377810775</c:v>
                </c:pt>
                <c:pt idx="673">
                  <c:v>0.98617464242346686</c:v>
                </c:pt>
                <c:pt idx="674">
                  <c:v>0.98627673031059138</c:v>
                </c:pt>
                <c:pt idx="675">
                  <c:v>0.98637666675877234</c:v>
                </c:pt>
                <c:pt idx="676">
                  <c:v>0.98647586496810014</c:v>
                </c:pt>
                <c:pt idx="677">
                  <c:v>0.98657487334458005</c:v>
                </c:pt>
                <c:pt idx="678">
                  <c:v>0.98667383953598264</c:v>
                </c:pt>
                <c:pt idx="679">
                  <c:v>0.98677187765568408</c:v>
                </c:pt>
                <c:pt idx="680">
                  <c:v>0.98686835492752456</c:v>
                </c:pt>
                <c:pt idx="681">
                  <c:v>0.98696424160828244</c:v>
                </c:pt>
                <c:pt idx="682">
                  <c:v>0.98705976971588305</c:v>
                </c:pt>
                <c:pt idx="683">
                  <c:v>0.98715479160255581</c:v>
                </c:pt>
                <c:pt idx="684">
                  <c:v>0.98724886432498882</c:v>
                </c:pt>
                <c:pt idx="685">
                  <c:v>0.98734200897572066</c:v>
                </c:pt>
                <c:pt idx="686">
                  <c:v>0.98743471068314059</c:v>
                </c:pt>
                <c:pt idx="687">
                  <c:v>0.98752656868901401</c:v>
                </c:pt>
                <c:pt idx="688">
                  <c:v>0.98761802593665282</c:v>
                </c:pt>
                <c:pt idx="689">
                  <c:v>0.98770944099921432</c:v>
                </c:pt>
                <c:pt idx="690">
                  <c:v>0.98780083496923721</c:v>
                </c:pt>
                <c:pt idx="691">
                  <c:v>0.98789094229440166</c:v>
                </c:pt>
                <c:pt idx="692">
                  <c:v>0.9879805855837156</c:v>
                </c:pt>
                <c:pt idx="693">
                  <c:v>0.98807008122525886</c:v>
                </c:pt>
                <c:pt idx="694">
                  <c:v>0.98815755198309052</c:v>
                </c:pt>
                <c:pt idx="695">
                  <c:v>0.98824495946330626</c:v>
                </c:pt>
                <c:pt idx="696">
                  <c:v>0.988332177110674</c:v>
                </c:pt>
                <c:pt idx="697">
                  <c:v>0.98841935257296443</c:v>
                </c:pt>
                <c:pt idx="698">
                  <c:v>0.98850465079931393</c:v>
                </c:pt>
                <c:pt idx="699">
                  <c:v>0.98858992793312483</c:v>
                </c:pt>
                <c:pt idx="700">
                  <c:v>0.98867480430870114</c:v>
                </c:pt>
                <c:pt idx="701">
                  <c:v>0.98875944866635213</c:v>
                </c:pt>
                <c:pt idx="702">
                  <c:v>0.98884272200899004</c:v>
                </c:pt>
                <c:pt idx="703">
                  <c:v>0.98892525711277479</c:v>
                </c:pt>
                <c:pt idx="704">
                  <c:v>0.98900758129117294</c:v>
                </c:pt>
                <c:pt idx="705">
                  <c:v>0.98908956798895253</c:v>
                </c:pt>
                <c:pt idx="706">
                  <c:v>0.98917128048372949</c:v>
                </c:pt>
                <c:pt idx="707">
                  <c:v>0.98925265549788788</c:v>
                </c:pt>
                <c:pt idx="708">
                  <c:v>0.98933403051204627</c:v>
                </c:pt>
                <c:pt idx="709">
                  <c:v>0.98941483602766078</c:v>
                </c:pt>
                <c:pt idx="710">
                  <c:v>0.98949391195510494</c:v>
                </c:pt>
                <c:pt idx="711">
                  <c:v>0.98957281914223982</c:v>
                </c:pt>
                <c:pt idx="712">
                  <c:v>0.98965103027559886</c:v>
                </c:pt>
                <c:pt idx="713">
                  <c:v>0.9897292203164193</c:v>
                </c:pt>
                <c:pt idx="714">
                  <c:v>0.98980658774823183</c:v>
                </c:pt>
                <c:pt idx="715">
                  <c:v>0.98988353332927115</c:v>
                </c:pt>
                <c:pt idx="716">
                  <c:v>0.98996012033715319</c:v>
                </c:pt>
                <c:pt idx="717">
                  <c:v>0.99003609566141404</c:v>
                </c:pt>
                <c:pt idx="718">
                  <c:v>0.99011145930205369</c:v>
                </c:pt>
                <c:pt idx="719">
                  <c:v>0.99018656983222941</c:v>
                </c:pt>
                <c:pt idx="720">
                  <c:v>0.99026071010562666</c:v>
                </c:pt>
                <c:pt idx="721">
                  <c:v>0.99033430197301875</c:v>
                </c:pt>
                <c:pt idx="722">
                  <c:v>0.99040755635979216</c:v>
                </c:pt>
                <c:pt idx="723">
                  <c:v>0.99048070528387233</c:v>
                </c:pt>
                <c:pt idx="724">
                  <c:v>0.99055362219002718</c:v>
                </c:pt>
                <c:pt idx="725">
                  <c:v>0.99062521026624639</c:v>
                </c:pt>
                <c:pt idx="726">
                  <c:v>0.99069490001398597</c:v>
                </c:pt>
                <c:pt idx="727">
                  <c:v>0.9907645053915709</c:v>
                </c:pt>
                <c:pt idx="728">
                  <c:v>0.99083394202884656</c:v>
                </c:pt>
                <c:pt idx="729">
                  <c:v>0.99090333648104489</c:v>
                </c:pt>
                <c:pt idx="730">
                  <c:v>0.99097098025253427</c:v>
                </c:pt>
                <c:pt idx="731">
                  <c:v>0.99103712645377862</c:v>
                </c:pt>
                <c:pt idx="732">
                  <c:v>0.99110175399223932</c:v>
                </c:pt>
                <c:pt idx="733">
                  <c:v>0.99116627606800667</c:v>
                </c:pt>
                <c:pt idx="734">
                  <c:v>0.9912307559586967</c:v>
                </c:pt>
                <c:pt idx="735">
                  <c:v>0.99129510929415476</c:v>
                </c:pt>
                <c:pt idx="736">
                  <c:v>0.99135912514899427</c:v>
                </c:pt>
                <c:pt idx="737">
                  <c:v>0.99142307772621774</c:v>
                </c:pt>
                <c:pt idx="738">
                  <c:v>0.99148587021381485</c:v>
                </c:pt>
                <c:pt idx="739">
                  <c:v>0.99154847286856396</c:v>
                </c:pt>
                <c:pt idx="740">
                  <c:v>0.99161056930238511</c:v>
                </c:pt>
                <c:pt idx="741">
                  <c:v>0.99167205405258507</c:v>
                </c:pt>
                <c:pt idx="742">
                  <c:v>0.99173339115501447</c:v>
                </c:pt>
                <c:pt idx="743">
                  <c:v>0.99179468607236654</c:v>
                </c:pt>
                <c:pt idx="744">
                  <c:v>0.9918559598971799</c:v>
                </c:pt>
                <c:pt idx="745">
                  <c:v>0.99191649548314009</c:v>
                </c:pt>
                <c:pt idx="746">
                  <c:v>0.99197597644216717</c:v>
                </c:pt>
                <c:pt idx="747">
                  <c:v>0.99203486681011177</c:v>
                </c:pt>
                <c:pt idx="748">
                  <c:v>0.9920934196974377</c:v>
                </c:pt>
                <c:pt idx="749">
                  <c:v>0.99215174056683841</c:v>
                </c:pt>
                <c:pt idx="750">
                  <c:v>0.99220995597354578</c:v>
                </c:pt>
                <c:pt idx="751">
                  <c:v>0.9922678760847119</c:v>
                </c:pt>
                <c:pt idx="752">
                  <c:v>0.99232383458978246</c:v>
                </c:pt>
                <c:pt idx="753">
                  <c:v>0.99237935015154111</c:v>
                </c:pt>
                <c:pt idx="754">
                  <c:v>0.99243419075206252</c:v>
                </c:pt>
                <c:pt idx="755">
                  <c:v>0.99248882042719733</c:v>
                </c:pt>
                <c:pt idx="756">
                  <c:v>0.99254342900979353</c:v>
                </c:pt>
                <c:pt idx="757">
                  <c:v>0.9925975735565391</c:v>
                </c:pt>
                <c:pt idx="758">
                  <c:v>0.99265167591820735</c:v>
                </c:pt>
                <c:pt idx="759">
                  <c:v>0.99270485020817445</c:v>
                </c:pt>
                <c:pt idx="760">
                  <c:v>0.99275781357275494</c:v>
                </c:pt>
                <c:pt idx="761">
                  <c:v>0.99281060819702616</c:v>
                </c:pt>
                <c:pt idx="762">
                  <c:v>0.99286300206306277</c:v>
                </c:pt>
                <c:pt idx="763">
                  <c:v>0.99291537483656078</c:v>
                </c:pt>
                <c:pt idx="764">
                  <c:v>0.99296753668467219</c:v>
                </c:pt>
                <c:pt idx="765">
                  <c:v>0.99301965634770628</c:v>
                </c:pt>
                <c:pt idx="766">
                  <c:v>0.99307156508535366</c:v>
                </c:pt>
                <c:pt idx="767">
                  <c:v>0.99312319961999851</c:v>
                </c:pt>
                <c:pt idx="768">
                  <c:v>0.99317466541433397</c:v>
                </c:pt>
                <c:pt idx="769">
                  <c:v>0.99322596246836015</c:v>
                </c:pt>
                <c:pt idx="770">
                  <c:v>0.993277217337309</c:v>
                </c:pt>
                <c:pt idx="771">
                  <c:v>0.9933281136331007</c:v>
                </c:pt>
                <c:pt idx="772">
                  <c:v>0.99337896774381496</c:v>
                </c:pt>
                <c:pt idx="773">
                  <c:v>0.99342950546644937</c:v>
                </c:pt>
                <c:pt idx="774">
                  <c:v>0.99347974789354243</c:v>
                </c:pt>
                <c:pt idx="775">
                  <c:v>0.99352994813555817</c:v>
                </c:pt>
                <c:pt idx="776">
                  <c:v>0.99358002182234195</c:v>
                </c:pt>
                <c:pt idx="777">
                  <c:v>0.99362988458373913</c:v>
                </c:pt>
                <c:pt idx="778">
                  <c:v>0.99367964188244307</c:v>
                </c:pt>
                <c:pt idx="779">
                  <c:v>0.993729209348299</c:v>
                </c:pt>
                <c:pt idx="780">
                  <c:v>0.9937787135365389</c:v>
                </c:pt>
                <c:pt idx="781">
                  <c:v>0.99382800679939221</c:v>
                </c:pt>
                <c:pt idx="782">
                  <c:v>0.99387590795469383</c:v>
                </c:pt>
                <c:pt idx="783">
                  <c:v>0.99392361927714745</c:v>
                </c:pt>
                <c:pt idx="784">
                  <c:v>0.99397118295183051</c:v>
                </c:pt>
                <c:pt idx="785">
                  <c:v>0.99401834586827897</c:v>
                </c:pt>
                <c:pt idx="786">
                  <c:v>0.99406477054587428</c:v>
                </c:pt>
                <c:pt idx="787">
                  <c:v>0.9941110264831603</c:v>
                </c:pt>
                <c:pt idx="788">
                  <c:v>0.99415713477267564</c:v>
                </c:pt>
                <c:pt idx="789">
                  <c:v>0.99420273684126315</c:v>
                </c:pt>
                <c:pt idx="790">
                  <c:v>0.99424795924415466</c:v>
                </c:pt>
                <c:pt idx="791">
                  <c:v>0.99429273870373425</c:v>
                </c:pt>
                <c:pt idx="792">
                  <c:v>0.99433739160808188</c:v>
                </c:pt>
                <c:pt idx="793">
                  <c:v>0.99438183358704291</c:v>
                </c:pt>
                <c:pt idx="794">
                  <c:v>0.99442568497492145</c:v>
                </c:pt>
                <c:pt idx="795">
                  <c:v>0.99446919888218133</c:v>
                </c:pt>
                <c:pt idx="796">
                  <c:v>0.99451264951182528</c:v>
                </c:pt>
                <c:pt idx="797">
                  <c:v>0.99455607904893051</c:v>
                </c:pt>
                <c:pt idx="798">
                  <c:v>0.99459910782780114</c:v>
                </c:pt>
                <c:pt idx="799">
                  <c:v>0.99464207332905585</c:v>
                </c:pt>
                <c:pt idx="800">
                  <c:v>0.99468484899746257</c:v>
                </c:pt>
                <c:pt idx="801">
                  <c:v>0.99472730827778932</c:v>
                </c:pt>
                <c:pt idx="802">
                  <c:v>0.99476945117003623</c:v>
                </c:pt>
                <c:pt idx="803">
                  <c:v>0.99481117221150983</c:v>
                </c:pt>
                <c:pt idx="804">
                  <c:v>0.99485198627382099</c:v>
                </c:pt>
                <c:pt idx="805">
                  <c:v>0.99489239957789755</c:v>
                </c:pt>
                <c:pt idx="806">
                  <c:v>0.99493268632674214</c:v>
                </c:pt>
                <c:pt idx="807">
                  <c:v>0.99497297307558674</c:v>
                </c:pt>
                <c:pt idx="808">
                  <c:v>0.99501300671396742</c:v>
                </c:pt>
                <c:pt idx="809">
                  <c:v>0.99505299816727077</c:v>
                </c:pt>
                <c:pt idx="810">
                  <c:v>0.99509235684441422</c:v>
                </c:pt>
                <c:pt idx="811">
                  <c:v>0.99513169442901905</c:v>
                </c:pt>
                <c:pt idx="812">
                  <c:v>0.99517082108823729</c:v>
                </c:pt>
                <c:pt idx="813">
                  <c:v>0.99520988446983949</c:v>
                </c:pt>
                <c:pt idx="814">
                  <c:v>0.99524877911113241</c:v>
                </c:pt>
                <c:pt idx="815">
                  <c:v>0.99528725190165213</c:v>
                </c:pt>
                <c:pt idx="816">
                  <c:v>0.99532561922947849</c:v>
                </c:pt>
                <c:pt idx="817">
                  <c:v>0.99536396546476613</c:v>
                </c:pt>
                <c:pt idx="818">
                  <c:v>0.99540229060751517</c:v>
                </c:pt>
                <c:pt idx="819">
                  <c:v>0.9954395611233311</c:v>
                </c:pt>
                <c:pt idx="820">
                  <c:v>0.9954765996212217</c:v>
                </c:pt>
                <c:pt idx="821">
                  <c:v>0.99551330063849375</c:v>
                </c:pt>
                <c:pt idx="822">
                  <c:v>0.99554989619307244</c:v>
                </c:pt>
                <c:pt idx="823">
                  <c:v>0.99558634409988056</c:v>
                </c:pt>
                <c:pt idx="824">
                  <c:v>0.99562247561860873</c:v>
                </c:pt>
                <c:pt idx="825">
                  <c:v>0.99565856495225957</c:v>
                </c:pt>
                <c:pt idx="826">
                  <c:v>0.9956946121008331</c:v>
                </c:pt>
                <c:pt idx="827">
                  <c:v>0.99573027958371074</c:v>
                </c:pt>
                <c:pt idx="828">
                  <c:v>0.99576590488151107</c:v>
                </c:pt>
                <c:pt idx="829">
                  <c:v>0.9958011505136154</c:v>
                </c:pt>
                <c:pt idx="830">
                  <c:v>0.99583565790686657</c:v>
                </c:pt>
                <c:pt idx="831">
                  <c:v>0.99586951143141922</c:v>
                </c:pt>
                <c:pt idx="832">
                  <c:v>0.99590328058581723</c:v>
                </c:pt>
                <c:pt idx="833">
                  <c:v>0.99593704974021524</c:v>
                </c:pt>
                <c:pt idx="834">
                  <c:v>0.9959701017482987</c:v>
                </c:pt>
                <c:pt idx="835">
                  <c:v>0.99600300610861159</c:v>
                </c:pt>
                <c:pt idx="836">
                  <c:v>0.99603586828384716</c:v>
                </c:pt>
                <c:pt idx="837">
                  <c:v>0.9960674438142243</c:v>
                </c:pt>
                <c:pt idx="838">
                  <c:v>0.99609838656844163</c:v>
                </c:pt>
                <c:pt idx="839">
                  <c:v>0.99612869654649905</c:v>
                </c:pt>
                <c:pt idx="840">
                  <c:v>0.99615881669170847</c:v>
                </c:pt>
                <c:pt idx="841">
                  <c:v>0.99618883137422465</c:v>
                </c:pt>
                <c:pt idx="842">
                  <c:v>0.99621874059404747</c:v>
                </c:pt>
                <c:pt idx="843">
                  <c:v>0.99624843888848369</c:v>
                </c:pt>
                <c:pt idx="844">
                  <c:v>0.9962781160903813</c:v>
                </c:pt>
                <c:pt idx="845">
                  <c:v>0.99630764564450824</c:v>
                </c:pt>
                <c:pt idx="846">
                  <c:v>0.99633715410609647</c:v>
                </c:pt>
                <c:pt idx="847">
                  <c:v>0.99636666256768469</c:v>
                </c:pt>
                <c:pt idx="848">
                  <c:v>0.99639606556657967</c:v>
                </c:pt>
                <c:pt idx="849">
                  <c:v>0.99642540528785861</c:v>
                </c:pt>
                <c:pt idx="850">
                  <c:v>0.99645474500913755</c:v>
                </c:pt>
                <c:pt idx="851">
                  <c:v>0.99648402145280057</c:v>
                </c:pt>
                <c:pt idx="852">
                  <c:v>0.99651296041584492</c:v>
                </c:pt>
                <c:pt idx="853">
                  <c:v>0.9965417728236573</c:v>
                </c:pt>
                <c:pt idx="854">
                  <c:v>0.9965702055657738</c:v>
                </c:pt>
                <c:pt idx="855">
                  <c:v>0.99659825864219442</c:v>
                </c:pt>
                <c:pt idx="856">
                  <c:v>0.99662612188576705</c:v>
                </c:pt>
                <c:pt idx="857">
                  <c:v>0.99665385857410771</c:v>
                </c:pt>
                <c:pt idx="858">
                  <c:v>0.9966814476146777</c:v>
                </c:pt>
                <c:pt idx="859">
                  <c:v>0.99670878354478376</c:v>
                </c:pt>
                <c:pt idx="860">
                  <c:v>0.99673607728981251</c:v>
                </c:pt>
                <c:pt idx="861">
                  <c:v>0.99676324447960929</c:v>
                </c:pt>
                <c:pt idx="862">
                  <c:v>0.9967902640216354</c:v>
                </c:pt>
                <c:pt idx="863">
                  <c:v>0.99681715700842954</c:v>
                </c:pt>
                <c:pt idx="864">
                  <c:v>0.99684354377429585</c:v>
                </c:pt>
                <c:pt idx="865">
                  <c:v>0.99686940322669559</c:v>
                </c:pt>
                <c:pt idx="866">
                  <c:v>0.99689524158655662</c:v>
                </c:pt>
                <c:pt idx="867">
                  <c:v>0.99692061591056713</c:v>
                </c:pt>
                <c:pt idx="868">
                  <c:v>0.99694596914203892</c:v>
                </c:pt>
                <c:pt idx="869">
                  <c:v>0.99697104817050819</c:v>
                </c:pt>
                <c:pt idx="870">
                  <c:v>0.99699604282882281</c:v>
                </c:pt>
                <c:pt idx="871">
                  <c:v>0.99702101639459872</c:v>
                </c:pt>
                <c:pt idx="872">
                  <c:v>0.99704596886783603</c:v>
                </c:pt>
                <c:pt idx="873">
                  <c:v>0.99707083697091869</c:v>
                </c:pt>
                <c:pt idx="874">
                  <c:v>0.99709564179638532</c:v>
                </c:pt>
                <c:pt idx="875">
                  <c:v>0.99712044662185195</c:v>
                </c:pt>
                <c:pt idx="876">
                  <c:v>0.99714516707716394</c:v>
                </c:pt>
                <c:pt idx="877">
                  <c:v>0.99716986643993721</c:v>
                </c:pt>
                <c:pt idx="878">
                  <c:v>0.99719452361763317</c:v>
                </c:pt>
                <c:pt idx="879">
                  <c:v>0.99721888549978788</c:v>
                </c:pt>
                <c:pt idx="880">
                  <c:v>0.99724288880878531</c:v>
                </c:pt>
                <c:pt idx="881">
                  <c:v>0.99726682884016682</c:v>
                </c:pt>
                <c:pt idx="882">
                  <c:v>0.99729064231631637</c:v>
                </c:pt>
                <c:pt idx="883">
                  <c:v>0.99731430814469524</c:v>
                </c:pt>
                <c:pt idx="884">
                  <c:v>0.99733795288053539</c:v>
                </c:pt>
                <c:pt idx="885">
                  <c:v>0.99736111248798642</c:v>
                </c:pt>
                <c:pt idx="886">
                  <c:v>0.9973839767998961</c:v>
                </c:pt>
                <c:pt idx="887">
                  <c:v>0.99740677783418985</c:v>
                </c:pt>
                <c:pt idx="888">
                  <c:v>0.99742953668340628</c:v>
                </c:pt>
                <c:pt idx="889">
                  <c:v>0.99745225334754539</c:v>
                </c:pt>
                <c:pt idx="890">
                  <c:v>0.9974749700116845</c:v>
                </c:pt>
                <c:pt idx="891">
                  <c:v>0.99749741247282098</c:v>
                </c:pt>
                <c:pt idx="892">
                  <c:v>0.99751983384141873</c:v>
                </c:pt>
                <c:pt idx="893">
                  <c:v>0.99754223411747789</c:v>
                </c:pt>
                <c:pt idx="894">
                  <c:v>0.99756461330099833</c:v>
                </c:pt>
                <c:pt idx="895">
                  <c:v>0.99758697139198016</c:v>
                </c:pt>
                <c:pt idx="896">
                  <c:v>0.99760916074265271</c:v>
                </c:pt>
                <c:pt idx="897">
                  <c:v>0.99763126572317062</c:v>
                </c:pt>
                <c:pt idx="898">
                  <c:v>0.99765324414845657</c:v>
                </c:pt>
                <c:pt idx="899">
                  <c:v>0.99767505383343313</c:v>
                </c:pt>
                <c:pt idx="900">
                  <c:v>0.99769671587063913</c:v>
                </c:pt>
                <c:pt idx="901">
                  <c:v>0.99771820916753584</c:v>
                </c:pt>
                <c:pt idx="902">
                  <c:v>0.9977395970017392</c:v>
                </c:pt>
                <c:pt idx="903">
                  <c:v>0.99776094265086523</c:v>
                </c:pt>
                <c:pt idx="904">
                  <c:v>0.99778205628206595</c:v>
                </c:pt>
                <c:pt idx="905">
                  <c:v>0.99780306445057343</c:v>
                </c:pt>
                <c:pt idx="906">
                  <c:v>0.99782400934146487</c:v>
                </c:pt>
                <c:pt idx="907">
                  <c:v>0.99784489095474038</c:v>
                </c:pt>
                <c:pt idx="908">
                  <c:v>0.99786575147547718</c:v>
                </c:pt>
                <c:pt idx="909">
                  <c:v>0.99788659090367537</c:v>
                </c:pt>
                <c:pt idx="910">
                  <c:v>0.99790707175871629</c:v>
                </c:pt>
                <c:pt idx="911">
                  <c:v>0.99792740496598653</c:v>
                </c:pt>
                <c:pt idx="912">
                  <c:v>0.99794767489564085</c:v>
                </c:pt>
                <c:pt idx="913">
                  <c:v>0.9979678182700632</c:v>
                </c:pt>
                <c:pt idx="914">
                  <c:v>0.99798768744148292</c:v>
                </c:pt>
                <c:pt idx="915">
                  <c:v>0.99800713476212932</c:v>
                </c:pt>
                <c:pt idx="916">
                  <c:v>0.9980265188051598</c:v>
                </c:pt>
                <c:pt idx="917">
                  <c:v>0.9980457552004196</c:v>
                </c:pt>
                <c:pt idx="918">
                  <c:v>0.99806467520759945</c:v>
                </c:pt>
                <c:pt idx="919">
                  <c:v>0.99808353193716337</c:v>
                </c:pt>
                <c:pt idx="920">
                  <c:v>0.99810209337118605</c:v>
                </c:pt>
                <c:pt idx="921">
                  <c:v>0.99812054934251537</c:v>
                </c:pt>
                <c:pt idx="922">
                  <c:v>0.9981390053138447</c:v>
                </c:pt>
                <c:pt idx="923">
                  <c:v>0.99815737691501938</c:v>
                </c:pt>
                <c:pt idx="924">
                  <c:v>0.99817553759080746</c:v>
                </c:pt>
                <c:pt idx="925">
                  <c:v>0.99819365608151822</c:v>
                </c:pt>
                <c:pt idx="926">
                  <c:v>0.99821166910953563</c:v>
                </c:pt>
                <c:pt idx="927">
                  <c:v>0.99822963995247571</c:v>
                </c:pt>
                <c:pt idx="928">
                  <c:v>0.9982476107954158</c:v>
                </c:pt>
                <c:pt idx="929">
                  <c:v>0.99826553945327856</c:v>
                </c:pt>
                <c:pt idx="930">
                  <c:v>0.99828327827829333</c:v>
                </c:pt>
                <c:pt idx="931">
                  <c:v>0.99830082727046021</c:v>
                </c:pt>
                <c:pt idx="932">
                  <c:v>0.99831824970739513</c:v>
                </c:pt>
                <c:pt idx="933">
                  <c:v>0.99833558777417541</c:v>
                </c:pt>
                <c:pt idx="934">
                  <c:v>0.99835286256333966</c:v>
                </c:pt>
                <c:pt idx="935">
                  <c:v>0.99836994751965591</c:v>
                </c:pt>
                <c:pt idx="936">
                  <c:v>0.99838694810581752</c:v>
                </c:pt>
                <c:pt idx="937">
                  <c:v>0.99840392759944052</c:v>
                </c:pt>
                <c:pt idx="938">
                  <c:v>0.99842080163037017</c:v>
                </c:pt>
                <c:pt idx="939">
                  <c:v>0.9984374225508359</c:v>
                </c:pt>
                <c:pt idx="940">
                  <c:v>0.99845391691606966</c:v>
                </c:pt>
                <c:pt idx="941">
                  <c:v>0.99847017926337811</c:v>
                </c:pt>
                <c:pt idx="942">
                  <c:v>0.99848642051814795</c:v>
                </c:pt>
                <c:pt idx="943">
                  <c:v>0.99850251412514712</c:v>
                </c:pt>
                <c:pt idx="944">
                  <c:v>0.99851841789929829</c:v>
                </c:pt>
                <c:pt idx="945">
                  <c:v>0.99853427948837215</c:v>
                </c:pt>
                <c:pt idx="946">
                  <c:v>0.99854990905952079</c:v>
                </c:pt>
                <c:pt idx="947">
                  <c:v>0.99856551753813072</c:v>
                </c:pt>
                <c:pt idx="948">
                  <c:v>0.99858089399881533</c:v>
                </c:pt>
                <c:pt idx="949">
                  <c:v>0.99859618608934531</c:v>
                </c:pt>
                <c:pt idx="950">
                  <c:v>0.99861141490225935</c:v>
                </c:pt>
                <c:pt idx="951">
                  <c:v>0.9986262218644002</c:v>
                </c:pt>
                <c:pt idx="952">
                  <c:v>0.99864088117877037</c:v>
                </c:pt>
                <c:pt idx="953">
                  <c:v>0.99865551940060182</c:v>
                </c:pt>
                <c:pt idx="954">
                  <c:v>0.99867013652989467</c:v>
                </c:pt>
                <c:pt idx="955">
                  <c:v>0.99868460601141684</c:v>
                </c:pt>
                <c:pt idx="956">
                  <c:v>0.99869884347501381</c:v>
                </c:pt>
                <c:pt idx="957">
                  <c:v>0.99871303875353334</c:v>
                </c:pt>
                <c:pt idx="958">
                  <c:v>0.99872721293951428</c:v>
                </c:pt>
                <c:pt idx="959">
                  <c:v>0.99874134494041789</c:v>
                </c:pt>
                <c:pt idx="960">
                  <c:v>0.99875492853531622</c:v>
                </c:pt>
                <c:pt idx="961">
                  <c:v>0.99876842776005992</c:v>
                </c:pt>
                <c:pt idx="962">
                  <c:v>0.99878167387433969</c:v>
                </c:pt>
                <c:pt idx="963">
                  <c:v>0.99879483561846483</c:v>
                </c:pt>
                <c:pt idx="964">
                  <c:v>0.998807870807358</c:v>
                </c:pt>
                <c:pt idx="965">
                  <c:v>0.9988207583484805</c:v>
                </c:pt>
                <c:pt idx="966">
                  <c:v>0.99883354042690975</c:v>
                </c:pt>
                <c:pt idx="967">
                  <c:v>0.99884615376502972</c:v>
                </c:pt>
                <c:pt idx="968">
                  <c:v>0.99885849290014705</c:v>
                </c:pt>
                <c:pt idx="969">
                  <c:v>0.99887078985018707</c:v>
                </c:pt>
                <c:pt idx="970">
                  <c:v>0.99888302352261105</c:v>
                </c:pt>
                <c:pt idx="971">
                  <c:v>0.99889525719503502</c:v>
                </c:pt>
                <c:pt idx="972">
                  <c:v>0.99890744868238168</c:v>
                </c:pt>
                <c:pt idx="973">
                  <c:v>0.99891964016972834</c:v>
                </c:pt>
                <c:pt idx="974">
                  <c:v>0.99894353801603253</c:v>
                </c:pt>
                <c:pt idx="975">
                  <c:v>0.99896684527125412</c:v>
                </c:pt>
                <c:pt idx="976">
                  <c:v>0.9989784461675183</c:v>
                </c:pt>
                <c:pt idx="977">
                  <c:v>0.99898994160108912</c:v>
                </c:pt>
                <c:pt idx="978">
                  <c:v>0.99900141594212133</c:v>
                </c:pt>
                <c:pt idx="979">
                  <c:v>0.99901282700553751</c:v>
                </c:pt>
                <c:pt idx="980">
                  <c:v>0.99902421697641508</c:v>
                </c:pt>
                <c:pt idx="981">
                  <c:v>0.99903552257713801</c:v>
                </c:pt>
                <c:pt idx="982">
                  <c:v>0.99904682817786095</c:v>
                </c:pt>
                <c:pt idx="983">
                  <c:v>0.99905800722335181</c:v>
                </c:pt>
                <c:pt idx="984">
                  <c:v>0.99906914408376535</c:v>
                </c:pt>
                <c:pt idx="985">
                  <c:v>0.99908025985164028</c:v>
                </c:pt>
                <c:pt idx="986">
                  <c:v>0.99909137561951522</c:v>
                </c:pt>
                <c:pt idx="987">
                  <c:v>0.99910228046200356</c:v>
                </c:pt>
                <c:pt idx="988">
                  <c:v>0.99911310093433725</c:v>
                </c:pt>
                <c:pt idx="989">
                  <c:v>0.99912381594397759</c:v>
                </c:pt>
                <c:pt idx="990">
                  <c:v>0.99913432002823133</c:v>
                </c:pt>
                <c:pt idx="991">
                  <c:v>0.99914482411248506</c:v>
                </c:pt>
                <c:pt idx="992">
                  <c:v>0.99915518054896812</c:v>
                </c:pt>
                <c:pt idx="993">
                  <c:v>0.99916551589291258</c:v>
                </c:pt>
                <c:pt idx="994">
                  <c:v>0.99917583014431832</c:v>
                </c:pt>
                <c:pt idx="995">
                  <c:v>0.99918612330318546</c:v>
                </c:pt>
                <c:pt idx="996">
                  <c:v>0.9991962266292046</c:v>
                </c:pt>
                <c:pt idx="997">
                  <c:v>0.99920632995522374</c:v>
                </c:pt>
                <c:pt idx="998">
                  <c:v>0.99921639109616556</c:v>
                </c:pt>
                <c:pt idx="999">
                  <c:v>0.99922634677441402</c:v>
                </c:pt>
                <c:pt idx="1000">
                  <c:v>0.99923630245266248</c:v>
                </c:pt>
                <c:pt idx="1001">
                  <c:v>0.99924589955775378</c:v>
                </c:pt>
                <c:pt idx="1002">
                  <c:v>0.9992551591822264</c:v>
                </c:pt>
                <c:pt idx="1003">
                  <c:v>0.99926441880669903</c:v>
                </c:pt>
                <c:pt idx="1004">
                  <c:v>0.99927355187593969</c:v>
                </c:pt>
                <c:pt idx="1005">
                  <c:v>0.99928262166756443</c:v>
                </c:pt>
                <c:pt idx="1006">
                  <c:v>0.99929164927411185</c:v>
                </c:pt>
                <c:pt idx="1007">
                  <c:v>0.99930065578812055</c:v>
                </c:pt>
                <c:pt idx="1008">
                  <c:v>0.99930966230212925</c:v>
                </c:pt>
                <c:pt idx="1009">
                  <c:v>0.99931862663106064</c:v>
                </c:pt>
                <c:pt idx="1010">
                  <c:v>0.99932744331222134</c:v>
                </c:pt>
                <c:pt idx="1011">
                  <c:v>0.99933617562322741</c:v>
                </c:pt>
                <c:pt idx="1012">
                  <c:v>0.99934486574915615</c:v>
                </c:pt>
                <c:pt idx="1013">
                  <c:v>0.99935338713477562</c:v>
                </c:pt>
                <c:pt idx="1014">
                  <c:v>0.99936188742785648</c:v>
                </c:pt>
                <c:pt idx="1015">
                  <c:v>0.99937036662839862</c:v>
                </c:pt>
                <c:pt idx="1016">
                  <c:v>0.99937878255132484</c:v>
                </c:pt>
                <c:pt idx="1017">
                  <c:v>0.99938717738171234</c:v>
                </c:pt>
                <c:pt idx="1018">
                  <c:v>0.99939555111956124</c:v>
                </c:pt>
                <c:pt idx="1019">
                  <c:v>0.99940388267233282</c:v>
                </c:pt>
                <c:pt idx="1020">
                  <c:v>0.99941219313256568</c:v>
                </c:pt>
                <c:pt idx="1021">
                  <c:v>0.99942046140772123</c:v>
                </c:pt>
                <c:pt idx="1022">
                  <c:v>0.99942872968287677</c:v>
                </c:pt>
                <c:pt idx="1023">
                  <c:v>0.99943699795803231</c:v>
                </c:pt>
                <c:pt idx="1024">
                  <c:v>0.99944526623318786</c:v>
                </c:pt>
                <c:pt idx="1025">
                  <c:v>0.99945349232326608</c:v>
                </c:pt>
                <c:pt idx="1026">
                  <c:v>0.99946167622826698</c:v>
                </c:pt>
                <c:pt idx="1027">
                  <c:v>0.99946971248549721</c:v>
                </c:pt>
                <c:pt idx="1028">
                  <c:v>0.99947764328003419</c:v>
                </c:pt>
                <c:pt idx="1029">
                  <c:v>0.99948542642680049</c:v>
                </c:pt>
                <c:pt idx="1030">
                  <c:v>0.99949310411087344</c:v>
                </c:pt>
                <c:pt idx="1031">
                  <c:v>0.99950078179494639</c:v>
                </c:pt>
                <c:pt idx="1032">
                  <c:v>0.99950826964617145</c:v>
                </c:pt>
                <c:pt idx="1033">
                  <c:v>0.9995157364048578</c:v>
                </c:pt>
                <c:pt idx="1034">
                  <c:v>0.99952313988592822</c:v>
                </c:pt>
                <c:pt idx="1035">
                  <c:v>0.99953039571922797</c:v>
                </c:pt>
                <c:pt idx="1036">
                  <c:v>0.99953765155252772</c:v>
                </c:pt>
                <c:pt idx="1037">
                  <c:v>0.99954484410821154</c:v>
                </c:pt>
                <c:pt idx="1038">
                  <c:v>0.99955180464597004</c:v>
                </c:pt>
                <c:pt idx="1039">
                  <c:v>0.99955876518372855</c:v>
                </c:pt>
                <c:pt idx="1040">
                  <c:v>0.99956555698117777</c:v>
                </c:pt>
                <c:pt idx="1041">
                  <c:v>0.99957226440847236</c:v>
                </c:pt>
                <c:pt idx="1042">
                  <c:v>0.99957892965068962</c:v>
                </c:pt>
                <c:pt idx="1043">
                  <c:v>0.99958519413467228</c:v>
                </c:pt>
                <c:pt idx="1044">
                  <c:v>0.99959143752611623</c:v>
                </c:pt>
                <c:pt idx="1045">
                  <c:v>0.99959761763994426</c:v>
                </c:pt>
                <c:pt idx="1046">
                  <c:v>0.99960377666123357</c:v>
                </c:pt>
                <c:pt idx="1047">
                  <c:v>0.99960985131236824</c:v>
                </c:pt>
                <c:pt idx="1048">
                  <c:v>0.99961586268588698</c:v>
                </c:pt>
                <c:pt idx="1049">
                  <c:v>0.99962178968925108</c:v>
                </c:pt>
                <c:pt idx="1050">
                  <c:v>0.99962763232246044</c:v>
                </c:pt>
                <c:pt idx="1051">
                  <c:v>0.99963345386313118</c:v>
                </c:pt>
                <c:pt idx="1052">
                  <c:v>0.99963900120079929</c:v>
                </c:pt>
                <c:pt idx="1053">
                  <c:v>0.99964450635339008</c:v>
                </c:pt>
                <c:pt idx="1054">
                  <c:v>0.99965001150598087</c:v>
                </c:pt>
                <c:pt idx="1055">
                  <c:v>0.99965549556603306</c:v>
                </c:pt>
                <c:pt idx="1056">
                  <c:v>0.9996608952559306</c:v>
                </c:pt>
                <c:pt idx="1057">
                  <c:v>0.99966623166821211</c:v>
                </c:pt>
                <c:pt idx="1058">
                  <c:v>0.99967123059987506</c:v>
                </c:pt>
                <c:pt idx="1059">
                  <c:v>0.99967620843899929</c:v>
                </c:pt>
                <c:pt idx="1060">
                  <c:v>0.99968116518558492</c:v>
                </c:pt>
                <c:pt idx="1061">
                  <c:v>0.99968610083963183</c:v>
                </c:pt>
                <c:pt idx="1062">
                  <c:v>0.99969101540114014</c:v>
                </c:pt>
                <c:pt idx="1063">
                  <c:v>0.99969580340741648</c:v>
                </c:pt>
                <c:pt idx="1064">
                  <c:v>0.99970059141369283</c:v>
                </c:pt>
                <c:pt idx="1065">
                  <c:v>0.99970537941996918</c:v>
                </c:pt>
                <c:pt idx="1066">
                  <c:v>0.99971014633370681</c:v>
                </c:pt>
                <c:pt idx="1067">
                  <c:v>0.99971489215490583</c:v>
                </c:pt>
                <c:pt idx="1068">
                  <c:v>0.9997195325134115</c:v>
                </c:pt>
                <c:pt idx="1069">
                  <c:v>0.99972415177937846</c:v>
                </c:pt>
                <c:pt idx="1070">
                  <c:v>0.99972872886026809</c:v>
                </c:pt>
                <c:pt idx="1071">
                  <c:v>0.9997332637560804</c:v>
                </c:pt>
                <c:pt idx="1072">
                  <c:v>0.99973773537427679</c:v>
                </c:pt>
                <c:pt idx="1073">
                  <c:v>0.99974220699247318</c:v>
                </c:pt>
                <c:pt idx="1074">
                  <c:v>0.99974659424051493</c:v>
                </c:pt>
                <c:pt idx="1075">
                  <c:v>0.999750833840786</c:v>
                </c:pt>
                <c:pt idx="1076">
                  <c:v>0.99975501016344115</c:v>
                </c:pt>
                <c:pt idx="1077">
                  <c:v>0.99975897556070958</c:v>
                </c:pt>
                <c:pt idx="1078">
                  <c:v>0.99976291986543941</c:v>
                </c:pt>
                <c:pt idx="1079">
                  <c:v>0.99976684307763053</c:v>
                </c:pt>
                <c:pt idx="1080">
                  <c:v>0.99977074519728304</c:v>
                </c:pt>
                <c:pt idx="1081">
                  <c:v>0.99977464731693555</c:v>
                </c:pt>
                <c:pt idx="1082">
                  <c:v>0.99977850725151074</c:v>
                </c:pt>
                <c:pt idx="1083">
                  <c:v>0.99978230390846989</c:v>
                </c:pt>
                <c:pt idx="1084">
                  <c:v>0.99978597401019709</c:v>
                </c:pt>
                <c:pt idx="1085">
                  <c:v>0.99978962301938568</c:v>
                </c:pt>
                <c:pt idx="1086">
                  <c:v>0.99979327202857426</c:v>
                </c:pt>
                <c:pt idx="1087">
                  <c:v>0.99979685776014682</c:v>
                </c:pt>
                <c:pt idx="1088">
                  <c:v>0.99980044349171937</c:v>
                </c:pt>
                <c:pt idx="1089">
                  <c:v>0.99980390266805996</c:v>
                </c:pt>
                <c:pt idx="1090">
                  <c:v>0.99980729856678452</c:v>
                </c:pt>
                <c:pt idx="1091">
                  <c:v>0.99981069446550908</c:v>
                </c:pt>
                <c:pt idx="1092">
                  <c:v>0.99981400599407899</c:v>
                </c:pt>
                <c:pt idx="1093">
                  <c:v>0.99981721205995566</c:v>
                </c:pt>
                <c:pt idx="1094">
                  <c:v>0.99982037594075501</c:v>
                </c:pt>
                <c:pt idx="1095">
                  <c:v>0.99982349763647704</c:v>
                </c:pt>
                <c:pt idx="1096">
                  <c:v>0.99982657714712175</c:v>
                </c:pt>
                <c:pt idx="1097">
                  <c:v>0.99982963556522775</c:v>
                </c:pt>
                <c:pt idx="1098">
                  <c:v>0.99983265179825642</c:v>
                </c:pt>
                <c:pt idx="1099">
                  <c:v>0.99983562584620778</c:v>
                </c:pt>
                <c:pt idx="1100">
                  <c:v>0.99983853661654309</c:v>
                </c:pt>
                <c:pt idx="1101">
                  <c:v>0.99984142629433981</c:v>
                </c:pt>
                <c:pt idx="1102">
                  <c:v>0.99984429487959781</c:v>
                </c:pt>
                <c:pt idx="1103">
                  <c:v>0.9998471423723172</c:v>
                </c:pt>
                <c:pt idx="1104">
                  <c:v>0.99984994767995927</c:v>
                </c:pt>
                <c:pt idx="1105">
                  <c:v>0.99985273189506263</c:v>
                </c:pt>
                <c:pt idx="1106">
                  <c:v>0.99985551611016599</c:v>
                </c:pt>
                <c:pt idx="1107">
                  <c:v>0.9998581948625761</c:v>
                </c:pt>
                <c:pt idx="1108">
                  <c:v>0.99986087361498621</c:v>
                </c:pt>
                <c:pt idx="1109">
                  <c:v>0.99986348908978029</c:v>
                </c:pt>
                <c:pt idx="1110">
                  <c:v>0.99986610456457437</c:v>
                </c:pt>
                <c:pt idx="1111">
                  <c:v>0.99986865676175252</c:v>
                </c:pt>
                <c:pt idx="1112">
                  <c:v>0.99987112458877603</c:v>
                </c:pt>
                <c:pt idx="1113">
                  <c:v>0.99987359241579954</c:v>
                </c:pt>
                <c:pt idx="1114">
                  <c:v>0.99987848588476913</c:v>
                </c:pt>
                <c:pt idx="1115">
                  <c:v>0.99988093261925393</c:v>
                </c:pt>
                <c:pt idx="1116">
                  <c:v>0.99988335826120012</c:v>
                </c:pt>
                <c:pt idx="1117">
                  <c:v>0.99988578390314631</c:v>
                </c:pt>
                <c:pt idx="1118">
                  <c:v>0.99988818845255378</c:v>
                </c:pt>
                <c:pt idx="1119">
                  <c:v>0.99989057190942265</c:v>
                </c:pt>
                <c:pt idx="1120">
                  <c:v>0.99989293427375281</c:v>
                </c:pt>
                <c:pt idx="1121">
                  <c:v>0.99989525445300564</c:v>
                </c:pt>
                <c:pt idx="1122">
                  <c:v>0.99989755353971976</c:v>
                </c:pt>
                <c:pt idx="1123">
                  <c:v>0.99989983153389528</c:v>
                </c:pt>
                <c:pt idx="1124">
                  <c:v>0.99990204625045476</c:v>
                </c:pt>
                <c:pt idx="1125">
                  <c:v>0.99990423987447563</c:v>
                </c:pt>
                <c:pt idx="1126">
                  <c:v>0.99990641240595779</c:v>
                </c:pt>
                <c:pt idx="1127">
                  <c:v>0.99990858493743995</c:v>
                </c:pt>
                <c:pt idx="1128">
                  <c:v>0.99991071528384479</c:v>
                </c:pt>
                <c:pt idx="1129">
                  <c:v>0.99991276126009498</c:v>
                </c:pt>
                <c:pt idx="1130">
                  <c:v>0.99991478614380658</c:v>
                </c:pt>
                <c:pt idx="1131">
                  <c:v>0.99991678993497946</c:v>
                </c:pt>
                <c:pt idx="1132">
                  <c:v>0.99991875154107501</c:v>
                </c:pt>
                <c:pt idx="1133">
                  <c:v>0.99992060768447732</c:v>
                </c:pt>
                <c:pt idx="1134">
                  <c:v>0.99992237945772489</c:v>
                </c:pt>
                <c:pt idx="1135">
                  <c:v>0.99992408795335652</c:v>
                </c:pt>
                <c:pt idx="1136">
                  <c:v>0.99992579644898816</c:v>
                </c:pt>
                <c:pt idx="1137">
                  <c:v>0.99992744166700376</c:v>
                </c:pt>
                <c:pt idx="1138">
                  <c:v>0.99992904469994204</c:v>
                </c:pt>
                <c:pt idx="1139">
                  <c:v>0.99993062664034171</c:v>
                </c:pt>
                <c:pt idx="1140">
                  <c:v>0.99993379052114106</c:v>
                </c:pt>
                <c:pt idx="1141">
                  <c:v>0.99993535136900202</c:v>
                </c:pt>
                <c:pt idx="1142">
                  <c:v>0.99993691221686298</c:v>
                </c:pt>
                <c:pt idx="1143">
                  <c:v>0.99993845197218534</c:v>
                </c:pt>
                <c:pt idx="1144">
                  <c:v>0.99993990735735305</c:v>
                </c:pt>
                <c:pt idx="1145">
                  <c:v>0.99994134164998205</c:v>
                </c:pt>
                <c:pt idx="1146">
                  <c:v>0.99994277594261105</c:v>
                </c:pt>
                <c:pt idx="1147">
                  <c:v>0.99994418914270145</c:v>
                </c:pt>
                <c:pt idx="1148">
                  <c:v>0.99994558125025312</c:v>
                </c:pt>
                <c:pt idx="1149">
                  <c:v>0.9999469733578048</c:v>
                </c:pt>
                <c:pt idx="1150">
                  <c:v>0.99994832328027916</c:v>
                </c:pt>
                <c:pt idx="1151">
                  <c:v>0.99994967320275352</c:v>
                </c:pt>
                <c:pt idx="1152">
                  <c:v>0.99995235195516363</c:v>
                </c:pt>
                <c:pt idx="1153">
                  <c:v>0.99995365969256067</c:v>
                </c:pt>
                <c:pt idx="1154">
                  <c:v>0.9999549463374191</c:v>
                </c:pt>
                <c:pt idx="1155">
                  <c:v>0.99995621188973882</c:v>
                </c:pt>
                <c:pt idx="1156">
                  <c:v>0.99995745634951994</c:v>
                </c:pt>
                <c:pt idx="1157">
                  <c:v>0.99995865862422373</c:v>
                </c:pt>
                <c:pt idx="1158">
                  <c:v>0.99995983980638881</c:v>
                </c:pt>
                <c:pt idx="1159">
                  <c:v>0.99996099989601517</c:v>
                </c:pt>
                <c:pt idx="1160">
                  <c:v>0.99996213889310293</c:v>
                </c:pt>
                <c:pt idx="1161">
                  <c:v>0.99996325679765197</c:v>
                </c:pt>
                <c:pt idx="1162">
                  <c:v>0.99996437470220101</c:v>
                </c:pt>
                <c:pt idx="1163">
                  <c:v>0.99996549260675005</c:v>
                </c:pt>
                <c:pt idx="1164">
                  <c:v>0.99996654723368317</c:v>
                </c:pt>
                <c:pt idx="1165">
                  <c:v>0.99996760186061628</c:v>
                </c:pt>
                <c:pt idx="1166">
                  <c:v>0.99996863539501069</c:v>
                </c:pt>
                <c:pt idx="1167">
                  <c:v>0.99996962674432777</c:v>
                </c:pt>
                <c:pt idx="1168">
                  <c:v>0.99997061809364485</c:v>
                </c:pt>
                <c:pt idx="1169">
                  <c:v>0.99997156725788461</c:v>
                </c:pt>
                <c:pt idx="1170">
                  <c:v>0.99997249532958576</c:v>
                </c:pt>
                <c:pt idx="1171">
                  <c:v>0.9999733812162096</c:v>
                </c:pt>
                <c:pt idx="1172">
                  <c:v>0.99997426710283344</c:v>
                </c:pt>
                <c:pt idx="1173">
                  <c:v>0.99997513189691856</c:v>
                </c:pt>
                <c:pt idx="1174">
                  <c:v>0.99997597559846507</c:v>
                </c:pt>
                <c:pt idx="1175">
                  <c:v>0.99997675602239555</c:v>
                </c:pt>
                <c:pt idx="1176">
                  <c:v>0.99997827468517919</c:v>
                </c:pt>
                <c:pt idx="1177">
                  <c:v>0.99997901292403235</c:v>
                </c:pt>
                <c:pt idx="1178">
                  <c:v>0.99997973007034691</c:v>
                </c:pt>
                <c:pt idx="1179">
                  <c:v>0.99998040503158414</c:v>
                </c:pt>
                <c:pt idx="1180">
                  <c:v>0.99998107999282138</c:v>
                </c:pt>
                <c:pt idx="1181">
                  <c:v>0.99998238773021841</c:v>
                </c:pt>
                <c:pt idx="1182">
                  <c:v>0.99998302050637833</c:v>
                </c:pt>
                <c:pt idx="1183">
                  <c:v>0.99998365328253824</c:v>
                </c:pt>
                <c:pt idx="1184">
                  <c:v>0.99998428605869816</c:v>
                </c:pt>
                <c:pt idx="1185">
                  <c:v>0.99998489774231936</c:v>
                </c:pt>
                <c:pt idx="1186">
                  <c:v>0.99998550942594056</c:v>
                </c:pt>
                <c:pt idx="1187">
                  <c:v>0.99998610001702304</c:v>
                </c:pt>
                <c:pt idx="1188">
                  <c:v>0.99998666951556692</c:v>
                </c:pt>
                <c:pt idx="1189">
                  <c:v>0.99998719682903348</c:v>
                </c:pt>
                <c:pt idx="1190">
                  <c:v>0.99998772414250003</c:v>
                </c:pt>
                <c:pt idx="1191">
                  <c:v>0.99998823036342788</c:v>
                </c:pt>
                <c:pt idx="1192">
                  <c:v>0.99998873658435572</c:v>
                </c:pt>
                <c:pt idx="1193">
                  <c:v>0.99998917952766764</c:v>
                </c:pt>
                <c:pt idx="1194">
                  <c:v>0.99998962247097956</c:v>
                </c:pt>
                <c:pt idx="1195">
                  <c:v>0.99999006541429147</c:v>
                </c:pt>
                <c:pt idx="1196">
                  <c:v>0.99999050835760339</c:v>
                </c:pt>
                <c:pt idx="1197">
                  <c:v>0.99999095130091531</c:v>
                </c:pt>
                <c:pt idx="1198">
                  <c:v>0.99999133096661119</c:v>
                </c:pt>
                <c:pt idx="1199">
                  <c:v>0.99999209029800296</c:v>
                </c:pt>
                <c:pt idx="1200">
                  <c:v>0.99999246996369884</c:v>
                </c:pt>
                <c:pt idx="1201">
                  <c:v>0.99999284962939472</c:v>
                </c:pt>
                <c:pt idx="1202">
                  <c:v>0.9999932292950906</c:v>
                </c:pt>
                <c:pt idx="1203">
                  <c:v>0.99999360896078648</c:v>
                </c:pt>
                <c:pt idx="1204">
                  <c:v>0.99999396753394376</c:v>
                </c:pt>
                <c:pt idx="1205">
                  <c:v>0.99999432610710104</c:v>
                </c:pt>
                <c:pt idx="1206">
                  <c:v>0.99999468468025832</c:v>
                </c:pt>
                <c:pt idx="1207">
                  <c:v>0.99999504325341559</c:v>
                </c:pt>
                <c:pt idx="1208">
                  <c:v>0.99999538073403416</c:v>
                </c:pt>
                <c:pt idx="1209">
                  <c:v>0.99999571821465272</c:v>
                </c:pt>
                <c:pt idx="1210">
                  <c:v>0.99999605569527128</c:v>
                </c:pt>
                <c:pt idx="1211">
                  <c:v>0.99999635099081252</c:v>
                </c:pt>
                <c:pt idx="1212">
                  <c:v>0.99999664628635376</c:v>
                </c:pt>
                <c:pt idx="1213">
                  <c:v>0.99999717359982032</c:v>
                </c:pt>
                <c:pt idx="1214">
                  <c:v>0.99999742671028424</c:v>
                </c:pt>
                <c:pt idx="1215">
                  <c:v>0.99999767982074816</c:v>
                </c:pt>
                <c:pt idx="1216">
                  <c:v>0.99999791183867348</c:v>
                </c:pt>
                <c:pt idx="1217">
                  <c:v>0.9999981438565988</c:v>
                </c:pt>
                <c:pt idx="1218">
                  <c:v>0.99999837587452411</c:v>
                </c:pt>
                <c:pt idx="1219">
                  <c:v>0.99999858679991072</c:v>
                </c:pt>
                <c:pt idx="1220">
                  <c:v>0.99999877663275871</c:v>
                </c:pt>
                <c:pt idx="1221">
                  <c:v>0.99999896646560671</c:v>
                </c:pt>
                <c:pt idx="1222">
                  <c:v>0.99999915629845471</c:v>
                </c:pt>
                <c:pt idx="1223">
                  <c:v>0.9999993461313027</c:v>
                </c:pt>
                <c:pt idx="1224">
                  <c:v>0.9999995359641507</c:v>
                </c:pt>
                <c:pt idx="1225">
                  <c:v>0.9999997257969987</c:v>
                </c:pt>
                <c:pt idx="1226">
                  <c:v>0.99999987344476937</c:v>
                </c:pt>
                <c:pt idx="1227">
                  <c:v>1.000000000000001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t Moret</c:v>
                </c:pt>
                <c:pt idx="5">
                  <c:v>Soignon</c:v>
                </c:pt>
                <c:pt idx="6">
                  <c:v>La Vache Qui Rit</c:v>
                </c:pt>
                <c:pt idx="7">
                  <c:v>Boursin</c:v>
                </c:pt>
                <c:pt idx="8">
                  <c:v>Kiri</c:v>
                </c:pt>
                <c:pt idx="9">
                  <c:v>Others</c:v>
                </c:pt>
              </c:strCache>
            </c:strRef>
          </c:cat>
          <c:val>
            <c:numRef>
              <c:f>Sheet1!$B$2:$B$11</c:f>
              <c:numCache>
                <c:formatCode>General</c:formatCode>
                <c:ptCount val="10"/>
                <c:pt idx="0">
                  <c:v>0.43977911669538372</c:v>
                </c:pt>
                <c:pt idx="1">
                  <c:v>7.2055556151206887E-2</c:v>
                </c:pt>
                <c:pt idx="2">
                  <c:v>4.1201301356070807E-2</c:v>
                </c:pt>
                <c:pt idx="3">
                  <c:v>3.802312558530891E-2</c:v>
                </c:pt>
                <c:pt idx="4">
                  <c:v>2.6020882450125113E-2</c:v>
                </c:pt>
                <c:pt idx="5">
                  <c:v>2.5672957711373418E-2</c:v>
                </c:pt>
                <c:pt idx="6">
                  <c:v>1.5863307125273295E-2</c:v>
                </c:pt>
                <c:pt idx="7">
                  <c:v>1.5403449949704932E-2</c:v>
                </c:pt>
                <c:pt idx="8">
                  <c:v>1.3131270921796933E-2</c:v>
                </c:pt>
                <c:pt idx="9">
                  <c:v>0.3128490320537559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t Moret</c:v>
                </c:pt>
                <c:pt idx="5">
                  <c:v>Soignon</c:v>
                </c:pt>
                <c:pt idx="6">
                  <c:v>La Vache Qui Rit</c:v>
                </c:pt>
                <c:pt idx="7">
                  <c:v>Boursin</c:v>
                </c:pt>
                <c:pt idx="8">
                  <c:v>Kiri</c:v>
                </c:pt>
                <c:pt idx="9">
                  <c:v>Others</c:v>
                </c:pt>
              </c:strCache>
            </c:strRef>
          </c:cat>
          <c:val>
            <c:numRef>
              <c:f>Sheet1!$C$2:$C$11</c:f>
              <c:numCache>
                <c:formatCode>General</c:formatCode>
                <c:ptCount val="10"/>
                <c:pt idx="0">
                  <c:v>0.31904857486953053</c:v>
                </c:pt>
                <c:pt idx="1">
                  <c:v>6.3428342031312757E-2</c:v>
                </c:pt>
                <c:pt idx="2">
                  <c:v>3.6732236049779224E-2</c:v>
                </c:pt>
                <c:pt idx="3">
                  <c:v>3.5327177840224828E-2</c:v>
                </c:pt>
                <c:pt idx="4">
                  <c:v>2.3805700521878775E-2</c:v>
                </c:pt>
                <c:pt idx="5">
                  <c:v>2.9666800481734253E-2</c:v>
                </c:pt>
                <c:pt idx="6">
                  <c:v>1.4492171818546775E-2</c:v>
                </c:pt>
                <c:pt idx="7">
                  <c:v>3.4845443596949022E-2</c:v>
                </c:pt>
                <c:pt idx="8">
                  <c:v>1.5796868727418711E-2</c:v>
                </c:pt>
                <c:pt idx="9">
                  <c:v>0.4268566840626254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t Moret</c:v>
                </c:pt>
                <c:pt idx="5">
                  <c:v>Soignon</c:v>
                </c:pt>
                <c:pt idx="6">
                  <c:v>La Vache Qui Rit</c:v>
                </c:pt>
                <c:pt idx="7">
                  <c:v>Boursin</c:v>
                </c:pt>
                <c:pt idx="8">
                  <c:v>Kiri</c:v>
                </c:pt>
                <c:pt idx="9">
                  <c:v>Others</c:v>
                </c:pt>
              </c:strCache>
            </c:strRef>
          </c:cat>
          <c:val>
            <c:numRef>
              <c:f>Sheet1!$D$2:$D$11</c:f>
              <c:numCache>
                <c:formatCode>General</c:formatCode>
                <c:ptCount val="10"/>
                <c:pt idx="0">
                  <c:v>72.547459112416632</c:v>
                </c:pt>
                <c:pt idx="1">
                  <c:v>88.026996694342174</c:v>
                </c:pt>
                <c:pt idx="2">
                  <c:v>89.153096724618166</c:v>
                </c:pt>
                <c:pt idx="3">
                  <c:v>92.909715591277632</c:v>
                </c:pt>
                <c:pt idx="4">
                  <c:v>91.486906977531476</c:v>
                </c:pt>
                <c:pt idx="5">
                  <c:v>115.55661336438658</c:v>
                </c:pt>
                <c:pt idx="6">
                  <c:v>91.356560798460251</c:v>
                </c:pt>
                <c:pt idx="7">
                  <c:v>226.21843619920043</c:v>
                </c:pt>
                <c:pt idx="8">
                  <c:v>120.2996177711716</c:v>
                </c:pt>
                <c:pt idx="9">
                  <c:v>136.441746762150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31</c:f>
              <c:strCache>
                <c:ptCount val="1030"/>
                <c:pt idx="0">
                  <c:v>Private Lab</c:v>
                </c:pt>
                <c:pt idx="1">
                  <c:v>Private Lab</c:v>
                </c:pt>
                <c:pt idx="2">
                  <c:v>Private Lab</c:v>
                </c:pt>
                <c:pt idx="3">
                  <c:v>Private Lab</c:v>
                </c:pt>
                <c:pt idx="4">
                  <c:v>Private Lab</c:v>
                </c:pt>
                <c:pt idx="5">
                  <c:v>Private Lab</c:v>
                </c:pt>
                <c:pt idx="6">
                  <c:v>Private Lab</c:v>
                </c:pt>
                <c:pt idx="7">
                  <c:v>Private Lab</c:v>
                </c:pt>
                <c:pt idx="8">
                  <c:v>Private Lab</c:v>
                </c:pt>
                <c:pt idx="9">
                  <c:v>Private Lab</c:v>
                </c:pt>
                <c:pt idx="10">
                  <c:v>Private Lab</c:v>
                </c:pt>
                <c:pt idx="11">
                  <c:v>Caprice Des</c:v>
                </c:pt>
                <c:pt idx="12">
                  <c:v>Galbani</c:v>
                </c:pt>
                <c:pt idx="13">
                  <c:v>Private Lab</c:v>
                </c:pt>
                <c:pt idx="14">
                  <c:v>Private Lab</c:v>
                </c:pt>
                <c:pt idx="15">
                  <c:v>Private Lab</c:v>
                </c:pt>
                <c:pt idx="16">
                  <c:v>Private Lab</c:v>
                </c:pt>
                <c:pt idx="17">
                  <c:v>Salakis</c:v>
                </c:pt>
                <c:pt idx="18">
                  <c:v>Private Lab</c:v>
                </c:pt>
                <c:pt idx="19">
                  <c:v>Private Lab</c:v>
                </c:pt>
                <c:pt idx="20">
                  <c:v>President</c:v>
                </c:pt>
                <c:pt idx="21">
                  <c:v>Private Lab</c:v>
                </c:pt>
                <c:pt idx="22">
                  <c:v>Soignon</c:v>
                </c:pt>
                <c:pt idx="23">
                  <c:v>Private Lab</c:v>
                </c:pt>
                <c:pt idx="24">
                  <c:v>Private Lab</c:v>
                </c:pt>
                <c:pt idx="25">
                  <c:v>Mini Babybe</c:v>
                </c:pt>
                <c:pt idx="26">
                  <c:v>Private Lab</c:v>
                </c:pt>
                <c:pt idx="27">
                  <c:v>Leerdammer</c:v>
                </c:pt>
                <c:pt idx="28">
                  <c:v>Private Lab</c:v>
                </c:pt>
                <c:pt idx="29">
                  <c:v>Coeur De Li</c:v>
                </c:pt>
                <c:pt idx="30">
                  <c:v>President</c:v>
                </c:pt>
                <c:pt idx="31">
                  <c:v>Entremont</c:v>
                </c:pt>
                <c:pt idx="32">
                  <c:v>Private Lab</c:v>
                </c:pt>
                <c:pt idx="33">
                  <c:v>Entremont</c:v>
                </c:pt>
                <c:pt idx="34">
                  <c:v>President</c:v>
                </c:pt>
                <c:pt idx="35">
                  <c:v>Private Lab</c:v>
                </c:pt>
                <c:pt idx="36">
                  <c:v>Caprice Des</c:v>
                </c:pt>
                <c:pt idx="37">
                  <c:v>Chaussee Au</c:v>
                </c:pt>
                <c:pt idx="38">
                  <c:v>President</c:v>
                </c:pt>
                <c:pt idx="39">
                  <c:v>Private Lab</c:v>
                </c:pt>
                <c:pt idx="40">
                  <c:v>St Moret</c:v>
                </c:pt>
                <c:pt idx="41">
                  <c:v>Galbani</c:v>
                </c:pt>
                <c:pt idx="42">
                  <c:v>Mini Babybe</c:v>
                </c:pt>
                <c:pt idx="43">
                  <c:v>Private Lab</c:v>
                </c:pt>
                <c:pt idx="44">
                  <c:v>St Moret</c:v>
                </c:pt>
                <c:pt idx="45">
                  <c:v>Private Lab</c:v>
                </c:pt>
                <c:pt idx="46">
                  <c:v>Soignon</c:v>
                </c:pt>
                <c:pt idx="47">
                  <c:v>Private Lab</c:v>
                </c:pt>
                <c:pt idx="48">
                  <c:v>La Vache Qu</c:v>
                </c:pt>
                <c:pt idx="49">
                  <c:v>Private Lab</c:v>
                </c:pt>
                <c:pt idx="50">
                  <c:v>Private Lab</c:v>
                </c:pt>
                <c:pt idx="51">
                  <c:v>Private Lab</c:v>
                </c:pt>
                <c:pt idx="52">
                  <c:v>Le Rustique</c:v>
                </c:pt>
                <c:pt idx="53">
                  <c:v>Private Lab</c:v>
                </c:pt>
                <c:pt idx="54">
                  <c:v>President</c:v>
                </c:pt>
                <c:pt idx="55">
                  <c:v>Private Lab</c:v>
                </c:pt>
                <c:pt idx="56">
                  <c:v>Galbani</c:v>
                </c:pt>
                <c:pt idx="57">
                  <c:v>Private Lab</c:v>
                </c:pt>
                <c:pt idx="58">
                  <c:v>Entremont</c:v>
                </c:pt>
                <c:pt idx="59">
                  <c:v>Private Lab</c:v>
                </c:pt>
                <c:pt idx="60">
                  <c:v>Private Lab</c:v>
                </c:pt>
                <c:pt idx="61">
                  <c:v>Private Lab</c:v>
                </c:pt>
                <c:pt idx="62">
                  <c:v>Private Lab</c:v>
                </c:pt>
                <c:pt idx="63">
                  <c:v>St Moret</c:v>
                </c:pt>
                <c:pt idx="64">
                  <c:v>Private Lab</c:v>
                </c:pt>
                <c:pt idx="65">
                  <c:v>Private Lab</c:v>
                </c:pt>
                <c:pt idx="66">
                  <c:v>Societe</c:v>
                </c:pt>
                <c:pt idx="67">
                  <c:v>Private Lab</c:v>
                </c:pt>
                <c:pt idx="68">
                  <c:v>President</c:v>
                </c:pt>
                <c:pt idx="69">
                  <c:v>Galbani</c:v>
                </c:pt>
                <c:pt idx="70">
                  <c:v>Galbani</c:v>
                </c:pt>
                <c:pt idx="71">
                  <c:v>Private Lab</c:v>
                </c:pt>
                <c:pt idx="72">
                  <c:v>President</c:v>
                </c:pt>
                <c:pt idx="73">
                  <c:v>Private Lab</c:v>
                </c:pt>
                <c:pt idx="74">
                  <c:v>Tartare</c:v>
                </c:pt>
                <c:pt idx="75">
                  <c:v>Les Mousque</c:v>
                </c:pt>
                <c:pt idx="76">
                  <c:v>Private Lab</c:v>
                </c:pt>
                <c:pt idx="77">
                  <c:v>Islos</c:v>
                </c:pt>
                <c:pt idx="78">
                  <c:v>President</c:v>
                </c:pt>
                <c:pt idx="79">
                  <c:v>Juraflore</c:v>
                </c:pt>
                <c:pt idx="80">
                  <c:v>Private Lab</c:v>
                </c:pt>
                <c:pt idx="81">
                  <c:v>Paysan Bret</c:v>
                </c:pt>
                <c:pt idx="82">
                  <c:v>Private Lab</c:v>
                </c:pt>
                <c:pt idx="83">
                  <c:v>Private Lab</c:v>
                </c:pt>
                <c:pt idx="84">
                  <c:v>Private Lab</c:v>
                </c:pt>
                <c:pt idx="85">
                  <c:v>Private Lab</c:v>
                </c:pt>
                <c:pt idx="86">
                  <c:v>St Moret</c:v>
                </c:pt>
                <c:pt idx="87">
                  <c:v>All Others</c:v>
                </c:pt>
                <c:pt idx="88">
                  <c:v>Saint Agur</c:v>
                </c:pt>
                <c:pt idx="89">
                  <c:v>Parmareggio</c:v>
                </c:pt>
                <c:pt idx="90">
                  <c:v>Kiri</c:v>
                </c:pt>
                <c:pt idx="91">
                  <c:v>La Vache Qu</c:v>
                </c:pt>
                <c:pt idx="92">
                  <c:v>Private Lab</c:v>
                </c:pt>
                <c:pt idx="93">
                  <c:v>Private Lab</c:v>
                </c:pt>
                <c:pt idx="94">
                  <c:v>Private Lab</c:v>
                </c:pt>
                <c:pt idx="95">
                  <c:v>Private Lab</c:v>
                </c:pt>
                <c:pt idx="96">
                  <c:v>Coeur De Li</c:v>
                </c:pt>
                <c:pt idx="97">
                  <c:v>Galbani</c:v>
                </c:pt>
                <c:pt idx="98">
                  <c:v>Private Lab</c:v>
                </c:pt>
                <c:pt idx="99">
                  <c:v>Leerdammer</c:v>
                </c:pt>
                <c:pt idx="100">
                  <c:v>Salakis</c:v>
                </c:pt>
                <c:pt idx="101">
                  <c:v>Private Lab</c:v>
                </c:pt>
                <c:pt idx="102">
                  <c:v>President</c:v>
                </c:pt>
                <c:pt idx="103">
                  <c:v>Private Lab</c:v>
                </c:pt>
                <c:pt idx="104">
                  <c:v>Casa Azzurr</c:v>
                </c:pt>
                <c:pt idx="105">
                  <c:v>Private Lab</c:v>
                </c:pt>
                <c:pt idx="106">
                  <c:v>Carre Frais</c:v>
                </c:pt>
                <c:pt idx="107">
                  <c:v>Carre Frais</c:v>
                </c:pt>
                <c:pt idx="108">
                  <c:v>Leerdammer</c:v>
                </c:pt>
                <c:pt idx="109">
                  <c:v>President</c:v>
                </c:pt>
                <c:pt idx="110">
                  <c:v>La Vache Qu</c:v>
                </c:pt>
                <c:pt idx="111">
                  <c:v>Entremont</c:v>
                </c:pt>
                <c:pt idx="112">
                  <c:v>Private Lab</c:v>
                </c:pt>
                <c:pt idx="113">
                  <c:v>Private Lab</c:v>
                </c:pt>
                <c:pt idx="114">
                  <c:v>Private Lab</c:v>
                </c:pt>
                <c:pt idx="115">
                  <c:v>Saint Agur</c:v>
                </c:pt>
                <c:pt idx="116">
                  <c:v>Entremont</c:v>
                </c:pt>
                <c:pt idx="117">
                  <c:v>Private Lab</c:v>
                </c:pt>
                <c:pt idx="118">
                  <c:v>Private Lab</c:v>
                </c:pt>
                <c:pt idx="119">
                  <c:v>Istara</c:v>
                </c:pt>
                <c:pt idx="120">
                  <c:v>Saint Albra</c:v>
                </c:pt>
                <c:pt idx="121">
                  <c:v>Private Lab</c:v>
                </c:pt>
                <c:pt idx="122">
                  <c:v>L'Ortolan</c:v>
                </c:pt>
                <c:pt idx="123">
                  <c:v>Paysan Bret</c:v>
                </c:pt>
                <c:pt idx="124">
                  <c:v>Private Lab</c:v>
                </c:pt>
                <c:pt idx="125">
                  <c:v>Kiri</c:v>
                </c:pt>
                <c:pt idx="126">
                  <c:v>Entremont</c:v>
                </c:pt>
                <c:pt idx="127">
                  <c:v>Private Lab</c:v>
                </c:pt>
                <c:pt idx="128">
                  <c:v>Apericube</c:v>
                </c:pt>
                <c:pt idx="129">
                  <c:v>Casa Azzurr</c:v>
                </c:pt>
                <c:pt idx="130">
                  <c:v>President</c:v>
                </c:pt>
                <c:pt idx="131">
                  <c:v>Kiri</c:v>
                </c:pt>
                <c:pt idx="132">
                  <c:v>Private Lab</c:v>
                </c:pt>
                <c:pt idx="133">
                  <c:v>Private Lab</c:v>
                </c:pt>
                <c:pt idx="134">
                  <c:v>All Others</c:v>
                </c:pt>
                <c:pt idx="135">
                  <c:v>Boursin</c:v>
                </c:pt>
                <c:pt idx="136">
                  <c:v>Ficello</c:v>
                </c:pt>
                <c:pt idx="137">
                  <c:v>Private Lab</c:v>
                </c:pt>
                <c:pt idx="138">
                  <c:v>Private Lab</c:v>
                </c:pt>
                <c:pt idx="139">
                  <c:v>Philadelphi</c:v>
                </c:pt>
                <c:pt idx="140">
                  <c:v>Private Lab</c:v>
                </c:pt>
                <c:pt idx="141">
                  <c:v>Boursin</c:v>
                </c:pt>
                <c:pt idx="142">
                  <c:v>Chaussee Au</c:v>
                </c:pt>
                <c:pt idx="143">
                  <c:v>Private Lab</c:v>
                </c:pt>
                <c:pt idx="144">
                  <c:v>Lou Perac</c:v>
                </c:pt>
                <c:pt idx="145">
                  <c:v>Leerdammer</c:v>
                </c:pt>
                <c:pt idx="146">
                  <c:v>Private Lab</c:v>
                </c:pt>
                <c:pt idx="147">
                  <c:v>Entremont</c:v>
                </c:pt>
                <c:pt idx="148">
                  <c:v>Petit Billy</c:v>
                </c:pt>
                <c:pt idx="149">
                  <c:v>Private Lab</c:v>
                </c:pt>
                <c:pt idx="150">
                  <c:v>Private Lab</c:v>
                </c:pt>
                <c:pt idx="151">
                  <c:v>Soignon</c:v>
                </c:pt>
                <c:pt idx="152">
                  <c:v>Private Lab</c:v>
                </c:pt>
                <c:pt idx="153">
                  <c:v>Private Lab</c:v>
                </c:pt>
                <c:pt idx="154">
                  <c:v>Apericube</c:v>
                </c:pt>
                <c:pt idx="155">
                  <c:v>Private Lab</c:v>
                </c:pt>
                <c:pt idx="156">
                  <c:v>Private Lab</c:v>
                </c:pt>
                <c:pt idx="157">
                  <c:v>Lepetit</c:v>
                </c:pt>
                <c:pt idx="158">
                  <c:v>Private Lab</c:v>
                </c:pt>
                <c:pt idx="159">
                  <c:v>Tartare</c:v>
                </c:pt>
                <c:pt idx="160">
                  <c:v>St Moret</c:v>
                </c:pt>
                <c:pt idx="161">
                  <c:v>Private Lab</c:v>
                </c:pt>
                <c:pt idx="162">
                  <c:v>Private Lab</c:v>
                </c:pt>
                <c:pt idx="163">
                  <c:v>Private Lab</c:v>
                </c:pt>
                <c:pt idx="164">
                  <c:v>Bresse Bleu</c:v>
                </c:pt>
                <c:pt idx="165">
                  <c:v>Philadelphi</c:v>
                </c:pt>
                <c:pt idx="166">
                  <c:v>President</c:v>
                </c:pt>
                <c:pt idx="167">
                  <c:v>Private Lab</c:v>
                </c:pt>
                <c:pt idx="168">
                  <c:v>Private Lab</c:v>
                </c:pt>
                <c:pt idx="169">
                  <c:v>Private Lab</c:v>
                </c:pt>
                <c:pt idx="170">
                  <c:v>Private Lab</c:v>
                </c:pt>
                <c:pt idx="171">
                  <c:v>Boursin</c:v>
                </c:pt>
                <c:pt idx="172">
                  <c:v>Private Lab</c:v>
                </c:pt>
                <c:pt idx="173">
                  <c:v>Kiri</c:v>
                </c:pt>
                <c:pt idx="174">
                  <c:v>Babybel</c:v>
                </c:pt>
                <c:pt idx="175">
                  <c:v>Private Lab</c:v>
                </c:pt>
                <c:pt idx="176">
                  <c:v>Entremont</c:v>
                </c:pt>
                <c:pt idx="177">
                  <c:v>President</c:v>
                </c:pt>
                <c:pt idx="178">
                  <c:v>St Moret</c:v>
                </c:pt>
                <c:pt idx="179">
                  <c:v>Leerdammer</c:v>
                </c:pt>
                <c:pt idx="180">
                  <c:v>St Moret</c:v>
                </c:pt>
                <c:pt idx="181">
                  <c:v>Entremont</c:v>
                </c:pt>
                <c:pt idx="182">
                  <c:v>Aperivrais</c:v>
                </c:pt>
                <c:pt idx="183">
                  <c:v>Private Lab</c:v>
                </c:pt>
                <c:pt idx="184">
                  <c:v>Ficello</c:v>
                </c:pt>
                <c:pt idx="185">
                  <c:v>Private Lab</c:v>
                </c:pt>
                <c:pt idx="186">
                  <c:v>Private Lab</c:v>
                </c:pt>
                <c:pt idx="187">
                  <c:v>Boursin</c:v>
                </c:pt>
                <c:pt idx="188">
                  <c:v>Private Lab</c:v>
                </c:pt>
                <c:pt idx="189">
                  <c:v>Private Lab</c:v>
                </c:pt>
                <c:pt idx="190">
                  <c:v>Port Salut</c:v>
                </c:pt>
                <c:pt idx="191">
                  <c:v>President</c:v>
                </c:pt>
                <c:pt idx="192">
                  <c:v>Galbani</c:v>
                </c:pt>
                <c:pt idx="193">
                  <c:v>Ficello</c:v>
                </c:pt>
                <c:pt idx="194">
                  <c:v>Leerdammer</c:v>
                </c:pt>
                <c:pt idx="195">
                  <c:v>Private Lab</c:v>
                </c:pt>
                <c:pt idx="196">
                  <c:v>Kiri</c:v>
                </c:pt>
                <c:pt idx="197">
                  <c:v>Fol Epi</c:v>
                </c:pt>
                <c:pt idx="198">
                  <c:v>Le Rustique</c:v>
                </c:pt>
                <c:pt idx="199">
                  <c:v>Private Lab</c:v>
                </c:pt>
                <c:pt idx="200">
                  <c:v>Private Lab</c:v>
                </c:pt>
                <c:pt idx="201">
                  <c:v>Private Lab</c:v>
                </c:pt>
                <c:pt idx="202">
                  <c:v>Private Lab</c:v>
                </c:pt>
                <c:pt idx="203">
                  <c:v>Private Lab</c:v>
                </c:pt>
                <c:pt idx="204">
                  <c:v>Soignon</c:v>
                </c:pt>
                <c:pt idx="205">
                  <c:v>Coeur De Li</c:v>
                </c:pt>
                <c:pt idx="206">
                  <c:v>Private Lab</c:v>
                </c:pt>
                <c:pt idx="207">
                  <c:v>Soignon</c:v>
                </c:pt>
                <c:pt idx="208">
                  <c:v>Private Lab</c:v>
                </c:pt>
                <c:pt idx="209">
                  <c:v>Entremont</c:v>
                </c:pt>
                <c:pt idx="210">
                  <c:v>Casa Azzurr</c:v>
                </c:pt>
                <c:pt idx="211">
                  <c:v>Coeur De Li</c:v>
                </c:pt>
                <c:pt idx="212">
                  <c:v>Parmareggio</c:v>
                </c:pt>
                <c:pt idx="213">
                  <c:v>Caprice Des</c:v>
                </c:pt>
                <c:pt idx="214">
                  <c:v>Etorki</c:v>
                </c:pt>
                <c:pt idx="215">
                  <c:v>President</c:v>
                </c:pt>
                <c:pt idx="216">
                  <c:v>L'Ortolan</c:v>
                </c:pt>
                <c:pt idx="217">
                  <c:v>Entremont</c:v>
                </c:pt>
                <c:pt idx="218">
                  <c:v>Pave D'Affi</c:v>
                </c:pt>
                <c:pt idx="219">
                  <c:v>Private Lab</c:v>
                </c:pt>
                <c:pt idx="220">
                  <c:v>Chavroux</c:v>
                </c:pt>
                <c:pt idx="221">
                  <c:v>Boursin</c:v>
                </c:pt>
                <c:pt idx="222">
                  <c:v>Salakis</c:v>
                </c:pt>
                <c:pt idx="223">
                  <c:v>Private Lab</c:v>
                </c:pt>
                <c:pt idx="224">
                  <c:v>Private Lab</c:v>
                </c:pt>
                <c:pt idx="225">
                  <c:v>Entremont</c:v>
                </c:pt>
                <c:pt idx="226">
                  <c:v>Private Lab</c:v>
                </c:pt>
                <c:pt idx="227">
                  <c:v>Private Lab</c:v>
                </c:pt>
                <c:pt idx="228">
                  <c:v>President</c:v>
                </c:pt>
                <c:pt idx="229">
                  <c:v>President</c:v>
                </c:pt>
                <c:pt idx="230">
                  <c:v>Societe</c:v>
                </c:pt>
                <c:pt idx="231">
                  <c:v>Apericube</c:v>
                </c:pt>
                <c:pt idx="232">
                  <c:v>Private Lab</c:v>
                </c:pt>
                <c:pt idx="233">
                  <c:v>Boursin</c:v>
                </c:pt>
                <c:pt idx="234">
                  <c:v>President</c:v>
                </c:pt>
                <c:pt idx="235">
                  <c:v>Private Lab</c:v>
                </c:pt>
                <c:pt idx="236">
                  <c:v>All Others</c:v>
                </c:pt>
                <c:pt idx="237">
                  <c:v>Leerdammer</c:v>
                </c:pt>
                <c:pt idx="238">
                  <c:v>Casa Azzurr</c:v>
                </c:pt>
                <c:pt idx="239">
                  <c:v>Casa Azzurr</c:v>
                </c:pt>
                <c:pt idx="240">
                  <c:v>Apericube</c:v>
                </c:pt>
                <c:pt idx="241">
                  <c:v>Private Lab</c:v>
                </c:pt>
                <c:pt idx="242">
                  <c:v>Private Lab</c:v>
                </c:pt>
                <c:pt idx="243">
                  <c:v>Private Lab</c:v>
                </c:pt>
                <c:pt idx="244">
                  <c:v>All Others</c:v>
                </c:pt>
                <c:pt idx="245">
                  <c:v>Galbani</c:v>
                </c:pt>
                <c:pt idx="246">
                  <c:v>President</c:v>
                </c:pt>
                <c:pt idx="247">
                  <c:v>Private Lab</c:v>
                </c:pt>
                <c:pt idx="248">
                  <c:v>Le Brebiou</c:v>
                </c:pt>
                <c:pt idx="249">
                  <c:v>Apericube</c:v>
                </c:pt>
                <c:pt idx="250">
                  <c:v>Private Lab</c:v>
                </c:pt>
                <c:pt idx="251">
                  <c:v>Private Lab</c:v>
                </c:pt>
                <c:pt idx="252">
                  <c:v>P'Tit Louis</c:v>
                </c:pt>
                <c:pt idx="253">
                  <c:v>Soignon</c:v>
                </c:pt>
                <c:pt idx="254">
                  <c:v>Private Lab</c:v>
                </c:pt>
                <c:pt idx="255">
                  <c:v>Private Lab</c:v>
                </c:pt>
                <c:pt idx="256">
                  <c:v>President</c:v>
                </c:pt>
                <c:pt idx="257">
                  <c:v>Private Lab</c:v>
                </c:pt>
                <c:pt idx="258">
                  <c:v>Soignon</c:v>
                </c:pt>
                <c:pt idx="259">
                  <c:v>La Vache Qu</c:v>
                </c:pt>
                <c:pt idx="260">
                  <c:v>Paysan Bret</c:v>
                </c:pt>
                <c:pt idx="261">
                  <c:v>Private Lab</c:v>
                </c:pt>
                <c:pt idx="262">
                  <c:v>Private Lab</c:v>
                </c:pt>
                <c:pt idx="263">
                  <c:v>Private Lab</c:v>
                </c:pt>
                <c:pt idx="264">
                  <c:v>Private Lab</c:v>
                </c:pt>
                <c:pt idx="265">
                  <c:v>Private Lab</c:v>
                </c:pt>
                <c:pt idx="266">
                  <c:v>Private Lab</c:v>
                </c:pt>
                <c:pt idx="267">
                  <c:v>Boursin</c:v>
                </c:pt>
                <c:pt idx="268">
                  <c:v>Leerdammer</c:v>
                </c:pt>
                <c:pt idx="269">
                  <c:v>All Others</c:v>
                </c:pt>
                <c:pt idx="270">
                  <c:v>Soignon</c:v>
                </c:pt>
                <c:pt idx="271">
                  <c:v>Private Lab</c:v>
                </c:pt>
                <c:pt idx="272">
                  <c:v>Caprice Des</c:v>
                </c:pt>
                <c:pt idx="273">
                  <c:v>Private Lab</c:v>
                </c:pt>
                <c:pt idx="274">
                  <c:v>President</c:v>
                </c:pt>
                <c:pt idx="275">
                  <c:v>Salakis</c:v>
                </c:pt>
                <c:pt idx="276">
                  <c:v>All Others</c:v>
                </c:pt>
                <c:pt idx="277">
                  <c:v>Richesmonts</c:v>
                </c:pt>
                <c:pt idx="278">
                  <c:v>Les Mousque</c:v>
                </c:pt>
                <c:pt idx="279">
                  <c:v>Galbani</c:v>
                </c:pt>
                <c:pt idx="280">
                  <c:v>President</c:v>
                </c:pt>
                <c:pt idx="281">
                  <c:v>Paysan Bret</c:v>
                </c:pt>
                <c:pt idx="282">
                  <c:v>All Others</c:v>
                </c:pt>
                <c:pt idx="283">
                  <c:v>Tartare</c:v>
                </c:pt>
                <c:pt idx="284">
                  <c:v>Istara</c:v>
                </c:pt>
                <c:pt idx="285">
                  <c:v>Pochat</c:v>
                </c:pt>
                <c:pt idx="286">
                  <c:v>Private Lab</c:v>
                </c:pt>
                <c:pt idx="287">
                  <c:v>Vieux Pane</c:v>
                </c:pt>
                <c:pt idx="288">
                  <c:v>Entremont</c:v>
                </c:pt>
                <c:pt idx="289">
                  <c:v>Galbani</c:v>
                </c:pt>
                <c:pt idx="290">
                  <c:v>Saint Albra</c:v>
                </c:pt>
                <c:pt idx="291">
                  <c:v>President</c:v>
                </c:pt>
                <c:pt idx="292">
                  <c:v>Soignon</c:v>
                </c:pt>
                <c:pt idx="293">
                  <c:v>Apericube</c:v>
                </c:pt>
                <c:pt idx="294">
                  <c:v>Lactalis: A</c:v>
                </c:pt>
                <c:pt idx="295">
                  <c:v>Galbani</c:v>
                </c:pt>
                <c:pt idx="296">
                  <c:v>President</c:v>
                </c:pt>
                <c:pt idx="297">
                  <c:v>All Others</c:v>
                </c:pt>
                <c:pt idx="298">
                  <c:v>Private Lab</c:v>
                </c:pt>
                <c:pt idx="299">
                  <c:v>Lou Perac</c:v>
                </c:pt>
                <c:pt idx="300">
                  <c:v>Private Lab</c:v>
                </c:pt>
                <c:pt idx="301">
                  <c:v>Private Lab</c:v>
                </c:pt>
                <c:pt idx="302">
                  <c:v>Les Mousque</c:v>
                </c:pt>
                <c:pt idx="303">
                  <c:v>Apericube</c:v>
                </c:pt>
                <c:pt idx="304">
                  <c:v>Private Lab</c:v>
                </c:pt>
                <c:pt idx="305">
                  <c:v>Private Lab</c:v>
                </c:pt>
                <c:pt idx="306">
                  <c:v>Aperivrais</c:v>
                </c:pt>
                <c:pt idx="307">
                  <c:v>Private Lab</c:v>
                </c:pt>
                <c:pt idx="308">
                  <c:v>Boursin</c:v>
                </c:pt>
                <c:pt idx="309">
                  <c:v>Soignon</c:v>
                </c:pt>
                <c:pt idx="310">
                  <c:v>Casa Azzurr</c:v>
                </c:pt>
                <c:pt idx="311">
                  <c:v>Bresse Bleu</c:v>
                </c:pt>
                <c:pt idx="312">
                  <c:v>Carre Frais</c:v>
                </c:pt>
                <c:pt idx="313">
                  <c:v>Coeur De Li</c:v>
                </c:pt>
                <c:pt idx="314">
                  <c:v>Galbani</c:v>
                </c:pt>
                <c:pt idx="315">
                  <c:v>Galbani</c:v>
                </c:pt>
                <c:pt idx="316">
                  <c:v>Boursin</c:v>
                </c:pt>
                <c:pt idx="317">
                  <c:v>Private Lab</c:v>
                </c:pt>
                <c:pt idx="318">
                  <c:v>Private Lab</c:v>
                </c:pt>
                <c:pt idx="319">
                  <c:v>Private Lab</c:v>
                </c:pt>
                <c:pt idx="320">
                  <c:v>President</c:v>
                </c:pt>
                <c:pt idx="321">
                  <c:v>Kiri</c:v>
                </c:pt>
                <c:pt idx="322">
                  <c:v>Salakis</c:v>
                </c:pt>
                <c:pt idx="323">
                  <c:v>Private Lab</c:v>
                </c:pt>
                <c:pt idx="324">
                  <c:v>All Others</c:v>
                </c:pt>
                <c:pt idx="325">
                  <c:v>Private Lab</c:v>
                </c:pt>
                <c:pt idx="326">
                  <c:v>St Moret</c:v>
                </c:pt>
                <c:pt idx="327">
                  <c:v>Aperivrais</c:v>
                </c:pt>
                <c:pt idx="328">
                  <c:v>All Others</c:v>
                </c:pt>
                <c:pt idx="329">
                  <c:v>Private Lab</c:v>
                </c:pt>
                <c:pt idx="330">
                  <c:v>Casa Azzurr</c:v>
                </c:pt>
                <c:pt idx="331">
                  <c:v>Private Lab</c:v>
                </c:pt>
                <c:pt idx="332">
                  <c:v>Le Rustique</c:v>
                </c:pt>
                <c:pt idx="333">
                  <c:v>All Others</c:v>
                </c:pt>
                <c:pt idx="334">
                  <c:v>Private Lab</c:v>
                </c:pt>
                <c:pt idx="335">
                  <c:v>All Others</c:v>
                </c:pt>
                <c:pt idx="336">
                  <c:v>Paysan Bret</c:v>
                </c:pt>
                <c:pt idx="337">
                  <c:v>Boursin</c:v>
                </c:pt>
                <c:pt idx="338">
                  <c:v>Private Lab</c:v>
                </c:pt>
                <c:pt idx="339">
                  <c:v>President</c:v>
                </c:pt>
                <c:pt idx="340">
                  <c:v>All Others</c:v>
                </c:pt>
                <c:pt idx="341">
                  <c:v>Leerdammer</c:v>
                </c:pt>
                <c:pt idx="342">
                  <c:v>Boursin</c:v>
                </c:pt>
                <c:pt idx="343">
                  <c:v>Private Lab</c:v>
                </c:pt>
                <c:pt idx="344">
                  <c:v>Private Lab</c:v>
                </c:pt>
                <c:pt idx="345">
                  <c:v>All Others</c:v>
                </c:pt>
                <c:pt idx="346">
                  <c:v>Private Lab</c:v>
                </c:pt>
                <c:pt idx="347">
                  <c:v>Apericube</c:v>
                </c:pt>
                <c:pt idx="348">
                  <c:v>Galbani</c:v>
                </c:pt>
                <c:pt idx="349">
                  <c:v>Chavroux</c:v>
                </c:pt>
                <c:pt idx="350">
                  <c:v>Private Lab</c:v>
                </c:pt>
                <c:pt idx="351">
                  <c:v>Savencia: A</c:v>
                </c:pt>
                <c:pt idx="352">
                  <c:v>Apericube</c:v>
                </c:pt>
                <c:pt idx="353">
                  <c:v>Private Lab</c:v>
                </c:pt>
                <c:pt idx="354">
                  <c:v>Private Lab</c:v>
                </c:pt>
                <c:pt idx="355">
                  <c:v>Saint Agur</c:v>
                </c:pt>
                <c:pt idx="356">
                  <c:v>Private Lab</c:v>
                </c:pt>
                <c:pt idx="357">
                  <c:v>Salakis</c:v>
                </c:pt>
                <c:pt idx="358">
                  <c:v>Societe</c:v>
                </c:pt>
                <c:pt idx="359">
                  <c:v>Savencia: A</c:v>
                </c:pt>
                <c:pt idx="360">
                  <c:v>Private Lab</c:v>
                </c:pt>
                <c:pt idx="361">
                  <c:v>Casa Azzurr</c:v>
                </c:pt>
                <c:pt idx="362">
                  <c:v>La Vache Qu</c:v>
                </c:pt>
                <c:pt idx="363">
                  <c:v>All Others</c:v>
                </c:pt>
                <c:pt idx="364">
                  <c:v>President</c:v>
                </c:pt>
                <c:pt idx="365">
                  <c:v>Casa Azzurr</c:v>
                </c:pt>
                <c:pt idx="366">
                  <c:v>Private Lab</c:v>
                </c:pt>
                <c:pt idx="367">
                  <c:v>Societe</c:v>
                </c:pt>
                <c:pt idx="368">
                  <c:v>Boursin</c:v>
                </c:pt>
                <c:pt idx="369">
                  <c:v>Galbani</c:v>
                </c:pt>
                <c:pt idx="370">
                  <c:v>Lou Perac</c:v>
                </c:pt>
                <c:pt idx="371">
                  <c:v>Pochat</c:v>
                </c:pt>
                <c:pt idx="372">
                  <c:v>Milleret: A</c:v>
                </c:pt>
                <c:pt idx="373">
                  <c:v>Paysan Bret</c:v>
                </c:pt>
                <c:pt idx="374">
                  <c:v>Savencia: A</c:v>
                </c:pt>
                <c:pt idx="375">
                  <c:v>President</c:v>
                </c:pt>
                <c:pt idx="376">
                  <c:v>Soignon</c:v>
                </c:pt>
                <c:pt idx="377">
                  <c:v>Casa Azzurr</c:v>
                </c:pt>
                <c:pt idx="378">
                  <c:v>Galbani</c:v>
                </c:pt>
                <c:pt idx="379">
                  <c:v>Les Mousque</c:v>
                </c:pt>
                <c:pt idx="380">
                  <c:v>Casa Azzurr</c:v>
                </c:pt>
                <c:pt idx="381">
                  <c:v>Private Lab</c:v>
                </c:pt>
                <c:pt idx="382">
                  <c:v>Juraflore</c:v>
                </c:pt>
                <c:pt idx="383">
                  <c:v>Private Lab</c:v>
                </c:pt>
                <c:pt idx="384">
                  <c:v>Coeur De Li</c:v>
                </c:pt>
                <c:pt idx="385">
                  <c:v>Private Lab</c:v>
                </c:pt>
                <c:pt idx="386">
                  <c:v>Private Lab</c:v>
                </c:pt>
                <c:pt idx="387">
                  <c:v>All Others</c:v>
                </c:pt>
                <c:pt idx="388">
                  <c:v>Saint Agur</c:v>
                </c:pt>
                <c:pt idx="389">
                  <c:v>L'Ortolan</c:v>
                </c:pt>
                <c:pt idx="390">
                  <c:v>All Others</c:v>
                </c:pt>
                <c:pt idx="391">
                  <c:v>Pave D'Affi</c:v>
                </c:pt>
                <c:pt idx="392">
                  <c:v>All Others</c:v>
                </c:pt>
                <c:pt idx="393">
                  <c:v>All Others</c:v>
                </c:pt>
                <c:pt idx="394">
                  <c:v>Paysan Bret</c:v>
                </c:pt>
                <c:pt idx="395">
                  <c:v>Tartare</c:v>
                </c:pt>
                <c:pt idx="396">
                  <c:v>Private Lab</c:v>
                </c:pt>
                <c:pt idx="397">
                  <c:v>Apericube</c:v>
                </c:pt>
                <c:pt idx="398">
                  <c:v>All Others</c:v>
                </c:pt>
                <c:pt idx="399">
                  <c:v>Lactalis: A</c:v>
                </c:pt>
                <c:pt idx="400">
                  <c:v>Private Lab</c:v>
                </c:pt>
                <c:pt idx="401">
                  <c:v>Private Lab</c:v>
                </c:pt>
                <c:pt idx="402">
                  <c:v>Mini Babybe</c:v>
                </c:pt>
                <c:pt idx="403">
                  <c:v>Private Lab</c:v>
                </c:pt>
                <c:pt idx="404">
                  <c:v>Casa Azzurr</c:v>
                </c:pt>
                <c:pt idx="405">
                  <c:v>All Others</c:v>
                </c:pt>
                <c:pt idx="406">
                  <c:v>Entremont</c:v>
                </c:pt>
                <c:pt idx="407">
                  <c:v>Galbani</c:v>
                </c:pt>
                <c:pt idx="408">
                  <c:v>Galbani</c:v>
                </c:pt>
                <c:pt idx="409">
                  <c:v>Tartare</c:v>
                </c:pt>
                <c:pt idx="410">
                  <c:v>St Moret</c:v>
                </c:pt>
                <c:pt idx="411">
                  <c:v>La Vache Qu</c:v>
                </c:pt>
                <c:pt idx="412">
                  <c:v>Kiri</c:v>
                </c:pt>
                <c:pt idx="413">
                  <c:v>Eurial Autr</c:v>
                </c:pt>
                <c:pt idx="414">
                  <c:v>Les Mousque</c:v>
                </c:pt>
                <c:pt idx="415">
                  <c:v>Triballat N</c:v>
                </c:pt>
                <c:pt idx="416">
                  <c:v>Mini Babybe</c:v>
                </c:pt>
                <c:pt idx="417">
                  <c:v>All Others</c:v>
                </c:pt>
                <c:pt idx="418">
                  <c:v>Savencia: A</c:v>
                </c:pt>
                <c:pt idx="419">
                  <c:v>Casa Azzurr</c:v>
                </c:pt>
                <c:pt idx="420">
                  <c:v>Private Lab</c:v>
                </c:pt>
                <c:pt idx="421">
                  <c:v>All Others</c:v>
                </c:pt>
                <c:pt idx="422">
                  <c:v>Private Lab</c:v>
                </c:pt>
                <c:pt idx="423">
                  <c:v>Lactalis: A</c:v>
                </c:pt>
                <c:pt idx="424">
                  <c:v>La Table M</c:v>
                </c:pt>
                <c:pt idx="425">
                  <c:v>Lactalis: A</c:v>
                </c:pt>
                <c:pt idx="426">
                  <c:v>St Moret</c:v>
                </c:pt>
                <c:pt idx="427">
                  <c:v>Tartare</c:v>
                </c:pt>
                <c:pt idx="428">
                  <c:v>All Others</c:v>
                </c:pt>
                <c:pt idx="429">
                  <c:v>Salakis</c:v>
                </c:pt>
                <c:pt idx="430">
                  <c:v>Kiri</c:v>
                </c:pt>
                <c:pt idx="431">
                  <c:v>Private Lab</c:v>
                </c:pt>
                <c:pt idx="432">
                  <c:v>Aperivrais</c:v>
                </c:pt>
                <c:pt idx="433">
                  <c:v>Islos</c:v>
                </c:pt>
                <c:pt idx="434">
                  <c:v>All Others</c:v>
                </c:pt>
                <c:pt idx="435">
                  <c:v>All Others</c:v>
                </c:pt>
                <c:pt idx="436">
                  <c:v>Private Lab</c:v>
                </c:pt>
                <c:pt idx="437">
                  <c:v>Galbani</c:v>
                </c:pt>
                <c:pt idx="438">
                  <c:v>Soignon</c:v>
                </c:pt>
                <c:pt idx="439">
                  <c:v>Caprice Des</c:v>
                </c:pt>
                <c:pt idx="440">
                  <c:v>Savencia: A</c:v>
                </c:pt>
                <c:pt idx="441">
                  <c:v>Saint Agur</c:v>
                </c:pt>
                <c:pt idx="442">
                  <c:v>Private Lab</c:v>
                </c:pt>
                <c:pt idx="443">
                  <c:v>Private Lab</c:v>
                </c:pt>
                <c:pt idx="444">
                  <c:v>Leerdammer</c:v>
                </c:pt>
                <c:pt idx="445">
                  <c:v>Paysan Bret</c:v>
                </c:pt>
                <c:pt idx="446">
                  <c:v>La Belle Et</c:v>
                </c:pt>
                <c:pt idx="447">
                  <c:v>Le Saint Am</c:v>
                </c:pt>
                <c:pt idx="448">
                  <c:v>Salakis</c:v>
                </c:pt>
                <c:pt idx="449">
                  <c:v>Societe</c:v>
                </c:pt>
                <c:pt idx="450">
                  <c:v>Fauquet</c:v>
                </c:pt>
                <c:pt idx="451">
                  <c:v>All Others</c:v>
                </c:pt>
                <c:pt idx="452">
                  <c:v>Casa Azzurr</c:v>
                </c:pt>
                <c:pt idx="453">
                  <c:v>Paysan Bret</c:v>
                </c:pt>
                <c:pt idx="454">
                  <c:v>St Moret</c:v>
                </c:pt>
                <c:pt idx="455">
                  <c:v>Boursin</c:v>
                </c:pt>
                <c:pt idx="456">
                  <c:v>Private Lab</c:v>
                </c:pt>
                <c:pt idx="457">
                  <c:v>Leerdammer</c:v>
                </c:pt>
                <c:pt idx="458">
                  <c:v>Boursin</c:v>
                </c:pt>
                <c:pt idx="459">
                  <c:v>Caprice Des</c:v>
                </c:pt>
                <c:pt idx="460">
                  <c:v>Galbani</c:v>
                </c:pt>
                <c:pt idx="461">
                  <c:v>Boursin</c:v>
                </c:pt>
                <c:pt idx="462">
                  <c:v>Private Lab</c:v>
                </c:pt>
                <c:pt idx="463">
                  <c:v>All Others</c:v>
                </c:pt>
                <c:pt idx="464">
                  <c:v>Societe</c:v>
                </c:pt>
                <c:pt idx="465">
                  <c:v>Galbani</c:v>
                </c:pt>
                <c:pt idx="466">
                  <c:v>All Others</c:v>
                </c:pt>
                <c:pt idx="467">
                  <c:v>Pave D'Affi</c:v>
                </c:pt>
                <c:pt idx="468">
                  <c:v>Le Rustique</c:v>
                </c:pt>
                <c:pt idx="469">
                  <c:v>Aperivrais</c:v>
                </c:pt>
                <c:pt idx="470">
                  <c:v>Etorki</c:v>
                </c:pt>
                <c:pt idx="471">
                  <c:v>Pave D'Affi</c:v>
                </c:pt>
                <c:pt idx="472">
                  <c:v>Savencia: A</c:v>
                </c:pt>
                <c:pt idx="473">
                  <c:v>Pochat</c:v>
                </c:pt>
                <c:pt idx="474">
                  <c:v>President</c:v>
                </c:pt>
                <c:pt idx="475">
                  <c:v>All Others</c:v>
                </c:pt>
                <c:pt idx="476">
                  <c:v>Private Lab</c:v>
                </c:pt>
                <c:pt idx="477">
                  <c:v>Eurial Autr</c:v>
                </c:pt>
                <c:pt idx="478">
                  <c:v>All Others</c:v>
                </c:pt>
                <c:pt idx="479">
                  <c:v>Private Lab</c:v>
                </c:pt>
                <c:pt idx="480">
                  <c:v>Boursin</c:v>
                </c:pt>
                <c:pt idx="481">
                  <c:v>Caprice Des</c:v>
                </c:pt>
                <c:pt idx="482">
                  <c:v>All Others</c:v>
                </c:pt>
                <c:pt idx="483">
                  <c:v>Casa Azzurr</c:v>
                </c:pt>
                <c:pt idx="484">
                  <c:v>All Others</c:v>
                </c:pt>
                <c:pt idx="485">
                  <c:v>President</c:v>
                </c:pt>
                <c:pt idx="486">
                  <c:v>Tartare</c:v>
                </c:pt>
                <c:pt idx="487">
                  <c:v>Milleret: A</c:v>
                </c:pt>
                <c:pt idx="488">
                  <c:v>Lactalis: A</c:v>
                </c:pt>
                <c:pt idx="489">
                  <c:v>Lactalis: A</c:v>
                </c:pt>
                <c:pt idx="490">
                  <c:v>All Others</c:v>
                </c:pt>
                <c:pt idx="491">
                  <c:v>Galbani</c:v>
                </c:pt>
                <c:pt idx="492">
                  <c:v>All Others</c:v>
                </c:pt>
                <c:pt idx="493">
                  <c:v>Cousteron</c:v>
                </c:pt>
                <c:pt idx="494">
                  <c:v>All Others</c:v>
                </c:pt>
                <c:pt idx="495">
                  <c:v>All Others</c:v>
                </c:pt>
                <c:pt idx="496">
                  <c:v>Casa Azzurr</c:v>
                </c:pt>
                <c:pt idx="497">
                  <c:v>Corsica</c:v>
                </c:pt>
                <c:pt idx="498">
                  <c:v>All Others</c:v>
                </c:pt>
                <c:pt idx="499">
                  <c:v>All Others</c:v>
                </c:pt>
                <c:pt idx="500">
                  <c:v>Private Lab</c:v>
                </c:pt>
                <c:pt idx="501">
                  <c:v>Tartare</c:v>
                </c:pt>
                <c:pt idx="502">
                  <c:v>Juraflore</c:v>
                </c:pt>
                <c:pt idx="503">
                  <c:v>Lou Perac</c:v>
                </c:pt>
                <c:pt idx="504">
                  <c:v>La Belle Et</c:v>
                </c:pt>
                <c:pt idx="505">
                  <c:v>Islos</c:v>
                </c:pt>
                <c:pt idx="506">
                  <c:v>Private Lab</c:v>
                </c:pt>
                <c:pt idx="507">
                  <c:v>Soignon</c:v>
                </c:pt>
                <c:pt idx="508">
                  <c:v>Paysan Bret</c:v>
                </c:pt>
                <c:pt idx="509">
                  <c:v>L'Ortolan</c:v>
                </c:pt>
                <c:pt idx="510">
                  <c:v>Raguin</c:v>
                </c:pt>
                <c:pt idx="511">
                  <c:v>Soignon</c:v>
                </c:pt>
                <c:pt idx="512">
                  <c:v>Private Lab</c:v>
                </c:pt>
                <c:pt idx="513">
                  <c:v>All Others</c:v>
                </c:pt>
                <c:pt idx="514">
                  <c:v>Saint Agur</c:v>
                </c:pt>
                <c:pt idx="515">
                  <c:v>Private Lab</c:v>
                </c:pt>
                <c:pt idx="516">
                  <c:v>Triballat N</c:v>
                </c:pt>
                <c:pt idx="517">
                  <c:v>Les Mousque</c:v>
                </c:pt>
                <c:pt idx="518">
                  <c:v>All Others</c:v>
                </c:pt>
                <c:pt idx="519">
                  <c:v>La Vache Qu</c:v>
                </c:pt>
                <c:pt idx="520">
                  <c:v>All Others</c:v>
                </c:pt>
                <c:pt idx="521">
                  <c:v>President</c:v>
                </c:pt>
                <c:pt idx="522">
                  <c:v>L'Ortolan</c:v>
                </c:pt>
                <c:pt idx="523">
                  <c:v>All Others</c:v>
                </c:pt>
                <c:pt idx="524">
                  <c:v>All Others</c:v>
                </c:pt>
                <c:pt idx="525">
                  <c:v>Vieux Pane</c:v>
                </c:pt>
                <c:pt idx="526">
                  <c:v>Apericube</c:v>
                </c:pt>
                <c:pt idx="527">
                  <c:v>Triballat N</c:v>
                </c:pt>
                <c:pt idx="528">
                  <c:v>President</c:v>
                </c:pt>
                <c:pt idx="529">
                  <c:v>All Others</c:v>
                </c:pt>
                <c:pt idx="530">
                  <c:v>Entremont</c:v>
                </c:pt>
                <c:pt idx="531">
                  <c:v>Lactalis: A</c:v>
                </c:pt>
                <c:pt idx="532">
                  <c:v>Entremont</c:v>
                </c:pt>
                <c:pt idx="533">
                  <c:v>Mini Babybe</c:v>
                </c:pt>
                <c:pt idx="534">
                  <c:v>All Others</c:v>
                </c:pt>
                <c:pt idx="535">
                  <c:v>All Others</c:v>
                </c:pt>
                <c:pt idx="536">
                  <c:v>All Others</c:v>
                </c:pt>
                <c:pt idx="537">
                  <c:v>President</c:v>
                </c:pt>
                <c:pt idx="538">
                  <c:v>All Others</c:v>
                </c:pt>
                <c:pt idx="539">
                  <c:v>Raguin</c:v>
                </c:pt>
                <c:pt idx="540">
                  <c:v>All Others</c:v>
                </c:pt>
                <c:pt idx="541">
                  <c:v>All Others</c:v>
                </c:pt>
                <c:pt idx="542">
                  <c:v>Private Lab</c:v>
                </c:pt>
                <c:pt idx="543">
                  <c:v>All Others</c:v>
                </c:pt>
                <c:pt idx="544">
                  <c:v>All Others</c:v>
                </c:pt>
                <c:pt idx="545">
                  <c:v>Le Rustique</c:v>
                </c:pt>
                <c:pt idx="546">
                  <c:v>Casa Azzurr</c:v>
                </c:pt>
                <c:pt idx="547">
                  <c:v>All Others</c:v>
                </c:pt>
                <c:pt idx="548">
                  <c:v>All Others</c:v>
                </c:pt>
                <c:pt idx="549">
                  <c:v>Le Coq Crem</c:v>
                </c:pt>
                <c:pt idx="550">
                  <c:v>All Others</c:v>
                </c:pt>
                <c:pt idx="551">
                  <c:v>Paysan Bret</c:v>
                </c:pt>
                <c:pt idx="552">
                  <c:v>Paysan Bret</c:v>
                </c:pt>
                <c:pt idx="553">
                  <c:v>All Others</c:v>
                </c:pt>
                <c:pt idx="554">
                  <c:v>All Others</c:v>
                </c:pt>
                <c:pt idx="555">
                  <c:v>All Others</c:v>
                </c:pt>
                <c:pt idx="556">
                  <c:v>All Others</c:v>
                </c:pt>
                <c:pt idx="557">
                  <c:v>Private Lab</c:v>
                </c:pt>
                <c:pt idx="558">
                  <c:v>All Others</c:v>
                </c:pt>
                <c:pt idx="559">
                  <c:v>All Others</c:v>
                </c:pt>
                <c:pt idx="560">
                  <c:v>All Others</c:v>
                </c:pt>
                <c:pt idx="561">
                  <c:v>Raguin</c:v>
                </c:pt>
                <c:pt idx="562">
                  <c:v>All Others</c:v>
                </c:pt>
                <c:pt idx="563">
                  <c:v>L'Ortolan</c:v>
                </c:pt>
                <c:pt idx="564">
                  <c:v>All Others</c:v>
                </c:pt>
                <c:pt idx="565">
                  <c:v>Milleret: A</c:v>
                </c:pt>
                <c:pt idx="566">
                  <c:v>Boursin</c:v>
                </c:pt>
                <c:pt idx="567">
                  <c:v>All Others</c:v>
                </c:pt>
                <c:pt idx="568">
                  <c:v>St Moret</c:v>
                </c:pt>
                <c:pt idx="569">
                  <c:v>All Others</c:v>
                </c:pt>
                <c:pt idx="570">
                  <c:v>All Others</c:v>
                </c:pt>
                <c:pt idx="571">
                  <c:v>Istara</c:v>
                </c:pt>
                <c:pt idx="572">
                  <c:v>All Others</c:v>
                </c:pt>
                <c:pt idx="573">
                  <c:v>All Others</c:v>
                </c:pt>
                <c:pt idx="574">
                  <c:v>Entremont</c:v>
                </c:pt>
                <c:pt idx="575">
                  <c:v>Bresse Bleu</c:v>
                </c:pt>
                <c:pt idx="576">
                  <c:v>Fol Epi</c:v>
                </c:pt>
                <c:pt idx="577">
                  <c:v>All Others</c:v>
                </c:pt>
                <c:pt idx="578">
                  <c:v>Etoile Du Q</c:v>
                </c:pt>
                <c:pt idx="579">
                  <c:v>All Others</c:v>
                </c:pt>
                <c:pt idx="580">
                  <c:v>Raguin</c:v>
                </c:pt>
                <c:pt idx="581">
                  <c:v>All Others</c:v>
                </c:pt>
                <c:pt idx="582">
                  <c:v>Private Lab</c:v>
                </c:pt>
                <c:pt idx="583">
                  <c:v>Boursin</c:v>
                </c:pt>
                <c:pt idx="584">
                  <c:v>All Others</c:v>
                </c:pt>
                <c:pt idx="585">
                  <c:v>All Others</c:v>
                </c:pt>
                <c:pt idx="586">
                  <c:v>La Belle Et</c:v>
                </c:pt>
                <c:pt idx="587">
                  <c:v>All Others</c:v>
                </c:pt>
                <c:pt idx="588">
                  <c:v>Les Mousque</c:v>
                </c:pt>
                <c:pt idx="589">
                  <c:v>All Others</c:v>
                </c:pt>
                <c:pt idx="590">
                  <c:v>Paysan Bret</c:v>
                </c:pt>
                <c:pt idx="591">
                  <c:v>Etoile Du V</c:v>
                </c:pt>
                <c:pt idx="592">
                  <c:v>All Others</c:v>
                </c:pt>
                <c:pt idx="593">
                  <c:v>L'Ortolan</c:v>
                </c:pt>
                <c:pt idx="594">
                  <c:v>All Others</c:v>
                </c:pt>
                <c:pt idx="595">
                  <c:v>President</c:v>
                </c:pt>
                <c:pt idx="596">
                  <c:v>All Others</c:v>
                </c:pt>
                <c:pt idx="597">
                  <c:v>All Others</c:v>
                </c:pt>
                <c:pt idx="598">
                  <c:v>Societe</c:v>
                </c:pt>
                <c:pt idx="599">
                  <c:v>Lindahls Pr</c:v>
                </c:pt>
                <c:pt idx="600">
                  <c:v>Coeur De Li</c:v>
                </c:pt>
                <c:pt idx="601">
                  <c:v>Milleret: A</c:v>
                </c:pt>
                <c:pt idx="602">
                  <c:v>Carre Frais</c:v>
                </c:pt>
                <c:pt idx="603">
                  <c:v>Entremont</c:v>
                </c:pt>
                <c:pt idx="604">
                  <c:v>Pochat</c:v>
                </c:pt>
                <c:pt idx="605">
                  <c:v>All Others</c:v>
                </c:pt>
                <c:pt idx="606">
                  <c:v>Eurial Autr</c:v>
                </c:pt>
                <c:pt idx="607">
                  <c:v>Soignon</c:v>
                </c:pt>
                <c:pt idx="608">
                  <c:v>All Others</c:v>
                </c:pt>
                <c:pt idx="609">
                  <c:v>Savencia: A</c:v>
                </c:pt>
                <c:pt idx="610">
                  <c:v>Savencia: A</c:v>
                </c:pt>
                <c:pt idx="611">
                  <c:v>Savencia: A</c:v>
                </c:pt>
                <c:pt idx="612">
                  <c:v>Richesmonts</c:v>
                </c:pt>
                <c:pt idx="613">
                  <c:v>Nurishh</c:v>
                </c:pt>
                <c:pt idx="614">
                  <c:v>All Others</c:v>
                </c:pt>
                <c:pt idx="615">
                  <c:v>Milleret: A</c:v>
                </c:pt>
                <c:pt idx="616">
                  <c:v>La Belle Et</c:v>
                </c:pt>
                <c:pt idx="617">
                  <c:v>All Others</c:v>
                </c:pt>
                <c:pt idx="618">
                  <c:v>Milleret: A</c:v>
                </c:pt>
                <c:pt idx="619">
                  <c:v>Private Lab</c:v>
                </c:pt>
                <c:pt idx="620">
                  <c:v>All Others</c:v>
                </c:pt>
                <c:pt idx="621">
                  <c:v>All Others</c:v>
                </c:pt>
                <c:pt idx="622">
                  <c:v>Vieux Pane</c:v>
                </c:pt>
                <c:pt idx="623">
                  <c:v>Nurishh</c:v>
                </c:pt>
                <c:pt idx="624">
                  <c:v>All Others</c:v>
                </c:pt>
                <c:pt idx="625">
                  <c:v>All Others</c:v>
                </c:pt>
                <c:pt idx="626">
                  <c:v>All Others</c:v>
                </c:pt>
                <c:pt idx="627">
                  <c:v>L'Ortolan</c:v>
                </c:pt>
                <c:pt idx="628">
                  <c:v>All Others</c:v>
                </c:pt>
                <c:pt idx="629">
                  <c:v>All Others</c:v>
                </c:pt>
                <c:pt idx="630">
                  <c:v>All Others</c:v>
                </c:pt>
                <c:pt idx="631">
                  <c:v>Soignon</c:v>
                </c:pt>
                <c:pt idx="632">
                  <c:v>Private Lab</c:v>
                </c:pt>
                <c:pt idx="633">
                  <c:v>Violife</c:v>
                </c:pt>
                <c:pt idx="634">
                  <c:v>All Others</c:v>
                </c:pt>
                <c:pt idx="635">
                  <c:v>Kiri</c:v>
                </c:pt>
                <c:pt idx="636">
                  <c:v>All Others</c:v>
                </c:pt>
                <c:pt idx="637">
                  <c:v>All Others</c:v>
                </c:pt>
                <c:pt idx="638">
                  <c:v>All Others</c:v>
                </c:pt>
                <c:pt idx="639">
                  <c:v>All Others</c:v>
                </c:pt>
                <c:pt idx="640">
                  <c:v>All Others</c:v>
                </c:pt>
                <c:pt idx="641">
                  <c:v>All Others</c:v>
                </c:pt>
                <c:pt idx="642">
                  <c:v>All Others</c:v>
                </c:pt>
                <c:pt idx="643">
                  <c:v>All Others</c:v>
                </c:pt>
                <c:pt idx="644">
                  <c:v>St Moret</c:v>
                </c:pt>
                <c:pt idx="645">
                  <c:v>Lactalis: A</c:v>
                </c:pt>
                <c:pt idx="646">
                  <c:v>Boursin</c:v>
                </c:pt>
                <c:pt idx="647">
                  <c:v>All Others</c:v>
                </c:pt>
                <c:pt idx="648">
                  <c:v>Fauquet</c:v>
                </c:pt>
                <c:pt idx="649">
                  <c:v>All Others</c:v>
                </c:pt>
                <c:pt idx="650">
                  <c:v>Chavroux</c:v>
                </c:pt>
                <c:pt idx="651">
                  <c:v>P'Tit Louis</c:v>
                </c:pt>
                <c:pt idx="652">
                  <c:v>All Others</c:v>
                </c:pt>
                <c:pt idx="653">
                  <c:v>Apericube</c:v>
                </c:pt>
                <c:pt idx="654">
                  <c:v>All Others</c:v>
                </c:pt>
                <c:pt idx="655">
                  <c:v>All Others</c:v>
                </c:pt>
                <c:pt idx="656">
                  <c:v>All Others</c:v>
                </c:pt>
                <c:pt idx="657">
                  <c:v>Societe</c:v>
                </c:pt>
                <c:pt idx="658">
                  <c:v>Salakis</c:v>
                </c:pt>
                <c:pt idx="659">
                  <c:v>Lactalis: A</c:v>
                </c:pt>
                <c:pt idx="660">
                  <c:v>Entremont</c:v>
                </c:pt>
                <c:pt idx="661">
                  <c:v>Nurishh</c:v>
                </c:pt>
                <c:pt idx="662">
                  <c:v>Richesmonts</c:v>
                </c:pt>
                <c:pt idx="663">
                  <c:v>All Others</c:v>
                </c:pt>
                <c:pt idx="664">
                  <c:v>Apericube</c:v>
                </c:pt>
                <c:pt idx="665">
                  <c:v>All Others</c:v>
                </c:pt>
                <c:pt idx="666">
                  <c:v>All Others</c:v>
                </c:pt>
                <c:pt idx="667">
                  <c:v>All Others</c:v>
                </c:pt>
                <c:pt idx="668">
                  <c:v>All Others</c:v>
                </c:pt>
                <c:pt idx="669">
                  <c:v>Nurishh</c:v>
                </c:pt>
                <c:pt idx="670">
                  <c:v>All Others</c:v>
                </c:pt>
                <c:pt idx="671">
                  <c:v>Violife</c:v>
                </c:pt>
                <c:pt idx="672">
                  <c:v>Bresse Bleu</c:v>
                </c:pt>
                <c:pt idx="673">
                  <c:v>Salakis</c:v>
                </c:pt>
                <c:pt idx="674">
                  <c:v>All Others</c:v>
                </c:pt>
                <c:pt idx="675">
                  <c:v>Caprice Des</c:v>
                </c:pt>
                <c:pt idx="676">
                  <c:v>All Others</c:v>
                </c:pt>
                <c:pt idx="677">
                  <c:v>All Others</c:v>
                </c:pt>
                <c:pt idx="678">
                  <c:v>Pave D'Affi</c:v>
                </c:pt>
                <c:pt idx="679">
                  <c:v>Soignon</c:v>
                </c:pt>
                <c:pt idx="680">
                  <c:v>President</c:v>
                </c:pt>
                <c:pt idx="681">
                  <c:v>Boursin</c:v>
                </c:pt>
                <c:pt idx="682">
                  <c:v>Triballat N</c:v>
                </c:pt>
                <c:pt idx="683">
                  <c:v>All Others</c:v>
                </c:pt>
                <c:pt idx="684">
                  <c:v>All Others</c:v>
                </c:pt>
                <c:pt idx="685">
                  <c:v>Etoile Du V</c:v>
                </c:pt>
                <c:pt idx="686">
                  <c:v>All Others</c:v>
                </c:pt>
                <c:pt idx="687">
                  <c:v>Savencia: A</c:v>
                </c:pt>
                <c:pt idx="688">
                  <c:v>Etoile Du V</c:v>
                </c:pt>
                <c:pt idx="689">
                  <c:v>All Others</c:v>
                </c:pt>
                <c:pt idx="690">
                  <c:v>Milleret: A</c:v>
                </c:pt>
                <c:pt idx="691">
                  <c:v>All Others</c:v>
                </c:pt>
                <c:pt idx="692">
                  <c:v>Mini Babybe</c:v>
                </c:pt>
                <c:pt idx="693">
                  <c:v>All Others</c:v>
                </c:pt>
                <c:pt idx="694">
                  <c:v>Paysan Bret</c:v>
                </c:pt>
                <c:pt idx="695">
                  <c:v>Richesmonts</c:v>
                </c:pt>
                <c:pt idx="696">
                  <c:v>Lactalis: A</c:v>
                </c:pt>
                <c:pt idx="697">
                  <c:v>Lactalis: A</c:v>
                </c:pt>
                <c:pt idx="698">
                  <c:v>All Others</c:v>
                </c:pt>
                <c:pt idx="699">
                  <c:v>All Others</c:v>
                </c:pt>
                <c:pt idx="700">
                  <c:v>Societe</c:v>
                </c:pt>
                <c:pt idx="701">
                  <c:v>All Others</c:v>
                </c:pt>
                <c:pt idx="702">
                  <c:v>President</c:v>
                </c:pt>
                <c:pt idx="703">
                  <c:v>Istara</c:v>
                </c:pt>
                <c:pt idx="704">
                  <c:v>Etoile Du V</c:v>
                </c:pt>
                <c:pt idx="705">
                  <c:v>All Others</c:v>
                </c:pt>
                <c:pt idx="706">
                  <c:v>All Others</c:v>
                </c:pt>
                <c:pt idx="707">
                  <c:v>All Others</c:v>
                </c:pt>
                <c:pt idx="708">
                  <c:v>Private Lab</c:v>
                </c:pt>
                <c:pt idx="709">
                  <c:v>Etoile Du V</c:v>
                </c:pt>
                <c:pt idx="710">
                  <c:v>All Others</c:v>
                </c:pt>
                <c:pt idx="711">
                  <c:v>Fol Epi</c:v>
                </c:pt>
                <c:pt idx="712">
                  <c:v>All Others</c:v>
                </c:pt>
                <c:pt idx="713">
                  <c:v>Milleret: A</c:v>
                </c:pt>
                <c:pt idx="714">
                  <c:v>All Others</c:v>
                </c:pt>
                <c:pt idx="715">
                  <c:v>All Others</c:v>
                </c:pt>
                <c:pt idx="716">
                  <c:v>Etoile Du V</c:v>
                </c:pt>
                <c:pt idx="717">
                  <c:v>Chaussee Au</c:v>
                </c:pt>
                <c:pt idx="718">
                  <c:v>Paysan Bret</c:v>
                </c:pt>
                <c:pt idx="719">
                  <c:v>All Others</c:v>
                </c:pt>
                <c:pt idx="720">
                  <c:v>Entremont</c:v>
                </c:pt>
                <c:pt idx="721">
                  <c:v>All Others</c:v>
                </c:pt>
                <c:pt idx="722">
                  <c:v>All Others</c:v>
                </c:pt>
                <c:pt idx="723">
                  <c:v>All Others</c:v>
                </c:pt>
                <c:pt idx="724">
                  <c:v>La Belle Et</c:v>
                </c:pt>
                <c:pt idx="725">
                  <c:v>Nurishh</c:v>
                </c:pt>
                <c:pt idx="726">
                  <c:v>All Others</c:v>
                </c:pt>
                <c:pt idx="727">
                  <c:v>Savencia: A</c:v>
                </c:pt>
                <c:pt idx="728">
                  <c:v>All Others</c:v>
                </c:pt>
                <c:pt idx="729">
                  <c:v>Nurishh</c:v>
                </c:pt>
                <c:pt idx="730">
                  <c:v>Milleret</c:v>
                </c:pt>
                <c:pt idx="731">
                  <c:v>All Others</c:v>
                </c:pt>
                <c:pt idx="732">
                  <c:v>All Others</c:v>
                </c:pt>
                <c:pt idx="733">
                  <c:v>All Others</c:v>
                </c:pt>
                <c:pt idx="734">
                  <c:v>Saint Agur</c:v>
                </c:pt>
                <c:pt idx="735">
                  <c:v>All Others</c:v>
                </c:pt>
                <c:pt idx="736">
                  <c:v>Lactalis: A</c:v>
                </c:pt>
                <c:pt idx="737">
                  <c:v>All Others</c:v>
                </c:pt>
                <c:pt idx="738">
                  <c:v>All Others</c:v>
                </c:pt>
                <c:pt idx="739">
                  <c:v>All Others</c:v>
                </c:pt>
                <c:pt idx="740">
                  <c:v>All Others</c:v>
                </c:pt>
                <c:pt idx="741">
                  <c:v>All Others</c:v>
                </c:pt>
                <c:pt idx="742">
                  <c:v>All Others</c:v>
                </c:pt>
                <c:pt idx="743">
                  <c:v>Milleret: A</c:v>
                </c:pt>
                <c:pt idx="744">
                  <c:v>Violife</c:v>
                </c:pt>
                <c:pt idx="745">
                  <c:v>All Others</c:v>
                </c:pt>
                <c:pt idx="746">
                  <c:v>Entremont</c:v>
                </c:pt>
                <c:pt idx="747">
                  <c:v>All Others</c:v>
                </c:pt>
                <c:pt idx="748">
                  <c:v>All Others</c:v>
                </c:pt>
                <c:pt idx="749">
                  <c:v>All Others</c:v>
                </c:pt>
                <c:pt idx="750">
                  <c:v>Lactalis: A</c:v>
                </c:pt>
                <c:pt idx="751">
                  <c:v>All Others</c:v>
                </c:pt>
                <c:pt idx="752">
                  <c:v>All Others</c:v>
                </c:pt>
                <c:pt idx="753">
                  <c:v>Paysan Bret</c:v>
                </c:pt>
                <c:pt idx="754">
                  <c:v>Tartare</c:v>
                </c:pt>
                <c:pt idx="755">
                  <c:v>All Others</c:v>
                </c:pt>
                <c:pt idx="756">
                  <c:v>All Others</c:v>
                </c:pt>
                <c:pt idx="757">
                  <c:v>Lactalis: A</c:v>
                </c:pt>
                <c:pt idx="758">
                  <c:v>Le Brebiou</c:v>
                </c:pt>
                <c:pt idx="759">
                  <c:v>Private Lab</c:v>
                </c:pt>
                <c:pt idx="760">
                  <c:v>All Others</c:v>
                </c:pt>
                <c:pt idx="761">
                  <c:v>Etoile Du V</c:v>
                </c:pt>
                <c:pt idx="762">
                  <c:v>All Others</c:v>
                </c:pt>
                <c:pt idx="763">
                  <c:v>Lactalis: A</c:v>
                </c:pt>
                <c:pt idx="764">
                  <c:v>Savencia: A</c:v>
                </c:pt>
                <c:pt idx="765">
                  <c:v>All Others</c:v>
                </c:pt>
                <c:pt idx="766">
                  <c:v>Savencia: A</c:v>
                </c:pt>
                <c:pt idx="767">
                  <c:v>All Others</c:v>
                </c:pt>
                <c:pt idx="768">
                  <c:v>All Others</c:v>
                </c:pt>
                <c:pt idx="769">
                  <c:v>Entremont</c:v>
                </c:pt>
                <c:pt idx="770">
                  <c:v>All Others</c:v>
                </c:pt>
                <c:pt idx="771">
                  <c:v>Aperivrais</c:v>
                </c:pt>
                <c:pt idx="772">
                  <c:v>La Belle Et</c:v>
                </c:pt>
                <c:pt idx="773">
                  <c:v>All Others</c:v>
                </c:pt>
                <c:pt idx="774">
                  <c:v>All Others</c:v>
                </c:pt>
                <c:pt idx="775">
                  <c:v>All Others</c:v>
                </c:pt>
                <c:pt idx="776">
                  <c:v>All Others</c:v>
                </c:pt>
                <c:pt idx="777">
                  <c:v>All Others</c:v>
                </c:pt>
                <c:pt idx="778">
                  <c:v>All Others</c:v>
                </c:pt>
                <c:pt idx="779">
                  <c:v>All Others</c:v>
                </c:pt>
                <c:pt idx="780">
                  <c:v>All Others</c:v>
                </c:pt>
                <c:pt idx="781">
                  <c:v>All Others</c:v>
                </c:pt>
                <c:pt idx="782">
                  <c:v>Entremont</c:v>
                </c:pt>
                <c:pt idx="783">
                  <c:v>All Others</c:v>
                </c:pt>
                <c:pt idx="784">
                  <c:v>All Others</c:v>
                </c:pt>
                <c:pt idx="785">
                  <c:v>Richesmonts</c:v>
                </c:pt>
                <c:pt idx="786">
                  <c:v>All Others</c:v>
                </c:pt>
                <c:pt idx="787">
                  <c:v>All Others</c:v>
                </c:pt>
                <c:pt idx="788">
                  <c:v>La Belle Et</c:v>
                </c:pt>
                <c:pt idx="789">
                  <c:v>All Others</c:v>
                </c:pt>
                <c:pt idx="790">
                  <c:v>All Others</c:v>
                </c:pt>
                <c:pt idx="791">
                  <c:v>All Others</c:v>
                </c:pt>
                <c:pt idx="792">
                  <c:v>Saint Albra</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All Others</c:v>
                </c:pt>
                <c:pt idx="810">
                  <c:v>Fol Epi</c:v>
                </c:pt>
                <c:pt idx="811">
                  <c:v>All Others</c:v>
                </c:pt>
                <c:pt idx="812">
                  <c:v>All Others</c:v>
                </c:pt>
                <c:pt idx="813">
                  <c:v>All Others</c:v>
                </c:pt>
                <c:pt idx="814">
                  <c:v>Lactalis: A</c:v>
                </c:pt>
                <c:pt idx="815">
                  <c:v>Dodin</c:v>
                </c:pt>
                <c:pt idx="816">
                  <c:v>All Others</c:v>
                </c:pt>
                <c:pt idx="817">
                  <c:v>La Belle Et</c:v>
                </c:pt>
                <c:pt idx="818">
                  <c:v>La Belle Et</c:v>
                </c:pt>
                <c:pt idx="819">
                  <c:v>Entremont</c:v>
                </c:pt>
                <c:pt idx="820">
                  <c:v>All Others</c:v>
                </c:pt>
                <c:pt idx="821">
                  <c:v>Etorki</c:v>
                </c:pt>
                <c:pt idx="822">
                  <c:v>All Others</c:v>
                </c:pt>
                <c:pt idx="823">
                  <c:v>All Others</c:v>
                </c:pt>
                <c:pt idx="824">
                  <c:v>All Others</c:v>
                </c:pt>
                <c:pt idx="825">
                  <c:v>Entremont</c:v>
                </c:pt>
                <c:pt idx="826">
                  <c:v>All Others</c:v>
                </c:pt>
                <c:pt idx="827">
                  <c:v>Soignon</c:v>
                </c:pt>
                <c:pt idx="828">
                  <c:v>All Others</c:v>
                </c:pt>
                <c:pt idx="829">
                  <c:v>All Others</c:v>
                </c:pt>
                <c:pt idx="830">
                  <c:v>All Others</c:v>
                </c:pt>
                <c:pt idx="831">
                  <c:v>All Others</c:v>
                </c:pt>
                <c:pt idx="832">
                  <c:v>Lactalis: A</c:v>
                </c:pt>
                <c:pt idx="833">
                  <c:v>All Others</c:v>
                </c:pt>
                <c:pt idx="834">
                  <c:v>All Others</c:v>
                </c:pt>
                <c:pt idx="835">
                  <c:v>Paysan Bret</c:v>
                </c:pt>
                <c:pt idx="836">
                  <c:v>All Others</c:v>
                </c:pt>
                <c:pt idx="837">
                  <c:v>La Belle Et</c:v>
                </c:pt>
                <c:pt idx="838">
                  <c:v>Tartare</c:v>
                </c:pt>
                <c:pt idx="839">
                  <c:v>All Others</c:v>
                </c:pt>
                <c:pt idx="840">
                  <c:v>All Others</c:v>
                </c:pt>
                <c:pt idx="841">
                  <c:v>Eurial Autr</c:v>
                </c:pt>
                <c:pt idx="842">
                  <c:v>All Others</c:v>
                </c:pt>
                <c:pt idx="843">
                  <c:v>All Others</c:v>
                </c:pt>
                <c:pt idx="844">
                  <c:v>All Others</c:v>
                </c:pt>
                <c:pt idx="845">
                  <c:v>Chavroux</c:v>
                </c:pt>
                <c:pt idx="846">
                  <c:v>All Others</c:v>
                </c:pt>
                <c:pt idx="847">
                  <c:v>All Others</c:v>
                </c:pt>
                <c:pt idx="848">
                  <c:v>All Others</c:v>
                </c:pt>
                <c:pt idx="849">
                  <c:v>Apericube</c:v>
                </c:pt>
                <c:pt idx="850">
                  <c:v>Aperivrais</c:v>
                </c:pt>
                <c:pt idx="851">
                  <c:v>All Others</c:v>
                </c:pt>
                <c:pt idx="852">
                  <c:v>Lactalis: A</c:v>
                </c:pt>
                <c:pt idx="853">
                  <c:v>All Others</c:v>
                </c:pt>
                <c:pt idx="854">
                  <c:v>Paysan Bret</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Private Lab</c:v>
                </c:pt>
                <c:pt idx="867">
                  <c:v>All Others</c:v>
                </c:pt>
                <c:pt idx="868">
                  <c:v>Rians</c:v>
                </c:pt>
                <c:pt idx="869">
                  <c:v>Entremont</c:v>
                </c:pt>
                <c:pt idx="870">
                  <c:v>All Others</c:v>
                </c:pt>
                <c:pt idx="871">
                  <c:v>All Others</c:v>
                </c:pt>
                <c:pt idx="872">
                  <c:v>All Others</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All Others</c:v>
                </c:pt>
                <c:pt idx="889">
                  <c:v>All Others</c:v>
                </c:pt>
                <c:pt idx="890">
                  <c:v>All Others</c:v>
                </c:pt>
                <c:pt idx="891">
                  <c:v>All Others</c:v>
                </c:pt>
                <c:pt idx="892">
                  <c:v>All Others</c:v>
                </c:pt>
                <c:pt idx="893">
                  <c:v>All Others</c:v>
                </c:pt>
                <c:pt idx="894">
                  <c:v>All Others</c:v>
                </c:pt>
                <c:pt idx="895">
                  <c:v>All Others</c:v>
                </c:pt>
                <c:pt idx="896">
                  <c:v>Other Suppl</c:v>
                </c:pt>
                <c:pt idx="897">
                  <c:v>All Others</c:v>
                </c:pt>
                <c:pt idx="898">
                  <c:v>All Others</c:v>
                </c:pt>
                <c:pt idx="899">
                  <c:v>All Others</c:v>
                </c:pt>
                <c:pt idx="900">
                  <c:v>All Others</c:v>
                </c:pt>
                <c:pt idx="901">
                  <c:v>Private Lab</c:v>
                </c:pt>
                <c:pt idx="902">
                  <c:v>All Others</c:v>
                </c:pt>
                <c:pt idx="903">
                  <c:v>All Others</c:v>
                </c:pt>
                <c:pt idx="904">
                  <c:v>All Others</c:v>
                </c:pt>
                <c:pt idx="905">
                  <c:v>La Belle Et</c:v>
                </c:pt>
                <c:pt idx="906">
                  <c:v>All Others</c:v>
                </c:pt>
                <c:pt idx="907">
                  <c:v>All Others</c:v>
                </c:pt>
                <c:pt idx="908">
                  <c:v>Entremont</c:v>
                </c:pt>
                <c:pt idx="909">
                  <c:v>Paysan Bret</c:v>
                </c:pt>
                <c:pt idx="910">
                  <c:v>All Others</c:v>
                </c:pt>
                <c:pt idx="911">
                  <c:v>Petit Billy</c:v>
                </c:pt>
                <c:pt idx="912">
                  <c:v>All Others</c:v>
                </c:pt>
                <c:pt idx="913">
                  <c:v>All Others</c:v>
                </c:pt>
                <c:pt idx="914">
                  <c:v>All Others</c:v>
                </c:pt>
                <c:pt idx="915">
                  <c:v>All Others</c:v>
                </c:pt>
                <c:pt idx="916">
                  <c:v>La Belle Et</c:v>
                </c:pt>
                <c:pt idx="917">
                  <c:v>All Others</c:v>
                </c:pt>
                <c:pt idx="918">
                  <c:v>All Others</c:v>
                </c:pt>
                <c:pt idx="919">
                  <c:v>Private Lab</c:v>
                </c:pt>
                <c:pt idx="920">
                  <c:v>All Others</c:v>
                </c:pt>
                <c:pt idx="921">
                  <c:v>All Others</c:v>
                </c:pt>
                <c:pt idx="922">
                  <c:v>All Others</c:v>
                </c:pt>
                <c:pt idx="923">
                  <c:v>All Others</c:v>
                </c:pt>
                <c:pt idx="924">
                  <c:v>Private Lab</c:v>
                </c:pt>
                <c:pt idx="925">
                  <c:v>All Others</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All Others</c:v>
                </c:pt>
                <c:pt idx="936">
                  <c:v>All Others</c:v>
                </c:pt>
                <c:pt idx="937">
                  <c:v>Private Lab</c:v>
                </c:pt>
                <c:pt idx="938">
                  <c:v>All Others</c:v>
                </c:pt>
                <c:pt idx="939">
                  <c:v>All Others</c:v>
                </c:pt>
                <c:pt idx="940">
                  <c:v>Private Lab</c:v>
                </c:pt>
                <c:pt idx="941">
                  <c:v>All Others</c:v>
                </c:pt>
                <c:pt idx="942">
                  <c:v>All Others</c:v>
                </c:pt>
                <c:pt idx="943">
                  <c:v>All Others</c:v>
                </c:pt>
                <c:pt idx="944">
                  <c:v>La Belle Et</c:v>
                </c:pt>
                <c:pt idx="945">
                  <c:v>All Others</c:v>
                </c:pt>
                <c:pt idx="946">
                  <c:v>All Others</c:v>
                </c:pt>
                <c:pt idx="947">
                  <c:v>All Others</c:v>
                </c:pt>
                <c:pt idx="948">
                  <c:v>All Others</c:v>
                </c:pt>
                <c:pt idx="949">
                  <c:v>Violife</c:v>
                </c:pt>
                <c:pt idx="950">
                  <c:v>All Others</c:v>
                </c:pt>
                <c:pt idx="951">
                  <c:v>All Others</c:v>
                </c:pt>
                <c:pt idx="952">
                  <c:v>All Others</c:v>
                </c:pt>
                <c:pt idx="953">
                  <c:v>Etoile Du V</c:v>
                </c:pt>
                <c:pt idx="954">
                  <c:v>All Others</c:v>
                </c:pt>
                <c:pt idx="955">
                  <c:v>Private Lab</c:v>
                </c:pt>
                <c:pt idx="956">
                  <c:v>All Others</c:v>
                </c:pt>
                <c:pt idx="957">
                  <c:v>All Others</c:v>
                </c:pt>
                <c:pt idx="958">
                  <c:v>Baillon</c:v>
                </c:pt>
                <c:pt idx="959">
                  <c:v>La Belle Et</c:v>
                </c:pt>
                <c:pt idx="960">
                  <c:v>Netto</c:v>
                </c:pt>
                <c:pt idx="961">
                  <c:v>Private Lab</c:v>
                </c:pt>
                <c:pt idx="962">
                  <c:v>All Others</c:v>
                </c:pt>
                <c:pt idx="963">
                  <c:v>Private Lab</c:v>
                </c:pt>
                <c:pt idx="964">
                  <c:v>Milleret: A</c:v>
                </c:pt>
                <c:pt idx="965">
                  <c:v>All Others</c:v>
                </c:pt>
                <c:pt idx="966">
                  <c:v>President</c:v>
                </c:pt>
                <c:pt idx="967">
                  <c:v>All Others</c:v>
                </c:pt>
                <c:pt idx="968">
                  <c:v>All Others</c:v>
                </c:pt>
                <c:pt idx="969">
                  <c:v>Private Lab</c:v>
                </c:pt>
                <c:pt idx="970">
                  <c:v>All Others</c:v>
                </c:pt>
                <c:pt idx="971">
                  <c:v>Casa Azzurr</c:v>
                </c:pt>
                <c:pt idx="972">
                  <c:v>Private Lab</c:v>
                </c:pt>
                <c:pt idx="973">
                  <c:v>All Others</c:v>
                </c:pt>
                <c:pt idx="974">
                  <c:v>Private Lab</c:v>
                </c:pt>
                <c:pt idx="975">
                  <c:v>Richesmonts</c:v>
                </c:pt>
                <c:pt idx="976">
                  <c:v>Paysan Bret</c:v>
                </c:pt>
                <c:pt idx="977">
                  <c:v>All Others</c:v>
                </c:pt>
                <c:pt idx="978">
                  <c:v>Entremont</c:v>
                </c:pt>
                <c:pt idx="979">
                  <c:v>Entremont</c:v>
                </c:pt>
                <c:pt idx="980">
                  <c:v>All Others</c:v>
                </c:pt>
                <c:pt idx="981">
                  <c:v>Mini Babybe</c:v>
                </c:pt>
                <c:pt idx="982">
                  <c:v>Boursin</c:v>
                </c:pt>
                <c:pt idx="983">
                  <c:v>All Others</c:v>
                </c:pt>
                <c:pt idx="984">
                  <c:v>All Others</c:v>
                </c:pt>
                <c:pt idx="985">
                  <c:v>All Others</c:v>
                </c:pt>
                <c:pt idx="986">
                  <c:v>All Others</c:v>
                </c:pt>
                <c:pt idx="987">
                  <c:v>La Belle Et</c:v>
                </c:pt>
                <c:pt idx="988">
                  <c:v>Kiri</c:v>
                </c:pt>
                <c:pt idx="989">
                  <c:v>All Others</c:v>
                </c:pt>
                <c:pt idx="990">
                  <c:v>Private Lab</c:v>
                </c:pt>
                <c:pt idx="991">
                  <c:v>All Others</c:v>
                </c:pt>
                <c:pt idx="992">
                  <c:v>All Others</c:v>
                </c:pt>
                <c:pt idx="993">
                  <c:v>All Others</c:v>
                </c:pt>
                <c:pt idx="994">
                  <c:v>All Others</c:v>
                </c:pt>
                <c:pt idx="995">
                  <c:v>Raguin</c:v>
                </c:pt>
                <c:pt idx="996">
                  <c:v>Entremont</c:v>
                </c:pt>
                <c:pt idx="997">
                  <c:v>Savencia: A</c:v>
                </c:pt>
                <c:pt idx="998">
                  <c:v>All Others</c:v>
                </c:pt>
                <c:pt idx="999">
                  <c:v>Apericube</c:v>
                </c:pt>
                <c:pt idx="1000">
                  <c:v>All Others</c:v>
                </c:pt>
                <c:pt idx="1001">
                  <c:v>Private Lab</c:v>
                </c:pt>
                <c:pt idx="1002">
                  <c:v>All Others</c:v>
                </c:pt>
                <c:pt idx="1003">
                  <c:v>All Others</c:v>
                </c:pt>
                <c:pt idx="1004">
                  <c:v>All Others</c:v>
                </c:pt>
                <c:pt idx="1005">
                  <c:v>All Others</c:v>
                </c:pt>
                <c:pt idx="1006">
                  <c:v>All Others</c:v>
                </c:pt>
                <c:pt idx="1007">
                  <c:v>Private Lab</c:v>
                </c:pt>
                <c:pt idx="1008">
                  <c:v>All Others</c:v>
                </c:pt>
                <c:pt idx="1009">
                  <c:v>Mini Babybe</c:v>
                </c:pt>
                <c:pt idx="1010">
                  <c:v>All Others</c:v>
                </c:pt>
                <c:pt idx="1011">
                  <c:v>All Others</c:v>
                </c:pt>
                <c:pt idx="1012">
                  <c:v>La Belle Et</c:v>
                </c:pt>
                <c:pt idx="1013">
                  <c:v>Corsica</c:v>
                </c:pt>
                <c:pt idx="1014">
                  <c:v>Private Lab</c:v>
                </c:pt>
                <c:pt idx="1015">
                  <c:v>All Others</c:v>
                </c:pt>
                <c:pt idx="1016">
                  <c:v>Entremont</c:v>
                </c:pt>
                <c:pt idx="1017">
                  <c:v>Entremont</c:v>
                </c:pt>
                <c:pt idx="1018">
                  <c:v>Netto</c:v>
                </c:pt>
                <c:pt idx="1019">
                  <c:v>Pochat</c:v>
                </c:pt>
                <c:pt idx="1020">
                  <c:v>Entremont</c:v>
                </c:pt>
                <c:pt idx="1021">
                  <c:v>All Others</c:v>
                </c:pt>
                <c:pt idx="1022">
                  <c:v>All Others</c:v>
                </c:pt>
                <c:pt idx="1023">
                  <c:v>Boursin</c:v>
                </c:pt>
                <c:pt idx="1024">
                  <c:v>Richesmonts</c:v>
                </c:pt>
                <c:pt idx="1025">
                  <c:v>President</c:v>
                </c:pt>
                <c:pt idx="1026">
                  <c:v>Entremont</c:v>
                </c:pt>
                <c:pt idx="1027">
                  <c:v>All Others</c:v>
                </c:pt>
                <c:pt idx="1028">
                  <c:v>Private Lab</c:v>
                </c:pt>
                <c:pt idx="1029">
                  <c:v>Richesmonts</c:v>
                </c:pt>
              </c:strCache>
            </c:strRef>
          </c:cat>
          <c:val>
            <c:numRef>
              <c:f>Sheet1!$B$2:$B$1031</c:f>
              <c:numCache>
                <c:formatCode>General</c:formatCode>
                <c:ptCount val="1030"/>
                <c:pt idx="0">
                  <c:v>0.99</c:v>
                </c:pt>
                <c:pt idx="1">
                  <c:v>0.99</c:v>
                </c:pt>
                <c:pt idx="2">
                  <c:v>0.99</c:v>
                </c:pt>
                <c:pt idx="3">
                  <c:v>0.99</c:v>
                </c:pt>
                <c:pt idx="4">
                  <c:v>0.94</c:v>
                </c:pt>
                <c:pt idx="5">
                  <c:v>0.99</c:v>
                </c:pt>
                <c:pt idx="6">
                  <c:v>0.98</c:v>
                </c:pt>
                <c:pt idx="7">
                  <c:v>0.94</c:v>
                </c:pt>
                <c:pt idx="8">
                  <c:v>1</c:v>
                </c:pt>
                <c:pt idx="9">
                  <c:v>1</c:v>
                </c:pt>
                <c:pt idx="10">
                  <c:v>0.99</c:v>
                </c:pt>
                <c:pt idx="11">
                  <c:v>0.91</c:v>
                </c:pt>
                <c:pt idx="12">
                  <c:v>0.95</c:v>
                </c:pt>
                <c:pt idx="13">
                  <c:v>0.96</c:v>
                </c:pt>
                <c:pt idx="14">
                  <c:v>0.98</c:v>
                </c:pt>
                <c:pt idx="15">
                  <c:v>0.69</c:v>
                </c:pt>
                <c:pt idx="16">
                  <c:v>1</c:v>
                </c:pt>
                <c:pt idx="17">
                  <c:v>0.94</c:v>
                </c:pt>
                <c:pt idx="18">
                  <c:v>0.97</c:v>
                </c:pt>
                <c:pt idx="19">
                  <c:v>0.78</c:v>
                </c:pt>
                <c:pt idx="20">
                  <c:v>0.98</c:v>
                </c:pt>
                <c:pt idx="21">
                  <c:v>1</c:v>
                </c:pt>
                <c:pt idx="22">
                  <c:v>0.99</c:v>
                </c:pt>
                <c:pt idx="23">
                  <c:v>0.99</c:v>
                </c:pt>
                <c:pt idx="24">
                  <c:v>0.97</c:v>
                </c:pt>
                <c:pt idx="25">
                  <c:v>0.88</c:v>
                </c:pt>
                <c:pt idx="26">
                  <c:v>0.99</c:v>
                </c:pt>
                <c:pt idx="27">
                  <c:v>0.97</c:v>
                </c:pt>
                <c:pt idx="28">
                  <c:v>0.99</c:v>
                </c:pt>
                <c:pt idx="29">
                  <c:v>0.97</c:v>
                </c:pt>
                <c:pt idx="30">
                  <c:v>0.98</c:v>
                </c:pt>
                <c:pt idx="31">
                  <c:v>0.94</c:v>
                </c:pt>
                <c:pt idx="32">
                  <c:v>0.97</c:v>
                </c:pt>
                <c:pt idx="33">
                  <c:v>0.74</c:v>
                </c:pt>
                <c:pt idx="34">
                  <c:v>0.97</c:v>
                </c:pt>
                <c:pt idx="35">
                  <c:v>0.98</c:v>
                </c:pt>
                <c:pt idx="36">
                  <c:v>0.91</c:v>
                </c:pt>
                <c:pt idx="37">
                  <c:v>0.99</c:v>
                </c:pt>
                <c:pt idx="38">
                  <c:v>0.98</c:v>
                </c:pt>
                <c:pt idx="39">
                  <c:v>0.95</c:v>
                </c:pt>
                <c:pt idx="40">
                  <c:v>0.88</c:v>
                </c:pt>
                <c:pt idx="41">
                  <c:v>0.73</c:v>
                </c:pt>
                <c:pt idx="42">
                  <c:v>0.98</c:v>
                </c:pt>
                <c:pt idx="43">
                  <c:v>0.97</c:v>
                </c:pt>
                <c:pt idx="44">
                  <c:v>0.99</c:v>
                </c:pt>
                <c:pt idx="45">
                  <c:v>0.92</c:v>
                </c:pt>
                <c:pt idx="46">
                  <c:v>0.95</c:v>
                </c:pt>
                <c:pt idx="47">
                  <c:v>0.89</c:v>
                </c:pt>
                <c:pt idx="48">
                  <c:v>0.98</c:v>
                </c:pt>
                <c:pt idx="49">
                  <c:v>0.96</c:v>
                </c:pt>
                <c:pt idx="50">
                  <c:v>0.97</c:v>
                </c:pt>
                <c:pt idx="51">
                  <c:v>0.95</c:v>
                </c:pt>
                <c:pt idx="52">
                  <c:v>0.97</c:v>
                </c:pt>
                <c:pt idx="53">
                  <c:v>0.91</c:v>
                </c:pt>
                <c:pt idx="54">
                  <c:v>0.76</c:v>
                </c:pt>
                <c:pt idx="55">
                  <c:v>0.94</c:v>
                </c:pt>
                <c:pt idx="56">
                  <c:v>0.85</c:v>
                </c:pt>
                <c:pt idx="57">
                  <c:v>0.92</c:v>
                </c:pt>
                <c:pt idx="58">
                  <c:v>0.91</c:v>
                </c:pt>
                <c:pt idx="59">
                  <c:v>0.93</c:v>
                </c:pt>
                <c:pt idx="60">
                  <c:v>0.99</c:v>
                </c:pt>
                <c:pt idx="61">
                  <c:v>0.86</c:v>
                </c:pt>
                <c:pt idx="62">
                  <c:v>0.85</c:v>
                </c:pt>
                <c:pt idx="63">
                  <c:v>0.75</c:v>
                </c:pt>
                <c:pt idx="64">
                  <c:v>0.78</c:v>
                </c:pt>
                <c:pt idx="65">
                  <c:v>1</c:v>
                </c:pt>
                <c:pt idx="66">
                  <c:v>0.97</c:v>
                </c:pt>
                <c:pt idx="67">
                  <c:v>0.99</c:v>
                </c:pt>
                <c:pt idx="68">
                  <c:v>0.86</c:v>
                </c:pt>
                <c:pt idx="69">
                  <c:v>0.63</c:v>
                </c:pt>
                <c:pt idx="70">
                  <c:v>0.7</c:v>
                </c:pt>
                <c:pt idx="71">
                  <c:v>0.98</c:v>
                </c:pt>
                <c:pt idx="72">
                  <c:v>0.94</c:v>
                </c:pt>
                <c:pt idx="73">
                  <c:v>0.84</c:v>
                </c:pt>
                <c:pt idx="74">
                  <c:v>0.93</c:v>
                </c:pt>
                <c:pt idx="75">
                  <c:v>0.79</c:v>
                </c:pt>
                <c:pt idx="76">
                  <c:v>0.97</c:v>
                </c:pt>
                <c:pt idx="77">
                  <c:v>0.63</c:v>
                </c:pt>
                <c:pt idx="78">
                  <c:v>0.94</c:v>
                </c:pt>
                <c:pt idx="79">
                  <c:v>0.61</c:v>
                </c:pt>
                <c:pt idx="80">
                  <c:v>0.76</c:v>
                </c:pt>
                <c:pt idx="81">
                  <c:v>0.87</c:v>
                </c:pt>
                <c:pt idx="82">
                  <c:v>0.95</c:v>
                </c:pt>
                <c:pt idx="83">
                  <c:v>0.99</c:v>
                </c:pt>
                <c:pt idx="84">
                  <c:v>0.98</c:v>
                </c:pt>
                <c:pt idx="85">
                  <c:v>0.97</c:v>
                </c:pt>
                <c:pt idx="86">
                  <c:v>0.97</c:v>
                </c:pt>
                <c:pt idx="87">
                  <c:v>0.31</c:v>
                </c:pt>
                <c:pt idx="88">
                  <c:v>0.96</c:v>
                </c:pt>
                <c:pt idx="89">
                  <c:v>0.86</c:v>
                </c:pt>
                <c:pt idx="90">
                  <c:v>0.85</c:v>
                </c:pt>
                <c:pt idx="91">
                  <c:v>0.65</c:v>
                </c:pt>
                <c:pt idx="92">
                  <c:v>0.97</c:v>
                </c:pt>
                <c:pt idx="93">
                  <c:v>0.88</c:v>
                </c:pt>
                <c:pt idx="94">
                  <c:v>0.96</c:v>
                </c:pt>
                <c:pt idx="95">
                  <c:v>0.98</c:v>
                </c:pt>
                <c:pt idx="96">
                  <c:v>0.89</c:v>
                </c:pt>
                <c:pt idx="97">
                  <c:v>0.64</c:v>
                </c:pt>
                <c:pt idx="98">
                  <c:v>0.95</c:v>
                </c:pt>
                <c:pt idx="99">
                  <c:v>0.72</c:v>
                </c:pt>
                <c:pt idx="100">
                  <c:v>0.96</c:v>
                </c:pt>
                <c:pt idx="101">
                  <c:v>0.94</c:v>
                </c:pt>
                <c:pt idx="102">
                  <c:v>0.85</c:v>
                </c:pt>
                <c:pt idx="103">
                  <c:v>0.75</c:v>
                </c:pt>
                <c:pt idx="104">
                  <c:v>0.73</c:v>
                </c:pt>
                <c:pt idx="105">
                  <c:v>0.97</c:v>
                </c:pt>
                <c:pt idx="106">
                  <c:v>0.74</c:v>
                </c:pt>
                <c:pt idx="107">
                  <c:v>0.91</c:v>
                </c:pt>
                <c:pt idx="108">
                  <c:v>0.87</c:v>
                </c:pt>
                <c:pt idx="109">
                  <c:v>0.91</c:v>
                </c:pt>
                <c:pt idx="110">
                  <c:v>0.68</c:v>
                </c:pt>
                <c:pt idx="111">
                  <c:v>0.82</c:v>
                </c:pt>
                <c:pt idx="112">
                  <c:v>0.67</c:v>
                </c:pt>
                <c:pt idx="113">
                  <c:v>0.95</c:v>
                </c:pt>
                <c:pt idx="114">
                  <c:v>0.87</c:v>
                </c:pt>
                <c:pt idx="115">
                  <c:v>0.94</c:v>
                </c:pt>
                <c:pt idx="116">
                  <c:v>0.64</c:v>
                </c:pt>
                <c:pt idx="117">
                  <c:v>0.83</c:v>
                </c:pt>
                <c:pt idx="118">
                  <c:v>0.97</c:v>
                </c:pt>
                <c:pt idx="119">
                  <c:v>0.86</c:v>
                </c:pt>
                <c:pt idx="120">
                  <c:v>0.94</c:v>
                </c:pt>
                <c:pt idx="121">
                  <c:v>0.7</c:v>
                </c:pt>
                <c:pt idx="122">
                  <c:v>0.72</c:v>
                </c:pt>
                <c:pt idx="123">
                  <c:v>0.47</c:v>
                </c:pt>
                <c:pt idx="124">
                  <c:v>0.85</c:v>
                </c:pt>
                <c:pt idx="125">
                  <c:v>0.92</c:v>
                </c:pt>
                <c:pt idx="126">
                  <c:v>0.75</c:v>
                </c:pt>
                <c:pt idx="127">
                  <c:v>0.86</c:v>
                </c:pt>
                <c:pt idx="128">
                  <c:v>0.75</c:v>
                </c:pt>
                <c:pt idx="129">
                  <c:v>0.64</c:v>
                </c:pt>
                <c:pt idx="130">
                  <c:v>0.75</c:v>
                </c:pt>
                <c:pt idx="131">
                  <c:v>0.89</c:v>
                </c:pt>
                <c:pt idx="132">
                  <c:v>0.88</c:v>
                </c:pt>
                <c:pt idx="133">
                  <c:v>0.98</c:v>
                </c:pt>
                <c:pt idx="134">
                  <c:v>0.82</c:v>
                </c:pt>
                <c:pt idx="135">
                  <c:v>0.9</c:v>
                </c:pt>
                <c:pt idx="136">
                  <c:v>0.73</c:v>
                </c:pt>
                <c:pt idx="137">
                  <c:v>0.92</c:v>
                </c:pt>
                <c:pt idx="138">
                  <c:v>0.91</c:v>
                </c:pt>
                <c:pt idx="139">
                  <c:v>0.82</c:v>
                </c:pt>
                <c:pt idx="140">
                  <c:v>0.41</c:v>
                </c:pt>
                <c:pt idx="141">
                  <c:v>0.96</c:v>
                </c:pt>
                <c:pt idx="142">
                  <c:v>0.63</c:v>
                </c:pt>
                <c:pt idx="143">
                  <c:v>0.86</c:v>
                </c:pt>
                <c:pt idx="144">
                  <c:v>0.83</c:v>
                </c:pt>
                <c:pt idx="145">
                  <c:v>0.71</c:v>
                </c:pt>
                <c:pt idx="146">
                  <c:v>0.69</c:v>
                </c:pt>
                <c:pt idx="147">
                  <c:v>0.67</c:v>
                </c:pt>
                <c:pt idx="148">
                  <c:v>0.8</c:v>
                </c:pt>
                <c:pt idx="149">
                  <c:v>0.65</c:v>
                </c:pt>
                <c:pt idx="150">
                  <c:v>0.95</c:v>
                </c:pt>
                <c:pt idx="151">
                  <c:v>0.52</c:v>
                </c:pt>
                <c:pt idx="152">
                  <c:v>0.9</c:v>
                </c:pt>
                <c:pt idx="153">
                  <c:v>0.8</c:v>
                </c:pt>
                <c:pt idx="154">
                  <c:v>0.68</c:v>
                </c:pt>
                <c:pt idx="155">
                  <c:v>0.98</c:v>
                </c:pt>
                <c:pt idx="156">
                  <c:v>0.9</c:v>
                </c:pt>
                <c:pt idx="157">
                  <c:v>0.76</c:v>
                </c:pt>
                <c:pt idx="158">
                  <c:v>0.49</c:v>
                </c:pt>
                <c:pt idx="159">
                  <c:v>0.77</c:v>
                </c:pt>
                <c:pt idx="160">
                  <c:v>0.52</c:v>
                </c:pt>
                <c:pt idx="161">
                  <c:v>0.81</c:v>
                </c:pt>
                <c:pt idx="162">
                  <c:v>0.34</c:v>
                </c:pt>
                <c:pt idx="163">
                  <c:v>0.93</c:v>
                </c:pt>
                <c:pt idx="164">
                  <c:v>0.56999999999999995</c:v>
                </c:pt>
                <c:pt idx="165">
                  <c:v>0.52</c:v>
                </c:pt>
                <c:pt idx="166">
                  <c:v>0.37</c:v>
                </c:pt>
                <c:pt idx="167">
                  <c:v>0.97</c:v>
                </c:pt>
                <c:pt idx="168">
                  <c:v>0.84</c:v>
                </c:pt>
                <c:pt idx="169">
                  <c:v>0.88</c:v>
                </c:pt>
                <c:pt idx="170">
                  <c:v>0.35</c:v>
                </c:pt>
                <c:pt idx="171">
                  <c:v>0.76</c:v>
                </c:pt>
                <c:pt idx="172">
                  <c:v>0.6</c:v>
                </c:pt>
                <c:pt idx="173">
                  <c:v>0.67</c:v>
                </c:pt>
                <c:pt idx="174">
                  <c:v>0.93</c:v>
                </c:pt>
                <c:pt idx="175">
                  <c:v>0.79</c:v>
                </c:pt>
                <c:pt idx="176">
                  <c:v>0.53</c:v>
                </c:pt>
                <c:pt idx="177">
                  <c:v>0.85</c:v>
                </c:pt>
                <c:pt idx="178">
                  <c:v>0.75</c:v>
                </c:pt>
                <c:pt idx="179">
                  <c:v>0.63</c:v>
                </c:pt>
                <c:pt idx="180">
                  <c:v>0.6</c:v>
                </c:pt>
                <c:pt idx="181">
                  <c:v>0.69</c:v>
                </c:pt>
                <c:pt idx="182">
                  <c:v>0.9</c:v>
                </c:pt>
                <c:pt idx="183">
                  <c:v>0.8</c:v>
                </c:pt>
                <c:pt idx="184">
                  <c:v>0.37</c:v>
                </c:pt>
                <c:pt idx="185">
                  <c:v>0.9</c:v>
                </c:pt>
                <c:pt idx="186">
                  <c:v>0.7</c:v>
                </c:pt>
                <c:pt idx="187">
                  <c:v>0.75</c:v>
                </c:pt>
                <c:pt idx="188">
                  <c:v>0.57999999999999996</c:v>
                </c:pt>
                <c:pt idx="189">
                  <c:v>0.85</c:v>
                </c:pt>
                <c:pt idx="190">
                  <c:v>0.78</c:v>
                </c:pt>
                <c:pt idx="191">
                  <c:v>0.76</c:v>
                </c:pt>
                <c:pt idx="192">
                  <c:v>0.77</c:v>
                </c:pt>
                <c:pt idx="193">
                  <c:v>0.7</c:v>
                </c:pt>
                <c:pt idx="194">
                  <c:v>0.55000000000000004</c:v>
                </c:pt>
                <c:pt idx="195">
                  <c:v>0.72</c:v>
                </c:pt>
                <c:pt idx="196">
                  <c:v>0.47</c:v>
                </c:pt>
                <c:pt idx="197">
                  <c:v>0.71</c:v>
                </c:pt>
                <c:pt idx="198">
                  <c:v>0.67</c:v>
                </c:pt>
                <c:pt idx="199">
                  <c:v>0.7</c:v>
                </c:pt>
                <c:pt idx="200">
                  <c:v>0.85</c:v>
                </c:pt>
                <c:pt idx="201">
                  <c:v>0.31</c:v>
                </c:pt>
                <c:pt idx="202">
                  <c:v>0.7</c:v>
                </c:pt>
                <c:pt idx="203">
                  <c:v>0.77</c:v>
                </c:pt>
                <c:pt idx="204">
                  <c:v>0.69</c:v>
                </c:pt>
                <c:pt idx="205">
                  <c:v>0.74</c:v>
                </c:pt>
                <c:pt idx="206">
                  <c:v>0.64</c:v>
                </c:pt>
                <c:pt idx="207">
                  <c:v>0.75</c:v>
                </c:pt>
                <c:pt idx="208">
                  <c:v>0.79</c:v>
                </c:pt>
                <c:pt idx="209">
                  <c:v>0.48</c:v>
                </c:pt>
                <c:pt idx="210">
                  <c:v>0.35</c:v>
                </c:pt>
                <c:pt idx="211">
                  <c:v>0.74</c:v>
                </c:pt>
                <c:pt idx="212">
                  <c:v>0.4</c:v>
                </c:pt>
                <c:pt idx="213">
                  <c:v>0.5</c:v>
                </c:pt>
                <c:pt idx="214">
                  <c:v>0.66</c:v>
                </c:pt>
                <c:pt idx="215">
                  <c:v>0.53</c:v>
                </c:pt>
                <c:pt idx="216">
                  <c:v>0.37</c:v>
                </c:pt>
                <c:pt idx="217">
                  <c:v>0.53</c:v>
                </c:pt>
                <c:pt idx="218">
                  <c:v>0.81</c:v>
                </c:pt>
                <c:pt idx="219">
                  <c:v>0.8</c:v>
                </c:pt>
                <c:pt idx="220">
                  <c:v>0.92</c:v>
                </c:pt>
                <c:pt idx="221">
                  <c:v>0.81</c:v>
                </c:pt>
                <c:pt idx="222">
                  <c:v>0.38</c:v>
                </c:pt>
                <c:pt idx="223">
                  <c:v>0.66</c:v>
                </c:pt>
                <c:pt idx="224">
                  <c:v>0.63</c:v>
                </c:pt>
                <c:pt idx="225">
                  <c:v>0.56000000000000005</c:v>
                </c:pt>
                <c:pt idx="226">
                  <c:v>0.47</c:v>
                </c:pt>
                <c:pt idx="227">
                  <c:v>0.82</c:v>
                </c:pt>
                <c:pt idx="228">
                  <c:v>0.86</c:v>
                </c:pt>
                <c:pt idx="229">
                  <c:v>0.87</c:v>
                </c:pt>
                <c:pt idx="230">
                  <c:v>0.82</c:v>
                </c:pt>
                <c:pt idx="231">
                  <c:v>0.54</c:v>
                </c:pt>
                <c:pt idx="232">
                  <c:v>0.78</c:v>
                </c:pt>
                <c:pt idx="233">
                  <c:v>0.84</c:v>
                </c:pt>
                <c:pt idx="234">
                  <c:v>0.66</c:v>
                </c:pt>
                <c:pt idx="235">
                  <c:v>0.31</c:v>
                </c:pt>
                <c:pt idx="236">
                  <c:v>0.7</c:v>
                </c:pt>
                <c:pt idx="237">
                  <c:v>0.56999999999999995</c:v>
                </c:pt>
                <c:pt idx="238">
                  <c:v>0.23</c:v>
                </c:pt>
                <c:pt idx="239">
                  <c:v>0.51</c:v>
                </c:pt>
                <c:pt idx="240">
                  <c:v>0.55000000000000004</c:v>
                </c:pt>
                <c:pt idx="241">
                  <c:v>0.7</c:v>
                </c:pt>
                <c:pt idx="242">
                  <c:v>0.78</c:v>
                </c:pt>
                <c:pt idx="243">
                  <c:v>0.59</c:v>
                </c:pt>
                <c:pt idx="244">
                  <c:v>0.48</c:v>
                </c:pt>
                <c:pt idx="245">
                  <c:v>0.48</c:v>
                </c:pt>
                <c:pt idx="246">
                  <c:v>0.71</c:v>
                </c:pt>
                <c:pt idx="247">
                  <c:v>0.84</c:v>
                </c:pt>
                <c:pt idx="248">
                  <c:v>0.62</c:v>
                </c:pt>
                <c:pt idx="249">
                  <c:v>0.7</c:v>
                </c:pt>
                <c:pt idx="250">
                  <c:v>0.65</c:v>
                </c:pt>
                <c:pt idx="251">
                  <c:v>0.5</c:v>
                </c:pt>
                <c:pt idx="252">
                  <c:v>0.67</c:v>
                </c:pt>
                <c:pt idx="253">
                  <c:v>0.72</c:v>
                </c:pt>
                <c:pt idx="254">
                  <c:v>0.66</c:v>
                </c:pt>
                <c:pt idx="255">
                  <c:v>0.68</c:v>
                </c:pt>
                <c:pt idx="256">
                  <c:v>0.37</c:v>
                </c:pt>
                <c:pt idx="257">
                  <c:v>0.45</c:v>
                </c:pt>
                <c:pt idx="258">
                  <c:v>0.73</c:v>
                </c:pt>
                <c:pt idx="259">
                  <c:v>0.77</c:v>
                </c:pt>
                <c:pt idx="260">
                  <c:v>0.47</c:v>
                </c:pt>
                <c:pt idx="261">
                  <c:v>0.55000000000000004</c:v>
                </c:pt>
                <c:pt idx="262">
                  <c:v>0.84</c:v>
                </c:pt>
                <c:pt idx="263">
                  <c:v>0.65</c:v>
                </c:pt>
                <c:pt idx="264">
                  <c:v>0.71</c:v>
                </c:pt>
                <c:pt idx="265">
                  <c:v>0.59</c:v>
                </c:pt>
                <c:pt idx="266">
                  <c:v>0.24</c:v>
                </c:pt>
                <c:pt idx="267">
                  <c:v>0.81</c:v>
                </c:pt>
                <c:pt idx="268">
                  <c:v>0.51</c:v>
                </c:pt>
                <c:pt idx="269">
                  <c:v>0.16</c:v>
                </c:pt>
                <c:pt idx="270">
                  <c:v>0.59</c:v>
                </c:pt>
                <c:pt idx="271">
                  <c:v>0.64</c:v>
                </c:pt>
                <c:pt idx="272">
                  <c:v>0.44</c:v>
                </c:pt>
                <c:pt idx="273">
                  <c:v>0.62</c:v>
                </c:pt>
                <c:pt idx="274">
                  <c:v>0.69</c:v>
                </c:pt>
                <c:pt idx="275">
                  <c:v>0.75</c:v>
                </c:pt>
                <c:pt idx="276">
                  <c:v>0.31</c:v>
                </c:pt>
                <c:pt idx="277">
                  <c:v>0.39</c:v>
                </c:pt>
                <c:pt idx="278">
                  <c:v>0.31</c:v>
                </c:pt>
                <c:pt idx="279">
                  <c:v>0.55000000000000004</c:v>
                </c:pt>
                <c:pt idx="280">
                  <c:v>0.44</c:v>
                </c:pt>
                <c:pt idx="281">
                  <c:v>0.47</c:v>
                </c:pt>
                <c:pt idx="282">
                  <c:v>0.59</c:v>
                </c:pt>
                <c:pt idx="283">
                  <c:v>0.52</c:v>
                </c:pt>
                <c:pt idx="284">
                  <c:v>0.43</c:v>
                </c:pt>
                <c:pt idx="285">
                  <c:v>0.56000000000000005</c:v>
                </c:pt>
                <c:pt idx="286">
                  <c:v>0.7</c:v>
                </c:pt>
                <c:pt idx="287">
                  <c:v>0.68</c:v>
                </c:pt>
                <c:pt idx="288">
                  <c:v>0.71</c:v>
                </c:pt>
                <c:pt idx="289">
                  <c:v>0.47</c:v>
                </c:pt>
                <c:pt idx="290">
                  <c:v>0.47</c:v>
                </c:pt>
                <c:pt idx="291">
                  <c:v>0.78</c:v>
                </c:pt>
                <c:pt idx="292">
                  <c:v>0.55000000000000004</c:v>
                </c:pt>
                <c:pt idx="293">
                  <c:v>0.69</c:v>
                </c:pt>
                <c:pt idx="294">
                  <c:v>0.52</c:v>
                </c:pt>
                <c:pt idx="295">
                  <c:v>0.47</c:v>
                </c:pt>
                <c:pt idx="296">
                  <c:v>0.72</c:v>
                </c:pt>
                <c:pt idx="297">
                  <c:v>0.15</c:v>
                </c:pt>
                <c:pt idx="298">
                  <c:v>0.39</c:v>
                </c:pt>
                <c:pt idx="299">
                  <c:v>0.52</c:v>
                </c:pt>
                <c:pt idx="300">
                  <c:v>0.55000000000000004</c:v>
                </c:pt>
                <c:pt idx="301">
                  <c:v>0.7</c:v>
                </c:pt>
                <c:pt idx="302">
                  <c:v>0.67</c:v>
                </c:pt>
                <c:pt idx="303">
                  <c:v>0.44</c:v>
                </c:pt>
                <c:pt idx="304">
                  <c:v>0.43</c:v>
                </c:pt>
                <c:pt idx="305">
                  <c:v>0.57999999999999996</c:v>
                </c:pt>
                <c:pt idx="306">
                  <c:v>0.77</c:v>
                </c:pt>
                <c:pt idx="307">
                  <c:v>0.33</c:v>
                </c:pt>
                <c:pt idx="308">
                  <c:v>0.8</c:v>
                </c:pt>
                <c:pt idx="309">
                  <c:v>0.49</c:v>
                </c:pt>
                <c:pt idx="310">
                  <c:v>0.2</c:v>
                </c:pt>
                <c:pt idx="311">
                  <c:v>0.43</c:v>
                </c:pt>
                <c:pt idx="312">
                  <c:v>0.39</c:v>
                </c:pt>
                <c:pt idx="313">
                  <c:v>0.37</c:v>
                </c:pt>
                <c:pt idx="314">
                  <c:v>0.31</c:v>
                </c:pt>
                <c:pt idx="315">
                  <c:v>0.65</c:v>
                </c:pt>
                <c:pt idx="316">
                  <c:v>0.66</c:v>
                </c:pt>
                <c:pt idx="317">
                  <c:v>0.4</c:v>
                </c:pt>
                <c:pt idx="318">
                  <c:v>0.5</c:v>
                </c:pt>
                <c:pt idx="319">
                  <c:v>0.75</c:v>
                </c:pt>
                <c:pt idx="320">
                  <c:v>0.49</c:v>
                </c:pt>
                <c:pt idx="321">
                  <c:v>0.59</c:v>
                </c:pt>
                <c:pt idx="322">
                  <c:v>0.18</c:v>
                </c:pt>
                <c:pt idx="323">
                  <c:v>0.48</c:v>
                </c:pt>
                <c:pt idx="324">
                  <c:v>0.13</c:v>
                </c:pt>
                <c:pt idx="325">
                  <c:v>0.71</c:v>
                </c:pt>
                <c:pt idx="326">
                  <c:v>0.69</c:v>
                </c:pt>
                <c:pt idx="327">
                  <c:v>0.73</c:v>
                </c:pt>
                <c:pt idx="328">
                  <c:v>0.27</c:v>
                </c:pt>
                <c:pt idx="329">
                  <c:v>0.56000000000000005</c:v>
                </c:pt>
                <c:pt idx="330">
                  <c:v>0.16</c:v>
                </c:pt>
                <c:pt idx="331">
                  <c:v>0.43</c:v>
                </c:pt>
                <c:pt idx="332">
                  <c:v>0.4</c:v>
                </c:pt>
                <c:pt idx="333">
                  <c:v>0.52</c:v>
                </c:pt>
                <c:pt idx="334">
                  <c:v>0.48</c:v>
                </c:pt>
                <c:pt idx="335">
                  <c:v>0.51</c:v>
                </c:pt>
                <c:pt idx="336">
                  <c:v>0.28999999999999998</c:v>
                </c:pt>
                <c:pt idx="337">
                  <c:v>0.67</c:v>
                </c:pt>
                <c:pt idx="338">
                  <c:v>0.37</c:v>
                </c:pt>
                <c:pt idx="339">
                  <c:v>0.43</c:v>
                </c:pt>
                <c:pt idx="340">
                  <c:v>0.28999999999999998</c:v>
                </c:pt>
                <c:pt idx="341">
                  <c:v>0.62</c:v>
                </c:pt>
                <c:pt idx="342">
                  <c:v>0.5</c:v>
                </c:pt>
                <c:pt idx="343">
                  <c:v>0.65</c:v>
                </c:pt>
                <c:pt idx="344">
                  <c:v>0.47</c:v>
                </c:pt>
                <c:pt idx="345">
                  <c:v>0.14000000000000001</c:v>
                </c:pt>
                <c:pt idx="346">
                  <c:v>0.61</c:v>
                </c:pt>
                <c:pt idx="347">
                  <c:v>0.33</c:v>
                </c:pt>
                <c:pt idx="348">
                  <c:v>0.34</c:v>
                </c:pt>
                <c:pt idx="349">
                  <c:v>0.49</c:v>
                </c:pt>
                <c:pt idx="350">
                  <c:v>0.38</c:v>
                </c:pt>
                <c:pt idx="351">
                  <c:v>0.36</c:v>
                </c:pt>
                <c:pt idx="352">
                  <c:v>0.38</c:v>
                </c:pt>
                <c:pt idx="353">
                  <c:v>0.32</c:v>
                </c:pt>
                <c:pt idx="354">
                  <c:v>0.66</c:v>
                </c:pt>
                <c:pt idx="355">
                  <c:v>0.33</c:v>
                </c:pt>
                <c:pt idx="356">
                  <c:v>0.52</c:v>
                </c:pt>
                <c:pt idx="357">
                  <c:v>0.69</c:v>
                </c:pt>
                <c:pt idx="358">
                  <c:v>0.41</c:v>
                </c:pt>
                <c:pt idx="359">
                  <c:v>0.46</c:v>
                </c:pt>
                <c:pt idx="360">
                  <c:v>0.49</c:v>
                </c:pt>
                <c:pt idx="361">
                  <c:v>0.21</c:v>
                </c:pt>
                <c:pt idx="362">
                  <c:v>0.42</c:v>
                </c:pt>
                <c:pt idx="363">
                  <c:v>0.36</c:v>
                </c:pt>
                <c:pt idx="364">
                  <c:v>0.67</c:v>
                </c:pt>
                <c:pt idx="365">
                  <c:v>0.11</c:v>
                </c:pt>
                <c:pt idx="366">
                  <c:v>0.59</c:v>
                </c:pt>
                <c:pt idx="367">
                  <c:v>0.43</c:v>
                </c:pt>
                <c:pt idx="368">
                  <c:v>0.59</c:v>
                </c:pt>
                <c:pt idx="369">
                  <c:v>0.25</c:v>
                </c:pt>
                <c:pt idx="370">
                  <c:v>0.5</c:v>
                </c:pt>
                <c:pt idx="371">
                  <c:v>0.22</c:v>
                </c:pt>
                <c:pt idx="372">
                  <c:v>0.37</c:v>
                </c:pt>
                <c:pt idx="373">
                  <c:v>0.19</c:v>
                </c:pt>
                <c:pt idx="374">
                  <c:v>0.23</c:v>
                </c:pt>
                <c:pt idx="375">
                  <c:v>0.65</c:v>
                </c:pt>
                <c:pt idx="376">
                  <c:v>0.47</c:v>
                </c:pt>
                <c:pt idx="377">
                  <c:v>0.22</c:v>
                </c:pt>
                <c:pt idx="378">
                  <c:v>0.22</c:v>
                </c:pt>
                <c:pt idx="379">
                  <c:v>0.25</c:v>
                </c:pt>
                <c:pt idx="380">
                  <c:v>0.16</c:v>
                </c:pt>
                <c:pt idx="381">
                  <c:v>0.37</c:v>
                </c:pt>
                <c:pt idx="382">
                  <c:v>0.27</c:v>
                </c:pt>
                <c:pt idx="383">
                  <c:v>0.33</c:v>
                </c:pt>
                <c:pt idx="384">
                  <c:v>0.4</c:v>
                </c:pt>
                <c:pt idx="385">
                  <c:v>0.31</c:v>
                </c:pt>
                <c:pt idx="386">
                  <c:v>0.52</c:v>
                </c:pt>
                <c:pt idx="387">
                  <c:v>0.16</c:v>
                </c:pt>
                <c:pt idx="388">
                  <c:v>0.28999999999999998</c:v>
                </c:pt>
                <c:pt idx="389">
                  <c:v>0.28000000000000003</c:v>
                </c:pt>
                <c:pt idx="390">
                  <c:v>0.05</c:v>
                </c:pt>
                <c:pt idx="391">
                  <c:v>0.36</c:v>
                </c:pt>
                <c:pt idx="392">
                  <c:v>0.23</c:v>
                </c:pt>
                <c:pt idx="393">
                  <c:v>0.16</c:v>
                </c:pt>
                <c:pt idx="394">
                  <c:v>0.23</c:v>
                </c:pt>
                <c:pt idx="395">
                  <c:v>0.42</c:v>
                </c:pt>
                <c:pt idx="396">
                  <c:v>0.43</c:v>
                </c:pt>
                <c:pt idx="397">
                  <c:v>0.33</c:v>
                </c:pt>
                <c:pt idx="398">
                  <c:v>0.33</c:v>
                </c:pt>
                <c:pt idx="399">
                  <c:v>0.21</c:v>
                </c:pt>
                <c:pt idx="400">
                  <c:v>0.38</c:v>
                </c:pt>
                <c:pt idx="401">
                  <c:v>0.59</c:v>
                </c:pt>
                <c:pt idx="402">
                  <c:v>0.3</c:v>
                </c:pt>
                <c:pt idx="403">
                  <c:v>0.37</c:v>
                </c:pt>
                <c:pt idx="404">
                  <c:v>0.11</c:v>
                </c:pt>
                <c:pt idx="405">
                  <c:v>0.08</c:v>
                </c:pt>
                <c:pt idx="406">
                  <c:v>0.11</c:v>
                </c:pt>
                <c:pt idx="407">
                  <c:v>0.14000000000000001</c:v>
                </c:pt>
                <c:pt idx="408">
                  <c:v>0.11</c:v>
                </c:pt>
                <c:pt idx="409">
                  <c:v>0.46</c:v>
                </c:pt>
                <c:pt idx="410">
                  <c:v>0.34</c:v>
                </c:pt>
                <c:pt idx="411">
                  <c:v>0.32</c:v>
                </c:pt>
                <c:pt idx="412">
                  <c:v>0.44</c:v>
                </c:pt>
                <c:pt idx="413">
                  <c:v>0.16</c:v>
                </c:pt>
                <c:pt idx="414">
                  <c:v>0.34</c:v>
                </c:pt>
                <c:pt idx="415">
                  <c:v>0.39</c:v>
                </c:pt>
                <c:pt idx="416">
                  <c:v>0.37</c:v>
                </c:pt>
                <c:pt idx="417">
                  <c:v>0.19</c:v>
                </c:pt>
                <c:pt idx="418">
                  <c:v>0.37</c:v>
                </c:pt>
                <c:pt idx="419">
                  <c:v>0.33</c:v>
                </c:pt>
                <c:pt idx="420">
                  <c:v>0.44</c:v>
                </c:pt>
                <c:pt idx="421">
                  <c:v>0.16</c:v>
                </c:pt>
                <c:pt idx="422">
                  <c:v>0.4</c:v>
                </c:pt>
                <c:pt idx="423">
                  <c:v>0.25</c:v>
                </c:pt>
                <c:pt idx="424">
                  <c:v>0.11</c:v>
                </c:pt>
                <c:pt idx="425">
                  <c:v>0.26</c:v>
                </c:pt>
                <c:pt idx="426">
                  <c:v>0.45</c:v>
                </c:pt>
                <c:pt idx="427">
                  <c:v>0.36</c:v>
                </c:pt>
                <c:pt idx="428">
                  <c:v>0.22</c:v>
                </c:pt>
                <c:pt idx="429">
                  <c:v>0.15</c:v>
                </c:pt>
                <c:pt idx="430">
                  <c:v>0.3</c:v>
                </c:pt>
                <c:pt idx="431">
                  <c:v>0.19</c:v>
                </c:pt>
                <c:pt idx="432">
                  <c:v>0.51</c:v>
                </c:pt>
                <c:pt idx="433">
                  <c:v>0.18</c:v>
                </c:pt>
                <c:pt idx="434">
                  <c:v>0.16</c:v>
                </c:pt>
                <c:pt idx="435">
                  <c:v>0.12</c:v>
                </c:pt>
                <c:pt idx="436">
                  <c:v>0.27</c:v>
                </c:pt>
                <c:pt idx="437">
                  <c:v>0.19</c:v>
                </c:pt>
                <c:pt idx="438">
                  <c:v>0.3</c:v>
                </c:pt>
                <c:pt idx="439">
                  <c:v>0.27</c:v>
                </c:pt>
                <c:pt idx="440">
                  <c:v>0.21</c:v>
                </c:pt>
                <c:pt idx="441">
                  <c:v>0.22</c:v>
                </c:pt>
                <c:pt idx="442">
                  <c:v>0.32</c:v>
                </c:pt>
                <c:pt idx="443">
                  <c:v>0.37</c:v>
                </c:pt>
                <c:pt idx="444">
                  <c:v>0.51</c:v>
                </c:pt>
                <c:pt idx="445">
                  <c:v>0.13</c:v>
                </c:pt>
                <c:pt idx="446">
                  <c:v>0.04</c:v>
                </c:pt>
                <c:pt idx="447">
                  <c:v>0.2</c:v>
                </c:pt>
                <c:pt idx="448">
                  <c:v>0.13</c:v>
                </c:pt>
                <c:pt idx="449">
                  <c:v>0.28999999999999998</c:v>
                </c:pt>
                <c:pt idx="450">
                  <c:v>0.13</c:v>
                </c:pt>
                <c:pt idx="451">
                  <c:v>0.15</c:v>
                </c:pt>
                <c:pt idx="452">
                  <c:v>0.21</c:v>
                </c:pt>
                <c:pt idx="453">
                  <c:v>0.25</c:v>
                </c:pt>
                <c:pt idx="454">
                  <c:v>0.41</c:v>
                </c:pt>
                <c:pt idx="455">
                  <c:v>0.46</c:v>
                </c:pt>
                <c:pt idx="456">
                  <c:v>0.26</c:v>
                </c:pt>
                <c:pt idx="457">
                  <c:v>0.48</c:v>
                </c:pt>
                <c:pt idx="458">
                  <c:v>0.32</c:v>
                </c:pt>
                <c:pt idx="459">
                  <c:v>0.26</c:v>
                </c:pt>
                <c:pt idx="460">
                  <c:v>0.27</c:v>
                </c:pt>
                <c:pt idx="461">
                  <c:v>0.43</c:v>
                </c:pt>
                <c:pt idx="462">
                  <c:v>0.38</c:v>
                </c:pt>
                <c:pt idx="463">
                  <c:v>0.15</c:v>
                </c:pt>
                <c:pt idx="464">
                  <c:v>0.23</c:v>
                </c:pt>
                <c:pt idx="465">
                  <c:v>0.23</c:v>
                </c:pt>
                <c:pt idx="466">
                  <c:v>0.08</c:v>
                </c:pt>
                <c:pt idx="467">
                  <c:v>0.28999999999999998</c:v>
                </c:pt>
                <c:pt idx="468">
                  <c:v>0.23</c:v>
                </c:pt>
                <c:pt idx="469">
                  <c:v>0.48</c:v>
                </c:pt>
                <c:pt idx="470">
                  <c:v>0.17</c:v>
                </c:pt>
                <c:pt idx="471">
                  <c:v>0.24</c:v>
                </c:pt>
                <c:pt idx="472">
                  <c:v>0.08</c:v>
                </c:pt>
                <c:pt idx="473">
                  <c:v>0.17</c:v>
                </c:pt>
                <c:pt idx="474">
                  <c:v>0.19</c:v>
                </c:pt>
                <c:pt idx="475">
                  <c:v>0.26</c:v>
                </c:pt>
                <c:pt idx="476">
                  <c:v>0.23</c:v>
                </c:pt>
                <c:pt idx="477">
                  <c:v>0.25</c:v>
                </c:pt>
                <c:pt idx="478">
                  <c:v>7.0000000000000007E-2</c:v>
                </c:pt>
                <c:pt idx="479">
                  <c:v>0.17</c:v>
                </c:pt>
                <c:pt idx="480">
                  <c:v>0.33</c:v>
                </c:pt>
                <c:pt idx="481">
                  <c:v>0.24</c:v>
                </c:pt>
                <c:pt idx="482">
                  <c:v>0.01</c:v>
                </c:pt>
                <c:pt idx="483">
                  <c:v>0.26</c:v>
                </c:pt>
                <c:pt idx="484">
                  <c:v>0.06</c:v>
                </c:pt>
                <c:pt idx="485">
                  <c:v>0.51</c:v>
                </c:pt>
                <c:pt idx="486">
                  <c:v>0.24</c:v>
                </c:pt>
                <c:pt idx="487">
                  <c:v>0.09</c:v>
                </c:pt>
                <c:pt idx="488">
                  <c:v>0.22</c:v>
                </c:pt>
                <c:pt idx="489">
                  <c:v>7.0000000000000007E-2</c:v>
                </c:pt>
                <c:pt idx="490">
                  <c:v>0.03</c:v>
                </c:pt>
                <c:pt idx="491">
                  <c:v>0.08</c:v>
                </c:pt>
                <c:pt idx="492">
                  <c:v>0.02</c:v>
                </c:pt>
                <c:pt idx="493">
                  <c:v>0.74</c:v>
                </c:pt>
                <c:pt idx="494">
                  <c:v>0.17</c:v>
                </c:pt>
                <c:pt idx="495">
                  <c:v>0.16</c:v>
                </c:pt>
                <c:pt idx="496">
                  <c:v>0.15</c:v>
                </c:pt>
                <c:pt idx="497">
                  <c:v>0.13</c:v>
                </c:pt>
                <c:pt idx="498">
                  <c:v>0.1</c:v>
                </c:pt>
                <c:pt idx="499">
                  <c:v>0.14000000000000001</c:v>
                </c:pt>
                <c:pt idx="500">
                  <c:v>0.48</c:v>
                </c:pt>
                <c:pt idx="501">
                  <c:v>0.16</c:v>
                </c:pt>
                <c:pt idx="502">
                  <c:v>0.12</c:v>
                </c:pt>
                <c:pt idx="503">
                  <c:v>0.14000000000000001</c:v>
                </c:pt>
                <c:pt idx="504">
                  <c:v>0.03</c:v>
                </c:pt>
                <c:pt idx="505">
                  <c:v>0.18</c:v>
                </c:pt>
                <c:pt idx="506">
                  <c:v>0.16</c:v>
                </c:pt>
                <c:pt idx="507">
                  <c:v>0.26</c:v>
                </c:pt>
                <c:pt idx="508">
                  <c:v>0.12</c:v>
                </c:pt>
                <c:pt idx="509">
                  <c:v>0.06</c:v>
                </c:pt>
                <c:pt idx="510">
                  <c:v>0.02</c:v>
                </c:pt>
                <c:pt idx="511">
                  <c:v>0.2</c:v>
                </c:pt>
                <c:pt idx="512">
                  <c:v>0.25</c:v>
                </c:pt>
                <c:pt idx="513">
                  <c:v>0.09</c:v>
                </c:pt>
                <c:pt idx="514">
                  <c:v>0.23</c:v>
                </c:pt>
                <c:pt idx="515">
                  <c:v>0.14000000000000001</c:v>
                </c:pt>
                <c:pt idx="516">
                  <c:v>0.25</c:v>
                </c:pt>
                <c:pt idx="517">
                  <c:v>0.21</c:v>
                </c:pt>
                <c:pt idx="518">
                  <c:v>0.11</c:v>
                </c:pt>
                <c:pt idx="519">
                  <c:v>0.25</c:v>
                </c:pt>
                <c:pt idx="520">
                  <c:v>0.08</c:v>
                </c:pt>
                <c:pt idx="521">
                  <c:v>0.16</c:v>
                </c:pt>
                <c:pt idx="522">
                  <c:v>0.2</c:v>
                </c:pt>
                <c:pt idx="523">
                  <c:v>0.08</c:v>
                </c:pt>
                <c:pt idx="524">
                  <c:v>0.21</c:v>
                </c:pt>
                <c:pt idx="525">
                  <c:v>0.2</c:v>
                </c:pt>
                <c:pt idx="526">
                  <c:v>0.16</c:v>
                </c:pt>
                <c:pt idx="527">
                  <c:v>0.11</c:v>
                </c:pt>
                <c:pt idx="528">
                  <c:v>0.18</c:v>
                </c:pt>
                <c:pt idx="529">
                  <c:v>0.06</c:v>
                </c:pt>
                <c:pt idx="530">
                  <c:v>0.17</c:v>
                </c:pt>
                <c:pt idx="531">
                  <c:v>0.23</c:v>
                </c:pt>
                <c:pt idx="532">
                  <c:v>0.39</c:v>
                </c:pt>
                <c:pt idx="533">
                  <c:v>0.19</c:v>
                </c:pt>
                <c:pt idx="534">
                  <c:v>0.14000000000000001</c:v>
                </c:pt>
                <c:pt idx="535">
                  <c:v>0.13</c:v>
                </c:pt>
                <c:pt idx="536">
                  <c:v>0.08</c:v>
                </c:pt>
                <c:pt idx="537">
                  <c:v>0.19</c:v>
                </c:pt>
                <c:pt idx="538">
                  <c:v>0.01</c:v>
                </c:pt>
                <c:pt idx="539">
                  <c:v>0.03</c:v>
                </c:pt>
                <c:pt idx="540">
                  <c:v>0.05</c:v>
                </c:pt>
                <c:pt idx="541">
                  <c:v>0.05</c:v>
                </c:pt>
                <c:pt idx="542">
                  <c:v>0.08</c:v>
                </c:pt>
                <c:pt idx="543">
                  <c:v>0.02</c:v>
                </c:pt>
                <c:pt idx="544">
                  <c:v>0.03</c:v>
                </c:pt>
                <c:pt idx="545">
                  <c:v>0.13</c:v>
                </c:pt>
                <c:pt idx="546">
                  <c:v>0.08</c:v>
                </c:pt>
                <c:pt idx="547">
                  <c:v>0.19</c:v>
                </c:pt>
                <c:pt idx="548">
                  <c:v>0.03</c:v>
                </c:pt>
                <c:pt idx="549">
                  <c:v>0.17</c:v>
                </c:pt>
                <c:pt idx="550">
                  <c:v>7.0000000000000007E-2</c:v>
                </c:pt>
                <c:pt idx="551">
                  <c:v>0.11</c:v>
                </c:pt>
                <c:pt idx="552">
                  <c:v>0.15</c:v>
                </c:pt>
                <c:pt idx="553">
                  <c:v>0.04</c:v>
                </c:pt>
                <c:pt idx="554">
                  <c:v>0.18</c:v>
                </c:pt>
                <c:pt idx="555">
                  <c:v>0.03</c:v>
                </c:pt>
                <c:pt idx="556">
                  <c:v>7.0000000000000007E-2</c:v>
                </c:pt>
                <c:pt idx="557">
                  <c:v>0.23</c:v>
                </c:pt>
                <c:pt idx="558">
                  <c:v>0.24</c:v>
                </c:pt>
                <c:pt idx="559">
                  <c:v>0.13</c:v>
                </c:pt>
                <c:pt idx="560">
                  <c:v>0.08</c:v>
                </c:pt>
                <c:pt idx="561">
                  <c:v>0.02</c:v>
                </c:pt>
                <c:pt idx="562">
                  <c:v>0.06</c:v>
                </c:pt>
                <c:pt idx="563">
                  <c:v>0.1</c:v>
                </c:pt>
                <c:pt idx="564">
                  <c:v>0.03</c:v>
                </c:pt>
                <c:pt idx="565">
                  <c:v>0.08</c:v>
                </c:pt>
                <c:pt idx="566">
                  <c:v>0.18</c:v>
                </c:pt>
                <c:pt idx="567">
                  <c:v>0.04</c:v>
                </c:pt>
                <c:pt idx="568">
                  <c:v>0.31</c:v>
                </c:pt>
                <c:pt idx="569">
                  <c:v>0.06</c:v>
                </c:pt>
                <c:pt idx="570">
                  <c:v>0.05</c:v>
                </c:pt>
                <c:pt idx="571">
                  <c:v>0.08</c:v>
                </c:pt>
                <c:pt idx="572">
                  <c:v>0.13</c:v>
                </c:pt>
                <c:pt idx="573">
                  <c:v>0.02</c:v>
                </c:pt>
                <c:pt idx="574">
                  <c:v>0.06</c:v>
                </c:pt>
                <c:pt idx="575">
                  <c:v>0.11</c:v>
                </c:pt>
                <c:pt idx="576">
                  <c:v>0.2</c:v>
                </c:pt>
                <c:pt idx="577">
                  <c:v>0.13</c:v>
                </c:pt>
                <c:pt idx="578">
                  <c:v>0.05</c:v>
                </c:pt>
                <c:pt idx="579">
                  <c:v>0.05</c:v>
                </c:pt>
                <c:pt idx="580">
                  <c:v>0.03</c:v>
                </c:pt>
                <c:pt idx="581">
                  <c:v>0.03</c:v>
                </c:pt>
                <c:pt idx="582">
                  <c:v>0.17</c:v>
                </c:pt>
                <c:pt idx="583">
                  <c:v>0.28000000000000003</c:v>
                </c:pt>
                <c:pt idx="584">
                  <c:v>0.09</c:v>
                </c:pt>
                <c:pt idx="585">
                  <c:v>0.08</c:v>
                </c:pt>
                <c:pt idx="586">
                  <c:v>0.02</c:v>
                </c:pt>
                <c:pt idx="587">
                  <c:v>0.09</c:v>
                </c:pt>
                <c:pt idx="588">
                  <c:v>0.19</c:v>
                </c:pt>
                <c:pt idx="589">
                  <c:v>0.09</c:v>
                </c:pt>
                <c:pt idx="590">
                  <c:v>0.03</c:v>
                </c:pt>
                <c:pt idx="591">
                  <c:v>0.06</c:v>
                </c:pt>
                <c:pt idx="592">
                  <c:v>7.0000000000000007E-2</c:v>
                </c:pt>
                <c:pt idx="593">
                  <c:v>0.08</c:v>
                </c:pt>
                <c:pt idx="594">
                  <c:v>0.02</c:v>
                </c:pt>
                <c:pt idx="595">
                  <c:v>0.11</c:v>
                </c:pt>
                <c:pt idx="596">
                  <c:v>7.0000000000000007E-2</c:v>
                </c:pt>
                <c:pt idx="597">
                  <c:v>0.09</c:v>
                </c:pt>
                <c:pt idx="598">
                  <c:v>0.09</c:v>
                </c:pt>
                <c:pt idx="599">
                  <c:v>0.2</c:v>
                </c:pt>
                <c:pt idx="600">
                  <c:v>0.19</c:v>
                </c:pt>
                <c:pt idx="601">
                  <c:v>0.08</c:v>
                </c:pt>
                <c:pt idx="602">
                  <c:v>0.1</c:v>
                </c:pt>
                <c:pt idx="603">
                  <c:v>0.27</c:v>
                </c:pt>
                <c:pt idx="604">
                  <c:v>0.08</c:v>
                </c:pt>
                <c:pt idx="605">
                  <c:v>7.0000000000000007E-2</c:v>
                </c:pt>
                <c:pt idx="606">
                  <c:v>0.14000000000000001</c:v>
                </c:pt>
                <c:pt idx="607">
                  <c:v>0.14000000000000001</c:v>
                </c:pt>
                <c:pt idx="608">
                  <c:v>0.05</c:v>
                </c:pt>
                <c:pt idx="609">
                  <c:v>0.08</c:v>
                </c:pt>
                <c:pt idx="610">
                  <c:v>0.08</c:v>
                </c:pt>
                <c:pt idx="611">
                  <c:v>0.08</c:v>
                </c:pt>
                <c:pt idx="612">
                  <c:v>0.06</c:v>
                </c:pt>
                <c:pt idx="613">
                  <c:v>0.14000000000000001</c:v>
                </c:pt>
                <c:pt idx="614">
                  <c:v>0.03</c:v>
                </c:pt>
                <c:pt idx="615">
                  <c:v>0.05</c:v>
                </c:pt>
                <c:pt idx="616">
                  <c:v>0.01</c:v>
                </c:pt>
                <c:pt idx="617">
                  <c:v>0.03</c:v>
                </c:pt>
                <c:pt idx="618">
                  <c:v>0.05</c:v>
                </c:pt>
                <c:pt idx="619">
                  <c:v>0.11</c:v>
                </c:pt>
                <c:pt idx="620">
                  <c:v>0.09</c:v>
                </c:pt>
                <c:pt idx="621">
                  <c:v>0.06</c:v>
                </c:pt>
                <c:pt idx="622">
                  <c:v>0.14000000000000001</c:v>
                </c:pt>
                <c:pt idx="623">
                  <c:v>0.15</c:v>
                </c:pt>
                <c:pt idx="624">
                  <c:v>0.04</c:v>
                </c:pt>
                <c:pt idx="625">
                  <c:v>0.09</c:v>
                </c:pt>
                <c:pt idx="626">
                  <c:v>7.0000000000000007E-2</c:v>
                </c:pt>
                <c:pt idx="627">
                  <c:v>0.05</c:v>
                </c:pt>
                <c:pt idx="628">
                  <c:v>0.04</c:v>
                </c:pt>
                <c:pt idx="629">
                  <c:v>0.08</c:v>
                </c:pt>
                <c:pt idx="630">
                  <c:v>0.04</c:v>
                </c:pt>
                <c:pt idx="631">
                  <c:v>0.18</c:v>
                </c:pt>
                <c:pt idx="632">
                  <c:v>0.12</c:v>
                </c:pt>
                <c:pt idx="633">
                  <c:v>0.06</c:v>
                </c:pt>
                <c:pt idx="634">
                  <c:v>0.03</c:v>
                </c:pt>
                <c:pt idx="635">
                  <c:v>0.1</c:v>
                </c:pt>
                <c:pt idx="636">
                  <c:v>0.05</c:v>
                </c:pt>
                <c:pt idx="637">
                  <c:v>0.02</c:v>
                </c:pt>
                <c:pt idx="638">
                  <c:v>0.06</c:v>
                </c:pt>
                <c:pt idx="639">
                  <c:v>0.04</c:v>
                </c:pt>
                <c:pt idx="640">
                  <c:v>0.04</c:v>
                </c:pt>
                <c:pt idx="641">
                  <c:v>0.1</c:v>
                </c:pt>
                <c:pt idx="642">
                  <c:v>0.04</c:v>
                </c:pt>
                <c:pt idx="643">
                  <c:v>7.0000000000000007E-2</c:v>
                </c:pt>
                <c:pt idx="644">
                  <c:v>0.03</c:v>
                </c:pt>
                <c:pt idx="645">
                  <c:v>0.02</c:v>
                </c:pt>
                <c:pt idx="646">
                  <c:v>0.14000000000000001</c:v>
                </c:pt>
                <c:pt idx="647">
                  <c:v>0.01</c:v>
                </c:pt>
                <c:pt idx="648">
                  <c:v>0.02</c:v>
                </c:pt>
                <c:pt idx="649">
                  <c:v>0.04</c:v>
                </c:pt>
                <c:pt idx="650">
                  <c:v>0.3</c:v>
                </c:pt>
                <c:pt idx="651">
                  <c:v>7.0000000000000007E-2</c:v>
                </c:pt>
                <c:pt idx="652">
                  <c:v>0.04</c:v>
                </c:pt>
                <c:pt idx="653">
                  <c:v>0.09</c:v>
                </c:pt>
                <c:pt idx="654">
                  <c:v>0.01</c:v>
                </c:pt>
                <c:pt idx="655">
                  <c:v>0.08</c:v>
                </c:pt>
                <c:pt idx="656">
                  <c:v>0.04</c:v>
                </c:pt>
                <c:pt idx="657">
                  <c:v>0.11</c:v>
                </c:pt>
                <c:pt idx="658">
                  <c:v>0.08</c:v>
                </c:pt>
                <c:pt idx="659">
                  <c:v>0.08</c:v>
                </c:pt>
                <c:pt idx="660">
                  <c:v>0.08</c:v>
                </c:pt>
                <c:pt idx="661">
                  <c:v>0.13</c:v>
                </c:pt>
                <c:pt idx="662">
                  <c:v>0.08</c:v>
                </c:pt>
                <c:pt idx="663">
                  <c:v>0.05</c:v>
                </c:pt>
                <c:pt idx="664">
                  <c:v>7.0000000000000007E-2</c:v>
                </c:pt>
                <c:pt idx="665">
                  <c:v>0.02</c:v>
                </c:pt>
                <c:pt idx="666">
                  <c:v>0.02</c:v>
                </c:pt>
                <c:pt idx="667">
                  <c:v>0.01</c:v>
                </c:pt>
                <c:pt idx="668">
                  <c:v>0.04</c:v>
                </c:pt>
                <c:pt idx="669">
                  <c:v>0.11</c:v>
                </c:pt>
                <c:pt idx="670">
                  <c:v>0.04</c:v>
                </c:pt>
                <c:pt idx="671">
                  <c:v>0.1</c:v>
                </c:pt>
                <c:pt idx="672">
                  <c:v>0.02</c:v>
                </c:pt>
                <c:pt idx="673">
                  <c:v>0.08</c:v>
                </c:pt>
                <c:pt idx="674">
                  <c:v>0.05</c:v>
                </c:pt>
                <c:pt idx="675">
                  <c:v>0.03</c:v>
                </c:pt>
                <c:pt idx="676">
                  <c:v>0.03</c:v>
                </c:pt>
                <c:pt idx="677">
                  <c:v>0.02</c:v>
                </c:pt>
                <c:pt idx="678">
                  <c:v>0.06</c:v>
                </c:pt>
                <c:pt idx="679">
                  <c:v>0.09</c:v>
                </c:pt>
                <c:pt idx="680">
                  <c:v>0.02</c:v>
                </c:pt>
                <c:pt idx="681">
                  <c:v>0.17</c:v>
                </c:pt>
                <c:pt idx="682">
                  <c:v>0.09</c:v>
                </c:pt>
                <c:pt idx="683">
                  <c:v>0.09</c:v>
                </c:pt>
                <c:pt idx="684">
                  <c:v>0.06</c:v>
                </c:pt>
                <c:pt idx="685">
                  <c:v>0.04</c:v>
                </c:pt>
                <c:pt idx="686">
                  <c:v>0.02</c:v>
                </c:pt>
                <c:pt idx="687">
                  <c:v>0.06</c:v>
                </c:pt>
                <c:pt idx="688">
                  <c:v>0.03</c:v>
                </c:pt>
                <c:pt idx="689">
                  <c:v>0.04</c:v>
                </c:pt>
                <c:pt idx="690">
                  <c:v>0.04</c:v>
                </c:pt>
                <c:pt idx="691">
                  <c:v>0.04</c:v>
                </c:pt>
                <c:pt idx="692">
                  <c:v>0.13</c:v>
                </c:pt>
                <c:pt idx="693">
                  <c:v>0.05</c:v>
                </c:pt>
                <c:pt idx="694">
                  <c:v>0.04</c:v>
                </c:pt>
                <c:pt idx="695">
                  <c:v>0.12</c:v>
                </c:pt>
                <c:pt idx="696">
                  <c:v>0.04</c:v>
                </c:pt>
                <c:pt idx="697">
                  <c:v>0.06</c:v>
                </c:pt>
                <c:pt idx="698">
                  <c:v>0.04</c:v>
                </c:pt>
                <c:pt idx="699">
                  <c:v>0.05</c:v>
                </c:pt>
                <c:pt idx="700">
                  <c:v>0.1</c:v>
                </c:pt>
                <c:pt idx="701">
                  <c:v>0.01</c:v>
                </c:pt>
                <c:pt idx="702">
                  <c:v>0.09</c:v>
                </c:pt>
                <c:pt idx="703">
                  <c:v>0.03</c:v>
                </c:pt>
                <c:pt idx="704">
                  <c:v>0.02</c:v>
                </c:pt>
                <c:pt idx="705">
                  <c:v>0.08</c:v>
                </c:pt>
                <c:pt idx="706">
                  <c:v>0.06</c:v>
                </c:pt>
                <c:pt idx="707">
                  <c:v>0.04</c:v>
                </c:pt>
                <c:pt idx="708">
                  <c:v>0.15</c:v>
                </c:pt>
                <c:pt idx="709">
                  <c:v>0.02</c:v>
                </c:pt>
                <c:pt idx="710">
                  <c:v>0.05</c:v>
                </c:pt>
                <c:pt idx="711">
                  <c:v>0.12</c:v>
                </c:pt>
                <c:pt idx="712">
                  <c:v>0.05</c:v>
                </c:pt>
                <c:pt idx="713">
                  <c:v>0.03</c:v>
                </c:pt>
                <c:pt idx="714">
                  <c:v>0.06</c:v>
                </c:pt>
                <c:pt idx="715">
                  <c:v>0.02</c:v>
                </c:pt>
                <c:pt idx="716">
                  <c:v>0.02</c:v>
                </c:pt>
                <c:pt idx="717">
                  <c:v>0.05</c:v>
                </c:pt>
                <c:pt idx="718">
                  <c:v>0.04</c:v>
                </c:pt>
                <c:pt idx="719">
                  <c:v>7.0000000000000007E-2</c:v>
                </c:pt>
                <c:pt idx="720">
                  <c:v>0.18</c:v>
                </c:pt>
                <c:pt idx="721">
                  <c:v>0.05</c:v>
                </c:pt>
                <c:pt idx="722">
                  <c:v>0.08</c:v>
                </c:pt>
                <c:pt idx="723">
                  <c:v>0.03</c:v>
                </c:pt>
                <c:pt idx="724">
                  <c:v>0.02</c:v>
                </c:pt>
                <c:pt idx="725">
                  <c:v>7.0000000000000007E-2</c:v>
                </c:pt>
                <c:pt idx="726">
                  <c:v>0.01</c:v>
                </c:pt>
                <c:pt idx="727">
                  <c:v>0.05</c:v>
                </c:pt>
                <c:pt idx="728">
                  <c:v>0.02</c:v>
                </c:pt>
                <c:pt idx="729">
                  <c:v>7.0000000000000007E-2</c:v>
                </c:pt>
                <c:pt idx="730">
                  <c:v>7.0000000000000007E-2</c:v>
                </c:pt>
                <c:pt idx="731">
                  <c:v>0.05</c:v>
                </c:pt>
                <c:pt idx="732">
                  <c:v>0.03</c:v>
                </c:pt>
                <c:pt idx="733">
                  <c:v>0.06</c:v>
                </c:pt>
                <c:pt idx="734">
                  <c:v>0.15</c:v>
                </c:pt>
                <c:pt idx="735">
                  <c:v>0.02</c:v>
                </c:pt>
                <c:pt idx="736">
                  <c:v>0.17</c:v>
                </c:pt>
                <c:pt idx="737">
                  <c:v>0.04</c:v>
                </c:pt>
                <c:pt idx="738">
                  <c:v>0.05</c:v>
                </c:pt>
                <c:pt idx="739">
                  <c:v>0.19</c:v>
                </c:pt>
                <c:pt idx="740">
                  <c:v>0.05</c:v>
                </c:pt>
                <c:pt idx="741">
                  <c:v>0.02</c:v>
                </c:pt>
                <c:pt idx="742">
                  <c:v>0.02</c:v>
                </c:pt>
                <c:pt idx="743">
                  <c:v>0.03</c:v>
                </c:pt>
                <c:pt idx="744">
                  <c:v>0.03</c:v>
                </c:pt>
                <c:pt idx="745">
                  <c:v>0.02</c:v>
                </c:pt>
                <c:pt idx="746">
                  <c:v>7.0000000000000007E-2</c:v>
                </c:pt>
                <c:pt idx="747">
                  <c:v>0.01</c:v>
                </c:pt>
                <c:pt idx="748">
                  <c:v>0.04</c:v>
                </c:pt>
                <c:pt idx="749">
                  <c:v>0.01</c:v>
                </c:pt>
                <c:pt idx="750">
                  <c:v>0.1</c:v>
                </c:pt>
                <c:pt idx="751">
                  <c:v>0.03</c:v>
                </c:pt>
                <c:pt idx="752">
                  <c:v>0.03</c:v>
                </c:pt>
                <c:pt idx="753">
                  <c:v>0.03</c:v>
                </c:pt>
                <c:pt idx="754">
                  <c:v>0.06</c:v>
                </c:pt>
                <c:pt idx="755">
                  <c:v>0.01</c:v>
                </c:pt>
                <c:pt idx="756">
                  <c:v>0.02</c:v>
                </c:pt>
                <c:pt idx="757">
                  <c:v>0.01</c:v>
                </c:pt>
                <c:pt idx="758">
                  <c:v>0.06</c:v>
                </c:pt>
                <c:pt idx="759">
                  <c:v>0.3</c:v>
                </c:pt>
                <c:pt idx="760">
                  <c:v>0.01</c:v>
                </c:pt>
                <c:pt idx="761">
                  <c:v>0.02</c:v>
                </c:pt>
                <c:pt idx="762">
                  <c:v>0.01</c:v>
                </c:pt>
                <c:pt idx="763">
                  <c:v>0.01</c:v>
                </c:pt>
                <c:pt idx="764">
                  <c:v>0.02</c:v>
                </c:pt>
                <c:pt idx="765">
                  <c:v>0.02</c:v>
                </c:pt>
                <c:pt idx="766">
                  <c:v>0.05</c:v>
                </c:pt>
                <c:pt idx="767">
                  <c:v>0.01</c:v>
                </c:pt>
                <c:pt idx="768">
                  <c:v>0.03</c:v>
                </c:pt>
                <c:pt idx="769">
                  <c:v>0.15</c:v>
                </c:pt>
                <c:pt idx="770">
                  <c:v>0.04</c:v>
                </c:pt>
                <c:pt idx="771">
                  <c:v>0.05</c:v>
                </c:pt>
                <c:pt idx="772">
                  <c:v>0.01</c:v>
                </c:pt>
                <c:pt idx="773">
                  <c:v>0.03</c:v>
                </c:pt>
                <c:pt idx="774">
                  <c:v>0.02</c:v>
                </c:pt>
                <c:pt idx="775">
                  <c:v>0.01</c:v>
                </c:pt>
                <c:pt idx="776">
                  <c:v>0.03</c:v>
                </c:pt>
                <c:pt idx="777">
                  <c:v>0.01</c:v>
                </c:pt>
                <c:pt idx="778">
                  <c:v>0.02</c:v>
                </c:pt>
                <c:pt idx="779">
                  <c:v>0.01</c:v>
                </c:pt>
                <c:pt idx="780">
                  <c:v>0.04</c:v>
                </c:pt>
                <c:pt idx="781">
                  <c:v>0.01</c:v>
                </c:pt>
                <c:pt idx="782">
                  <c:v>0.03</c:v>
                </c:pt>
                <c:pt idx="783">
                  <c:v>0.01</c:v>
                </c:pt>
                <c:pt idx="784">
                  <c:v>0.02</c:v>
                </c:pt>
                <c:pt idx="785">
                  <c:v>0.09</c:v>
                </c:pt>
                <c:pt idx="786">
                  <c:v>0.01</c:v>
                </c:pt>
                <c:pt idx="787">
                  <c:v>0.02</c:v>
                </c:pt>
                <c:pt idx="788">
                  <c:v>0.01</c:v>
                </c:pt>
                <c:pt idx="789">
                  <c:v>0.02</c:v>
                </c:pt>
                <c:pt idx="790">
                  <c:v>0.02</c:v>
                </c:pt>
                <c:pt idx="791">
                  <c:v>0.04</c:v>
                </c:pt>
                <c:pt idx="792">
                  <c:v>0.05</c:v>
                </c:pt>
                <c:pt idx="793">
                  <c:v>0.03</c:v>
                </c:pt>
                <c:pt idx="794">
                  <c:v>0.02</c:v>
                </c:pt>
                <c:pt idx="795">
                  <c:v>0.01</c:v>
                </c:pt>
                <c:pt idx="796">
                  <c:v>0.01</c:v>
                </c:pt>
                <c:pt idx="797">
                  <c:v>0.01</c:v>
                </c:pt>
                <c:pt idx="798">
                  <c:v>0.01</c:v>
                </c:pt>
                <c:pt idx="799">
                  <c:v>0.03</c:v>
                </c:pt>
                <c:pt idx="800">
                  <c:v>0.01</c:v>
                </c:pt>
                <c:pt idx="801">
                  <c:v>0.01</c:v>
                </c:pt>
                <c:pt idx="802">
                  <c:v>0.02</c:v>
                </c:pt>
                <c:pt idx="803">
                  <c:v>0.02</c:v>
                </c:pt>
                <c:pt idx="804">
                  <c:v>0.03</c:v>
                </c:pt>
                <c:pt idx="805">
                  <c:v>0.02</c:v>
                </c:pt>
                <c:pt idx="806">
                  <c:v>0.02</c:v>
                </c:pt>
                <c:pt idx="807">
                  <c:v>0.01</c:v>
                </c:pt>
                <c:pt idx="808">
                  <c:v>0.01</c:v>
                </c:pt>
                <c:pt idx="809">
                  <c:v>0.02</c:v>
                </c:pt>
                <c:pt idx="810">
                  <c:v>0.02</c:v>
                </c:pt>
                <c:pt idx="811">
                  <c:v>0.01</c:v>
                </c:pt>
                <c:pt idx="812">
                  <c:v>0.01</c:v>
                </c:pt>
                <c:pt idx="813">
                  <c:v>0.01</c:v>
                </c:pt>
                <c:pt idx="814">
                  <c:v>0.04</c:v>
                </c:pt>
                <c:pt idx="815">
                  <c:v>7.0000000000000007E-2</c:v>
                </c:pt>
                <c:pt idx="816">
                  <c:v>0.02</c:v>
                </c:pt>
                <c:pt idx="817">
                  <c:v>0.02</c:v>
                </c:pt>
                <c:pt idx="818">
                  <c:v>0.02</c:v>
                </c:pt>
                <c:pt idx="819">
                  <c:v>0.02</c:v>
                </c:pt>
                <c:pt idx="820">
                  <c:v>0.03</c:v>
                </c:pt>
                <c:pt idx="821">
                  <c:v>0.04</c:v>
                </c:pt>
                <c:pt idx="822">
                  <c:v>0.03</c:v>
                </c:pt>
                <c:pt idx="823">
                  <c:v>0.02</c:v>
                </c:pt>
                <c:pt idx="824">
                  <c:v>7.0000000000000007E-2</c:v>
                </c:pt>
                <c:pt idx="825">
                  <c:v>0.06</c:v>
                </c:pt>
                <c:pt idx="826">
                  <c:v>0.03</c:v>
                </c:pt>
                <c:pt idx="827">
                  <c:v>0.1</c:v>
                </c:pt>
                <c:pt idx="828">
                  <c:v>7.0000000000000007E-2</c:v>
                </c:pt>
                <c:pt idx="829">
                  <c:v>0.02</c:v>
                </c:pt>
                <c:pt idx="830">
                  <c:v>0.02</c:v>
                </c:pt>
                <c:pt idx="831">
                  <c:v>0.02</c:v>
                </c:pt>
                <c:pt idx="832">
                  <c:v>0.01</c:v>
                </c:pt>
                <c:pt idx="833">
                  <c:v>0.01</c:v>
                </c:pt>
                <c:pt idx="834">
                  <c:v>0.01</c:v>
                </c:pt>
                <c:pt idx="835">
                  <c:v>0.02</c:v>
                </c:pt>
                <c:pt idx="836">
                  <c:v>0.03</c:v>
                </c:pt>
                <c:pt idx="837">
                  <c:v>0.02</c:v>
                </c:pt>
                <c:pt idx="838">
                  <c:v>0.03</c:v>
                </c:pt>
                <c:pt idx="839">
                  <c:v>0.01</c:v>
                </c:pt>
                <c:pt idx="840">
                  <c:v>0.02</c:v>
                </c:pt>
                <c:pt idx="841">
                  <c:v>0.1</c:v>
                </c:pt>
                <c:pt idx="842">
                  <c:v>0.01</c:v>
                </c:pt>
                <c:pt idx="843">
                  <c:v>0.01</c:v>
                </c:pt>
                <c:pt idx="844">
                  <c:v>0.02</c:v>
                </c:pt>
                <c:pt idx="845">
                  <c:v>0.03</c:v>
                </c:pt>
                <c:pt idx="846">
                  <c:v>0.01</c:v>
                </c:pt>
                <c:pt idx="847">
                  <c:v>0.09</c:v>
                </c:pt>
                <c:pt idx="848">
                  <c:v>0.01</c:v>
                </c:pt>
                <c:pt idx="849">
                  <c:v>0.06</c:v>
                </c:pt>
                <c:pt idx="850">
                  <c:v>0.03</c:v>
                </c:pt>
                <c:pt idx="851">
                  <c:v>0.02</c:v>
                </c:pt>
                <c:pt idx="852">
                  <c:v>0.01</c:v>
                </c:pt>
                <c:pt idx="853">
                  <c:v>0.02</c:v>
                </c:pt>
                <c:pt idx="854">
                  <c:v>0.04</c:v>
                </c:pt>
                <c:pt idx="855">
                  <c:v>0.02</c:v>
                </c:pt>
                <c:pt idx="856">
                  <c:v>0.01</c:v>
                </c:pt>
                <c:pt idx="857">
                  <c:v>0.02</c:v>
                </c:pt>
                <c:pt idx="858">
                  <c:v>0.03</c:v>
                </c:pt>
                <c:pt idx="859">
                  <c:v>0.01</c:v>
                </c:pt>
                <c:pt idx="860">
                  <c:v>0.04</c:v>
                </c:pt>
                <c:pt idx="861">
                  <c:v>0.03</c:v>
                </c:pt>
                <c:pt idx="862">
                  <c:v>0.01</c:v>
                </c:pt>
                <c:pt idx="863">
                  <c:v>0.01</c:v>
                </c:pt>
                <c:pt idx="864">
                  <c:v>0.01</c:v>
                </c:pt>
                <c:pt idx="865">
                  <c:v>0.01</c:v>
                </c:pt>
                <c:pt idx="866">
                  <c:v>7.0000000000000007E-2</c:v>
                </c:pt>
                <c:pt idx="867">
                  <c:v>0.01</c:v>
                </c:pt>
                <c:pt idx="868">
                  <c:v>0.05</c:v>
                </c:pt>
                <c:pt idx="869">
                  <c:v>0.11</c:v>
                </c:pt>
                <c:pt idx="870">
                  <c:v>0.01</c:v>
                </c:pt>
                <c:pt idx="871">
                  <c:v>0.02</c:v>
                </c:pt>
                <c:pt idx="872">
                  <c:v>0.01</c:v>
                </c:pt>
                <c:pt idx="873">
                  <c:v>0.01</c:v>
                </c:pt>
                <c:pt idx="874">
                  <c:v>0.02</c:v>
                </c:pt>
                <c:pt idx="875">
                  <c:v>0.01</c:v>
                </c:pt>
                <c:pt idx="876">
                  <c:v>0.01</c:v>
                </c:pt>
                <c:pt idx="877">
                  <c:v>0.01</c:v>
                </c:pt>
                <c:pt idx="878">
                  <c:v>0.01</c:v>
                </c:pt>
                <c:pt idx="879">
                  <c:v>0.01</c:v>
                </c:pt>
                <c:pt idx="880">
                  <c:v>0.02</c:v>
                </c:pt>
                <c:pt idx="881">
                  <c:v>0.01</c:v>
                </c:pt>
                <c:pt idx="882">
                  <c:v>0.01</c:v>
                </c:pt>
                <c:pt idx="883">
                  <c:v>0.01</c:v>
                </c:pt>
                <c:pt idx="884">
                  <c:v>0.01</c:v>
                </c:pt>
                <c:pt idx="885">
                  <c:v>0.01</c:v>
                </c:pt>
                <c:pt idx="886">
                  <c:v>0.01</c:v>
                </c:pt>
                <c:pt idx="887">
                  <c:v>0.01</c:v>
                </c:pt>
                <c:pt idx="888">
                  <c:v>0.01</c:v>
                </c:pt>
                <c:pt idx="889">
                  <c:v>0.01</c:v>
                </c:pt>
                <c:pt idx="890">
                  <c:v>0.05</c:v>
                </c:pt>
                <c:pt idx="891">
                  <c:v>0.01</c:v>
                </c:pt>
                <c:pt idx="892">
                  <c:v>0.01</c:v>
                </c:pt>
                <c:pt idx="893">
                  <c:v>0.01</c:v>
                </c:pt>
                <c:pt idx="894">
                  <c:v>0.01</c:v>
                </c:pt>
                <c:pt idx="895">
                  <c:v>0.02</c:v>
                </c:pt>
                <c:pt idx="896">
                  <c:v>0.03</c:v>
                </c:pt>
                <c:pt idx="897">
                  <c:v>0.01</c:v>
                </c:pt>
                <c:pt idx="898">
                  <c:v>0.01</c:v>
                </c:pt>
                <c:pt idx="899">
                  <c:v>0.01</c:v>
                </c:pt>
                <c:pt idx="900">
                  <c:v>0.02</c:v>
                </c:pt>
                <c:pt idx="901">
                  <c:v>0.08</c:v>
                </c:pt>
                <c:pt idx="902">
                  <c:v>0.02</c:v>
                </c:pt>
                <c:pt idx="903">
                  <c:v>0.02</c:v>
                </c:pt>
                <c:pt idx="904">
                  <c:v>0.01</c:v>
                </c:pt>
                <c:pt idx="905">
                  <c:v>0.01</c:v>
                </c:pt>
                <c:pt idx="906">
                  <c:v>0.01</c:v>
                </c:pt>
                <c:pt idx="907">
                  <c:v>0.03</c:v>
                </c:pt>
                <c:pt idx="908">
                  <c:v>0.03</c:v>
                </c:pt>
                <c:pt idx="909">
                  <c:v>0.01</c:v>
                </c:pt>
                <c:pt idx="910">
                  <c:v>0.02</c:v>
                </c:pt>
                <c:pt idx="911">
                  <c:v>0.03</c:v>
                </c:pt>
                <c:pt idx="912">
                  <c:v>0.01</c:v>
                </c:pt>
                <c:pt idx="913">
                  <c:v>0.01</c:v>
                </c:pt>
                <c:pt idx="914">
                  <c:v>0.01</c:v>
                </c:pt>
                <c:pt idx="915">
                  <c:v>0.01</c:v>
                </c:pt>
                <c:pt idx="916">
                  <c:v>0.01</c:v>
                </c:pt>
                <c:pt idx="917">
                  <c:v>0.01</c:v>
                </c:pt>
                <c:pt idx="918">
                  <c:v>0.01</c:v>
                </c:pt>
                <c:pt idx="919">
                  <c:v>0.03</c:v>
                </c:pt>
                <c:pt idx="920">
                  <c:v>0.01</c:v>
                </c:pt>
                <c:pt idx="921">
                  <c:v>0.01</c:v>
                </c:pt>
                <c:pt idx="922">
                  <c:v>0.01</c:v>
                </c:pt>
                <c:pt idx="923">
                  <c:v>0.01</c:v>
                </c:pt>
                <c:pt idx="924">
                  <c:v>0.08</c:v>
                </c:pt>
                <c:pt idx="925">
                  <c:v>0.01</c:v>
                </c:pt>
                <c:pt idx="926">
                  <c:v>0.01</c:v>
                </c:pt>
                <c:pt idx="927">
                  <c:v>0.01</c:v>
                </c:pt>
                <c:pt idx="928">
                  <c:v>0.01</c:v>
                </c:pt>
                <c:pt idx="929">
                  <c:v>0.01</c:v>
                </c:pt>
                <c:pt idx="930">
                  <c:v>0.02</c:v>
                </c:pt>
                <c:pt idx="931">
                  <c:v>0.01</c:v>
                </c:pt>
                <c:pt idx="932">
                  <c:v>0.02</c:v>
                </c:pt>
                <c:pt idx="933">
                  <c:v>0.01</c:v>
                </c:pt>
                <c:pt idx="934">
                  <c:v>0.02</c:v>
                </c:pt>
                <c:pt idx="935">
                  <c:v>0.01</c:v>
                </c:pt>
                <c:pt idx="936">
                  <c:v>0.01</c:v>
                </c:pt>
                <c:pt idx="937">
                  <c:v>0.04</c:v>
                </c:pt>
                <c:pt idx="938">
                  <c:v>0.01</c:v>
                </c:pt>
                <c:pt idx="939">
                  <c:v>0.02</c:v>
                </c:pt>
                <c:pt idx="940">
                  <c:v>0.04</c:v>
                </c:pt>
                <c:pt idx="941">
                  <c:v>0.01</c:v>
                </c:pt>
                <c:pt idx="942">
                  <c:v>0.01</c:v>
                </c:pt>
                <c:pt idx="943">
                  <c:v>0.01</c:v>
                </c:pt>
                <c:pt idx="944">
                  <c:v>0.01</c:v>
                </c:pt>
                <c:pt idx="945">
                  <c:v>0.01</c:v>
                </c:pt>
                <c:pt idx="946">
                  <c:v>0.01</c:v>
                </c:pt>
                <c:pt idx="947">
                  <c:v>0.01</c:v>
                </c:pt>
                <c:pt idx="948">
                  <c:v>0.03</c:v>
                </c:pt>
                <c:pt idx="949">
                  <c:v>0.01</c:v>
                </c:pt>
                <c:pt idx="950">
                  <c:v>0.01</c:v>
                </c:pt>
                <c:pt idx="951">
                  <c:v>0.01</c:v>
                </c:pt>
                <c:pt idx="952">
                  <c:v>0.01</c:v>
                </c:pt>
                <c:pt idx="953">
                  <c:v>0.01</c:v>
                </c:pt>
                <c:pt idx="954">
                  <c:v>0.01</c:v>
                </c:pt>
                <c:pt idx="955">
                  <c:v>0.03</c:v>
                </c:pt>
                <c:pt idx="956">
                  <c:v>0.01</c:v>
                </c:pt>
                <c:pt idx="957">
                  <c:v>0.01</c:v>
                </c:pt>
                <c:pt idx="958">
                  <c:v>0.01</c:v>
                </c:pt>
                <c:pt idx="959">
                  <c:v>0.01</c:v>
                </c:pt>
                <c:pt idx="960">
                  <c:v>0.01</c:v>
                </c:pt>
                <c:pt idx="961">
                  <c:v>0.01</c:v>
                </c:pt>
                <c:pt idx="962">
                  <c:v>0.01</c:v>
                </c:pt>
                <c:pt idx="963">
                  <c:v>0.03</c:v>
                </c:pt>
                <c:pt idx="964">
                  <c:v>0.01</c:v>
                </c:pt>
                <c:pt idx="965">
                  <c:v>0.01</c:v>
                </c:pt>
                <c:pt idx="966">
                  <c:v>0.05</c:v>
                </c:pt>
                <c:pt idx="967">
                  <c:v>0.01</c:v>
                </c:pt>
                <c:pt idx="968">
                  <c:v>0.01</c:v>
                </c:pt>
                <c:pt idx="969">
                  <c:v>0.06</c:v>
                </c:pt>
                <c:pt idx="970">
                  <c:v>0.03</c:v>
                </c:pt>
                <c:pt idx="971">
                  <c:v>0.02</c:v>
                </c:pt>
                <c:pt idx="972">
                  <c:v>0.02</c:v>
                </c:pt>
                <c:pt idx="973">
                  <c:v>0.02</c:v>
                </c:pt>
                <c:pt idx="974">
                  <c:v>0.03</c:v>
                </c:pt>
                <c:pt idx="975">
                  <c:v>0.03</c:v>
                </c:pt>
                <c:pt idx="976">
                  <c:v>0.01</c:v>
                </c:pt>
                <c:pt idx="977">
                  <c:v>0.01</c:v>
                </c:pt>
                <c:pt idx="978">
                  <c:v>0.03</c:v>
                </c:pt>
                <c:pt idx="979">
                  <c:v>0.02</c:v>
                </c:pt>
                <c:pt idx="980">
                  <c:v>0.01</c:v>
                </c:pt>
                <c:pt idx="981">
                  <c:v>0.08</c:v>
                </c:pt>
                <c:pt idx="982">
                  <c:v>0.05</c:v>
                </c:pt>
                <c:pt idx="983">
                  <c:v>0.02</c:v>
                </c:pt>
                <c:pt idx="984">
                  <c:v>0.01</c:v>
                </c:pt>
                <c:pt idx="985">
                  <c:v>0.01</c:v>
                </c:pt>
                <c:pt idx="986">
                  <c:v>0.03</c:v>
                </c:pt>
                <c:pt idx="987">
                  <c:v>0.01</c:v>
                </c:pt>
                <c:pt idx="988">
                  <c:v>0.05</c:v>
                </c:pt>
                <c:pt idx="989">
                  <c:v>0.01</c:v>
                </c:pt>
                <c:pt idx="990">
                  <c:v>0.02</c:v>
                </c:pt>
                <c:pt idx="991">
                  <c:v>0.01</c:v>
                </c:pt>
                <c:pt idx="992">
                  <c:v>0.01</c:v>
                </c:pt>
                <c:pt idx="993">
                  <c:v>0.01</c:v>
                </c:pt>
                <c:pt idx="994">
                  <c:v>0.01</c:v>
                </c:pt>
                <c:pt idx="995">
                  <c:v>0.01</c:v>
                </c:pt>
                <c:pt idx="996">
                  <c:v>0.03</c:v>
                </c:pt>
                <c:pt idx="997">
                  <c:v>0.02</c:v>
                </c:pt>
                <c:pt idx="998">
                  <c:v>0.01</c:v>
                </c:pt>
                <c:pt idx="999">
                  <c:v>0.03</c:v>
                </c:pt>
                <c:pt idx="1000">
                  <c:v>0.01</c:v>
                </c:pt>
                <c:pt idx="1001">
                  <c:v>0.02</c:v>
                </c:pt>
                <c:pt idx="1002">
                  <c:v>0.01</c:v>
                </c:pt>
                <c:pt idx="1003">
                  <c:v>0.01</c:v>
                </c:pt>
                <c:pt idx="1004">
                  <c:v>0.01</c:v>
                </c:pt>
                <c:pt idx="1005">
                  <c:v>0.01</c:v>
                </c:pt>
                <c:pt idx="1006">
                  <c:v>0.01</c:v>
                </c:pt>
                <c:pt idx="1007">
                  <c:v>0.01</c:v>
                </c:pt>
                <c:pt idx="1008">
                  <c:v>0.01</c:v>
                </c:pt>
                <c:pt idx="1009">
                  <c:v>0.01</c:v>
                </c:pt>
                <c:pt idx="1010">
                  <c:v>0.01</c:v>
                </c:pt>
                <c:pt idx="1011">
                  <c:v>0.01</c:v>
                </c:pt>
                <c:pt idx="1012">
                  <c:v>0.01</c:v>
                </c:pt>
                <c:pt idx="1013">
                  <c:v>0.01</c:v>
                </c:pt>
                <c:pt idx="1014">
                  <c:v>0.01</c:v>
                </c:pt>
                <c:pt idx="1015">
                  <c:v>0.01</c:v>
                </c:pt>
                <c:pt idx="1016">
                  <c:v>0.03</c:v>
                </c:pt>
                <c:pt idx="1017">
                  <c:v>0.01</c:v>
                </c:pt>
                <c:pt idx="1018">
                  <c:v>0.01</c:v>
                </c:pt>
                <c:pt idx="1019">
                  <c:v>0.01</c:v>
                </c:pt>
                <c:pt idx="1020">
                  <c:v>0.01</c:v>
                </c:pt>
                <c:pt idx="1021">
                  <c:v>0.01</c:v>
                </c:pt>
                <c:pt idx="1022">
                  <c:v>0.01</c:v>
                </c:pt>
                <c:pt idx="1023">
                  <c:v>0.01</c:v>
                </c:pt>
                <c:pt idx="1024">
                  <c:v>0.01</c:v>
                </c:pt>
                <c:pt idx="1025">
                  <c:v>0.01</c:v>
                </c:pt>
                <c:pt idx="1026">
                  <c:v>0.02</c:v>
                </c:pt>
                <c:pt idx="1027">
                  <c:v>0.01</c:v>
                </c:pt>
                <c:pt idx="1028">
                  <c:v>0.01</c:v>
                </c:pt>
                <c:pt idx="102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invertIfNegative val="1"/>
            <c:bubble3D val="0"/>
            <c:spPr>
              <a:solidFill>
                <a:srgbClr val="00A097"/>
              </a:solidFill>
            </c:spPr>
            <c:extLst>
              <c:ext xmlns:c16="http://schemas.microsoft.com/office/drawing/2014/chart" uri="{C3380CC4-5D6E-409C-BE32-E72D297353CC}">
                <c16:uniqueId val="{000001A7-6BA1-4C47-8A73-023BF2903B93}"/>
              </c:ext>
            </c:extLst>
          </c:dPt>
          <c:dPt>
            <c:idx val="211"/>
            <c:invertIfNegative val="1"/>
            <c:bubble3D val="0"/>
            <c:spPr>
              <a:solidFill>
                <a:srgbClr val="00A097"/>
              </a:solidFill>
            </c:spPr>
            <c:extLst>
              <c:ext xmlns:c16="http://schemas.microsoft.com/office/drawing/2014/chart" uri="{C3380CC4-5D6E-409C-BE32-E72D297353CC}">
                <c16:uniqueId val="{000001A9-6BA1-4C47-8A73-023BF2903B93}"/>
              </c:ext>
            </c:extLst>
          </c:dPt>
          <c:dPt>
            <c:idx val="212"/>
            <c:invertIfNegative val="1"/>
            <c:bubble3D val="0"/>
            <c:spPr>
              <a:solidFill>
                <a:srgbClr val="00A097"/>
              </a:solidFill>
            </c:spPr>
            <c:extLst>
              <c:ext xmlns:c16="http://schemas.microsoft.com/office/drawing/2014/chart" uri="{C3380CC4-5D6E-409C-BE32-E72D297353CC}">
                <c16:uniqueId val="{000001AB-6BA1-4C47-8A73-023BF2903B93}"/>
              </c:ext>
            </c:extLst>
          </c:dPt>
          <c:dPt>
            <c:idx val="213"/>
            <c:invertIfNegative val="1"/>
            <c:bubble3D val="0"/>
            <c:spPr>
              <a:solidFill>
                <a:srgbClr val="00A097"/>
              </a:solidFill>
            </c:spPr>
            <c:extLst>
              <c:ext xmlns:c16="http://schemas.microsoft.com/office/drawing/2014/chart" uri="{C3380CC4-5D6E-409C-BE32-E72D297353CC}">
                <c16:uniqueId val="{000001AD-6BA1-4C47-8A73-023BF2903B93}"/>
              </c:ext>
            </c:extLst>
          </c:dPt>
          <c:dPt>
            <c:idx val="214"/>
            <c:invertIfNegative val="1"/>
            <c:bubble3D val="0"/>
            <c:spPr>
              <a:solidFill>
                <a:srgbClr val="00A097"/>
              </a:solidFill>
            </c:spPr>
            <c:extLst>
              <c:ext xmlns:c16="http://schemas.microsoft.com/office/drawing/2014/chart" uri="{C3380CC4-5D6E-409C-BE32-E72D297353CC}">
                <c16:uniqueId val="{000001AF-6BA1-4C47-8A73-023BF2903B93}"/>
              </c:ext>
            </c:extLst>
          </c:dPt>
          <c:dPt>
            <c:idx val="215"/>
            <c:invertIfNegative val="1"/>
            <c:bubble3D val="0"/>
            <c:spPr>
              <a:solidFill>
                <a:srgbClr val="7ECAC4"/>
              </a:solidFill>
            </c:spPr>
            <c:extLst>
              <c:ext xmlns:c16="http://schemas.microsoft.com/office/drawing/2014/chart" uri="{C3380CC4-5D6E-409C-BE32-E72D297353CC}">
                <c16:uniqueId val="{000001B1-6BA1-4C47-8A73-023BF2903B93}"/>
              </c:ext>
            </c:extLst>
          </c:dPt>
          <c:dPt>
            <c:idx val="216"/>
            <c:invertIfNegative val="1"/>
            <c:bubble3D val="0"/>
            <c:spPr>
              <a:solidFill>
                <a:srgbClr val="7ECAC4"/>
              </a:solidFill>
            </c:spPr>
            <c:extLst>
              <c:ext xmlns:c16="http://schemas.microsoft.com/office/drawing/2014/chart" uri="{C3380CC4-5D6E-409C-BE32-E72D297353CC}">
                <c16:uniqueId val="{000001B3-6BA1-4C47-8A73-023BF2903B93}"/>
              </c:ext>
            </c:extLst>
          </c:dPt>
          <c:dPt>
            <c:idx val="217"/>
            <c:invertIfNegative val="1"/>
            <c:bubble3D val="0"/>
            <c:spPr>
              <a:solidFill>
                <a:srgbClr val="7ECAC4"/>
              </a:solidFill>
            </c:spPr>
            <c:extLst>
              <c:ext xmlns:c16="http://schemas.microsoft.com/office/drawing/2014/chart" uri="{C3380CC4-5D6E-409C-BE32-E72D297353CC}">
                <c16:uniqueId val="{000001B5-6BA1-4C47-8A73-023BF2903B93}"/>
              </c:ext>
            </c:extLst>
          </c:dPt>
          <c:dPt>
            <c:idx val="218"/>
            <c:invertIfNegative val="1"/>
            <c:bubble3D val="0"/>
            <c:spPr>
              <a:solidFill>
                <a:srgbClr val="7ECAC4"/>
              </a:solidFill>
            </c:spPr>
            <c:extLst>
              <c:ext xmlns:c16="http://schemas.microsoft.com/office/drawing/2014/chart" uri="{C3380CC4-5D6E-409C-BE32-E72D297353CC}">
                <c16:uniqueId val="{000001B7-6BA1-4C47-8A73-023BF2903B93}"/>
              </c:ext>
            </c:extLst>
          </c:dPt>
          <c:dPt>
            <c:idx val="219"/>
            <c:invertIfNegative val="1"/>
            <c:bubble3D val="0"/>
            <c:spPr>
              <a:solidFill>
                <a:srgbClr val="7ECAC4"/>
              </a:solidFill>
            </c:spPr>
            <c:extLst>
              <c:ext xmlns:c16="http://schemas.microsoft.com/office/drawing/2014/chart" uri="{C3380CC4-5D6E-409C-BE32-E72D297353CC}">
                <c16:uniqueId val="{000001B9-6BA1-4C47-8A73-023BF2903B93}"/>
              </c:ext>
            </c:extLst>
          </c:dPt>
          <c:dPt>
            <c:idx val="220"/>
            <c:invertIfNegative val="1"/>
            <c:bubble3D val="0"/>
            <c:spPr>
              <a:solidFill>
                <a:srgbClr val="7ECAC4"/>
              </a:solidFill>
            </c:spPr>
            <c:extLst>
              <c:ext xmlns:c16="http://schemas.microsoft.com/office/drawing/2014/chart" uri="{C3380CC4-5D6E-409C-BE32-E72D297353CC}">
                <c16:uniqueId val="{000001BB-6BA1-4C47-8A73-023BF2903B93}"/>
              </c:ext>
            </c:extLst>
          </c:dPt>
          <c:dPt>
            <c:idx val="221"/>
            <c:invertIfNegative val="1"/>
            <c:bubble3D val="0"/>
            <c:spPr>
              <a:solidFill>
                <a:srgbClr val="7ECAC4"/>
              </a:solidFill>
            </c:spPr>
            <c:extLst>
              <c:ext xmlns:c16="http://schemas.microsoft.com/office/drawing/2014/chart" uri="{C3380CC4-5D6E-409C-BE32-E72D297353CC}">
                <c16:uniqueId val="{000001BD-6BA1-4C47-8A73-023BF2903B93}"/>
              </c:ext>
            </c:extLst>
          </c:dPt>
          <c:dPt>
            <c:idx val="222"/>
            <c:invertIfNegative val="1"/>
            <c:bubble3D val="0"/>
            <c:spPr>
              <a:solidFill>
                <a:srgbClr val="7ECAC4"/>
              </a:solidFill>
            </c:spPr>
            <c:extLst>
              <c:ext xmlns:c16="http://schemas.microsoft.com/office/drawing/2014/chart" uri="{C3380CC4-5D6E-409C-BE32-E72D297353CC}">
                <c16:uniqueId val="{000001BF-6BA1-4C47-8A73-023BF2903B93}"/>
              </c:ext>
            </c:extLst>
          </c:dPt>
          <c:dPt>
            <c:idx val="223"/>
            <c:invertIfNegative val="1"/>
            <c:bubble3D val="0"/>
            <c:spPr>
              <a:solidFill>
                <a:srgbClr val="7ECAC4"/>
              </a:solidFill>
            </c:spPr>
            <c:extLst>
              <c:ext xmlns:c16="http://schemas.microsoft.com/office/drawing/2014/chart" uri="{C3380CC4-5D6E-409C-BE32-E72D297353CC}">
                <c16:uniqueId val="{000001C1-6BA1-4C47-8A73-023BF2903B93}"/>
              </c:ext>
            </c:extLst>
          </c:dPt>
          <c:dPt>
            <c:idx val="224"/>
            <c:invertIfNegative val="1"/>
            <c:bubble3D val="0"/>
            <c:spPr>
              <a:solidFill>
                <a:srgbClr val="7ECAC4"/>
              </a:solidFill>
            </c:spPr>
            <c:extLst>
              <c:ext xmlns:c16="http://schemas.microsoft.com/office/drawing/2014/chart" uri="{C3380CC4-5D6E-409C-BE32-E72D297353CC}">
                <c16:uniqueId val="{000001C3-6BA1-4C47-8A73-023BF2903B93}"/>
              </c:ext>
            </c:extLst>
          </c:dPt>
          <c:dPt>
            <c:idx val="225"/>
            <c:invertIfNegative val="1"/>
            <c:bubble3D val="0"/>
            <c:spPr>
              <a:solidFill>
                <a:srgbClr val="7ECAC4"/>
              </a:solidFill>
            </c:spPr>
            <c:extLst>
              <c:ext xmlns:c16="http://schemas.microsoft.com/office/drawing/2014/chart" uri="{C3380CC4-5D6E-409C-BE32-E72D297353CC}">
                <c16:uniqueId val="{000001C5-6BA1-4C47-8A73-023BF2903B93}"/>
              </c:ext>
            </c:extLst>
          </c:dPt>
          <c:dPt>
            <c:idx val="226"/>
            <c:invertIfNegative val="1"/>
            <c:bubble3D val="0"/>
            <c:spPr>
              <a:solidFill>
                <a:srgbClr val="7ECAC4"/>
              </a:solidFill>
            </c:spPr>
            <c:extLst>
              <c:ext xmlns:c16="http://schemas.microsoft.com/office/drawing/2014/chart" uri="{C3380CC4-5D6E-409C-BE32-E72D297353CC}">
                <c16:uniqueId val="{000001C7-6BA1-4C47-8A73-023BF2903B93}"/>
              </c:ext>
            </c:extLst>
          </c:dPt>
          <c:dPt>
            <c:idx val="227"/>
            <c:invertIfNegative val="1"/>
            <c:bubble3D val="0"/>
            <c:spPr>
              <a:solidFill>
                <a:srgbClr val="7ECAC4"/>
              </a:solidFill>
            </c:spPr>
            <c:extLst>
              <c:ext xmlns:c16="http://schemas.microsoft.com/office/drawing/2014/chart" uri="{C3380CC4-5D6E-409C-BE32-E72D297353CC}">
                <c16:uniqueId val="{000001C9-6BA1-4C47-8A73-023BF2903B93}"/>
              </c:ext>
            </c:extLst>
          </c:dPt>
          <c:dPt>
            <c:idx val="228"/>
            <c:invertIfNegative val="1"/>
            <c:bubble3D val="0"/>
            <c:spPr>
              <a:solidFill>
                <a:srgbClr val="7ECAC4"/>
              </a:solidFill>
            </c:spPr>
            <c:extLst>
              <c:ext xmlns:c16="http://schemas.microsoft.com/office/drawing/2014/chart" uri="{C3380CC4-5D6E-409C-BE32-E72D297353CC}">
                <c16:uniqueId val="{000001CB-6BA1-4C47-8A73-023BF2903B93}"/>
              </c:ext>
            </c:extLst>
          </c:dPt>
          <c:dPt>
            <c:idx val="229"/>
            <c:invertIfNegative val="1"/>
            <c:bubble3D val="0"/>
            <c:spPr>
              <a:solidFill>
                <a:srgbClr val="7ECAC4"/>
              </a:solidFill>
            </c:spPr>
            <c:extLst>
              <c:ext xmlns:c16="http://schemas.microsoft.com/office/drawing/2014/chart" uri="{C3380CC4-5D6E-409C-BE32-E72D297353CC}">
                <c16:uniqueId val="{000001CD-6BA1-4C47-8A73-023BF2903B93}"/>
              </c:ext>
            </c:extLst>
          </c:dPt>
          <c:dPt>
            <c:idx val="230"/>
            <c:invertIfNegative val="1"/>
            <c:bubble3D val="0"/>
            <c:spPr>
              <a:solidFill>
                <a:srgbClr val="7ECAC4"/>
              </a:solidFill>
            </c:spPr>
            <c:extLst>
              <c:ext xmlns:c16="http://schemas.microsoft.com/office/drawing/2014/chart" uri="{C3380CC4-5D6E-409C-BE32-E72D297353CC}">
                <c16:uniqueId val="{000001CF-6BA1-4C47-8A73-023BF2903B93}"/>
              </c:ext>
            </c:extLst>
          </c:dPt>
          <c:dPt>
            <c:idx val="231"/>
            <c:invertIfNegative val="1"/>
            <c:bubble3D val="0"/>
            <c:spPr>
              <a:solidFill>
                <a:srgbClr val="7ECAC4"/>
              </a:solidFill>
            </c:spPr>
            <c:extLst>
              <c:ext xmlns:c16="http://schemas.microsoft.com/office/drawing/2014/chart" uri="{C3380CC4-5D6E-409C-BE32-E72D297353CC}">
                <c16:uniqueId val="{000001D1-6BA1-4C47-8A73-023BF2903B93}"/>
              </c:ext>
            </c:extLst>
          </c:dPt>
          <c:dPt>
            <c:idx val="232"/>
            <c:invertIfNegative val="1"/>
            <c:bubble3D val="0"/>
            <c:spPr>
              <a:solidFill>
                <a:srgbClr val="7ECAC4"/>
              </a:solidFill>
            </c:spPr>
            <c:extLst>
              <c:ext xmlns:c16="http://schemas.microsoft.com/office/drawing/2014/chart" uri="{C3380CC4-5D6E-409C-BE32-E72D297353CC}">
                <c16:uniqueId val="{000001D3-6BA1-4C47-8A73-023BF2903B93}"/>
              </c:ext>
            </c:extLst>
          </c:dPt>
          <c:dPt>
            <c:idx val="233"/>
            <c:invertIfNegative val="1"/>
            <c:bubble3D val="0"/>
            <c:spPr>
              <a:solidFill>
                <a:srgbClr val="7ECAC4"/>
              </a:solidFill>
            </c:spPr>
            <c:extLst>
              <c:ext xmlns:c16="http://schemas.microsoft.com/office/drawing/2014/chart" uri="{C3380CC4-5D6E-409C-BE32-E72D297353CC}">
                <c16:uniqueId val="{000001D5-6BA1-4C47-8A73-023BF2903B93}"/>
              </c:ext>
            </c:extLst>
          </c:dPt>
          <c:dPt>
            <c:idx val="234"/>
            <c:invertIfNegative val="1"/>
            <c:bubble3D val="0"/>
            <c:spPr>
              <a:solidFill>
                <a:srgbClr val="7ECAC4"/>
              </a:solidFill>
            </c:spPr>
            <c:extLst>
              <c:ext xmlns:c16="http://schemas.microsoft.com/office/drawing/2014/chart" uri="{C3380CC4-5D6E-409C-BE32-E72D297353CC}">
                <c16:uniqueId val="{000001D7-6BA1-4C47-8A73-023BF2903B93}"/>
              </c:ext>
            </c:extLst>
          </c:dPt>
          <c:dPt>
            <c:idx val="235"/>
            <c:invertIfNegative val="1"/>
            <c:bubble3D val="0"/>
            <c:spPr>
              <a:solidFill>
                <a:srgbClr val="7ECAC4"/>
              </a:solidFill>
            </c:spPr>
            <c:extLst>
              <c:ext xmlns:c16="http://schemas.microsoft.com/office/drawing/2014/chart" uri="{C3380CC4-5D6E-409C-BE32-E72D297353CC}">
                <c16:uniqueId val="{000001D9-6BA1-4C47-8A73-023BF2903B93}"/>
              </c:ext>
            </c:extLst>
          </c:dPt>
          <c:dPt>
            <c:idx val="236"/>
            <c:invertIfNegative val="1"/>
            <c:bubble3D val="0"/>
            <c:spPr>
              <a:solidFill>
                <a:srgbClr val="7ECAC4"/>
              </a:solidFill>
            </c:spPr>
            <c:extLst>
              <c:ext xmlns:c16="http://schemas.microsoft.com/office/drawing/2014/chart" uri="{C3380CC4-5D6E-409C-BE32-E72D297353CC}">
                <c16:uniqueId val="{000001DB-6BA1-4C47-8A73-023BF2903B93}"/>
              </c:ext>
            </c:extLst>
          </c:dPt>
          <c:dPt>
            <c:idx val="237"/>
            <c:invertIfNegative val="1"/>
            <c:bubble3D val="0"/>
            <c:spPr>
              <a:solidFill>
                <a:srgbClr val="7ECAC4"/>
              </a:solidFill>
            </c:spPr>
            <c:extLst>
              <c:ext xmlns:c16="http://schemas.microsoft.com/office/drawing/2014/chart" uri="{C3380CC4-5D6E-409C-BE32-E72D297353CC}">
                <c16:uniqueId val="{000001DD-6BA1-4C47-8A73-023BF2903B93}"/>
              </c:ext>
            </c:extLst>
          </c:dPt>
          <c:dPt>
            <c:idx val="238"/>
            <c:invertIfNegative val="1"/>
            <c:bubble3D val="0"/>
            <c:spPr>
              <a:solidFill>
                <a:srgbClr val="7ECAC4"/>
              </a:solidFill>
            </c:spPr>
            <c:extLst>
              <c:ext xmlns:c16="http://schemas.microsoft.com/office/drawing/2014/chart" uri="{C3380CC4-5D6E-409C-BE32-E72D297353CC}">
                <c16:uniqueId val="{000001DF-6BA1-4C47-8A73-023BF2903B93}"/>
              </c:ext>
            </c:extLst>
          </c:dPt>
          <c:dPt>
            <c:idx val="239"/>
            <c:invertIfNegative val="1"/>
            <c:bubble3D val="0"/>
            <c:spPr>
              <a:solidFill>
                <a:srgbClr val="7ECAC4"/>
              </a:solidFill>
            </c:spPr>
            <c:extLst>
              <c:ext xmlns:c16="http://schemas.microsoft.com/office/drawing/2014/chart" uri="{C3380CC4-5D6E-409C-BE32-E72D297353CC}">
                <c16:uniqueId val="{000001E1-6BA1-4C47-8A73-023BF2903B93}"/>
              </c:ext>
            </c:extLst>
          </c:dPt>
          <c:dPt>
            <c:idx val="240"/>
            <c:invertIfNegative val="1"/>
            <c:bubble3D val="0"/>
            <c:spPr>
              <a:solidFill>
                <a:srgbClr val="7ECAC4"/>
              </a:solidFill>
            </c:spPr>
            <c:extLst>
              <c:ext xmlns:c16="http://schemas.microsoft.com/office/drawing/2014/chart" uri="{C3380CC4-5D6E-409C-BE32-E72D297353CC}">
                <c16:uniqueId val="{000001E3-6BA1-4C47-8A73-023BF2903B93}"/>
              </c:ext>
            </c:extLst>
          </c:dPt>
          <c:dPt>
            <c:idx val="241"/>
            <c:invertIfNegative val="1"/>
            <c:bubble3D val="0"/>
            <c:spPr>
              <a:solidFill>
                <a:srgbClr val="7ECAC4"/>
              </a:solidFill>
            </c:spPr>
            <c:extLst>
              <c:ext xmlns:c16="http://schemas.microsoft.com/office/drawing/2014/chart" uri="{C3380CC4-5D6E-409C-BE32-E72D297353CC}">
                <c16:uniqueId val="{000001E5-6BA1-4C47-8A73-023BF2903B93}"/>
              </c:ext>
            </c:extLst>
          </c:dPt>
          <c:dPt>
            <c:idx val="242"/>
            <c:invertIfNegative val="1"/>
            <c:bubble3D val="0"/>
            <c:spPr>
              <a:solidFill>
                <a:srgbClr val="7ECAC4"/>
              </a:solidFill>
            </c:spPr>
            <c:extLst>
              <c:ext xmlns:c16="http://schemas.microsoft.com/office/drawing/2014/chart" uri="{C3380CC4-5D6E-409C-BE32-E72D297353CC}">
                <c16:uniqueId val="{000001E7-6BA1-4C47-8A73-023BF2903B93}"/>
              </c:ext>
            </c:extLst>
          </c:dPt>
          <c:dPt>
            <c:idx val="243"/>
            <c:invertIfNegative val="1"/>
            <c:bubble3D val="0"/>
            <c:spPr>
              <a:solidFill>
                <a:srgbClr val="7ECAC4"/>
              </a:solidFill>
            </c:spPr>
            <c:extLst>
              <c:ext xmlns:c16="http://schemas.microsoft.com/office/drawing/2014/chart" uri="{C3380CC4-5D6E-409C-BE32-E72D297353CC}">
                <c16:uniqueId val="{000001E9-6BA1-4C47-8A73-023BF2903B93}"/>
              </c:ext>
            </c:extLst>
          </c:dPt>
          <c:dPt>
            <c:idx val="244"/>
            <c:invertIfNegative val="1"/>
            <c:bubble3D val="0"/>
            <c:spPr>
              <a:solidFill>
                <a:srgbClr val="7ECAC4"/>
              </a:solidFill>
            </c:spPr>
            <c:extLst>
              <c:ext xmlns:c16="http://schemas.microsoft.com/office/drawing/2014/chart" uri="{C3380CC4-5D6E-409C-BE32-E72D297353CC}">
                <c16:uniqueId val="{000001EB-6BA1-4C47-8A73-023BF2903B93}"/>
              </c:ext>
            </c:extLst>
          </c:dPt>
          <c:dPt>
            <c:idx val="245"/>
            <c:invertIfNegative val="1"/>
            <c:bubble3D val="0"/>
            <c:spPr>
              <a:solidFill>
                <a:srgbClr val="7ECAC4"/>
              </a:solidFill>
            </c:spPr>
            <c:extLst>
              <c:ext xmlns:c16="http://schemas.microsoft.com/office/drawing/2014/chart" uri="{C3380CC4-5D6E-409C-BE32-E72D297353CC}">
                <c16:uniqueId val="{000001ED-6BA1-4C47-8A73-023BF2903B93}"/>
              </c:ext>
            </c:extLst>
          </c:dPt>
          <c:dPt>
            <c:idx val="246"/>
            <c:invertIfNegative val="1"/>
            <c:bubble3D val="0"/>
            <c:spPr>
              <a:solidFill>
                <a:srgbClr val="7ECAC4"/>
              </a:solidFill>
            </c:spPr>
            <c:extLst>
              <c:ext xmlns:c16="http://schemas.microsoft.com/office/drawing/2014/chart" uri="{C3380CC4-5D6E-409C-BE32-E72D297353CC}">
                <c16:uniqueId val="{000001EF-6BA1-4C47-8A73-023BF2903B93}"/>
              </c:ext>
            </c:extLst>
          </c:dPt>
          <c:dPt>
            <c:idx val="247"/>
            <c:invertIfNegative val="1"/>
            <c:bubble3D val="0"/>
            <c:spPr>
              <a:solidFill>
                <a:srgbClr val="7ECAC4"/>
              </a:solidFill>
            </c:spPr>
            <c:extLst>
              <c:ext xmlns:c16="http://schemas.microsoft.com/office/drawing/2014/chart" uri="{C3380CC4-5D6E-409C-BE32-E72D297353CC}">
                <c16:uniqueId val="{000001F1-6BA1-4C47-8A73-023BF2903B93}"/>
              </c:ext>
            </c:extLst>
          </c:dPt>
          <c:dPt>
            <c:idx val="248"/>
            <c:invertIfNegative val="1"/>
            <c:bubble3D val="0"/>
            <c:spPr>
              <a:solidFill>
                <a:srgbClr val="7ECAC4"/>
              </a:solidFill>
            </c:spPr>
            <c:extLst>
              <c:ext xmlns:c16="http://schemas.microsoft.com/office/drawing/2014/chart" uri="{C3380CC4-5D6E-409C-BE32-E72D297353CC}">
                <c16:uniqueId val="{000001F3-6BA1-4C47-8A73-023BF2903B93}"/>
              </c:ext>
            </c:extLst>
          </c:dPt>
          <c:dPt>
            <c:idx val="249"/>
            <c:invertIfNegative val="1"/>
            <c:bubble3D val="0"/>
            <c:spPr>
              <a:solidFill>
                <a:srgbClr val="7ECAC4"/>
              </a:solidFill>
            </c:spPr>
            <c:extLst>
              <c:ext xmlns:c16="http://schemas.microsoft.com/office/drawing/2014/chart" uri="{C3380CC4-5D6E-409C-BE32-E72D297353CC}">
                <c16:uniqueId val="{000001F5-6BA1-4C47-8A73-023BF2903B93}"/>
              </c:ext>
            </c:extLst>
          </c:dPt>
          <c:dPt>
            <c:idx val="250"/>
            <c:invertIfNegative val="1"/>
            <c:bubble3D val="0"/>
            <c:spPr>
              <a:solidFill>
                <a:srgbClr val="7ECAC4"/>
              </a:solidFill>
            </c:spPr>
            <c:extLst>
              <c:ext xmlns:c16="http://schemas.microsoft.com/office/drawing/2014/chart" uri="{C3380CC4-5D6E-409C-BE32-E72D297353CC}">
                <c16:uniqueId val="{000001F7-6BA1-4C47-8A73-023BF2903B93}"/>
              </c:ext>
            </c:extLst>
          </c:dPt>
          <c:dPt>
            <c:idx val="251"/>
            <c:invertIfNegative val="1"/>
            <c:bubble3D val="0"/>
            <c:spPr>
              <a:solidFill>
                <a:srgbClr val="7ECAC4"/>
              </a:solidFill>
            </c:spPr>
            <c:extLst>
              <c:ext xmlns:c16="http://schemas.microsoft.com/office/drawing/2014/chart" uri="{C3380CC4-5D6E-409C-BE32-E72D297353CC}">
                <c16:uniqueId val="{000001F9-6BA1-4C47-8A73-023BF2903B93}"/>
              </c:ext>
            </c:extLst>
          </c:dPt>
          <c:dPt>
            <c:idx val="252"/>
            <c:invertIfNegative val="1"/>
            <c:bubble3D val="0"/>
            <c:spPr>
              <a:solidFill>
                <a:srgbClr val="7ECAC4"/>
              </a:solidFill>
            </c:spPr>
            <c:extLst>
              <c:ext xmlns:c16="http://schemas.microsoft.com/office/drawing/2014/chart" uri="{C3380CC4-5D6E-409C-BE32-E72D297353CC}">
                <c16:uniqueId val="{000001FB-6BA1-4C47-8A73-023BF2903B93}"/>
              </c:ext>
            </c:extLst>
          </c:dPt>
          <c:dPt>
            <c:idx val="253"/>
            <c:invertIfNegative val="1"/>
            <c:bubble3D val="0"/>
            <c:spPr>
              <a:solidFill>
                <a:srgbClr val="7ECAC4"/>
              </a:solidFill>
            </c:spPr>
            <c:extLst>
              <c:ext xmlns:c16="http://schemas.microsoft.com/office/drawing/2014/chart" uri="{C3380CC4-5D6E-409C-BE32-E72D297353CC}">
                <c16:uniqueId val="{000001FD-6BA1-4C47-8A73-023BF2903B93}"/>
              </c:ext>
            </c:extLst>
          </c:dPt>
          <c:dPt>
            <c:idx val="254"/>
            <c:invertIfNegative val="1"/>
            <c:bubble3D val="0"/>
            <c:spPr>
              <a:solidFill>
                <a:srgbClr val="7ECAC4"/>
              </a:solidFill>
            </c:spPr>
            <c:extLst>
              <c:ext xmlns:c16="http://schemas.microsoft.com/office/drawing/2014/chart" uri="{C3380CC4-5D6E-409C-BE32-E72D297353CC}">
                <c16:uniqueId val="{000001FF-6BA1-4C47-8A73-023BF2903B93}"/>
              </c:ext>
            </c:extLst>
          </c:dPt>
          <c:dPt>
            <c:idx val="255"/>
            <c:invertIfNegative val="1"/>
            <c:bubble3D val="0"/>
            <c:spPr>
              <a:solidFill>
                <a:srgbClr val="7ECAC4"/>
              </a:solidFill>
            </c:spPr>
            <c:extLst>
              <c:ext xmlns:c16="http://schemas.microsoft.com/office/drawing/2014/chart" uri="{C3380CC4-5D6E-409C-BE32-E72D297353CC}">
                <c16:uniqueId val="{00000201-6BA1-4C47-8A73-023BF2903B93}"/>
              </c:ext>
            </c:extLst>
          </c:dPt>
          <c:dPt>
            <c:idx val="256"/>
            <c:invertIfNegative val="1"/>
            <c:bubble3D val="0"/>
            <c:spPr>
              <a:solidFill>
                <a:srgbClr val="7ECAC4"/>
              </a:solidFill>
            </c:spPr>
            <c:extLst>
              <c:ext xmlns:c16="http://schemas.microsoft.com/office/drawing/2014/chart" uri="{C3380CC4-5D6E-409C-BE32-E72D297353CC}">
                <c16:uniqueId val="{00000203-6BA1-4C47-8A73-023BF2903B93}"/>
              </c:ext>
            </c:extLst>
          </c:dPt>
          <c:dPt>
            <c:idx val="257"/>
            <c:invertIfNegative val="1"/>
            <c:bubble3D val="0"/>
            <c:spPr>
              <a:solidFill>
                <a:srgbClr val="7ECAC4"/>
              </a:solidFill>
            </c:spPr>
            <c:extLst>
              <c:ext xmlns:c16="http://schemas.microsoft.com/office/drawing/2014/chart" uri="{C3380CC4-5D6E-409C-BE32-E72D297353CC}">
                <c16:uniqueId val="{00000205-6BA1-4C47-8A73-023BF2903B93}"/>
              </c:ext>
            </c:extLst>
          </c:dPt>
          <c:dPt>
            <c:idx val="258"/>
            <c:invertIfNegative val="1"/>
            <c:bubble3D val="0"/>
            <c:spPr>
              <a:solidFill>
                <a:srgbClr val="7ECAC4"/>
              </a:solidFill>
            </c:spPr>
            <c:extLst>
              <c:ext xmlns:c16="http://schemas.microsoft.com/office/drawing/2014/chart" uri="{C3380CC4-5D6E-409C-BE32-E72D297353CC}">
                <c16:uniqueId val="{00000207-6BA1-4C47-8A73-023BF2903B93}"/>
              </c:ext>
            </c:extLst>
          </c:dPt>
          <c:dPt>
            <c:idx val="259"/>
            <c:invertIfNegative val="1"/>
            <c:bubble3D val="0"/>
            <c:spPr>
              <a:solidFill>
                <a:srgbClr val="7ECAC4"/>
              </a:solidFill>
            </c:spPr>
            <c:extLst>
              <c:ext xmlns:c16="http://schemas.microsoft.com/office/drawing/2014/chart" uri="{C3380CC4-5D6E-409C-BE32-E72D297353CC}">
                <c16:uniqueId val="{00000209-6BA1-4C47-8A73-023BF2903B93}"/>
              </c:ext>
            </c:extLst>
          </c:dPt>
          <c:dPt>
            <c:idx val="260"/>
            <c:invertIfNegative val="1"/>
            <c:bubble3D val="0"/>
            <c:spPr>
              <a:solidFill>
                <a:srgbClr val="7ECAC4"/>
              </a:solidFill>
            </c:spPr>
            <c:extLst>
              <c:ext xmlns:c16="http://schemas.microsoft.com/office/drawing/2014/chart" uri="{C3380CC4-5D6E-409C-BE32-E72D297353CC}">
                <c16:uniqueId val="{0000020B-6BA1-4C47-8A73-023BF2903B93}"/>
              </c:ext>
            </c:extLst>
          </c:dPt>
          <c:dPt>
            <c:idx val="261"/>
            <c:invertIfNegative val="1"/>
            <c:bubble3D val="0"/>
            <c:spPr>
              <a:solidFill>
                <a:srgbClr val="7ECAC4"/>
              </a:solidFill>
            </c:spPr>
            <c:extLst>
              <c:ext xmlns:c16="http://schemas.microsoft.com/office/drawing/2014/chart" uri="{C3380CC4-5D6E-409C-BE32-E72D297353CC}">
                <c16:uniqueId val="{0000020D-6BA1-4C47-8A73-023BF2903B93}"/>
              </c:ext>
            </c:extLst>
          </c:dPt>
          <c:dPt>
            <c:idx val="262"/>
            <c:invertIfNegative val="1"/>
            <c:bubble3D val="0"/>
            <c:spPr>
              <a:solidFill>
                <a:srgbClr val="7ECAC4"/>
              </a:solidFill>
            </c:spPr>
            <c:extLst>
              <c:ext xmlns:c16="http://schemas.microsoft.com/office/drawing/2014/chart" uri="{C3380CC4-5D6E-409C-BE32-E72D297353CC}">
                <c16:uniqueId val="{0000020F-6BA1-4C47-8A73-023BF2903B93}"/>
              </c:ext>
            </c:extLst>
          </c:dPt>
          <c:dPt>
            <c:idx val="263"/>
            <c:invertIfNegative val="1"/>
            <c:bubble3D val="0"/>
            <c:spPr>
              <a:solidFill>
                <a:srgbClr val="7ECAC4"/>
              </a:solidFill>
            </c:spPr>
            <c:extLst>
              <c:ext xmlns:c16="http://schemas.microsoft.com/office/drawing/2014/chart" uri="{C3380CC4-5D6E-409C-BE32-E72D297353CC}">
                <c16:uniqueId val="{00000211-6BA1-4C47-8A73-023BF2903B93}"/>
              </c:ext>
            </c:extLst>
          </c:dPt>
          <c:dPt>
            <c:idx val="264"/>
            <c:invertIfNegative val="1"/>
            <c:bubble3D val="0"/>
            <c:spPr>
              <a:solidFill>
                <a:srgbClr val="7ECAC4"/>
              </a:solidFill>
            </c:spPr>
            <c:extLst>
              <c:ext xmlns:c16="http://schemas.microsoft.com/office/drawing/2014/chart" uri="{C3380CC4-5D6E-409C-BE32-E72D297353CC}">
                <c16:uniqueId val="{00000213-6BA1-4C47-8A73-023BF2903B93}"/>
              </c:ext>
            </c:extLst>
          </c:dPt>
          <c:dPt>
            <c:idx val="265"/>
            <c:invertIfNegative val="1"/>
            <c:bubble3D val="0"/>
            <c:spPr>
              <a:solidFill>
                <a:srgbClr val="7ECAC4"/>
              </a:solidFill>
            </c:spPr>
            <c:extLst>
              <c:ext xmlns:c16="http://schemas.microsoft.com/office/drawing/2014/chart" uri="{C3380CC4-5D6E-409C-BE32-E72D297353CC}">
                <c16:uniqueId val="{00000215-6BA1-4C47-8A73-023BF2903B93}"/>
              </c:ext>
            </c:extLst>
          </c:dPt>
          <c:dPt>
            <c:idx val="266"/>
            <c:invertIfNegative val="1"/>
            <c:bubble3D val="0"/>
            <c:spPr>
              <a:solidFill>
                <a:srgbClr val="7ECAC4"/>
              </a:solidFill>
            </c:spPr>
            <c:extLst>
              <c:ext xmlns:c16="http://schemas.microsoft.com/office/drawing/2014/chart" uri="{C3380CC4-5D6E-409C-BE32-E72D297353CC}">
                <c16:uniqueId val="{00000217-6BA1-4C47-8A73-023BF2903B93}"/>
              </c:ext>
            </c:extLst>
          </c:dPt>
          <c:dPt>
            <c:idx val="267"/>
            <c:invertIfNegative val="1"/>
            <c:bubble3D val="0"/>
            <c:spPr>
              <a:solidFill>
                <a:srgbClr val="7ECAC4"/>
              </a:solidFill>
            </c:spPr>
            <c:extLst>
              <c:ext xmlns:c16="http://schemas.microsoft.com/office/drawing/2014/chart" uri="{C3380CC4-5D6E-409C-BE32-E72D297353CC}">
                <c16:uniqueId val="{00000219-6BA1-4C47-8A73-023BF2903B93}"/>
              </c:ext>
            </c:extLst>
          </c:dPt>
          <c:dPt>
            <c:idx val="268"/>
            <c:invertIfNegative val="1"/>
            <c:bubble3D val="0"/>
            <c:spPr>
              <a:solidFill>
                <a:srgbClr val="7ECAC4"/>
              </a:solidFill>
            </c:spPr>
            <c:extLst>
              <c:ext xmlns:c16="http://schemas.microsoft.com/office/drawing/2014/chart" uri="{C3380CC4-5D6E-409C-BE32-E72D297353CC}">
                <c16:uniqueId val="{0000021B-6BA1-4C47-8A73-023BF2903B93}"/>
              </c:ext>
            </c:extLst>
          </c:dPt>
          <c:dPt>
            <c:idx val="269"/>
            <c:invertIfNegative val="1"/>
            <c:bubble3D val="0"/>
            <c:spPr>
              <a:solidFill>
                <a:srgbClr val="7ECAC4"/>
              </a:solidFill>
            </c:spPr>
            <c:extLst>
              <c:ext xmlns:c16="http://schemas.microsoft.com/office/drawing/2014/chart" uri="{C3380CC4-5D6E-409C-BE32-E72D297353CC}">
                <c16:uniqueId val="{0000021D-6BA1-4C47-8A73-023BF2903B93}"/>
              </c:ext>
            </c:extLst>
          </c:dPt>
          <c:dPt>
            <c:idx val="270"/>
            <c:invertIfNegative val="1"/>
            <c:bubble3D val="0"/>
            <c:spPr>
              <a:solidFill>
                <a:srgbClr val="7ECAC4"/>
              </a:solidFill>
            </c:spPr>
            <c:extLst>
              <c:ext xmlns:c16="http://schemas.microsoft.com/office/drawing/2014/chart" uri="{C3380CC4-5D6E-409C-BE32-E72D297353CC}">
                <c16:uniqueId val="{0000021F-6BA1-4C47-8A73-023BF2903B93}"/>
              </c:ext>
            </c:extLst>
          </c:dPt>
          <c:dPt>
            <c:idx val="271"/>
            <c:invertIfNegative val="1"/>
            <c:bubble3D val="0"/>
            <c:spPr>
              <a:solidFill>
                <a:srgbClr val="7ECAC4"/>
              </a:solidFill>
            </c:spPr>
            <c:extLst>
              <c:ext xmlns:c16="http://schemas.microsoft.com/office/drawing/2014/chart" uri="{C3380CC4-5D6E-409C-BE32-E72D297353CC}">
                <c16:uniqueId val="{00000221-6BA1-4C47-8A73-023BF2903B93}"/>
              </c:ext>
            </c:extLst>
          </c:dPt>
          <c:dPt>
            <c:idx val="272"/>
            <c:invertIfNegative val="1"/>
            <c:bubble3D val="0"/>
            <c:spPr>
              <a:solidFill>
                <a:srgbClr val="7ECAC4"/>
              </a:solidFill>
            </c:spPr>
            <c:extLst>
              <c:ext xmlns:c16="http://schemas.microsoft.com/office/drawing/2014/chart" uri="{C3380CC4-5D6E-409C-BE32-E72D297353CC}">
                <c16:uniqueId val="{00000223-6BA1-4C47-8A73-023BF2903B93}"/>
              </c:ext>
            </c:extLst>
          </c:dPt>
          <c:dPt>
            <c:idx val="273"/>
            <c:invertIfNegative val="1"/>
            <c:bubble3D val="0"/>
            <c:spPr>
              <a:solidFill>
                <a:srgbClr val="7ECAC4"/>
              </a:solidFill>
            </c:spPr>
            <c:extLst>
              <c:ext xmlns:c16="http://schemas.microsoft.com/office/drawing/2014/chart" uri="{C3380CC4-5D6E-409C-BE32-E72D297353CC}">
                <c16:uniqueId val="{00000225-6BA1-4C47-8A73-023BF2903B93}"/>
              </c:ext>
            </c:extLst>
          </c:dPt>
          <c:dPt>
            <c:idx val="274"/>
            <c:invertIfNegative val="1"/>
            <c:bubble3D val="0"/>
            <c:spPr>
              <a:solidFill>
                <a:srgbClr val="7ECAC4"/>
              </a:solidFill>
            </c:spPr>
            <c:extLst>
              <c:ext xmlns:c16="http://schemas.microsoft.com/office/drawing/2014/chart" uri="{C3380CC4-5D6E-409C-BE32-E72D297353CC}">
                <c16:uniqueId val="{00000227-6BA1-4C47-8A73-023BF2903B93}"/>
              </c:ext>
            </c:extLst>
          </c:dPt>
          <c:dPt>
            <c:idx val="275"/>
            <c:invertIfNegative val="1"/>
            <c:bubble3D val="0"/>
            <c:spPr>
              <a:solidFill>
                <a:srgbClr val="7ECAC4"/>
              </a:solidFill>
            </c:spPr>
            <c:extLst>
              <c:ext xmlns:c16="http://schemas.microsoft.com/office/drawing/2014/chart" uri="{C3380CC4-5D6E-409C-BE32-E72D297353CC}">
                <c16:uniqueId val="{00000229-6BA1-4C47-8A73-023BF2903B93}"/>
              </c:ext>
            </c:extLst>
          </c:dPt>
          <c:dPt>
            <c:idx val="276"/>
            <c:invertIfNegative val="1"/>
            <c:bubble3D val="0"/>
            <c:spPr>
              <a:solidFill>
                <a:srgbClr val="7ECAC4"/>
              </a:solidFill>
            </c:spPr>
            <c:extLst>
              <c:ext xmlns:c16="http://schemas.microsoft.com/office/drawing/2014/chart" uri="{C3380CC4-5D6E-409C-BE32-E72D297353CC}">
                <c16:uniqueId val="{0000022B-6BA1-4C47-8A73-023BF2903B93}"/>
              </c:ext>
            </c:extLst>
          </c:dPt>
          <c:dPt>
            <c:idx val="277"/>
            <c:invertIfNegative val="1"/>
            <c:bubble3D val="0"/>
            <c:spPr>
              <a:solidFill>
                <a:srgbClr val="7ECAC4"/>
              </a:solidFill>
            </c:spPr>
            <c:extLst>
              <c:ext xmlns:c16="http://schemas.microsoft.com/office/drawing/2014/chart" uri="{C3380CC4-5D6E-409C-BE32-E72D297353CC}">
                <c16:uniqueId val="{0000022D-6BA1-4C47-8A73-023BF2903B93}"/>
              </c:ext>
            </c:extLst>
          </c:dPt>
          <c:dPt>
            <c:idx val="278"/>
            <c:invertIfNegative val="1"/>
            <c:bubble3D val="0"/>
            <c:spPr>
              <a:solidFill>
                <a:srgbClr val="7ECAC4"/>
              </a:solidFill>
            </c:spPr>
            <c:extLst>
              <c:ext xmlns:c16="http://schemas.microsoft.com/office/drawing/2014/chart" uri="{C3380CC4-5D6E-409C-BE32-E72D297353CC}">
                <c16:uniqueId val="{0000022F-6BA1-4C47-8A73-023BF2903B93}"/>
              </c:ext>
            </c:extLst>
          </c:dPt>
          <c:dPt>
            <c:idx val="279"/>
            <c:invertIfNegative val="1"/>
            <c:bubble3D val="0"/>
            <c:spPr>
              <a:solidFill>
                <a:srgbClr val="7ECAC4"/>
              </a:solidFill>
            </c:spPr>
            <c:extLst>
              <c:ext xmlns:c16="http://schemas.microsoft.com/office/drawing/2014/chart" uri="{C3380CC4-5D6E-409C-BE32-E72D297353CC}">
                <c16:uniqueId val="{00000231-6BA1-4C47-8A73-023BF2903B93}"/>
              </c:ext>
            </c:extLst>
          </c:dPt>
          <c:dPt>
            <c:idx val="280"/>
            <c:invertIfNegative val="1"/>
            <c:bubble3D val="0"/>
            <c:spPr>
              <a:solidFill>
                <a:srgbClr val="7ECAC4"/>
              </a:solidFill>
            </c:spPr>
            <c:extLst>
              <c:ext xmlns:c16="http://schemas.microsoft.com/office/drawing/2014/chart" uri="{C3380CC4-5D6E-409C-BE32-E72D297353CC}">
                <c16:uniqueId val="{00000233-6BA1-4C47-8A73-023BF2903B93}"/>
              </c:ext>
            </c:extLst>
          </c:dPt>
          <c:dPt>
            <c:idx val="281"/>
            <c:invertIfNegative val="1"/>
            <c:bubble3D val="0"/>
            <c:spPr>
              <a:solidFill>
                <a:srgbClr val="7ECAC4"/>
              </a:solidFill>
            </c:spPr>
            <c:extLst>
              <c:ext xmlns:c16="http://schemas.microsoft.com/office/drawing/2014/chart" uri="{C3380CC4-5D6E-409C-BE32-E72D297353CC}">
                <c16:uniqueId val="{00000235-6BA1-4C47-8A73-023BF2903B93}"/>
              </c:ext>
            </c:extLst>
          </c:dPt>
          <c:dPt>
            <c:idx val="282"/>
            <c:invertIfNegative val="1"/>
            <c:bubble3D val="0"/>
            <c:spPr>
              <a:solidFill>
                <a:srgbClr val="7ECAC4"/>
              </a:solidFill>
            </c:spPr>
            <c:extLst>
              <c:ext xmlns:c16="http://schemas.microsoft.com/office/drawing/2014/chart" uri="{C3380CC4-5D6E-409C-BE32-E72D297353CC}">
                <c16:uniqueId val="{00000237-6BA1-4C47-8A73-023BF2903B93}"/>
              </c:ext>
            </c:extLst>
          </c:dPt>
          <c:dPt>
            <c:idx val="283"/>
            <c:invertIfNegative val="1"/>
            <c:bubble3D val="0"/>
            <c:spPr>
              <a:solidFill>
                <a:srgbClr val="7ECAC4"/>
              </a:solidFill>
            </c:spPr>
            <c:extLst>
              <c:ext xmlns:c16="http://schemas.microsoft.com/office/drawing/2014/chart" uri="{C3380CC4-5D6E-409C-BE32-E72D297353CC}">
                <c16:uniqueId val="{00000239-6BA1-4C47-8A73-023BF2903B93}"/>
              </c:ext>
            </c:extLst>
          </c:dPt>
          <c:dPt>
            <c:idx val="284"/>
            <c:invertIfNegative val="1"/>
            <c:bubble3D val="0"/>
            <c:spPr>
              <a:solidFill>
                <a:srgbClr val="7ECAC4"/>
              </a:solidFill>
            </c:spPr>
            <c:extLst>
              <c:ext xmlns:c16="http://schemas.microsoft.com/office/drawing/2014/chart" uri="{C3380CC4-5D6E-409C-BE32-E72D297353CC}">
                <c16:uniqueId val="{0000023B-6BA1-4C47-8A73-023BF2903B93}"/>
              </c:ext>
            </c:extLst>
          </c:dPt>
          <c:dPt>
            <c:idx val="285"/>
            <c:invertIfNegative val="1"/>
            <c:bubble3D val="0"/>
            <c:spPr>
              <a:solidFill>
                <a:srgbClr val="7ECAC4"/>
              </a:solidFill>
            </c:spPr>
            <c:extLst>
              <c:ext xmlns:c16="http://schemas.microsoft.com/office/drawing/2014/chart" uri="{C3380CC4-5D6E-409C-BE32-E72D297353CC}">
                <c16:uniqueId val="{0000023D-6BA1-4C47-8A73-023BF2903B93}"/>
              </c:ext>
            </c:extLst>
          </c:dPt>
          <c:dPt>
            <c:idx val="286"/>
            <c:invertIfNegative val="1"/>
            <c:bubble3D val="0"/>
            <c:spPr>
              <a:solidFill>
                <a:srgbClr val="7ECAC4"/>
              </a:solidFill>
            </c:spPr>
            <c:extLst>
              <c:ext xmlns:c16="http://schemas.microsoft.com/office/drawing/2014/chart" uri="{C3380CC4-5D6E-409C-BE32-E72D297353CC}">
                <c16:uniqueId val="{0000023F-6BA1-4C47-8A73-023BF2903B93}"/>
              </c:ext>
            </c:extLst>
          </c:dPt>
          <c:dPt>
            <c:idx val="287"/>
            <c:invertIfNegative val="1"/>
            <c:bubble3D val="0"/>
            <c:spPr>
              <a:solidFill>
                <a:srgbClr val="7ECAC4"/>
              </a:solidFill>
            </c:spPr>
            <c:extLst>
              <c:ext xmlns:c16="http://schemas.microsoft.com/office/drawing/2014/chart" uri="{C3380CC4-5D6E-409C-BE32-E72D297353CC}">
                <c16:uniqueId val="{00000241-6BA1-4C47-8A73-023BF2903B93}"/>
              </c:ext>
            </c:extLst>
          </c:dPt>
          <c:dPt>
            <c:idx val="288"/>
            <c:invertIfNegative val="1"/>
            <c:bubble3D val="0"/>
            <c:spPr>
              <a:solidFill>
                <a:srgbClr val="7ECAC4"/>
              </a:solidFill>
            </c:spPr>
            <c:extLst>
              <c:ext xmlns:c16="http://schemas.microsoft.com/office/drawing/2014/chart" uri="{C3380CC4-5D6E-409C-BE32-E72D297353CC}">
                <c16:uniqueId val="{00000243-6BA1-4C47-8A73-023BF2903B93}"/>
              </c:ext>
            </c:extLst>
          </c:dPt>
          <c:dPt>
            <c:idx val="289"/>
            <c:invertIfNegative val="1"/>
            <c:bubble3D val="0"/>
            <c:spPr>
              <a:solidFill>
                <a:srgbClr val="7ECAC4"/>
              </a:solidFill>
            </c:spPr>
            <c:extLst>
              <c:ext xmlns:c16="http://schemas.microsoft.com/office/drawing/2014/chart" uri="{C3380CC4-5D6E-409C-BE32-E72D297353CC}">
                <c16:uniqueId val="{00000245-6BA1-4C47-8A73-023BF2903B93}"/>
              </c:ext>
            </c:extLst>
          </c:dPt>
          <c:dPt>
            <c:idx val="290"/>
            <c:invertIfNegative val="1"/>
            <c:bubble3D val="0"/>
            <c:spPr>
              <a:solidFill>
                <a:srgbClr val="7ECAC4"/>
              </a:solidFill>
            </c:spPr>
            <c:extLst>
              <c:ext xmlns:c16="http://schemas.microsoft.com/office/drawing/2014/chart" uri="{C3380CC4-5D6E-409C-BE32-E72D297353CC}">
                <c16:uniqueId val="{00000247-6BA1-4C47-8A73-023BF2903B93}"/>
              </c:ext>
            </c:extLst>
          </c:dPt>
          <c:dPt>
            <c:idx val="291"/>
            <c:invertIfNegative val="1"/>
            <c:bubble3D val="0"/>
            <c:spPr>
              <a:solidFill>
                <a:srgbClr val="7ECAC4"/>
              </a:solidFill>
            </c:spPr>
            <c:extLst>
              <c:ext xmlns:c16="http://schemas.microsoft.com/office/drawing/2014/chart" uri="{C3380CC4-5D6E-409C-BE32-E72D297353CC}">
                <c16:uniqueId val="{00000249-6BA1-4C47-8A73-023BF2903B93}"/>
              </c:ext>
            </c:extLst>
          </c:dPt>
          <c:dPt>
            <c:idx val="292"/>
            <c:invertIfNegative val="1"/>
            <c:bubble3D val="0"/>
            <c:spPr>
              <a:solidFill>
                <a:srgbClr val="7ECAC4"/>
              </a:solidFill>
            </c:spPr>
            <c:extLst>
              <c:ext xmlns:c16="http://schemas.microsoft.com/office/drawing/2014/chart" uri="{C3380CC4-5D6E-409C-BE32-E72D297353CC}">
                <c16:uniqueId val="{0000024B-6BA1-4C47-8A73-023BF2903B93}"/>
              </c:ext>
            </c:extLst>
          </c:dPt>
          <c:dPt>
            <c:idx val="293"/>
            <c:invertIfNegative val="1"/>
            <c:bubble3D val="0"/>
            <c:spPr>
              <a:solidFill>
                <a:srgbClr val="7ECAC4"/>
              </a:solidFill>
            </c:spPr>
            <c:extLst>
              <c:ext xmlns:c16="http://schemas.microsoft.com/office/drawing/2014/chart" uri="{C3380CC4-5D6E-409C-BE32-E72D297353CC}">
                <c16:uniqueId val="{0000024D-6BA1-4C47-8A73-023BF2903B93}"/>
              </c:ext>
            </c:extLst>
          </c:dPt>
          <c:dPt>
            <c:idx val="294"/>
            <c:invertIfNegative val="1"/>
            <c:bubble3D val="0"/>
            <c:spPr>
              <a:solidFill>
                <a:srgbClr val="7ECAC4"/>
              </a:solidFill>
            </c:spPr>
            <c:extLst>
              <c:ext xmlns:c16="http://schemas.microsoft.com/office/drawing/2014/chart" uri="{C3380CC4-5D6E-409C-BE32-E72D297353CC}">
                <c16:uniqueId val="{0000024F-6BA1-4C47-8A73-023BF2903B93}"/>
              </c:ext>
            </c:extLst>
          </c:dPt>
          <c:dPt>
            <c:idx val="295"/>
            <c:invertIfNegative val="1"/>
            <c:bubble3D val="0"/>
            <c:spPr>
              <a:solidFill>
                <a:srgbClr val="7ECAC4"/>
              </a:solidFill>
            </c:spPr>
            <c:extLst>
              <c:ext xmlns:c16="http://schemas.microsoft.com/office/drawing/2014/chart" uri="{C3380CC4-5D6E-409C-BE32-E72D297353CC}">
                <c16:uniqueId val="{00000251-6BA1-4C47-8A73-023BF2903B93}"/>
              </c:ext>
            </c:extLst>
          </c:dPt>
          <c:dPt>
            <c:idx val="296"/>
            <c:invertIfNegative val="1"/>
            <c:bubble3D val="0"/>
            <c:spPr>
              <a:solidFill>
                <a:srgbClr val="7ECAC4"/>
              </a:solidFill>
            </c:spPr>
            <c:extLst>
              <c:ext xmlns:c16="http://schemas.microsoft.com/office/drawing/2014/chart" uri="{C3380CC4-5D6E-409C-BE32-E72D297353CC}">
                <c16:uniqueId val="{00000253-6BA1-4C47-8A73-023BF2903B93}"/>
              </c:ext>
            </c:extLst>
          </c:dPt>
          <c:dPt>
            <c:idx val="297"/>
            <c:invertIfNegative val="1"/>
            <c:bubble3D val="0"/>
            <c:spPr>
              <a:solidFill>
                <a:srgbClr val="7ECAC4"/>
              </a:solidFill>
            </c:spPr>
            <c:extLst>
              <c:ext xmlns:c16="http://schemas.microsoft.com/office/drawing/2014/chart" uri="{C3380CC4-5D6E-409C-BE32-E72D297353CC}">
                <c16:uniqueId val="{00000255-6BA1-4C47-8A73-023BF2903B93}"/>
              </c:ext>
            </c:extLst>
          </c:dPt>
          <c:dPt>
            <c:idx val="298"/>
            <c:invertIfNegative val="1"/>
            <c:bubble3D val="0"/>
            <c:spPr>
              <a:solidFill>
                <a:srgbClr val="7ECAC4"/>
              </a:solidFill>
            </c:spPr>
            <c:extLst>
              <c:ext xmlns:c16="http://schemas.microsoft.com/office/drawing/2014/chart" uri="{C3380CC4-5D6E-409C-BE32-E72D297353CC}">
                <c16:uniqueId val="{00000257-6BA1-4C47-8A73-023BF2903B93}"/>
              </c:ext>
            </c:extLst>
          </c:dPt>
          <c:dPt>
            <c:idx val="299"/>
            <c:invertIfNegative val="1"/>
            <c:bubble3D val="0"/>
            <c:spPr>
              <a:solidFill>
                <a:srgbClr val="7ECAC4"/>
              </a:solidFill>
            </c:spPr>
            <c:extLst>
              <c:ext xmlns:c16="http://schemas.microsoft.com/office/drawing/2014/chart" uri="{C3380CC4-5D6E-409C-BE32-E72D297353CC}">
                <c16:uniqueId val="{00000259-6BA1-4C47-8A73-023BF2903B93}"/>
              </c:ext>
            </c:extLst>
          </c:dPt>
          <c:dPt>
            <c:idx val="300"/>
            <c:invertIfNegative val="1"/>
            <c:bubble3D val="0"/>
            <c:spPr>
              <a:solidFill>
                <a:srgbClr val="7ECAC4"/>
              </a:solidFill>
            </c:spPr>
            <c:extLst>
              <c:ext xmlns:c16="http://schemas.microsoft.com/office/drawing/2014/chart" uri="{C3380CC4-5D6E-409C-BE32-E72D297353CC}">
                <c16:uniqueId val="{0000025B-6BA1-4C47-8A73-023BF2903B93}"/>
              </c:ext>
            </c:extLst>
          </c:dPt>
          <c:dPt>
            <c:idx val="301"/>
            <c:invertIfNegative val="1"/>
            <c:bubble3D val="0"/>
            <c:spPr>
              <a:solidFill>
                <a:srgbClr val="7ECAC4"/>
              </a:solidFill>
            </c:spPr>
            <c:extLst>
              <c:ext xmlns:c16="http://schemas.microsoft.com/office/drawing/2014/chart" uri="{C3380CC4-5D6E-409C-BE32-E72D297353CC}">
                <c16:uniqueId val="{0000025D-6BA1-4C47-8A73-023BF2903B93}"/>
              </c:ext>
            </c:extLst>
          </c:dPt>
          <c:dPt>
            <c:idx val="302"/>
            <c:invertIfNegative val="1"/>
            <c:bubble3D val="0"/>
            <c:spPr>
              <a:solidFill>
                <a:srgbClr val="7ECAC4"/>
              </a:solidFill>
            </c:spPr>
            <c:extLst>
              <c:ext xmlns:c16="http://schemas.microsoft.com/office/drawing/2014/chart" uri="{C3380CC4-5D6E-409C-BE32-E72D297353CC}">
                <c16:uniqueId val="{0000025F-6BA1-4C47-8A73-023BF2903B93}"/>
              </c:ext>
            </c:extLst>
          </c:dPt>
          <c:dPt>
            <c:idx val="303"/>
            <c:invertIfNegative val="1"/>
            <c:bubble3D val="0"/>
            <c:spPr>
              <a:solidFill>
                <a:srgbClr val="7ECAC4"/>
              </a:solidFill>
            </c:spPr>
            <c:extLst>
              <c:ext xmlns:c16="http://schemas.microsoft.com/office/drawing/2014/chart" uri="{C3380CC4-5D6E-409C-BE32-E72D297353CC}">
                <c16:uniqueId val="{00000261-6BA1-4C47-8A73-023BF2903B93}"/>
              </c:ext>
            </c:extLst>
          </c:dPt>
          <c:dPt>
            <c:idx val="304"/>
            <c:invertIfNegative val="1"/>
            <c:bubble3D val="0"/>
            <c:spPr>
              <a:solidFill>
                <a:srgbClr val="7ECAC4"/>
              </a:solidFill>
            </c:spPr>
            <c:extLst>
              <c:ext xmlns:c16="http://schemas.microsoft.com/office/drawing/2014/chart" uri="{C3380CC4-5D6E-409C-BE32-E72D297353CC}">
                <c16:uniqueId val="{00000263-6BA1-4C47-8A73-023BF2903B93}"/>
              </c:ext>
            </c:extLst>
          </c:dPt>
          <c:dPt>
            <c:idx val="305"/>
            <c:invertIfNegative val="1"/>
            <c:bubble3D val="0"/>
            <c:spPr>
              <a:solidFill>
                <a:srgbClr val="7ECAC4"/>
              </a:solidFill>
            </c:spPr>
            <c:extLst>
              <c:ext xmlns:c16="http://schemas.microsoft.com/office/drawing/2014/chart" uri="{C3380CC4-5D6E-409C-BE32-E72D297353CC}">
                <c16:uniqueId val="{00000265-6BA1-4C47-8A73-023BF2903B93}"/>
              </c:ext>
            </c:extLst>
          </c:dPt>
          <c:dPt>
            <c:idx val="306"/>
            <c:invertIfNegative val="1"/>
            <c:bubble3D val="0"/>
            <c:spPr>
              <a:solidFill>
                <a:srgbClr val="7ECAC4"/>
              </a:solidFill>
            </c:spPr>
            <c:extLst>
              <c:ext xmlns:c16="http://schemas.microsoft.com/office/drawing/2014/chart" uri="{C3380CC4-5D6E-409C-BE32-E72D297353CC}">
                <c16:uniqueId val="{00000267-6BA1-4C47-8A73-023BF2903B93}"/>
              </c:ext>
            </c:extLst>
          </c:dPt>
          <c:dPt>
            <c:idx val="307"/>
            <c:invertIfNegative val="1"/>
            <c:bubble3D val="0"/>
            <c:spPr>
              <a:solidFill>
                <a:srgbClr val="7ECAC4"/>
              </a:solidFill>
            </c:spPr>
            <c:extLst>
              <c:ext xmlns:c16="http://schemas.microsoft.com/office/drawing/2014/chart" uri="{C3380CC4-5D6E-409C-BE32-E72D297353CC}">
                <c16:uniqueId val="{00000269-6BA1-4C47-8A73-023BF2903B93}"/>
              </c:ext>
            </c:extLst>
          </c:dPt>
          <c:dPt>
            <c:idx val="308"/>
            <c:invertIfNegative val="1"/>
            <c:bubble3D val="0"/>
            <c:spPr>
              <a:solidFill>
                <a:srgbClr val="7ECAC4"/>
              </a:solidFill>
            </c:spPr>
            <c:extLst>
              <c:ext xmlns:c16="http://schemas.microsoft.com/office/drawing/2014/chart" uri="{C3380CC4-5D6E-409C-BE32-E72D297353CC}">
                <c16:uniqueId val="{0000026B-6BA1-4C47-8A73-023BF2903B93}"/>
              </c:ext>
            </c:extLst>
          </c:dPt>
          <c:dPt>
            <c:idx val="309"/>
            <c:invertIfNegative val="1"/>
            <c:bubble3D val="0"/>
            <c:spPr>
              <a:solidFill>
                <a:srgbClr val="7ECAC4"/>
              </a:solidFill>
            </c:spPr>
            <c:extLst>
              <c:ext xmlns:c16="http://schemas.microsoft.com/office/drawing/2014/chart" uri="{C3380CC4-5D6E-409C-BE32-E72D297353CC}">
                <c16:uniqueId val="{0000026D-6BA1-4C47-8A73-023BF2903B93}"/>
              </c:ext>
            </c:extLst>
          </c:dPt>
          <c:dPt>
            <c:idx val="310"/>
            <c:invertIfNegative val="1"/>
            <c:bubble3D val="0"/>
            <c:spPr>
              <a:solidFill>
                <a:srgbClr val="7ECAC4"/>
              </a:solidFill>
            </c:spPr>
            <c:extLst>
              <c:ext xmlns:c16="http://schemas.microsoft.com/office/drawing/2014/chart" uri="{C3380CC4-5D6E-409C-BE32-E72D297353CC}">
                <c16:uniqueId val="{0000026F-6BA1-4C47-8A73-023BF2903B93}"/>
              </c:ext>
            </c:extLst>
          </c:dPt>
          <c:dPt>
            <c:idx val="311"/>
            <c:invertIfNegative val="1"/>
            <c:bubble3D val="0"/>
            <c:spPr>
              <a:solidFill>
                <a:srgbClr val="7ECAC4"/>
              </a:solidFill>
            </c:spPr>
            <c:extLst>
              <c:ext xmlns:c16="http://schemas.microsoft.com/office/drawing/2014/chart" uri="{C3380CC4-5D6E-409C-BE32-E72D297353CC}">
                <c16:uniqueId val="{00000271-6BA1-4C47-8A73-023BF2903B93}"/>
              </c:ext>
            </c:extLst>
          </c:dPt>
          <c:dPt>
            <c:idx val="312"/>
            <c:invertIfNegative val="1"/>
            <c:bubble3D val="0"/>
            <c:spPr>
              <a:solidFill>
                <a:srgbClr val="7ECAC4"/>
              </a:solidFill>
            </c:spPr>
            <c:extLst>
              <c:ext xmlns:c16="http://schemas.microsoft.com/office/drawing/2014/chart" uri="{C3380CC4-5D6E-409C-BE32-E72D297353CC}">
                <c16:uniqueId val="{00000273-6BA1-4C47-8A73-023BF2903B93}"/>
              </c:ext>
            </c:extLst>
          </c:dPt>
          <c:dPt>
            <c:idx val="313"/>
            <c:invertIfNegative val="1"/>
            <c:bubble3D val="0"/>
            <c:spPr>
              <a:solidFill>
                <a:srgbClr val="7ECAC4"/>
              </a:solidFill>
            </c:spPr>
            <c:extLst>
              <c:ext xmlns:c16="http://schemas.microsoft.com/office/drawing/2014/chart" uri="{C3380CC4-5D6E-409C-BE32-E72D297353CC}">
                <c16:uniqueId val="{00000275-6BA1-4C47-8A73-023BF2903B93}"/>
              </c:ext>
            </c:extLst>
          </c:dPt>
          <c:dPt>
            <c:idx val="314"/>
            <c:invertIfNegative val="1"/>
            <c:bubble3D val="0"/>
            <c:spPr>
              <a:solidFill>
                <a:srgbClr val="7ECAC4"/>
              </a:solidFill>
            </c:spPr>
            <c:extLst>
              <c:ext xmlns:c16="http://schemas.microsoft.com/office/drawing/2014/chart" uri="{C3380CC4-5D6E-409C-BE32-E72D297353CC}">
                <c16:uniqueId val="{00000277-6BA1-4C47-8A73-023BF2903B93}"/>
              </c:ext>
            </c:extLst>
          </c:dPt>
          <c:dPt>
            <c:idx val="315"/>
            <c:invertIfNegative val="1"/>
            <c:bubble3D val="0"/>
            <c:spPr>
              <a:solidFill>
                <a:srgbClr val="7ECAC4"/>
              </a:solidFill>
            </c:spPr>
            <c:extLst>
              <c:ext xmlns:c16="http://schemas.microsoft.com/office/drawing/2014/chart" uri="{C3380CC4-5D6E-409C-BE32-E72D297353CC}">
                <c16:uniqueId val="{00000279-6BA1-4C47-8A73-023BF2903B93}"/>
              </c:ext>
            </c:extLst>
          </c:dPt>
          <c:dPt>
            <c:idx val="316"/>
            <c:invertIfNegative val="1"/>
            <c:bubble3D val="0"/>
            <c:spPr>
              <a:solidFill>
                <a:srgbClr val="7ECAC4"/>
              </a:solidFill>
            </c:spPr>
            <c:extLst>
              <c:ext xmlns:c16="http://schemas.microsoft.com/office/drawing/2014/chart" uri="{C3380CC4-5D6E-409C-BE32-E72D297353CC}">
                <c16:uniqueId val="{0000027B-6BA1-4C47-8A73-023BF2903B93}"/>
              </c:ext>
            </c:extLst>
          </c:dPt>
          <c:dPt>
            <c:idx val="317"/>
            <c:invertIfNegative val="1"/>
            <c:bubble3D val="0"/>
            <c:spPr>
              <a:solidFill>
                <a:srgbClr val="7ECAC4"/>
              </a:solidFill>
            </c:spPr>
            <c:extLst>
              <c:ext xmlns:c16="http://schemas.microsoft.com/office/drawing/2014/chart" uri="{C3380CC4-5D6E-409C-BE32-E72D297353CC}">
                <c16:uniqueId val="{0000027D-6BA1-4C47-8A73-023BF2903B93}"/>
              </c:ext>
            </c:extLst>
          </c:dPt>
          <c:dPt>
            <c:idx val="318"/>
            <c:invertIfNegative val="1"/>
            <c:bubble3D val="0"/>
            <c:spPr>
              <a:solidFill>
                <a:srgbClr val="7ECAC4"/>
              </a:solidFill>
            </c:spPr>
            <c:extLst>
              <c:ext xmlns:c16="http://schemas.microsoft.com/office/drawing/2014/chart" uri="{C3380CC4-5D6E-409C-BE32-E72D297353CC}">
                <c16:uniqueId val="{0000027F-6BA1-4C47-8A73-023BF2903B93}"/>
              </c:ext>
            </c:extLst>
          </c:dPt>
          <c:dPt>
            <c:idx val="319"/>
            <c:invertIfNegative val="1"/>
            <c:bubble3D val="0"/>
            <c:spPr>
              <a:solidFill>
                <a:srgbClr val="7ECAC4"/>
              </a:solidFill>
            </c:spPr>
            <c:extLst>
              <c:ext xmlns:c16="http://schemas.microsoft.com/office/drawing/2014/chart" uri="{C3380CC4-5D6E-409C-BE32-E72D297353CC}">
                <c16:uniqueId val="{00000281-6BA1-4C47-8A73-023BF2903B93}"/>
              </c:ext>
            </c:extLst>
          </c:dPt>
          <c:dPt>
            <c:idx val="320"/>
            <c:invertIfNegative val="1"/>
            <c:bubble3D val="0"/>
            <c:spPr>
              <a:solidFill>
                <a:srgbClr val="7ECAC4"/>
              </a:solidFill>
            </c:spPr>
            <c:extLst>
              <c:ext xmlns:c16="http://schemas.microsoft.com/office/drawing/2014/chart" uri="{C3380CC4-5D6E-409C-BE32-E72D297353CC}">
                <c16:uniqueId val="{00000283-6BA1-4C47-8A73-023BF2903B93}"/>
              </c:ext>
            </c:extLst>
          </c:dPt>
          <c:dPt>
            <c:idx val="321"/>
            <c:invertIfNegative val="1"/>
            <c:bubble3D val="0"/>
            <c:spPr>
              <a:solidFill>
                <a:srgbClr val="7ECAC4"/>
              </a:solidFill>
            </c:spPr>
            <c:extLst>
              <c:ext xmlns:c16="http://schemas.microsoft.com/office/drawing/2014/chart" uri="{C3380CC4-5D6E-409C-BE32-E72D297353CC}">
                <c16:uniqueId val="{00000285-6BA1-4C47-8A73-023BF2903B93}"/>
              </c:ext>
            </c:extLst>
          </c:dPt>
          <c:dPt>
            <c:idx val="322"/>
            <c:invertIfNegative val="1"/>
            <c:bubble3D val="0"/>
            <c:spPr>
              <a:solidFill>
                <a:srgbClr val="7ECAC4"/>
              </a:solidFill>
            </c:spPr>
            <c:extLst>
              <c:ext xmlns:c16="http://schemas.microsoft.com/office/drawing/2014/chart" uri="{C3380CC4-5D6E-409C-BE32-E72D297353CC}">
                <c16:uniqueId val="{00000287-6BA1-4C47-8A73-023BF2903B93}"/>
              </c:ext>
            </c:extLst>
          </c:dPt>
          <c:dPt>
            <c:idx val="323"/>
            <c:invertIfNegative val="1"/>
            <c:bubble3D val="0"/>
            <c:spPr>
              <a:solidFill>
                <a:srgbClr val="7ECAC4"/>
              </a:solidFill>
            </c:spPr>
            <c:extLst>
              <c:ext xmlns:c16="http://schemas.microsoft.com/office/drawing/2014/chart" uri="{C3380CC4-5D6E-409C-BE32-E72D297353CC}">
                <c16:uniqueId val="{00000289-6BA1-4C47-8A73-023BF2903B93}"/>
              </c:ext>
            </c:extLst>
          </c:dPt>
          <c:dPt>
            <c:idx val="324"/>
            <c:invertIfNegative val="1"/>
            <c:bubble3D val="0"/>
            <c:spPr>
              <a:solidFill>
                <a:srgbClr val="7ECAC4"/>
              </a:solidFill>
            </c:spPr>
            <c:extLst>
              <c:ext xmlns:c16="http://schemas.microsoft.com/office/drawing/2014/chart" uri="{C3380CC4-5D6E-409C-BE32-E72D297353CC}">
                <c16:uniqueId val="{0000028B-6BA1-4C47-8A73-023BF2903B93}"/>
              </c:ext>
            </c:extLst>
          </c:dPt>
          <c:dPt>
            <c:idx val="325"/>
            <c:invertIfNegative val="1"/>
            <c:bubble3D val="0"/>
            <c:spPr>
              <a:solidFill>
                <a:srgbClr val="7ECAC4"/>
              </a:solidFill>
            </c:spPr>
            <c:extLst>
              <c:ext xmlns:c16="http://schemas.microsoft.com/office/drawing/2014/chart" uri="{C3380CC4-5D6E-409C-BE32-E72D297353CC}">
                <c16:uniqueId val="{0000028D-6BA1-4C47-8A73-023BF2903B93}"/>
              </c:ext>
            </c:extLst>
          </c:dPt>
          <c:dPt>
            <c:idx val="326"/>
            <c:invertIfNegative val="1"/>
            <c:bubble3D val="0"/>
            <c:spPr>
              <a:solidFill>
                <a:srgbClr val="7ECAC4"/>
              </a:solidFill>
            </c:spPr>
            <c:extLst>
              <c:ext xmlns:c16="http://schemas.microsoft.com/office/drawing/2014/chart" uri="{C3380CC4-5D6E-409C-BE32-E72D297353CC}">
                <c16:uniqueId val="{0000028F-6BA1-4C47-8A73-023BF2903B93}"/>
              </c:ext>
            </c:extLst>
          </c:dPt>
          <c:dPt>
            <c:idx val="327"/>
            <c:invertIfNegative val="1"/>
            <c:bubble3D val="0"/>
            <c:spPr>
              <a:solidFill>
                <a:srgbClr val="7ECAC4"/>
              </a:solidFill>
            </c:spPr>
            <c:extLst>
              <c:ext xmlns:c16="http://schemas.microsoft.com/office/drawing/2014/chart" uri="{C3380CC4-5D6E-409C-BE32-E72D297353CC}">
                <c16:uniqueId val="{00000291-6BA1-4C47-8A73-023BF2903B93}"/>
              </c:ext>
            </c:extLst>
          </c:dPt>
          <c:dPt>
            <c:idx val="328"/>
            <c:invertIfNegative val="1"/>
            <c:bubble3D val="0"/>
            <c:spPr>
              <a:solidFill>
                <a:srgbClr val="7ECAC4"/>
              </a:solidFill>
            </c:spPr>
            <c:extLst>
              <c:ext xmlns:c16="http://schemas.microsoft.com/office/drawing/2014/chart" uri="{C3380CC4-5D6E-409C-BE32-E72D297353CC}">
                <c16:uniqueId val="{00000293-6BA1-4C47-8A73-023BF2903B93}"/>
              </c:ext>
            </c:extLst>
          </c:dPt>
          <c:dPt>
            <c:idx val="329"/>
            <c:invertIfNegative val="1"/>
            <c:bubble3D val="0"/>
            <c:spPr>
              <a:solidFill>
                <a:srgbClr val="7ECAC4"/>
              </a:solidFill>
            </c:spPr>
            <c:extLst>
              <c:ext xmlns:c16="http://schemas.microsoft.com/office/drawing/2014/chart" uri="{C3380CC4-5D6E-409C-BE32-E72D297353CC}">
                <c16:uniqueId val="{00000295-6BA1-4C47-8A73-023BF2903B93}"/>
              </c:ext>
            </c:extLst>
          </c:dPt>
          <c:dPt>
            <c:idx val="330"/>
            <c:invertIfNegative val="1"/>
            <c:bubble3D val="0"/>
            <c:spPr>
              <a:solidFill>
                <a:srgbClr val="7ECAC4"/>
              </a:solidFill>
            </c:spPr>
            <c:extLst>
              <c:ext xmlns:c16="http://schemas.microsoft.com/office/drawing/2014/chart" uri="{C3380CC4-5D6E-409C-BE32-E72D297353CC}">
                <c16:uniqueId val="{00000297-6BA1-4C47-8A73-023BF2903B93}"/>
              </c:ext>
            </c:extLst>
          </c:dPt>
          <c:dPt>
            <c:idx val="331"/>
            <c:invertIfNegative val="1"/>
            <c:bubble3D val="0"/>
            <c:spPr>
              <a:solidFill>
                <a:srgbClr val="7ECAC4"/>
              </a:solidFill>
            </c:spPr>
            <c:extLst>
              <c:ext xmlns:c16="http://schemas.microsoft.com/office/drawing/2014/chart" uri="{C3380CC4-5D6E-409C-BE32-E72D297353CC}">
                <c16:uniqueId val="{00000299-6BA1-4C47-8A73-023BF2903B93}"/>
              </c:ext>
            </c:extLst>
          </c:dPt>
          <c:dPt>
            <c:idx val="332"/>
            <c:invertIfNegative val="1"/>
            <c:bubble3D val="0"/>
            <c:spPr>
              <a:solidFill>
                <a:srgbClr val="7ECAC4"/>
              </a:solidFill>
            </c:spPr>
            <c:extLst>
              <c:ext xmlns:c16="http://schemas.microsoft.com/office/drawing/2014/chart" uri="{C3380CC4-5D6E-409C-BE32-E72D297353CC}">
                <c16:uniqueId val="{0000029B-6BA1-4C47-8A73-023BF2903B93}"/>
              </c:ext>
            </c:extLst>
          </c:dPt>
          <c:dPt>
            <c:idx val="333"/>
            <c:invertIfNegative val="1"/>
            <c:bubble3D val="0"/>
            <c:spPr>
              <a:solidFill>
                <a:srgbClr val="7ECAC4"/>
              </a:solidFill>
            </c:spPr>
            <c:extLst>
              <c:ext xmlns:c16="http://schemas.microsoft.com/office/drawing/2014/chart" uri="{C3380CC4-5D6E-409C-BE32-E72D297353CC}">
                <c16:uniqueId val="{0000029D-6BA1-4C47-8A73-023BF2903B93}"/>
              </c:ext>
            </c:extLst>
          </c:dPt>
          <c:dPt>
            <c:idx val="334"/>
            <c:invertIfNegative val="1"/>
            <c:bubble3D val="0"/>
            <c:spPr>
              <a:solidFill>
                <a:srgbClr val="7ECAC4"/>
              </a:solidFill>
            </c:spPr>
            <c:extLst>
              <c:ext xmlns:c16="http://schemas.microsoft.com/office/drawing/2014/chart" uri="{C3380CC4-5D6E-409C-BE32-E72D297353CC}">
                <c16:uniqueId val="{0000029F-6BA1-4C47-8A73-023BF2903B93}"/>
              </c:ext>
            </c:extLst>
          </c:dPt>
          <c:dPt>
            <c:idx val="335"/>
            <c:invertIfNegative val="1"/>
            <c:bubble3D val="0"/>
            <c:spPr>
              <a:solidFill>
                <a:srgbClr val="7ECAC4"/>
              </a:solidFill>
            </c:spPr>
            <c:extLst>
              <c:ext xmlns:c16="http://schemas.microsoft.com/office/drawing/2014/chart" uri="{C3380CC4-5D6E-409C-BE32-E72D297353CC}">
                <c16:uniqueId val="{000002A1-6BA1-4C47-8A73-023BF2903B93}"/>
              </c:ext>
            </c:extLst>
          </c:dPt>
          <c:dPt>
            <c:idx val="336"/>
            <c:invertIfNegative val="1"/>
            <c:bubble3D val="0"/>
            <c:spPr>
              <a:solidFill>
                <a:srgbClr val="7ECAC4"/>
              </a:solidFill>
            </c:spPr>
            <c:extLst>
              <c:ext xmlns:c16="http://schemas.microsoft.com/office/drawing/2014/chart" uri="{C3380CC4-5D6E-409C-BE32-E72D297353CC}">
                <c16:uniqueId val="{000002A3-6BA1-4C47-8A73-023BF2903B93}"/>
              </c:ext>
            </c:extLst>
          </c:dPt>
          <c:dPt>
            <c:idx val="337"/>
            <c:invertIfNegative val="1"/>
            <c:bubble3D val="0"/>
            <c:spPr>
              <a:solidFill>
                <a:srgbClr val="7ECAC4"/>
              </a:solidFill>
            </c:spPr>
            <c:extLst>
              <c:ext xmlns:c16="http://schemas.microsoft.com/office/drawing/2014/chart" uri="{C3380CC4-5D6E-409C-BE32-E72D297353CC}">
                <c16:uniqueId val="{000002A5-6BA1-4C47-8A73-023BF2903B93}"/>
              </c:ext>
            </c:extLst>
          </c:dPt>
          <c:dPt>
            <c:idx val="338"/>
            <c:invertIfNegative val="1"/>
            <c:bubble3D val="0"/>
            <c:spPr>
              <a:solidFill>
                <a:srgbClr val="7ECAC4"/>
              </a:solidFill>
            </c:spPr>
            <c:extLst>
              <c:ext xmlns:c16="http://schemas.microsoft.com/office/drawing/2014/chart" uri="{C3380CC4-5D6E-409C-BE32-E72D297353CC}">
                <c16:uniqueId val="{000002A7-6BA1-4C47-8A73-023BF2903B93}"/>
              </c:ext>
            </c:extLst>
          </c:dPt>
          <c:dPt>
            <c:idx val="339"/>
            <c:invertIfNegative val="1"/>
            <c:bubble3D val="0"/>
            <c:spPr>
              <a:solidFill>
                <a:srgbClr val="7ECAC4"/>
              </a:solidFill>
            </c:spPr>
            <c:extLst>
              <c:ext xmlns:c16="http://schemas.microsoft.com/office/drawing/2014/chart" uri="{C3380CC4-5D6E-409C-BE32-E72D297353CC}">
                <c16:uniqueId val="{000002A9-6BA1-4C47-8A73-023BF2903B93}"/>
              </c:ext>
            </c:extLst>
          </c:dPt>
          <c:dPt>
            <c:idx val="340"/>
            <c:invertIfNegative val="1"/>
            <c:bubble3D val="0"/>
            <c:spPr>
              <a:solidFill>
                <a:srgbClr val="7ECAC4"/>
              </a:solidFill>
            </c:spPr>
            <c:extLst>
              <c:ext xmlns:c16="http://schemas.microsoft.com/office/drawing/2014/chart" uri="{C3380CC4-5D6E-409C-BE32-E72D297353CC}">
                <c16:uniqueId val="{000002AB-6BA1-4C47-8A73-023BF2903B93}"/>
              </c:ext>
            </c:extLst>
          </c:dPt>
          <c:dPt>
            <c:idx val="341"/>
            <c:invertIfNegative val="1"/>
            <c:bubble3D val="0"/>
            <c:spPr>
              <a:solidFill>
                <a:srgbClr val="7ECAC4"/>
              </a:solidFill>
            </c:spPr>
            <c:extLst>
              <c:ext xmlns:c16="http://schemas.microsoft.com/office/drawing/2014/chart" uri="{C3380CC4-5D6E-409C-BE32-E72D297353CC}">
                <c16:uniqueId val="{000002AD-6BA1-4C47-8A73-023BF2903B93}"/>
              </c:ext>
            </c:extLst>
          </c:dPt>
          <c:dPt>
            <c:idx val="342"/>
            <c:invertIfNegative val="1"/>
            <c:bubble3D val="0"/>
            <c:spPr>
              <a:solidFill>
                <a:srgbClr val="7ECAC4"/>
              </a:solidFill>
            </c:spPr>
            <c:extLst>
              <c:ext xmlns:c16="http://schemas.microsoft.com/office/drawing/2014/chart" uri="{C3380CC4-5D6E-409C-BE32-E72D297353CC}">
                <c16:uniqueId val="{000002AF-6BA1-4C47-8A73-023BF2903B93}"/>
              </c:ext>
            </c:extLst>
          </c:dPt>
          <c:dPt>
            <c:idx val="343"/>
            <c:invertIfNegative val="1"/>
            <c:bubble3D val="0"/>
            <c:spPr>
              <a:solidFill>
                <a:srgbClr val="7ECAC4"/>
              </a:solidFill>
            </c:spPr>
            <c:extLst>
              <c:ext xmlns:c16="http://schemas.microsoft.com/office/drawing/2014/chart" uri="{C3380CC4-5D6E-409C-BE32-E72D297353CC}">
                <c16:uniqueId val="{000002B1-6BA1-4C47-8A73-023BF2903B93}"/>
              </c:ext>
            </c:extLst>
          </c:dPt>
          <c:dPt>
            <c:idx val="344"/>
            <c:invertIfNegative val="1"/>
            <c:bubble3D val="0"/>
            <c:spPr>
              <a:solidFill>
                <a:srgbClr val="7ECAC4"/>
              </a:solidFill>
            </c:spPr>
            <c:extLst>
              <c:ext xmlns:c16="http://schemas.microsoft.com/office/drawing/2014/chart" uri="{C3380CC4-5D6E-409C-BE32-E72D297353CC}">
                <c16:uniqueId val="{000002B3-6BA1-4C47-8A73-023BF2903B93}"/>
              </c:ext>
            </c:extLst>
          </c:dPt>
          <c:dPt>
            <c:idx val="345"/>
            <c:invertIfNegative val="1"/>
            <c:bubble3D val="0"/>
            <c:spPr>
              <a:solidFill>
                <a:srgbClr val="7ECAC4"/>
              </a:solidFill>
            </c:spPr>
            <c:extLst>
              <c:ext xmlns:c16="http://schemas.microsoft.com/office/drawing/2014/chart" uri="{C3380CC4-5D6E-409C-BE32-E72D297353CC}">
                <c16:uniqueId val="{000002B5-6BA1-4C47-8A73-023BF2903B93}"/>
              </c:ext>
            </c:extLst>
          </c:dPt>
          <c:dPt>
            <c:idx val="346"/>
            <c:invertIfNegative val="1"/>
            <c:bubble3D val="0"/>
            <c:spPr>
              <a:solidFill>
                <a:srgbClr val="7ECAC4"/>
              </a:solidFill>
            </c:spPr>
            <c:extLst>
              <c:ext xmlns:c16="http://schemas.microsoft.com/office/drawing/2014/chart" uri="{C3380CC4-5D6E-409C-BE32-E72D297353CC}">
                <c16:uniqueId val="{000002B7-6BA1-4C47-8A73-023BF2903B93}"/>
              </c:ext>
            </c:extLst>
          </c:dPt>
          <c:dPt>
            <c:idx val="347"/>
            <c:invertIfNegative val="1"/>
            <c:bubble3D val="0"/>
            <c:spPr>
              <a:solidFill>
                <a:srgbClr val="7ECAC4"/>
              </a:solidFill>
            </c:spPr>
            <c:extLst>
              <c:ext xmlns:c16="http://schemas.microsoft.com/office/drawing/2014/chart" uri="{C3380CC4-5D6E-409C-BE32-E72D297353CC}">
                <c16:uniqueId val="{000002B9-6BA1-4C47-8A73-023BF2903B93}"/>
              </c:ext>
            </c:extLst>
          </c:dPt>
          <c:dPt>
            <c:idx val="348"/>
            <c:invertIfNegative val="1"/>
            <c:bubble3D val="0"/>
            <c:spPr>
              <a:solidFill>
                <a:srgbClr val="7ECAC4"/>
              </a:solidFill>
            </c:spPr>
            <c:extLst>
              <c:ext xmlns:c16="http://schemas.microsoft.com/office/drawing/2014/chart" uri="{C3380CC4-5D6E-409C-BE32-E72D297353CC}">
                <c16:uniqueId val="{000002BB-6BA1-4C47-8A73-023BF2903B93}"/>
              </c:ext>
            </c:extLst>
          </c:dPt>
          <c:dPt>
            <c:idx val="349"/>
            <c:invertIfNegative val="1"/>
            <c:bubble3D val="0"/>
            <c:spPr>
              <a:solidFill>
                <a:srgbClr val="7ECAC4"/>
              </a:solidFill>
            </c:spPr>
            <c:extLst>
              <c:ext xmlns:c16="http://schemas.microsoft.com/office/drawing/2014/chart" uri="{C3380CC4-5D6E-409C-BE32-E72D297353CC}">
                <c16:uniqueId val="{000002BD-6BA1-4C47-8A73-023BF2903B93}"/>
              </c:ext>
            </c:extLst>
          </c:dPt>
          <c:dPt>
            <c:idx val="350"/>
            <c:invertIfNegative val="1"/>
            <c:bubble3D val="0"/>
            <c:spPr>
              <a:solidFill>
                <a:srgbClr val="7ECAC4"/>
              </a:solidFill>
            </c:spPr>
            <c:extLst>
              <c:ext xmlns:c16="http://schemas.microsoft.com/office/drawing/2014/chart" uri="{C3380CC4-5D6E-409C-BE32-E72D297353CC}">
                <c16:uniqueId val="{000002BF-6BA1-4C47-8A73-023BF2903B93}"/>
              </c:ext>
            </c:extLst>
          </c:dPt>
          <c:dPt>
            <c:idx val="351"/>
            <c:invertIfNegative val="1"/>
            <c:bubble3D val="0"/>
            <c:spPr>
              <a:solidFill>
                <a:srgbClr val="7ECAC4"/>
              </a:solidFill>
            </c:spPr>
            <c:extLst>
              <c:ext xmlns:c16="http://schemas.microsoft.com/office/drawing/2014/chart" uri="{C3380CC4-5D6E-409C-BE32-E72D297353CC}">
                <c16:uniqueId val="{000002C1-6BA1-4C47-8A73-023BF2903B93}"/>
              </c:ext>
            </c:extLst>
          </c:dPt>
          <c:dPt>
            <c:idx val="352"/>
            <c:invertIfNegative val="1"/>
            <c:bubble3D val="0"/>
            <c:spPr>
              <a:solidFill>
                <a:srgbClr val="7ECAC4"/>
              </a:solidFill>
            </c:spPr>
            <c:extLst>
              <c:ext xmlns:c16="http://schemas.microsoft.com/office/drawing/2014/chart" uri="{C3380CC4-5D6E-409C-BE32-E72D297353CC}">
                <c16:uniqueId val="{000002C3-6BA1-4C47-8A73-023BF2903B93}"/>
              </c:ext>
            </c:extLst>
          </c:dPt>
          <c:dPt>
            <c:idx val="353"/>
            <c:invertIfNegative val="1"/>
            <c:bubble3D val="0"/>
            <c:spPr>
              <a:solidFill>
                <a:srgbClr val="7ECAC4"/>
              </a:solidFill>
            </c:spPr>
            <c:extLst>
              <c:ext xmlns:c16="http://schemas.microsoft.com/office/drawing/2014/chart" uri="{C3380CC4-5D6E-409C-BE32-E72D297353CC}">
                <c16:uniqueId val="{000002C5-6BA1-4C47-8A73-023BF2903B93}"/>
              </c:ext>
            </c:extLst>
          </c:dPt>
          <c:dPt>
            <c:idx val="354"/>
            <c:invertIfNegative val="1"/>
            <c:bubble3D val="0"/>
            <c:spPr>
              <a:solidFill>
                <a:srgbClr val="7ECAC4"/>
              </a:solidFill>
            </c:spPr>
            <c:extLst>
              <c:ext xmlns:c16="http://schemas.microsoft.com/office/drawing/2014/chart" uri="{C3380CC4-5D6E-409C-BE32-E72D297353CC}">
                <c16:uniqueId val="{000002C7-6BA1-4C47-8A73-023BF2903B93}"/>
              </c:ext>
            </c:extLst>
          </c:dPt>
          <c:dPt>
            <c:idx val="355"/>
            <c:invertIfNegative val="1"/>
            <c:bubble3D val="0"/>
            <c:spPr>
              <a:solidFill>
                <a:srgbClr val="7ECAC4"/>
              </a:solidFill>
            </c:spPr>
            <c:extLst>
              <c:ext xmlns:c16="http://schemas.microsoft.com/office/drawing/2014/chart" uri="{C3380CC4-5D6E-409C-BE32-E72D297353CC}">
                <c16:uniqueId val="{000002C9-6BA1-4C47-8A73-023BF2903B93}"/>
              </c:ext>
            </c:extLst>
          </c:dPt>
          <c:dPt>
            <c:idx val="356"/>
            <c:invertIfNegative val="1"/>
            <c:bubble3D val="0"/>
            <c:spPr>
              <a:solidFill>
                <a:srgbClr val="7ECAC4"/>
              </a:solidFill>
            </c:spPr>
            <c:extLst>
              <c:ext xmlns:c16="http://schemas.microsoft.com/office/drawing/2014/chart" uri="{C3380CC4-5D6E-409C-BE32-E72D297353CC}">
                <c16:uniqueId val="{000002CB-6BA1-4C47-8A73-023BF2903B93}"/>
              </c:ext>
            </c:extLst>
          </c:dPt>
          <c:dPt>
            <c:idx val="357"/>
            <c:invertIfNegative val="1"/>
            <c:bubble3D val="0"/>
            <c:spPr>
              <a:solidFill>
                <a:srgbClr val="7ECAC4"/>
              </a:solidFill>
            </c:spPr>
            <c:extLst>
              <c:ext xmlns:c16="http://schemas.microsoft.com/office/drawing/2014/chart" uri="{C3380CC4-5D6E-409C-BE32-E72D297353CC}">
                <c16:uniqueId val="{000002CD-6BA1-4C47-8A73-023BF2903B93}"/>
              </c:ext>
            </c:extLst>
          </c:dPt>
          <c:dPt>
            <c:idx val="358"/>
            <c:invertIfNegative val="1"/>
            <c:bubble3D val="0"/>
            <c:spPr>
              <a:solidFill>
                <a:srgbClr val="7ECAC4"/>
              </a:solidFill>
            </c:spPr>
            <c:extLst>
              <c:ext xmlns:c16="http://schemas.microsoft.com/office/drawing/2014/chart" uri="{C3380CC4-5D6E-409C-BE32-E72D297353CC}">
                <c16:uniqueId val="{000002CF-6BA1-4C47-8A73-023BF2903B93}"/>
              </c:ext>
            </c:extLst>
          </c:dPt>
          <c:dPt>
            <c:idx val="359"/>
            <c:invertIfNegative val="1"/>
            <c:bubble3D val="0"/>
            <c:spPr>
              <a:solidFill>
                <a:srgbClr val="7ECAC4"/>
              </a:solidFill>
            </c:spPr>
            <c:extLst>
              <c:ext xmlns:c16="http://schemas.microsoft.com/office/drawing/2014/chart" uri="{C3380CC4-5D6E-409C-BE32-E72D297353CC}">
                <c16:uniqueId val="{000002D1-6BA1-4C47-8A73-023BF2903B93}"/>
              </c:ext>
            </c:extLst>
          </c:dPt>
          <c:dPt>
            <c:idx val="360"/>
            <c:invertIfNegative val="1"/>
            <c:bubble3D val="0"/>
            <c:spPr>
              <a:solidFill>
                <a:srgbClr val="7ECAC4"/>
              </a:solidFill>
            </c:spPr>
            <c:extLst>
              <c:ext xmlns:c16="http://schemas.microsoft.com/office/drawing/2014/chart" uri="{C3380CC4-5D6E-409C-BE32-E72D297353CC}">
                <c16:uniqueId val="{000002D3-6BA1-4C47-8A73-023BF2903B93}"/>
              </c:ext>
            </c:extLst>
          </c:dPt>
          <c:dPt>
            <c:idx val="361"/>
            <c:invertIfNegative val="1"/>
            <c:bubble3D val="0"/>
            <c:spPr>
              <a:solidFill>
                <a:srgbClr val="7ECAC4"/>
              </a:solidFill>
            </c:spPr>
            <c:extLst>
              <c:ext xmlns:c16="http://schemas.microsoft.com/office/drawing/2014/chart" uri="{C3380CC4-5D6E-409C-BE32-E72D297353CC}">
                <c16:uniqueId val="{000002D5-6BA1-4C47-8A73-023BF2903B93}"/>
              </c:ext>
            </c:extLst>
          </c:dPt>
          <c:dPt>
            <c:idx val="362"/>
            <c:invertIfNegative val="1"/>
            <c:bubble3D val="0"/>
            <c:spPr>
              <a:solidFill>
                <a:srgbClr val="7ECAC4"/>
              </a:solidFill>
            </c:spPr>
            <c:extLst>
              <c:ext xmlns:c16="http://schemas.microsoft.com/office/drawing/2014/chart" uri="{C3380CC4-5D6E-409C-BE32-E72D297353CC}">
                <c16:uniqueId val="{000002D7-6BA1-4C47-8A73-023BF2903B93}"/>
              </c:ext>
            </c:extLst>
          </c:dPt>
          <c:dPt>
            <c:idx val="363"/>
            <c:invertIfNegative val="1"/>
            <c:bubble3D val="0"/>
            <c:spPr>
              <a:solidFill>
                <a:srgbClr val="7ECAC4"/>
              </a:solidFill>
            </c:spPr>
            <c:extLst>
              <c:ext xmlns:c16="http://schemas.microsoft.com/office/drawing/2014/chart" uri="{C3380CC4-5D6E-409C-BE32-E72D297353CC}">
                <c16:uniqueId val="{000002D9-6BA1-4C47-8A73-023BF2903B93}"/>
              </c:ext>
            </c:extLst>
          </c:dPt>
          <c:dPt>
            <c:idx val="364"/>
            <c:invertIfNegative val="1"/>
            <c:bubble3D val="0"/>
            <c:spPr>
              <a:solidFill>
                <a:srgbClr val="7ECAC4"/>
              </a:solidFill>
            </c:spPr>
            <c:extLst>
              <c:ext xmlns:c16="http://schemas.microsoft.com/office/drawing/2014/chart" uri="{C3380CC4-5D6E-409C-BE32-E72D297353CC}">
                <c16:uniqueId val="{000002DB-6BA1-4C47-8A73-023BF2903B93}"/>
              </c:ext>
            </c:extLst>
          </c:dPt>
          <c:dPt>
            <c:idx val="365"/>
            <c:invertIfNegative val="1"/>
            <c:bubble3D val="0"/>
            <c:spPr>
              <a:solidFill>
                <a:srgbClr val="7ECAC4"/>
              </a:solidFill>
            </c:spPr>
            <c:extLst>
              <c:ext xmlns:c16="http://schemas.microsoft.com/office/drawing/2014/chart" uri="{C3380CC4-5D6E-409C-BE32-E72D297353CC}">
                <c16:uniqueId val="{000002DD-6BA1-4C47-8A73-023BF2903B93}"/>
              </c:ext>
            </c:extLst>
          </c:dPt>
          <c:dPt>
            <c:idx val="366"/>
            <c:invertIfNegative val="1"/>
            <c:bubble3D val="0"/>
            <c:spPr>
              <a:solidFill>
                <a:srgbClr val="7ECAC4"/>
              </a:solidFill>
            </c:spPr>
            <c:extLst>
              <c:ext xmlns:c16="http://schemas.microsoft.com/office/drawing/2014/chart" uri="{C3380CC4-5D6E-409C-BE32-E72D297353CC}">
                <c16:uniqueId val="{000002DF-6BA1-4C47-8A73-023BF2903B93}"/>
              </c:ext>
            </c:extLst>
          </c:dPt>
          <c:dPt>
            <c:idx val="367"/>
            <c:invertIfNegative val="1"/>
            <c:bubble3D val="0"/>
            <c:spPr>
              <a:solidFill>
                <a:srgbClr val="7ECAC4"/>
              </a:solidFill>
            </c:spPr>
            <c:extLst>
              <c:ext xmlns:c16="http://schemas.microsoft.com/office/drawing/2014/chart" uri="{C3380CC4-5D6E-409C-BE32-E72D297353CC}">
                <c16:uniqueId val="{000002E1-6BA1-4C47-8A73-023BF2903B93}"/>
              </c:ext>
            </c:extLst>
          </c:dPt>
          <c:dPt>
            <c:idx val="368"/>
            <c:invertIfNegative val="1"/>
            <c:bubble3D val="0"/>
            <c:spPr>
              <a:solidFill>
                <a:srgbClr val="7ECAC4"/>
              </a:solidFill>
            </c:spPr>
            <c:extLst>
              <c:ext xmlns:c16="http://schemas.microsoft.com/office/drawing/2014/chart" uri="{C3380CC4-5D6E-409C-BE32-E72D297353CC}">
                <c16:uniqueId val="{000002E3-6BA1-4C47-8A73-023BF2903B93}"/>
              </c:ext>
            </c:extLst>
          </c:dPt>
          <c:dPt>
            <c:idx val="369"/>
            <c:invertIfNegative val="1"/>
            <c:bubble3D val="0"/>
            <c:spPr>
              <a:solidFill>
                <a:srgbClr val="7ECAC4"/>
              </a:solidFill>
            </c:spPr>
            <c:extLst>
              <c:ext xmlns:c16="http://schemas.microsoft.com/office/drawing/2014/chart" uri="{C3380CC4-5D6E-409C-BE32-E72D297353CC}">
                <c16:uniqueId val="{000002E5-6BA1-4C47-8A73-023BF2903B93}"/>
              </c:ext>
            </c:extLst>
          </c:dPt>
          <c:dPt>
            <c:idx val="370"/>
            <c:invertIfNegative val="1"/>
            <c:bubble3D val="0"/>
            <c:spPr>
              <a:solidFill>
                <a:srgbClr val="7ECAC4"/>
              </a:solidFill>
            </c:spPr>
            <c:extLst>
              <c:ext xmlns:c16="http://schemas.microsoft.com/office/drawing/2014/chart" uri="{C3380CC4-5D6E-409C-BE32-E72D297353CC}">
                <c16:uniqueId val="{000002E7-6BA1-4C47-8A73-023BF2903B93}"/>
              </c:ext>
            </c:extLst>
          </c:dPt>
          <c:dPt>
            <c:idx val="371"/>
            <c:invertIfNegative val="1"/>
            <c:bubble3D val="0"/>
            <c:spPr>
              <a:solidFill>
                <a:srgbClr val="7ECAC4"/>
              </a:solidFill>
            </c:spPr>
            <c:extLst>
              <c:ext xmlns:c16="http://schemas.microsoft.com/office/drawing/2014/chart" uri="{C3380CC4-5D6E-409C-BE32-E72D297353CC}">
                <c16:uniqueId val="{000002E9-6BA1-4C47-8A73-023BF2903B93}"/>
              </c:ext>
            </c:extLst>
          </c:dPt>
          <c:dPt>
            <c:idx val="372"/>
            <c:invertIfNegative val="1"/>
            <c:bubble3D val="0"/>
            <c:spPr>
              <a:solidFill>
                <a:srgbClr val="7ECAC4"/>
              </a:solidFill>
            </c:spPr>
            <c:extLst>
              <c:ext xmlns:c16="http://schemas.microsoft.com/office/drawing/2014/chart" uri="{C3380CC4-5D6E-409C-BE32-E72D297353CC}">
                <c16:uniqueId val="{000002EB-6BA1-4C47-8A73-023BF2903B93}"/>
              </c:ext>
            </c:extLst>
          </c:dPt>
          <c:dPt>
            <c:idx val="373"/>
            <c:invertIfNegative val="1"/>
            <c:bubble3D val="0"/>
            <c:spPr>
              <a:solidFill>
                <a:srgbClr val="7ECAC4"/>
              </a:solidFill>
            </c:spPr>
            <c:extLst>
              <c:ext xmlns:c16="http://schemas.microsoft.com/office/drawing/2014/chart" uri="{C3380CC4-5D6E-409C-BE32-E72D297353CC}">
                <c16:uniqueId val="{000002ED-6BA1-4C47-8A73-023BF2903B93}"/>
              </c:ext>
            </c:extLst>
          </c:dPt>
          <c:dPt>
            <c:idx val="374"/>
            <c:invertIfNegative val="1"/>
            <c:bubble3D val="0"/>
            <c:spPr>
              <a:solidFill>
                <a:srgbClr val="7ECAC4"/>
              </a:solidFill>
            </c:spPr>
            <c:extLst>
              <c:ext xmlns:c16="http://schemas.microsoft.com/office/drawing/2014/chart" uri="{C3380CC4-5D6E-409C-BE32-E72D297353CC}">
                <c16:uniqueId val="{000002EF-6BA1-4C47-8A73-023BF2903B93}"/>
              </c:ext>
            </c:extLst>
          </c:dPt>
          <c:dPt>
            <c:idx val="375"/>
            <c:invertIfNegative val="1"/>
            <c:bubble3D val="0"/>
            <c:spPr>
              <a:solidFill>
                <a:srgbClr val="7ECAC4"/>
              </a:solidFill>
            </c:spPr>
            <c:extLst>
              <c:ext xmlns:c16="http://schemas.microsoft.com/office/drawing/2014/chart" uri="{C3380CC4-5D6E-409C-BE32-E72D297353CC}">
                <c16:uniqueId val="{000002F1-6BA1-4C47-8A73-023BF2903B93}"/>
              </c:ext>
            </c:extLst>
          </c:dPt>
          <c:dPt>
            <c:idx val="376"/>
            <c:invertIfNegative val="1"/>
            <c:bubble3D val="0"/>
            <c:spPr>
              <a:solidFill>
                <a:srgbClr val="7ECAC4"/>
              </a:solidFill>
            </c:spPr>
            <c:extLst>
              <c:ext xmlns:c16="http://schemas.microsoft.com/office/drawing/2014/chart" uri="{C3380CC4-5D6E-409C-BE32-E72D297353CC}">
                <c16:uniqueId val="{000002F3-6BA1-4C47-8A73-023BF2903B93}"/>
              </c:ext>
            </c:extLst>
          </c:dPt>
          <c:dPt>
            <c:idx val="377"/>
            <c:invertIfNegative val="1"/>
            <c:bubble3D val="0"/>
            <c:spPr>
              <a:solidFill>
                <a:srgbClr val="7ECAC4"/>
              </a:solidFill>
            </c:spPr>
            <c:extLst>
              <c:ext xmlns:c16="http://schemas.microsoft.com/office/drawing/2014/chart" uri="{C3380CC4-5D6E-409C-BE32-E72D297353CC}">
                <c16:uniqueId val="{000002F5-6BA1-4C47-8A73-023BF2903B93}"/>
              </c:ext>
            </c:extLst>
          </c:dPt>
          <c:dPt>
            <c:idx val="378"/>
            <c:invertIfNegative val="1"/>
            <c:bubble3D val="0"/>
            <c:spPr>
              <a:solidFill>
                <a:srgbClr val="7ECAC4"/>
              </a:solidFill>
            </c:spPr>
            <c:extLst>
              <c:ext xmlns:c16="http://schemas.microsoft.com/office/drawing/2014/chart" uri="{C3380CC4-5D6E-409C-BE32-E72D297353CC}">
                <c16:uniqueId val="{000002F7-6BA1-4C47-8A73-023BF2903B93}"/>
              </c:ext>
            </c:extLst>
          </c:dPt>
          <c:dPt>
            <c:idx val="379"/>
            <c:invertIfNegative val="1"/>
            <c:bubble3D val="0"/>
            <c:spPr>
              <a:solidFill>
                <a:srgbClr val="7ECAC4"/>
              </a:solidFill>
            </c:spPr>
            <c:extLst>
              <c:ext xmlns:c16="http://schemas.microsoft.com/office/drawing/2014/chart" uri="{C3380CC4-5D6E-409C-BE32-E72D297353CC}">
                <c16:uniqueId val="{000002F9-6BA1-4C47-8A73-023BF2903B93}"/>
              </c:ext>
            </c:extLst>
          </c:dPt>
          <c:dPt>
            <c:idx val="380"/>
            <c:invertIfNegative val="1"/>
            <c:bubble3D val="0"/>
            <c:spPr>
              <a:solidFill>
                <a:srgbClr val="7ECAC4"/>
              </a:solidFill>
            </c:spPr>
            <c:extLst>
              <c:ext xmlns:c16="http://schemas.microsoft.com/office/drawing/2014/chart" uri="{C3380CC4-5D6E-409C-BE32-E72D297353CC}">
                <c16:uniqueId val="{000002FB-6BA1-4C47-8A73-023BF2903B93}"/>
              </c:ext>
            </c:extLst>
          </c:dPt>
          <c:dPt>
            <c:idx val="381"/>
            <c:invertIfNegative val="1"/>
            <c:bubble3D val="0"/>
            <c:spPr>
              <a:solidFill>
                <a:srgbClr val="7ECAC4"/>
              </a:solidFill>
            </c:spPr>
            <c:extLst>
              <c:ext xmlns:c16="http://schemas.microsoft.com/office/drawing/2014/chart" uri="{C3380CC4-5D6E-409C-BE32-E72D297353CC}">
                <c16:uniqueId val="{000002FD-6BA1-4C47-8A73-023BF2903B93}"/>
              </c:ext>
            </c:extLst>
          </c:dPt>
          <c:dPt>
            <c:idx val="382"/>
            <c:invertIfNegative val="1"/>
            <c:bubble3D val="0"/>
            <c:spPr>
              <a:solidFill>
                <a:srgbClr val="7ECAC4"/>
              </a:solidFill>
            </c:spPr>
            <c:extLst>
              <c:ext xmlns:c16="http://schemas.microsoft.com/office/drawing/2014/chart" uri="{C3380CC4-5D6E-409C-BE32-E72D297353CC}">
                <c16:uniqueId val="{000002FF-6BA1-4C47-8A73-023BF2903B93}"/>
              </c:ext>
            </c:extLst>
          </c:dPt>
          <c:dPt>
            <c:idx val="383"/>
            <c:invertIfNegative val="1"/>
            <c:bubble3D val="0"/>
            <c:spPr>
              <a:solidFill>
                <a:srgbClr val="7ECAC4"/>
              </a:solidFill>
            </c:spPr>
            <c:extLst>
              <c:ext xmlns:c16="http://schemas.microsoft.com/office/drawing/2014/chart" uri="{C3380CC4-5D6E-409C-BE32-E72D297353CC}">
                <c16:uniqueId val="{00000301-6BA1-4C47-8A73-023BF2903B93}"/>
              </c:ext>
            </c:extLst>
          </c:dPt>
          <c:dPt>
            <c:idx val="384"/>
            <c:invertIfNegative val="1"/>
            <c:bubble3D val="0"/>
            <c:spPr>
              <a:solidFill>
                <a:srgbClr val="7ECAC4"/>
              </a:solidFill>
            </c:spPr>
            <c:extLst>
              <c:ext xmlns:c16="http://schemas.microsoft.com/office/drawing/2014/chart" uri="{C3380CC4-5D6E-409C-BE32-E72D297353CC}">
                <c16:uniqueId val="{00000303-6BA1-4C47-8A73-023BF2903B93}"/>
              </c:ext>
            </c:extLst>
          </c:dPt>
          <c:dPt>
            <c:idx val="385"/>
            <c:invertIfNegative val="1"/>
            <c:bubble3D val="0"/>
            <c:spPr>
              <a:solidFill>
                <a:srgbClr val="7ECAC4"/>
              </a:solidFill>
            </c:spPr>
            <c:extLst>
              <c:ext xmlns:c16="http://schemas.microsoft.com/office/drawing/2014/chart" uri="{C3380CC4-5D6E-409C-BE32-E72D297353CC}">
                <c16:uniqueId val="{00000305-6BA1-4C47-8A73-023BF2903B93}"/>
              </c:ext>
            </c:extLst>
          </c:dPt>
          <c:dPt>
            <c:idx val="386"/>
            <c:invertIfNegative val="1"/>
            <c:bubble3D val="0"/>
            <c:spPr>
              <a:solidFill>
                <a:srgbClr val="7ECAC4"/>
              </a:solidFill>
            </c:spPr>
            <c:extLst>
              <c:ext xmlns:c16="http://schemas.microsoft.com/office/drawing/2014/chart" uri="{C3380CC4-5D6E-409C-BE32-E72D297353CC}">
                <c16:uniqueId val="{00000307-6BA1-4C47-8A73-023BF2903B93}"/>
              </c:ext>
            </c:extLst>
          </c:dPt>
          <c:dPt>
            <c:idx val="387"/>
            <c:invertIfNegative val="1"/>
            <c:bubble3D val="0"/>
            <c:spPr>
              <a:solidFill>
                <a:srgbClr val="7ECAC4"/>
              </a:solidFill>
            </c:spPr>
            <c:extLst>
              <c:ext xmlns:c16="http://schemas.microsoft.com/office/drawing/2014/chart" uri="{C3380CC4-5D6E-409C-BE32-E72D297353CC}">
                <c16:uniqueId val="{00000309-6BA1-4C47-8A73-023BF2903B93}"/>
              </c:ext>
            </c:extLst>
          </c:dPt>
          <c:dPt>
            <c:idx val="388"/>
            <c:invertIfNegative val="1"/>
            <c:bubble3D val="0"/>
            <c:spPr>
              <a:solidFill>
                <a:srgbClr val="7ECAC4"/>
              </a:solidFill>
            </c:spPr>
            <c:extLst>
              <c:ext xmlns:c16="http://schemas.microsoft.com/office/drawing/2014/chart" uri="{C3380CC4-5D6E-409C-BE32-E72D297353CC}">
                <c16:uniqueId val="{0000030B-6BA1-4C47-8A73-023BF2903B93}"/>
              </c:ext>
            </c:extLst>
          </c:dPt>
          <c:dPt>
            <c:idx val="389"/>
            <c:invertIfNegative val="1"/>
            <c:bubble3D val="0"/>
            <c:spPr>
              <a:solidFill>
                <a:srgbClr val="7ECAC4"/>
              </a:solidFill>
            </c:spPr>
            <c:extLst>
              <c:ext xmlns:c16="http://schemas.microsoft.com/office/drawing/2014/chart" uri="{C3380CC4-5D6E-409C-BE32-E72D297353CC}">
                <c16:uniqueId val="{0000030D-6BA1-4C47-8A73-023BF2903B93}"/>
              </c:ext>
            </c:extLst>
          </c:dPt>
          <c:dPt>
            <c:idx val="390"/>
            <c:invertIfNegative val="1"/>
            <c:bubble3D val="0"/>
            <c:spPr>
              <a:solidFill>
                <a:srgbClr val="7ECAC4"/>
              </a:solidFill>
            </c:spPr>
            <c:extLst>
              <c:ext xmlns:c16="http://schemas.microsoft.com/office/drawing/2014/chart" uri="{C3380CC4-5D6E-409C-BE32-E72D297353CC}">
                <c16:uniqueId val="{0000030F-6BA1-4C47-8A73-023BF2903B93}"/>
              </c:ext>
            </c:extLst>
          </c:dPt>
          <c:dPt>
            <c:idx val="391"/>
            <c:invertIfNegative val="1"/>
            <c:bubble3D val="0"/>
            <c:spPr>
              <a:solidFill>
                <a:srgbClr val="7ECAC4"/>
              </a:solidFill>
            </c:spPr>
            <c:extLst>
              <c:ext xmlns:c16="http://schemas.microsoft.com/office/drawing/2014/chart" uri="{C3380CC4-5D6E-409C-BE32-E72D297353CC}">
                <c16:uniqueId val="{00000311-6BA1-4C47-8A73-023BF2903B93}"/>
              </c:ext>
            </c:extLst>
          </c:dPt>
          <c:dPt>
            <c:idx val="392"/>
            <c:invertIfNegative val="1"/>
            <c:bubble3D val="0"/>
            <c:spPr>
              <a:solidFill>
                <a:srgbClr val="7ECAC4"/>
              </a:solidFill>
            </c:spPr>
            <c:extLst>
              <c:ext xmlns:c16="http://schemas.microsoft.com/office/drawing/2014/chart" uri="{C3380CC4-5D6E-409C-BE32-E72D297353CC}">
                <c16:uniqueId val="{00000313-6BA1-4C47-8A73-023BF2903B93}"/>
              </c:ext>
            </c:extLst>
          </c:dPt>
          <c:dPt>
            <c:idx val="393"/>
            <c:invertIfNegative val="1"/>
            <c:bubble3D val="0"/>
            <c:spPr>
              <a:solidFill>
                <a:srgbClr val="7ECAC4"/>
              </a:solidFill>
            </c:spPr>
            <c:extLst>
              <c:ext xmlns:c16="http://schemas.microsoft.com/office/drawing/2014/chart" uri="{C3380CC4-5D6E-409C-BE32-E72D297353CC}">
                <c16:uniqueId val="{00000315-6BA1-4C47-8A73-023BF2903B93}"/>
              </c:ext>
            </c:extLst>
          </c:dPt>
          <c:dPt>
            <c:idx val="394"/>
            <c:invertIfNegative val="1"/>
            <c:bubble3D val="0"/>
            <c:spPr>
              <a:solidFill>
                <a:srgbClr val="7ECAC4"/>
              </a:solidFill>
            </c:spPr>
            <c:extLst>
              <c:ext xmlns:c16="http://schemas.microsoft.com/office/drawing/2014/chart" uri="{C3380CC4-5D6E-409C-BE32-E72D297353CC}">
                <c16:uniqueId val="{00000317-6BA1-4C47-8A73-023BF2903B93}"/>
              </c:ext>
            </c:extLst>
          </c:dPt>
          <c:dPt>
            <c:idx val="395"/>
            <c:invertIfNegative val="1"/>
            <c:bubble3D val="0"/>
            <c:spPr>
              <a:solidFill>
                <a:srgbClr val="7ECAC4"/>
              </a:solidFill>
            </c:spPr>
            <c:extLst>
              <c:ext xmlns:c16="http://schemas.microsoft.com/office/drawing/2014/chart" uri="{C3380CC4-5D6E-409C-BE32-E72D297353CC}">
                <c16:uniqueId val="{00000319-6BA1-4C47-8A73-023BF2903B93}"/>
              </c:ext>
            </c:extLst>
          </c:dPt>
          <c:dPt>
            <c:idx val="396"/>
            <c:invertIfNegative val="1"/>
            <c:bubble3D val="0"/>
            <c:spPr>
              <a:solidFill>
                <a:srgbClr val="7ECAC4"/>
              </a:solidFill>
            </c:spPr>
            <c:extLst>
              <c:ext xmlns:c16="http://schemas.microsoft.com/office/drawing/2014/chart" uri="{C3380CC4-5D6E-409C-BE32-E72D297353CC}">
                <c16:uniqueId val="{0000031B-6BA1-4C47-8A73-023BF2903B93}"/>
              </c:ext>
            </c:extLst>
          </c:dPt>
          <c:dPt>
            <c:idx val="397"/>
            <c:invertIfNegative val="1"/>
            <c:bubble3D val="0"/>
            <c:spPr>
              <a:solidFill>
                <a:srgbClr val="7ECAC4"/>
              </a:solidFill>
            </c:spPr>
            <c:extLst>
              <c:ext xmlns:c16="http://schemas.microsoft.com/office/drawing/2014/chart" uri="{C3380CC4-5D6E-409C-BE32-E72D297353CC}">
                <c16:uniqueId val="{0000031D-6BA1-4C47-8A73-023BF2903B93}"/>
              </c:ext>
            </c:extLst>
          </c:dPt>
          <c:dPt>
            <c:idx val="398"/>
            <c:invertIfNegative val="1"/>
            <c:bubble3D val="0"/>
            <c:spPr>
              <a:solidFill>
                <a:srgbClr val="7ECAC4"/>
              </a:solidFill>
            </c:spPr>
            <c:extLst>
              <c:ext xmlns:c16="http://schemas.microsoft.com/office/drawing/2014/chart" uri="{C3380CC4-5D6E-409C-BE32-E72D297353CC}">
                <c16:uniqueId val="{0000031F-6BA1-4C47-8A73-023BF2903B93}"/>
              </c:ext>
            </c:extLst>
          </c:dPt>
          <c:dPt>
            <c:idx val="399"/>
            <c:invertIfNegative val="1"/>
            <c:bubble3D val="0"/>
            <c:spPr>
              <a:solidFill>
                <a:srgbClr val="7ECAC4"/>
              </a:solidFill>
            </c:spPr>
            <c:extLst>
              <c:ext xmlns:c16="http://schemas.microsoft.com/office/drawing/2014/chart" uri="{C3380CC4-5D6E-409C-BE32-E72D297353CC}">
                <c16:uniqueId val="{00000321-6BA1-4C47-8A73-023BF2903B93}"/>
              </c:ext>
            </c:extLst>
          </c:dPt>
          <c:dPt>
            <c:idx val="400"/>
            <c:invertIfNegative val="1"/>
            <c:bubble3D val="0"/>
            <c:spPr>
              <a:solidFill>
                <a:srgbClr val="7ECAC4"/>
              </a:solidFill>
            </c:spPr>
            <c:extLst>
              <c:ext xmlns:c16="http://schemas.microsoft.com/office/drawing/2014/chart" uri="{C3380CC4-5D6E-409C-BE32-E72D297353CC}">
                <c16:uniqueId val="{00000323-6BA1-4C47-8A73-023BF2903B93}"/>
              </c:ext>
            </c:extLst>
          </c:dPt>
          <c:dPt>
            <c:idx val="401"/>
            <c:invertIfNegative val="1"/>
            <c:bubble3D val="0"/>
            <c:spPr>
              <a:solidFill>
                <a:srgbClr val="7ECAC4"/>
              </a:solidFill>
            </c:spPr>
            <c:extLst>
              <c:ext xmlns:c16="http://schemas.microsoft.com/office/drawing/2014/chart" uri="{C3380CC4-5D6E-409C-BE32-E72D297353CC}">
                <c16:uniqueId val="{00000325-6BA1-4C47-8A73-023BF2903B93}"/>
              </c:ext>
            </c:extLst>
          </c:dPt>
          <c:dPt>
            <c:idx val="402"/>
            <c:invertIfNegative val="1"/>
            <c:bubble3D val="0"/>
            <c:spPr>
              <a:solidFill>
                <a:srgbClr val="7ECAC4"/>
              </a:solidFill>
            </c:spPr>
            <c:extLst>
              <c:ext xmlns:c16="http://schemas.microsoft.com/office/drawing/2014/chart" uri="{C3380CC4-5D6E-409C-BE32-E72D297353CC}">
                <c16:uniqueId val="{00000327-6BA1-4C47-8A73-023BF2903B93}"/>
              </c:ext>
            </c:extLst>
          </c:dPt>
          <c:dPt>
            <c:idx val="403"/>
            <c:invertIfNegative val="1"/>
            <c:bubble3D val="0"/>
            <c:spPr>
              <a:solidFill>
                <a:srgbClr val="7ECAC4"/>
              </a:solidFill>
            </c:spPr>
            <c:extLst>
              <c:ext xmlns:c16="http://schemas.microsoft.com/office/drawing/2014/chart" uri="{C3380CC4-5D6E-409C-BE32-E72D297353CC}">
                <c16:uniqueId val="{00000329-6BA1-4C47-8A73-023BF2903B93}"/>
              </c:ext>
            </c:extLst>
          </c:dPt>
          <c:dPt>
            <c:idx val="404"/>
            <c:invertIfNegative val="1"/>
            <c:bubble3D val="0"/>
            <c:spPr>
              <a:solidFill>
                <a:srgbClr val="7ECAC4"/>
              </a:solidFill>
            </c:spPr>
            <c:extLst>
              <c:ext xmlns:c16="http://schemas.microsoft.com/office/drawing/2014/chart" uri="{C3380CC4-5D6E-409C-BE32-E72D297353CC}">
                <c16:uniqueId val="{0000032B-6BA1-4C47-8A73-023BF2903B93}"/>
              </c:ext>
            </c:extLst>
          </c:dPt>
          <c:dPt>
            <c:idx val="405"/>
            <c:invertIfNegative val="1"/>
            <c:bubble3D val="0"/>
            <c:spPr>
              <a:solidFill>
                <a:srgbClr val="7ECAC4"/>
              </a:solidFill>
            </c:spPr>
            <c:extLst>
              <c:ext xmlns:c16="http://schemas.microsoft.com/office/drawing/2014/chart" uri="{C3380CC4-5D6E-409C-BE32-E72D297353CC}">
                <c16:uniqueId val="{0000032D-6BA1-4C47-8A73-023BF2903B93}"/>
              </c:ext>
            </c:extLst>
          </c:dPt>
          <c:dPt>
            <c:idx val="406"/>
            <c:invertIfNegative val="1"/>
            <c:bubble3D val="0"/>
            <c:spPr>
              <a:solidFill>
                <a:srgbClr val="7ECAC4"/>
              </a:solidFill>
            </c:spPr>
            <c:extLst>
              <c:ext xmlns:c16="http://schemas.microsoft.com/office/drawing/2014/chart" uri="{C3380CC4-5D6E-409C-BE32-E72D297353CC}">
                <c16:uniqueId val="{0000032F-6BA1-4C47-8A73-023BF2903B93}"/>
              </c:ext>
            </c:extLst>
          </c:dPt>
          <c:dPt>
            <c:idx val="407"/>
            <c:invertIfNegative val="1"/>
            <c:bubble3D val="0"/>
            <c:spPr>
              <a:solidFill>
                <a:srgbClr val="7ECAC4"/>
              </a:solidFill>
            </c:spPr>
            <c:extLst>
              <c:ext xmlns:c16="http://schemas.microsoft.com/office/drawing/2014/chart" uri="{C3380CC4-5D6E-409C-BE32-E72D297353CC}">
                <c16:uniqueId val="{00000331-6BA1-4C47-8A73-023BF2903B93}"/>
              </c:ext>
            </c:extLst>
          </c:dPt>
          <c:dPt>
            <c:idx val="408"/>
            <c:invertIfNegative val="1"/>
            <c:bubble3D val="0"/>
            <c:spPr>
              <a:solidFill>
                <a:srgbClr val="7ECAC4"/>
              </a:solidFill>
            </c:spPr>
            <c:extLst>
              <c:ext xmlns:c16="http://schemas.microsoft.com/office/drawing/2014/chart" uri="{C3380CC4-5D6E-409C-BE32-E72D297353CC}">
                <c16:uniqueId val="{00000333-6BA1-4C47-8A73-023BF2903B93}"/>
              </c:ext>
            </c:extLst>
          </c:dPt>
          <c:dPt>
            <c:idx val="409"/>
            <c:invertIfNegative val="1"/>
            <c:bubble3D val="0"/>
            <c:spPr>
              <a:solidFill>
                <a:srgbClr val="7ECAC4"/>
              </a:solidFill>
            </c:spPr>
            <c:extLst>
              <c:ext xmlns:c16="http://schemas.microsoft.com/office/drawing/2014/chart" uri="{C3380CC4-5D6E-409C-BE32-E72D297353CC}">
                <c16:uniqueId val="{00000335-6BA1-4C47-8A73-023BF2903B93}"/>
              </c:ext>
            </c:extLst>
          </c:dPt>
          <c:dPt>
            <c:idx val="410"/>
            <c:invertIfNegative val="1"/>
            <c:bubble3D val="0"/>
            <c:spPr>
              <a:solidFill>
                <a:srgbClr val="7ECAC4"/>
              </a:solidFill>
            </c:spPr>
            <c:extLst>
              <c:ext xmlns:c16="http://schemas.microsoft.com/office/drawing/2014/chart" uri="{C3380CC4-5D6E-409C-BE32-E72D297353CC}">
                <c16:uniqueId val="{00000337-6BA1-4C47-8A73-023BF2903B93}"/>
              </c:ext>
            </c:extLst>
          </c:dPt>
          <c:dPt>
            <c:idx val="411"/>
            <c:invertIfNegative val="1"/>
            <c:bubble3D val="0"/>
            <c:spPr>
              <a:solidFill>
                <a:srgbClr val="AEABAB"/>
              </a:solidFill>
            </c:spPr>
            <c:extLst>
              <c:ext xmlns:c16="http://schemas.microsoft.com/office/drawing/2014/chart" uri="{C3380CC4-5D6E-409C-BE32-E72D297353CC}">
                <c16:uniqueId val="{00000339-6BA1-4C47-8A73-023BF2903B93}"/>
              </c:ext>
            </c:extLst>
          </c:dPt>
          <c:dPt>
            <c:idx val="412"/>
            <c:invertIfNegative val="1"/>
            <c:bubble3D val="0"/>
            <c:spPr>
              <a:solidFill>
                <a:srgbClr val="AEABAB"/>
              </a:solidFill>
            </c:spPr>
            <c:extLst>
              <c:ext xmlns:c16="http://schemas.microsoft.com/office/drawing/2014/chart" uri="{C3380CC4-5D6E-409C-BE32-E72D297353CC}">
                <c16:uniqueId val="{0000033B-6BA1-4C47-8A73-023BF2903B93}"/>
              </c:ext>
            </c:extLst>
          </c:dPt>
          <c:dPt>
            <c:idx val="413"/>
            <c:invertIfNegative val="1"/>
            <c:bubble3D val="0"/>
            <c:spPr>
              <a:solidFill>
                <a:srgbClr val="AEABAB"/>
              </a:solidFill>
            </c:spPr>
            <c:extLst>
              <c:ext xmlns:c16="http://schemas.microsoft.com/office/drawing/2014/chart" uri="{C3380CC4-5D6E-409C-BE32-E72D297353CC}">
                <c16:uniqueId val="{0000033D-6BA1-4C47-8A73-023BF2903B93}"/>
              </c:ext>
            </c:extLst>
          </c:dPt>
          <c:dPt>
            <c:idx val="414"/>
            <c:invertIfNegative val="1"/>
            <c:bubble3D val="0"/>
            <c:spPr>
              <a:solidFill>
                <a:srgbClr val="AEABAB"/>
              </a:solidFill>
            </c:spPr>
            <c:extLst>
              <c:ext xmlns:c16="http://schemas.microsoft.com/office/drawing/2014/chart" uri="{C3380CC4-5D6E-409C-BE32-E72D297353CC}">
                <c16:uniqueId val="{0000033F-6BA1-4C47-8A73-023BF2903B93}"/>
              </c:ext>
            </c:extLst>
          </c:dPt>
          <c:dPt>
            <c:idx val="415"/>
            <c:invertIfNegative val="1"/>
            <c:bubble3D val="0"/>
            <c:spPr>
              <a:solidFill>
                <a:srgbClr val="AEABAB"/>
              </a:solidFill>
            </c:spPr>
            <c:extLst>
              <c:ext xmlns:c16="http://schemas.microsoft.com/office/drawing/2014/chart" uri="{C3380CC4-5D6E-409C-BE32-E72D297353CC}">
                <c16:uniqueId val="{00000341-6BA1-4C47-8A73-023BF2903B93}"/>
              </c:ext>
            </c:extLst>
          </c:dPt>
          <c:dPt>
            <c:idx val="416"/>
            <c:invertIfNegative val="1"/>
            <c:bubble3D val="0"/>
            <c:spPr>
              <a:solidFill>
                <a:srgbClr val="AEABAB"/>
              </a:solidFill>
            </c:spPr>
            <c:extLst>
              <c:ext xmlns:c16="http://schemas.microsoft.com/office/drawing/2014/chart" uri="{C3380CC4-5D6E-409C-BE32-E72D297353CC}">
                <c16:uniqueId val="{00000343-6BA1-4C47-8A73-023BF2903B93}"/>
              </c:ext>
            </c:extLst>
          </c:dPt>
          <c:dPt>
            <c:idx val="417"/>
            <c:invertIfNegative val="1"/>
            <c:bubble3D val="0"/>
            <c:spPr>
              <a:solidFill>
                <a:srgbClr val="AEABAB"/>
              </a:solidFill>
            </c:spPr>
            <c:extLst>
              <c:ext xmlns:c16="http://schemas.microsoft.com/office/drawing/2014/chart" uri="{C3380CC4-5D6E-409C-BE32-E72D297353CC}">
                <c16:uniqueId val="{00000345-6BA1-4C47-8A73-023BF2903B93}"/>
              </c:ext>
            </c:extLst>
          </c:dPt>
          <c:dPt>
            <c:idx val="418"/>
            <c:invertIfNegative val="1"/>
            <c:bubble3D val="0"/>
            <c:spPr>
              <a:solidFill>
                <a:srgbClr val="AEABAB"/>
              </a:solidFill>
            </c:spPr>
            <c:extLst>
              <c:ext xmlns:c16="http://schemas.microsoft.com/office/drawing/2014/chart" uri="{C3380CC4-5D6E-409C-BE32-E72D297353CC}">
                <c16:uniqueId val="{00000347-6BA1-4C47-8A73-023BF2903B93}"/>
              </c:ext>
            </c:extLst>
          </c:dPt>
          <c:dPt>
            <c:idx val="419"/>
            <c:invertIfNegative val="1"/>
            <c:bubble3D val="0"/>
            <c:spPr>
              <a:solidFill>
                <a:srgbClr val="AEABAB"/>
              </a:solidFill>
            </c:spPr>
            <c:extLst>
              <c:ext xmlns:c16="http://schemas.microsoft.com/office/drawing/2014/chart" uri="{C3380CC4-5D6E-409C-BE32-E72D297353CC}">
                <c16:uniqueId val="{00000349-6BA1-4C47-8A73-023BF2903B93}"/>
              </c:ext>
            </c:extLst>
          </c:dPt>
          <c:dPt>
            <c:idx val="420"/>
            <c:invertIfNegative val="1"/>
            <c:bubble3D val="0"/>
            <c:spPr>
              <a:solidFill>
                <a:srgbClr val="AEABAB"/>
              </a:solidFill>
            </c:spPr>
            <c:extLst>
              <c:ext xmlns:c16="http://schemas.microsoft.com/office/drawing/2014/chart" uri="{C3380CC4-5D6E-409C-BE32-E72D297353CC}">
                <c16:uniqueId val="{0000034B-6BA1-4C47-8A73-023BF2903B93}"/>
              </c:ext>
            </c:extLst>
          </c:dPt>
          <c:dPt>
            <c:idx val="421"/>
            <c:invertIfNegative val="1"/>
            <c:bubble3D val="0"/>
            <c:spPr>
              <a:solidFill>
                <a:srgbClr val="AEABAB"/>
              </a:solidFill>
            </c:spPr>
            <c:extLst>
              <c:ext xmlns:c16="http://schemas.microsoft.com/office/drawing/2014/chart" uri="{C3380CC4-5D6E-409C-BE32-E72D297353CC}">
                <c16:uniqueId val="{0000034D-6BA1-4C47-8A73-023BF2903B93}"/>
              </c:ext>
            </c:extLst>
          </c:dPt>
          <c:dPt>
            <c:idx val="422"/>
            <c:invertIfNegative val="1"/>
            <c:bubble3D val="0"/>
            <c:spPr>
              <a:solidFill>
                <a:srgbClr val="AEABAB"/>
              </a:solidFill>
            </c:spPr>
            <c:extLst>
              <c:ext xmlns:c16="http://schemas.microsoft.com/office/drawing/2014/chart" uri="{C3380CC4-5D6E-409C-BE32-E72D297353CC}">
                <c16:uniqueId val="{0000034F-6BA1-4C47-8A73-023BF2903B93}"/>
              </c:ext>
            </c:extLst>
          </c:dPt>
          <c:dPt>
            <c:idx val="423"/>
            <c:invertIfNegative val="1"/>
            <c:bubble3D val="0"/>
            <c:spPr>
              <a:solidFill>
                <a:srgbClr val="AEABAB"/>
              </a:solidFill>
            </c:spPr>
            <c:extLst>
              <c:ext xmlns:c16="http://schemas.microsoft.com/office/drawing/2014/chart" uri="{C3380CC4-5D6E-409C-BE32-E72D297353CC}">
                <c16:uniqueId val="{00000351-6BA1-4C47-8A73-023BF2903B93}"/>
              </c:ext>
            </c:extLst>
          </c:dPt>
          <c:dPt>
            <c:idx val="424"/>
            <c:invertIfNegative val="1"/>
            <c:bubble3D val="0"/>
            <c:spPr>
              <a:solidFill>
                <a:srgbClr val="AEABAB"/>
              </a:solidFill>
            </c:spPr>
            <c:extLst>
              <c:ext xmlns:c16="http://schemas.microsoft.com/office/drawing/2014/chart" uri="{C3380CC4-5D6E-409C-BE32-E72D297353CC}">
                <c16:uniqueId val="{00000353-6BA1-4C47-8A73-023BF2903B93}"/>
              </c:ext>
            </c:extLst>
          </c:dPt>
          <c:dPt>
            <c:idx val="425"/>
            <c:invertIfNegative val="1"/>
            <c:bubble3D val="0"/>
            <c:spPr>
              <a:solidFill>
                <a:srgbClr val="AEABAB"/>
              </a:solidFill>
            </c:spPr>
            <c:extLst>
              <c:ext xmlns:c16="http://schemas.microsoft.com/office/drawing/2014/chart" uri="{C3380CC4-5D6E-409C-BE32-E72D297353CC}">
                <c16:uniqueId val="{00000355-6BA1-4C47-8A73-023BF2903B93}"/>
              </c:ext>
            </c:extLst>
          </c:dPt>
          <c:dPt>
            <c:idx val="426"/>
            <c:invertIfNegative val="1"/>
            <c:bubble3D val="0"/>
            <c:spPr>
              <a:solidFill>
                <a:srgbClr val="AEABAB"/>
              </a:solidFill>
            </c:spPr>
            <c:extLst>
              <c:ext xmlns:c16="http://schemas.microsoft.com/office/drawing/2014/chart" uri="{C3380CC4-5D6E-409C-BE32-E72D297353CC}">
                <c16:uniqueId val="{00000357-6BA1-4C47-8A73-023BF2903B93}"/>
              </c:ext>
            </c:extLst>
          </c:dPt>
          <c:dPt>
            <c:idx val="427"/>
            <c:invertIfNegative val="1"/>
            <c:bubble3D val="0"/>
            <c:spPr>
              <a:solidFill>
                <a:srgbClr val="AEABAB"/>
              </a:solidFill>
            </c:spPr>
            <c:extLst>
              <c:ext xmlns:c16="http://schemas.microsoft.com/office/drawing/2014/chart" uri="{C3380CC4-5D6E-409C-BE32-E72D297353CC}">
                <c16:uniqueId val="{00000359-6BA1-4C47-8A73-023BF2903B93}"/>
              </c:ext>
            </c:extLst>
          </c:dPt>
          <c:dPt>
            <c:idx val="428"/>
            <c:invertIfNegative val="1"/>
            <c:bubble3D val="0"/>
            <c:spPr>
              <a:solidFill>
                <a:srgbClr val="AEABAB"/>
              </a:solidFill>
            </c:spPr>
            <c:extLst>
              <c:ext xmlns:c16="http://schemas.microsoft.com/office/drawing/2014/chart" uri="{C3380CC4-5D6E-409C-BE32-E72D297353CC}">
                <c16:uniqueId val="{0000035B-6BA1-4C47-8A73-023BF2903B93}"/>
              </c:ext>
            </c:extLst>
          </c:dPt>
          <c:dPt>
            <c:idx val="429"/>
            <c:invertIfNegative val="1"/>
            <c:bubble3D val="0"/>
            <c:spPr>
              <a:solidFill>
                <a:srgbClr val="AEABAB"/>
              </a:solidFill>
            </c:spPr>
            <c:extLst>
              <c:ext xmlns:c16="http://schemas.microsoft.com/office/drawing/2014/chart" uri="{C3380CC4-5D6E-409C-BE32-E72D297353CC}">
                <c16:uniqueId val="{0000035D-6BA1-4C47-8A73-023BF2903B93}"/>
              </c:ext>
            </c:extLst>
          </c:dPt>
          <c:dPt>
            <c:idx val="430"/>
            <c:invertIfNegative val="1"/>
            <c:bubble3D val="0"/>
            <c:spPr>
              <a:solidFill>
                <a:srgbClr val="AEABAB"/>
              </a:solidFill>
            </c:spPr>
            <c:extLst>
              <c:ext xmlns:c16="http://schemas.microsoft.com/office/drawing/2014/chart" uri="{C3380CC4-5D6E-409C-BE32-E72D297353CC}">
                <c16:uniqueId val="{0000035F-6BA1-4C47-8A73-023BF2903B93}"/>
              </c:ext>
            </c:extLst>
          </c:dPt>
          <c:dPt>
            <c:idx val="431"/>
            <c:invertIfNegative val="1"/>
            <c:bubble3D val="0"/>
            <c:spPr>
              <a:solidFill>
                <a:srgbClr val="AEABAB"/>
              </a:solidFill>
            </c:spPr>
            <c:extLst>
              <c:ext xmlns:c16="http://schemas.microsoft.com/office/drawing/2014/chart" uri="{C3380CC4-5D6E-409C-BE32-E72D297353CC}">
                <c16:uniqueId val="{00000361-6BA1-4C47-8A73-023BF2903B93}"/>
              </c:ext>
            </c:extLst>
          </c:dPt>
          <c:dPt>
            <c:idx val="432"/>
            <c:invertIfNegative val="1"/>
            <c:bubble3D val="0"/>
            <c:spPr>
              <a:solidFill>
                <a:srgbClr val="AEABAB"/>
              </a:solidFill>
            </c:spPr>
            <c:extLst>
              <c:ext xmlns:c16="http://schemas.microsoft.com/office/drawing/2014/chart" uri="{C3380CC4-5D6E-409C-BE32-E72D297353CC}">
                <c16:uniqueId val="{00000363-6BA1-4C47-8A73-023BF2903B93}"/>
              </c:ext>
            </c:extLst>
          </c:dPt>
          <c:dPt>
            <c:idx val="433"/>
            <c:invertIfNegative val="1"/>
            <c:bubble3D val="0"/>
            <c:spPr>
              <a:solidFill>
                <a:srgbClr val="AEABAB"/>
              </a:solidFill>
            </c:spPr>
            <c:extLst>
              <c:ext xmlns:c16="http://schemas.microsoft.com/office/drawing/2014/chart" uri="{C3380CC4-5D6E-409C-BE32-E72D297353CC}">
                <c16:uniqueId val="{00000365-6BA1-4C47-8A73-023BF2903B93}"/>
              </c:ext>
            </c:extLst>
          </c:dPt>
          <c:dPt>
            <c:idx val="434"/>
            <c:invertIfNegative val="1"/>
            <c:bubble3D val="0"/>
            <c:spPr>
              <a:solidFill>
                <a:srgbClr val="AEABAB"/>
              </a:solidFill>
            </c:spPr>
            <c:extLst>
              <c:ext xmlns:c16="http://schemas.microsoft.com/office/drawing/2014/chart" uri="{C3380CC4-5D6E-409C-BE32-E72D297353CC}">
                <c16:uniqueId val="{00000367-6BA1-4C47-8A73-023BF2903B93}"/>
              </c:ext>
            </c:extLst>
          </c:dPt>
          <c:dPt>
            <c:idx val="435"/>
            <c:invertIfNegative val="1"/>
            <c:bubble3D val="0"/>
            <c:spPr>
              <a:solidFill>
                <a:srgbClr val="AEABAB"/>
              </a:solidFill>
            </c:spPr>
            <c:extLst>
              <c:ext xmlns:c16="http://schemas.microsoft.com/office/drawing/2014/chart" uri="{C3380CC4-5D6E-409C-BE32-E72D297353CC}">
                <c16:uniqueId val="{00000369-6BA1-4C47-8A73-023BF2903B93}"/>
              </c:ext>
            </c:extLst>
          </c:dPt>
          <c:dPt>
            <c:idx val="436"/>
            <c:invertIfNegative val="1"/>
            <c:bubble3D val="0"/>
            <c:spPr>
              <a:solidFill>
                <a:srgbClr val="AEABAB"/>
              </a:solidFill>
            </c:spPr>
            <c:extLst>
              <c:ext xmlns:c16="http://schemas.microsoft.com/office/drawing/2014/chart" uri="{C3380CC4-5D6E-409C-BE32-E72D297353CC}">
                <c16:uniqueId val="{0000036B-6BA1-4C47-8A73-023BF2903B93}"/>
              </c:ext>
            </c:extLst>
          </c:dPt>
          <c:dPt>
            <c:idx val="437"/>
            <c:invertIfNegative val="1"/>
            <c:bubble3D val="0"/>
            <c:spPr>
              <a:solidFill>
                <a:srgbClr val="AEABAB"/>
              </a:solidFill>
            </c:spPr>
            <c:extLst>
              <c:ext xmlns:c16="http://schemas.microsoft.com/office/drawing/2014/chart" uri="{C3380CC4-5D6E-409C-BE32-E72D297353CC}">
                <c16:uniqueId val="{0000036D-6BA1-4C47-8A73-023BF2903B93}"/>
              </c:ext>
            </c:extLst>
          </c:dPt>
          <c:dPt>
            <c:idx val="438"/>
            <c:invertIfNegative val="1"/>
            <c:bubble3D val="0"/>
            <c:spPr>
              <a:solidFill>
                <a:srgbClr val="AEABAB"/>
              </a:solidFill>
            </c:spPr>
            <c:extLst>
              <c:ext xmlns:c16="http://schemas.microsoft.com/office/drawing/2014/chart" uri="{C3380CC4-5D6E-409C-BE32-E72D297353CC}">
                <c16:uniqueId val="{0000036F-6BA1-4C47-8A73-023BF2903B93}"/>
              </c:ext>
            </c:extLst>
          </c:dPt>
          <c:dPt>
            <c:idx val="439"/>
            <c:invertIfNegative val="1"/>
            <c:bubble3D val="0"/>
            <c:spPr>
              <a:solidFill>
                <a:srgbClr val="AEABAB"/>
              </a:solidFill>
            </c:spPr>
            <c:extLst>
              <c:ext xmlns:c16="http://schemas.microsoft.com/office/drawing/2014/chart" uri="{C3380CC4-5D6E-409C-BE32-E72D297353CC}">
                <c16:uniqueId val="{00000371-6BA1-4C47-8A73-023BF2903B93}"/>
              </c:ext>
            </c:extLst>
          </c:dPt>
          <c:dPt>
            <c:idx val="440"/>
            <c:invertIfNegative val="1"/>
            <c:bubble3D val="0"/>
            <c:spPr>
              <a:solidFill>
                <a:srgbClr val="AEABAB"/>
              </a:solidFill>
            </c:spPr>
            <c:extLst>
              <c:ext xmlns:c16="http://schemas.microsoft.com/office/drawing/2014/chart" uri="{C3380CC4-5D6E-409C-BE32-E72D297353CC}">
                <c16:uniqueId val="{00000373-6BA1-4C47-8A73-023BF2903B93}"/>
              </c:ext>
            </c:extLst>
          </c:dPt>
          <c:dPt>
            <c:idx val="441"/>
            <c:invertIfNegative val="1"/>
            <c:bubble3D val="0"/>
            <c:spPr>
              <a:solidFill>
                <a:srgbClr val="AEABAB"/>
              </a:solidFill>
            </c:spPr>
            <c:extLst>
              <c:ext xmlns:c16="http://schemas.microsoft.com/office/drawing/2014/chart" uri="{C3380CC4-5D6E-409C-BE32-E72D297353CC}">
                <c16:uniqueId val="{00000375-6BA1-4C47-8A73-023BF2903B93}"/>
              </c:ext>
            </c:extLst>
          </c:dPt>
          <c:dPt>
            <c:idx val="442"/>
            <c:invertIfNegative val="1"/>
            <c:bubble3D val="0"/>
            <c:spPr>
              <a:solidFill>
                <a:srgbClr val="AEABAB"/>
              </a:solidFill>
            </c:spPr>
            <c:extLst>
              <c:ext xmlns:c16="http://schemas.microsoft.com/office/drawing/2014/chart" uri="{C3380CC4-5D6E-409C-BE32-E72D297353CC}">
                <c16:uniqueId val="{00000377-6BA1-4C47-8A73-023BF2903B93}"/>
              </c:ext>
            </c:extLst>
          </c:dPt>
          <c:dPt>
            <c:idx val="443"/>
            <c:invertIfNegative val="1"/>
            <c:bubble3D val="0"/>
            <c:spPr>
              <a:solidFill>
                <a:srgbClr val="AEABAB"/>
              </a:solidFill>
            </c:spPr>
            <c:extLst>
              <c:ext xmlns:c16="http://schemas.microsoft.com/office/drawing/2014/chart" uri="{C3380CC4-5D6E-409C-BE32-E72D297353CC}">
                <c16:uniqueId val="{00000379-6BA1-4C47-8A73-023BF2903B93}"/>
              </c:ext>
            </c:extLst>
          </c:dPt>
          <c:dPt>
            <c:idx val="444"/>
            <c:invertIfNegative val="1"/>
            <c:bubble3D val="0"/>
            <c:spPr>
              <a:solidFill>
                <a:srgbClr val="AEABAB"/>
              </a:solidFill>
            </c:spPr>
            <c:extLst>
              <c:ext xmlns:c16="http://schemas.microsoft.com/office/drawing/2014/chart" uri="{C3380CC4-5D6E-409C-BE32-E72D297353CC}">
                <c16:uniqueId val="{0000037B-6BA1-4C47-8A73-023BF2903B93}"/>
              </c:ext>
            </c:extLst>
          </c:dPt>
          <c:dPt>
            <c:idx val="445"/>
            <c:invertIfNegative val="1"/>
            <c:bubble3D val="0"/>
            <c:spPr>
              <a:solidFill>
                <a:srgbClr val="AEABAB"/>
              </a:solidFill>
            </c:spPr>
            <c:extLst>
              <c:ext xmlns:c16="http://schemas.microsoft.com/office/drawing/2014/chart" uri="{C3380CC4-5D6E-409C-BE32-E72D297353CC}">
                <c16:uniqueId val="{0000037D-6BA1-4C47-8A73-023BF2903B93}"/>
              </c:ext>
            </c:extLst>
          </c:dPt>
          <c:dPt>
            <c:idx val="446"/>
            <c:invertIfNegative val="1"/>
            <c:bubble3D val="0"/>
            <c:spPr>
              <a:solidFill>
                <a:srgbClr val="AEABAB"/>
              </a:solidFill>
            </c:spPr>
            <c:extLst>
              <c:ext xmlns:c16="http://schemas.microsoft.com/office/drawing/2014/chart" uri="{C3380CC4-5D6E-409C-BE32-E72D297353CC}">
                <c16:uniqueId val="{0000037F-6BA1-4C47-8A73-023BF2903B93}"/>
              </c:ext>
            </c:extLst>
          </c:dPt>
          <c:dPt>
            <c:idx val="447"/>
            <c:invertIfNegative val="1"/>
            <c:bubble3D val="0"/>
            <c:spPr>
              <a:solidFill>
                <a:srgbClr val="AEABAB"/>
              </a:solidFill>
            </c:spPr>
            <c:extLst>
              <c:ext xmlns:c16="http://schemas.microsoft.com/office/drawing/2014/chart" uri="{C3380CC4-5D6E-409C-BE32-E72D297353CC}">
                <c16:uniqueId val="{00000381-6BA1-4C47-8A73-023BF2903B93}"/>
              </c:ext>
            </c:extLst>
          </c:dPt>
          <c:dPt>
            <c:idx val="448"/>
            <c:invertIfNegative val="1"/>
            <c:bubble3D val="0"/>
            <c:spPr>
              <a:solidFill>
                <a:srgbClr val="AEABAB"/>
              </a:solidFill>
            </c:spPr>
            <c:extLst>
              <c:ext xmlns:c16="http://schemas.microsoft.com/office/drawing/2014/chart" uri="{C3380CC4-5D6E-409C-BE32-E72D297353CC}">
                <c16:uniqueId val="{00000383-6BA1-4C47-8A73-023BF2903B93}"/>
              </c:ext>
            </c:extLst>
          </c:dPt>
          <c:dPt>
            <c:idx val="449"/>
            <c:invertIfNegative val="1"/>
            <c:bubble3D val="0"/>
            <c:spPr>
              <a:solidFill>
                <a:srgbClr val="AEABAB"/>
              </a:solidFill>
            </c:spPr>
            <c:extLst>
              <c:ext xmlns:c16="http://schemas.microsoft.com/office/drawing/2014/chart" uri="{C3380CC4-5D6E-409C-BE32-E72D297353CC}">
                <c16:uniqueId val="{00000385-6BA1-4C47-8A73-023BF2903B93}"/>
              </c:ext>
            </c:extLst>
          </c:dPt>
          <c:dPt>
            <c:idx val="450"/>
            <c:invertIfNegative val="1"/>
            <c:bubble3D val="0"/>
            <c:spPr>
              <a:solidFill>
                <a:srgbClr val="AEABAB"/>
              </a:solidFill>
            </c:spPr>
            <c:extLst>
              <c:ext xmlns:c16="http://schemas.microsoft.com/office/drawing/2014/chart" uri="{C3380CC4-5D6E-409C-BE32-E72D297353CC}">
                <c16:uniqueId val="{00000387-6BA1-4C47-8A73-023BF2903B93}"/>
              </c:ext>
            </c:extLst>
          </c:dPt>
          <c:dPt>
            <c:idx val="451"/>
            <c:invertIfNegative val="1"/>
            <c:bubble3D val="0"/>
            <c:spPr>
              <a:solidFill>
                <a:srgbClr val="AEABAB"/>
              </a:solidFill>
            </c:spPr>
            <c:extLst>
              <c:ext xmlns:c16="http://schemas.microsoft.com/office/drawing/2014/chart" uri="{C3380CC4-5D6E-409C-BE32-E72D297353CC}">
                <c16:uniqueId val="{00000389-6BA1-4C47-8A73-023BF2903B93}"/>
              </c:ext>
            </c:extLst>
          </c:dPt>
          <c:dPt>
            <c:idx val="452"/>
            <c:invertIfNegative val="1"/>
            <c:bubble3D val="0"/>
            <c:spPr>
              <a:solidFill>
                <a:srgbClr val="AEABAB"/>
              </a:solidFill>
            </c:spPr>
            <c:extLst>
              <c:ext xmlns:c16="http://schemas.microsoft.com/office/drawing/2014/chart" uri="{C3380CC4-5D6E-409C-BE32-E72D297353CC}">
                <c16:uniqueId val="{0000038B-6BA1-4C47-8A73-023BF2903B93}"/>
              </c:ext>
            </c:extLst>
          </c:dPt>
          <c:dPt>
            <c:idx val="453"/>
            <c:invertIfNegative val="1"/>
            <c:bubble3D val="0"/>
            <c:spPr>
              <a:solidFill>
                <a:srgbClr val="AEABAB"/>
              </a:solidFill>
            </c:spPr>
            <c:extLst>
              <c:ext xmlns:c16="http://schemas.microsoft.com/office/drawing/2014/chart" uri="{C3380CC4-5D6E-409C-BE32-E72D297353CC}">
                <c16:uniqueId val="{0000038D-6BA1-4C47-8A73-023BF2903B93}"/>
              </c:ext>
            </c:extLst>
          </c:dPt>
          <c:dPt>
            <c:idx val="454"/>
            <c:invertIfNegative val="1"/>
            <c:bubble3D val="0"/>
            <c:spPr>
              <a:solidFill>
                <a:srgbClr val="AEABAB"/>
              </a:solidFill>
            </c:spPr>
            <c:extLst>
              <c:ext xmlns:c16="http://schemas.microsoft.com/office/drawing/2014/chart" uri="{C3380CC4-5D6E-409C-BE32-E72D297353CC}">
                <c16:uniqueId val="{0000038F-6BA1-4C47-8A73-023BF2903B93}"/>
              </c:ext>
            </c:extLst>
          </c:dPt>
          <c:dPt>
            <c:idx val="455"/>
            <c:invertIfNegative val="1"/>
            <c:bubble3D val="0"/>
            <c:spPr>
              <a:solidFill>
                <a:srgbClr val="AEABAB"/>
              </a:solidFill>
            </c:spPr>
            <c:extLst>
              <c:ext xmlns:c16="http://schemas.microsoft.com/office/drawing/2014/chart" uri="{C3380CC4-5D6E-409C-BE32-E72D297353CC}">
                <c16:uniqueId val="{00000391-6BA1-4C47-8A73-023BF2903B93}"/>
              </c:ext>
            </c:extLst>
          </c:dPt>
          <c:dPt>
            <c:idx val="456"/>
            <c:invertIfNegative val="1"/>
            <c:bubble3D val="0"/>
            <c:spPr>
              <a:solidFill>
                <a:srgbClr val="AEABAB"/>
              </a:solidFill>
            </c:spPr>
            <c:extLst>
              <c:ext xmlns:c16="http://schemas.microsoft.com/office/drawing/2014/chart" uri="{C3380CC4-5D6E-409C-BE32-E72D297353CC}">
                <c16:uniqueId val="{00000393-6BA1-4C47-8A73-023BF2903B93}"/>
              </c:ext>
            </c:extLst>
          </c:dPt>
          <c:dPt>
            <c:idx val="457"/>
            <c:invertIfNegative val="1"/>
            <c:bubble3D val="0"/>
            <c:spPr>
              <a:solidFill>
                <a:srgbClr val="AEABAB"/>
              </a:solidFill>
            </c:spPr>
            <c:extLst>
              <c:ext xmlns:c16="http://schemas.microsoft.com/office/drawing/2014/chart" uri="{C3380CC4-5D6E-409C-BE32-E72D297353CC}">
                <c16:uniqueId val="{00000395-6BA1-4C47-8A73-023BF2903B93}"/>
              </c:ext>
            </c:extLst>
          </c:dPt>
          <c:dPt>
            <c:idx val="458"/>
            <c:invertIfNegative val="1"/>
            <c:bubble3D val="0"/>
            <c:spPr>
              <a:solidFill>
                <a:srgbClr val="AEABAB"/>
              </a:solidFill>
            </c:spPr>
            <c:extLst>
              <c:ext xmlns:c16="http://schemas.microsoft.com/office/drawing/2014/chart" uri="{C3380CC4-5D6E-409C-BE32-E72D297353CC}">
                <c16:uniqueId val="{00000397-6BA1-4C47-8A73-023BF2903B93}"/>
              </c:ext>
            </c:extLst>
          </c:dPt>
          <c:dPt>
            <c:idx val="459"/>
            <c:invertIfNegative val="1"/>
            <c:bubble3D val="0"/>
            <c:spPr>
              <a:solidFill>
                <a:srgbClr val="AEABAB"/>
              </a:solidFill>
            </c:spPr>
            <c:extLst>
              <c:ext xmlns:c16="http://schemas.microsoft.com/office/drawing/2014/chart" uri="{C3380CC4-5D6E-409C-BE32-E72D297353CC}">
                <c16:uniqueId val="{00000399-6BA1-4C47-8A73-023BF2903B93}"/>
              </c:ext>
            </c:extLst>
          </c:dPt>
          <c:dPt>
            <c:idx val="460"/>
            <c:invertIfNegative val="1"/>
            <c:bubble3D val="0"/>
            <c:spPr>
              <a:solidFill>
                <a:srgbClr val="AEABAB"/>
              </a:solidFill>
            </c:spPr>
            <c:extLst>
              <c:ext xmlns:c16="http://schemas.microsoft.com/office/drawing/2014/chart" uri="{C3380CC4-5D6E-409C-BE32-E72D297353CC}">
                <c16:uniqueId val="{0000039B-6BA1-4C47-8A73-023BF2903B93}"/>
              </c:ext>
            </c:extLst>
          </c:dPt>
          <c:dPt>
            <c:idx val="461"/>
            <c:invertIfNegative val="1"/>
            <c:bubble3D val="0"/>
            <c:spPr>
              <a:solidFill>
                <a:srgbClr val="AEABAB"/>
              </a:solidFill>
            </c:spPr>
            <c:extLst>
              <c:ext xmlns:c16="http://schemas.microsoft.com/office/drawing/2014/chart" uri="{C3380CC4-5D6E-409C-BE32-E72D297353CC}">
                <c16:uniqueId val="{0000039D-6BA1-4C47-8A73-023BF2903B93}"/>
              </c:ext>
            </c:extLst>
          </c:dPt>
          <c:dPt>
            <c:idx val="462"/>
            <c:invertIfNegative val="1"/>
            <c:bubble3D val="0"/>
            <c:spPr>
              <a:solidFill>
                <a:srgbClr val="AEABAB"/>
              </a:solidFill>
            </c:spPr>
            <c:extLst>
              <c:ext xmlns:c16="http://schemas.microsoft.com/office/drawing/2014/chart" uri="{C3380CC4-5D6E-409C-BE32-E72D297353CC}">
                <c16:uniqueId val="{0000039F-6BA1-4C47-8A73-023BF2903B93}"/>
              </c:ext>
            </c:extLst>
          </c:dPt>
          <c:dPt>
            <c:idx val="463"/>
            <c:invertIfNegative val="1"/>
            <c:bubble3D val="0"/>
            <c:spPr>
              <a:solidFill>
                <a:srgbClr val="AEABAB"/>
              </a:solidFill>
            </c:spPr>
            <c:extLst>
              <c:ext xmlns:c16="http://schemas.microsoft.com/office/drawing/2014/chart" uri="{C3380CC4-5D6E-409C-BE32-E72D297353CC}">
                <c16:uniqueId val="{000003A1-6BA1-4C47-8A73-023BF2903B93}"/>
              </c:ext>
            </c:extLst>
          </c:dPt>
          <c:dPt>
            <c:idx val="464"/>
            <c:invertIfNegative val="1"/>
            <c:bubble3D val="0"/>
            <c:spPr>
              <a:solidFill>
                <a:srgbClr val="AEABAB"/>
              </a:solidFill>
            </c:spPr>
            <c:extLst>
              <c:ext xmlns:c16="http://schemas.microsoft.com/office/drawing/2014/chart" uri="{C3380CC4-5D6E-409C-BE32-E72D297353CC}">
                <c16:uniqueId val="{000003A3-6BA1-4C47-8A73-023BF2903B93}"/>
              </c:ext>
            </c:extLst>
          </c:dPt>
          <c:dPt>
            <c:idx val="465"/>
            <c:invertIfNegative val="1"/>
            <c:bubble3D val="0"/>
            <c:spPr>
              <a:solidFill>
                <a:srgbClr val="AEABAB"/>
              </a:solidFill>
            </c:spPr>
            <c:extLst>
              <c:ext xmlns:c16="http://schemas.microsoft.com/office/drawing/2014/chart" uri="{C3380CC4-5D6E-409C-BE32-E72D297353CC}">
                <c16:uniqueId val="{000003A5-6BA1-4C47-8A73-023BF2903B93}"/>
              </c:ext>
            </c:extLst>
          </c:dPt>
          <c:dPt>
            <c:idx val="466"/>
            <c:invertIfNegative val="1"/>
            <c:bubble3D val="0"/>
            <c:spPr>
              <a:solidFill>
                <a:srgbClr val="AEABAB"/>
              </a:solidFill>
            </c:spPr>
            <c:extLst>
              <c:ext xmlns:c16="http://schemas.microsoft.com/office/drawing/2014/chart" uri="{C3380CC4-5D6E-409C-BE32-E72D297353CC}">
                <c16:uniqueId val="{000003A7-6BA1-4C47-8A73-023BF2903B93}"/>
              </c:ext>
            </c:extLst>
          </c:dPt>
          <c:dPt>
            <c:idx val="467"/>
            <c:invertIfNegative val="1"/>
            <c:bubble3D val="0"/>
            <c:spPr>
              <a:solidFill>
                <a:srgbClr val="AEABAB"/>
              </a:solidFill>
            </c:spPr>
            <c:extLst>
              <c:ext xmlns:c16="http://schemas.microsoft.com/office/drawing/2014/chart" uri="{C3380CC4-5D6E-409C-BE32-E72D297353CC}">
                <c16:uniqueId val="{000003A9-6BA1-4C47-8A73-023BF2903B93}"/>
              </c:ext>
            </c:extLst>
          </c:dPt>
          <c:dPt>
            <c:idx val="468"/>
            <c:invertIfNegative val="1"/>
            <c:bubble3D val="0"/>
            <c:spPr>
              <a:solidFill>
                <a:srgbClr val="AEABAB"/>
              </a:solidFill>
            </c:spPr>
            <c:extLst>
              <c:ext xmlns:c16="http://schemas.microsoft.com/office/drawing/2014/chart" uri="{C3380CC4-5D6E-409C-BE32-E72D297353CC}">
                <c16:uniqueId val="{000003AB-6BA1-4C47-8A73-023BF2903B93}"/>
              </c:ext>
            </c:extLst>
          </c:dPt>
          <c:dPt>
            <c:idx val="469"/>
            <c:invertIfNegative val="1"/>
            <c:bubble3D val="0"/>
            <c:spPr>
              <a:solidFill>
                <a:srgbClr val="AEABAB"/>
              </a:solidFill>
            </c:spPr>
            <c:extLst>
              <c:ext xmlns:c16="http://schemas.microsoft.com/office/drawing/2014/chart" uri="{C3380CC4-5D6E-409C-BE32-E72D297353CC}">
                <c16:uniqueId val="{000003AD-6BA1-4C47-8A73-023BF2903B93}"/>
              </c:ext>
            </c:extLst>
          </c:dPt>
          <c:dPt>
            <c:idx val="470"/>
            <c:invertIfNegative val="1"/>
            <c:bubble3D val="0"/>
            <c:spPr>
              <a:solidFill>
                <a:srgbClr val="AEABAB"/>
              </a:solidFill>
            </c:spPr>
            <c:extLst>
              <c:ext xmlns:c16="http://schemas.microsoft.com/office/drawing/2014/chart" uri="{C3380CC4-5D6E-409C-BE32-E72D297353CC}">
                <c16:uniqueId val="{000003AF-6BA1-4C47-8A73-023BF2903B93}"/>
              </c:ext>
            </c:extLst>
          </c:dPt>
          <c:dPt>
            <c:idx val="471"/>
            <c:invertIfNegative val="1"/>
            <c:bubble3D val="0"/>
            <c:spPr>
              <a:solidFill>
                <a:srgbClr val="AEABAB"/>
              </a:solidFill>
            </c:spPr>
            <c:extLst>
              <c:ext xmlns:c16="http://schemas.microsoft.com/office/drawing/2014/chart" uri="{C3380CC4-5D6E-409C-BE32-E72D297353CC}">
                <c16:uniqueId val="{000003B1-6BA1-4C47-8A73-023BF2903B93}"/>
              </c:ext>
            </c:extLst>
          </c:dPt>
          <c:dPt>
            <c:idx val="472"/>
            <c:invertIfNegative val="1"/>
            <c:bubble3D val="0"/>
            <c:spPr>
              <a:solidFill>
                <a:srgbClr val="AEABAB"/>
              </a:solidFill>
            </c:spPr>
            <c:extLst>
              <c:ext xmlns:c16="http://schemas.microsoft.com/office/drawing/2014/chart" uri="{C3380CC4-5D6E-409C-BE32-E72D297353CC}">
                <c16:uniqueId val="{000003B3-6BA1-4C47-8A73-023BF2903B93}"/>
              </c:ext>
            </c:extLst>
          </c:dPt>
          <c:dPt>
            <c:idx val="473"/>
            <c:invertIfNegative val="1"/>
            <c:bubble3D val="0"/>
            <c:spPr>
              <a:solidFill>
                <a:srgbClr val="AEABAB"/>
              </a:solidFill>
            </c:spPr>
            <c:extLst>
              <c:ext xmlns:c16="http://schemas.microsoft.com/office/drawing/2014/chart" uri="{C3380CC4-5D6E-409C-BE32-E72D297353CC}">
                <c16:uniqueId val="{000003B5-6BA1-4C47-8A73-023BF2903B93}"/>
              </c:ext>
            </c:extLst>
          </c:dPt>
          <c:dPt>
            <c:idx val="474"/>
            <c:invertIfNegative val="1"/>
            <c:bubble3D val="0"/>
            <c:spPr>
              <a:solidFill>
                <a:srgbClr val="AEABAB"/>
              </a:solidFill>
            </c:spPr>
            <c:extLst>
              <c:ext xmlns:c16="http://schemas.microsoft.com/office/drawing/2014/chart" uri="{C3380CC4-5D6E-409C-BE32-E72D297353CC}">
                <c16:uniqueId val="{000003B7-6BA1-4C47-8A73-023BF2903B93}"/>
              </c:ext>
            </c:extLst>
          </c:dPt>
          <c:dPt>
            <c:idx val="475"/>
            <c:invertIfNegative val="1"/>
            <c:bubble3D val="0"/>
            <c:spPr>
              <a:solidFill>
                <a:srgbClr val="AEABAB"/>
              </a:solidFill>
            </c:spPr>
            <c:extLst>
              <c:ext xmlns:c16="http://schemas.microsoft.com/office/drawing/2014/chart" uri="{C3380CC4-5D6E-409C-BE32-E72D297353CC}">
                <c16:uniqueId val="{000003B9-6BA1-4C47-8A73-023BF2903B93}"/>
              </c:ext>
            </c:extLst>
          </c:dPt>
          <c:dPt>
            <c:idx val="476"/>
            <c:invertIfNegative val="1"/>
            <c:bubble3D val="0"/>
            <c:spPr>
              <a:solidFill>
                <a:srgbClr val="AEABAB"/>
              </a:solidFill>
            </c:spPr>
            <c:extLst>
              <c:ext xmlns:c16="http://schemas.microsoft.com/office/drawing/2014/chart" uri="{C3380CC4-5D6E-409C-BE32-E72D297353CC}">
                <c16:uniqueId val="{000003BB-6BA1-4C47-8A73-023BF2903B93}"/>
              </c:ext>
            </c:extLst>
          </c:dPt>
          <c:dPt>
            <c:idx val="477"/>
            <c:invertIfNegative val="1"/>
            <c:bubble3D val="0"/>
            <c:spPr>
              <a:solidFill>
                <a:srgbClr val="AEABAB"/>
              </a:solidFill>
            </c:spPr>
            <c:extLst>
              <c:ext xmlns:c16="http://schemas.microsoft.com/office/drawing/2014/chart" uri="{C3380CC4-5D6E-409C-BE32-E72D297353CC}">
                <c16:uniqueId val="{000003BD-6BA1-4C47-8A73-023BF2903B93}"/>
              </c:ext>
            </c:extLst>
          </c:dPt>
          <c:dPt>
            <c:idx val="478"/>
            <c:invertIfNegative val="1"/>
            <c:bubble3D val="0"/>
            <c:spPr>
              <a:solidFill>
                <a:srgbClr val="AEABAB"/>
              </a:solidFill>
            </c:spPr>
            <c:extLst>
              <c:ext xmlns:c16="http://schemas.microsoft.com/office/drawing/2014/chart" uri="{C3380CC4-5D6E-409C-BE32-E72D297353CC}">
                <c16:uniqueId val="{000003BF-6BA1-4C47-8A73-023BF2903B93}"/>
              </c:ext>
            </c:extLst>
          </c:dPt>
          <c:dPt>
            <c:idx val="479"/>
            <c:invertIfNegative val="1"/>
            <c:bubble3D val="0"/>
            <c:spPr>
              <a:solidFill>
                <a:srgbClr val="AEABAB"/>
              </a:solidFill>
            </c:spPr>
            <c:extLst>
              <c:ext xmlns:c16="http://schemas.microsoft.com/office/drawing/2014/chart" uri="{C3380CC4-5D6E-409C-BE32-E72D297353CC}">
                <c16:uniqueId val="{000003C1-6BA1-4C47-8A73-023BF2903B93}"/>
              </c:ext>
            </c:extLst>
          </c:dPt>
          <c:dPt>
            <c:idx val="480"/>
            <c:invertIfNegative val="1"/>
            <c:bubble3D val="0"/>
            <c:spPr>
              <a:solidFill>
                <a:srgbClr val="AEABAB"/>
              </a:solidFill>
            </c:spPr>
            <c:extLst>
              <c:ext xmlns:c16="http://schemas.microsoft.com/office/drawing/2014/chart" uri="{C3380CC4-5D6E-409C-BE32-E72D297353CC}">
                <c16:uniqueId val="{000003C3-6BA1-4C47-8A73-023BF2903B93}"/>
              </c:ext>
            </c:extLst>
          </c:dPt>
          <c:dPt>
            <c:idx val="481"/>
            <c:invertIfNegative val="1"/>
            <c:bubble3D val="0"/>
            <c:spPr>
              <a:solidFill>
                <a:srgbClr val="AEABAB"/>
              </a:solidFill>
            </c:spPr>
            <c:extLst>
              <c:ext xmlns:c16="http://schemas.microsoft.com/office/drawing/2014/chart" uri="{C3380CC4-5D6E-409C-BE32-E72D297353CC}">
                <c16:uniqueId val="{000003C5-6BA1-4C47-8A73-023BF2903B93}"/>
              </c:ext>
            </c:extLst>
          </c:dPt>
          <c:dPt>
            <c:idx val="482"/>
            <c:invertIfNegative val="1"/>
            <c:bubble3D val="0"/>
            <c:spPr>
              <a:solidFill>
                <a:srgbClr val="AEABAB"/>
              </a:solidFill>
            </c:spPr>
            <c:extLst>
              <c:ext xmlns:c16="http://schemas.microsoft.com/office/drawing/2014/chart" uri="{C3380CC4-5D6E-409C-BE32-E72D297353CC}">
                <c16:uniqueId val="{000003C7-6BA1-4C47-8A73-023BF2903B93}"/>
              </c:ext>
            </c:extLst>
          </c:dPt>
          <c:dPt>
            <c:idx val="483"/>
            <c:invertIfNegative val="1"/>
            <c:bubble3D val="0"/>
            <c:spPr>
              <a:solidFill>
                <a:srgbClr val="AEABAB"/>
              </a:solidFill>
            </c:spPr>
            <c:extLst>
              <c:ext xmlns:c16="http://schemas.microsoft.com/office/drawing/2014/chart" uri="{C3380CC4-5D6E-409C-BE32-E72D297353CC}">
                <c16:uniqueId val="{000003C9-6BA1-4C47-8A73-023BF2903B93}"/>
              </c:ext>
            </c:extLst>
          </c:dPt>
          <c:dPt>
            <c:idx val="484"/>
            <c:invertIfNegative val="1"/>
            <c:bubble3D val="0"/>
            <c:spPr>
              <a:solidFill>
                <a:srgbClr val="AEABAB"/>
              </a:solidFill>
            </c:spPr>
            <c:extLst>
              <c:ext xmlns:c16="http://schemas.microsoft.com/office/drawing/2014/chart" uri="{C3380CC4-5D6E-409C-BE32-E72D297353CC}">
                <c16:uniqueId val="{000003CB-6BA1-4C47-8A73-023BF2903B93}"/>
              </c:ext>
            </c:extLst>
          </c:dPt>
          <c:dPt>
            <c:idx val="485"/>
            <c:invertIfNegative val="1"/>
            <c:bubble3D val="0"/>
            <c:spPr>
              <a:solidFill>
                <a:srgbClr val="AEABAB"/>
              </a:solidFill>
            </c:spPr>
            <c:extLst>
              <c:ext xmlns:c16="http://schemas.microsoft.com/office/drawing/2014/chart" uri="{C3380CC4-5D6E-409C-BE32-E72D297353CC}">
                <c16:uniqueId val="{000003CD-6BA1-4C47-8A73-023BF2903B93}"/>
              </c:ext>
            </c:extLst>
          </c:dPt>
          <c:dPt>
            <c:idx val="486"/>
            <c:invertIfNegative val="1"/>
            <c:bubble3D val="0"/>
            <c:spPr>
              <a:solidFill>
                <a:srgbClr val="AEABAB"/>
              </a:solidFill>
            </c:spPr>
            <c:extLst>
              <c:ext xmlns:c16="http://schemas.microsoft.com/office/drawing/2014/chart" uri="{C3380CC4-5D6E-409C-BE32-E72D297353CC}">
                <c16:uniqueId val="{000003CF-6BA1-4C47-8A73-023BF2903B93}"/>
              </c:ext>
            </c:extLst>
          </c:dPt>
          <c:dPt>
            <c:idx val="487"/>
            <c:invertIfNegative val="1"/>
            <c:bubble3D val="0"/>
            <c:spPr>
              <a:solidFill>
                <a:srgbClr val="AEABAB"/>
              </a:solidFill>
            </c:spPr>
            <c:extLst>
              <c:ext xmlns:c16="http://schemas.microsoft.com/office/drawing/2014/chart" uri="{C3380CC4-5D6E-409C-BE32-E72D297353CC}">
                <c16:uniqueId val="{000003D1-6BA1-4C47-8A73-023BF2903B93}"/>
              </c:ext>
            </c:extLst>
          </c:dPt>
          <c:dPt>
            <c:idx val="488"/>
            <c:invertIfNegative val="1"/>
            <c:bubble3D val="0"/>
            <c:spPr>
              <a:solidFill>
                <a:srgbClr val="AEABAB"/>
              </a:solidFill>
            </c:spPr>
            <c:extLst>
              <c:ext xmlns:c16="http://schemas.microsoft.com/office/drawing/2014/chart" uri="{C3380CC4-5D6E-409C-BE32-E72D297353CC}">
                <c16:uniqueId val="{000003D3-6BA1-4C47-8A73-023BF2903B93}"/>
              </c:ext>
            </c:extLst>
          </c:dPt>
          <c:dPt>
            <c:idx val="489"/>
            <c:invertIfNegative val="1"/>
            <c:bubble3D val="0"/>
            <c:spPr>
              <a:solidFill>
                <a:srgbClr val="AEABAB"/>
              </a:solidFill>
            </c:spPr>
            <c:extLst>
              <c:ext xmlns:c16="http://schemas.microsoft.com/office/drawing/2014/chart" uri="{C3380CC4-5D6E-409C-BE32-E72D297353CC}">
                <c16:uniqueId val="{000003D5-6BA1-4C47-8A73-023BF2903B93}"/>
              </c:ext>
            </c:extLst>
          </c:dPt>
          <c:dPt>
            <c:idx val="490"/>
            <c:invertIfNegative val="1"/>
            <c:bubble3D val="0"/>
            <c:spPr>
              <a:solidFill>
                <a:srgbClr val="AEABAB"/>
              </a:solidFill>
            </c:spPr>
            <c:extLst>
              <c:ext xmlns:c16="http://schemas.microsoft.com/office/drawing/2014/chart" uri="{C3380CC4-5D6E-409C-BE32-E72D297353CC}">
                <c16:uniqueId val="{000003D7-6BA1-4C47-8A73-023BF2903B93}"/>
              </c:ext>
            </c:extLst>
          </c:dPt>
          <c:dPt>
            <c:idx val="491"/>
            <c:invertIfNegative val="1"/>
            <c:bubble3D val="0"/>
            <c:spPr>
              <a:solidFill>
                <a:srgbClr val="AEABAB"/>
              </a:solidFill>
            </c:spPr>
            <c:extLst>
              <c:ext xmlns:c16="http://schemas.microsoft.com/office/drawing/2014/chart" uri="{C3380CC4-5D6E-409C-BE32-E72D297353CC}">
                <c16:uniqueId val="{000003D9-6BA1-4C47-8A73-023BF2903B93}"/>
              </c:ext>
            </c:extLst>
          </c:dPt>
          <c:dPt>
            <c:idx val="492"/>
            <c:invertIfNegative val="1"/>
            <c:bubble3D val="0"/>
            <c:spPr>
              <a:solidFill>
                <a:srgbClr val="AEABAB"/>
              </a:solidFill>
            </c:spPr>
            <c:extLst>
              <c:ext xmlns:c16="http://schemas.microsoft.com/office/drawing/2014/chart" uri="{C3380CC4-5D6E-409C-BE32-E72D297353CC}">
                <c16:uniqueId val="{000003DB-6BA1-4C47-8A73-023BF2903B93}"/>
              </c:ext>
            </c:extLst>
          </c:dPt>
          <c:dPt>
            <c:idx val="493"/>
            <c:invertIfNegative val="1"/>
            <c:bubble3D val="0"/>
            <c:spPr>
              <a:solidFill>
                <a:srgbClr val="AEABAB"/>
              </a:solidFill>
            </c:spPr>
            <c:extLst>
              <c:ext xmlns:c16="http://schemas.microsoft.com/office/drawing/2014/chart" uri="{C3380CC4-5D6E-409C-BE32-E72D297353CC}">
                <c16:uniqueId val="{000003DD-6BA1-4C47-8A73-023BF2903B93}"/>
              </c:ext>
            </c:extLst>
          </c:dPt>
          <c:dPt>
            <c:idx val="494"/>
            <c:invertIfNegative val="1"/>
            <c:bubble3D val="0"/>
            <c:spPr>
              <a:solidFill>
                <a:srgbClr val="AEABAB"/>
              </a:solidFill>
            </c:spPr>
            <c:extLst>
              <c:ext xmlns:c16="http://schemas.microsoft.com/office/drawing/2014/chart" uri="{C3380CC4-5D6E-409C-BE32-E72D297353CC}">
                <c16:uniqueId val="{000003DF-6BA1-4C47-8A73-023BF2903B93}"/>
              </c:ext>
            </c:extLst>
          </c:dPt>
          <c:dPt>
            <c:idx val="495"/>
            <c:invertIfNegative val="1"/>
            <c:bubble3D val="0"/>
            <c:spPr>
              <a:solidFill>
                <a:srgbClr val="AEABAB"/>
              </a:solidFill>
            </c:spPr>
            <c:extLst>
              <c:ext xmlns:c16="http://schemas.microsoft.com/office/drawing/2014/chart" uri="{C3380CC4-5D6E-409C-BE32-E72D297353CC}">
                <c16:uniqueId val="{000003E1-6BA1-4C47-8A73-023BF2903B93}"/>
              </c:ext>
            </c:extLst>
          </c:dPt>
          <c:dPt>
            <c:idx val="496"/>
            <c:invertIfNegative val="1"/>
            <c:bubble3D val="0"/>
            <c:spPr>
              <a:solidFill>
                <a:srgbClr val="AEABAB"/>
              </a:solidFill>
            </c:spPr>
            <c:extLst>
              <c:ext xmlns:c16="http://schemas.microsoft.com/office/drawing/2014/chart" uri="{C3380CC4-5D6E-409C-BE32-E72D297353CC}">
                <c16:uniqueId val="{000003E3-6BA1-4C47-8A73-023BF2903B93}"/>
              </c:ext>
            </c:extLst>
          </c:dPt>
          <c:dPt>
            <c:idx val="497"/>
            <c:invertIfNegative val="1"/>
            <c:bubble3D val="0"/>
            <c:spPr>
              <a:solidFill>
                <a:srgbClr val="AEABAB"/>
              </a:solidFill>
            </c:spPr>
            <c:extLst>
              <c:ext xmlns:c16="http://schemas.microsoft.com/office/drawing/2014/chart" uri="{C3380CC4-5D6E-409C-BE32-E72D297353CC}">
                <c16:uniqueId val="{000003E5-6BA1-4C47-8A73-023BF2903B93}"/>
              </c:ext>
            </c:extLst>
          </c:dPt>
          <c:dPt>
            <c:idx val="498"/>
            <c:invertIfNegative val="1"/>
            <c:bubble3D val="0"/>
            <c:spPr>
              <a:solidFill>
                <a:srgbClr val="AEABAB"/>
              </a:solidFill>
            </c:spPr>
            <c:extLst>
              <c:ext xmlns:c16="http://schemas.microsoft.com/office/drawing/2014/chart" uri="{C3380CC4-5D6E-409C-BE32-E72D297353CC}">
                <c16:uniqueId val="{000003E7-6BA1-4C47-8A73-023BF2903B93}"/>
              </c:ext>
            </c:extLst>
          </c:dPt>
          <c:dPt>
            <c:idx val="499"/>
            <c:invertIfNegative val="1"/>
            <c:bubble3D val="0"/>
            <c:spPr>
              <a:solidFill>
                <a:srgbClr val="AEABAB"/>
              </a:solidFill>
            </c:spPr>
            <c:extLst>
              <c:ext xmlns:c16="http://schemas.microsoft.com/office/drawing/2014/chart" uri="{C3380CC4-5D6E-409C-BE32-E72D297353CC}">
                <c16:uniqueId val="{000003E9-6BA1-4C47-8A73-023BF2903B93}"/>
              </c:ext>
            </c:extLst>
          </c:dPt>
          <c:dPt>
            <c:idx val="500"/>
            <c:invertIfNegative val="1"/>
            <c:bubble3D val="0"/>
            <c:spPr>
              <a:solidFill>
                <a:srgbClr val="AEABAB"/>
              </a:solidFill>
            </c:spPr>
            <c:extLst>
              <c:ext xmlns:c16="http://schemas.microsoft.com/office/drawing/2014/chart" uri="{C3380CC4-5D6E-409C-BE32-E72D297353CC}">
                <c16:uniqueId val="{000003EB-6BA1-4C47-8A73-023BF2903B93}"/>
              </c:ext>
            </c:extLst>
          </c:dPt>
          <c:dPt>
            <c:idx val="501"/>
            <c:invertIfNegative val="1"/>
            <c:bubble3D val="0"/>
            <c:spPr>
              <a:solidFill>
                <a:srgbClr val="AEABAB"/>
              </a:solidFill>
            </c:spPr>
            <c:extLst>
              <c:ext xmlns:c16="http://schemas.microsoft.com/office/drawing/2014/chart" uri="{C3380CC4-5D6E-409C-BE32-E72D297353CC}">
                <c16:uniqueId val="{000003ED-6BA1-4C47-8A73-023BF2903B93}"/>
              </c:ext>
            </c:extLst>
          </c:dPt>
          <c:dPt>
            <c:idx val="502"/>
            <c:invertIfNegative val="1"/>
            <c:bubble3D val="0"/>
            <c:spPr>
              <a:solidFill>
                <a:srgbClr val="AEABAB"/>
              </a:solidFill>
            </c:spPr>
            <c:extLst>
              <c:ext xmlns:c16="http://schemas.microsoft.com/office/drawing/2014/chart" uri="{C3380CC4-5D6E-409C-BE32-E72D297353CC}">
                <c16:uniqueId val="{000003EF-6BA1-4C47-8A73-023BF2903B93}"/>
              </c:ext>
            </c:extLst>
          </c:dPt>
          <c:dPt>
            <c:idx val="503"/>
            <c:invertIfNegative val="1"/>
            <c:bubble3D val="0"/>
            <c:spPr>
              <a:solidFill>
                <a:srgbClr val="AEABAB"/>
              </a:solidFill>
            </c:spPr>
            <c:extLst>
              <c:ext xmlns:c16="http://schemas.microsoft.com/office/drawing/2014/chart" uri="{C3380CC4-5D6E-409C-BE32-E72D297353CC}">
                <c16:uniqueId val="{000003F1-6BA1-4C47-8A73-023BF2903B93}"/>
              </c:ext>
            </c:extLst>
          </c:dPt>
          <c:dPt>
            <c:idx val="504"/>
            <c:invertIfNegative val="1"/>
            <c:bubble3D val="0"/>
            <c:spPr>
              <a:solidFill>
                <a:srgbClr val="AEABAB"/>
              </a:solidFill>
            </c:spPr>
            <c:extLst>
              <c:ext xmlns:c16="http://schemas.microsoft.com/office/drawing/2014/chart" uri="{C3380CC4-5D6E-409C-BE32-E72D297353CC}">
                <c16:uniqueId val="{000003F3-6BA1-4C47-8A73-023BF2903B93}"/>
              </c:ext>
            </c:extLst>
          </c:dPt>
          <c:dPt>
            <c:idx val="505"/>
            <c:invertIfNegative val="1"/>
            <c:bubble3D val="0"/>
            <c:spPr>
              <a:solidFill>
                <a:srgbClr val="AEABAB"/>
              </a:solidFill>
            </c:spPr>
            <c:extLst>
              <c:ext xmlns:c16="http://schemas.microsoft.com/office/drawing/2014/chart" uri="{C3380CC4-5D6E-409C-BE32-E72D297353CC}">
                <c16:uniqueId val="{000003F5-6BA1-4C47-8A73-023BF2903B93}"/>
              </c:ext>
            </c:extLst>
          </c:dPt>
          <c:dPt>
            <c:idx val="506"/>
            <c:invertIfNegative val="1"/>
            <c:bubble3D val="0"/>
            <c:spPr>
              <a:solidFill>
                <a:srgbClr val="AEABAB"/>
              </a:solidFill>
            </c:spPr>
            <c:extLst>
              <c:ext xmlns:c16="http://schemas.microsoft.com/office/drawing/2014/chart" uri="{C3380CC4-5D6E-409C-BE32-E72D297353CC}">
                <c16:uniqueId val="{000003F7-6BA1-4C47-8A73-023BF2903B93}"/>
              </c:ext>
            </c:extLst>
          </c:dPt>
          <c:dPt>
            <c:idx val="507"/>
            <c:invertIfNegative val="1"/>
            <c:bubble3D val="0"/>
            <c:spPr>
              <a:solidFill>
                <a:srgbClr val="AEABAB"/>
              </a:solidFill>
            </c:spPr>
            <c:extLst>
              <c:ext xmlns:c16="http://schemas.microsoft.com/office/drawing/2014/chart" uri="{C3380CC4-5D6E-409C-BE32-E72D297353CC}">
                <c16:uniqueId val="{000003F9-6BA1-4C47-8A73-023BF2903B93}"/>
              </c:ext>
            </c:extLst>
          </c:dPt>
          <c:dPt>
            <c:idx val="508"/>
            <c:invertIfNegative val="1"/>
            <c:bubble3D val="0"/>
            <c:spPr>
              <a:solidFill>
                <a:srgbClr val="AEABAB"/>
              </a:solidFill>
            </c:spPr>
            <c:extLst>
              <c:ext xmlns:c16="http://schemas.microsoft.com/office/drawing/2014/chart" uri="{C3380CC4-5D6E-409C-BE32-E72D297353CC}">
                <c16:uniqueId val="{000003FB-6BA1-4C47-8A73-023BF2903B93}"/>
              </c:ext>
            </c:extLst>
          </c:dPt>
          <c:dPt>
            <c:idx val="509"/>
            <c:invertIfNegative val="1"/>
            <c:bubble3D val="0"/>
            <c:spPr>
              <a:solidFill>
                <a:srgbClr val="AEABAB"/>
              </a:solidFill>
            </c:spPr>
            <c:extLst>
              <c:ext xmlns:c16="http://schemas.microsoft.com/office/drawing/2014/chart" uri="{C3380CC4-5D6E-409C-BE32-E72D297353CC}">
                <c16:uniqueId val="{000003FD-6BA1-4C47-8A73-023BF2903B93}"/>
              </c:ext>
            </c:extLst>
          </c:dPt>
          <c:dPt>
            <c:idx val="510"/>
            <c:invertIfNegative val="1"/>
            <c:bubble3D val="0"/>
            <c:spPr>
              <a:solidFill>
                <a:srgbClr val="AEABAB"/>
              </a:solidFill>
            </c:spPr>
            <c:extLst>
              <c:ext xmlns:c16="http://schemas.microsoft.com/office/drawing/2014/chart" uri="{C3380CC4-5D6E-409C-BE32-E72D297353CC}">
                <c16:uniqueId val="{000003FF-6BA1-4C47-8A73-023BF2903B93}"/>
              </c:ext>
            </c:extLst>
          </c:dPt>
          <c:dPt>
            <c:idx val="511"/>
            <c:invertIfNegative val="1"/>
            <c:bubble3D val="0"/>
            <c:spPr>
              <a:solidFill>
                <a:srgbClr val="AEABAB"/>
              </a:solidFill>
            </c:spPr>
            <c:extLst>
              <c:ext xmlns:c16="http://schemas.microsoft.com/office/drawing/2014/chart" uri="{C3380CC4-5D6E-409C-BE32-E72D297353CC}">
                <c16:uniqueId val="{00000401-6BA1-4C47-8A73-023BF2903B93}"/>
              </c:ext>
            </c:extLst>
          </c:dPt>
          <c:dPt>
            <c:idx val="512"/>
            <c:invertIfNegative val="1"/>
            <c:bubble3D val="0"/>
            <c:spPr>
              <a:solidFill>
                <a:srgbClr val="AEABAB"/>
              </a:solidFill>
            </c:spPr>
            <c:extLst>
              <c:ext xmlns:c16="http://schemas.microsoft.com/office/drawing/2014/chart" uri="{C3380CC4-5D6E-409C-BE32-E72D297353CC}">
                <c16:uniqueId val="{00000403-6BA1-4C47-8A73-023BF2903B93}"/>
              </c:ext>
            </c:extLst>
          </c:dPt>
          <c:dPt>
            <c:idx val="513"/>
            <c:invertIfNegative val="1"/>
            <c:bubble3D val="0"/>
            <c:spPr>
              <a:solidFill>
                <a:srgbClr val="AEABAB"/>
              </a:solidFill>
            </c:spPr>
            <c:extLst>
              <c:ext xmlns:c16="http://schemas.microsoft.com/office/drawing/2014/chart" uri="{C3380CC4-5D6E-409C-BE32-E72D297353CC}">
                <c16:uniqueId val="{00000405-6BA1-4C47-8A73-023BF2903B93}"/>
              </c:ext>
            </c:extLst>
          </c:dPt>
          <c:dPt>
            <c:idx val="514"/>
            <c:invertIfNegative val="1"/>
            <c:bubble3D val="0"/>
            <c:spPr>
              <a:solidFill>
                <a:srgbClr val="AEABAB"/>
              </a:solidFill>
            </c:spPr>
            <c:extLst>
              <c:ext xmlns:c16="http://schemas.microsoft.com/office/drawing/2014/chart" uri="{C3380CC4-5D6E-409C-BE32-E72D297353CC}">
                <c16:uniqueId val="{00000407-6BA1-4C47-8A73-023BF2903B93}"/>
              </c:ext>
            </c:extLst>
          </c:dPt>
          <c:dPt>
            <c:idx val="515"/>
            <c:invertIfNegative val="1"/>
            <c:bubble3D val="0"/>
            <c:spPr>
              <a:solidFill>
                <a:srgbClr val="AEABAB"/>
              </a:solidFill>
            </c:spPr>
            <c:extLst>
              <c:ext xmlns:c16="http://schemas.microsoft.com/office/drawing/2014/chart" uri="{C3380CC4-5D6E-409C-BE32-E72D297353CC}">
                <c16:uniqueId val="{00000409-6BA1-4C47-8A73-023BF2903B93}"/>
              </c:ext>
            </c:extLst>
          </c:dPt>
          <c:dPt>
            <c:idx val="516"/>
            <c:invertIfNegative val="1"/>
            <c:bubble3D val="0"/>
            <c:spPr>
              <a:solidFill>
                <a:srgbClr val="AEABAB"/>
              </a:solidFill>
            </c:spPr>
            <c:extLst>
              <c:ext xmlns:c16="http://schemas.microsoft.com/office/drawing/2014/chart" uri="{C3380CC4-5D6E-409C-BE32-E72D297353CC}">
                <c16:uniqueId val="{0000040B-6BA1-4C47-8A73-023BF2903B93}"/>
              </c:ext>
            </c:extLst>
          </c:dPt>
          <c:dPt>
            <c:idx val="517"/>
            <c:invertIfNegative val="1"/>
            <c:bubble3D val="0"/>
            <c:spPr>
              <a:solidFill>
                <a:srgbClr val="AEABAB"/>
              </a:solidFill>
            </c:spPr>
            <c:extLst>
              <c:ext xmlns:c16="http://schemas.microsoft.com/office/drawing/2014/chart" uri="{C3380CC4-5D6E-409C-BE32-E72D297353CC}">
                <c16:uniqueId val="{0000040D-6BA1-4C47-8A73-023BF2903B93}"/>
              </c:ext>
            </c:extLst>
          </c:dPt>
          <c:dPt>
            <c:idx val="518"/>
            <c:invertIfNegative val="1"/>
            <c:bubble3D val="0"/>
            <c:spPr>
              <a:solidFill>
                <a:srgbClr val="AEABAB"/>
              </a:solidFill>
            </c:spPr>
            <c:extLst>
              <c:ext xmlns:c16="http://schemas.microsoft.com/office/drawing/2014/chart" uri="{C3380CC4-5D6E-409C-BE32-E72D297353CC}">
                <c16:uniqueId val="{0000040F-6BA1-4C47-8A73-023BF2903B93}"/>
              </c:ext>
            </c:extLst>
          </c:dPt>
          <c:dPt>
            <c:idx val="519"/>
            <c:invertIfNegative val="1"/>
            <c:bubble3D val="0"/>
            <c:spPr>
              <a:solidFill>
                <a:srgbClr val="AEABAB"/>
              </a:solidFill>
            </c:spPr>
            <c:extLst>
              <c:ext xmlns:c16="http://schemas.microsoft.com/office/drawing/2014/chart" uri="{C3380CC4-5D6E-409C-BE32-E72D297353CC}">
                <c16:uniqueId val="{00000411-6BA1-4C47-8A73-023BF2903B93}"/>
              </c:ext>
            </c:extLst>
          </c:dPt>
          <c:dPt>
            <c:idx val="520"/>
            <c:invertIfNegative val="1"/>
            <c:bubble3D val="0"/>
            <c:spPr>
              <a:solidFill>
                <a:srgbClr val="AEABAB"/>
              </a:solidFill>
            </c:spPr>
            <c:extLst>
              <c:ext xmlns:c16="http://schemas.microsoft.com/office/drawing/2014/chart" uri="{C3380CC4-5D6E-409C-BE32-E72D297353CC}">
                <c16:uniqueId val="{00000413-6BA1-4C47-8A73-023BF2903B93}"/>
              </c:ext>
            </c:extLst>
          </c:dPt>
          <c:dPt>
            <c:idx val="521"/>
            <c:invertIfNegative val="1"/>
            <c:bubble3D val="0"/>
            <c:spPr>
              <a:solidFill>
                <a:srgbClr val="AEABAB"/>
              </a:solidFill>
            </c:spPr>
            <c:extLst>
              <c:ext xmlns:c16="http://schemas.microsoft.com/office/drawing/2014/chart" uri="{C3380CC4-5D6E-409C-BE32-E72D297353CC}">
                <c16:uniqueId val="{00000415-6BA1-4C47-8A73-023BF2903B93}"/>
              </c:ext>
            </c:extLst>
          </c:dPt>
          <c:dPt>
            <c:idx val="522"/>
            <c:invertIfNegative val="1"/>
            <c:bubble3D val="0"/>
            <c:spPr>
              <a:solidFill>
                <a:srgbClr val="AEABAB"/>
              </a:solidFill>
            </c:spPr>
            <c:extLst>
              <c:ext xmlns:c16="http://schemas.microsoft.com/office/drawing/2014/chart" uri="{C3380CC4-5D6E-409C-BE32-E72D297353CC}">
                <c16:uniqueId val="{00000417-6BA1-4C47-8A73-023BF2903B93}"/>
              </c:ext>
            </c:extLst>
          </c:dPt>
          <c:dPt>
            <c:idx val="523"/>
            <c:invertIfNegative val="1"/>
            <c:bubble3D val="0"/>
            <c:spPr>
              <a:solidFill>
                <a:srgbClr val="AEABAB"/>
              </a:solidFill>
            </c:spPr>
            <c:extLst>
              <c:ext xmlns:c16="http://schemas.microsoft.com/office/drawing/2014/chart" uri="{C3380CC4-5D6E-409C-BE32-E72D297353CC}">
                <c16:uniqueId val="{00000419-6BA1-4C47-8A73-023BF2903B93}"/>
              </c:ext>
            </c:extLst>
          </c:dPt>
          <c:dPt>
            <c:idx val="524"/>
            <c:invertIfNegative val="1"/>
            <c:bubble3D val="0"/>
            <c:spPr>
              <a:solidFill>
                <a:srgbClr val="AEABAB"/>
              </a:solidFill>
            </c:spPr>
            <c:extLst>
              <c:ext xmlns:c16="http://schemas.microsoft.com/office/drawing/2014/chart" uri="{C3380CC4-5D6E-409C-BE32-E72D297353CC}">
                <c16:uniqueId val="{0000041B-6BA1-4C47-8A73-023BF2903B93}"/>
              </c:ext>
            </c:extLst>
          </c:dPt>
          <c:dPt>
            <c:idx val="525"/>
            <c:invertIfNegative val="1"/>
            <c:bubble3D val="0"/>
            <c:spPr>
              <a:solidFill>
                <a:srgbClr val="AEABAB"/>
              </a:solidFill>
            </c:spPr>
            <c:extLst>
              <c:ext xmlns:c16="http://schemas.microsoft.com/office/drawing/2014/chart" uri="{C3380CC4-5D6E-409C-BE32-E72D297353CC}">
                <c16:uniqueId val="{0000041D-6BA1-4C47-8A73-023BF2903B93}"/>
              </c:ext>
            </c:extLst>
          </c:dPt>
          <c:dPt>
            <c:idx val="526"/>
            <c:invertIfNegative val="1"/>
            <c:bubble3D val="0"/>
            <c:spPr>
              <a:solidFill>
                <a:srgbClr val="AEABAB"/>
              </a:solidFill>
            </c:spPr>
            <c:extLst>
              <c:ext xmlns:c16="http://schemas.microsoft.com/office/drawing/2014/chart" uri="{C3380CC4-5D6E-409C-BE32-E72D297353CC}">
                <c16:uniqueId val="{0000041F-6BA1-4C47-8A73-023BF2903B93}"/>
              </c:ext>
            </c:extLst>
          </c:dPt>
          <c:dPt>
            <c:idx val="527"/>
            <c:invertIfNegative val="1"/>
            <c:bubble3D val="0"/>
            <c:spPr>
              <a:solidFill>
                <a:srgbClr val="AEABAB"/>
              </a:solidFill>
            </c:spPr>
            <c:extLst>
              <c:ext xmlns:c16="http://schemas.microsoft.com/office/drawing/2014/chart" uri="{C3380CC4-5D6E-409C-BE32-E72D297353CC}">
                <c16:uniqueId val="{00000421-6BA1-4C47-8A73-023BF2903B93}"/>
              </c:ext>
            </c:extLst>
          </c:dPt>
          <c:dPt>
            <c:idx val="528"/>
            <c:invertIfNegative val="1"/>
            <c:bubble3D val="0"/>
            <c:spPr>
              <a:solidFill>
                <a:srgbClr val="AEABAB"/>
              </a:solidFill>
            </c:spPr>
            <c:extLst>
              <c:ext xmlns:c16="http://schemas.microsoft.com/office/drawing/2014/chart" uri="{C3380CC4-5D6E-409C-BE32-E72D297353CC}">
                <c16:uniqueId val="{00000423-6BA1-4C47-8A73-023BF2903B93}"/>
              </c:ext>
            </c:extLst>
          </c:dPt>
          <c:dPt>
            <c:idx val="529"/>
            <c:invertIfNegative val="1"/>
            <c:bubble3D val="0"/>
            <c:spPr>
              <a:solidFill>
                <a:srgbClr val="AEABAB"/>
              </a:solidFill>
            </c:spPr>
            <c:extLst>
              <c:ext xmlns:c16="http://schemas.microsoft.com/office/drawing/2014/chart" uri="{C3380CC4-5D6E-409C-BE32-E72D297353CC}">
                <c16:uniqueId val="{00000425-6BA1-4C47-8A73-023BF2903B93}"/>
              </c:ext>
            </c:extLst>
          </c:dPt>
          <c:dPt>
            <c:idx val="530"/>
            <c:invertIfNegative val="1"/>
            <c:bubble3D val="0"/>
            <c:spPr>
              <a:solidFill>
                <a:srgbClr val="AEABAB"/>
              </a:solidFill>
            </c:spPr>
            <c:extLst>
              <c:ext xmlns:c16="http://schemas.microsoft.com/office/drawing/2014/chart" uri="{C3380CC4-5D6E-409C-BE32-E72D297353CC}">
                <c16:uniqueId val="{00000427-6BA1-4C47-8A73-023BF2903B93}"/>
              </c:ext>
            </c:extLst>
          </c:dPt>
          <c:dPt>
            <c:idx val="531"/>
            <c:invertIfNegative val="1"/>
            <c:bubble3D val="0"/>
            <c:spPr>
              <a:solidFill>
                <a:srgbClr val="AEABAB"/>
              </a:solidFill>
            </c:spPr>
            <c:extLst>
              <c:ext xmlns:c16="http://schemas.microsoft.com/office/drawing/2014/chart" uri="{C3380CC4-5D6E-409C-BE32-E72D297353CC}">
                <c16:uniqueId val="{00000429-6BA1-4C47-8A73-023BF2903B93}"/>
              </c:ext>
            </c:extLst>
          </c:dPt>
          <c:dPt>
            <c:idx val="532"/>
            <c:invertIfNegative val="1"/>
            <c:bubble3D val="0"/>
            <c:spPr>
              <a:solidFill>
                <a:srgbClr val="AEABAB"/>
              </a:solidFill>
            </c:spPr>
            <c:extLst>
              <c:ext xmlns:c16="http://schemas.microsoft.com/office/drawing/2014/chart" uri="{C3380CC4-5D6E-409C-BE32-E72D297353CC}">
                <c16:uniqueId val="{0000042B-6BA1-4C47-8A73-023BF2903B93}"/>
              </c:ext>
            </c:extLst>
          </c:dPt>
          <c:dPt>
            <c:idx val="533"/>
            <c:invertIfNegative val="1"/>
            <c:bubble3D val="0"/>
            <c:spPr>
              <a:solidFill>
                <a:srgbClr val="AEABAB"/>
              </a:solidFill>
            </c:spPr>
            <c:extLst>
              <c:ext xmlns:c16="http://schemas.microsoft.com/office/drawing/2014/chart" uri="{C3380CC4-5D6E-409C-BE32-E72D297353CC}">
                <c16:uniqueId val="{0000042D-6BA1-4C47-8A73-023BF2903B93}"/>
              </c:ext>
            </c:extLst>
          </c:dPt>
          <c:dPt>
            <c:idx val="534"/>
            <c:invertIfNegative val="1"/>
            <c:bubble3D val="0"/>
            <c:spPr>
              <a:solidFill>
                <a:srgbClr val="AEABAB"/>
              </a:solidFill>
            </c:spPr>
            <c:extLst>
              <c:ext xmlns:c16="http://schemas.microsoft.com/office/drawing/2014/chart" uri="{C3380CC4-5D6E-409C-BE32-E72D297353CC}">
                <c16:uniqueId val="{0000042F-6BA1-4C47-8A73-023BF2903B93}"/>
              </c:ext>
            </c:extLst>
          </c:dPt>
          <c:dPt>
            <c:idx val="535"/>
            <c:invertIfNegative val="1"/>
            <c:bubble3D val="0"/>
            <c:spPr>
              <a:solidFill>
                <a:srgbClr val="AEABAB"/>
              </a:solidFill>
            </c:spPr>
            <c:extLst>
              <c:ext xmlns:c16="http://schemas.microsoft.com/office/drawing/2014/chart" uri="{C3380CC4-5D6E-409C-BE32-E72D297353CC}">
                <c16:uniqueId val="{00000431-6BA1-4C47-8A73-023BF2903B93}"/>
              </c:ext>
            </c:extLst>
          </c:dPt>
          <c:dPt>
            <c:idx val="536"/>
            <c:invertIfNegative val="1"/>
            <c:bubble3D val="0"/>
            <c:spPr>
              <a:solidFill>
                <a:srgbClr val="AEABAB"/>
              </a:solidFill>
            </c:spPr>
            <c:extLst>
              <c:ext xmlns:c16="http://schemas.microsoft.com/office/drawing/2014/chart" uri="{C3380CC4-5D6E-409C-BE32-E72D297353CC}">
                <c16:uniqueId val="{00000433-6BA1-4C47-8A73-023BF2903B93}"/>
              </c:ext>
            </c:extLst>
          </c:dPt>
          <c:dPt>
            <c:idx val="537"/>
            <c:invertIfNegative val="1"/>
            <c:bubble3D val="0"/>
            <c:spPr>
              <a:solidFill>
                <a:srgbClr val="AEABAB"/>
              </a:solidFill>
            </c:spPr>
            <c:extLst>
              <c:ext xmlns:c16="http://schemas.microsoft.com/office/drawing/2014/chart" uri="{C3380CC4-5D6E-409C-BE32-E72D297353CC}">
                <c16:uniqueId val="{00000435-6BA1-4C47-8A73-023BF2903B93}"/>
              </c:ext>
            </c:extLst>
          </c:dPt>
          <c:dPt>
            <c:idx val="538"/>
            <c:invertIfNegative val="1"/>
            <c:bubble3D val="0"/>
            <c:spPr>
              <a:solidFill>
                <a:srgbClr val="AEABAB"/>
              </a:solidFill>
            </c:spPr>
            <c:extLst>
              <c:ext xmlns:c16="http://schemas.microsoft.com/office/drawing/2014/chart" uri="{C3380CC4-5D6E-409C-BE32-E72D297353CC}">
                <c16:uniqueId val="{00000437-6BA1-4C47-8A73-023BF2903B93}"/>
              </c:ext>
            </c:extLst>
          </c:dPt>
          <c:dPt>
            <c:idx val="539"/>
            <c:invertIfNegative val="1"/>
            <c:bubble3D val="0"/>
            <c:spPr>
              <a:solidFill>
                <a:srgbClr val="AEABAB"/>
              </a:solidFill>
            </c:spPr>
            <c:extLst>
              <c:ext xmlns:c16="http://schemas.microsoft.com/office/drawing/2014/chart" uri="{C3380CC4-5D6E-409C-BE32-E72D297353CC}">
                <c16:uniqueId val="{00000439-6BA1-4C47-8A73-023BF2903B93}"/>
              </c:ext>
            </c:extLst>
          </c:dPt>
          <c:dPt>
            <c:idx val="540"/>
            <c:invertIfNegative val="1"/>
            <c:bubble3D val="0"/>
            <c:spPr>
              <a:solidFill>
                <a:srgbClr val="AEABAB"/>
              </a:solidFill>
            </c:spPr>
            <c:extLst>
              <c:ext xmlns:c16="http://schemas.microsoft.com/office/drawing/2014/chart" uri="{C3380CC4-5D6E-409C-BE32-E72D297353CC}">
                <c16:uniqueId val="{0000043B-6BA1-4C47-8A73-023BF2903B93}"/>
              </c:ext>
            </c:extLst>
          </c:dPt>
          <c:dPt>
            <c:idx val="541"/>
            <c:invertIfNegative val="1"/>
            <c:bubble3D val="0"/>
            <c:spPr>
              <a:solidFill>
                <a:srgbClr val="AEABAB"/>
              </a:solidFill>
            </c:spPr>
            <c:extLst>
              <c:ext xmlns:c16="http://schemas.microsoft.com/office/drawing/2014/chart" uri="{C3380CC4-5D6E-409C-BE32-E72D297353CC}">
                <c16:uniqueId val="{0000043D-6BA1-4C47-8A73-023BF2903B93}"/>
              </c:ext>
            </c:extLst>
          </c:dPt>
          <c:dPt>
            <c:idx val="542"/>
            <c:invertIfNegative val="1"/>
            <c:bubble3D val="0"/>
            <c:spPr>
              <a:solidFill>
                <a:srgbClr val="AEABAB"/>
              </a:solidFill>
            </c:spPr>
            <c:extLst>
              <c:ext xmlns:c16="http://schemas.microsoft.com/office/drawing/2014/chart" uri="{C3380CC4-5D6E-409C-BE32-E72D297353CC}">
                <c16:uniqueId val="{0000043F-6BA1-4C47-8A73-023BF2903B93}"/>
              </c:ext>
            </c:extLst>
          </c:dPt>
          <c:dPt>
            <c:idx val="543"/>
            <c:invertIfNegative val="1"/>
            <c:bubble3D val="0"/>
            <c:spPr>
              <a:solidFill>
                <a:srgbClr val="AEABAB"/>
              </a:solidFill>
            </c:spPr>
            <c:extLst>
              <c:ext xmlns:c16="http://schemas.microsoft.com/office/drawing/2014/chart" uri="{C3380CC4-5D6E-409C-BE32-E72D297353CC}">
                <c16:uniqueId val="{00000441-6BA1-4C47-8A73-023BF2903B93}"/>
              </c:ext>
            </c:extLst>
          </c:dPt>
          <c:dPt>
            <c:idx val="544"/>
            <c:invertIfNegative val="1"/>
            <c:bubble3D val="0"/>
            <c:spPr>
              <a:solidFill>
                <a:srgbClr val="AEABAB"/>
              </a:solidFill>
            </c:spPr>
            <c:extLst>
              <c:ext xmlns:c16="http://schemas.microsoft.com/office/drawing/2014/chart" uri="{C3380CC4-5D6E-409C-BE32-E72D297353CC}">
                <c16:uniqueId val="{00000443-6BA1-4C47-8A73-023BF2903B93}"/>
              </c:ext>
            </c:extLst>
          </c:dPt>
          <c:dPt>
            <c:idx val="545"/>
            <c:invertIfNegative val="1"/>
            <c:bubble3D val="0"/>
            <c:spPr>
              <a:solidFill>
                <a:srgbClr val="AEABAB"/>
              </a:solidFill>
            </c:spPr>
            <c:extLst>
              <c:ext xmlns:c16="http://schemas.microsoft.com/office/drawing/2014/chart" uri="{C3380CC4-5D6E-409C-BE32-E72D297353CC}">
                <c16:uniqueId val="{00000445-6BA1-4C47-8A73-023BF2903B93}"/>
              </c:ext>
            </c:extLst>
          </c:dPt>
          <c:dPt>
            <c:idx val="546"/>
            <c:invertIfNegative val="1"/>
            <c:bubble3D val="0"/>
            <c:spPr>
              <a:solidFill>
                <a:srgbClr val="AEABAB"/>
              </a:solidFill>
            </c:spPr>
            <c:extLst>
              <c:ext xmlns:c16="http://schemas.microsoft.com/office/drawing/2014/chart" uri="{C3380CC4-5D6E-409C-BE32-E72D297353CC}">
                <c16:uniqueId val="{00000447-6BA1-4C47-8A73-023BF2903B93}"/>
              </c:ext>
            </c:extLst>
          </c:dPt>
          <c:dPt>
            <c:idx val="547"/>
            <c:invertIfNegative val="1"/>
            <c:bubble3D val="0"/>
            <c:spPr>
              <a:solidFill>
                <a:srgbClr val="AEABAB"/>
              </a:solidFill>
            </c:spPr>
            <c:extLst>
              <c:ext xmlns:c16="http://schemas.microsoft.com/office/drawing/2014/chart" uri="{C3380CC4-5D6E-409C-BE32-E72D297353CC}">
                <c16:uniqueId val="{00000449-6BA1-4C47-8A73-023BF2903B93}"/>
              </c:ext>
            </c:extLst>
          </c:dPt>
          <c:dPt>
            <c:idx val="548"/>
            <c:invertIfNegative val="1"/>
            <c:bubble3D val="0"/>
            <c:spPr>
              <a:solidFill>
                <a:srgbClr val="AEABAB"/>
              </a:solidFill>
            </c:spPr>
            <c:extLst>
              <c:ext xmlns:c16="http://schemas.microsoft.com/office/drawing/2014/chart" uri="{C3380CC4-5D6E-409C-BE32-E72D297353CC}">
                <c16:uniqueId val="{0000044B-6BA1-4C47-8A73-023BF2903B93}"/>
              </c:ext>
            </c:extLst>
          </c:dPt>
          <c:dPt>
            <c:idx val="549"/>
            <c:invertIfNegative val="1"/>
            <c:bubble3D val="0"/>
            <c:spPr>
              <a:solidFill>
                <a:srgbClr val="AEABAB"/>
              </a:solidFill>
            </c:spPr>
            <c:extLst>
              <c:ext xmlns:c16="http://schemas.microsoft.com/office/drawing/2014/chart" uri="{C3380CC4-5D6E-409C-BE32-E72D297353CC}">
                <c16:uniqueId val="{0000044D-6BA1-4C47-8A73-023BF2903B93}"/>
              </c:ext>
            </c:extLst>
          </c:dPt>
          <c:dPt>
            <c:idx val="550"/>
            <c:invertIfNegative val="1"/>
            <c:bubble3D val="0"/>
            <c:spPr>
              <a:solidFill>
                <a:srgbClr val="AEABAB"/>
              </a:solidFill>
            </c:spPr>
            <c:extLst>
              <c:ext xmlns:c16="http://schemas.microsoft.com/office/drawing/2014/chart" uri="{C3380CC4-5D6E-409C-BE32-E72D297353CC}">
                <c16:uniqueId val="{0000044F-6BA1-4C47-8A73-023BF2903B93}"/>
              </c:ext>
            </c:extLst>
          </c:dPt>
          <c:dPt>
            <c:idx val="551"/>
            <c:invertIfNegative val="1"/>
            <c:bubble3D val="0"/>
            <c:spPr>
              <a:solidFill>
                <a:srgbClr val="AEABAB"/>
              </a:solidFill>
            </c:spPr>
            <c:extLst>
              <c:ext xmlns:c16="http://schemas.microsoft.com/office/drawing/2014/chart" uri="{C3380CC4-5D6E-409C-BE32-E72D297353CC}">
                <c16:uniqueId val="{00000451-6BA1-4C47-8A73-023BF2903B93}"/>
              </c:ext>
            </c:extLst>
          </c:dPt>
          <c:dPt>
            <c:idx val="552"/>
            <c:invertIfNegative val="1"/>
            <c:bubble3D val="0"/>
            <c:spPr>
              <a:solidFill>
                <a:srgbClr val="AEABAB"/>
              </a:solidFill>
            </c:spPr>
            <c:extLst>
              <c:ext xmlns:c16="http://schemas.microsoft.com/office/drawing/2014/chart" uri="{C3380CC4-5D6E-409C-BE32-E72D297353CC}">
                <c16:uniqueId val="{00000453-6BA1-4C47-8A73-023BF2903B93}"/>
              </c:ext>
            </c:extLst>
          </c:dPt>
          <c:dPt>
            <c:idx val="553"/>
            <c:invertIfNegative val="1"/>
            <c:bubble3D val="0"/>
            <c:spPr>
              <a:solidFill>
                <a:srgbClr val="AEABAB"/>
              </a:solidFill>
            </c:spPr>
            <c:extLst>
              <c:ext xmlns:c16="http://schemas.microsoft.com/office/drawing/2014/chart" uri="{C3380CC4-5D6E-409C-BE32-E72D297353CC}">
                <c16:uniqueId val="{00000455-6BA1-4C47-8A73-023BF2903B93}"/>
              </c:ext>
            </c:extLst>
          </c:dPt>
          <c:dPt>
            <c:idx val="554"/>
            <c:invertIfNegative val="1"/>
            <c:bubble3D val="0"/>
            <c:spPr>
              <a:solidFill>
                <a:srgbClr val="AEABAB"/>
              </a:solidFill>
            </c:spPr>
            <c:extLst>
              <c:ext xmlns:c16="http://schemas.microsoft.com/office/drawing/2014/chart" uri="{C3380CC4-5D6E-409C-BE32-E72D297353CC}">
                <c16:uniqueId val="{00000457-6BA1-4C47-8A73-023BF2903B93}"/>
              </c:ext>
            </c:extLst>
          </c:dPt>
          <c:dPt>
            <c:idx val="555"/>
            <c:invertIfNegative val="1"/>
            <c:bubble3D val="0"/>
            <c:spPr>
              <a:solidFill>
                <a:srgbClr val="AEABAB"/>
              </a:solidFill>
            </c:spPr>
            <c:extLst>
              <c:ext xmlns:c16="http://schemas.microsoft.com/office/drawing/2014/chart" uri="{C3380CC4-5D6E-409C-BE32-E72D297353CC}">
                <c16:uniqueId val="{00000459-6BA1-4C47-8A73-023BF2903B93}"/>
              </c:ext>
            </c:extLst>
          </c:dPt>
          <c:dPt>
            <c:idx val="556"/>
            <c:invertIfNegative val="1"/>
            <c:bubble3D val="0"/>
            <c:spPr>
              <a:solidFill>
                <a:srgbClr val="AEABAB"/>
              </a:solidFill>
            </c:spPr>
            <c:extLst>
              <c:ext xmlns:c16="http://schemas.microsoft.com/office/drawing/2014/chart" uri="{C3380CC4-5D6E-409C-BE32-E72D297353CC}">
                <c16:uniqueId val="{0000045B-6BA1-4C47-8A73-023BF2903B93}"/>
              </c:ext>
            </c:extLst>
          </c:dPt>
          <c:dPt>
            <c:idx val="557"/>
            <c:invertIfNegative val="1"/>
            <c:bubble3D val="0"/>
            <c:spPr>
              <a:solidFill>
                <a:srgbClr val="AEABAB"/>
              </a:solidFill>
            </c:spPr>
            <c:extLst>
              <c:ext xmlns:c16="http://schemas.microsoft.com/office/drawing/2014/chart" uri="{C3380CC4-5D6E-409C-BE32-E72D297353CC}">
                <c16:uniqueId val="{0000045D-6BA1-4C47-8A73-023BF2903B93}"/>
              </c:ext>
            </c:extLst>
          </c:dPt>
          <c:dPt>
            <c:idx val="558"/>
            <c:invertIfNegative val="1"/>
            <c:bubble3D val="0"/>
            <c:spPr>
              <a:solidFill>
                <a:srgbClr val="AEABAB"/>
              </a:solidFill>
            </c:spPr>
            <c:extLst>
              <c:ext xmlns:c16="http://schemas.microsoft.com/office/drawing/2014/chart" uri="{C3380CC4-5D6E-409C-BE32-E72D297353CC}">
                <c16:uniqueId val="{0000045F-6BA1-4C47-8A73-023BF2903B93}"/>
              </c:ext>
            </c:extLst>
          </c:dPt>
          <c:dPt>
            <c:idx val="559"/>
            <c:invertIfNegative val="1"/>
            <c:bubble3D val="0"/>
            <c:spPr>
              <a:solidFill>
                <a:srgbClr val="AEABAB"/>
              </a:solidFill>
            </c:spPr>
            <c:extLst>
              <c:ext xmlns:c16="http://schemas.microsoft.com/office/drawing/2014/chart" uri="{C3380CC4-5D6E-409C-BE32-E72D297353CC}">
                <c16:uniqueId val="{00000461-6BA1-4C47-8A73-023BF2903B93}"/>
              </c:ext>
            </c:extLst>
          </c:dPt>
          <c:dPt>
            <c:idx val="560"/>
            <c:invertIfNegative val="1"/>
            <c:bubble3D val="0"/>
            <c:spPr>
              <a:solidFill>
                <a:srgbClr val="AEABAB"/>
              </a:solidFill>
            </c:spPr>
            <c:extLst>
              <c:ext xmlns:c16="http://schemas.microsoft.com/office/drawing/2014/chart" uri="{C3380CC4-5D6E-409C-BE32-E72D297353CC}">
                <c16:uniqueId val="{00000463-6BA1-4C47-8A73-023BF2903B93}"/>
              </c:ext>
            </c:extLst>
          </c:dPt>
          <c:dPt>
            <c:idx val="561"/>
            <c:invertIfNegative val="1"/>
            <c:bubble3D val="0"/>
            <c:spPr>
              <a:solidFill>
                <a:srgbClr val="AEABAB"/>
              </a:solidFill>
            </c:spPr>
            <c:extLst>
              <c:ext xmlns:c16="http://schemas.microsoft.com/office/drawing/2014/chart" uri="{C3380CC4-5D6E-409C-BE32-E72D297353CC}">
                <c16:uniqueId val="{00000465-6BA1-4C47-8A73-023BF2903B93}"/>
              </c:ext>
            </c:extLst>
          </c:dPt>
          <c:dPt>
            <c:idx val="562"/>
            <c:invertIfNegative val="1"/>
            <c:bubble3D val="0"/>
            <c:spPr>
              <a:solidFill>
                <a:srgbClr val="AEABAB"/>
              </a:solidFill>
            </c:spPr>
            <c:extLst>
              <c:ext xmlns:c16="http://schemas.microsoft.com/office/drawing/2014/chart" uri="{C3380CC4-5D6E-409C-BE32-E72D297353CC}">
                <c16:uniqueId val="{00000467-6BA1-4C47-8A73-023BF2903B93}"/>
              </c:ext>
            </c:extLst>
          </c:dPt>
          <c:dPt>
            <c:idx val="563"/>
            <c:invertIfNegative val="1"/>
            <c:bubble3D val="0"/>
            <c:spPr>
              <a:solidFill>
                <a:srgbClr val="AEABAB"/>
              </a:solidFill>
            </c:spPr>
            <c:extLst>
              <c:ext xmlns:c16="http://schemas.microsoft.com/office/drawing/2014/chart" uri="{C3380CC4-5D6E-409C-BE32-E72D297353CC}">
                <c16:uniqueId val="{00000469-6BA1-4C47-8A73-023BF2903B93}"/>
              </c:ext>
            </c:extLst>
          </c:dPt>
          <c:dPt>
            <c:idx val="564"/>
            <c:invertIfNegative val="1"/>
            <c:bubble3D val="0"/>
            <c:spPr>
              <a:solidFill>
                <a:srgbClr val="AEABAB"/>
              </a:solidFill>
            </c:spPr>
            <c:extLst>
              <c:ext xmlns:c16="http://schemas.microsoft.com/office/drawing/2014/chart" uri="{C3380CC4-5D6E-409C-BE32-E72D297353CC}">
                <c16:uniqueId val="{0000046B-6BA1-4C47-8A73-023BF2903B93}"/>
              </c:ext>
            </c:extLst>
          </c:dPt>
          <c:dPt>
            <c:idx val="565"/>
            <c:invertIfNegative val="1"/>
            <c:bubble3D val="0"/>
            <c:spPr>
              <a:solidFill>
                <a:srgbClr val="AEABAB"/>
              </a:solidFill>
            </c:spPr>
            <c:extLst>
              <c:ext xmlns:c16="http://schemas.microsoft.com/office/drawing/2014/chart" uri="{C3380CC4-5D6E-409C-BE32-E72D297353CC}">
                <c16:uniqueId val="{0000046D-6BA1-4C47-8A73-023BF2903B93}"/>
              </c:ext>
            </c:extLst>
          </c:dPt>
          <c:dPt>
            <c:idx val="566"/>
            <c:invertIfNegative val="1"/>
            <c:bubble3D val="0"/>
            <c:spPr>
              <a:solidFill>
                <a:srgbClr val="AEABAB"/>
              </a:solidFill>
            </c:spPr>
            <c:extLst>
              <c:ext xmlns:c16="http://schemas.microsoft.com/office/drawing/2014/chart" uri="{C3380CC4-5D6E-409C-BE32-E72D297353CC}">
                <c16:uniqueId val="{0000046F-6BA1-4C47-8A73-023BF2903B93}"/>
              </c:ext>
            </c:extLst>
          </c:dPt>
          <c:dPt>
            <c:idx val="567"/>
            <c:invertIfNegative val="1"/>
            <c:bubble3D val="0"/>
            <c:spPr>
              <a:solidFill>
                <a:srgbClr val="AEABAB"/>
              </a:solidFill>
            </c:spPr>
            <c:extLst>
              <c:ext xmlns:c16="http://schemas.microsoft.com/office/drawing/2014/chart" uri="{C3380CC4-5D6E-409C-BE32-E72D297353CC}">
                <c16:uniqueId val="{00000471-6BA1-4C47-8A73-023BF2903B93}"/>
              </c:ext>
            </c:extLst>
          </c:dPt>
          <c:dPt>
            <c:idx val="568"/>
            <c:invertIfNegative val="1"/>
            <c:bubble3D val="0"/>
            <c:spPr>
              <a:solidFill>
                <a:srgbClr val="AEABAB"/>
              </a:solidFill>
            </c:spPr>
            <c:extLst>
              <c:ext xmlns:c16="http://schemas.microsoft.com/office/drawing/2014/chart" uri="{C3380CC4-5D6E-409C-BE32-E72D297353CC}">
                <c16:uniqueId val="{00000473-6BA1-4C47-8A73-023BF2903B93}"/>
              </c:ext>
            </c:extLst>
          </c:dPt>
          <c:dPt>
            <c:idx val="569"/>
            <c:invertIfNegative val="1"/>
            <c:bubble3D val="0"/>
            <c:spPr>
              <a:solidFill>
                <a:srgbClr val="AEABAB"/>
              </a:solidFill>
            </c:spPr>
            <c:extLst>
              <c:ext xmlns:c16="http://schemas.microsoft.com/office/drawing/2014/chart" uri="{C3380CC4-5D6E-409C-BE32-E72D297353CC}">
                <c16:uniqueId val="{00000475-6BA1-4C47-8A73-023BF2903B93}"/>
              </c:ext>
            </c:extLst>
          </c:dPt>
          <c:dPt>
            <c:idx val="570"/>
            <c:invertIfNegative val="1"/>
            <c:bubble3D val="0"/>
            <c:spPr>
              <a:solidFill>
                <a:srgbClr val="AEABAB"/>
              </a:solidFill>
            </c:spPr>
            <c:extLst>
              <c:ext xmlns:c16="http://schemas.microsoft.com/office/drawing/2014/chart" uri="{C3380CC4-5D6E-409C-BE32-E72D297353CC}">
                <c16:uniqueId val="{00000477-6BA1-4C47-8A73-023BF2903B93}"/>
              </c:ext>
            </c:extLst>
          </c:dPt>
          <c:dPt>
            <c:idx val="571"/>
            <c:invertIfNegative val="1"/>
            <c:bubble3D val="0"/>
            <c:spPr>
              <a:solidFill>
                <a:srgbClr val="AEABAB"/>
              </a:solidFill>
            </c:spPr>
            <c:extLst>
              <c:ext xmlns:c16="http://schemas.microsoft.com/office/drawing/2014/chart" uri="{C3380CC4-5D6E-409C-BE32-E72D297353CC}">
                <c16:uniqueId val="{00000479-6BA1-4C47-8A73-023BF2903B93}"/>
              </c:ext>
            </c:extLst>
          </c:dPt>
          <c:dPt>
            <c:idx val="572"/>
            <c:invertIfNegative val="1"/>
            <c:bubble3D val="0"/>
            <c:spPr>
              <a:solidFill>
                <a:srgbClr val="AEABAB"/>
              </a:solidFill>
            </c:spPr>
            <c:extLst>
              <c:ext xmlns:c16="http://schemas.microsoft.com/office/drawing/2014/chart" uri="{C3380CC4-5D6E-409C-BE32-E72D297353CC}">
                <c16:uniqueId val="{0000047B-6BA1-4C47-8A73-023BF2903B93}"/>
              </c:ext>
            </c:extLst>
          </c:dPt>
          <c:dPt>
            <c:idx val="573"/>
            <c:invertIfNegative val="1"/>
            <c:bubble3D val="0"/>
            <c:spPr>
              <a:solidFill>
                <a:srgbClr val="AEABAB"/>
              </a:solidFill>
            </c:spPr>
            <c:extLst>
              <c:ext xmlns:c16="http://schemas.microsoft.com/office/drawing/2014/chart" uri="{C3380CC4-5D6E-409C-BE32-E72D297353CC}">
                <c16:uniqueId val="{0000047D-6BA1-4C47-8A73-023BF2903B93}"/>
              </c:ext>
            </c:extLst>
          </c:dPt>
          <c:dPt>
            <c:idx val="574"/>
            <c:invertIfNegative val="1"/>
            <c:bubble3D val="0"/>
            <c:spPr>
              <a:solidFill>
                <a:srgbClr val="AEABAB"/>
              </a:solidFill>
            </c:spPr>
            <c:extLst>
              <c:ext xmlns:c16="http://schemas.microsoft.com/office/drawing/2014/chart" uri="{C3380CC4-5D6E-409C-BE32-E72D297353CC}">
                <c16:uniqueId val="{0000047F-6BA1-4C47-8A73-023BF2903B93}"/>
              </c:ext>
            </c:extLst>
          </c:dPt>
          <c:dPt>
            <c:idx val="575"/>
            <c:invertIfNegative val="1"/>
            <c:bubble3D val="0"/>
            <c:spPr>
              <a:solidFill>
                <a:srgbClr val="AEABAB"/>
              </a:solidFill>
            </c:spPr>
            <c:extLst>
              <c:ext xmlns:c16="http://schemas.microsoft.com/office/drawing/2014/chart" uri="{C3380CC4-5D6E-409C-BE32-E72D297353CC}">
                <c16:uniqueId val="{00000481-6BA1-4C47-8A73-023BF2903B93}"/>
              </c:ext>
            </c:extLst>
          </c:dPt>
          <c:dPt>
            <c:idx val="576"/>
            <c:invertIfNegative val="1"/>
            <c:bubble3D val="0"/>
            <c:spPr>
              <a:solidFill>
                <a:srgbClr val="AEABAB"/>
              </a:solidFill>
            </c:spPr>
            <c:extLst>
              <c:ext xmlns:c16="http://schemas.microsoft.com/office/drawing/2014/chart" uri="{C3380CC4-5D6E-409C-BE32-E72D297353CC}">
                <c16:uniqueId val="{00000483-6BA1-4C47-8A73-023BF2903B93}"/>
              </c:ext>
            </c:extLst>
          </c:dPt>
          <c:dPt>
            <c:idx val="577"/>
            <c:invertIfNegative val="1"/>
            <c:bubble3D val="0"/>
            <c:spPr>
              <a:solidFill>
                <a:srgbClr val="AEABAB"/>
              </a:solidFill>
            </c:spPr>
            <c:extLst>
              <c:ext xmlns:c16="http://schemas.microsoft.com/office/drawing/2014/chart" uri="{C3380CC4-5D6E-409C-BE32-E72D297353CC}">
                <c16:uniqueId val="{00000485-6BA1-4C47-8A73-023BF2903B93}"/>
              </c:ext>
            </c:extLst>
          </c:dPt>
          <c:dPt>
            <c:idx val="578"/>
            <c:invertIfNegative val="1"/>
            <c:bubble3D val="0"/>
            <c:spPr>
              <a:solidFill>
                <a:srgbClr val="AEABAB"/>
              </a:solidFill>
            </c:spPr>
            <c:extLst>
              <c:ext xmlns:c16="http://schemas.microsoft.com/office/drawing/2014/chart" uri="{C3380CC4-5D6E-409C-BE32-E72D297353CC}">
                <c16:uniqueId val="{00000487-6BA1-4C47-8A73-023BF2903B93}"/>
              </c:ext>
            </c:extLst>
          </c:dPt>
          <c:dPt>
            <c:idx val="579"/>
            <c:invertIfNegative val="1"/>
            <c:bubble3D val="0"/>
            <c:spPr>
              <a:solidFill>
                <a:srgbClr val="AEABAB"/>
              </a:solidFill>
            </c:spPr>
            <c:extLst>
              <c:ext xmlns:c16="http://schemas.microsoft.com/office/drawing/2014/chart" uri="{C3380CC4-5D6E-409C-BE32-E72D297353CC}">
                <c16:uniqueId val="{00000489-6BA1-4C47-8A73-023BF2903B93}"/>
              </c:ext>
            </c:extLst>
          </c:dPt>
          <c:dPt>
            <c:idx val="580"/>
            <c:invertIfNegative val="1"/>
            <c:bubble3D val="0"/>
            <c:spPr>
              <a:solidFill>
                <a:srgbClr val="AEABAB"/>
              </a:solidFill>
            </c:spPr>
            <c:extLst>
              <c:ext xmlns:c16="http://schemas.microsoft.com/office/drawing/2014/chart" uri="{C3380CC4-5D6E-409C-BE32-E72D297353CC}">
                <c16:uniqueId val="{0000048B-6BA1-4C47-8A73-023BF2903B93}"/>
              </c:ext>
            </c:extLst>
          </c:dPt>
          <c:dPt>
            <c:idx val="581"/>
            <c:invertIfNegative val="1"/>
            <c:bubble3D val="0"/>
            <c:spPr>
              <a:solidFill>
                <a:srgbClr val="AEABAB"/>
              </a:solidFill>
            </c:spPr>
            <c:extLst>
              <c:ext xmlns:c16="http://schemas.microsoft.com/office/drawing/2014/chart" uri="{C3380CC4-5D6E-409C-BE32-E72D297353CC}">
                <c16:uniqueId val="{0000048D-6BA1-4C47-8A73-023BF2903B93}"/>
              </c:ext>
            </c:extLst>
          </c:dPt>
          <c:dPt>
            <c:idx val="582"/>
            <c:invertIfNegative val="1"/>
            <c:bubble3D val="0"/>
            <c:spPr>
              <a:solidFill>
                <a:srgbClr val="AEABAB"/>
              </a:solidFill>
            </c:spPr>
            <c:extLst>
              <c:ext xmlns:c16="http://schemas.microsoft.com/office/drawing/2014/chart" uri="{C3380CC4-5D6E-409C-BE32-E72D297353CC}">
                <c16:uniqueId val="{0000048F-6BA1-4C47-8A73-023BF2903B93}"/>
              </c:ext>
            </c:extLst>
          </c:dPt>
          <c:dPt>
            <c:idx val="583"/>
            <c:invertIfNegative val="1"/>
            <c:bubble3D val="0"/>
            <c:spPr>
              <a:solidFill>
                <a:srgbClr val="AEABAB"/>
              </a:solidFill>
            </c:spPr>
            <c:extLst>
              <c:ext xmlns:c16="http://schemas.microsoft.com/office/drawing/2014/chart" uri="{C3380CC4-5D6E-409C-BE32-E72D297353CC}">
                <c16:uniqueId val="{00000491-6BA1-4C47-8A73-023BF2903B93}"/>
              </c:ext>
            </c:extLst>
          </c:dPt>
          <c:dPt>
            <c:idx val="584"/>
            <c:invertIfNegative val="1"/>
            <c:bubble3D val="0"/>
            <c:spPr>
              <a:solidFill>
                <a:srgbClr val="AEABAB"/>
              </a:solidFill>
            </c:spPr>
            <c:extLst>
              <c:ext xmlns:c16="http://schemas.microsoft.com/office/drawing/2014/chart" uri="{C3380CC4-5D6E-409C-BE32-E72D297353CC}">
                <c16:uniqueId val="{00000493-6BA1-4C47-8A73-023BF2903B93}"/>
              </c:ext>
            </c:extLst>
          </c:dPt>
          <c:dPt>
            <c:idx val="585"/>
            <c:invertIfNegative val="1"/>
            <c:bubble3D val="0"/>
            <c:spPr>
              <a:solidFill>
                <a:srgbClr val="AEABAB"/>
              </a:solidFill>
            </c:spPr>
            <c:extLst>
              <c:ext xmlns:c16="http://schemas.microsoft.com/office/drawing/2014/chart" uri="{C3380CC4-5D6E-409C-BE32-E72D297353CC}">
                <c16:uniqueId val="{00000495-6BA1-4C47-8A73-023BF2903B93}"/>
              </c:ext>
            </c:extLst>
          </c:dPt>
          <c:dPt>
            <c:idx val="586"/>
            <c:invertIfNegative val="1"/>
            <c:bubble3D val="0"/>
            <c:spPr>
              <a:solidFill>
                <a:srgbClr val="AEABAB"/>
              </a:solidFill>
            </c:spPr>
            <c:extLst>
              <c:ext xmlns:c16="http://schemas.microsoft.com/office/drawing/2014/chart" uri="{C3380CC4-5D6E-409C-BE32-E72D297353CC}">
                <c16:uniqueId val="{00000497-6BA1-4C47-8A73-023BF2903B93}"/>
              </c:ext>
            </c:extLst>
          </c:dPt>
          <c:dPt>
            <c:idx val="587"/>
            <c:invertIfNegative val="1"/>
            <c:bubble3D val="0"/>
            <c:spPr>
              <a:solidFill>
                <a:srgbClr val="AEABAB"/>
              </a:solidFill>
            </c:spPr>
            <c:extLst>
              <c:ext xmlns:c16="http://schemas.microsoft.com/office/drawing/2014/chart" uri="{C3380CC4-5D6E-409C-BE32-E72D297353CC}">
                <c16:uniqueId val="{00000499-6BA1-4C47-8A73-023BF2903B93}"/>
              </c:ext>
            </c:extLst>
          </c:dPt>
          <c:dPt>
            <c:idx val="588"/>
            <c:invertIfNegative val="1"/>
            <c:bubble3D val="0"/>
            <c:spPr>
              <a:solidFill>
                <a:srgbClr val="AEABAB"/>
              </a:solidFill>
            </c:spPr>
            <c:extLst>
              <c:ext xmlns:c16="http://schemas.microsoft.com/office/drawing/2014/chart" uri="{C3380CC4-5D6E-409C-BE32-E72D297353CC}">
                <c16:uniqueId val="{0000049B-6BA1-4C47-8A73-023BF2903B93}"/>
              </c:ext>
            </c:extLst>
          </c:dPt>
          <c:dPt>
            <c:idx val="589"/>
            <c:invertIfNegative val="1"/>
            <c:bubble3D val="0"/>
            <c:spPr>
              <a:solidFill>
                <a:srgbClr val="AEABAB"/>
              </a:solidFill>
            </c:spPr>
            <c:extLst>
              <c:ext xmlns:c16="http://schemas.microsoft.com/office/drawing/2014/chart" uri="{C3380CC4-5D6E-409C-BE32-E72D297353CC}">
                <c16:uniqueId val="{0000049D-6BA1-4C47-8A73-023BF2903B93}"/>
              </c:ext>
            </c:extLst>
          </c:dPt>
          <c:dPt>
            <c:idx val="590"/>
            <c:invertIfNegative val="1"/>
            <c:bubble3D val="0"/>
            <c:spPr>
              <a:solidFill>
                <a:srgbClr val="AEABAB"/>
              </a:solidFill>
            </c:spPr>
            <c:extLst>
              <c:ext xmlns:c16="http://schemas.microsoft.com/office/drawing/2014/chart" uri="{C3380CC4-5D6E-409C-BE32-E72D297353CC}">
                <c16:uniqueId val="{0000049F-6BA1-4C47-8A73-023BF2903B93}"/>
              </c:ext>
            </c:extLst>
          </c:dPt>
          <c:dPt>
            <c:idx val="591"/>
            <c:invertIfNegative val="1"/>
            <c:bubble3D val="0"/>
            <c:spPr>
              <a:solidFill>
                <a:srgbClr val="AEABAB"/>
              </a:solidFill>
            </c:spPr>
            <c:extLst>
              <c:ext xmlns:c16="http://schemas.microsoft.com/office/drawing/2014/chart" uri="{C3380CC4-5D6E-409C-BE32-E72D297353CC}">
                <c16:uniqueId val="{000004A1-6BA1-4C47-8A73-023BF2903B93}"/>
              </c:ext>
            </c:extLst>
          </c:dPt>
          <c:dPt>
            <c:idx val="592"/>
            <c:invertIfNegative val="1"/>
            <c:bubble3D val="0"/>
            <c:spPr>
              <a:solidFill>
                <a:srgbClr val="AEABAB"/>
              </a:solidFill>
            </c:spPr>
            <c:extLst>
              <c:ext xmlns:c16="http://schemas.microsoft.com/office/drawing/2014/chart" uri="{C3380CC4-5D6E-409C-BE32-E72D297353CC}">
                <c16:uniqueId val="{000004A3-6BA1-4C47-8A73-023BF2903B93}"/>
              </c:ext>
            </c:extLst>
          </c:dPt>
          <c:dPt>
            <c:idx val="593"/>
            <c:invertIfNegative val="1"/>
            <c:bubble3D val="0"/>
            <c:spPr>
              <a:solidFill>
                <a:srgbClr val="AEABAB"/>
              </a:solidFill>
            </c:spPr>
            <c:extLst>
              <c:ext xmlns:c16="http://schemas.microsoft.com/office/drawing/2014/chart" uri="{C3380CC4-5D6E-409C-BE32-E72D297353CC}">
                <c16:uniqueId val="{000004A5-6BA1-4C47-8A73-023BF2903B93}"/>
              </c:ext>
            </c:extLst>
          </c:dPt>
          <c:dPt>
            <c:idx val="594"/>
            <c:invertIfNegative val="1"/>
            <c:bubble3D val="0"/>
            <c:spPr>
              <a:solidFill>
                <a:srgbClr val="AEABAB"/>
              </a:solidFill>
            </c:spPr>
            <c:extLst>
              <c:ext xmlns:c16="http://schemas.microsoft.com/office/drawing/2014/chart" uri="{C3380CC4-5D6E-409C-BE32-E72D297353CC}">
                <c16:uniqueId val="{000004A7-6BA1-4C47-8A73-023BF2903B93}"/>
              </c:ext>
            </c:extLst>
          </c:dPt>
          <c:dPt>
            <c:idx val="595"/>
            <c:invertIfNegative val="1"/>
            <c:bubble3D val="0"/>
            <c:spPr>
              <a:solidFill>
                <a:srgbClr val="AEABAB"/>
              </a:solidFill>
            </c:spPr>
            <c:extLst>
              <c:ext xmlns:c16="http://schemas.microsoft.com/office/drawing/2014/chart" uri="{C3380CC4-5D6E-409C-BE32-E72D297353CC}">
                <c16:uniqueId val="{000004A9-6BA1-4C47-8A73-023BF2903B93}"/>
              </c:ext>
            </c:extLst>
          </c:dPt>
          <c:dPt>
            <c:idx val="596"/>
            <c:invertIfNegative val="1"/>
            <c:bubble3D val="0"/>
            <c:spPr>
              <a:solidFill>
                <a:srgbClr val="AEABAB"/>
              </a:solidFill>
            </c:spPr>
            <c:extLst>
              <c:ext xmlns:c16="http://schemas.microsoft.com/office/drawing/2014/chart" uri="{C3380CC4-5D6E-409C-BE32-E72D297353CC}">
                <c16:uniqueId val="{000004AB-6BA1-4C47-8A73-023BF2903B93}"/>
              </c:ext>
            </c:extLst>
          </c:dPt>
          <c:dPt>
            <c:idx val="597"/>
            <c:invertIfNegative val="1"/>
            <c:bubble3D val="0"/>
            <c:spPr>
              <a:solidFill>
                <a:srgbClr val="AEABAB"/>
              </a:solidFill>
            </c:spPr>
            <c:extLst>
              <c:ext xmlns:c16="http://schemas.microsoft.com/office/drawing/2014/chart" uri="{C3380CC4-5D6E-409C-BE32-E72D297353CC}">
                <c16:uniqueId val="{000004AD-6BA1-4C47-8A73-023BF2903B93}"/>
              </c:ext>
            </c:extLst>
          </c:dPt>
          <c:dPt>
            <c:idx val="598"/>
            <c:invertIfNegative val="1"/>
            <c:bubble3D val="0"/>
            <c:spPr>
              <a:solidFill>
                <a:srgbClr val="AEABAB"/>
              </a:solidFill>
            </c:spPr>
            <c:extLst>
              <c:ext xmlns:c16="http://schemas.microsoft.com/office/drawing/2014/chart" uri="{C3380CC4-5D6E-409C-BE32-E72D297353CC}">
                <c16:uniqueId val="{000004AF-6BA1-4C47-8A73-023BF2903B93}"/>
              </c:ext>
            </c:extLst>
          </c:dPt>
          <c:dPt>
            <c:idx val="599"/>
            <c:invertIfNegative val="1"/>
            <c:bubble3D val="0"/>
            <c:spPr>
              <a:solidFill>
                <a:srgbClr val="AEABAB"/>
              </a:solidFill>
            </c:spPr>
            <c:extLst>
              <c:ext xmlns:c16="http://schemas.microsoft.com/office/drawing/2014/chart" uri="{C3380CC4-5D6E-409C-BE32-E72D297353CC}">
                <c16:uniqueId val="{000004B1-6BA1-4C47-8A73-023BF2903B93}"/>
              </c:ext>
            </c:extLst>
          </c:dPt>
          <c:dPt>
            <c:idx val="600"/>
            <c:invertIfNegative val="1"/>
            <c:bubble3D val="0"/>
            <c:spPr>
              <a:solidFill>
                <a:srgbClr val="AEABAB"/>
              </a:solidFill>
            </c:spPr>
            <c:extLst>
              <c:ext xmlns:c16="http://schemas.microsoft.com/office/drawing/2014/chart" uri="{C3380CC4-5D6E-409C-BE32-E72D297353CC}">
                <c16:uniqueId val="{000004B3-6BA1-4C47-8A73-023BF2903B93}"/>
              </c:ext>
            </c:extLst>
          </c:dPt>
          <c:dPt>
            <c:idx val="601"/>
            <c:invertIfNegative val="1"/>
            <c:bubble3D val="0"/>
            <c:spPr>
              <a:solidFill>
                <a:srgbClr val="AEABAB"/>
              </a:solidFill>
            </c:spPr>
            <c:extLst>
              <c:ext xmlns:c16="http://schemas.microsoft.com/office/drawing/2014/chart" uri="{C3380CC4-5D6E-409C-BE32-E72D297353CC}">
                <c16:uniqueId val="{000004B5-6BA1-4C47-8A73-023BF2903B93}"/>
              </c:ext>
            </c:extLst>
          </c:dPt>
          <c:dPt>
            <c:idx val="602"/>
            <c:invertIfNegative val="1"/>
            <c:bubble3D val="0"/>
            <c:spPr>
              <a:solidFill>
                <a:srgbClr val="AEABAB"/>
              </a:solidFill>
            </c:spPr>
            <c:extLst>
              <c:ext xmlns:c16="http://schemas.microsoft.com/office/drawing/2014/chart" uri="{C3380CC4-5D6E-409C-BE32-E72D297353CC}">
                <c16:uniqueId val="{000004B7-6BA1-4C47-8A73-023BF2903B93}"/>
              </c:ext>
            </c:extLst>
          </c:dPt>
          <c:dPt>
            <c:idx val="603"/>
            <c:invertIfNegative val="1"/>
            <c:bubble3D val="0"/>
            <c:spPr>
              <a:solidFill>
                <a:srgbClr val="AEABAB"/>
              </a:solidFill>
            </c:spPr>
            <c:extLst>
              <c:ext xmlns:c16="http://schemas.microsoft.com/office/drawing/2014/chart" uri="{C3380CC4-5D6E-409C-BE32-E72D297353CC}">
                <c16:uniqueId val="{000004B9-6BA1-4C47-8A73-023BF2903B93}"/>
              </c:ext>
            </c:extLst>
          </c:dPt>
          <c:dPt>
            <c:idx val="604"/>
            <c:invertIfNegative val="1"/>
            <c:bubble3D val="0"/>
            <c:spPr>
              <a:solidFill>
                <a:srgbClr val="AEABAB"/>
              </a:solidFill>
            </c:spPr>
            <c:extLst>
              <c:ext xmlns:c16="http://schemas.microsoft.com/office/drawing/2014/chart" uri="{C3380CC4-5D6E-409C-BE32-E72D297353CC}">
                <c16:uniqueId val="{000004BB-6BA1-4C47-8A73-023BF2903B93}"/>
              </c:ext>
            </c:extLst>
          </c:dPt>
          <c:dPt>
            <c:idx val="605"/>
            <c:invertIfNegative val="1"/>
            <c:bubble3D val="0"/>
            <c:spPr>
              <a:solidFill>
                <a:srgbClr val="AEABAB"/>
              </a:solidFill>
            </c:spPr>
            <c:extLst>
              <c:ext xmlns:c16="http://schemas.microsoft.com/office/drawing/2014/chart" uri="{C3380CC4-5D6E-409C-BE32-E72D297353CC}">
                <c16:uniqueId val="{000004BD-6BA1-4C47-8A73-023BF2903B93}"/>
              </c:ext>
            </c:extLst>
          </c:dPt>
          <c:dPt>
            <c:idx val="606"/>
            <c:invertIfNegative val="1"/>
            <c:bubble3D val="0"/>
            <c:spPr>
              <a:solidFill>
                <a:srgbClr val="AEABAB"/>
              </a:solidFill>
            </c:spPr>
            <c:extLst>
              <c:ext xmlns:c16="http://schemas.microsoft.com/office/drawing/2014/chart" uri="{C3380CC4-5D6E-409C-BE32-E72D297353CC}">
                <c16:uniqueId val="{000004BF-6BA1-4C47-8A73-023BF2903B93}"/>
              </c:ext>
            </c:extLst>
          </c:dPt>
          <c:dPt>
            <c:idx val="607"/>
            <c:invertIfNegative val="1"/>
            <c:bubble3D val="0"/>
            <c:spPr>
              <a:solidFill>
                <a:srgbClr val="AEABAB"/>
              </a:solidFill>
            </c:spPr>
            <c:extLst>
              <c:ext xmlns:c16="http://schemas.microsoft.com/office/drawing/2014/chart" uri="{C3380CC4-5D6E-409C-BE32-E72D297353CC}">
                <c16:uniqueId val="{000004C1-6BA1-4C47-8A73-023BF2903B93}"/>
              </c:ext>
            </c:extLst>
          </c:dPt>
          <c:dPt>
            <c:idx val="608"/>
            <c:invertIfNegative val="1"/>
            <c:bubble3D val="0"/>
            <c:spPr>
              <a:solidFill>
                <a:srgbClr val="AEABAB"/>
              </a:solidFill>
            </c:spPr>
            <c:extLst>
              <c:ext xmlns:c16="http://schemas.microsoft.com/office/drawing/2014/chart" uri="{C3380CC4-5D6E-409C-BE32-E72D297353CC}">
                <c16:uniqueId val="{000004C3-6BA1-4C47-8A73-023BF2903B93}"/>
              </c:ext>
            </c:extLst>
          </c:dPt>
          <c:dPt>
            <c:idx val="609"/>
            <c:invertIfNegative val="1"/>
            <c:bubble3D val="0"/>
            <c:spPr>
              <a:solidFill>
                <a:srgbClr val="AEABAB"/>
              </a:solidFill>
            </c:spPr>
            <c:extLst>
              <c:ext xmlns:c16="http://schemas.microsoft.com/office/drawing/2014/chart" uri="{C3380CC4-5D6E-409C-BE32-E72D297353CC}">
                <c16:uniqueId val="{000004C5-6BA1-4C47-8A73-023BF2903B93}"/>
              </c:ext>
            </c:extLst>
          </c:dPt>
          <c:dPt>
            <c:idx val="610"/>
            <c:invertIfNegative val="1"/>
            <c:bubble3D val="0"/>
            <c:spPr>
              <a:solidFill>
                <a:srgbClr val="AEABAB"/>
              </a:solidFill>
            </c:spPr>
            <c:extLst>
              <c:ext xmlns:c16="http://schemas.microsoft.com/office/drawing/2014/chart" uri="{C3380CC4-5D6E-409C-BE32-E72D297353CC}">
                <c16:uniqueId val="{000004C7-6BA1-4C47-8A73-023BF2903B93}"/>
              </c:ext>
            </c:extLst>
          </c:dPt>
          <c:dPt>
            <c:idx val="611"/>
            <c:invertIfNegative val="1"/>
            <c:bubble3D val="0"/>
            <c:spPr>
              <a:solidFill>
                <a:srgbClr val="AEABAB"/>
              </a:solidFill>
            </c:spPr>
            <c:extLst>
              <c:ext xmlns:c16="http://schemas.microsoft.com/office/drawing/2014/chart" uri="{C3380CC4-5D6E-409C-BE32-E72D297353CC}">
                <c16:uniqueId val="{000004C9-6BA1-4C47-8A73-023BF2903B93}"/>
              </c:ext>
            </c:extLst>
          </c:dPt>
          <c:dPt>
            <c:idx val="612"/>
            <c:invertIfNegative val="1"/>
            <c:bubble3D val="0"/>
            <c:spPr>
              <a:solidFill>
                <a:srgbClr val="AEABAB"/>
              </a:solidFill>
            </c:spPr>
            <c:extLst>
              <c:ext xmlns:c16="http://schemas.microsoft.com/office/drawing/2014/chart" uri="{C3380CC4-5D6E-409C-BE32-E72D297353CC}">
                <c16:uniqueId val="{000004CB-6BA1-4C47-8A73-023BF2903B93}"/>
              </c:ext>
            </c:extLst>
          </c:dPt>
          <c:dPt>
            <c:idx val="613"/>
            <c:invertIfNegative val="1"/>
            <c:bubble3D val="0"/>
            <c:spPr>
              <a:solidFill>
                <a:srgbClr val="AEABAB"/>
              </a:solidFill>
            </c:spPr>
            <c:extLst>
              <c:ext xmlns:c16="http://schemas.microsoft.com/office/drawing/2014/chart" uri="{C3380CC4-5D6E-409C-BE32-E72D297353CC}">
                <c16:uniqueId val="{000004CD-6BA1-4C47-8A73-023BF2903B93}"/>
              </c:ext>
            </c:extLst>
          </c:dPt>
          <c:dPt>
            <c:idx val="614"/>
            <c:invertIfNegative val="1"/>
            <c:bubble3D val="0"/>
            <c:spPr>
              <a:solidFill>
                <a:srgbClr val="AEABAB"/>
              </a:solidFill>
            </c:spPr>
            <c:extLst>
              <c:ext xmlns:c16="http://schemas.microsoft.com/office/drawing/2014/chart" uri="{C3380CC4-5D6E-409C-BE32-E72D297353CC}">
                <c16:uniqueId val="{000004CF-6BA1-4C47-8A73-023BF2903B93}"/>
              </c:ext>
            </c:extLst>
          </c:dPt>
          <c:dPt>
            <c:idx val="615"/>
            <c:invertIfNegative val="1"/>
            <c:bubble3D val="0"/>
            <c:spPr>
              <a:solidFill>
                <a:srgbClr val="AEABAB"/>
              </a:solidFill>
            </c:spPr>
            <c:extLst>
              <c:ext xmlns:c16="http://schemas.microsoft.com/office/drawing/2014/chart" uri="{C3380CC4-5D6E-409C-BE32-E72D297353CC}">
                <c16:uniqueId val="{000004D1-6BA1-4C47-8A73-023BF2903B93}"/>
              </c:ext>
            </c:extLst>
          </c:dPt>
          <c:dPt>
            <c:idx val="616"/>
            <c:invertIfNegative val="1"/>
            <c:bubble3D val="0"/>
            <c:spPr>
              <a:solidFill>
                <a:srgbClr val="AEABAB"/>
              </a:solidFill>
            </c:spPr>
            <c:extLst>
              <c:ext xmlns:c16="http://schemas.microsoft.com/office/drawing/2014/chart" uri="{C3380CC4-5D6E-409C-BE32-E72D297353CC}">
                <c16:uniqueId val="{000004D3-6BA1-4C47-8A73-023BF2903B93}"/>
              </c:ext>
            </c:extLst>
          </c:dPt>
          <c:dPt>
            <c:idx val="617"/>
            <c:invertIfNegative val="1"/>
            <c:bubble3D val="0"/>
            <c:spPr>
              <a:solidFill>
                <a:srgbClr val="AEABAB"/>
              </a:solidFill>
            </c:spPr>
            <c:extLst>
              <c:ext xmlns:c16="http://schemas.microsoft.com/office/drawing/2014/chart" uri="{C3380CC4-5D6E-409C-BE32-E72D297353CC}">
                <c16:uniqueId val="{000004D5-6BA1-4C47-8A73-023BF2903B93}"/>
              </c:ext>
            </c:extLst>
          </c:dPt>
          <c:dPt>
            <c:idx val="618"/>
            <c:invertIfNegative val="1"/>
            <c:bubble3D val="0"/>
            <c:spPr>
              <a:solidFill>
                <a:srgbClr val="AEABAB"/>
              </a:solidFill>
            </c:spPr>
            <c:extLst>
              <c:ext xmlns:c16="http://schemas.microsoft.com/office/drawing/2014/chart" uri="{C3380CC4-5D6E-409C-BE32-E72D297353CC}">
                <c16:uniqueId val="{000004D7-6BA1-4C47-8A73-023BF2903B93}"/>
              </c:ext>
            </c:extLst>
          </c:dPt>
          <c:dPt>
            <c:idx val="619"/>
            <c:invertIfNegative val="1"/>
            <c:bubble3D val="0"/>
            <c:spPr>
              <a:solidFill>
                <a:srgbClr val="AEABAB"/>
              </a:solidFill>
            </c:spPr>
            <c:extLst>
              <c:ext xmlns:c16="http://schemas.microsoft.com/office/drawing/2014/chart" uri="{C3380CC4-5D6E-409C-BE32-E72D297353CC}">
                <c16:uniqueId val="{000004D9-6BA1-4C47-8A73-023BF2903B93}"/>
              </c:ext>
            </c:extLst>
          </c:dPt>
          <c:dPt>
            <c:idx val="620"/>
            <c:invertIfNegative val="1"/>
            <c:bubble3D val="0"/>
            <c:spPr>
              <a:solidFill>
                <a:srgbClr val="AEABAB"/>
              </a:solidFill>
            </c:spPr>
            <c:extLst>
              <c:ext xmlns:c16="http://schemas.microsoft.com/office/drawing/2014/chart" uri="{C3380CC4-5D6E-409C-BE32-E72D297353CC}">
                <c16:uniqueId val="{000004DB-6BA1-4C47-8A73-023BF2903B93}"/>
              </c:ext>
            </c:extLst>
          </c:dPt>
          <c:dPt>
            <c:idx val="621"/>
            <c:invertIfNegative val="1"/>
            <c:bubble3D val="0"/>
            <c:spPr>
              <a:solidFill>
                <a:srgbClr val="AEABAB"/>
              </a:solidFill>
            </c:spPr>
            <c:extLst>
              <c:ext xmlns:c16="http://schemas.microsoft.com/office/drawing/2014/chart" uri="{C3380CC4-5D6E-409C-BE32-E72D297353CC}">
                <c16:uniqueId val="{000004DD-6BA1-4C47-8A73-023BF2903B93}"/>
              </c:ext>
            </c:extLst>
          </c:dPt>
          <c:dPt>
            <c:idx val="622"/>
            <c:invertIfNegative val="1"/>
            <c:bubble3D val="0"/>
            <c:spPr>
              <a:solidFill>
                <a:srgbClr val="AEABAB"/>
              </a:solidFill>
            </c:spPr>
            <c:extLst>
              <c:ext xmlns:c16="http://schemas.microsoft.com/office/drawing/2014/chart" uri="{C3380CC4-5D6E-409C-BE32-E72D297353CC}">
                <c16:uniqueId val="{000004DF-6BA1-4C47-8A73-023BF2903B93}"/>
              </c:ext>
            </c:extLst>
          </c:dPt>
          <c:dPt>
            <c:idx val="623"/>
            <c:invertIfNegative val="1"/>
            <c:bubble3D val="0"/>
            <c:spPr>
              <a:solidFill>
                <a:srgbClr val="AEABAB"/>
              </a:solidFill>
            </c:spPr>
            <c:extLst>
              <c:ext xmlns:c16="http://schemas.microsoft.com/office/drawing/2014/chart" uri="{C3380CC4-5D6E-409C-BE32-E72D297353CC}">
                <c16:uniqueId val="{000004E1-6BA1-4C47-8A73-023BF2903B93}"/>
              </c:ext>
            </c:extLst>
          </c:dPt>
          <c:dPt>
            <c:idx val="624"/>
            <c:invertIfNegative val="1"/>
            <c:bubble3D val="0"/>
            <c:spPr>
              <a:solidFill>
                <a:srgbClr val="AEABAB"/>
              </a:solidFill>
            </c:spPr>
            <c:extLst>
              <c:ext xmlns:c16="http://schemas.microsoft.com/office/drawing/2014/chart" uri="{C3380CC4-5D6E-409C-BE32-E72D297353CC}">
                <c16:uniqueId val="{000004E3-6BA1-4C47-8A73-023BF2903B93}"/>
              </c:ext>
            </c:extLst>
          </c:dPt>
          <c:dPt>
            <c:idx val="625"/>
            <c:invertIfNegative val="1"/>
            <c:bubble3D val="0"/>
            <c:spPr>
              <a:solidFill>
                <a:srgbClr val="AEABAB"/>
              </a:solidFill>
            </c:spPr>
            <c:extLst>
              <c:ext xmlns:c16="http://schemas.microsoft.com/office/drawing/2014/chart" uri="{C3380CC4-5D6E-409C-BE32-E72D297353CC}">
                <c16:uniqueId val="{000004E5-6BA1-4C47-8A73-023BF2903B93}"/>
              </c:ext>
            </c:extLst>
          </c:dPt>
          <c:dPt>
            <c:idx val="626"/>
            <c:invertIfNegative val="1"/>
            <c:bubble3D val="0"/>
            <c:spPr>
              <a:solidFill>
                <a:srgbClr val="AEABAB"/>
              </a:solidFill>
            </c:spPr>
            <c:extLst>
              <c:ext xmlns:c16="http://schemas.microsoft.com/office/drawing/2014/chart" uri="{C3380CC4-5D6E-409C-BE32-E72D297353CC}">
                <c16:uniqueId val="{000004E7-6BA1-4C47-8A73-023BF2903B93}"/>
              </c:ext>
            </c:extLst>
          </c:dPt>
          <c:dPt>
            <c:idx val="627"/>
            <c:invertIfNegative val="1"/>
            <c:bubble3D val="0"/>
            <c:spPr>
              <a:solidFill>
                <a:srgbClr val="AEABAB"/>
              </a:solidFill>
            </c:spPr>
            <c:extLst>
              <c:ext xmlns:c16="http://schemas.microsoft.com/office/drawing/2014/chart" uri="{C3380CC4-5D6E-409C-BE32-E72D297353CC}">
                <c16:uniqueId val="{000004E9-6BA1-4C47-8A73-023BF2903B93}"/>
              </c:ext>
            </c:extLst>
          </c:dPt>
          <c:dPt>
            <c:idx val="628"/>
            <c:invertIfNegative val="1"/>
            <c:bubble3D val="0"/>
            <c:spPr>
              <a:solidFill>
                <a:srgbClr val="AEABAB"/>
              </a:solidFill>
            </c:spPr>
            <c:extLst>
              <c:ext xmlns:c16="http://schemas.microsoft.com/office/drawing/2014/chart" uri="{C3380CC4-5D6E-409C-BE32-E72D297353CC}">
                <c16:uniqueId val="{000004EB-6BA1-4C47-8A73-023BF2903B93}"/>
              </c:ext>
            </c:extLst>
          </c:dPt>
          <c:dPt>
            <c:idx val="629"/>
            <c:invertIfNegative val="1"/>
            <c:bubble3D val="0"/>
            <c:spPr>
              <a:solidFill>
                <a:srgbClr val="AEABAB"/>
              </a:solidFill>
            </c:spPr>
            <c:extLst>
              <c:ext xmlns:c16="http://schemas.microsoft.com/office/drawing/2014/chart" uri="{C3380CC4-5D6E-409C-BE32-E72D297353CC}">
                <c16:uniqueId val="{000004ED-6BA1-4C47-8A73-023BF2903B93}"/>
              </c:ext>
            </c:extLst>
          </c:dPt>
          <c:dPt>
            <c:idx val="630"/>
            <c:invertIfNegative val="1"/>
            <c:bubble3D val="0"/>
            <c:spPr>
              <a:solidFill>
                <a:srgbClr val="AEABAB"/>
              </a:solidFill>
            </c:spPr>
            <c:extLst>
              <c:ext xmlns:c16="http://schemas.microsoft.com/office/drawing/2014/chart" uri="{C3380CC4-5D6E-409C-BE32-E72D297353CC}">
                <c16:uniqueId val="{000004EF-6BA1-4C47-8A73-023BF2903B93}"/>
              </c:ext>
            </c:extLst>
          </c:dPt>
          <c:dPt>
            <c:idx val="631"/>
            <c:invertIfNegative val="1"/>
            <c:bubble3D val="0"/>
            <c:spPr>
              <a:solidFill>
                <a:srgbClr val="AEABAB"/>
              </a:solidFill>
            </c:spPr>
            <c:extLst>
              <c:ext xmlns:c16="http://schemas.microsoft.com/office/drawing/2014/chart" uri="{C3380CC4-5D6E-409C-BE32-E72D297353CC}">
                <c16:uniqueId val="{000004F1-6BA1-4C47-8A73-023BF2903B93}"/>
              </c:ext>
            </c:extLst>
          </c:dPt>
          <c:dPt>
            <c:idx val="632"/>
            <c:invertIfNegative val="1"/>
            <c:bubble3D val="0"/>
            <c:spPr>
              <a:solidFill>
                <a:srgbClr val="AEABAB"/>
              </a:solidFill>
            </c:spPr>
            <c:extLst>
              <c:ext xmlns:c16="http://schemas.microsoft.com/office/drawing/2014/chart" uri="{C3380CC4-5D6E-409C-BE32-E72D297353CC}">
                <c16:uniqueId val="{000004F3-6BA1-4C47-8A73-023BF2903B93}"/>
              </c:ext>
            </c:extLst>
          </c:dPt>
          <c:dPt>
            <c:idx val="633"/>
            <c:invertIfNegative val="1"/>
            <c:bubble3D val="0"/>
            <c:spPr>
              <a:solidFill>
                <a:srgbClr val="AEABAB"/>
              </a:solidFill>
            </c:spPr>
            <c:extLst>
              <c:ext xmlns:c16="http://schemas.microsoft.com/office/drawing/2014/chart" uri="{C3380CC4-5D6E-409C-BE32-E72D297353CC}">
                <c16:uniqueId val="{000004F5-6BA1-4C47-8A73-023BF2903B93}"/>
              </c:ext>
            </c:extLst>
          </c:dPt>
          <c:dPt>
            <c:idx val="634"/>
            <c:invertIfNegative val="1"/>
            <c:bubble3D val="0"/>
            <c:spPr>
              <a:solidFill>
                <a:srgbClr val="AEABAB"/>
              </a:solidFill>
            </c:spPr>
            <c:extLst>
              <c:ext xmlns:c16="http://schemas.microsoft.com/office/drawing/2014/chart" uri="{C3380CC4-5D6E-409C-BE32-E72D297353CC}">
                <c16:uniqueId val="{000004F7-6BA1-4C47-8A73-023BF2903B93}"/>
              </c:ext>
            </c:extLst>
          </c:dPt>
          <c:dPt>
            <c:idx val="635"/>
            <c:invertIfNegative val="1"/>
            <c:bubble3D val="0"/>
            <c:spPr>
              <a:solidFill>
                <a:srgbClr val="AEABAB"/>
              </a:solidFill>
            </c:spPr>
            <c:extLst>
              <c:ext xmlns:c16="http://schemas.microsoft.com/office/drawing/2014/chart" uri="{C3380CC4-5D6E-409C-BE32-E72D297353CC}">
                <c16:uniqueId val="{000004F9-6BA1-4C47-8A73-023BF2903B93}"/>
              </c:ext>
            </c:extLst>
          </c:dPt>
          <c:dPt>
            <c:idx val="636"/>
            <c:invertIfNegative val="1"/>
            <c:bubble3D val="0"/>
            <c:spPr>
              <a:solidFill>
                <a:srgbClr val="AEABAB"/>
              </a:solidFill>
            </c:spPr>
            <c:extLst>
              <c:ext xmlns:c16="http://schemas.microsoft.com/office/drawing/2014/chart" uri="{C3380CC4-5D6E-409C-BE32-E72D297353CC}">
                <c16:uniqueId val="{000004FB-6BA1-4C47-8A73-023BF2903B93}"/>
              </c:ext>
            </c:extLst>
          </c:dPt>
          <c:dPt>
            <c:idx val="637"/>
            <c:invertIfNegative val="1"/>
            <c:bubble3D val="0"/>
            <c:spPr>
              <a:solidFill>
                <a:srgbClr val="AEABAB"/>
              </a:solidFill>
            </c:spPr>
            <c:extLst>
              <c:ext xmlns:c16="http://schemas.microsoft.com/office/drawing/2014/chart" uri="{C3380CC4-5D6E-409C-BE32-E72D297353CC}">
                <c16:uniqueId val="{000004FD-6BA1-4C47-8A73-023BF2903B93}"/>
              </c:ext>
            </c:extLst>
          </c:dPt>
          <c:dPt>
            <c:idx val="638"/>
            <c:invertIfNegative val="1"/>
            <c:bubble3D val="0"/>
            <c:spPr>
              <a:solidFill>
                <a:srgbClr val="AEABAB"/>
              </a:solidFill>
            </c:spPr>
            <c:extLst>
              <c:ext xmlns:c16="http://schemas.microsoft.com/office/drawing/2014/chart" uri="{C3380CC4-5D6E-409C-BE32-E72D297353CC}">
                <c16:uniqueId val="{000004FF-6BA1-4C47-8A73-023BF2903B93}"/>
              </c:ext>
            </c:extLst>
          </c:dPt>
          <c:dPt>
            <c:idx val="639"/>
            <c:invertIfNegative val="1"/>
            <c:bubble3D val="0"/>
            <c:spPr>
              <a:solidFill>
                <a:srgbClr val="AEABAB"/>
              </a:solidFill>
            </c:spPr>
            <c:extLst>
              <c:ext xmlns:c16="http://schemas.microsoft.com/office/drawing/2014/chart" uri="{C3380CC4-5D6E-409C-BE32-E72D297353CC}">
                <c16:uniqueId val="{00000501-6BA1-4C47-8A73-023BF2903B93}"/>
              </c:ext>
            </c:extLst>
          </c:dPt>
          <c:dPt>
            <c:idx val="640"/>
            <c:invertIfNegative val="1"/>
            <c:bubble3D val="0"/>
            <c:spPr>
              <a:solidFill>
                <a:srgbClr val="AEABAB"/>
              </a:solidFill>
            </c:spPr>
            <c:extLst>
              <c:ext xmlns:c16="http://schemas.microsoft.com/office/drawing/2014/chart" uri="{C3380CC4-5D6E-409C-BE32-E72D297353CC}">
                <c16:uniqueId val="{00000503-6BA1-4C47-8A73-023BF2903B93}"/>
              </c:ext>
            </c:extLst>
          </c:dPt>
          <c:dPt>
            <c:idx val="641"/>
            <c:invertIfNegative val="1"/>
            <c:bubble3D val="0"/>
            <c:spPr>
              <a:solidFill>
                <a:srgbClr val="AEABAB"/>
              </a:solidFill>
            </c:spPr>
            <c:extLst>
              <c:ext xmlns:c16="http://schemas.microsoft.com/office/drawing/2014/chart" uri="{C3380CC4-5D6E-409C-BE32-E72D297353CC}">
                <c16:uniqueId val="{00000505-6BA1-4C47-8A73-023BF2903B93}"/>
              </c:ext>
            </c:extLst>
          </c:dPt>
          <c:dPt>
            <c:idx val="642"/>
            <c:invertIfNegative val="1"/>
            <c:bubble3D val="0"/>
            <c:spPr>
              <a:solidFill>
                <a:srgbClr val="AEABAB"/>
              </a:solidFill>
            </c:spPr>
            <c:extLst>
              <c:ext xmlns:c16="http://schemas.microsoft.com/office/drawing/2014/chart" uri="{C3380CC4-5D6E-409C-BE32-E72D297353CC}">
                <c16:uniqueId val="{00000507-6BA1-4C47-8A73-023BF2903B93}"/>
              </c:ext>
            </c:extLst>
          </c:dPt>
          <c:dPt>
            <c:idx val="643"/>
            <c:invertIfNegative val="1"/>
            <c:bubble3D val="0"/>
            <c:spPr>
              <a:solidFill>
                <a:srgbClr val="AEABAB"/>
              </a:solidFill>
            </c:spPr>
            <c:extLst>
              <c:ext xmlns:c16="http://schemas.microsoft.com/office/drawing/2014/chart" uri="{C3380CC4-5D6E-409C-BE32-E72D297353CC}">
                <c16:uniqueId val="{00000509-6BA1-4C47-8A73-023BF2903B93}"/>
              </c:ext>
            </c:extLst>
          </c:dPt>
          <c:dPt>
            <c:idx val="644"/>
            <c:invertIfNegative val="1"/>
            <c:bubble3D val="0"/>
            <c:spPr>
              <a:solidFill>
                <a:srgbClr val="AEABAB"/>
              </a:solidFill>
            </c:spPr>
            <c:extLst>
              <c:ext xmlns:c16="http://schemas.microsoft.com/office/drawing/2014/chart" uri="{C3380CC4-5D6E-409C-BE32-E72D297353CC}">
                <c16:uniqueId val="{0000050B-6BA1-4C47-8A73-023BF2903B93}"/>
              </c:ext>
            </c:extLst>
          </c:dPt>
          <c:dPt>
            <c:idx val="645"/>
            <c:invertIfNegative val="1"/>
            <c:bubble3D val="0"/>
            <c:spPr>
              <a:solidFill>
                <a:srgbClr val="AEABAB"/>
              </a:solidFill>
            </c:spPr>
            <c:extLst>
              <c:ext xmlns:c16="http://schemas.microsoft.com/office/drawing/2014/chart" uri="{C3380CC4-5D6E-409C-BE32-E72D297353CC}">
                <c16:uniqueId val="{0000050D-6BA1-4C47-8A73-023BF2903B93}"/>
              </c:ext>
            </c:extLst>
          </c:dPt>
          <c:dPt>
            <c:idx val="646"/>
            <c:invertIfNegative val="1"/>
            <c:bubble3D val="0"/>
            <c:spPr>
              <a:solidFill>
                <a:srgbClr val="AEABAB"/>
              </a:solidFill>
            </c:spPr>
            <c:extLst>
              <c:ext xmlns:c16="http://schemas.microsoft.com/office/drawing/2014/chart" uri="{C3380CC4-5D6E-409C-BE32-E72D297353CC}">
                <c16:uniqueId val="{0000050F-6BA1-4C47-8A73-023BF2903B93}"/>
              </c:ext>
            </c:extLst>
          </c:dPt>
          <c:dPt>
            <c:idx val="647"/>
            <c:invertIfNegative val="1"/>
            <c:bubble3D val="0"/>
            <c:spPr>
              <a:solidFill>
                <a:srgbClr val="AEABAB"/>
              </a:solidFill>
            </c:spPr>
            <c:extLst>
              <c:ext xmlns:c16="http://schemas.microsoft.com/office/drawing/2014/chart" uri="{C3380CC4-5D6E-409C-BE32-E72D297353CC}">
                <c16:uniqueId val="{00000511-6BA1-4C47-8A73-023BF2903B93}"/>
              </c:ext>
            </c:extLst>
          </c:dPt>
          <c:dPt>
            <c:idx val="648"/>
            <c:invertIfNegative val="1"/>
            <c:bubble3D val="0"/>
            <c:spPr>
              <a:solidFill>
                <a:srgbClr val="AEABAB"/>
              </a:solidFill>
            </c:spPr>
            <c:extLst>
              <c:ext xmlns:c16="http://schemas.microsoft.com/office/drawing/2014/chart" uri="{C3380CC4-5D6E-409C-BE32-E72D297353CC}">
                <c16:uniqueId val="{00000513-6BA1-4C47-8A73-023BF2903B93}"/>
              </c:ext>
            </c:extLst>
          </c:dPt>
          <c:dPt>
            <c:idx val="649"/>
            <c:invertIfNegative val="1"/>
            <c:bubble3D val="0"/>
            <c:spPr>
              <a:solidFill>
                <a:srgbClr val="AEABAB"/>
              </a:solidFill>
            </c:spPr>
            <c:extLst>
              <c:ext xmlns:c16="http://schemas.microsoft.com/office/drawing/2014/chart" uri="{C3380CC4-5D6E-409C-BE32-E72D297353CC}">
                <c16:uniqueId val="{00000515-6BA1-4C47-8A73-023BF2903B93}"/>
              </c:ext>
            </c:extLst>
          </c:dPt>
          <c:dPt>
            <c:idx val="650"/>
            <c:invertIfNegative val="1"/>
            <c:bubble3D val="0"/>
            <c:spPr>
              <a:solidFill>
                <a:srgbClr val="AEABAB"/>
              </a:solidFill>
            </c:spPr>
            <c:extLst>
              <c:ext xmlns:c16="http://schemas.microsoft.com/office/drawing/2014/chart" uri="{C3380CC4-5D6E-409C-BE32-E72D297353CC}">
                <c16:uniqueId val="{00000517-6BA1-4C47-8A73-023BF2903B93}"/>
              </c:ext>
            </c:extLst>
          </c:dPt>
          <c:dPt>
            <c:idx val="651"/>
            <c:invertIfNegative val="1"/>
            <c:bubble3D val="0"/>
            <c:spPr>
              <a:solidFill>
                <a:srgbClr val="AEABAB"/>
              </a:solidFill>
            </c:spPr>
            <c:extLst>
              <c:ext xmlns:c16="http://schemas.microsoft.com/office/drawing/2014/chart" uri="{C3380CC4-5D6E-409C-BE32-E72D297353CC}">
                <c16:uniqueId val="{00000519-6BA1-4C47-8A73-023BF2903B93}"/>
              </c:ext>
            </c:extLst>
          </c:dPt>
          <c:dPt>
            <c:idx val="652"/>
            <c:invertIfNegative val="1"/>
            <c:bubble3D val="0"/>
            <c:spPr>
              <a:solidFill>
                <a:srgbClr val="AEABAB"/>
              </a:solidFill>
            </c:spPr>
            <c:extLst>
              <c:ext xmlns:c16="http://schemas.microsoft.com/office/drawing/2014/chart" uri="{C3380CC4-5D6E-409C-BE32-E72D297353CC}">
                <c16:uniqueId val="{0000051B-6BA1-4C47-8A73-023BF2903B93}"/>
              </c:ext>
            </c:extLst>
          </c:dPt>
          <c:dPt>
            <c:idx val="653"/>
            <c:invertIfNegative val="1"/>
            <c:bubble3D val="0"/>
            <c:spPr>
              <a:solidFill>
                <a:srgbClr val="AEABAB"/>
              </a:solidFill>
            </c:spPr>
            <c:extLst>
              <c:ext xmlns:c16="http://schemas.microsoft.com/office/drawing/2014/chart" uri="{C3380CC4-5D6E-409C-BE32-E72D297353CC}">
                <c16:uniqueId val="{0000051D-6BA1-4C47-8A73-023BF2903B93}"/>
              </c:ext>
            </c:extLst>
          </c:dPt>
          <c:dPt>
            <c:idx val="654"/>
            <c:invertIfNegative val="1"/>
            <c:bubble3D val="0"/>
            <c:spPr>
              <a:solidFill>
                <a:srgbClr val="AEABAB"/>
              </a:solidFill>
            </c:spPr>
            <c:extLst>
              <c:ext xmlns:c16="http://schemas.microsoft.com/office/drawing/2014/chart" uri="{C3380CC4-5D6E-409C-BE32-E72D297353CC}">
                <c16:uniqueId val="{0000051F-6BA1-4C47-8A73-023BF2903B93}"/>
              </c:ext>
            </c:extLst>
          </c:dPt>
          <c:dPt>
            <c:idx val="655"/>
            <c:invertIfNegative val="1"/>
            <c:bubble3D val="0"/>
            <c:spPr>
              <a:solidFill>
                <a:srgbClr val="AEABAB"/>
              </a:solidFill>
            </c:spPr>
            <c:extLst>
              <c:ext xmlns:c16="http://schemas.microsoft.com/office/drawing/2014/chart" uri="{C3380CC4-5D6E-409C-BE32-E72D297353CC}">
                <c16:uniqueId val="{00000521-6BA1-4C47-8A73-023BF2903B93}"/>
              </c:ext>
            </c:extLst>
          </c:dPt>
          <c:dPt>
            <c:idx val="656"/>
            <c:invertIfNegative val="1"/>
            <c:bubble3D val="0"/>
            <c:spPr>
              <a:solidFill>
                <a:srgbClr val="AEABAB"/>
              </a:solidFill>
            </c:spPr>
            <c:extLst>
              <c:ext xmlns:c16="http://schemas.microsoft.com/office/drawing/2014/chart" uri="{C3380CC4-5D6E-409C-BE32-E72D297353CC}">
                <c16:uniqueId val="{00000523-6BA1-4C47-8A73-023BF2903B93}"/>
              </c:ext>
            </c:extLst>
          </c:dPt>
          <c:dPt>
            <c:idx val="657"/>
            <c:invertIfNegative val="1"/>
            <c:bubble3D val="0"/>
            <c:spPr>
              <a:solidFill>
                <a:srgbClr val="AEABAB"/>
              </a:solidFill>
            </c:spPr>
            <c:extLst>
              <c:ext xmlns:c16="http://schemas.microsoft.com/office/drawing/2014/chart" uri="{C3380CC4-5D6E-409C-BE32-E72D297353CC}">
                <c16:uniqueId val="{00000525-6BA1-4C47-8A73-023BF2903B93}"/>
              </c:ext>
            </c:extLst>
          </c:dPt>
          <c:dPt>
            <c:idx val="658"/>
            <c:invertIfNegative val="1"/>
            <c:bubble3D val="0"/>
            <c:spPr>
              <a:solidFill>
                <a:srgbClr val="AEABAB"/>
              </a:solidFill>
            </c:spPr>
            <c:extLst>
              <c:ext xmlns:c16="http://schemas.microsoft.com/office/drawing/2014/chart" uri="{C3380CC4-5D6E-409C-BE32-E72D297353CC}">
                <c16:uniqueId val="{00000527-6BA1-4C47-8A73-023BF2903B93}"/>
              </c:ext>
            </c:extLst>
          </c:dPt>
          <c:dPt>
            <c:idx val="659"/>
            <c:invertIfNegative val="1"/>
            <c:bubble3D val="0"/>
            <c:spPr>
              <a:solidFill>
                <a:srgbClr val="AEABAB"/>
              </a:solidFill>
            </c:spPr>
            <c:extLst>
              <c:ext xmlns:c16="http://schemas.microsoft.com/office/drawing/2014/chart" uri="{C3380CC4-5D6E-409C-BE32-E72D297353CC}">
                <c16:uniqueId val="{00000529-6BA1-4C47-8A73-023BF2903B93}"/>
              </c:ext>
            </c:extLst>
          </c:dPt>
          <c:dPt>
            <c:idx val="660"/>
            <c:invertIfNegative val="1"/>
            <c:bubble3D val="0"/>
            <c:spPr>
              <a:solidFill>
                <a:srgbClr val="AEABAB"/>
              </a:solidFill>
            </c:spPr>
            <c:extLst>
              <c:ext xmlns:c16="http://schemas.microsoft.com/office/drawing/2014/chart" uri="{C3380CC4-5D6E-409C-BE32-E72D297353CC}">
                <c16:uniqueId val="{0000052B-6BA1-4C47-8A73-023BF2903B93}"/>
              </c:ext>
            </c:extLst>
          </c:dPt>
          <c:dPt>
            <c:idx val="661"/>
            <c:invertIfNegative val="1"/>
            <c:bubble3D val="0"/>
            <c:spPr>
              <a:solidFill>
                <a:srgbClr val="AEABAB"/>
              </a:solidFill>
            </c:spPr>
            <c:extLst>
              <c:ext xmlns:c16="http://schemas.microsoft.com/office/drawing/2014/chart" uri="{C3380CC4-5D6E-409C-BE32-E72D297353CC}">
                <c16:uniqueId val="{0000052D-6BA1-4C47-8A73-023BF2903B93}"/>
              </c:ext>
            </c:extLst>
          </c:dPt>
          <c:dPt>
            <c:idx val="662"/>
            <c:invertIfNegative val="1"/>
            <c:bubble3D val="0"/>
            <c:spPr>
              <a:solidFill>
                <a:srgbClr val="AEABAB"/>
              </a:solidFill>
            </c:spPr>
            <c:extLst>
              <c:ext xmlns:c16="http://schemas.microsoft.com/office/drawing/2014/chart" uri="{C3380CC4-5D6E-409C-BE32-E72D297353CC}">
                <c16:uniqueId val="{0000052F-6BA1-4C47-8A73-023BF2903B93}"/>
              </c:ext>
            </c:extLst>
          </c:dPt>
          <c:dPt>
            <c:idx val="663"/>
            <c:invertIfNegative val="1"/>
            <c:bubble3D val="0"/>
            <c:spPr>
              <a:solidFill>
                <a:srgbClr val="AEABAB"/>
              </a:solidFill>
            </c:spPr>
            <c:extLst>
              <c:ext xmlns:c16="http://schemas.microsoft.com/office/drawing/2014/chart" uri="{C3380CC4-5D6E-409C-BE32-E72D297353CC}">
                <c16:uniqueId val="{00000531-6BA1-4C47-8A73-023BF2903B93}"/>
              </c:ext>
            </c:extLst>
          </c:dPt>
          <c:dPt>
            <c:idx val="664"/>
            <c:invertIfNegative val="1"/>
            <c:bubble3D val="0"/>
            <c:spPr>
              <a:solidFill>
                <a:srgbClr val="AEABAB"/>
              </a:solidFill>
            </c:spPr>
            <c:extLst>
              <c:ext xmlns:c16="http://schemas.microsoft.com/office/drawing/2014/chart" uri="{C3380CC4-5D6E-409C-BE32-E72D297353CC}">
                <c16:uniqueId val="{00000533-6BA1-4C47-8A73-023BF2903B93}"/>
              </c:ext>
            </c:extLst>
          </c:dPt>
          <c:dPt>
            <c:idx val="665"/>
            <c:invertIfNegative val="1"/>
            <c:bubble3D val="0"/>
            <c:spPr>
              <a:solidFill>
                <a:srgbClr val="AEABAB"/>
              </a:solidFill>
            </c:spPr>
            <c:extLst>
              <c:ext xmlns:c16="http://schemas.microsoft.com/office/drawing/2014/chart" uri="{C3380CC4-5D6E-409C-BE32-E72D297353CC}">
                <c16:uniqueId val="{00000535-6BA1-4C47-8A73-023BF2903B93}"/>
              </c:ext>
            </c:extLst>
          </c:dPt>
          <c:dPt>
            <c:idx val="666"/>
            <c:invertIfNegative val="1"/>
            <c:bubble3D val="0"/>
            <c:spPr>
              <a:solidFill>
                <a:srgbClr val="AEABAB"/>
              </a:solidFill>
            </c:spPr>
            <c:extLst>
              <c:ext xmlns:c16="http://schemas.microsoft.com/office/drawing/2014/chart" uri="{C3380CC4-5D6E-409C-BE32-E72D297353CC}">
                <c16:uniqueId val="{00000537-6BA1-4C47-8A73-023BF2903B93}"/>
              </c:ext>
            </c:extLst>
          </c:dPt>
          <c:dPt>
            <c:idx val="667"/>
            <c:invertIfNegative val="1"/>
            <c:bubble3D val="0"/>
            <c:spPr>
              <a:solidFill>
                <a:srgbClr val="AEABAB"/>
              </a:solidFill>
            </c:spPr>
            <c:extLst>
              <c:ext xmlns:c16="http://schemas.microsoft.com/office/drawing/2014/chart" uri="{C3380CC4-5D6E-409C-BE32-E72D297353CC}">
                <c16:uniqueId val="{00000539-6BA1-4C47-8A73-023BF2903B93}"/>
              </c:ext>
            </c:extLst>
          </c:dPt>
          <c:dPt>
            <c:idx val="668"/>
            <c:invertIfNegative val="1"/>
            <c:bubble3D val="0"/>
            <c:spPr>
              <a:solidFill>
                <a:srgbClr val="AEABAB"/>
              </a:solidFill>
            </c:spPr>
            <c:extLst>
              <c:ext xmlns:c16="http://schemas.microsoft.com/office/drawing/2014/chart" uri="{C3380CC4-5D6E-409C-BE32-E72D297353CC}">
                <c16:uniqueId val="{0000053B-6BA1-4C47-8A73-023BF2903B93}"/>
              </c:ext>
            </c:extLst>
          </c:dPt>
          <c:dPt>
            <c:idx val="669"/>
            <c:invertIfNegative val="1"/>
            <c:bubble3D val="0"/>
            <c:spPr>
              <a:solidFill>
                <a:srgbClr val="AEABAB"/>
              </a:solidFill>
            </c:spPr>
            <c:extLst>
              <c:ext xmlns:c16="http://schemas.microsoft.com/office/drawing/2014/chart" uri="{C3380CC4-5D6E-409C-BE32-E72D297353CC}">
                <c16:uniqueId val="{0000053D-6BA1-4C47-8A73-023BF2903B93}"/>
              </c:ext>
            </c:extLst>
          </c:dPt>
          <c:dPt>
            <c:idx val="670"/>
            <c:invertIfNegative val="1"/>
            <c:bubble3D val="0"/>
            <c:spPr>
              <a:solidFill>
                <a:srgbClr val="AEABAB"/>
              </a:solidFill>
            </c:spPr>
            <c:extLst>
              <c:ext xmlns:c16="http://schemas.microsoft.com/office/drawing/2014/chart" uri="{C3380CC4-5D6E-409C-BE32-E72D297353CC}">
                <c16:uniqueId val="{0000053F-6BA1-4C47-8A73-023BF2903B93}"/>
              </c:ext>
            </c:extLst>
          </c:dPt>
          <c:dPt>
            <c:idx val="671"/>
            <c:invertIfNegative val="1"/>
            <c:bubble3D val="0"/>
            <c:spPr>
              <a:solidFill>
                <a:srgbClr val="AEABAB"/>
              </a:solidFill>
            </c:spPr>
            <c:extLst>
              <c:ext xmlns:c16="http://schemas.microsoft.com/office/drawing/2014/chart" uri="{C3380CC4-5D6E-409C-BE32-E72D297353CC}">
                <c16:uniqueId val="{00000541-6BA1-4C47-8A73-023BF2903B93}"/>
              </c:ext>
            </c:extLst>
          </c:dPt>
          <c:dPt>
            <c:idx val="672"/>
            <c:invertIfNegative val="1"/>
            <c:bubble3D val="0"/>
            <c:spPr>
              <a:solidFill>
                <a:srgbClr val="AEABAB"/>
              </a:solidFill>
            </c:spPr>
            <c:extLst>
              <c:ext xmlns:c16="http://schemas.microsoft.com/office/drawing/2014/chart" uri="{C3380CC4-5D6E-409C-BE32-E72D297353CC}">
                <c16:uniqueId val="{00000543-6BA1-4C47-8A73-023BF2903B93}"/>
              </c:ext>
            </c:extLst>
          </c:dPt>
          <c:dPt>
            <c:idx val="673"/>
            <c:invertIfNegative val="1"/>
            <c:bubble3D val="0"/>
            <c:spPr>
              <a:solidFill>
                <a:srgbClr val="AEABAB"/>
              </a:solidFill>
            </c:spPr>
            <c:extLst>
              <c:ext xmlns:c16="http://schemas.microsoft.com/office/drawing/2014/chart" uri="{C3380CC4-5D6E-409C-BE32-E72D297353CC}">
                <c16:uniqueId val="{00000545-6BA1-4C47-8A73-023BF2903B93}"/>
              </c:ext>
            </c:extLst>
          </c:dPt>
          <c:dPt>
            <c:idx val="674"/>
            <c:invertIfNegative val="1"/>
            <c:bubble3D val="0"/>
            <c:spPr>
              <a:solidFill>
                <a:srgbClr val="AEABAB"/>
              </a:solidFill>
            </c:spPr>
            <c:extLst>
              <c:ext xmlns:c16="http://schemas.microsoft.com/office/drawing/2014/chart" uri="{C3380CC4-5D6E-409C-BE32-E72D297353CC}">
                <c16:uniqueId val="{00000547-6BA1-4C47-8A73-023BF2903B93}"/>
              </c:ext>
            </c:extLst>
          </c:dPt>
          <c:dPt>
            <c:idx val="675"/>
            <c:invertIfNegative val="1"/>
            <c:bubble3D val="0"/>
            <c:spPr>
              <a:solidFill>
                <a:srgbClr val="AEABAB"/>
              </a:solidFill>
            </c:spPr>
            <c:extLst>
              <c:ext xmlns:c16="http://schemas.microsoft.com/office/drawing/2014/chart" uri="{C3380CC4-5D6E-409C-BE32-E72D297353CC}">
                <c16:uniqueId val="{00000549-6BA1-4C47-8A73-023BF2903B93}"/>
              </c:ext>
            </c:extLst>
          </c:dPt>
          <c:dPt>
            <c:idx val="676"/>
            <c:invertIfNegative val="1"/>
            <c:bubble3D val="0"/>
            <c:spPr>
              <a:solidFill>
                <a:srgbClr val="AEABAB"/>
              </a:solidFill>
            </c:spPr>
            <c:extLst>
              <c:ext xmlns:c16="http://schemas.microsoft.com/office/drawing/2014/chart" uri="{C3380CC4-5D6E-409C-BE32-E72D297353CC}">
                <c16:uniqueId val="{0000054B-6BA1-4C47-8A73-023BF2903B93}"/>
              </c:ext>
            </c:extLst>
          </c:dPt>
          <c:dPt>
            <c:idx val="677"/>
            <c:invertIfNegative val="1"/>
            <c:bubble3D val="0"/>
            <c:spPr>
              <a:solidFill>
                <a:srgbClr val="AEABAB"/>
              </a:solidFill>
            </c:spPr>
            <c:extLst>
              <c:ext xmlns:c16="http://schemas.microsoft.com/office/drawing/2014/chart" uri="{C3380CC4-5D6E-409C-BE32-E72D297353CC}">
                <c16:uniqueId val="{0000054D-6BA1-4C47-8A73-023BF2903B93}"/>
              </c:ext>
            </c:extLst>
          </c:dPt>
          <c:dPt>
            <c:idx val="678"/>
            <c:invertIfNegative val="1"/>
            <c:bubble3D val="0"/>
            <c:spPr>
              <a:solidFill>
                <a:srgbClr val="AEABAB"/>
              </a:solidFill>
            </c:spPr>
            <c:extLst>
              <c:ext xmlns:c16="http://schemas.microsoft.com/office/drawing/2014/chart" uri="{C3380CC4-5D6E-409C-BE32-E72D297353CC}">
                <c16:uniqueId val="{0000054F-6BA1-4C47-8A73-023BF2903B93}"/>
              </c:ext>
            </c:extLst>
          </c:dPt>
          <c:dPt>
            <c:idx val="679"/>
            <c:invertIfNegative val="1"/>
            <c:bubble3D val="0"/>
            <c:spPr>
              <a:solidFill>
                <a:srgbClr val="AEABAB"/>
              </a:solidFill>
            </c:spPr>
            <c:extLst>
              <c:ext xmlns:c16="http://schemas.microsoft.com/office/drawing/2014/chart" uri="{C3380CC4-5D6E-409C-BE32-E72D297353CC}">
                <c16:uniqueId val="{00000551-6BA1-4C47-8A73-023BF2903B93}"/>
              </c:ext>
            </c:extLst>
          </c:dPt>
          <c:dPt>
            <c:idx val="680"/>
            <c:invertIfNegative val="1"/>
            <c:bubble3D val="0"/>
            <c:spPr>
              <a:solidFill>
                <a:srgbClr val="AEABAB"/>
              </a:solidFill>
            </c:spPr>
            <c:extLst>
              <c:ext xmlns:c16="http://schemas.microsoft.com/office/drawing/2014/chart" uri="{C3380CC4-5D6E-409C-BE32-E72D297353CC}">
                <c16:uniqueId val="{00000553-6BA1-4C47-8A73-023BF2903B93}"/>
              </c:ext>
            </c:extLst>
          </c:dPt>
          <c:dPt>
            <c:idx val="681"/>
            <c:invertIfNegative val="1"/>
            <c:bubble3D val="0"/>
            <c:spPr>
              <a:solidFill>
                <a:srgbClr val="AEABAB"/>
              </a:solidFill>
            </c:spPr>
            <c:extLst>
              <c:ext xmlns:c16="http://schemas.microsoft.com/office/drawing/2014/chart" uri="{C3380CC4-5D6E-409C-BE32-E72D297353CC}">
                <c16:uniqueId val="{00000555-6BA1-4C47-8A73-023BF2903B93}"/>
              </c:ext>
            </c:extLst>
          </c:dPt>
          <c:dPt>
            <c:idx val="682"/>
            <c:invertIfNegative val="1"/>
            <c:bubble3D val="0"/>
            <c:spPr>
              <a:solidFill>
                <a:srgbClr val="AEABAB"/>
              </a:solidFill>
            </c:spPr>
            <c:extLst>
              <c:ext xmlns:c16="http://schemas.microsoft.com/office/drawing/2014/chart" uri="{C3380CC4-5D6E-409C-BE32-E72D297353CC}">
                <c16:uniqueId val="{00000557-6BA1-4C47-8A73-023BF2903B93}"/>
              </c:ext>
            </c:extLst>
          </c:dPt>
          <c:dPt>
            <c:idx val="683"/>
            <c:invertIfNegative val="1"/>
            <c:bubble3D val="0"/>
            <c:spPr>
              <a:solidFill>
                <a:srgbClr val="AEABAB"/>
              </a:solidFill>
            </c:spPr>
            <c:extLst>
              <c:ext xmlns:c16="http://schemas.microsoft.com/office/drawing/2014/chart" uri="{C3380CC4-5D6E-409C-BE32-E72D297353CC}">
                <c16:uniqueId val="{00000559-6BA1-4C47-8A73-023BF2903B93}"/>
              </c:ext>
            </c:extLst>
          </c:dPt>
          <c:dPt>
            <c:idx val="684"/>
            <c:invertIfNegative val="1"/>
            <c:bubble3D val="0"/>
            <c:spPr>
              <a:solidFill>
                <a:srgbClr val="AEABAB"/>
              </a:solidFill>
            </c:spPr>
            <c:extLst>
              <c:ext xmlns:c16="http://schemas.microsoft.com/office/drawing/2014/chart" uri="{C3380CC4-5D6E-409C-BE32-E72D297353CC}">
                <c16:uniqueId val="{0000055B-6BA1-4C47-8A73-023BF2903B93}"/>
              </c:ext>
            </c:extLst>
          </c:dPt>
          <c:dPt>
            <c:idx val="685"/>
            <c:invertIfNegative val="1"/>
            <c:bubble3D val="0"/>
            <c:spPr>
              <a:solidFill>
                <a:srgbClr val="AEABAB"/>
              </a:solidFill>
            </c:spPr>
            <c:extLst>
              <c:ext xmlns:c16="http://schemas.microsoft.com/office/drawing/2014/chart" uri="{C3380CC4-5D6E-409C-BE32-E72D297353CC}">
                <c16:uniqueId val="{0000055D-6BA1-4C47-8A73-023BF2903B93}"/>
              </c:ext>
            </c:extLst>
          </c:dPt>
          <c:dPt>
            <c:idx val="686"/>
            <c:invertIfNegative val="1"/>
            <c:bubble3D val="0"/>
            <c:spPr>
              <a:solidFill>
                <a:srgbClr val="AEABAB"/>
              </a:solidFill>
            </c:spPr>
            <c:extLst>
              <c:ext xmlns:c16="http://schemas.microsoft.com/office/drawing/2014/chart" uri="{C3380CC4-5D6E-409C-BE32-E72D297353CC}">
                <c16:uniqueId val="{0000055F-6BA1-4C47-8A73-023BF2903B93}"/>
              </c:ext>
            </c:extLst>
          </c:dPt>
          <c:dPt>
            <c:idx val="687"/>
            <c:invertIfNegative val="1"/>
            <c:bubble3D val="0"/>
            <c:spPr>
              <a:solidFill>
                <a:srgbClr val="AEABAB"/>
              </a:solidFill>
            </c:spPr>
            <c:extLst>
              <c:ext xmlns:c16="http://schemas.microsoft.com/office/drawing/2014/chart" uri="{C3380CC4-5D6E-409C-BE32-E72D297353CC}">
                <c16:uniqueId val="{00000561-6BA1-4C47-8A73-023BF2903B93}"/>
              </c:ext>
            </c:extLst>
          </c:dPt>
          <c:dPt>
            <c:idx val="688"/>
            <c:invertIfNegative val="1"/>
            <c:bubble3D val="0"/>
            <c:spPr>
              <a:solidFill>
                <a:srgbClr val="AEABAB"/>
              </a:solidFill>
            </c:spPr>
            <c:extLst>
              <c:ext xmlns:c16="http://schemas.microsoft.com/office/drawing/2014/chart" uri="{C3380CC4-5D6E-409C-BE32-E72D297353CC}">
                <c16:uniqueId val="{00000563-6BA1-4C47-8A73-023BF2903B93}"/>
              </c:ext>
            </c:extLst>
          </c:dPt>
          <c:dPt>
            <c:idx val="689"/>
            <c:invertIfNegative val="1"/>
            <c:bubble3D val="0"/>
            <c:spPr>
              <a:solidFill>
                <a:srgbClr val="AEABAB"/>
              </a:solidFill>
            </c:spPr>
            <c:extLst>
              <c:ext xmlns:c16="http://schemas.microsoft.com/office/drawing/2014/chart" uri="{C3380CC4-5D6E-409C-BE32-E72D297353CC}">
                <c16:uniqueId val="{00000565-6BA1-4C47-8A73-023BF2903B93}"/>
              </c:ext>
            </c:extLst>
          </c:dPt>
          <c:dPt>
            <c:idx val="690"/>
            <c:invertIfNegative val="1"/>
            <c:bubble3D val="0"/>
            <c:spPr>
              <a:solidFill>
                <a:srgbClr val="AEABAB"/>
              </a:solidFill>
            </c:spPr>
            <c:extLst>
              <c:ext xmlns:c16="http://schemas.microsoft.com/office/drawing/2014/chart" uri="{C3380CC4-5D6E-409C-BE32-E72D297353CC}">
                <c16:uniqueId val="{00000567-6BA1-4C47-8A73-023BF2903B93}"/>
              </c:ext>
            </c:extLst>
          </c:dPt>
          <c:dPt>
            <c:idx val="691"/>
            <c:invertIfNegative val="1"/>
            <c:bubble3D val="0"/>
            <c:spPr>
              <a:solidFill>
                <a:srgbClr val="AEABAB"/>
              </a:solidFill>
            </c:spPr>
            <c:extLst>
              <c:ext xmlns:c16="http://schemas.microsoft.com/office/drawing/2014/chart" uri="{C3380CC4-5D6E-409C-BE32-E72D297353CC}">
                <c16:uniqueId val="{00000569-6BA1-4C47-8A73-023BF2903B93}"/>
              </c:ext>
            </c:extLst>
          </c:dPt>
          <c:dPt>
            <c:idx val="692"/>
            <c:invertIfNegative val="1"/>
            <c:bubble3D val="0"/>
            <c:spPr>
              <a:solidFill>
                <a:srgbClr val="AEABAB"/>
              </a:solidFill>
            </c:spPr>
            <c:extLst>
              <c:ext xmlns:c16="http://schemas.microsoft.com/office/drawing/2014/chart" uri="{C3380CC4-5D6E-409C-BE32-E72D297353CC}">
                <c16:uniqueId val="{0000056B-6BA1-4C47-8A73-023BF2903B93}"/>
              </c:ext>
            </c:extLst>
          </c:dPt>
          <c:dPt>
            <c:idx val="693"/>
            <c:invertIfNegative val="1"/>
            <c:bubble3D val="0"/>
            <c:spPr>
              <a:solidFill>
                <a:srgbClr val="AEABAB"/>
              </a:solidFill>
            </c:spPr>
            <c:extLst>
              <c:ext xmlns:c16="http://schemas.microsoft.com/office/drawing/2014/chart" uri="{C3380CC4-5D6E-409C-BE32-E72D297353CC}">
                <c16:uniqueId val="{0000056D-6BA1-4C47-8A73-023BF2903B93}"/>
              </c:ext>
            </c:extLst>
          </c:dPt>
          <c:dPt>
            <c:idx val="694"/>
            <c:invertIfNegative val="1"/>
            <c:bubble3D val="0"/>
            <c:spPr>
              <a:solidFill>
                <a:srgbClr val="AEABAB"/>
              </a:solidFill>
            </c:spPr>
            <c:extLst>
              <c:ext xmlns:c16="http://schemas.microsoft.com/office/drawing/2014/chart" uri="{C3380CC4-5D6E-409C-BE32-E72D297353CC}">
                <c16:uniqueId val="{0000056F-6BA1-4C47-8A73-023BF2903B93}"/>
              </c:ext>
            </c:extLst>
          </c:dPt>
          <c:dPt>
            <c:idx val="695"/>
            <c:invertIfNegative val="1"/>
            <c:bubble3D val="0"/>
            <c:spPr>
              <a:solidFill>
                <a:srgbClr val="AEABAB"/>
              </a:solidFill>
            </c:spPr>
            <c:extLst>
              <c:ext xmlns:c16="http://schemas.microsoft.com/office/drawing/2014/chart" uri="{C3380CC4-5D6E-409C-BE32-E72D297353CC}">
                <c16:uniqueId val="{00000571-6BA1-4C47-8A73-023BF2903B93}"/>
              </c:ext>
            </c:extLst>
          </c:dPt>
          <c:dPt>
            <c:idx val="696"/>
            <c:invertIfNegative val="1"/>
            <c:bubble3D val="0"/>
            <c:spPr>
              <a:solidFill>
                <a:srgbClr val="AEABAB"/>
              </a:solidFill>
            </c:spPr>
            <c:extLst>
              <c:ext xmlns:c16="http://schemas.microsoft.com/office/drawing/2014/chart" uri="{C3380CC4-5D6E-409C-BE32-E72D297353CC}">
                <c16:uniqueId val="{00000573-6BA1-4C47-8A73-023BF2903B93}"/>
              </c:ext>
            </c:extLst>
          </c:dPt>
          <c:dPt>
            <c:idx val="697"/>
            <c:invertIfNegative val="1"/>
            <c:bubble3D val="0"/>
            <c:spPr>
              <a:solidFill>
                <a:srgbClr val="AEABAB"/>
              </a:solidFill>
            </c:spPr>
            <c:extLst>
              <c:ext xmlns:c16="http://schemas.microsoft.com/office/drawing/2014/chart" uri="{C3380CC4-5D6E-409C-BE32-E72D297353CC}">
                <c16:uniqueId val="{00000575-6BA1-4C47-8A73-023BF2903B93}"/>
              </c:ext>
            </c:extLst>
          </c:dPt>
          <c:dPt>
            <c:idx val="698"/>
            <c:invertIfNegative val="1"/>
            <c:bubble3D val="0"/>
            <c:spPr>
              <a:solidFill>
                <a:srgbClr val="AEABAB"/>
              </a:solidFill>
            </c:spPr>
            <c:extLst>
              <c:ext xmlns:c16="http://schemas.microsoft.com/office/drawing/2014/chart" uri="{C3380CC4-5D6E-409C-BE32-E72D297353CC}">
                <c16:uniqueId val="{00000577-6BA1-4C47-8A73-023BF2903B93}"/>
              </c:ext>
            </c:extLst>
          </c:dPt>
          <c:dPt>
            <c:idx val="699"/>
            <c:invertIfNegative val="1"/>
            <c:bubble3D val="0"/>
            <c:spPr>
              <a:solidFill>
                <a:srgbClr val="AEABAB"/>
              </a:solidFill>
            </c:spPr>
            <c:extLst>
              <c:ext xmlns:c16="http://schemas.microsoft.com/office/drawing/2014/chart" uri="{C3380CC4-5D6E-409C-BE32-E72D297353CC}">
                <c16:uniqueId val="{00000579-6BA1-4C47-8A73-023BF2903B93}"/>
              </c:ext>
            </c:extLst>
          </c:dPt>
          <c:dPt>
            <c:idx val="700"/>
            <c:invertIfNegative val="1"/>
            <c:bubble3D val="0"/>
            <c:spPr>
              <a:solidFill>
                <a:srgbClr val="AEABAB"/>
              </a:solidFill>
            </c:spPr>
            <c:extLst>
              <c:ext xmlns:c16="http://schemas.microsoft.com/office/drawing/2014/chart" uri="{C3380CC4-5D6E-409C-BE32-E72D297353CC}">
                <c16:uniqueId val="{0000057B-6BA1-4C47-8A73-023BF2903B93}"/>
              </c:ext>
            </c:extLst>
          </c:dPt>
          <c:dPt>
            <c:idx val="701"/>
            <c:invertIfNegative val="1"/>
            <c:bubble3D val="0"/>
            <c:spPr>
              <a:solidFill>
                <a:srgbClr val="AEABAB"/>
              </a:solidFill>
            </c:spPr>
            <c:extLst>
              <c:ext xmlns:c16="http://schemas.microsoft.com/office/drawing/2014/chart" uri="{C3380CC4-5D6E-409C-BE32-E72D297353CC}">
                <c16:uniqueId val="{0000057D-6BA1-4C47-8A73-023BF2903B93}"/>
              </c:ext>
            </c:extLst>
          </c:dPt>
          <c:dPt>
            <c:idx val="702"/>
            <c:invertIfNegative val="1"/>
            <c:bubble3D val="0"/>
            <c:spPr>
              <a:solidFill>
                <a:srgbClr val="AEABAB"/>
              </a:solidFill>
            </c:spPr>
            <c:extLst>
              <c:ext xmlns:c16="http://schemas.microsoft.com/office/drawing/2014/chart" uri="{C3380CC4-5D6E-409C-BE32-E72D297353CC}">
                <c16:uniqueId val="{0000057F-6BA1-4C47-8A73-023BF2903B93}"/>
              </c:ext>
            </c:extLst>
          </c:dPt>
          <c:dPt>
            <c:idx val="703"/>
            <c:invertIfNegative val="1"/>
            <c:bubble3D val="0"/>
            <c:spPr>
              <a:solidFill>
                <a:srgbClr val="AEABAB"/>
              </a:solidFill>
            </c:spPr>
            <c:extLst>
              <c:ext xmlns:c16="http://schemas.microsoft.com/office/drawing/2014/chart" uri="{C3380CC4-5D6E-409C-BE32-E72D297353CC}">
                <c16:uniqueId val="{00000581-6BA1-4C47-8A73-023BF2903B93}"/>
              </c:ext>
            </c:extLst>
          </c:dPt>
          <c:dPt>
            <c:idx val="704"/>
            <c:invertIfNegative val="1"/>
            <c:bubble3D val="0"/>
            <c:spPr>
              <a:solidFill>
                <a:srgbClr val="AEABAB"/>
              </a:solidFill>
            </c:spPr>
            <c:extLst>
              <c:ext xmlns:c16="http://schemas.microsoft.com/office/drawing/2014/chart" uri="{C3380CC4-5D6E-409C-BE32-E72D297353CC}">
                <c16:uniqueId val="{00000583-6BA1-4C47-8A73-023BF2903B93}"/>
              </c:ext>
            </c:extLst>
          </c:dPt>
          <c:dPt>
            <c:idx val="705"/>
            <c:invertIfNegative val="1"/>
            <c:bubble3D val="0"/>
            <c:spPr>
              <a:solidFill>
                <a:srgbClr val="AEABAB"/>
              </a:solidFill>
            </c:spPr>
            <c:extLst>
              <c:ext xmlns:c16="http://schemas.microsoft.com/office/drawing/2014/chart" uri="{C3380CC4-5D6E-409C-BE32-E72D297353CC}">
                <c16:uniqueId val="{00000585-6BA1-4C47-8A73-023BF2903B93}"/>
              </c:ext>
            </c:extLst>
          </c:dPt>
          <c:dPt>
            <c:idx val="706"/>
            <c:invertIfNegative val="1"/>
            <c:bubble3D val="0"/>
            <c:spPr>
              <a:solidFill>
                <a:srgbClr val="AEABAB"/>
              </a:solidFill>
            </c:spPr>
            <c:extLst>
              <c:ext xmlns:c16="http://schemas.microsoft.com/office/drawing/2014/chart" uri="{C3380CC4-5D6E-409C-BE32-E72D297353CC}">
                <c16:uniqueId val="{00000587-6BA1-4C47-8A73-023BF2903B93}"/>
              </c:ext>
            </c:extLst>
          </c:dPt>
          <c:dPt>
            <c:idx val="707"/>
            <c:invertIfNegative val="1"/>
            <c:bubble3D val="0"/>
            <c:spPr>
              <a:solidFill>
                <a:srgbClr val="AEABAB"/>
              </a:solidFill>
            </c:spPr>
            <c:extLst>
              <c:ext xmlns:c16="http://schemas.microsoft.com/office/drawing/2014/chart" uri="{C3380CC4-5D6E-409C-BE32-E72D297353CC}">
                <c16:uniqueId val="{00000589-6BA1-4C47-8A73-023BF2903B93}"/>
              </c:ext>
            </c:extLst>
          </c:dPt>
          <c:dPt>
            <c:idx val="708"/>
            <c:invertIfNegative val="1"/>
            <c:bubble3D val="0"/>
            <c:spPr>
              <a:solidFill>
                <a:srgbClr val="AEABAB"/>
              </a:solidFill>
            </c:spPr>
            <c:extLst>
              <c:ext xmlns:c16="http://schemas.microsoft.com/office/drawing/2014/chart" uri="{C3380CC4-5D6E-409C-BE32-E72D297353CC}">
                <c16:uniqueId val="{0000058B-6BA1-4C47-8A73-023BF2903B93}"/>
              </c:ext>
            </c:extLst>
          </c:dPt>
          <c:dPt>
            <c:idx val="709"/>
            <c:invertIfNegative val="1"/>
            <c:bubble3D val="0"/>
            <c:spPr>
              <a:solidFill>
                <a:srgbClr val="AEABAB"/>
              </a:solidFill>
            </c:spPr>
            <c:extLst>
              <c:ext xmlns:c16="http://schemas.microsoft.com/office/drawing/2014/chart" uri="{C3380CC4-5D6E-409C-BE32-E72D297353CC}">
                <c16:uniqueId val="{0000058D-6BA1-4C47-8A73-023BF2903B93}"/>
              </c:ext>
            </c:extLst>
          </c:dPt>
          <c:dPt>
            <c:idx val="710"/>
            <c:invertIfNegative val="1"/>
            <c:bubble3D val="0"/>
            <c:spPr>
              <a:solidFill>
                <a:srgbClr val="AEABAB"/>
              </a:solidFill>
            </c:spPr>
            <c:extLst>
              <c:ext xmlns:c16="http://schemas.microsoft.com/office/drawing/2014/chart" uri="{C3380CC4-5D6E-409C-BE32-E72D297353CC}">
                <c16:uniqueId val="{0000058F-6BA1-4C47-8A73-023BF2903B93}"/>
              </c:ext>
            </c:extLst>
          </c:dPt>
          <c:dPt>
            <c:idx val="711"/>
            <c:invertIfNegative val="1"/>
            <c:bubble3D val="0"/>
            <c:spPr>
              <a:solidFill>
                <a:srgbClr val="AEABAB"/>
              </a:solidFill>
            </c:spPr>
            <c:extLst>
              <c:ext xmlns:c16="http://schemas.microsoft.com/office/drawing/2014/chart" uri="{C3380CC4-5D6E-409C-BE32-E72D297353CC}">
                <c16:uniqueId val="{00000591-6BA1-4C47-8A73-023BF2903B93}"/>
              </c:ext>
            </c:extLst>
          </c:dPt>
          <c:dPt>
            <c:idx val="712"/>
            <c:invertIfNegative val="1"/>
            <c:bubble3D val="0"/>
            <c:spPr>
              <a:solidFill>
                <a:srgbClr val="AEABAB"/>
              </a:solidFill>
            </c:spPr>
            <c:extLst>
              <c:ext xmlns:c16="http://schemas.microsoft.com/office/drawing/2014/chart" uri="{C3380CC4-5D6E-409C-BE32-E72D297353CC}">
                <c16:uniqueId val="{00000593-6BA1-4C47-8A73-023BF2903B93}"/>
              </c:ext>
            </c:extLst>
          </c:dPt>
          <c:dPt>
            <c:idx val="713"/>
            <c:invertIfNegative val="1"/>
            <c:bubble3D val="0"/>
            <c:spPr>
              <a:solidFill>
                <a:srgbClr val="AEABAB"/>
              </a:solidFill>
            </c:spPr>
            <c:extLst>
              <c:ext xmlns:c16="http://schemas.microsoft.com/office/drawing/2014/chart" uri="{C3380CC4-5D6E-409C-BE32-E72D297353CC}">
                <c16:uniqueId val="{00000595-6BA1-4C47-8A73-023BF2903B93}"/>
              </c:ext>
            </c:extLst>
          </c:dPt>
          <c:dPt>
            <c:idx val="714"/>
            <c:invertIfNegative val="1"/>
            <c:bubble3D val="0"/>
            <c:spPr>
              <a:solidFill>
                <a:srgbClr val="AEABAB"/>
              </a:solidFill>
            </c:spPr>
            <c:extLst>
              <c:ext xmlns:c16="http://schemas.microsoft.com/office/drawing/2014/chart" uri="{C3380CC4-5D6E-409C-BE32-E72D297353CC}">
                <c16:uniqueId val="{00000597-6BA1-4C47-8A73-023BF2903B93}"/>
              </c:ext>
            </c:extLst>
          </c:dPt>
          <c:dPt>
            <c:idx val="715"/>
            <c:invertIfNegative val="1"/>
            <c:bubble3D val="0"/>
            <c:spPr>
              <a:solidFill>
                <a:srgbClr val="AEABAB"/>
              </a:solidFill>
            </c:spPr>
            <c:extLst>
              <c:ext xmlns:c16="http://schemas.microsoft.com/office/drawing/2014/chart" uri="{C3380CC4-5D6E-409C-BE32-E72D297353CC}">
                <c16:uniqueId val="{00000599-6BA1-4C47-8A73-023BF2903B93}"/>
              </c:ext>
            </c:extLst>
          </c:dPt>
          <c:dPt>
            <c:idx val="716"/>
            <c:invertIfNegative val="1"/>
            <c:bubble3D val="0"/>
            <c:spPr>
              <a:solidFill>
                <a:srgbClr val="AEABAB"/>
              </a:solidFill>
            </c:spPr>
            <c:extLst>
              <c:ext xmlns:c16="http://schemas.microsoft.com/office/drawing/2014/chart" uri="{C3380CC4-5D6E-409C-BE32-E72D297353CC}">
                <c16:uniqueId val="{0000059B-6BA1-4C47-8A73-023BF2903B93}"/>
              </c:ext>
            </c:extLst>
          </c:dPt>
          <c:dPt>
            <c:idx val="717"/>
            <c:invertIfNegative val="1"/>
            <c:bubble3D val="0"/>
            <c:spPr>
              <a:solidFill>
                <a:srgbClr val="AEABAB"/>
              </a:solidFill>
            </c:spPr>
            <c:extLst>
              <c:ext xmlns:c16="http://schemas.microsoft.com/office/drawing/2014/chart" uri="{C3380CC4-5D6E-409C-BE32-E72D297353CC}">
                <c16:uniqueId val="{0000059D-6BA1-4C47-8A73-023BF2903B93}"/>
              </c:ext>
            </c:extLst>
          </c:dPt>
          <c:dPt>
            <c:idx val="718"/>
            <c:invertIfNegative val="1"/>
            <c:bubble3D val="0"/>
            <c:spPr>
              <a:solidFill>
                <a:srgbClr val="AEABAB"/>
              </a:solidFill>
            </c:spPr>
            <c:extLst>
              <c:ext xmlns:c16="http://schemas.microsoft.com/office/drawing/2014/chart" uri="{C3380CC4-5D6E-409C-BE32-E72D297353CC}">
                <c16:uniqueId val="{0000059F-6BA1-4C47-8A73-023BF2903B93}"/>
              </c:ext>
            </c:extLst>
          </c:dPt>
          <c:dPt>
            <c:idx val="719"/>
            <c:invertIfNegative val="1"/>
            <c:bubble3D val="0"/>
            <c:spPr>
              <a:solidFill>
                <a:srgbClr val="AEABAB"/>
              </a:solidFill>
            </c:spPr>
            <c:extLst>
              <c:ext xmlns:c16="http://schemas.microsoft.com/office/drawing/2014/chart" uri="{C3380CC4-5D6E-409C-BE32-E72D297353CC}">
                <c16:uniqueId val="{000005A1-6BA1-4C47-8A73-023BF2903B93}"/>
              </c:ext>
            </c:extLst>
          </c:dPt>
          <c:dPt>
            <c:idx val="720"/>
            <c:invertIfNegative val="1"/>
            <c:bubble3D val="0"/>
            <c:spPr>
              <a:solidFill>
                <a:srgbClr val="AEABAB"/>
              </a:solidFill>
            </c:spPr>
            <c:extLst>
              <c:ext xmlns:c16="http://schemas.microsoft.com/office/drawing/2014/chart" uri="{C3380CC4-5D6E-409C-BE32-E72D297353CC}">
                <c16:uniqueId val="{000005A3-6BA1-4C47-8A73-023BF2903B93}"/>
              </c:ext>
            </c:extLst>
          </c:dPt>
          <c:dPt>
            <c:idx val="721"/>
            <c:invertIfNegative val="1"/>
            <c:bubble3D val="0"/>
            <c:spPr>
              <a:solidFill>
                <a:srgbClr val="AEABAB"/>
              </a:solidFill>
            </c:spPr>
            <c:extLst>
              <c:ext xmlns:c16="http://schemas.microsoft.com/office/drawing/2014/chart" uri="{C3380CC4-5D6E-409C-BE32-E72D297353CC}">
                <c16:uniqueId val="{000005A5-6BA1-4C47-8A73-023BF2903B93}"/>
              </c:ext>
            </c:extLst>
          </c:dPt>
          <c:dPt>
            <c:idx val="722"/>
            <c:invertIfNegative val="1"/>
            <c:bubble3D val="0"/>
            <c:spPr>
              <a:solidFill>
                <a:srgbClr val="AEABAB"/>
              </a:solidFill>
            </c:spPr>
            <c:extLst>
              <c:ext xmlns:c16="http://schemas.microsoft.com/office/drawing/2014/chart" uri="{C3380CC4-5D6E-409C-BE32-E72D297353CC}">
                <c16:uniqueId val="{000005A7-6BA1-4C47-8A73-023BF2903B93}"/>
              </c:ext>
            </c:extLst>
          </c:dPt>
          <c:dPt>
            <c:idx val="723"/>
            <c:invertIfNegative val="1"/>
            <c:bubble3D val="0"/>
            <c:spPr>
              <a:solidFill>
                <a:srgbClr val="AEABAB"/>
              </a:solidFill>
            </c:spPr>
            <c:extLst>
              <c:ext xmlns:c16="http://schemas.microsoft.com/office/drawing/2014/chart" uri="{C3380CC4-5D6E-409C-BE32-E72D297353CC}">
                <c16:uniqueId val="{000005A9-6BA1-4C47-8A73-023BF2903B93}"/>
              </c:ext>
            </c:extLst>
          </c:dPt>
          <c:dPt>
            <c:idx val="724"/>
            <c:invertIfNegative val="1"/>
            <c:bubble3D val="0"/>
            <c:spPr>
              <a:solidFill>
                <a:srgbClr val="AEABAB"/>
              </a:solidFill>
            </c:spPr>
            <c:extLst>
              <c:ext xmlns:c16="http://schemas.microsoft.com/office/drawing/2014/chart" uri="{C3380CC4-5D6E-409C-BE32-E72D297353CC}">
                <c16:uniqueId val="{000005AB-6BA1-4C47-8A73-023BF2903B93}"/>
              </c:ext>
            </c:extLst>
          </c:dPt>
          <c:dPt>
            <c:idx val="725"/>
            <c:invertIfNegative val="1"/>
            <c:bubble3D val="0"/>
            <c:spPr>
              <a:solidFill>
                <a:srgbClr val="AEABAB"/>
              </a:solidFill>
            </c:spPr>
            <c:extLst>
              <c:ext xmlns:c16="http://schemas.microsoft.com/office/drawing/2014/chart" uri="{C3380CC4-5D6E-409C-BE32-E72D297353CC}">
                <c16:uniqueId val="{000005AD-6BA1-4C47-8A73-023BF2903B93}"/>
              </c:ext>
            </c:extLst>
          </c:dPt>
          <c:dPt>
            <c:idx val="726"/>
            <c:invertIfNegative val="1"/>
            <c:bubble3D val="0"/>
            <c:spPr>
              <a:solidFill>
                <a:srgbClr val="AEABAB"/>
              </a:solidFill>
            </c:spPr>
            <c:extLst>
              <c:ext xmlns:c16="http://schemas.microsoft.com/office/drawing/2014/chart" uri="{C3380CC4-5D6E-409C-BE32-E72D297353CC}">
                <c16:uniqueId val="{000005AF-6BA1-4C47-8A73-023BF2903B93}"/>
              </c:ext>
            </c:extLst>
          </c:dPt>
          <c:dPt>
            <c:idx val="727"/>
            <c:invertIfNegative val="1"/>
            <c:bubble3D val="0"/>
            <c:spPr>
              <a:solidFill>
                <a:srgbClr val="AEABAB"/>
              </a:solidFill>
            </c:spPr>
            <c:extLst>
              <c:ext xmlns:c16="http://schemas.microsoft.com/office/drawing/2014/chart" uri="{C3380CC4-5D6E-409C-BE32-E72D297353CC}">
                <c16:uniqueId val="{000005B1-6BA1-4C47-8A73-023BF2903B93}"/>
              </c:ext>
            </c:extLst>
          </c:dPt>
          <c:dPt>
            <c:idx val="728"/>
            <c:invertIfNegative val="1"/>
            <c:bubble3D val="0"/>
            <c:spPr>
              <a:solidFill>
                <a:srgbClr val="AEABAB"/>
              </a:solidFill>
            </c:spPr>
            <c:extLst>
              <c:ext xmlns:c16="http://schemas.microsoft.com/office/drawing/2014/chart" uri="{C3380CC4-5D6E-409C-BE32-E72D297353CC}">
                <c16:uniqueId val="{000005B3-6BA1-4C47-8A73-023BF2903B93}"/>
              </c:ext>
            </c:extLst>
          </c:dPt>
          <c:dPt>
            <c:idx val="729"/>
            <c:invertIfNegative val="1"/>
            <c:bubble3D val="0"/>
            <c:spPr>
              <a:solidFill>
                <a:srgbClr val="AEABAB"/>
              </a:solidFill>
            </c:spPr>
            <c:extLst>
              <c:ext xmlns:c16="http://schemas.microsoft.com/office/drawing/2014/chart" uri="{C3380CC4-5D6E-409C-BE32-E72D297353CC}">
                <c16:uniqueId val="{000005B5-6BA1-4C47-8A73-023BF2903B93}"/>
              </c:ext>
            </c:extLst>
          </c:dPt>
          <c:dPt>
            <c:idx val="730"/>
            <c:invertIfNegative val="1"/>
            <c:bubble3D val="0"/>
            <c:spPr>
              <a:solidFill>
                <a:srgbClr val="AEABAB"/>
              </a:solidFill>
            </c:spPr>
            <c:extLst>
              <c:ext xmlns:c16="http://schemas.microsoft.com/office/drawing/2014/chart" uri="{C3380CC4-5D6E-409C-BE32-E72D297353CC}">
                <c16:uniqueId val="{000005B7-6BA1-4C47-8A73-023BF2903B93}"/>
              </c:ext>
            </c:extLst>
          </c:dPt>
          <c:dPt>
            <c:idx val="731"/>
            <c:invertIfNegative val="1"/>
            <c:bubble3D val="0"/>
            <c:spPr>
              <a:solidFill>
                <a:srgbClr val="AEABAB"/>
              </a:solidFill>
            </c:spPr>
            <c:extLst>
              <c:ext xmlns:c16="http://schemas.microsoft.com/office/drawing/2014/chart" uri="{C3380CC4-5D6E-409C-BE32-E72D297353CC}">
                <c16:uniqueId val="{000005B9-6BA1-4C47-8A73-023BF2903B93}"/>
              </c:ext>
            </c:extLst>
          </c:dPt>
          <c:dPt>
            <c:idx val="732"/>
            <c:invertIfNegative val="1"/>
            <c:bubble3D val="0"/>
            <c:spPr>
              <a:solidFill>
                <a:srgbClr val="AEABAB"/>
              </a:solidFill>
            </c:spPr>
            <c:extLst>
              <c:ext xmlns:c16="http://schemas.microsoft.com/office/drawing/2014/chart" uri="{C3380CC4-5D6E-409C-BE32-E72D297353CC}">
                <c16:uniqueId val="{000005BB-6BA1-4C47-8A73-023BF2903B93}"/>
              </c:ext>
            </c:extLst>
          </c:dPt>
          <c:dPt>
            <c:idx val="733"/>
            <c:invertIfNegative val="1"/>
            <c:bubble3D val="0"/>
            <c:spPr>
              <a:solidFill>
                <a:srgbClr val="AEABAB"/>
              </a:solidFill>
            </c:spPr>
            <c:extLst>
              <c:ext xmlns:c16="http://schemas.microsoft.com/office/drawing/2014/chart" uri="{C3380CC4-5D6E-409C-BE32-E72D297353CC}">
                <c16:uniqueId val="{000005BD-6BA1-4C47-8A73-023BF2903B93}"/>
              </c:ext>
            </c:extLst>
          </c:dPt>
          <c:dPt>
            <c:idx val="734"/>
            <c:invertIfNegative val="1"/>
            <c:bubble3D val="0"/>
            <c:spPr>
              <a:solidFill>
                <a:srgbClr val="AEABAB"/>
              </a:solidFill>
            </c:spPr>
            <c:extLst>
              <c:ext xmlns:c16="http://schemas.microsoft.com/office/drawing/2014/chart" uri="{C3380CC4-5D6E-409C-BE32-E72D297353CC}">
                <c16:uniqueId val="{000005BF-6BA1-4C47-8A73-023BF2903B93}"/>
              </c:ext>
            </c:extLst>
          </c:dPt>
          <c:dPt>
            <c:idx val="735"/>
            <c:invertIfNegative val="1"/>
            <c:bubble3D val="0"/>
            <c:spPr>
              <a:solidFill>
                <a:srgbClr val="AEABAB"/>
              </a:solidFill>
            </c:spPr>
            <c:extLst>
              <c:ext xmlns:c16="http://schemas.microsoft.com/office/drawing/2014/chart" uri="{C3380CC4-5D6E-409C-BE32-E72D297353CC}">
                <c16:uniqueId val="{000005C1-6BA1-4C47-8A73-023BF2903B93}"/>
              </c:ext>
            </c:extLst>
          </c:dPt>
          <c:dPt>
            <c:idx val="736"/>
            <c:invertIfNegative val="1"/>
            <c:bubble3D val="0"/>
            <c:spPr>
              <a:solidFill>
                <a:srgbClr val="AEABAB"/>
              </a:solidFill>
            </c:spPr>
            <c:extLst>
              <c:ext xmlns:c16="http://schemas.microsoft.com/office/drawing/2014/chart" uri="{C3380CC4-5D6E-409C-BE32-E72D297353CC}">
                <c16:uniqueId val="{000005C3-6BA1-4C47-8A73-023BF2903B93}"/>
              </c:ext>
            </c:extLst>
          </c:dPt>
          <c:dPt>
            <c:idx val="737"/>
            <c:invertIfNegative val="1"/>
            <c:bubble3D val="0"/>
            <c:spPr>
              <a:solidFill>
                <a:srgbClr val="AEABAB"/>
              </a:solidFill>
            </c:spPr>
            <c:extLst>
              <c:ext xmlns:c16="http://schemas.microsoft.com/office/drawing/2014/chart" uri="{C3380CC4-5D6E-409C-BE32-E72D297353CC}">
                <c16:uniqueId val="{000005C5-6BA1-4C47-8A73-023BF2903B93}"/>
              </c:ext>
            </c:extLst>
          </c:dPt>
          <c:dPt>
            <c:idx val="738"/>
            <c:invertIfNegative val="1"/>
            <c:bubble3D val="0"/>
            <c:spPr>
              <a:solidFill>
                <a:srgbClr val="AEABAB"/>
              </a:solidFill>
            </c:spPr>
            <c:extLst>
              <c:ext xmlns:c16="http://schemas.microsoft.com/office/drawing/2014/chart" uri="{C3380CC4-5D6E-409C-BE32-E72D297353CC}">
                <c16:uniqueId val="{000005C7-6BA1-4C47-8A73-023BF2903B93}"/>
              </c:ext>
            </c:extLst>
          </c:dPt>
          <c:dPt>
            <c:idx val="739"/>
            <c:invertIfNegative val="1"/>
            <c:bubble3D val="0"/>
            <c:spPr>
              <a:solidFill>
                <a:srgbClr val="AEABAB"/>
              </a:solidFill>
            </c:spPr>
            <c:extLst>
              <c:ext xmlns:c16="http://schemas.microsoft.com/office/drawing/2014/chart" uri="{C3380CC4-5D6E-409C-BE32-E72D297353CC}">
                <c16:uniqueId val="{000005C9-6BA1-4C47-8A73-023BF2903B93}"/>
              </c:ext>
            </c:extLst>
          </c:dPt>
          <c:dPt>
            <c:idx val="740"/>
            <c:invertIfNegative val="1"/>
            <c:bubble3D val="0"/>
            <c:spPr>
              <a:solidFill>
                <a:srgbClr val="AEABAB"/>
              </a:solidFill>
            </c:spPr>
            <c:extLst>
              <c:ext xmlns:c16="http://schemas.microsoft.com/office/drawing/2014/chart" uri="{C3380CC4-5D6E-409C-BE32-E72D297353CC}">
                <c16:uniqueId val="{000005CB-6BA1-4C47-8A73-023BF2903B93}"/>
              </c:ext>
            </c:extLst>
          </c:dPt>
          <c:dPt>
            <c:idx val="741"/>
            <c:invertIfNegative val="1"/>
            <c:bubble3D val="0"/>
            <c:spPr>
              <a:solidFill>
                <a:srgbClr val="AEABAB"/>
              </a:solidFill>
            </c:spPr>
            <c:extLst>
              <c:ext xmlns:c16="http://schemas.microsoft.com/office/drawing/2014/chart" uri="{C3380CC4-5D6E-409C-BE32-E72D297353CC}">
                <c16:uniqueId val="{000005CD-6BA1-4C47-8A73-023BF2903B93}"/>
              </c:ext>
            </c:extLst>
          </c:dPt>
          <c:dPt>
            <c:idx val="742"/>
            <c:invertIfNegative val="1"/>
            <c:bubble3D val="0"/>
            <c:spPr>
              <a:solidFill>
                <a:srgbClr val="AEABAB"/>
              </a:solidFill>
            </c:spPr>
            <c:extLst>
              <c:ext xmlns:c16="http://schemas.microsoft.com/office/drawing/2014/chart" uri="{C3380CC4-5D6E-409C-BE32-E72D297353CC}">
                <c16:uniqueId val="{000005CF-6BA1-4C47-8A73-023BF2903B93}"/>
              </c:ext>
            </c:extLst>
          </c:dPt>
          <c:dPt>
            <c:idx val="743"/>
            <c:invertIfNegative val="1"/>
            <c:bubble3D val="0"/>
            <c:spPr>
              <a:solidFill>
                <a:srgbClr val="AEABAB"/>
              </a:solidFill>
            </c:spPr>
            <c:extLst>
              <c:ext xmlns:c16="http://schemas.microsoft.com/office/drawing/2014/chart" uri="{C3380CC4-5D6E-409C-BE32-E72D297353CC}">
                <c16:uniqueId val="{000005D1-6BA1-4C47-8A73-023BF2903B93}"/>
              </c:ext>
            </c:extLst>
          </c:dPt>
          <c:dPt>
            <c:idx val="744"/>
            <c:invertIfNegative val="1"/>
            <c:bubble3D val="0"/>
            <c:spPr>
              <a:solidFill>
                <a:srgbClr val="AEABAB"/>
              </a:solidFill>
            </c:spPr>
            <c:extLst>
              <c:ext xmlns:c16="http://schemas.microsoft.com/office/drawing/2014/chart" uri="{C3380CC4-5D6E-409C-BE32-E72D297353CC}">
                <c16:uniqueId val="{000005D3-6BA1-4C47-8A73-023BF2903B93}"/>
              </c:ext>
            </c:extLst>
          </c:dPt>
          <c:dPt>
            <c:idx val="745"/>
            <c:invertIfNegative val="1"/>
            <c:bubble3D val="0"/>
            <c:spPr>
              <a:solidFill>
                <a:srgbClr val="AEABAB"/>
              </a:solidFill>
            </c:spPr>
            <c:extLst>
              <c:ext xmlns:c16="http://schemas.microsoft.com/office/drawing/2014/chart" uri="{C3380CC4-5D6E-409C-BE32-E72D297353CC}">
                <c16:uniqueId val="{000005D5-6BA1-4C47-8A73-023BF2903B93}"/>
              </c:ext>
            </c:extLst>
          </c:dPt>
          <c:dPt>
            <c:idx val="746"/>
            <c:invertIfNegative val="1"/>
            <c:bubble3D val="0"/>
            <c:spPr>
              <a:solidFill>
                <a:srgbClr val="AEABAB"/>
              </a:solidFill>
            </c:spPr>
            <c:extLst>
              <c:ext xmlns:c16="http://schemas.microsoft.com/office/drawing/2014/chart" uri="{C3380CC4-5D6E-409C-BE32-E72D297353CC}">
                <c16:uniqueId val="{000005D7-6BA1-4C47-8A73-023BF2903B93}"/>
              </c:ext>
            </c:extLst>
          </c:dPt>
          <c:dPt>
            <c:idx val="747"/>
            <c:invertIfNegative val="1"/>
            <c:bubble3D val="0"/>
            <c:spPr>
              <a:solidFill>
                <a:srgbClr val="AEABAB"/>
              </a:solidFill>
            </c:spPr>
            <c:extLst>
              <c:ext xmlns:c16="http://schemas.microsoft.com/office/drawing/2014/chart" uri="{C3380CC4-5D6E-409C-BE32-E72D297353CC}">
                <c16:uniqueId val="{000005D9-6BA1-4C47-8A73-023BF2903B93}"/>
              </c:ext>
            </c:extLst>
          </c:dPt>
          <c:dPt>
            <c:idx val="748"/>
            <c:invertIfNegative val="1"/>
            <c:bubble3D val="0"/>
            <c:spPr>
              <a:solidFill>
                <a:srgbClr val="AEABAB"/>
              </a:solidFill>
            </c:spPr>
            <c:extLst>
              <c:ext xmlns:c16="http://schemas.microsoft.com/office/drawing/2014/chart" uri="{C3380CC4-5D6E-409C-BE32-E72D297353CC}">
                <c16:uniqueId val="{000005DB-6BA1-4C47-8A73-023BF2903B93}"/>
              </c:ext>
            </c:extLst>
          </c:dPt>
          <c:dPt>
            <c:idx val="749"/>
            <c:invertIfNegative val="1"/>
            <c:bubble3D val="0"/>
            <c:spPr>
              <a:solidFill>
                <a:srgbClr val="AEABAB"/>
              </a:solidFill>
            </c:spPr>
            <c:extLst>
              <c:ext xmlns:c16="http://schemas.microsoft.com/office/drawing/2014/chart" uri="{C3380CC4-5D6E-409C-BE32-E72D297353CC}">
                <c16:uniqueId val="{000005DD-6BA1-4C47-8A73-023BF2903B93}"/>
              </c:ext>
            </c:extLst>
          </c:dPt>
          <c:dPt>
            <c:idx val="750"/>
            <c:invertIfNegative val="1"/>
            <c:bubble3D val="0"/>
            <c:spPr>
              <a:solidFill>
                <a:srgbClr val="AEABAB"/>
              </a:solidFill>
            </c:spPr>
            <c:extLst>
              <c:ext xmlns:c16="http://schemas.microsoft.com/office/drawing/2014/chart" uri="{C3380CC4-5D6E-409C-BE32-E72D297353CC}">
                <c16:uniqueId val="{000005DF-6BA1-4C47-8A73-023BF2903B93}"/>
              </c:ext>
            </c:extLst>
          </c:dPt>
          <c:dPt>
            <c:idx val="751"/>
            <c:invertIfNegative val="1"/>
            <c:bubble3D val="0"/>
            <c:spPr>
              <a:solidFill>
                <a:srgbClr val="AEABAB"/>
              </a:solidFill>
            </c:spPr>
            <c:extLst>
              <c:ext xmlns:c16="http://schemas.microsoft.com/office/drawing/2014/chart" uri="{C3380CC4-5D6E-409C-BE32-E72D297353CC}">
                <c16:uniqueId val="{000005E1-6BA1-4C47-8A73-023BF2903B93}"/>
              </c:ext>
            </c:extLst>
          </c:dPt>
          <c:dPt>
            <c:idx val="752"/>
            <c:invertIfNegative val="1"/>
            <c:bubble3D val="0"/>
            <c:spPr>
              <a:solidFill>
                <a:srgbClr val="AEABAB"/>
              </a:solidFill>
            </c:spPr>
            <c:extLst>
              <c:ext xmlns:c16="http://schemas.microsoft.com/office/drawing/2014/chart" uri="{C3380CC4-5D6E-409C-BE32-E72D297353CC}">
                <c16:uniqueId val="{000005E3-6BA1-4C47-8A73-023BF2903B93}"/>
              </c:ext>
            </c:extLst>
          </c:dPt>
          <c:dPt>
            <c:idx val="753"/>
            <c:invertIfNegative val="1"/>
            <c:bubble3D val="0"/>
            <c:spPr>
              <a:solidFill>
                <a:srgbClr val="AEABAB"/>
              </a:solidFill>
            </c:spPr>
            <c:extLst>
              <c:ext xmlns:c16="http://schemas.microsoft.com/office/drawing/2014/chart" uri="{C3380CC4-5D6E-409C-BE32-E72D297353CC}">
                <c16:uniqueId val="{000005E5-6BA1-4C47-8A73-023BF2903B93}"/>
              </c:ext>
            </c:extLst>
          </c:dPt>
          <c:dPt>
            <c:idx val="754"/>
            <c:invertIfNegative val="1"/>
            <c:bubble3D val="0"/>
            <c:spPr>
              <a:solidFill>
                <a:srgbClr val="AEABAB"/>
              </a:solidFill>
            </c:spPr>
            <c:extLst>
              <c:ext xmlns:c16="http://schemas.microsoft.com/office/drawing/2014/chart" uri="{C3380CC4-5D6E-409C-BE32-E72D297353CC}">
                <c16:uniqueId val="{000005E7-6BA1-4C47-8A73-023BF2903B93}"/>
              </c:ext>
            </c:extLst>
          </c:dPt>
          <c:dPt>
            <c:idx val="755"/>
            <c:invertIfNegative val="1"/>
            <c:bubble3D val="0"/>
            <c:spPr>
              <a:solidFill>
                <a:srgbClr val="AEABAB"/>
              </a:solidFill>
            </c:spPr>
            <c:extLst>
              <c:ext xmlns:c16="http://schemas.microsoft.com/office/drawing/2014/chart" uri="{C3380CC4-5D6E-409C-BE32-E72D297353CC}">
                <c16:uniqueId val="{000005E9-6BA1-4C47-8A73-023BF2903B93}"/>
              </c:ext>
            </c:extLst>
          </c:dPt>
          <c:dPt>
            <c:idx val="756"/>
            <c:invertIfNegative val="1"/>
            <c:bubble3D val="0"/>
            <c:spPr>
              <a:solidFill>
                <a:srgbClr val="AEABAB"/>
              </a:solidFill>
            </c:spPr>
            <c:extLst>
              <c:ext xmlns:c16="http://schemas.microsoft.com/office/drawing/2014/chart" uri="{C3380CC4-5D6E-409C-BE32-E72D297353CC}">
                <c16:uniqueId val="{000005EB-6BA1-4C47-8A73-023BF2903B93}"/>
              </c:ext>
            </c:extLst>
          </c:dPt>
          <c:dPt>
            <c:idx val="757"/>
            <c:invertIfNegative val="1"/>
            <c:bubble3D val="0"/>
            <c:spPr>
              <a:solidFill>
                <a:srgbClr val="AEABAB"/>
              </a:solidFill>
            </c:spPr>
            <c:extLst>
              <c:ext xmlns:c16="http://schemas.microsoft.com/office/drawing/2014/chart" uri="{C3380CC4-5D6E-409C-BE32-E72D297353CC}">
                <c16:uniqueId val="{000005ED-6BA1-4C47-8A73-023BF2903B93}"/>
              </c:ext>
            </c:extLst>
          </c:dPt>
          <c:dPt>
            <c:idx val="758"/>
            <c:invertIfNegative val="1"/>
            <c:bubble3D val="0"/>
            <c:spPr>
              <a:solidFill>
                <a:srgbClr val="AEABAB"/>
              </a:solidFill>
            </c:spPr>
            <c:extLst>
              <c:ext xmlns:c16="http://schemas.microsoft.com/office/drawing/2014/chart" uri="{C3380CC4-5D6E-409C-BE32-E72D297353CC}">
                <c16:uniqueId val="{000005EF-6BA1-4C47-8A73-023BF2903B93}"/>
              </c:ext>
            </c:extLst>
          </c:dPt>
          <c:dPt>
            <c:idx val="759"/>
            <c:invertIfNegative val="1"/>
            <c:bubble3D val="0"/>
            <c:spPr>
              <a:solidFill>
                <a:srgbClr val="AEABAB"/>
              </a:solidFill>
            </c:spPr>
            <c:extLst>
              <c:ext xmlns:c16="http://schemas.microsoft.com/office/drawing/2014/chart" uri="{C3380CC4-5D6E-409C-BE32-E72D297353CC}">
                <c16:uniqueId val="{000005F1-6BA1-4C47-8A73-023BF2903B93}"/>
              </c:ext>
            </c:extLst>
          </c:dPt>
          <c:dPt>
            <c:idx val="760"/>
            <c:invertIfNegative val="1"/>
            <c:bubble3D val="0"/>
            <c:spPr>
              <a:solidFill>
                <a:srgbClr val="AEABAB"/>
              </a:solidFill>
            </c:spPr>
            <c:extLst>
              <c:ext xmlns:c16="http://schemas.microsoft.com/office/drawing/2014/chart" uri="{C3380CC4-5D6E-409C-BE32-E72D297353CC}">
                <c16:uniqueId val="{000005F3-6BA1-4C47-8A73-023BF2903B93}"/>
              </c:ext>
            </c:extLst>
          </c:dPt>
          <c:dPt>
            <c:idx val="761"/>
            <c:invertIfNegative val="1"/>
            <c:bubble3D val="0"/>
            <c:spPr>
              <a:solidFill>
                <a:srgbClr val="AEABAB"/>
              </a:solidFill>
            </c:spPr>
            <c:extLst>
              <c:ext xmlns:c16="http://schemas.microsoft.com/office/drawing/2014/chart" uri="{C3380CC4-5D6E-409C-BE32-E72D297353CC}">
                <c16:uniqueId val="{000005F5-6BA1-4C47-8A73-023BF2903B93}"/>
              </c:ext>
            </c:extLst>
          </c:dPt>
          <c:dPt>
            <c:idx val="762"/>
            <c:invertIfNegative val="1"/>
            <c:bubble3D val="0"/>
            <c:spPr>
              <a:solidFill>
                <a:srgbClr val="AEABAB"/>
              </a:solidFill>
            </c:spPr>
            <c:extLst>
              <c:ext xmlns:c16="http://schemas.microsoft.com/office/drawing/2014/chart" uri="{C3380CC4-5D6E-409C-BE32-E72D297353CC}">
                <c16:uniqueId val="{000005F7-6BA1-4C47-8A73-023BF2903B93}"/>
              </c:ext>
            </c:extLst>
          </c:dPt>
          <c:dPt>
            <c:idx val="763"/>
            <c:invertIfNegative val="1"/>
            <c:bubble3D val="0"/>
            <c:spPr>
              <a:solidFill>
                <a:srgbClr val="AEABAB"/>
              </a:solidFill>
            </c:spPr>
            <c:extLst>
              <c:ext xmlns:c16="http://schemas.microsoft.com/office/drawing/2014/chart" uri="{C3380CC4-5D6E-409C-BE32-E72D297353CC}">
                <c16:uniqueId val="{000005F9-6BA1-4C47-8A73-023BF2903B93}"/>
              </c:ext>
            </c:extLst>
          </c:dPt>
          <c:dPt>
            <c:idx val="764"/>
            <c:invertIfNegative val="1"/>
            <c:bubble3D val="0"/>
            <c:spPr>
              <a:solidFill>
                <a:srgbClr val="AEABAB"/>
              </a:solidFill>
            </c:spPr>
            <c:extLst>
              <c:ext xmlns:c16="http://schemas.microsoft.com/office/drawing/2014/chart" uri="{C3380CC4-5D6E-409C-BE32-E72D297353CC}">
                <c16:uniqueId val="{000005FB-6BA1-4C47-8A73-023BF2903B93}"/>
              </c:ext>
            </c:extLst>
          </c:dPt>
          <c:dPt>
            <c:idx val="765"/>
            <c:invertIfNegative val="1"/>
            <c:bubble3D val="0"/>
            <c:spPr>
              <a:solidFill>
                <a:srgbClr val="AEABAB"/>
              </a:solidFill>
            </c:spPr>
            <c:extLst>
              <c:ext xmlns:c16="http://schemas.microsoft.com/office/drawing/2014/chart" uri="{C3380CC4-5D6E-409C-BE32-E72D297353CC}">
                <c16:uniqueId val="{000005FD-6BA1-4C47-8A73-023BF2903B93}"/>
              </c:ext>
            </c:extLst>
          </c:dPt>
          <c:dPt>
            <c:idx val="766"/>
            <c:invertIfNegative val="1"/>
            <c:bubble3D val="0"/>
            <c:spPr>
              <a:solidFill>
                <a:srgbClr val="AEABAB"/>
              </a:solidFill>
            </c:spPr>
            <c:extLst>
              <c:ext xmlns:c16="http://schemas.microsoft.com/office/drawing/2014/chart" uri="{C3380CC4-5D6E-409C-BE32-E72D297353CC}">
                <c16:uniqueId val="{000005FF-6BA1-4C47-8A73-023BF2903B93}"/>
              </c:ext>
            </c:extLst>
          </c:dPt>
          <c:dPt>
            <c:idx val="767"/>
            <c:invertIfNegative val="1"/>
            <c:bubble3D val="0"/>
            <c:spPr>
              <a:solidFill>
                <a:srgbClr val="AEABAB"/>
              </a:solidFill>
            </c:spPr>
            <c:extLst>
              <c:ext xmlns:c16="http://schemas.microsoft.com/office/drawing/2014/chart" uri="{C3380CC4-5D6E-409C-BE32-E72D297353CC}">
                <c16:uniqueId val="{00000601-6BA1-4C47-8A73-023BF2903B93}"/>
              </c:ext>
            </c:extLst>
          </c:dPt>
          <c:dPt>
            <c:idx val="768"/>
            <c:invertIfNegative val="1"/>
            <c:bubble3D val="0"/>
            <c:spPr>
              <a:solidFill>
                <a:srgbClr val="AEABAB"/>
              </a:solidFill>
            </c:spPr>
            <c:extLst>
              <c:ext xmlns:c16="http://schemas.microsoft.com/office/drawing/2014/chart" uri="{C3380CC4-5D6E-409C-BE32-E72D297353CC}">
                <c16:uniqueId val="{00000603-6BA1-4C47-8A73-023BF2903B93}"/>
              </c:ext>
            </c:extLst>
          </c:dPt>
          <c:dPt>
            <c:idx val="769"/>
            <c:invertIfNegative val="1"/>
            <c:bubble3D val="0"/>
            <c:spPr>
              <a:solidFill>
                <a:srgbClr val="AEABAB"/>
              </a:solidFill>
            </c:spPr>
            <c:extLst>
              <c:ext xmlns:c16="http://schemas.microsoft.com/office/drawing/2014/chart" uri="{C3380CC4-5D6E-409C-BE32-E72D297353CC}">
                <c16:uniqueId val="{00000605-6BA1-4C47-8A73-023BF2903B93}"/>
              </c:ext>
            </c:extLst>
          </c:dPt>
          <c:dPt>
            <c:idx val="770"/>
            <c:invertIfNegative val="1"/>
            <c:bubble3D val="0"/>
            <c:spPr>
              <a:solidFill>
                <a:srgbClr val="AEABAB"/>
              </a:solidFill>
            </c:spPr>
            <c:extLst>
              <c:ext xmlns:c16="http://schemas.microsoft.com/office/drawing/2014/chart" uri="{C3380CC4-5D6E-409C-BE32-E72D297353CC}">
                <c16:uniqueId val="{00000607-6BA1-4C47-8A73-023BF2903B93}"/>
              </c:ext>
            </c:extLst>
          </c:dPt>
          <c:dPt>
            <c:idx val="771"/>
            <c:invertIfNegative val="1"/>
            <c:bubble3D val="0"/>
            <c:spPr>
              <a:solidFill>
                <a:srgbClr val="AEABAB"/>
              </a:solidFill>
            </c:spPr>
            <c:extLst>
              <c:ext xmlns:c16="http://schemas.microsoft.com/office/drawing/2014/chart" uri="{C3380CC4-5D6E-409C-BE32-E72D297353CC}">
                <c16:uniqueId val="{00000609-6BA1-4C47-8A73-023BF2903B93}"/>
              </c:ext>
            </c:extLst>
          </c:dPt>
          <c:dPt>
            <c:idx val="772"/>
            <c:invertIfNegative val="1"/>
            <c:bubble3D val="0"/>
            <c:spPr>
              <a:solidFill>
                <a:srgbClr val="AEABAB"/>
              </a:solidFill>
            </c:spPr>
            <c:extLst>
              <c:ext xmlns:c16="http://schemas.microsoft.com/office/drawing/2014/chart" uri="{C3380CC4-5D6E-409C-BE32-E72D297353CC}">
                <c16:uniqueId val="{0000060B-6BA1-4C47-8A73-023BF2903B93}"/>
              </c:ext>
            </c:extLst>
          </c:dPt>
          <c:dPt>
            <c:idx val="773"/>
            <c:invertIfNegative val="1"/>
            <c:bubble3D val="0"/>
            <c:spPr>
              <a:solidFill>
                <a:srgbClr val="AEABAB"/>
              </a:solidFill>
            </c:spPr>
            <c:extLst>
              <c:ext xmlns:c16="http://schemas.microsoft.com/office/drawing/2014/chart" uri="{C3380CC4-5D6E-409C-BE32-E72D297353CC}">
                <c16:uniqueId val="{0000060D-6BA1-4C47-8A73-023BF2903B93}"/>
              </c:ext>
            </c:extLst>
          </c:dPt>
          <c:dPt>
            <c:idx val="774"/>
            <c:invertIfNegative val="1"/>
            <c:bubble3D val="0"/>
            <c:spPr>
              <a:solidFill>
                <a:srgbClr val="AEABAB"/>
              </a:solidFill>
            </c:spPr>
            <c:extLst>
              <c:ext xmlns:c16="http://schemas.microsoft.com/office/drawing/2014/chart" uri="{C3380CC4-5D6E-409C-BE32-E72D297353CC}">
                <c16:uniqueId val="{0000060F-6BA1-4C47-8A73-023BF2903B93}"/>
              </c:ext>
            </c:extLst>
          </c:dPt>
          <c:dPt>
            <c:idx val="775"/>
            <c:invertIfNegative val="1"/>
            <c:bubble3D val="0"/>
            <c:spPr>
              <a:solidFill>
                <a:srgbClr val="AEABAB"/>
              </a:solidFill>
            </c:spPr>
            <c:extLst>
              <c:ext xmlns:c16="http://schemas.microsoft.com/office/drawing/2014/chart" uri="{C3380CC4-5D6E-409C-BE32-E72D297353CC}">
                <c16:uniqueId val="{00000611-6BA1-4C47-8A73-023BF2903B93}"/>
              </c:ext>
            </c:extLst>
          </c:dPt>
          <c:dPt>
            <c:idx val="776"/>
            <c:invertIfNegative val="1"/>
            <c:bubble3D val="0"/>
            <c:spPr>
              <a:solidFill>
                <a:srgbClr val="AEABAB"/>
              </a:solidFill>
            </c:spPr>
            <c:extLst>
              <c:ext xmlns:c16="http://schemas.microsoft.com/office/drawing/2014/chart" uri="{C3380CC4-5D6E-409C-BE32-E72D297353CC}">
                <c16:uniqueId val="{00000613-6BA1-4C47-8A73-023BF2903B93}"/>
              </c:ext>
            </c:extLst>
          </c:dPt>
          <c:dPt>
            <c:idx val="777"/>
            <c:invertIfNegative val="1"/>
            <c:bubble3D val="0"/>
            <c:spPr>
              <a:solidFill>
                <a:srgbClr val="AEABAB"/>
              </a:solidFill>
            </c:spPr>
            <c:extLst>
              <c:ext xmlns:c16="http://schemas.microsoft.com/office/drawing/2014/chart" uri="{C3380CC4-5D6E-409C-BE32-E72D297353CC}">
                <c16:uniqueId val="{00000615-6BA1-4C47-8A73-023BF2903B93}"/>
              </c:ext>
            </c:extLst>
          </c:dPt>
          <c:dPt>
            <c:idx val="778"/>
            <c:invertIfNegative val="1"/>
            <c:bubble3D val="0"/>
            <c:spPr>
              <a:solidFill>
                <a:srgbClr val="AEABAB"/>
              </a:solidFill>
            </c:spPr>
            <c:extLst>
              <c:ext xmlns:c16="http://schemas.microsoft.com/office/drawing/2014/chart" uri="{C3380CC4-5D6E-409C-BE32-E72D297353CC}">
                <c16:uniqueId val="{00000617-6BA1-4C47-8A73-023BF2903B93}"/>
              </c:ext>
            </c:extLst>
          </c:dPt>
          <c:dPt>
            <c:idx val="779"/>
            <c:invertIfNegative val="1"/>
            <c:bubble3D val="0"/>
            <c:spPr>
              <a:solidFill>
                <a:srgbClr val="AEABAB"/>
              </a:solidFill>
            </c:spPr>
            <c:extLst>
              <c:ext xmlns:c16="http://schemas.microsoft.com/office/drawing/2014/chart" uri="{C3380CC4-5D6E-409C-BE32-E72D297353CC}">
                <c16:uniqueId val="{00000619-6BA1-4C47-8A73-023BF2903B93}"/>
              </c:ext>
            </c:extLst>
          </c:dPt>
          <c:dPt>
            <c:idx val="780"/>
            <c:invertIfNegative val="1"/>
            <c:bubble3D val="0"/>
            <c:spPr>
              <a:solidFill>
                <a:srgbClr val="AEABAB"/>
              </a:solidFill>
            </c:spPr>
            <c:extLst>
              <c:ext xmlns:c16="http://schemas.microsoft.com/office/drawing/2014/chart" uri="{C3380CC4-5D6E-409C-BE32-E72D297353CC}">
                <c16:uniqueId val="{0000061B-6BA1-4C47-8A73-023BF2903B93}"/>
              </c:ext>
            </c:extLst>
          </c:dPt>
          <c:dPt>
            <c:idx val="781"/>
            <c:invertIfNegative val="1"/>
            <c:bubble3D val="0"/>
            <c:spPr>
              <a:solidFill>
                <a:srgbClr val="AEABAB"/>
              </a:solidFill>
            </c:spPr>
            <c:extLst>
              <c:ext xmlns:c16="http://schemas.microsoft.com/office/drawing/2014/chart" uri="{C3380CC4-5D6E-409C-BE32-E72D297353CC}">
                <c16:uniqueId val="{0000061D-6BA1-4C47-8A73-023BF2903B93}"/>
              </c:ext>
            </c:extLst>
          </c:dPt>
          <c:dPt>
            <c:idx val="782"/>
            <c:invertIfNegative val="1"/>
            <c:bubble3D val="0"/>
            <c:spPr>
              <a:solidFill>
                <a:srgbClr val="AEABAB"/>
              </a:solidFill>
            </c:spPr>
            <c:extLst>
              <c:ext xmlns:c16="http://schemas.microsoft.com/office/drawing/2014/chart" uri="{C3380CC4-5D6E-409C-BE32-E72D297353CC}">
                <c16:uniqueId val="{0000061F-6BA1-4C47-8A73-023BF2903B93}"/>
              </c:ext>
            </c:extLst>
          </c:dPt>
          <c:dPt>
            <c:idx val="783"/>
            <c:invertIfNegative val="1"/>
            <c:bubble3D val="0"/>
            <c:spPr>
              <a:solidFill>
                <a:srgbClr val="AEABAB"/>
              </a:solidFill>
            </c:spPr>
            <c:extLst>
              <c:ext xmlns:c16="http://schemas.microsoft.com/office/drawing/2014/chart" uri="{C3380CC4-5D6E-409C-BE32-E72D297353CC}">
                <c16:uniqueId val="{00000621-6BA1-4C47-8A73-023BF2903B93}"/>
              </c:ext>
            </c:extLst>
          </c:dPt>
          <c:dPt>
            <c:idx val="784"/>
            <c:invertIfNegative val="1"/>
            <c:bubble3D val="0"/>
            <c:spPr>
              <a:solidFill>
                <a:srgbClr val="AEABAB"/>
              </a:solidFill>
            </c:spPr>
            <c:extLst>
              <c:ext xmlns:c16="http://schemas.microsoft.com/office/drawing/2014/chart" uri="{C3380CC4-5D6E-409C-BE32-E72D297353CC}">
                <c16:uniqueId val="{00000623-6BA1-4C47-8A73-023BF2903B93}"/>
              </c:ext>
            </c:extLst>
          </c:dPt>
          <c:dPt>
            <c:idx val="785"/>
            <c:invertIfNegative val="1"/>
            <c:bubble3D val="0"/>
            <c:spPr>
              <a:solidFill>
                <a:srgbClr val="AEABAB"/>
              </a:solidFill>
            </c:spPr>
            <c:extLst>
              <c:ext xmlns:c16="http://schemas.microsoft.com/office/drawing/2014/chart" uri="{C3380CC4-5D6E-409C-BE32-E72D297353CC}">
                <c16:uniqueId val="{00000625-6BA1-4C47-8A73-023BF2903B93}"/>
              </c:ext>
            </c:extLst>
          </c:dPt>
          <c:dPt>
            <c:idx val="786"/>
            <c:invertIfNegative val="1"/>
            <c:bubble3D val="0"/>
            <c:spPr>
              <a:solidFill>
                <a:srgbClr val="AEABAB"/>
              </a:solidFill>
            </c:spPr>
            <c:extLst>
              <c:ext xmlns:c16="http://schemas.microsoft.com/office/drawing/2014/chart" uri="{C3380CC4-5D6E-409C-BE32-E72D297353CC}">
                <c16:uniqueId val="{00000627-6BA1-4C47-8A73-023BF2903B93}"/>
              </c:ext>
            </c:extLst>
          </c:dPt>
          <c:dPt>
            <c:idx val="787"/>
            <c:invertIfNegative val="1"/>
            <c:bubble3D val="0"/>
            <c:spPr>
              <a:solidFill>
                <a:srgbClr val="AEABAB"/>
              </a:solidFill>
            </c:spPr>
            <c:extLst>
              <c:ext xmlns:c16="http://schemas.microsoft.com/office/drawing/2014/chart" uri="{C3380CC4-5D6E-409C-BE32-E72D297353CC}">
                <c16:uniqueId val="{00000629-6BA1-4C47-8A73-023BF2903B93}"/>
              </c:ext>
            </c:extLst>
          </c:dPt>
          <c:dPt>
            <c:idx val="788"/>
            <c:invertIfNegative val="1"/>
            <c:bubble3D val="0"/>
            <c:spPr>
              <a:solidFill>
                <a:srgbClr val="AEABAB"/>
              </a:solidFill>
            </c:spPr>
            <c:extLst>
              <c:ext xmlns:c16="http://schemas.microsoft.com/office/drawing/2014/chart" uri="{C3380CC4-5D6E-409C-BE32-E72D297353CC}">
                <c16:uniqueId val="{0000062B-6BA1-4C47-8A73-023BF2903B93}"/>
              </c:ext>
            </c:extLst>
          </c:dPt>
          <c:dPt>
            <c:idx val="789"/>
            <c:invertIfNegative val="1"/>
            <c:bubble3D val="0"/>
            <c:spPr>
              <a:solidFill>
                <a:srgbClr val="AEABAB"/>
              </a:solidFill>
            </c:spPr>
            <c:extLst>
              <c:ext xmlns:c16="http://schemas.microsoft.com/office/drawing/2014/chart" uri="{C3380CC4-5D6E-409C-BE32-E72D297353CC}">
                <c16:uniqueId val="{0000062D-6BA1-4C47-8A73-023BF2903B93}"/>
              </c:ext>
            </c:extLst>
          </c:dPt>
          <c:dPt>
            <c:idx val="790"/>
            <c:invertIfNegative val="1"/>
            <c:bubble3D val="0"/>
            <c:spPr>
              <a:solidFill>
                <a:srgbClr val="AEABAB"/>
              </a:solidFill>
            </c:spPr>
            <c:extLst>
              <c:ext xmlns:c16="http://schemas.microsoft.com/office/drawing/2014/chart" uri="{C3380CC4-5D6E-409C-BE32-E72D297353CC}">
                <c16:uniqueId val="{0000062F-6BA1-4C47-8A73-023BF2903B93}"/>
              </c:ext>
            </c:extLst>
          </c:dPt>
          <c:dPt>
            <c:idx val="791"/>
            <c:invertIfNegative val="1"/>
            <c:bubble3D val="0"/>
            <c:spPr>
              <a:solidFill>
                <a:srgbClr val="AEABAB"/>
              </a:solidFill>
            </c:spPr>
            <c:extLst>
              <c:ext xmlns:c16="http://schemas.microsoft.com/office/drawing/2014/chart" uri="{C3380CC4-5D6E-409C-BE32-E72D297353CC}">
                <c16:uniqueId val="{00000631-6BA1-4C47-8A73-023BF2903B93}"/>
              </c:ext>
            </c:extLst>
          </c:dPt>
          <c:dPt>
            <c:idx val="792"/>
            <c:invertIfNegative val="1"/>
            <c:bubble3D val="0"/>
            <c:spPr>
              <a:solidFill>
                <a:srgbClr val="AEABAB"/>
              </a:solidFill>
            </c:spPr>
            <c:extLst>
              <c:ext xmlns:c16="http://schemas.microsoft.com/office/drawing/2014/chart" uri="{C3380CC4-5D6E-409C-BE32-E72D297353CC}">
                <c16:uniqueId val="{00000633-6BA1-4C47-8A73-023BF2903B93}"/>
              </c:ext>
            </c:extLst>
          </c:dPt>
          <c:dPt>
            <c:idx val="793"/>
            <c:invertIfNegative val="1"/>
            <c:bubble3D val="0"/>
            <c:spPr>
              <a:solidFill>
                <a:srgbClr val="AEABAB"/>
              </a:solidFill>
            </c:spPr>
            <c:extLst>
              <c:ext xmlns:c16="http://schemas.microsoft.com/office/drawing/2014/chart" uri="{C3380CC4-5D6E-409C-BE32-E72D297353CC}">
                <c16:uniqueId val="{00000635-6BA1-4C47-8A73-023BF2903B93}"/>
              </c:ext>
            </c:extLst>
          </c:dPt>
          <c:dPt>
            <c:idx val="794"/>
            <c:invertIfNegative val="1"/>
            <c:bubble3D val="0"/>
            <c:spPr>
              <a:solidFill>
                <a:srgbClr val="AEABAB"/>
              </a:solidFill>
            </c:spPr>
            <c:extLst>
              <c:ext xmlns:c16="http://schemas.microsoft.com/office/drawing/2014/chart" uri="{C3380CC4-5D6E-409C-BE32-E72D297353CC}">
                <c16:uniqueId val="{00000637-6BA1-4C47-8A73-023BF2903B93}"/>
              </c:ext>
            </c:extLst>
          </c:dPt>
          <c:dPt>
            <c:idx val="795"/>
            <c:invertIfNegative val="1"/>
            <c:bubble3D val="0"/>
            <c:spPr>
              <a:solidFill>
                <a:srgbClr val="AEABAB"/>
              </a:solidFill>
            </c:spPr>
            <c:extLst>
              <c:ext xmlns:c16="http://schemas.microsoft.com/office/drawing/2014/chart" uri="{C3380CC4-5D6E-409C-BE32-E72D297353CC}">
                <c16:uniqueId val="{00000639-6BA1-4C47-8A73-023BF2903B93}"/>
              </c:ext>
            </c:extLst>
          </c:dPt>
          <c:dPt>
            <c:idx val="796"/>
            <c:invertIfNegative val="1"/>
            <c:bubble3D val="0"/>
            <c:spPr>
              <a:solidFill>
                <a:srgbClr val="AEABAB"/>
              </a:solidFill>
            </c:spPr>
            <c:extLst>
              <c:ext xmlns:c16="http://schemas.microsoft.com/office/drawing/2014/chart" uri="{C3380CC4-5D6E-409C-BE32-E72D297353CC}">
                <c16:uniqueId val="{0000063B-6BA1-4C47-8A73-023BF2903B93}"/>
              </c:ext>
            </c:extLst>
          </c:dPt>
          <c:dPt>
            <c:idx val="797"/>
            <c:invertIfNegative val="1"/>
            <c:bubble3D val="0"/>
            <c:spPr>
              <a:solidFill>
                <a:srgbClr val="AEABAB"/>
              </a:solidFill>
            </c:spPr>
            <c:extLst>
              <c:ext xmlns:c16="http://schemas.microsoft.com/office/drawing/2014/chart" uri="{C3380CC4-5D6E-409C-BE32-E72D297353CC}">
                <c16:uniqueId val="{0000063D-6BA1-4C47-8A73-023BF2903B93}"/>
              </c:ext>
            </c:extLst>
          </c:dPt>
          <c:dPt>
            <c:idx val="798"/>
            <c:invertIfNegative val="1"/>
            <c:bubble3D val="0"/>
            <c:spPr>
              <a:solidFill>
                <a:srgbClr val="AEABAB"/>
              </a:solidFill>
            </c:spPr>
            <c:extLst>
              <c:ext xmlns:c16="http://schemas.microsoft.com/office/drawing/2014/chart" uri="{C3380CC4-5D6E-409C-BE32-E72D297353CC}">
                <c16:uniqueId val="{0000063F-6BA1-4C47-8A73-023BF2903B93}"/>
              </c:ext>
            </c:extLst>
          </c:dPt>
          <c:dPt>
            <c:idx val="799"/>
            <c:invertIfNegative val="1"/>
            <c:bubble3D val="0"/>
            <c:spPr>
              <a:solidFill>
                <a:srgbClr val="AEABAB"/>
              </a:solidFill>
            </c:spPr>
            <c:extLst>
              <c:ext xmlns:c16="http://schemas.microsoft.com/office/drawing/2014/chart" uri="{C3380CC4-5D6E-409C-BE32-E72D297353CC}">
                <c16:uniqueId val="{00000641-6BA1-4C47-8A73-023BF2903B93}"/>
              </c:ext>
            </c:extLst>
          </c:dPt>
          <c:dPt>
            <c:idx val="800"/>
            <c:invertIfNegative val="1"/>
            <c:bubble3D val="0"/>
            <c:spPr>
              <a:solidFill>
                <a:srgbClr val="AEABAB"/>
              </a:solidFill>
            </c:spPr>
            <c:extLst>
              <c:ext xmlns:c16="http://schemas.microsoft.com/office/drawing/2014/chart" uri="{C3380CC4-5D6E-409C-BE32-E72D297353CC}">
                <c16:uniqueId val="{00000643-6BA1-4C47-8A73-023BF2903B93}"/>
              </c:ext>
            </c:extLst>
          </c:dPt>
          <c:dPt>
            <c:idx val="801"/>
            <c:invertIfNegative val="1"/>
            <c:bubble3D val="0"/>
            <c:spPr>
              <a:solidFill>
                <a:srgbClr val="AEABAB"/>
              </a:solidFill>
            </c:spPr>
            <c:extLst>
              <c:ext xmlns:c16="http://schemas.microsoft.com/office/drawing/2014/chart" uri="{C3380CC4-5D6E-409C-BE32-E72D297353CC}">
                <c16:uniqueId val="{00000645-6BA1-4C47-8A73-023BF2903B93}"/>
              </c:ext>
            </c:extLst>
          </c:dPt>
          <c:dPt>
            <c:idx val="802"/>
            <c:invertIfNegative val="1"/>
            <c:bubble3D val="0"/>
            <c:spPr>
              <a:solidFill>
                <a:srgbClr val="AEABAB"/>
              </a:solidFill>
            </c:spPr>
            <c:extLst>
              <c:ext xmlns:c16="http://schemas.microsoft.com/office/drawing/2014/chart" uri="{C3380CC4-5D6E-409C-BE32-E72D297353CC}">
                <c16:uniqueId val="{00000647-6BA1-4C47-8A73-023BF2903B93}"/>
              </c:ext>
            </c:extLst>
          </c:dPt>
          <c:dPt>
            <c:idx val="803"/>
            <c:invertIfNegative val="1"/>
            <c:bubble3D val="0"/>
            <c:spPr>
              <a:solidFill>
                <a:srgbClr val="AEABAB"/>
              </a:solidFill>
            </c:spPr>
            <c:extLst>
              <c:ext xmlns:c16="http://schemas.microsoft.com/office/drawing/2014/chart" uri="{C3380CC4-5D6E-409C-BE32-E72D297353CC}">
                <c16:uniqueId val="{00000649-6BA1-4C47-8A73-023BF2903B93}"/>
              </c:ext>
            </c:extLst>
          </c:dPt>
          <c:dPt>
            <c:idx val="804"/>
            <c:invertIfNegative val="1"/>
            <c:bubble3D val="0"/>
            <c:spPr>
              <a:solidFill>
                <a:srgbClr val="AEABAB"/>
              </a:solidFill>
            </c:spPr>
            <c:extLst>
              <c:ext xmlns:c16="http://schemas.microsoft.com/office/drawing/2014/chart" uri="{C3380CC4-5D6E-409C-BE32-E72D297353CC}">
                <c16:uniqueId val="{0000064B-6BA1-4C47-8A73-023BF2903B93}"/>
              </c:ext>
            </c:extLst>
          </c:dPt>
          <c:dPt>
            <c:idx val="805"/>
            <c:invertIfNegative val="1"/>
            <c:bubble3D val="0"/>
            <c:spPr>
              <a:solidFill>
                <a:srgbClr val="AEABAB"/>
              </a:solidFill>
            </c:spPr>
            <c:extLst>
              <c:ext xmlns:c16="http://schemas.microsoft.com/office/drawing/2014/chart" uri="{C3380CC4-5D6E-409C-BE32-E72D297353CC}">
                <c16:uniqueId val="{0000064D-6BA1-4C47-8A73-023BF2903B93}"/>
              </c:ext>
            </c:extLst>
          </c:dPt>
          <c:dPt>
            <c:idx val="806"/>
            <c:invertIfNegative val="1"/>
            <c:bubble3D val="0"/>
            <c:spPr>
              <a:solidFill>
                <a:srgbClr val="AEABAB"/>
              </a:solidFill>
            </c:spPr>
            <c:extLst>
              <c:ext xmlns:c16="http://schemas.microsoft.com/office/drawing/2014/chart" uri="{C3380CC4-5D6E-409C-BE32-E72D297353CC}">
                <c16:uniqueId val="{0000064F-6BA1-4C47-8A73-023BF2903B93}"/>
              </c:ext>
            </c:extLst>
          </c:dPt>
          <c:dPt>
            <c:idx val="807"/>
            <c:invertIfNegative val="1"/>
            <c:bubble3D val="0"/>
            <c:spPr>
              <a:solidFill>
                <a:srgbClr val="AEABAB"/>
              </a:solidFill>
            </c:spPr>
            <c:extLst>
              <c:ext xmlns:c16="http://schemas.microsoft.com/office/drawing/2014/chart" uri="{C3380CC4-5D6E-409C-BE32-E72D297353CC}">
                <c16:uniqueId val="{00000651-6BA1-4C47-8A73-023BF2903B93}"/>
              </c:ext>
            </c:extLst>
          </c:dPt>
          <c:dPt>
            <c:idx val="808"/>
            <c:invertIfNegative val="1"/>
            <c:bubble3D val="0"/>
            <c:spPr>
              <a:solidFill>
                <a:srgbClr val="AEABAB"/>
              </a:solidFill>
            </c:spPr>
            <c:extLst>
              <c:ext xmlns:c16="http://schemas.microsoft.com/office/drawing/2014/chart" uri="{C3380CC4-5D6E-409C-BE32-E72D297353CC}">
                <c16:uniqueId val="{00000653-6BA1-4C47-8A73-023BF2903B93}"/>
              </c:ext>
            </c:extLst>
          </c:dPt>
          <c:dPt>
            <c:idx val="809"/>
            <c:invertIfNegative val="1"/>
            <c:bubble3D val="0"/>
            <c:spPr>
              <a:solidFill>
                <a:srgbClr val="AEABAB"/>
              </a:solidFill>
            </c:spPr>
            <c:extLst>
              <c:ext xmlns:c16="http://schemas.microsoft.com/office/drawing/2014/chart" uri="{C3380CC4-5D6E-409C-BE32-E72D297353CC}">
                <c16:uniqueId val="{00000655-6BA1-4C47-8A73-023BF2903B93}"/>
              </c:ext>
            </c:extLst>
          </c:dPt>
          <c:dPt>
            <c:idx val="810"/>
            <c:invertIfNegative val="1"/>
            <c:bubble3D val="0"/>
            <c:spPr>
              <a:solidFill>
                <a:srgbClr val="AEABAB"/>
              </a:solidFill>
            </c:spPr>
            <c:extLst>
              <c:ext xmlns:c16="http://schemas.microsoft.com/office/drawing/2014/chart" uri="{C3380CC4-5D6E-409C-BE32-E72D297353CC}">
                <c16:uniqueId val="{00000657-6BA1-4C47-8A73-023BF2903B93}"/>
              </c:ext>
            </c:extLst>
          </c:dPt>
          <c:dPt>
            <c:idx val="811"/>
            <c:invertIfNegative val="1"/>
            <c:bubble3D val="0"/>
            <c:spPr>
              <a:solidFill>
                <a:srgbClr val="AEABAB"/>
              </a:solidFill>
            </c:spPr>
            <c:extLst>
              <c:ext xmlns:c16="http://schemas.microsoft.com/office/drawing/2014/chart" uri="{C3380CC4-5D6E-409C-BE32-E72D297353CC}">
                <c16:uniqueId val="{00000659-6BA1-4C47-8A73-023BF2903B93}"/>
              </c:ext>
            </c:extLst>
          </c:dPt>
          <c:dPt>
            <c:idx val="812"/>
            <c:invertIfNegative val="1"/>
            <c:bubble3D val="0"/>
            <c:spPr>
              <a:solidFill>
                <a:srgbClr val="AEABAB"/>
              </a:solidFill>
            </c:spPr>
            <c:extLst>
              <c:ext xmlns:c16="http://schemas.microsoft.com/office/drawing/2014/chart" uri="{C3380CC4-5D6E-409C-BE32-E72D297353CC}">
                <c16:uniqueId val="{0000065B-6BA1-4C47-8A73-023BF2903B93}"/>
              </c:ext>
            </c:extLst>
          </c:dPt>
          <c:dPt>
            <c:idx val="813"/>
            <c:invertIfNegative val="1"/>
            <c:bubble3D val="0"/>
            <c:spPr>
              <a:solidFill>
                <a:srgbClr val="AEABAB"/>
              </a:solidFill>
            </c:spPr>
            <c:extLst>
              <c:ext xmlns:c16="http://schemas.microsoft.com/office/drawing/2014/chart" uri="{C3380CC4-5D6E-409C-BE32-E72D297353CC}">
                <c16:uniqueId val="{0000065D-6BA1-4C47-8A73-023BF2903B93}"/>
              </c:ext>
            </c:extLst>
          </c:dPt>
          <c:dPt>
            <c:idx val="814"/>
            <c:invertIfNegative val="1"/>
            <c:bubble3D val="0"/>
            <c:spPr>
              <a:solidFill>
                <a:srgbClr val="AEABAB"/>
              </a:solidFill>
            </c:spPr>
            <c:extLst>
              <c:ext xmlns:c16="http://schemas.microsoft.com/office/drawing/2014/chart" uri="{C3380CC4-5D6E-409C-BE32-E72D297353CC}">
                <c16:uniqueId val="{0000065F-6BA1-4C47-8A73-023BF2903B93}"/>
              </c:ext>
            </c:extLst>
          </c:dPt>
          <c:dPt>
            <c:idx val="815"/>
            <c:invertIfNegative val="1"/>
            <c:bubble3D val="0"/>
            <c:spPr>
              <a:solidFill>
                <a:srgbClr val="AEABAB"/>
              </a:solidFill>
            </c:spPr>
            <c:extLst>
              <c:ext xmlns:c16="http://schemas.microsoft.com/office/drawing/2014/chart" uri="{C3380CC4-5D6E-409C-BE32-E72D297353CC}">
                <c16:uniqueId val="{00000661-6BA1-4C47-8A73-023BF2903B93}"/>
              </c:ext>
            </c:extLst>
          </c:dPt>
          <c:dPt>
            <c:idx val="816"/>
            <c:invertIfNegative val="1"/>
            <c:bubble3D val="0"/>
            <c:spPr>
              <a:solidFill>
                <a:srgbClr val="AEABAB"/>
              </a:solidFill>
            </c:spPr>
            <c:extLst>
              <c:ext xmlns:c16="http://schemas.microsoft.com/office/drawing/2014/chart" uri="{C3380CC4-5D6E-409C-BE32-E72D297353CC}">
                <c16:uniqueId val="{00000663-6BA1-4C47-8A73-023BF2903B93}"/>
              </c:ext>
            </c:extLst>
          </c:dPt>
          <c:dPt>
            <c:idx val="817"/>
            <c:invertIfNegative val="1"/>
            <c:bubble3D val="0"/>
            <c:spPr>
              <a:solidFill>
                <a:srgbClr val="AEABAB"/>
              </a:solidFill>
            </c:spPr>
            <c:extLst>
              <c:ext xmlns:c16="http://schemas.microsoft.com/office/drawing/2014/chart" uri="{C3380CC4-5D6E-409C-BE32-E72D297353CC}">
                <c16:uniqueId val="{00000665-6BA1-4C47-8A73-023BF2903B93}"/>
              </c:ext>
            </c:extLst>
          </c:dPt>
          <c:dPt>
            <c:idx val="818"/>
            <c:invertIfNegative val="1"/>
            <c:bubble3D val="0"/>
            <c:spPr>
              <a:solidFill>
                <a:srgbClr val="AEABAB"/>
              </a:solidFill>
            </c:spPr>
            <c:extLst>
              <c:ext xmlns:c16="http://schemas.microsoft.com/office/drawing/2014/chart" uri="{C3380CC4-5D6E-409C-BE32-E72D297353CC}">
                <c16:uniqueId val="{00000667-6BA1-4C47-8A73-023BF2903B93}"/>
              </c:ext>
            </c:extLst>
          </c:dPt>
          <c:dPt>
            <c:idx val="819"/>
            <c:invertIfNegative val="1"/>
            <c:bubble3D val="0"/>
            <c:spPr>
              <a:solidFill>
                <a:srgbClr val="AEABAB"/>
              </a:solidFill>
            </c:spPr>
            <c:extLst>
              <c:ext xmlns:c16="http://schemas.microsoft.com/office/drawing/2014/chart" uri="{C3380CC4-5D6E-409C-BE32-E72D297353CC}">
                <c16:uniqueId val="{00000669-6BA1-4C47-8A73-023BF2903B93}"/>
              </c:ext>
            </c:extLst>
          </c:dPt>
          <c:dPt>
            <c:idx val="820"/>
            <c:invertIfNegative val="1"/>
            <c:bubble3D val="0"/>
            <c:spPr>
              <a:solidFill>
                <a:srgbClr val="AEABAB"/>
              </a:solidFill>
            </c:spPr>
            <c:extLst>
              <c:ext xmlns:c16="http://schemas.microsoft.com/office/drawing/2014/chart" uri="{C3380CC4-5D6E-409C-BE32-E72D297353CC}">
                <c16:uniqueId val="{0000066B-6BA1-4C47-8A73-023BF2903B93}"/>
              </c:ext>
            </c:extLst>
          </c:dPt>
          <c:dPt>
            <c:idx val="821"/>
            <c:invertIfNegative val="1"/>
            <c:bubble3D val="0"/>
            <c:spPr>
              <a:solidFill>
                <a:srgbClr val="AEABAB"/>
              </a:solidFill>
            </c:spPr>
            <c:extLst>
              <c:ext xmlns:c16="http://schemas.microsoft.com/office/drawing/2014/chart" uri="{C3380CC4-5D6E-409C-BE32-E72D297353CC}">
                <c16:uniqueId val="{0000066D-6BA1-4C47-8A73-023BF2903B93}"/>
              </c:ext>
            </c:extLst>
          </c:dPt>
          <c:dPt>
            <c:idx val="822"/>
            <c:invertIfNegative val="1"/>
            <c:bubble3D val="0"/>
            <c:spPr>
              <a:solidFill>
                <a:srgbClr val="AEABAB"/>
              </a:solidFill>
            </c:spPr>
            <c:extLst>
              <c:ext xmlns:c16="http://schemas.microsoft.com/office/drawing/2014/chart" uri="{C3380CC4-5D6E-409C-BE32-E72D297353CC}">
                <c16:uniqueId val="{0000066F-6BA1-4C47-8A73-023BF2903B93}"/>
              </c:ext>
            </c:extLst>
          </c:dPt>
          <c:dPt>
            <c:idx val="823"/>
            <c:invertIfNegative val="1"/>
            <c:bubble3D val="0"/>
            <c:spPr>
              <a:solidFill>
                <a:srgbClr val="AEABAB"/>
              </a:solidFill>
            </c:spPr>
            <c:extLst>
              <c:ext xmlns:c16="http://schemas.microsoft.com/office/drawing/2014/chart" uri="{C3380CC4-5D6E-409C-BE32-E72D297353CC}">
                <c16:uniqueId val="{00000671-6BA1-4C47-8A73-023BF2903B93}"/>
              </c:ext>
            </c:extLst>
          </c:dPt>
          <c:dPt>
            <c:idx val="824"/>
            <c:invertIfNegative val="1"/>
            <c:bubble3D val="0"/>
            <c:spPr>
              <a:solidFill>
                <a:srgbClr val="AEABAB"/>
              </a:solidFill>
            </c:spPr>
            <c:extLst>
              <c:ext xmlns:c16="http://schemas.microsoft.com/office/drawing/2014/chart" uri="{C3380CC4-5D6E-409C-BE32-E72D297353CC}">
                <c16:uniqueId val="{00000673-6BA1-4C47-8A73-023BF2903B93}"/>
              </c:ext>
            </c:extLst>
          </c:dPt>
          <c:dPt>
            <c:idx val="825"/>
            <c:invertIfNegative val="1"/>
            <c:bubble3D val="0"/>
            <c:spPr>
              <a:solidFill>
                <a:srgbClr val="AEABAB"/>
              </a:solidFill>
            </c:spPr>
            <c:extLst>
              <c:ext xmlns:c16="http://schemas.microsoft.com/office/drawing/2014/chart" uri="{C3380CC4-5D6E-409C-BE32-E72D297353CC}">
                <c16:uniqueId val="{00000675-6BA1-4C47-8A73-023BF2903B93}"/>
              </c:ext>
            </c:extLst>
          </c:dPt>
          <c:dPt>
            <c:idx val="826"/>
            <c:invertIfNegative val="1"/>
            <c:bubble3D val="0"/>
            <c:spPr>
              <a:solidFill>
                <a:srgbClr val="AEABAB"/>
              </a:solidFill>
            </c:spPr>
            <c:extLst>
              <c:ext xmlns:c16="http://schemas.microsoft.com/office/drawing/2014/chart" uri="{C3380CC4-5D6E-409C-BE32-E72D297353CC}">
                <c16:uniqueId val="{00000677-6BA1-4C47-8A73-023BF2903B93}"/>
              </c:ext>
            </c:extLst>
          </c:dPt>
          <c:dPt>
            <c:idx val="827"/>
            <c:invertIfNegative val="1"/>
            <c:bubble3D val="0"/>
            <c:spPr>
              <a:solidFill>
                <a:srgbClr val="AEABAB"/>
              </a:solidFill>
            </c:spPr>
            <c:extLst>
              <c:ext xmlns:c16="http://schemas.microsoft.com/office/drawing/2014/chart" uri="{C3380CC4-5D6E-409C-BE32-E72D297353CC}">
                <c16:uniqueId val="{00000679-6BA1-4C47-8A73-023BF2903B93}"/>
              </c:ext>
            </c:extLst>
          </c:dPt>
          <c:dPt>
            <c:idx val="828"/>
            <c:invertIfNegative val="1"/>
            <c:bubble3D val="0"/>
            <c:spPr>
              <a:solidFill>
                <a:srgbClr val="AEABAB"/>
              </a:solidFill>
            </c:spPr>
            <c:extLst>
              <c:ext xmlns:c16="http://schemas.microsoft.com/office/drawing/2014/chart" uri="{C3380CC4-5D6E-409C-BE32-E72D297353CC}">
                <c16:uniqueId val="{0000067B-6BA1-4C47-8A73-023BF2903B93}"/>
              </c:ext>
            </c:extLst>
          </c:dPt>
          <c:dPt>
            <c:idx val="829"/>
            <c:invertIfNegative val="1"/>
            <c:bubble3D val="0"/>
            <c:spPr>
              <a:solidFill>
                <a:srgbClr val="AEABAB"/>
              </a:solidFill>
            </c:spPr>
            <c:extLst>
              <c:ext xmlns:c16="http://schemas.microsoft.com/office/drawing/2014/chart" uri="{C3380CC4-5D6E-409C-BE32-E72D297353CC}">
                <c16:uniqueId val="{0000067D-6BA1-4C47-8A73-023BF2903B93}"/>
              </c:ext>
            </c:extLst>
          </c:dPt>
          <c:dPt>
            <c:idx val="830"/>
            <c:invertIfNegative val="1"/>
            <c:bubble3D val="0"/>
            <c:spPr>
              <a:solidFill>
                <a:srgbClr val="AEABAB"/>
              </a:solidFill>
            </c:spPr>
            <c:extLst>
              <c:ext xmlns:c16="http://schemas.microsoft.com/office/drawing/2014/chart" uri="{C3380CC4-5D6E-409C-BE32-E72D297353CC}">
                <c16:uniqueId val="{0000067F-6BA1-4C47-8A73-023BF2903B93}"/>
              </c:ext>
            </c:extLst>
          </c:dPt>
          <c:dPt>
            <c:idx val="831"/>
            <c:invertIfNegative val="1"/>
            <c:bubble3D val="0"/>
            <c:spPr>
              <a:solidFill>
                <a:srgbClr val="AEABAB"/>
              </a:solidFill>
            </c:spPr>
            <c:extLst>
              <c:ext xmlns:c16="http://schemas.microsoft.com/office/drawing/2014/chart" uri="{C3380CC4-5D6E-409C-BE32-E72D297353CC}">
                <c16:uniqueId val="{00000681-6BA1-4C47-8A73-023BF2903B93}"/>
              </c:ext>
            </c:extLst>
          </c:dPt>
          <c:dPt>
            <c:idx val="832"/>
            <c:invertIfNegative val="1"/>
            <c:bubble3D val="0"/>
            <c:spPr>
              <a:solidFill>
                <a:srgbClr val="AEABAB"/>
              </a:solidFill>
            </c:spPr>
            <c:extLst>
              <c:ext xmlns:c16="http://schemas.microsoft.com/office/drawing/2014/chart" uri="{C3380CC4-5D6E-409C-BE32-E72D297353CC}">
                <c16:uniqueId val="{00000683-6BA1-4C47-8A73-023BF2903B93}"/>
              </c:ext>
            </c:extLst>
          </c:dPt>
          <c:dPt>
            <c:idx val="833"/>
            <c:invertIfNegative val="1"/>
            <c:bubble3D val="0"/>
            <c:spPr>
              <a:solidFill>
                <a:srgbClr val="AEABAB"/>
              </a:solidFill>
            </c:spPr>
            <c:extLst>
              <c:ext xmlns:c16="http://schemas.microsoft.com/office/drawing/2014/chart" uri="{C3380CC4-5D6E-409C-BE32-E72D297353CC}">
                <c16:uniqueId val="{00000685-6BA1-4C47-8A73-023BF2903B93}"/>
              </c:ext>
            </c:extLst>
          </c:dPt>
          <c:dPt>
            <c:idx val="834"/>
            <c:invertIfNegative val="1"/>
            <c:bubble3D val="0"/>
            <c:spPr>
              <a:solidFill>
                <a:srgbClr val="AEABAB"/>
              </a:solidFill>
            </c:spPr>
            <c:extLst>
              <c:ext xmlns:c16="http://schemas.microsoft.com/office/drawing/2014/chart" uri="{C3380CC4-5D6E-409C-BE32-E72D297353CC}">
                <c16:uniqueId val="{00000687-6BA1-4C47-8A73-023BF2903B93}"/>
              </c:ext>
            </c:extLst>
          </c:dPt>
          <c:dPt>
            <c:idx val="835"/>
            <c:invertIfNegative val="1"/>
            <c:bubble3D val="0"/>
            <c:spPr>
              <a:solidFill>
                <a:srgbClr val="AEABAB"/>
              </a:solidFill>
            </c:spPr>
            <c:extLst>
              <c:ext xmlns:c16="http://schemas.microsoft.com/office/drawing/2014/chart" uri="{C3380CC4-5D6E-409C-BE32-E72D297353CC}">
                <c16:uniqueId val="{00000689-6BA1-4C47-8A73-023BF2903B93}"/>
              </c:ext>
            </c:extLst>
          </c:dPt>
          <c:dPt>
            <c:idx val="836"/>
            <c:invertIfNegative val="1"/>
            <c:bubble3D val="0"/>
            <c:spPr>
              <a:solidFill>
                <a:srgbClr val="AEABAB"/>
              </a:solidFill>
            </c:spPr>
            <c:extLst>
              <c:ext xmlns:c16="http://schemas.microsoft.com/office/drawing/2014/chart" uri="{C3380CC4-5D6E-409C-BE32-E72D297353CC}">
                <c16:uniqueId val="{0000068B-6BA1-4C47-8A73-023BF2903B93}"/>
              </c:ext>
            </c:extLst>
          </c:dPt>
          <c:dPt>
            <c:idx val="837"/>
            <c:invertIfNegative val="1"/>
            <c:bubble3D val="0"/>
            <c:spPr>
              <a:solidFill>
                <a:srgbClr val="AEABAB"/>
              </a:solidFill>
            </c:spPr>
            <c:extLst>
              <c:ext xmlns:c16="http://schemas.microsoft.com/office/drawing/2014/chart" uri="{C3380CC4-5D6E-409C-BE32-E72D297353CC}">
                <c16:uniqueId val="{0000068D-6BA1-4C47-8A73-023BF2903B93}"/>
              </c:ext>
            </c:extLst>
          </c:dPt>
          <c:dPt>
            <c:idx val="838"/>
            <c:invertIfNegative val="1"/>
            <c:bubble3D val="0"/>
            <c:spPr>
              <a:solidFill>
                <a:srgbClr val="AEABAB"/>
              </a:solidFill>
            </c:spPr>
            <c:extLst>
              <c:ext xmlns:c16="http://schemas.microsoft.com/office/drawing/2014/chart" uri="{C3380CC4-5D6E-409C-BE32-E72D297353CC}">
                <c16:uniqueId val="{0000068F-6BA1-4C47-8A73-023BF2903B93}"/>
              </c:ext>
            </c:extLst>
          </c:dPt>
          <c:dPt>
            <c:idx val="839"/>
            <c:invertIfNegative val="1"/>
            <c:bubble3D val="0"/>
            <c:spPr>
              <a:solidFill>
                <a:srgbClr val="AEABAB"/>
              </a:solidFill>
            </c:spPr>
            <c:extLst>
              <c:ext xmlns:c16="http://schemas.microsoft.com/office/drawing/2014/chart" uri="{C3380CC4-5D6E-409C-BE32-E72D297353CC}">
                <c16:uniqueId val="{00000691-6BA1-4C47-8A73-023BF2903B93}"/>
              </c:ext>
            </c:extLst>
          </c:dPt>
          <c:dPt>
            <c:idx val="840"/>
            <c:invertIfNegative val="1"/>
            <c:bubble3D val="0"/>
            <c:spPr>
              <a:solidFill>
                <a:srgbClr val="AEABAB"/>
              </a:solidFill>
            </c:spPr>
            <c:extLst>
              <c:ext xmlns:c16="http://schemas.microsoft.com/office/drawing/2014/chart" uri="{C3380CC4-5D6E-409C-BE32-E72D297353CC}">
                <c16:uniqueId val="{00000693-6BA1-4C47-8A73-023BF2903B93}"/>
              </c:ext>
            </c:extLst>
          </c:dPt>
          <c:dPt>
            <c:idx val="841"/>
            <c:invertIfNegative val="1"/>
            <c:bubble3D val="0"/>
            <c:spPr>
              <a:solidFill>
                <a:srgbClr val="AEABAB"/>
              </a:solidFill>
            </c:spPr>
            <c:extLst>
              <c:ext xmlns:c16="http://schemas.microsoft.com/office/drawing/2014/chart" uri="{C3380CC4-5D6E-409C-BE32-E72D297353CC}">
                <c16:uniqueId val="{00000695-6BA1-4C47-8A73-023BF2903B93}"/>
              </c:ext>
            </c:extLst>
          </c:dPt>
          <c:dPt>
            <c:idx val="842"/>
            <c:invertIfNegative val="1"/>
            <c:bubble3D val="0"/>
            <c:spPr>
              <a:solidFill>
                <a:srgbClr val="AEABAB"/>
              </a:solidFill>
            </c:spPr>
            <c:extLst>
              <c:ext xmlns:c16="http://schemas.microsoft.com/office/drawing/2014/chart" uri="{C3380CC4-5D6E-409C-BE32-E72D297353CC}">
                <c16:uniqueId val="{00000697-6BA1-4C47-8A73-023BF2903B93}"/>
              </c:ext>
            </c:extLst>
          </c:dPt>
          <c:dPt>
            <c:idx val="843"/>
            <c:invertIfNegative val="1"/>
            <c:bubble3D val="0"/>
            <c:spPr>
              <a:solidFill>
                <a:srgbClr val="AEABAB"/>
              </a:solidFill>
            </c:spPr>
            <c:extLst>
              <c:ext xmlns:c16="http://schemas.microsoft.com/office/drawing/2014/chart" uri="{C3380CC4-5D6E-409C-BE32-E72D297353CC}">
                <c16:uniqueId val="{00000699-6BA1-4C47-8A73-023BF2903B93}"/>
              </c:ext>
            </c:extLst>
          </c:dPt>
          <c:dPt>
            <c:idx val="844"/>
            <c:invertIfNegative val="1"/>
            <c:bubble3D val="0"/>
            <c:spPr>
              <a:solidFill>
                <a:srgbClr val="AEABAB"/>
              </a:solidFill>
            </c:spPr>
            <c:extLst>
              <c:ext xmlns:c16="http://schemas.microsoft.com/office/drawing/2014/chart" uri="{C3380CC4-5D6E-409C-BE32-E72D297353CC}">
                <c16:uniqueId val="{0000069B-6BA1-4C47-8A73-023BF2903B93}"/>
              </c:ext>
            </c:extLst>
          </c:dPt>
          <c:dPt>
            <c:idx val="845"/>
            <c:invertIfNegative val="1"/>
            <c:bubble3D val="0"/>
            <c:spPr>
              <a:solidFill>
                <a:srgbClr val="AEABAB"/>
              </a:solidFill>
            </c:spPr>
            <c:extLst>
              <c:ext xmlns:c16="http://schemas.microsoft.com/office/drawing/2014/chart" uri="{C3380CC4-5D6E-409C-BE32-E72D297353CC}">
                <c16:uniqueId val="{0000069D-6BA1-4C47-8A73-023BF2903B93}"/>
              </c:ext>
            </c:extLst>
          </c:dPt>
          <c:dPt>
            <c:idx val="846"/>
            <c:invertIfNegative val="1"/>
            <c:bubble3D val="0"/>
            <c:spPr>
              <a:solidFill>
                <a:srgbClr val="AEABAB"/>
              </a:solidFill>
            </c:spPr>
            <c:extLst>
              <c:ext xmlns:c16="http://schemas.microsoft.com/office/drawing/2014/chart" uri="{C3380CC4-5D6E-409C-BE32-E72D297353CC}">
                <c16:uniqueId val="{0000069F-6BA1-4C47-8A73-023BF2903B93}"/>
              </c:ext>
            </c:extLst>
          </c:dPt>
          <c:dPt>
            <c:idx val="847"/>
            <c:invertIfNegative val="1"/>
            <c:bubble3D val="0"/>
            <c:spPr>
              <a:solidFill>
                <a:srgbClr val="AEABAB"/>
              </a:solidFill>
            </c:spPr>
            <c:extLst>
              <c:ext xmlns:c16="http://schemas.microsoft.com/office/drawing/2014/chart" uri="{C3380CC4-5D6E-409C-BE32-E72D297353CC}">
                <c16:uniqueId val="{000006A1-6BA1-4C47-8A73-023BF2903B93}"/>
              </c:ext>
            </c:extLst>
          </c:dPt>
          <c:dPt>
            <c:idx val="848"/>
            <c:invertIfNegative val="1"/>
            <c:bubble3D val="0"/>
            <c:spPr>
              <a:solidFill>
                <a:srgbClr val="AEABAB"/>
              </a:solidFill>
            </c:spPr>
            <c:extLst>
              <c:ext xmlns:c16="http://schemas.microsoft.com/office/drawing/2014/chart" uri="{C3380CC4-5D6E-409C-BE32-E72D297353CC}">
                <c16:uniqueId val="{000006A3-6BA1-4C47-8A73-023BF2903B93}"/>
              </c:ext>
            </c:extLst>
          </c:dPt>
          <c:dPt>
            <c:idx val="849"/>
            <c:invertIfNegative val="1"/>
            <c:bubble3D val="0"/>
            <c:spPr>
              <a:solidFill>
                <a:srgbClr val="AEABAB"/>
              </a:solidFill>
            </c:spPr>
            <c:extLst>
              <c:ext xmlns:c16="http://schemas.microsoft.com/office/drawing/2014/chart" uri="{C3380CC4-5D6E-409C-BE32-E72D297353CC}">
                <c16:uniqueId val="{000006A5-6BA1-4C47-8A73-023BF2903B93}"/>
              </c:ext>
            </c:extLst>
          </c:dPt>
          <c:dPt>
            <c:idx val="850"/>
            <c:invertIfNegative val="1"/>
            <c:bubble3D val="0"/>
            <c:spPr>
              <a:solidFill>
                <a:srgbClr val="AEABAB"/>
              </a:solidFill>
            </c:spPr>
            <c:extLst>
              <c:ext xmlns:c16="http://schemas.microsoft.com/office/drawing/2014/chart" uri="{C3380CC4-5D6E-409C-BE32-E72D297353CC}">
                <c16:uniqueId val="{000006A7-6BA1-4C47-8A73-023BF2903B93}"/>
              </c:ext>
            </c:extLst>
          </c:dPt>
          <c:dPt>
            <c:idx val="851"/>
            <c:invertIfNegative val="1"/>
            <c:bubble3D val="0"/>
            <c:spPr>
              <a:solidFill>
                <a:srgbClr val="AEABAB"/>
              </a:solidFill>
            </c:spPr>
            <c:extLst>
              <c:ext xmlns:c16="http://schemas.microsoft.com/office/drawing/2014/chart" uri="{C3380CC4-5D6E-409C-BE32-E72D297353CC}">
                <c16:uniqueId val="{000006A9-6BA1-4C47-8A73-023BF2903B93}"/>
              </c:ext>
            </c:extLst>
          </c:dPt>
          <c:dPt>
            <c:idx val="852"/>
            <c:invertIfNegative val="1"/>
            <c:bubble3D val="0"/>
            <c:spPr>
              <a:solidFill>
                <a:srgbClr val="AEABAB"/>
              </a:solidFill>
            </c:spPr>
            <c:extLst>
              <c:ext xmlns:c16="http://schemas.microsoft.com/office/drawing/2014/chart" uri="{C3380CC4-5D6E-409C-BE32-E72D297353CC}">
                <c16:uniqueId val="{000006AB-6BA1-4C47-8A73-023BF2903B93}"/>
              </c:ext>
            </c:extLst>
          </c:dPt>
          <c:dPt>
            <c:idx val="853"/>
            <c:invertIfNegative val="1"/>
            <c:bubble3D val="0"/>
            <c:spPr>
              <a:solidFill>
                <a:srgbClr val="AEABAB"/>
              </a:solidFill>
            </c:spPr>
            <c:extLst>
              <c:ext xmlns:c16="http://schemas.microsoft.com/office/drawing/2014/chart" uri="{C3380CC4-5D6E-409C-BE32-E72D297353CC}">
                <c16:uniqueId val="{000006AD-6BA1-4C47-8A73-023BF2903B93}"/>
              </c:ext>
            </c:extLst>
          </c:dPt>
          <c:dPt>
            <c:idx val="854"/>
            <c:invertIfNegative val="1"/>
            <c:bubble3D val="0"/>
            <c:spPr>
              <a:solidFill>
                <a:srgbClr val="AEABAB"/>
              </a:solidFill>
            </c:spPr>
            <c:extLst>
              <c:ext xmlns:c16="http://schemas.microsoft.com/office/drawing/2014/chart" uri="{C3380CC4-5D6E-409C-BE32-E72D297353CC}">
                <c16:uniqueId val="{000006AF-6BA1-4C47-8A73-023BF2903B93}"/>
              </c:ext>
            </c:extLst>
          </c:dPt>
          <c:dPt>
            <c:idx val="855"/>
            <c:invertIfNegative val="1"/>
            <c:bubble3D val="0"/>
            <c:spPr>
              <a:solidFill>
                <a:srgbClr val="AEABAB"/>
              </a:solidFill>
            </c:spPr>
            <c:extLst>
              <c:ext xmlns:c16="http://schemas.microsoft.com/office/drawing/2014/chart" uri="{C3380CC4-5D6E-409C-BE32-E72D297353CC}">
                <c16:uniqueId val="{000006B1-6BA1-4C47-8A73-023BF2903B93}"/>
              </c:ext>
            </c:extLst>
          </c:dPt>
          <c:dPt>
            <c:idx val="856"/>
            <c:invertIfNegative val="1"/>
            <c:bubble3D val="0"/>
            <c:spPr>
              <a:solidFill>
                <a:srgbClr val="AEABAB"/>
              </a:solidFill>
            </c:spPr>
            <c:extLst>
              <c:ext xmlns:c16="http://schemas.microsoft.com/office/drawing/2014/chart" uri="{C3380CC4-5D6E-409C-BE32-E72D297353CC}">
                <c16:uniqueId val="{000006B3-6BA1-4C47-8A73-023BF2903B93}"/>
              </c:ext>
            </c:extLst>
          </c:dPt>
          <c:dPt>
            <c:idx val="857"/>
            <c:invertIfNegative val="1"/>
            <c:bubble3D val="0"/>
            <c:spPr>
              <a:solidFill>
                <a:srgbClr val="AEABAB"/>
              </a:solidFill>
            </c:spPr>
            <c:extLst>
              <c:ext xmlns:c16="http://schemas.microsoft.com/office/drawing/2014/chart" uri="{C3380CC4-5D6E-409C-BE32-E72D297353CC}">
                <c16:uniqueId val="{000006B5-6BA1-4C47-8A73-023BF2903B93}"/>
              </c:ext>
            </c:extLst>
          </c:dPt>
          <c:dPt>
            <c:idx val="858"/>
            <c:invertIfNegative val="1"/>
            <c:bubble3D val="0"/>
            <c:spPr>
              <a:solidFill>
                <a:srgbClr val="AEABAB"/>
              </a:solidFill>
            </c:spPr>
            <c:extLst>
              <c:ext xmlns:c16="http://schemas.microsoft.com/office/drawing/2014/chart" uri="{C3380CC4-5D6E-409C-BE32-E72D297353CC}">
                <c16:uniqueId val="{000006B7-6BA1-4C47-8A73-023BF2903B93}"/>
              </c:ext>
            </c:extLst>
          </c:dPt>
          <c:dPt>
            <c:idx val="859"/>
            <c:invertIfNegative val="1"/>
            <c:bubble3D val="0"/>
            <c:spPr>
              <a:solidFill>
                <a:srgbClr val="AEABAB"/>
              </a:solidFill>
            </c:spPr>
            <c:extLst>
              <c:ext xmlns:c16="http://schemas.microsoft.com/office/drawing/2014/chart" uri="{C3380CC4-5D6E-409C-BE32-E72D297353CC}">
                <c16:uniqueId val="{000006B9-6BA1-4C47-8A73-023BF2903B93}"/>
              </c:ext>
            </c:extLst>
          </c:dPt>
          <c:dPt>
            <c:idx val="860"/>
            <c:invertIfNegative val="1"/>
            <c:bubble3D val="0"/>
            <c:spPr>
              <a:solidFill>
                <a:srgbClr val="AEABAB"/>
              </a:solidFill>
            </c:spPr>
            <c:extLst>
              <c:ext xmlns:c16="http://schemas.microsoft.com/office/drawing/2014/chart" uri="{C3380CC4-5D6E-409C-BE32-E72D297353CC}">
                <c16:uniqueId val="{000006BB-6BA1-4C47-8A73-023BF2903B93}"/>
              </c:ext>
            </c:extLst>
          </c:dPt>
          <c:dPt>
            <c:idx val="861"/>
            <c:invertIfNegative val="1"/>
            <c:bubble3D val="0"/>
            <c:spPr>
              <a:solidFill>
                <a:srgbClr val="AEABAB"/>
              </a:solidFill>
            </c:spPr>
            <c:extLst>
              <c:ext xmlns:c16="http://schemas.microsoft.com/office/drawing/2014/chart" uri="{C3380CC4-5D6E-409C-BE32-E72D297353CC}">
                <c16:uniqueId val="{000006BD-6BA1-4C47-8A73-023BF2903B93}"/>
              </c:ext>
            </c:extLst>
          </c:dPt>
          <c:dPt>
            <c:idx val="862"/>
            <c:invertIfNegative val="1"/>
            <c:bubble3D val="0"/>
            <c:spPr>
              <a:solidFill>
                <a:srgbClr val="AEABAB"/>
              </a:solidFill>
            </c:spPr>
            <c:extLst>
              <c:ext xmlns:c16="http://schemas.microsoft.com/office/drawing/2014/chart" uri="{C3380CC4-5D6E-409C-BE32-E72D297353CC}">
                <c16:uniqueId val="{000006BF-6BA1-4C47-8A73-023BF2903B93}"/>
              </c:ext>
            </c:extLst>
          </c:dPt>
          <c:dPt>
            <c:idx val="863"/>
            <c:invertIfNegative val="1"/>
            <c:bubble3D val="0"/>
            <c:spPr>
              <a:solidFill>
                <a:srgbClr val="AEABAB"/>
              </a:solidFill>
            </c:spPr>
            <c:extLst>
              <c:ext xmlns:c16="http://schemas.microsoft.com/office/drawing/2014/chart" uri="{C3380CC4-5D6E-409C-BE32-E72D297353CC}">
                <c16:uniqueId val="{000006C1-6BA1-4C47-8A73-023BF2903B93}"/>
              </c:ext>
            </c:extLst>
          </c:dPt>
          <c:dPt>
            <c:idx val="864"/>
            <c:invertIfNegative val="1"/>
            <c:bubble3D val="0"/>
            <c:spPr>
              <a:solidFill>
                <a:srgbClr val="AEABAB"/>
              </a:solidFill>
            </c:spPr>
            <c:extLst>
              <c:ext xmlns:c16="http://schemas.microsoft.com/office/drawing/2014/chart" uri="{C3380CC4-5D6E-409C-BE32-E72D297353CC}">
                <c16:uniqueId val="{000006C3-6BA1-4C47-8A73-023BF2903B93}"/>
              </c:ext>
            </c:extLst>
          </c:dPt>
          <c:dPt>
            <c:idx val="865"/>
            <c:invertIfNegative val="1"/>
            <c:bubble3D val="0"/>
            <c:spPr>
              <a:solidFill>
                <a:srgbClr val="AEABAB"/>
              </a:solidFill>
            </c:spPr>
            <c:extLst>
              <c:ext xmlns:c16="http://schemas.microsoft.com/office/drawing/2014/chart" uri="{C3380CC4-5D6E-409C-BE32-E72D297353CC}">
                <c16:uniqueId val="{000006C5-6BA1-4C47-8A73-023BF2903B93}"/>
              </c:ext>
            </c:extLst>
          </c:dPt>
          <c:dPt>
            <c:idx val="866"/>
            <c:invertIfNegative val="1"/>
            <c:bubble3D val="0"/>
            <c:spPr>
              <a:solidFill>
                <a:srgbClr val="AEABAB"/>
              </a:solidFill>
            </c:spPr>
            <c:extLst>
              <c:ext xmlns:c16="http://schemas.microsoft.com/office/drawing/2014/chart" uri="{C3380CC4-5D6E-409C-BE32-E72D297353CC}">
                <c16:uniqueId val="{000006C7-6BA1-4C47-8A73-023BF2903B93}"/>
              </c:ext>
            </c:extLst>
          </c:dPt>
          <c:dPt>
            <c:idx val="867"/>
            <c:invertIfNegative val="1"/>
            <c:bubble3D val="0"/>
            <c:spPr>
              <a:solidFill>
                <a:srgbClr val="AEABAB"/>
              </a:solidFill>
            </c:spPr>
            <c:extLst>
              <c:ext xmlns:c16="http://schemas.microsoft.com/office/drawing/2014/chart" uri="{C3380CC4-5D6E-409C-BE32-E72D297353CC}">
                <c16:uniqueId val="{000006C9-6BA1-4C47-8A73-023BF2903B93}"/>
              </c:ext>
            </c:extLst>
          </c:dPt>
          <c:dPt>
            <c:idx val="868"/>
            <c:invertIfNegative val="1"/>
            <c:bubble3D val="0"/>
            <c:spPr>
              <a:solidFill>
                <a:srgbClr val="AEABAB"/>
              </a:solidFill>
            </c:spPr>
            <c:extLst>
              <c:ext xmlns:c16="http://schemas.microsoft.com/office/drawing/2014/chart" uri="{C3380CC4-5D6E-409C-BE32-E72D297353CC}">
                <c16:uniqueId val="{000006CB-6BA1-4C47-8A73-023BF2903B93}"/>
              </c:ext>
            </c:extLst>
          </c:dPt>
          <c:dPt>
            <c:idx val="869"/>
            <c:invertIfNegative val="1"/>
            <c:bubble3D val="0"/>
            <c:spPr>
              <a:solidFill>
                <a:srgbClr val="AEABAB"/>
              </a:solidFill>
            </c:spPr>
            <c:extLst>
              <c:ext xmlns:c16="http://schemas.microsoft.com/office/drawing/2014/chart" uri="{C3380CC4-5D6E-409C-BE32-E72D297353CC}">
                <c16:uniqueId val="{000006CD-6BA1-4C47-8A73-023BF2903B93}"/>
              </c:ext>
            </c:extLst>
          </c:dPt>
          <c:dPt>
            <c:idx val="870"/>
            <c:invertIfNegative val="1"/>
            <c:bubble3D val="0"/>
            <c:spPr>
              <a:solidFill>
                <a:srgbClr val="AEABAB"/>
              </a:solidFill>
            </c:spPr>
            <c:extLst>
              <c:ext xmlns:c16="http://schemas.microsoft.com/office/drawing/2014/chart" uri="{C3380CC4-5D6E-409C-BE32-E72D297353CC}">
                <c16:uniqueId val="{000006CF-6BA1-4C47-8A73-023BF2903B93}"/>
              </c:ext>
            </c:extLst>
          </c:dPt>
          <c:dPt>
            <c:idx val="871"/>
            <c:invertIfNegative val="1"/>
            <c:bubble3D val="0"/>
            <c:spPr>
              <a:solidFill>
                <a:srgbClr val="AEABAB"/>
              </a:solidFill>
            </c:spPr>
            <c:extLst>
              <c:ext xmlns:c16="http://schemas.microsoft.com/office/drawing/2014/chart" uri="{C3380CC4-5D6E-409C-BE32-E72D297353CC}">
                <c16:uniqueId val="{000006D1-6BA1-4C47-8A73-023BF2903B93}"/>
              </c:ext>
            </c:extLst>
          </c:dPt>
          <c:dPt>
            <c:idx val="872"/>
            <c:invertIfNegative val="1"/>
            <c:bubble3D val="0"/>
            <c:spPr>
              <a:solidFill>
                <a:srgbClr val="AEABAB"/>
              </a:solidFill>
            </c:spPr>
            <c:extLst>
              <c:ext xmlns:c16="http://schemas.microsoft.com/office/drawing/2014/chart" uri="{C3380CC4-5D6E-409C-BE32-E72D297353CC}">
                <c16:uniqueId val="{000006D3-6BA1-4C47-8A73-023BF2903B93}"/>
              </c:ext>
            </c:extLst>
          </c:dPt>
          <c:dPt>
            <c:idx val="873"/>
            <c:invertIfNegative val="1"/>
            <c:bubble3D val="0"/>
            <c:spPr>
              <a:solidFill>
                <a:srgbClr val="AEABAB"/>
              </a:solidFill>
            </c:spPr>
            <c:extLst>
              <c:ext xmlns:c16="http://schemas.microsoft.com/office/drawing/2014/chart" uri="{C3380CC4-5D6E-409C-BE32-E72D297353CC}">
                <c16:uniqueId val="{000006D5-6BA1-4C47-8A73-023BF2903B93}"/>
              </c:ext>
            </c:extLst>
          </c:dPt>
          <c:dPt>
            <c:idx val="874"/>
            <c:invertIfNegative val="1"/>
            <c:bubble3D val="0"/>
            <c:spPr>
              <a:solidFill>
                <a:srgbClr val="AEABAB"/>
              </a:solidFill>
            </c:spPr>
            <c:extLst>
              <c:ext xmlns:c16="http://schemas.microsoft.com/office/drawing/2014/chart" uri="{C3380CC4-5D6E-409C-BE32-E72D297353CC}">
                <c16:uniqueId val="{000006D7-6BA1-4C47-8A73-023BF2903B93}"/>
              </c:ext>
            </c:extLst>
          </c:dPt>
          <c:dPt>
            <c:idx val="875"/>
            <c:invertIfNegative val="1"/>
            <c:bubble3D val="0"/>
            <c:spPr>
              <a:solidFill>
                <a:srgbClr val="AEABAB"/>
              </a:solidFill>
            </c:spPr>
            <c:extLst>
              <c:ext xmlns:c16="http://schemas.microsoft.com/office/drawing/2014/chart" uri="{C3380CC4-5D6E-409C-BE32-E72D297353CC}">
                <c16:uniqueId val="{000006D9-6BA1-4C47-8A73-023BF2903B93}"/>
              </c:ext>
            </c:extLst>
          </c:dPt>
          <c:dPt>
            <c:idx val="876"/>
            <c:invertIfNegative val="1"/>
            <c:bubble3D val="0"/>
            <c:spPr>
              <a:solidFill>
                <a:srgbClr val="AEABAB"/>
              </a:solidFill>
            </c:spPr>
            <c:extLst>
              <c:ext xmlns:c16="http://schemas.microsoft.com/office/drawing/2014/chart" uri="{C3380CC4-5D6E-409C-BE32-E72D297353CC}">
                <c16:uniqueId val="{000006DB-6BA1-4C47-8A73-023BF2903B93}"/>
              </c:ext>
            </c:extLst>
          </c:dPt>
          <c:dPt>
            <c:idx val="877"/>
            <c:invertIfNegative val="1"/>
            <c:bubble3D val="0"/>
            <c:spPr>
              <a:solidFill>
                <a:srgbClr val="AEABAB"/>
              </a:solidFill>
            </c:spPr>
            <c:extLst>
              <c:ext xmlns:c16="http://schemas.microsoft.com/office/drawing/2014/chart" uri="{C3380CC4-5D6E-409C-BE32-E72D297353CC}">
                <c16:uniqueId val="{000006DD-6BA1-4C47-8A73-023BF2903B93}"/>
              </c:ext>
            </c:extLst>
          </c:dPt>
          <c:dPt>
            <c:idx val="878"/>
            <c:invertIfNegative val="1"/>
            <c:bubble3D val="0"/>
            <c:spPr>
              <a:solidFill>
                <a:srgbClr val="AEABAB"/>
              </a:solidFill>
            </c:spPr>
            <c:extLst>
              <c:ext xmlns:c16="http://schemas.microsoft.com/office/drawing/2014/chart" uri="{C3380CC4-5D6E-409C-BE32-E72D297353CC}">
                <c16:uniqueId val="{000006DF-6BA1-4C47-8A73-023BF2903B93}"/>
              </c:ext>
            </c:extLst>
          </c:dPt>
          <c:dPt>
            <c:idx val="879"/>
            <c:invertIfNegative val="1"/>
            <c:bubble3D val="0"/>
            <c:spPr>
              <a:solidFill>
                <a:srgbClr val="AEABAB"/>
              </a:solidFill>
            </c:spPr>
            <c:extLst>
              <c:ext xmlns:c16="http://schemas.microsoft.com/office/drawing/2014/chart" uri="{C3380CC4-5D6E-409C-BE32-E72D297353CC}">
                <c16:uniqueId val="{000006E1-6BA1-4C47-8A73-023BF2903B93}"/>
              </c:ext>
            </c:extLst>
          </c:dPt>
          <c:dPt>
            <c:idx val="880"/>
            <c:invertIfNegative val="1"/>
            <c:bubble3D val="0"/>
            <c:spPr>
              <a:solidFill>
                <a:srgbClr val="AEABAB"/>
              </a:solidFill>
            </c:spPr>
            <c:extLst>
              <c:ext xmlns:c16="http://schemas.microsoft.com/office/drawing/2014/chart" uri="{C3380CC4-5D6E-409C-BE32-E72D297353CC}">
                <c16:uniqueId val="{000006E3-6BA1-4C47-8A73-023BF2903B93}"/>
              </c:ext>
            </c:extLst>
          </c:dPt>
          <c:dPt>
            <c:idx val="881"/>
            <c:invertIfNegative val="1"/>
            <c:bubble3D val="0"/>
            <c:spPr>
              <a:solidFill>
                <a:srgbClr val="AEABAB"/>
              </a:solidFill>
            </c:spPr>
            <c:extLst>
              <c:ext xmlns:c16="http://schemas.microsoft.com/office/drawing/2014/chart" uri="{C3380CC4-5D6E-409C-BE32-E72D297353CC}">
                <c16:uniqueId val="{000006E5-6BA1-4C47-8A73-023BF2903B93}"/>
              </c:ext>
            </c:extLst>
          </c:dPt>
          <c:dPt>
            <c:idx val="882"/>
            <c:invertIfNegative val="1"/>
            <c:bubble3D val="0"/>
            <c:spPr>
              <a:solidFill>
                <a:srgbClr val="AEABAB"/>
              </a:solidFill>
            </c:spPr>
            <c:extLst>
              <c:ext xmlns:c16="http://schemas.microsoft.com/office/drawing/2014/chart" uri="{C3380CC4-5D6E-409C-BE32-E72D297353CC}">
                <c16:uniqueId val="{000006E7-6BA1-4C47-8A73-023BF2903B93}"/>
              </c:ext>
            </c:extLst>
          </c:dPt>
          <c:dPt>
            <c:idx val="883"/>
            <c:invertIfNegative val="1"/>
            <c:bubble3D val="0"/>
            <c:spPr>
              <a:solidFill>
                <a:srgbClr val="AEABAB"/>
              </a:solidFill>
            </c:spPr>
            <c:extLst>
              <c:ext xmlns:c16="http://schemas.microsoft.com/office/drawing/2014/chart" uri="{C3380CC4-5D6E-409C-BE32-E72D297353CC}">
                <c16:uniqueId val="{000006E9-6BA1-4C47-8A73-023BF2903B93}"/>
              </c:ext>
            </c:extLst>
          </c:dPt>
          <c:dPt>
            <c:idx val="884"/>
            <c:invertIfNegative val="1"/>
            <c:bubble3D val="0"/>
            <c:spPr>
              <a:solidFill>
                <a:srgbClr val="AEABAB"/>
              </a:solidFill>
            </c:spPr>
            <c:extLst>
              <c:ext xmlns:c16="http://schemas.microsoft.com/office/drawing/2014/chart" uri="{C3380CC4-5D6E-409C-BE32-E72D297353CC}">
                <c16:uniqueId val="{000006EB-6BA1-4C47-8A73-023BF2903B93}"/>
              </c:ext>
            </c:extLst>
          </c:dPt>
          <c:dPt>
            <c:idx val="885"/>
            <c:invertIfNegative val="1"/>
            <c:bubble3D val="0"/>
            <c:spPr>
              <a:solidFill>
                <a:srgbClr val="AEABAB"/>
              </a:solidFill>
            </c:spPr>
            <c:extLst>
              <c:ext xmlns:c16="http://schemas.microsoft.com/office/drawing/2014/chart" uri="{C3380CC4-5D6E-409C-BE32-E72D297353CC}">
                <c16:uniqueId val="{000006ED-6BA1-4C47-8A73-023BF2903B93}"/>
              </c:ext>
            </c:extLst>
          </c:dPt>
          <c:dPt>
            <c:idx val="886"/>
            <c:invertIfNegative val="1"/>
            <c:bubble3D val="0"/>
            <c:spPr>
              <a:solidFill>
                <a:srgbClr val="AEABAB"/>
              </a:solidFill>
            </c:spPr>
            <c:extLst>
              <c:ext xmlns:c16="http://schemas.microsoft.com/office/drawing/2014/chart" uri="{C3380CC4-5D6E-409C-BE32-E72D297353CC}">
                <c16:uniqueId val="{000006EF-6BA1-4C47-8A73-023BF2903B93}"/>
              </c:ext>
            </c:extLst>
          </c:dPt>
          <c:dPt>
            <c:idx val="887"/>
            <c:invertIfNegative val="1"/>
            <c:bubble3D val="0"/>
            <c:spPr>
              <a:solidFill>
                <a:srgbClr val="AEABAB"/>
              </a:solidFill>
            </c:spPr>
            <c:extLst>
              <c:ext xmlns:c16="http://schemas.microsoft.com/office/drawing/2014/chart" uri="{C3380CC4-5D6E-409C-BE32-E72D297353CC}">
                <c16:uniqueId val="{000006F1-6BA1-4C47-8A73-023BF2903B93}"/>
              </c:ext>
            </c:extLst>
          </c:dPt>
          <c:dPt>
            <c:idx val="888"/>
            <c:invertIfNegative val="1"/>
            <c:bubble3D val="0"/>
            <c:spPr>
              <a:solidFill>
                <a:srgbClr val="AEABAB"/>
              </a:solidFill>
            </c:spPr>
            <c:extLst>
              <c:ext xmlns:c16="http://schemas.microsoft.com/office/drawing/2014/chart" uri="{C3380CC4-5D6E-409C-BE32-E72D297353CC}">
                <c16:uniqueId val="{000006F3-6BA1-4C47-8A73-023BF2903B93}"/>
              </c:ext>
            </c:extLst>
          </c:dPt>
          <c:dPt>
            <c:idx val="889"/>
            <c:invertIfNegative val="1"/>
            <c:bubble3D val="0"/>
            <c:spPr>
              <a:solidFill>
                <a:srgbClr val="AEABAB"/>
              </a:solidFill>
            </c:spPr>
            <c:extLst>
              <c:ext xmlns:c16="http://schemas.microsoft.com/office/drawing/2014/chart" uri="{C3380CC4-5D6E-409C-BE32-E72D297353CC}">
                <c16:uniqueId val="{000006F5-6BA1-4C47-8A73-023BF2903B93}"/>
              </c:ext>
            </c:extLst>
          </c:dPt>
          <c:dPt>
            <c:idx val="890"/>
            <c:invertIfNegative val="1"/>
            <c:bubble3D val="0"/>
            <c:spPr>
              <a:solidFill>
                <a:srgbClr val="AEABAB"/>
              </a:solidFill>
            </c:spPr>
            <c:extLst>
              <c:ext xmlns:c16="http://schemas.microsoft.com/office/drawing/2014/chart" uri="{C3380CC4-5D6E-409C-BE32-E72D297353CC}">
                <c16:uniqueId val="{000006F7-6BA1-4C47-8A73-023BF2903B93}"/>
              </c:ext>
            </c:extLst>
          </c:dPt>
          <c:dPt>
            <c:idx val="891"/>
            <c:invertIfNegative val="1"/>
            <c:bubble3D val="0"/>
            <c:spPr>
              <a:solidFill>
                <a:srgbClr val="AEABAB"/>
              </a:solidFill>
            </c:spPr>
            <c:extLst>
              <c:ext xmlns:c16="http://schemas.microsoft.com/office/drawing/2014/chart" uri="{C3380CC4-5D6E-409C-BE32-E72D297353CC}">
                <c16:uniqueId val="{000006F9-6BA1-4C47-8A73-023BF2903B93}"/>
              </c:ext>
            </c:extLst>
          </c:dPt>
          <c:dPt>
            <c:idx val="892"/>
            <c:invertIfNegative val="1"/>
            <c:bubble3D val="0"/>
            <c:spPr>
              <a:solidFill>
                <a:srgbClr val="AEABAB"/>
              </a:solidFill>
            </c:spPr>
            <c:extLst>
              <c:ext xmlns:c16="http://schemas.microsoft.com/office/drawing/2014/chart" uri="{C3380CC4-5D6E-409C-BE32-E72D297353CC}">
                <c16:uniqueId val="{000006FB-6BA1-4C47-8A73-023BF2903B93}"/>
              </c:ext>
            </c:extLst>
          </c:dPt>
          <c:dPt>
            <c:idx val="893"/>
            <c:invertIfNegative val="1"/>
            <c:bubble3D val="0"/>
            <c:spPr>
              <a:solidFill>
                <a:srgbClr val="AEABAB"/>
              </a:solidFill>
            </c:spPr>
            <c:extLst>
              <c:ext xmlns:c16="http://schemas.microsoft.com/office/drawing/2014/chart" uri="{C3380CC4-5D6E-409C-BE32-E72D297353CC}">
                <c16:uniqueId val="{000006FD-6BA1-4C47-8A73-023BF2903B93}"/>
              </c:ext>
            </c:extLst>
          </c:dPt>
          <c:dPt>
            <c:idx val="894"/>
            <c:invertIfNegative val="1"/>
            <c:bubble3D val="0"/>
            <c:spPr>
              <a:solidFill>
                <a:srgbClr val="AEABAB"/>
              </a:solidFill>
            </c:spPr>
            <c:extLst>
              <c:ext xmlns:c16="http://schemas.microsoft.com/office/drawing/2014/chart" uri="{C3380CC4-5D6E-409C-BE32-E72D297353CC}">
                <c16:uniqueId val="{000006FF-6BA1-4C47-8A73-023BF2903B93}"/>
              </c:ext>
            </c:extLst>
          </c:dPt>
          <c:dPt>
            <c:idx val="895"/>
            <c:invertIfNegative val="1"/>
            <c:bubble3D val="0"/>
            <c:spPr>
              <a:solidFill>
                <a:srgbClr val="AEABAB"/>
              </a:solidFill>
            </c:spPr>
            <c:extLst>
              <c:ext xmlns:c16="http://schemas.microsoft.com/office/drawing/2014/chart" uri="{C3380CC4-5D6E-409C-BE32-E72D297353CC}">
                <c16:uniqueId val="{00000701-6BA1-4C47-8A73-023BF2903B93}"/>
              </c:ext>
            </c:extLst>
          </c:dPt>
          <c:dPt>
            <c:idx val="896"/>
            <c:invertIfNegative val="1"/>
            <c:bubble3D val="0"/>
            <c:spPr>
              <a:solidFill>
                <a:srgbClr val="AEABAB"/>
              </a:solidFill>
            </c:spPr>
            <c:extLst>
              <c:ext xmlns:c16="http://schemas.microsoft.com/office/drawing/2014/chart" uri="{C3380CC4-5D6E-409C-BE32-E72D297353CC}">
                <c16:uniqueId val="{00000703-6BA1-4C47-8A73-023BF2903B93}"/>
              </c:ext>
            </c:extLst>
          </c:dPt>
          <c:dPt>
            <c:idx val="897"/>
            <c:invertIfNegative val="1"/>
            <c:bubble3D val="0"/>
            <c:spPr>
              <a:solidFill>
                <a:srgbClr val="AEABAB"/>
              </a:solidFill>
            </c:spPr>
            <c:extLst>
              <c:ext xmlns:c16="http://schemas.microsoft.com/office/drawing/2014/chart" uri="{C3380CC4-5D6E-409C-BE32-E72D297353CC}">
                <c16:uniqueId val="{00000705-6BA1-4C47-8A73-023BF2903B93}"/>
              </c:ext>
            </c:extLst>
          </c:dPt>
          <c:dPt>
            <c:idx val="898"/>
            <c:invertIfNegative val="1"/>
            <c:bubble3D val="0"/>
            <c:spPr>
              <a:solidFill>
                <a:srgbClr val="AEABAB"/>
              </a:solidFill>
            </c:spPr>
            <c:extLst>
              <c:ext xmlns:c16="http://schemas.microsoft.com/office/drawing/2014/chart" uri="{C3380CC4-5D6E-409C-BE32-E72D297353CC}">
                <c16:uniqueId val="{00000707-6BA1-4C47-8A73-023BF2903B93}"/>
              </c:ext>
            </c:extLst>
          </c:dPt>
          <c:dPt>
            <c:idx val="899"/>
            <c:invertIfNegative val="1"/>
            <c:bubble3D val="0"/>
            <c:spPr>
              <a:solidFill>
                <a:srgbClr val="AEABAB"/>
              </a:solidFill>
            </c:spPr>
            <c:extLst>
              <c:ext xmlns:c16="http://schemas.microsoft.com/office/drawing/2014/chart" uri="{C3380CC4-5D6E-409C-BE32-E72D297353CC}">
                <c16:uniqueId val="{00000709-6BA1-4C47-8A73-023BF2903B93}"/>
              </c:ext>
            </c:extLst>
          </c:dPt>
          <c:dPt>
            <c:idx val="900"/>
            <c:invertIfNegative val="1"/>
            <c:bubble3D val="0"/>
            <c:spPr>
              <a:solidFill>
                <a:srgbClr val="AEABAB"/>
              </a:solidFill>
            </c:spPr>
            <c:extLst>
              <c:ext xmlns:c16="http://schemas.microsoft.com/office/drawing/2014/chart" uri="{C3380CC4-5D6E-409C-BE32-E72D297353CC}">
                <c16:uniqueId val="{0000070B-6BA1-4C47-8A73-023BF2903B93}"/>
              </c:ext>
            </c:extLst>
          </c:dPt>
          <c:dPt>
            <c:idx val="901"/>
            <c:invertIfNegative val="1"/>
            <c:bubble3D val="0"/>
            <c:spPr>
              <a:solidFill>
                <a:srgbClr val="AEABAB"/>
              </a:solidFill>
            </c:spPr>
            <c:extLst>
              <c:ext xmlns:c16="http://schemas.microsoft.com/office/drawing/2014/chart" uri="{C3380CC4-5D6E-409C-BE32-E72D297353CC}">
                <c16:uniqueId val="{0000070D-6BA1-4C47-8A73-023BF2903B93}"/>
              </c:ext>
            </c:extLst>
          </c:dPt>
          <c:dPt>
            <c:idx val="902"/>
            <c:invertIfNegative val="1"/>
            <c:bubble3D val="0"/>
            <c:spPr>
              <a:solidFill>
                <a:srgbClr val="AEABAB"/>
              </a:solidFill>
            </c:spPr>
            <c:extLst>
              <c:ext xmlns:c16="http://schemas.microsoft.com/office/drawing/2014/chart" uri="{C3380CC4-5D6E-409C-BE32-E72D297353CC}">
                <c16:uniqueId val="{0000070F-6BA1-4C47-8A73-023BF2903B93}"/>
              </c:ext>
            </c:extLst>
          </c:dPt>
          <c:dPt>
            <c:idx val="903"/>
            <c:invertIfNegative val="1"/>
            <c:bubble3D val="0"/>
            <c:spPr>
              <a:solidFill>
                <a:srgbClr val="AEABAB"/>
              </a:solidFill>
            </c:spPr>
            <c:extLst>
              <c:ext xmlns:c16="http://schemas.microsoft.com/office/drawing/2014/chart" uri="{C3380CC4-5D6E-409C-BE32-E72D297353CC}">
                <c16:uniqueId val="{00000711-6BA1-4C47-8A73-023BF2903B93}"/>
              </c:ext>
            </c:extLst>
          </c:dPt>
          <c:dPt>
            <c:idx val="904"/>
            <c:invertIfNegative val="1"/>
            <c:bubble3D val="0"/>
            <c:spPr>
              <a:solidFill>
                <a:srgbClr val="AEABAB"/>
              </a:solidFill>
            </c:spPr>
            <c:extLst>
              <c:ext xmlns:c16="http://schemas.microsoft.com/office/drawing/2014/chart" uri="{C3380CC4-5D6E-409C-BE32-E72D297353CC}">
                <c16:uniqueId val="{00000713-6BA1-4C47-8A73-023BF2903B93}"/>
              </c:ext>
            </c:extLst>
          </c:dPt>
          <c:dPt>
            <c:idx val="905"/>
            <c:invertIfNegative val="1"/>
            <c:bubble3D val="0"/>
            <c:spPr>
              <a:solidFill>
                <a:srgbClr val="AEABAB"/>
              </a:solidFill>
            </c:spPr>
            <c:extLst>
              <c:ext xmlns:c16="http://schemas.microsoft.com/office/drawing/2014/chart" uri="{C3380CC4-5D6E-409C-BE32-E72D297353CC}">
                <c16:uniqueId val="{00000715-6BA1-4C47-8A73-023BF2903B93}"/>
              </c:ext>
            </c:extLst>
          </c:dPt>
          <c:dPt>
            <c:idx val="906"/>
            <c:invertIfNegative val="1"/>
            <c:bubble3D val="0"/>
            <c:spPr>
              <a:solidFill>
                <a:srgbClr val="AEABAB"/>
              </a:solidFill>
            </c:spPr>
            <c:extLst>
              <c:ext xmlns:c16="http://schemas.microsoft.com/office/drawing/2014/chart" uri="{C3380CC4-5D6E-409C-BE32-E72D297353CC}">
                <c16:uniqueId val="{00000717-6BA1-4C47-8A73-023BF2903B93}"/>
              </c:ext>
            </c:extLst>
          </c:dPt>
          <c:dPt>
            <c:idx val="907"/>
            <c:invertIfNegative val="1"/>
            <c:bubble3D val="0"/>
            <c:spPr>
              <a:solidFill>
                <a:srgbClr val="AEABAB"/>
              </a:solidFill>
            </c:spPr>
            <c:extLst>
              <c:ext xmlns:c16="http://schemas.microsoft.com/office/drawing/2014/chart" uri="{C3380CC4-5D6E-409C-BE32-E72D297353CC}">
                <c16:uniqueId val="{00000719-6BA1-4C47-8A73-023BF2903B93}"/>
              </c:ext>
            </c:extLst>
          </c:dPt>
          <c:dPt>
            <c:idx val="908"/>
            <c:invertIfNegative val="1"/>
            <c:bubble3D val="0"/>
            <c:spPr>
              <a:solidFill>
                <a:srgbClr val="AEABAB"/>
              </a:solidFill>
            </c:spPr>
            <c:extLst>
              <c:ext xmlns:c16="http://schemas.microsoft.com/office/drawing/2014/chart" uri="{C3380CC4-5D6E-409C-BE32-E72D297353CC}">
                <c16:uniqueId val="{0000071B-6BA1-4C47-8A73-023BF2903B93}"/>
              </c:ext>
            </c:extLst>
          </c:dPt>
          <c:dPt>
            <c:idx val="909"/>
            <c:invertIfNegative val="1"/>
            <c:bubble3D val="0"/>
            <c:spPr>
              <a:solidFill>
                <a:srgbClr val="AEABAB"/>
              </a:solidFill>
            </c:spPr>
            <c:extLst>
              <c:ext xmlns:c16="http://schemas.microsoft.com/office/drawing/2014/chart" uri="{C3380CC4-5D6E-409C-BE32-E72D297353CC}">
                <c16:uniqueId val="{0000071D-6BA1-4C47-8A73-023BF2903B93}"/>
              </c:ext>
            </c:extLst>
          </c:dPt>
          <c:dPt>
            <c:idx val="910"/>
            <c:invertIfNegative val="1"/>
            <c:bubble3D val="0"/>
            <c:spPr>
              <a:solidFill>
                <a:srgbClr val="AEABAB"/>
              </a:solidFill>
            </c:spPr>
            <c:extLst>
              <c:ext xmlns:c16="http://schemas.microsoft.com/office/drawing/2014/chart" uri="{C3380CC4-5D6E-409C-BE32-E72D297353CC}">
                <c16:uniqueId val="{0000071F-6BA1-4C47-8A73-023BF2903B93}"/>
              </c:ext>
            </c:extLst>
          </c:dPt>
          <c:dPt>
            <c:idx val="911"/>
            <c:invertIfNegative val="1"/>
            <c:bubble3D val="0"/>
            <c:spPr>
              <a:solidFill>
                <a:srgbClr val="AEABAB"/>
              </a:solidFill>
            </c:spPr>
            <c:extLst>
              <c:ext xmlns:c16="http://schemas.microsoft.com/office/drawing/2014/chart" uri="{C3380CC4-5D6E-409C-BE32-E72D297353CC}">
                <c16:uniqueId val="{00000721-6BA1-4C47-8A73-023BF2903B93}"/>
              </c:ext>
            </c:extLst>
          </c:dPt>
          <c:dPt>
            <c:idx val="912"/>
            <c:invertIfNegative val="1"/>
            <c:bubble3D val="0"/>
            <c:spPr>
              <a:solidFill>
                <a:srgbClr val="AEABAB"/>
              </a:solidFill>
            </c:spPr>
            <c:extLst>
              <c:ext xmlns:c16="http://schemas.microsoft.com/office/drawing/2014/chart" uri="{C3380CC4-5D6E-409C-BE32-E72D297353CC}">
                <c16:uniqueId val="{00000723-6BA1-4C47-8A73-023BF2903B93}"/>
              </c:ext>
            </c:extLst>
          </c:dPt>
          <c:dPt>
            <c:idx val="913"/>
            <c:invertIfNegative val="1"/>
            <c:bubble3D val="0"/>
            <c:spPr>
              <a:solidFill>
                <a:srgbClr val="AEABAB"/>
              </a:solidFill>
            </c:spPr>
            <c:extLst>
              <c:ext xmlns:c16="http://schemas.microsoft.com/office/drawing/2014/chart" uri="{C3380CC4-5D6E-409C-BE32-E72D297353CC}">
                <c16:uniqueId val="{00000725-6BA1-4C47-8A73-023BF2903B93}"/>
              </c:ext>
            </c:extLst>
          </c:dPt>
          <c:dPt>
            <c:idx val="914"/>
            <c:invertIfNegative val="1"/>
            <c:bubble3D val="0"/>
            <c:spPr>
              <a:solidFill>
                <a:srgbClr val="AEABAB"/>
              </a:solidFill>
            </c:spPr>
            <c:extLst>
              <c:ext xmlns:c16="http://schemas.microsoft.com/office/drawing/2014/chart" uri="{C3380CC4-5D6E-409C-BE32-E72D297353CC}">
                <c16:uniqueId val="{00000727-6BA1-4C47-8A73-023BF2903B93}"/>
              </c:ext>
            </c:extLst>
          </c:dPt>
          <c:dPt>
            <c:idx val="915"/>
            <c:invertIfNegative val="1"/>
            <c:bubble3D val="0"/>
            <c:spPr>
              <a:solidFill>
                <a:srgbClr val="AEABAB"/>
              </a:solidFill>
            </c:spPr>
            <c:extLst>
              <c:ext xmlns:c16="http://schemas.microsoft.com/office/drawing/2014/chart" uri="{C3380CC4-5D6E-409C-BE32-E72D297353CC}">
                <c16:uniqueId val="{00000729-6BA1-4C47-8A73-023BF2903B93}"/>
              </c:ext>
            </c:extLst>
          </c:dPt>
          <c:dPt>
            <c:idx val="916"/>
            <c:invertIfNegative val="1"/>
            <c:bubble3D val="0"/>
            <c:spPr>
              <a:solidFill>
                <a:srgbClr val="AEABAB"/>
              </a:solidFill>
            </c:spPr>
            <c:extLst>
              <c:ext xmlns:c16="http://schemas.microsoft.com/office/drawing/2014/chart" uri="{C3380CC4-5D6E-409C-BE32-E72D297353CC}">
                <c16:uniqueId val="{0000072B-6BA1-4C47-8A73-023BF2903B93}"/>
              </c:ext>
            </c:extLst>
          </c:dPt>
          <c:dPt>
            <c:idx val="917"/>
            <c:invertIfNegative val="1"/>
            <c:bubble3D val="0"/>
            <c:spPr>
              <a:solidFill>
                <a:srgbClr val="AEABAB"/>
              </a:solidFill>
            </c:spPr>
            <c:extLst>
              <c:ext xmlns:c16="http://schemas.microsoft.com/office/drawing/2014/chart" uri="{C3380CC4-5D6E-409C-BE32-E72D297353CC}">
                <c16:uniqueId val="{0000072D-6BA1-4C47-8A73-023BF2903B93}"/>
              </c:ext>
            </c:extLst>
          </c:dPt>
          <c:dPt>
            <c:idx val="918"/>
            <c:invertIfNegative val="1"/>
            <c:bubble3D val="0"/>
            <c:spPr>
              <a:solidFill>
                <a:srgbClr val="AEABAB"/>
              </a:solidFill>
            </c:spPr>
            <c:extLst>
              <c:ext xmlns:c16="http://schemas.microsoft.com/office/drawing/2014/chart" uri="{C3380CC4-5D6E-409C-BE32-E72D297353CC}">
                <c16:uniqueId val="{0000072F-6BA1-4C47-8A73-023BF2903B93}"/>
              </c:ext>
            </c:extLst>
          </c:dPt>
          <c:dPt>
            <c:idx val="919"/>
            <c:invertIfNegative val="1"/>
            <c:bubble3D val="0"/>
            <c:spPr>
              <a:solidFill>
                <a:srgbClr val="AEABAB"/>
              </a:solidFill>
            </c:spPr>
            <c:extLst>
              <c:ext xmlns:c16="http://schemas.microsoft.com/office/drawing/2014/chart" uri="{C3380CC4-5D6E-409C-BE32-E72D297353CC}">
                <c16:uniqueId val="{00000731-6BA1-4C47-8A73-023BF2903B93}"/>
              </c:ext>
            </c:extLst>
          </c:dPt>
          <c:dPt>
            <c:idx val="920"/>
            <c:invertIfNegative val="1"/>
            <c:bubble3D val="0"/>
            <c:spPr>
              <a:solidFill>
                <a:srgbClr val="AEABAB"/>
              </a:solidFill>
            </c:spPr>
            <c:extLst>
              <c:ext xmlns:c16="http://schemas.microsoft.com/office/drawing/2014/chart" uri="{C3380CC4-5D6E-409C-BE32-E72D297353CC}">
                <c16:uniqueId val="{00000733-6BA1-4C47-8A73-023BF2903B93}"/>
              </c:ext>
            </c:extLst>
          </c:dPt>
          <c:dPt>
            <c:idx val="921"/>
            <c:invertIfNegative val="1"/>
            <c:bubble3D val="0"/>
            <c:spPr>
              <a:solidFill>
                <a:srgbClr val="AEABAB"/>
              </a:solidFill>
            </c:spPr>
            <c:extLst>
              <c:ext xmlns:c16="http://schemas.microsoft.com/office/drawing/2014/chart" uri="{C3380CC4-5D6E-409C-BE32-E72D297353CC}">
                <c16:uniqueId val="{00000735-6BA1-4C47-8A73-023BF2903B93}"/>
              </c:ext>
            </c:extLst>
          </c:dPt>
          <c:dPt>
            <c:idx val="922"/>
            <c:invertIfNegative val="1"/>
            <c:bubble3D val="0"/>
            <c:spPr>
              <a:solidFill>
                <a:srgbClr val="AEABAB"/>
              </a:solidFill>
            </c:spPr>
            <c:extLst>
              <c:ext xmlns:c16="http://schemas.microsoft.com/office/drawing/2014/chart" uri="{C3380CC4-5D6E-409C-BE32-E72D297353CC}">
                <c16:uniqueId val="{00000737-6BA1-4C47-8A73-023BF2903B93}"/>
              </c:ext>
            </c:extLst>
          </c:dPt>
          <c:dPt>
            <c:idx val="923"/>
            <c:invertIfNegative val="1"/>
            <c:bubble3D val="0"/>
            <c:spPr>
              <a:solidFill>
                <a:srgbClr val="AEABAB"/>
              </a:solidFill>
            </c:spPr>
            <c:extLst>
              <c:ext xmlns:c16="http://schemas.microsoft.com/office/drawing/2014/chart" uri="{C3380CC4-5D6E-409C-BE32-E72D297353CC}">
                <c16:uniqueId val="{00000739-6BA1-4C47-8A73-023BF2903B93}"/>
              </c:ext>
            </c:extLst>
          </c:dPt>
          <c:dPt>
            <c:idx val="924"/>
            <c:invertIfNegative val="1"/>
            <c:bubble3D val="0"/>
            <c:spPr>
              <a:solidFill>
                <a:srgbClr val="AEABAB"/>
              </a:solidFill>
            </c:spPr>
            <c:extLst>
              <c:ext xmlns:c16="http://schemas.microsoft.com/office/drawing/2014/chart" uri="{C3380CC4-5D6E-409C-BE32-E72D297353CC}">
                <c16:uniqueId val="{0000073B-6BA1-4C47-8A73-023BF2903B93}"/>
              </c:ext>
            </c:extLst>
          </c:dPt>
          <c:dPt>
            <c:idx val="925"/>
            <c:invertIfNegative val="1"/>
            <c:bubble3D val="0"/>
            <c:spPr>
              <a:solidFill>
                <a:srgbClr val="AEABAB"/>
              </a:solidFill>
            </c:spPr>
            <c:extLst>
              <c:ext xmlns:c16="http://schemas.microsoft.com/office/drawing/2014/chart" uri="{C3380CC4-5D6E-409C-BE32-E72D297353CC}">
                <c16:uniqueId val="{0000073D-6BA1-4C47-8A73-023BF2903B93}"/>
              </c:ext>
            </c:extLst>
          </c:dPt>
          <c:dPt>
            <c:idx val="926"/>
            <c:invertIfNegative val="1"/>
            <c:bubble3D val="0"/>
            <c:spPr>
              <a:solidFill>
                <a:srgbClr val="AEABAB"/>
              </a:solidFill>
            </c:spPr>
            <c:extLst>
              <c:ext xmlns:c16="http://schemas.microsoft.com/office/drawing/2014/chart" uri="{C3380CC4-5D6E-409C-BE32-E72D297353CC}">
                <c16:uniqueId val="{0000073F-6BA1-4C47-8A73-023BF2903B93}"/>
              </c:ext>
            </c:extLst>
          </c:dPt>
          <c:dPt>
            <c:idx val="927"/>
            <c:invertIfNegative val="1"/>
            <c:bubble3D val="0"/>
            <c:spPr>
              <a:solidFill>
                <a:srgbClr val="AEABAB"/>
              </a:solidFill>
            </c:spPr>
            <c:extLst>
              <c:ext xmlns:c16="http://schemas.microsoft.com/office/drawing/2014/chart" uri="{C3380CC4-5D6E-409C-BE32-E72D297353CC}">
                <c16:uniqueId val="{00000741-6BA1-4C47-8A73-023BF2903B93}"/>
              </c:ext>
            </c:extLst>
          </c:dPt>
          <c:dPt>
            <c:idx val="928"/>
            <c:invertIfNegative val="1"/>
            <c:bubble3D val="0"/>
            <c:spPr>
              <a:solidFill>
                <a:srgbClr val="AEABAB"/>
              </a:solidFill>
            </c:spPr>
            <c:extLst>
              <c:ext xmlns:c16="http://schemas.microsoft.com/office/drawing/2014/chart" uri="{C3380CC4-5D6E-409C-BE32-E72D297353CC}">
                <c16:uniqueId val="{00000743-6BA1-4C47-8A73-023BF2903B93}"/>
              </c:ext>
            </c:extLst>
          </c:dPt>
          <c:dPt>
            <c:idx val="929"/>
            <c:invertIfNegative val="1"/>
            <c:bubble3D val="0"/>
            <c:spPr>
              <a:solidFill>
                <a:srgbClr val="AEABAB"/>
              </a:solidFill>
            </c:spPr>
            <c:extLst>
              <c:ext xmlns:c16="http://schemas.microsoft.com/office/drawing/2014/chart" uri="{C3380CC4-5D6E-409C-BE32-E72D297353CC}">
                <c16:uniqueId val="{00000745-6BA1-4C47-8A73-023BF2903B93}"/>
              </c:ext>
            </c:extLst>
          </c:dPt>
          <c:dPt>
            <c:idx val="930"/>
            <c:invertIfNegative val="1"/>
            <c:bubble3D val="0"/>
            <c:spPr>
              <a:solidFill>
                <a:srgbClr val="AEABAB"/>
              </a:solidFill>
            </c:spPr>
            <c:extLst>
              <c:ext xmlns:c16="http://schemas.microsoft.com/office/drawing/2014/chart" uri="{C3380CC4-5D6E-409C-BE32-E72D297353CC}">
                <c16:uniqueId val="{00000747-6BA1-4C47-8A73-023BF2903B93}"/>
              </c:ext>
            </c:extLst>
          </c:dPt>
          <c:dPt>
            <c:idx val="931"/>
            <c:invertIfNegative val="1"/>
            <c:bubble3D val="0"/>
            <c:spPr>
              <a:solidFill>
                <a:srgbClr val="AEABAB"/>
              </a:solidFill>
            </c:spPr>
            <c:extLst>
              <c:ext xmlns:c16="http://schemas.microsoft.com/office/drawing/2014/chart" uri="{C3380CC4-5D6E-409C-BE32-E72D297353CC}">
                <c16:uniqueId val="{00000749-6BA1-4C47-8A73-023BF2903B93}"/>
              </c:ext>
            </c:extLst>
          </c:dPt>
          <c:dPt>
            <c:idx val="932"/>
            <c:invertIfNegative val="1"/>
            <c:bubble3D val="0"/>
            <c:spPr>
              <a:solidFill>
                <a:srgbClr val="AEABAB"/>
              </a:solidFill>
            </c:spPr>
            <c:extLst>
              <c:ext xmlns:c16="http://schemas.microsoft.com/office/drawing/2014/chart" uri="{C3380CC4-5D6E-409C-BE32-E72D297353CC}">
                <c16:uniqueId val="{0000074B-6BA1-4C47-8A73-023BF2903B93}"/>
              </c:ext>
            </c:extLst>
          </c:dPt>
          <c:dPt>
            <c:idx val="933"/>
            <c:invertIfNegative val="1"/>
            <c:bubble3D val="0"/>
            <c:spPr>
              <a:solidFill>
                <a:srgbClr val="AEABAB"/>
              </a:solidFill>
            </c:spPr>
            <c:extLst>
              <c:ext xmlns:c16="http://schemas.microsoft.com/office/drawing/2014/chart" uri="{C3380CC4-5D6E-409C-BE32-E72D297353CC}">
                <c16:uniqueId val="{0000074D-6BA1-4C47-8A73-023BF2903B93}"/>
              </c:ext>
            </c:extLst>
          </c:dPt>
          <c:dPt>
            <c:idx val="934"/>
            <c:invertIfNegative val="1"/>
            <c:bubble3D val="0"/>
            <c:spPr>
              <a:solidFill>
                <a:srgbClr val="AEABAB"/>
              </a:solidFill>
            </c:spPr>
            <c:extLst>
              <c:ext xmlns:c16="http://schemas.microsoft.com/office/drawing/2014/chart" uri="{C3380CC4-5D6E-409C-BE32-E72D297353CC}">
                <c16:uniqueId val="{0000074F-6BA1-4C47-8A73-023BF2903B93}"/>
              </c:ext>
            </c:extLst>
          </c:dPt>
          <c:dPt>
            <c:idx val="935"/>
            <c:invertIfNegative val="1"/>
            <c:bubble3D val="0"/>
            <c:spPr>
              <a:solidFill>
                <a:srgbClr val="AEABAB"/>
              </a:solidFill>
            </c:spPr>
            <c:extLst>
              <c:ext xmlns:c16="http://schemas.microsoft.com/office/drawing/2014/chart" uri="{C3380CC4-5D6E-409C-BE32-E72D297353CC}">
                <c16:uniqueId val="{00000751-6BA1-4C47-8A73-023BF2903B93}"/>
              </c:ext>
            </c:extLst>
          </c:dPt>
          <c:dPt>
            <c:idx val="936"/>
            <c:invertIfNegative val="1"/>
            <c:bubble3D val="0"/>
            <c:spPr>
              <a:solidFill>
                <a:srgbClr val="AEABAB"/>
              </a:solidFill>
            </c:spPr>
            <c:extLst>
              <c:ext xmlns:c16="http://schemas.microsoft.com/office/drawing/2014/chart" uri="{C3380CC4-5D6E-409C-BE32-E72D297353CC}">
                <c16:uniqueId val="{00000753-6BA1-4C47-8A73-023BF2903B93}"/>
              </c:ext>
            </c:extLst>
          </c:dPt>
          <c:dPt>
            <c:idx val="937"/>
            <c:invertIfNegative val="1"/>
            <c:bubble3D val="0"/>
            <c:spPr>
              <a:solidFill>
                <a:srgbClr val="AEABAB"/>
              </a:solidFill>
            </c:spPr>
            <c:extLst>
              <c:ext xmlns:c16="http://schemas.microsoft.com/office/drawing/2014/chart" uri="{C3380CC4-5D6E-409C-BE32-E72D297353CC}">
                <c16:uniqueId val="{00000755-6BA1-4C47-8A73-023BF2903B93}"/>
              </c:ext>
            </c:extLst>
          </c:dPt>
          <c:dPt>
            <c:idx val="938"/>
            <c:invertIfNegative val="1"/>
            <c:bubble3D val="0"/>
            <c:spPr>
              <a:solidFill>
                <a:srgbClr val="AEABAB"/>
              </a:solidFill>
            </c:spPr>
            <c:extLst>
              <c:ext xmlns:c16="http://schemas.microsoft.com/office/drawing/2014/chart" uri="{C3380CC4-5D6E-409C-BE32-E72D297353CC}">
                <c16:uniqueId val="{00000757-6BA1-4C47-8A73-023BF2903B93}"/>
              </c:ext>
            </c:extLst>
          </c:dPt>
          <c:dPt>
            <c:idx val="939"/>
            <c:invertIfNegative val="1"/>
            <c:bubble3D val="0"/>
            <c:spPr>
              <a:solidFill>
                <a:srgbClr val="AEABAB"/>
              </a:solidFill>
            </c:spPr>
            <c:extLst>
              <c:ext xmlns:c16="http://schemas.microsoft.com/office/drawing/2014/chart" uri="{C3380CC4-5D6E-409C-BE32-E72D297353CC}">
                <c16:uniqueId val="{00000759-6BA1-4C47-8A73-023BF2903B93}"/>
              </c:ext>
            </c:extLst>
          </c:dPt>
          <c:dPt>
            <c:idx val="940"/>
            <c:invertIfNegative val="1"/>
            <c:bubble3D val="0"/>
            <c:spPr>
              <a:solidFill>
                <a:srgbClr val="AEABAB"/>
              </a:solidFill>
            </c:spPr>
            <c:extLst>
              <c:ext xmlns:c16="http://schemas.microsoft.com/office/drawing/2014/chart" uri="{C3380CC4-5D6E-409C-BE32-E72D297353CC}">
                <c16:uniqueId val="{0000075B-6BA1-4C47-8A73-023BF2903B93}"/>
              </c:ext>
            </c:extLst>
          </c:dPt>
          <c:dPt>
            <c:idx val="941"/>
            <c:invertIfNegative val="1"/>
            <c:bubble3D val="0"/>
            <c:spPr>
              <a:solidFill>
                <a:srgbClr val="AEABAB"/>
              </a:solidFill>
            </c:spPr>
            <c:extLst>
              <c:ext xmlns:c16="http://schemas.microsoft.com/office/drawing/2014/chart" uri="{C3380CC4-5D6E-409C-BE32-E72D297353CC}">
                <c16:uniqueId val="{0000075D-6BA1-4C47-8A73-023BF2903B93}"/>
              </c:ext>
            </c:extLst>
          </c:dPt>
          <c:dPt>
            <c:idx val="942"/>
            <c:invertIfNegative val="1"/>
            <c:bubble3D val="0"/>
            <c:spPr>
              <a:solidFill>
                <a:srgbClr val="AEABAB"/>
              </a:solidFill>
            </c:spPr>
            <c:extLst>
              <c:ext xmlns:c16="http://schemas.microsoft.com/office/drawing/2014/chart" uri="{C3380CC4-5D6E-409C-BE32-E72D297353CC}">
                <c16:uniqueId val="{0000075F-6BA1-4C47-8A73-023BF2903B93}"/>
              </c:ext>
            </c:extLst>
          </c:dPt>
          <c:dPt>
            <c:idx val="943"/>
            <c:invertIfNegative val="1"/>
            <c:bubble3D val="0"/>
            <c:spPr>
              <a:solidFill>
                <a:srgbClr val="AEABAB"/>
              </a:solidFill>
            </c:spPr>
            <c:extLst>
              <c:ext xmlns:c16="http://schemas.microsoft.com/office/drawing/2014/chart" uri="{C3380CC4-5D6E-409C-BE32-E72D297353CC}">
                <c16:uniqueId val="{00000761-6BA1-4C47-8A73-023BF2903B93}"/>
              </c:ext>
            </c:extLst>
          </c:dPt>
          <c:dPt>
            <c:idx val="944"/>
            <c:invertIfNegative val="1"/>
            <c:bubble3D val="0"/>
            <c:spPr>
              <a:solidFill>
                <a:srgbClr val="AEABAB"/>
              </a:solidFill>
            </c:spPr>
            <c:extLst>
              <c:ext xmlns:c16="http://schemas.microsoft.com/office/drawing/2014/chart" uri="{C3380CC4-5D6E-409C-BE32-E72D297353CC}">
                <c16:uniqueId val="{00000763-6BA1-4C47-8A73-023BF2903B93}"/>
              </c:ext>
            </c:extLst>
          </c:dPt>
          <c:dPt>
            <c:idx val="945"/>
            <c:invertIfNegative val="1"/>
            <c:bubble3D val="0"/>
            <c:spPr>
              <a:solidFill>
                <a:srgbClr val="AEABAB"/>
              </a:solidFill>
            </c:spPr>
            <c:extLst>
              <c:ext xmlns:c16="http://schemas.microsoft.com/office/drawing/2014/chart" uri="{C3380CC4-5D6E-409C-BE32-E72D297353CC}">
                <c16:uniqueId val="{00000765-6BA1-4C47-8A73-023BF2903B93}"/>
              </c:ext>
            </c:extLst>
          </c:dPt>
          <c:dPt>
            <c:idx val="946"/>
            <c:invertIfNegative val="1"/>
            <c:bubble3D val="0"/>
            <c:spPr>
              <a:solidFill>
                <a:srgbClr val="AEABAB"/>
              </a:solidFill>
            </c:spPr>
            <c:extLst>
              <c:ext xmlns:c16="http://schemas.microsoft.com/office/drawing/2014/chart" uri="{C3380CC4-5D6E-409C-BE32-E72D297353CC}">
                <c16:uniqueId val="{00000767-6BA1-4C47-8A73-023BF2903B93}"/>
              </c:ext>
            </c:extLst>
          </c:dPt>
          <c:dPt>
            <c:idx val="947"/>
            <c:invertIfNegative val="1"/>
            <c:bubble3D val="0"/>
            <c:spPr>
              <a:solidFill>
                <a:srgbClr val="AEABAB"/>
              </a:solidFill>
            </c:spPr>
            <c:extLst>
              <c:ext xmlns:c16="http://schemas.microsoft.com/office/drawing/2014/chart" uri="{C3380CC4-5D6E-409C-BE32-E72D297353CC}">
                <c16:uniqueId val="{00000769-6BA1-4C47-8A73-023BF2903B93}"/>
              </c:ext>
            </c:extLst>
          </c:dPt>
          <c:dPt>
            <c:idx val="948"/>
            <c:invertIfNegative val="1"/>
            <c:bubble3D val="0"/>
            <c:spPr>
              <a:solidFill>
                <a:srgbClr val="AEABAB"/>
              </a:solidFill>
            </c:spPr>
            <c:extLst>
              <c:ext xmlns:c16="http://schemas.microsoft.com/office/drawing/2014/chart" uri="{C3380CC4-5D6E-409C-BE32-E72D297353CC}">
                <c16:uniqueId val="{0000076B-6BA1-4C47-8A73-023BF2903B93}"/>
              </c:ext>
            </c:extLst>
          </c:dPt>
          <c:dPt>
            <c:idx val="949"/>
            <c:invertIfNegative val="1"/>
            <c:bubble3D val="0"/>
            <c:spPr>
              <a:solidFill>
                <a:srgbClr val="AEABAB"/>
              </a:solidFill>
            </c:spPr>
            <c:extLst>
              <c:ext xmlns:c16="http://schemas.microsoft.com/office/drawing/2014/chart" uri="{C3380CC4-5D6E-409C-BE32-E72D297353CC}">
                <c16:uniqueId val="{0000076D-6BA1-4C47-8A73-023BF2903B93}"/>
              </c:ext>
            </c:extLst>
          </c:dPt>
          <c:dPt>
            <c:idx val="950"/>
            <c:invertIfNegative val="1"/>
            <c:bubble3D val="0"/>
            <c:spPr>
              <a:solidFill>
                <a:srgbClr val="AEABAB"/>
              </a:solidFill>
            </c:spPr>
            <c:extLst>
              <c:ext xmlns:c16="http://schemas.microsoft.com/office/drawing/2014/chart" uri="{C3380CC4-5D6E-409C-BE32-E72D297353CC}">
                <c16:uniqueId val="{0000076F-6BA1-4C47-8A73-023BF2903B93}"/>
              </c:ext>
            </c:extLst>
          </c:dPt>
          <c:dPt>
            <c:idx val="951"/>
            <c:invertIfNegative val="1"/>
            <c:bubble3D val="0"/>
            <c:spPr>
              <a:solidFill>
                <a:srgbClr val="AEABAB"/>
              </a:solidFill>
            </c:spPr>
            <c:extLst>
              <c:ext xmlns:c16="http://schemas.microsoft.com/office/drawing/2014/chart" uri="{C3380CC4-5D6E-409C-BE32-E72D297353CC}">
                <c16:uniqueId val="{00000771-6BA1-4C47-8A73-023BF2903B93}"/>
              </c:ext>
            </c:extLst>
          </c:dPt>
          <c:dPt>
            <c:idx val="952"/>
            <c:invertIfNegative val="1"/>
            <c:bubble3D val="0"/>
            <c:spPr>
              <a:solidFill>
                <a:srgbClr val="AEABAB"/>
              </a:solidFill>
            </c:spPr>
            <c:extLst>
              <c:ext xmlns:c16="http://schemas.microsoft.com/office/drawing/2014/chart" uri="{C3380CC4-5D6E-409C-BE32-E72D297353CC}">
                <c16:uniqueId val="{00000773-6BA1-4C47-8A73-023BF2903B93}"/>
              </c:ext>
            </c:extLst>
          </c:dPt>
          <c:dPt>
            <c:idx val="953"/>
            <c:invertIfNegative val="1"/>
            <c:bubble3D val="0"/>
            <c:spPr>
              <a:solidFill>
                <a:srgbClr val="AEABAB"/>
              </a:solidFill>
            </c:spPr>
            <c:extLst>
              <c:ext xmlns:c16="http://schemas.microsoft.com/office/drawing/2014/chart" uri="{C3380CC4-5D6E-409C-BE32-E72D297353CC}">
                <c16:uniqueId val="{00000775-6BA1-4C47-8A73-023BF2903B93}"/>
              </c:ext>
            </c:extLst>
          </c:dPt>
          <c:dPt>
            <c:idx val="954"/>
            <c:invertIfNegative val="1"/>
            <c:bubble3D val="0"/>
            <c:spPr>
              <a:solidFill>
                <a:srgbClr val="AEABAB"/>
              </a:solidFill>
            </c:spPr>
            <c:extLst>
              <c:ext xmlns:c16="http://schemas.microsoft.com/office/drawing/2014/chart" uri="{C3380CC4-5D6E-409C-BE32-E72D297353CC}">
                <c16:uniqueId val="{00000777-6BA1-4C47-8A73-023BF2903B93}"/>
              </c:ext>
            </c:extLst>
          </c:dPt>
          <c:dPt>
            <c:idx val="955"/>
            <c:invertIfNegative val="1"/>
            <c:bubble3D val="0"/>
            <c:spPr>
              <a:solidFill>
                <a:srgbClr val="AEABAB"/>
              </a:solidFill>
            </c:spPr>
            <c:extLst>
              <c:ext xmlns:c16="http://schemas.microsoft.com/office/drawing/2014/chart" uri="{C3380CC4-5D6E-409C-BE32-E72D297353CC}">
                <c16:uniqueId val="{00000779-6BA1-4C47-8A73-023BF2903B93}"/>
              </c:ext>
            </c:extLst>
          </c:dPt>
          <c:dPt>
            <c:idx val="956"/>
            <c:invertIfNegative val="1"/>
            <c:bubble3D val="0"/>
            <c:spPr>
              <a:solidFill>
                <a:srgbClr val="AEABAB"/>
              </a:solidFill>
            </c:spPr>
            <c:extLst>
              <c:ext xmlns:c16="http://schemas.microsoft.com/office/drawing/2014/chart" uri="{C3380CC4-5D6E-409C-BE32-E72D297353CC}">
                <c16:uniqueId val="{0000077B-6BA1-4C47-8A73-023BF2903B93}"/>
              </c:ext>
            </c:extLst>
          </c:dPt>
          <c:dPt>
            <c:idx val="957"/>
            <c:invertIfNegative val="1"/>
            <c:bubble3D val="0"/>
            <c:spPr>
              <a:solidFill>
                <a:srgbClr val="AEABAB"/>
              </a:solidFill>
            </c:spPr>
            <c:extLst>
              <c:ext xmlns:c16="http://schemas.microsoft.com/office/drawing/2014/chart" uri="{C3380CC4-5D6E-409C-BE32-E72D297353CC}">
                <c16:uniqueId val="{0000077D-6BA1-4C47-8A73-023BF2903B93}"/>
              </c:ext>
            </c:extLst>
          </c:dPt>
          <c:dPt>
            <c:idx val="958"/>
            <c:invertIfNegative val="1"/>
            <c:bubble3D val="0"/>
            <c:spPr>
              <a:solidFill>
                <a:srgbClr val="AEABAB"/>
              </a:solidFill>
            </c:spPr>
            <c:extLst>
              <c:ext xmlns:c16="http://schemas.microsoft.com/office/drawing/2014/chart" uri="{C3380CC4-5D6E-409C-BE32-E72D297353CC}">
                <c16:uniqueId val="{0000077F-6BA1-4C47-8A73-023BF2903B93}"/>
              </c:ext>
            </c:extLst>
          </c:dPt>
          <c:dPt>
            <c:idx val="959"/>
            <c:invertIfNegative val="1"/>
            <c:bubble3D val="0"/>
            <c:spPr>
              <a:solidFill>
                <a:srgbClr val="AEABAB"/>
              </a:solidFill>
            </c:spPr>
            <c:extLst>
              <c:ext xmlns:c16="http://schemas.microsoft.com/office/drawing/2014/chart" uri="{C3380CC4-5D6E-409C-BE32-E72D297353CC}">
                <c16:uniqueId val="{00000781-6BA1-4C47-8A73-023BF2903B93}"/>
              </c:ext>
            </c:extLst>
          </c:dPt>
          <c:dPt>
            <c:idx val="960"/>
            <c:invertIfNegative val="1"/>
            <c:bubble3D val="0"/>
            <c:spPr>
              <a:solidFill>
                <a:srgbClr val="AEABAB"/>
              </a:solidFill>
            </c:spPr>
            <c:extLst>
              <c:ext xmlns:c16="http://schemas.microsoft.com/office/drawing/2014/chart" uri="{C3380CC4-5D6E-409C-BE32-E72D297353CC}">
                <c16:uniqueId val="{00000783-6BA1-4C47-8A73-023BF2903B93}"/>
              </c:ext>
            </c:extLst>
          </c:dPt>
          <c:dPt>
            <c:idx val="961"/>
            <c:invertIfNegative val="1"/>
            <c:bubble3D val="0"/>
            <c:spPr>
              <a:solidFill>
                <a:srgbClr val="AEABAB"/>
              </a:solidFill>
            </c:spPr>
            <c:extLst>
              <c:ext xmlns:c16="http://schemas.microsoft.com/office/drawing/2014/chart" uri="{C3380CC4-5D6E-409C-BE32-E72D297353CC}">
                <c16:uniqueId val="{00000785-6BA1-4C47-8A73-023BF2903B93}"/>
              </c:ext>
            </c:extLst>
          </c:dPt>
          <c:dPt>
            <c:idx val="962"/>
            <c:invertIfNegative val="1"/>
            <c:bubble3D val="0"/>
            <c:spPr>
              <a:solidFill>
                <a:srgbClr val="AEABAB"/>
              </a:solidFill>
            </c:spPr>
            <c:extLst>
              <c:ext xmlns:c16="http://schemas.microsoft.com/office/drawing/2014/chart" uri="{C3380CC4-5D6E-409C-BE32-E72D297353CC}">
                <c16:uniqueId val="{00000787-6BA1-4C47-8A73-023BF2903B93}"/>
              </c:ext>
            </c:extLst>
          </c:dPt>
          <c:dPt>
            <c:idx val="963"/>
            <c:invertIfNegative val="1"/>
            <c:bubble3D val="0"/>
            <c:spPr>
              <a:solidFill>
                <a:srgbClr val="AEABAB"/>
              </a:solidFill>
            </c:spPr>
            <c:extLst>
              <c:ext xmlns:c16="http://schemas.microsoft.com/office/drawing/2014/chart" uri="{C3380CC4-5D6E-409C-BE32-E72D297353CC}">
                <c16:uniqueId val="{00000789-6BA1-4C47-8A73-023BF2903B93}"/>
              </c:ext>
            </c:extLst>
          </c:dPt>
          <c:dPt>
            <c:idx val="964"/>
            <c:invertIfNegative val="1"/>
            <c:bubble3D val="0"/>
            <c:spPr>
              <a:solidFill>
                <a:srgbClr val="AEABAB"/>
              </a:solidFill>
            </c:spPr>
            <c:extLst>
              <c:ext xmlns:c16="http://schemas.microsoft.com/office/drawing/2014/chart" uri="{C3380CC4-5D6E-409C-BE32-E72D297353CC}">
                <c16:uniqueId val="{0000078B-6BA1-4C47-8A73-023BF2903B93}"/>
              </c:ext>
            </c:extLst>
          </c:dPt>
          <c:dPt>
            <c:idx val="965"/>
            <c:invertIfNegative val="1"/>
            <c:bubble3D val="0"/>
            <c:spPr>
              <a:solidFill>
                <a:srgbClr val="AEABAB"/>
              </a:solidFill>
            </c:spPr>
            <c:extLst>
              <c:ext xmlns:c16="http://schemas.microsoft.com/office/drawing/2014/chart" uri="{C3380CC4-5D6E-409C-BE32-E72D297353CC}">
                <c16:uniqueId val="{0000078D-6BA1-4C47-8A73-023BF2903B93}"/>
              </c:ext>
            </c:extLst>
          </c:dPt>
          <c:dPt>
            <c:idx val="966"/>
            <c:invertIfNegative val="1"/>
            <c:bubble3D val="0"/>
            <c:spPr>
              <a:solidFill>
                <a:srgbClr val="AEABAB"/>
              </a:solidFill>
            </c:spPr>
            <c:extLst>
              <c:ext xmlns:c16="http://schemas.microsoft.com/office/drawing/2014/chart" uri="{C3380CC4-5D6E-409C-BE32-E72D297353CC}">
                <c16:uniqueId val="{0000078F-6BA1-4C47-8A73-023BF2903B93}"/>
              </c:ext>
            </c:extLst>
          </c:dPt>
          <c:dPt>
            <c:idx val="967"/>
            <c:invertIfNegative val="1"/>
            <c:bubble3D val="0"/>
            <c:spPr>
              <a:solidFill>
                <a:srgbClr val="AEABAB"/>
              </a:solidFill>
            </c:spPr>
            <c:extLst>
              <c:ext xmlns:c16="http://schemas.microsoft.com/office/drawing/2014/chart" uri="{C3380CC4-5D6E-409C-BE32-E72D297353CC}">
                <c16:uniqueId val="{00000791-6BA1-4C47-8A73-023BF2903B93}"/>
              </c:ext>
            </c:extLst>
          </c:dPt>
          <c:dPt>
            <c:idx val="968"/>
            <c:invertIfNegative val="1"/>
            <c:bubble3D val="0"/>
            <c:spPr>
              <a:solidFill>
                <a:srgbClr val="AEABAB"/>
              </a:solidFill>
            </c:spPr>
            <c:extLst>
              <c:ext xmlns:c16="http://schemas.microsoft.com/office/drawing/2014/chart" uri="{C3380CC4-5D6E-409C-BE32-E72D297353CC}">
                <c16:uniqueId val="{00000793-6BA1-4C47-8A73-023BF2903B93}"/>
              </c:ext>
            </c:extLst>
          </c:dPt>
          <c:dPt>
            <c:idx val="969"/>
            <c:invertIfNegative val="1"/>
            <c:bubble3D val="0"/>
            <c:spPr>
              <a:solidFill>
                <a:srgbClr val="AEABAB"/>
              </a:solidFill>
            </c:spPr>
            <c:extLst>
              <c:ext xmlns:c16="http://schemas.microsoft.com/office/drawing/2014/chart" uri="{C3380CC4-5D6E-409C-BE32-E72D297353CC}">
                <c16:uniqueId val="{00000795-6BA1-4C47-8A73-023BF2903B93}"/>
              </c:ext>
            </c:extLst>
          </c:dPt>
          <c:dPt>
            <c:idx val="970"/>
            <c:invertIfNegative val="1"/>
            <c:bubble3D val="0"/>
            <c:spPr>
              <a:solidFill>
                <a:srgbClr val="AEABAB"/>
              </a:solidFill>
            </c:spPr>
            <c:extLst>
              <c:ext xmlns:c16="http://schemas.microsoft.com/office/drawing/2014/chart" uri="{C3380CC4-5D6E-409C-BE32-E72D297353CC}">
                <c16:uniqueId val="{00000797-6BA1-4C47-8A73-023BF2903B93}"/>
              </c:ext>
            </c:extLst>
          </c:dPt>
          <c:dPt>
            <c:idx val="971"/>
            <c:invertIfNegative val="1"/>
            <c:bubble3D val="0"/>
            <c:spPr>
              <a:solidFill>
                <a:srgbClr val="AEABAB"/>
              </a:solidFill>
            </c:spPr>
            <c:extLst>
              <c:ext xmlns:c16="http://schemas.microsoft.com/office/drawing/2014/chart" uri="{C3380CC4-5D6E-409C-BE32-E72D297353CC}">
                <c16:uniqueId val="{00000799-6BA1-4C47-8A73-023BF2903B93}"/>
              </c:ext>
            </c:extLst>
          </c:dPt>
          <c:dPt>
            <c:idx val="972"/>
            <c:invertIfNegative val="1"/>
            <c:bubble3D val="0"/>
            <c:spPr>
              <a:solidFill>
                <a:srgbClr val="AEABAB"/>
              </a:solidFill>
            </c:spPr>
            <c:extLst>
              <c:ext xmlns:c16="http://schemas.microsoft.com/office/drawing/2014/chart" uri="{C3380CC4-5D6E-409C-BE32-E72D297353CC}">
                <c16:uniqueId val="{0000079B-6BA1-4C47-8A73-023BF2903B93}"/>
              </c:ext>
            </c:extLst>
          </c:dPt>
          <c:dPt>
            <c:idx val="973"/>
            <c:invertIfNegative val="1"/>
            <c:bubble3D val="0"/>
            <c:spPr>
              <a:solidFill>
                <a:srgbClr val="AEABAB"/>
              </a:solidFill>
            </c:spPr>
            <c:extLst>
              <c:ext xmlns:c16="http://schemas.microsoft.com/office/drawing/2014/chart" uri="{C3380CC4-5D6E-409C-BE32-E72D297353CC}">
                <c16:uniqueId val="{0000079D-6BA1-4C47-8A73-023BF2903B93}"/>
              </c:ext>
            </c:extLst>
          </c:dPt>
          <c:dPt>
            <c:idx val="974"/>
            <c:invertIfNegative val="1"/>
            <c:bubble3D val="0"/>
            <c:spPr>
              <a:solidFill>
                <a:srgbClr val="AEABAB"/>
              </a:solidFill>
            </c:spPr>
            <c:extLst>
              <c:ext xmlns:c16="http://schemas.microsoft.com/office/drawing/2014/chart" uri="{C3380CC4-5D6E-409C-BE32-E72D297353CC}">
                <c16:uniqueId val="{0000079F-6BA1-4C47-8A73-023BF2903B93}"/>
              </c:ext>
            </c:extLst>
          </c:dPt>
          <c:dPt>
            <c:idx val="975"/>
            <c:invertIfNegative val="1"/>
            <c:bubble3D val="0"/>
            <c:spPr>
              <a:solidFill>
                <a:srgbClr val="AEABAB"/>
              </a:solidFill>
            </c:spPr>
            <c:extLst>
              <c:ext xmlns:c16="http://schemas.microsoft.com/office/drawing/2014/chart" uri="{C3380CC4-5D6E-409C-BE32-E72D297353CC}">
                <c16:uniqueId val="{000007A1-6BA1-4C47-8A73-023BF2903B93}"/>
              </c:ext>
            </c:extLst>
          </c:dPt>
          <c:dPt>
            <c:idx val="976"/>
            <c:invertIfNegative val="1"/>
            <c:bubble3D val="0"/>
            <c:spPr>
              <a:solidFill>
                <a:srgbClr val="AEABAB"/>
              </a:solidFill>
            </c:spPr>
            <c:extLst>
              <c:ext xmlns:c16="http://schemas.microsoft.com/office/drawing/2014/chart" uri="{C3380CC4-5D6E-409C-BE32-E72D297353CC}">
                <c16:uniqueId val="{000007A3-6BA1-4C47-8A73-023BF2903B93}"/>
              </c:ext>
            </c:extLst>
          </c:dPt>
          <c:dPt>
            <c:idx val="977"/>
            <c:invertIfNegative val="1"/>
            <c:bubble3D val="0"/>
            <c:spPr>
              <a:solidFill>
                <a:srgbClr val="AEABAB"/>
              </a:solidFill>
            </c:spPr>
            <c:extLst>
              <c:ext xmlns:c16="http://schemas.microsoft.com/office/drawing/2014/chart" uri="{C3380CC4-5D6E-409C-BE32-E72D297353CC}">
                <c16:uniqueId val="{000007A5-6BA1-4C47-8A73-023BF2903B93}"/>
              </c:ext>
            </c:extLst>
          </c:dPt>
          <c:dPt>
            <c:idx val="978"/>
            <c:invertIfNegative val="1"/>
            <c:bubble3D val="0"/>
            <c:spPr>
              <a:solidFill>
                <a:srgbClr val="AEABAB"/>
              </a:solidFill>
            </c:spPr>
            <c:extLst>
              <c:ext xmlns:c16="http://schemas.microsoft.com/office/drawing/2014/chart" uri="{C3380CC4-5D6E-409C-BE32-E72D297353CC}">
                <c16:uniqueId val="{000007A7-6BA1-4C47-8A73-023BF2903B93}"/>
              </c:ext>
            </c:extLst>
          </c:dPt>
          <c:dPt>
            <c:idx val="979"/>
            <c:invertIfNegative val="1"/>
            <c:bubble3D val="0"/>
            <c:spPr>
              <a:solidFill>
                <a:srgbClr val="AEABAB"/>
              </a:solidFill>
            </c:spPr>
            <c:extLst>
              <c:ext xmlns:c16="http://schemas.microsoft.com/office/drawing/2014/chart" uri="{C3380CC4-5D6E-409C-BE32-E72D297353CC}">
                <c16:uniqueId val="{000007A9-6BA1-4C47-8A73-023BF2903B93}"/>
              </c:ext>
            </c:extLst>
          </c:dPt>
          <c:dPt>
            <c:idx val="980"/>
            <c:invertIfNegative val="1"/>
            <c:bubble3D val="0"/>
            <c:spPr>
              <a:solidFill>
                <a:srgbClr val="AEABAB"/>
              </a:solidFill>
            </c:spPr>
            <c:extLst>
              <c:ext xmlns:c16="http://schemas.microsoft.com/office/drawing/2014/chart" uri="{C3380CC4-5D6E-409C-BE32-E72D297353CC}">
                <c16:uniqueId val="{000007AB-6BA1-4C47-8A73-023BF2903B93}"/>
              </c:ext>
            </c:extLst>
          </c:dPt>
          <c:dPt>
            <c:idx val="981"/>
            <c:invertIfNegative val="1"/>
            <c:bubble3D val="0"/>
            <c:spPr>
              <a:solidFill>
                <a:srgbClr val="AEABAB"/>
              </a:solidFill>
            </c:spPr>
            <c:extLst>
              <c:ext xmlns:c16="http://schemas.microsoft.com/office/drawing/2014/chart" uri="{C3380CC4-5D6E-409C-BE32-E72D297353CC}">
                <c16:uniqueId val="{000007AD-6BA1-4C47-8A73-023BF2903B93}"/>
              </c:ext>
            </c:extLst>
          </c:dPt>
          <c:dPt>
            <c:idx val="982"/>
            <c:invertIfNegative val="1"/>
            <c:bubble3D val="0"/>
            <c:spPr>
              <a:solidFill>
                <a:srgbClr val="AEABAB"/>
              </a:solidFill>
            </c:spPr>
            <c:extLst>
              <c:ext xmlns:c16="http://schemas.microsoft.com/office/drawing/2014/chart" uri="{C3380CC4-5D6E-409C-BE32-E72D297353CC}">
                <c16:uniqueId val="{000007AF-6BA1-4C47-8A73-023BF2903B93}"/>
              </c:ext>
            </c:extLst>
          </c:dPt>
          <c:dPt>
            <c:idx val="983"/>
            <c:invertIfNegative val="1"/>
            <c:bubble3D val="0"/>
            <c:spPr>
              <a:solidFill>
                <a:srgbClr val="AEABAB"/>
              </a:solidFill>
            </c:spPr>
            <c:extLst>
              <c:ext xmlns:c16="http://schemas.microsoft.com/office/drawing/2014/chart" uri="{C3380CC4-5D6E-409C-BE32-E72D297353CC}">
                <c16:uniqueId val="{000007B1-6BA1-4C47-8A73-023BF2903B93}"/>
              </c:ext>
            </c:extLst>
          </c:dPt>
          <c:dPt>
            <c:idx val="984"/>
            <c:invertIfNegative val="1"/>
            <c:bubble3D val="0"/>
            <c:spPr>
              <a:solidFill>
                <a:srgbClr val="AEABAB"/>
              </a:solidFill>
            </c:spPr>
            <c:extLst>
              <c:ext xmlns:c16="http://schemas.microsoft.com/office/drawing/2014/chart" uri="{C3380CC4-5D6E-409C-BE32-E72D297353CC}">
                <c16:uniqueId val="{000007B3-6BA1-4C47-8A73-023BF2903B93}"/>
              </c:ext>
            </c:extLst>
          </c:dPt>
          <c:dPt>
            <c:idx val="985"/>
            <c:invertIfNegative val="1"/>
            <c:bubble3D val="0"/>
            <c:spPr>
              <a:solidFill>
                <a:srgbClr val="AEABAB"/>
              </a:solidFill>
            </c:spPr>
            <c:extLst>
              <c:ext xmlns:c16="http://schemas.microsoft.com/office/drawing/2014/chart" uri="{C3380CC4-5D6E-409C-BE32-E72D297353CC}">
                <c16:uniqueId val="{000007B5-6BA1-4C47-8A73-023BF2903B93}"/>
              </c:ext>
            </c:extLst>
          </c:dPt>
          <c:dPt>
            <c:idx val="986"/>
            <c:invertIfNegative val="1"/>
            <c:bubble3D val="0"/>
            <c:spPr>
              <a:solidFill>
                <a:srgbClr val="AEABAB"/>
              </a:solidFill>
            </c:spPr>
            <c:extLst>
              <c:ext xmlns:c16="http://schemas.microsoft.com/office/drawing/2014/chart" uri="{C3380CC4-5D6E-409C-BE32-E72D297353CC}">
                <c16:uniqueId val="{000007B7-6BA1-4C47-8A73-023BF2903B93}"/>
              </c:ext>
            </c:extLst>
          </c:dPt>
          <c:dPt>
            <c:idx val="987"/>
            <c:invertIfNegative val="1"/>
            <c:bubble3D val="0"/>
            <c:spPr>
              <a:solidFill>
                <a:srgbClr val="AEABAB"/>
              </a:solidFill>
            </c:spPr>
            <c:extLst>
              <c:ext xmlns:c16="http://schemas.microsoft.com/office/drawing/2014/chart" uri="{C3380CC4-5D6E-409C-BE32-E72D297353CC}">
                <c16:uniqueId val="{000007B9-6BA1-4C47-8A73-023BF2903B93}"/>
              </c:ext>
            </c:extLst>
          </c:dPt>
          <c:dPt>
            <c:idx val="988"/>
            <c:invertIfNegative val="1"/>
            <c:bubble3D val="0"/>
            <c:spPr>
              <a:solidFill>
                <a:srgbClr val="AEABAB"/>
              </a:solidFill>
            </c:spPr>
            <c:extLst>
              <c:ext xmlns:c16="http://schemas.microsoft.com/office/drawing/2014/chart" uri="{C3380CC4-5D6E-409C-BE32-E72D297353CC}">
                <c16:uniqueId val="{000007BB-6BA1-4C47-8A73-023BF2903B93}"/>
              </c:ext>
            </c:extLst>
          </c:dPt>
          <c:dPt>
            <c:idx val="989"/>
            <c:invertIfNegative val="1"/>
            <c:bubble3D val="0"/>
            <c:spPr>
              <a:solidFill>
                <a:srgbClr val="AEABAB"/>
              </a:solidFill>
            </c:spPr>
            <c:extLst>
              <c:ext xmlns:c16="http://schemas.microsoft.com/office/drawing/2014/chart" uri="{C3380CC4-5D6E-409C-BE32-E72D297353CC}">
                <c16:uniqueId val="{000007BD-6BA1-4C47-8A73-023BF2903B93}"/>
              </c:ext>
            </c:extLst>
          </c:dPt>
          <c:dPt>
            <c:idx val="990"/>
            <c:invertIfNegative val="1"/>
            <c:bubble3D val="0"/>
            <c:spPr>
              <a:solidFill>
                <a:srgbClr val="AEABAB"/>
              </a:solidFill>
            </c:spPr>
            <c:extLst>
              <c:ext xmlns:c16="http://schemas.microsoft.com/office/drawing/2014/chart" uri="{C3380CC4-5D6E-409C-BE32-E72D297353CC}">
                <c16:uniqueId val="{000007BF-6BA1-4C47-8A73-023BF2903B93}"/>
              </c:ext>
            </c:extLst>
          </c:dPt>
          <c:dPt>
            <c:idx val="991"/>
            <c:invertIfNegative val="1"/>
            <c:bubble3D val="0"/>
            <c:spPr>
              <a:solidFill>
                <a:srgbClr val="AEABAB"/>
              </a:solidFill>
            </c:spPr>
            <c:extLst>
              <c:ext xmlns:c16="http://schemas.microsoft.com/office/drawing/2014/chart" uri="{C3380CC4-5D6E-409C-BE32-E72D297353CC}">
                <c16:uniqueId val="{000007C1-6BA1-4C47-8A73-023BF2903B93}"/>
              </c:ext>
            </c:extLst>
          </c:dPt>
          <c:dPt>
            <c:idx val="992"/>
            <c:invertIfNegative val="1"/>
            <c:bubble3D val="0"/>
            <c:spPr>
              <a:solidFill>
                <a:srgbClr val="AEABAB"/>
              </a:solidFill>
            </c:spPr>
            <c:extLst>
              <c:ext xmlns:c16="http://schemas.microsoft.com/office/drawing/2014/chart" uri="{C3380CC4-5D6E-409C-BE32-E72D297353CC}">
                <c16:uniqueId val="{000007C3-6BA1-4C47-8A73-023BF2903B93}"/>
              </c:ext>
            </c:extLst>
          </c:dPt>
          <c:dPt>
            <c:idx val="993"/>
            <c:invertIfNegative val="1"/>
            <c:bubble3D val="0"/>
            <c:spPr>
              <a:solidFill>
                <a:srgbClr val="AEABAB"/>
              </a:solidFill>
            </c:spPr>
            <c:extLst>
              <c:ext xmlns:c16="http://schemas.microsoft.com/office/drawing/2014/chart" uri="{C3380CC4-5D6E-409C-BE32-E72D297353CC}">
                <c16:uniqueId val="{000007C5-6BA1-4C47-8A73-023BF2903B93}"/>
              </c:ext>
            </c:extLst>
          </c:dPt>
          <c:dPt>
            <c:idx val="994"/>
            <c:invertIfNegative val="1"/>
            <c:bubble3D val="0"/>
            <c:spPr>
              <a:solidFill>
                <a:srgbClr val="AEABAB"/>
              </a:solidFill>
            </c:spPr>
            <c:extLst>
              <c:ext xmlns:c16="http://schemas.microsoft.com/office/drawing/2014/chart" uri="{C3380CC4-5D6E-409C-BE32-E72D297353CC}">
                <c16:uniqueId val="{000007C7-6BA1-4C47-8A73-023BF2903B93}"/>
              </c:ext>
            </c:extLst>
          </c:dPt>
          <c:dPt>
            <c:idx val="995"/>
            <c:invertIfNegative val="1"/>
            <c:bubble3D val="0"/>
            <c:spPr>
              <a:solidFill>
                <a:srgbClr val="AEABAB"/>
              </a:solidFill>
            </c:spPr>
            <c:extLst>
              <c:ext xmlns:c16="http://schemas.microsoft.com/office/drawing/2014/chart" uri="{C3380CC4-5D6E-409C-BE32-E72D297353CC}">
                <c16:uniqueId val="{000007C9-6BA1-4C47-8A73-023BF2903B93}"/>
              </c:ext>
            </c:extLst>
          </c:dPt>
          <c:dPt>
            <c:idx val="996"/>
            <c:invertIfNegative val="1"/>
            <c:bubble3D val="0"/>
            <c:spPr>
              <a:solidFill>
                <a:srgbClr val="AEABAB"/>
              </a:solidFill>
            </c:spPr>
            <c:extLst>
              <c:ext xmlns:c16="http://schemas.microsoft.com/office/drawing/2014/chart" uri="{C3380CC4-5D6E-409C-BE32-E72D297353CC}">
                <c16:uniqueId val="{000007CB-6BA1-4C47-8A73-023BF2903B93}"/>
              </c:ext>
            </c:extLst>
          </c:dPt>
          <c:dPt>
            <c:idx val="997"/>
            <c:invertIfNegative val="1"/>
            <c:bubble3D val="0"/>
            <c:spPr>
              <a:solidFill>
                <a:srgbClr val="AEABAB"/>
              </a:solidFill>
            </c:spPr>
            <c:extLst>
              <c:ext xmlns:c16="http://schemas.microsoft.com/office/drawing/2014/chart" uri="{C3380CC4-5D6E-409C-BE32-E72D297353CC}">
                <c16:uniqueId val="{000007CD-6BA1-4C47-8A73-023BF2903B93}"/>
              </c:ext>
            </c:extLst>
          </c:dPt>
          <c:dPt>
            <c:idx val="998"/>
            <c:invertIfNegative val="1"/>
            <c:bubble3D val="0"/>
            <c:spPr>
              <a:solidFill>
                <a:srgbClr val="AEABAB"/>
              </a:solidFill>
            </c:spPr>
            <c:extLst>
              <c:ext xmlns:c16="http://schemas.microsoft.com/office/drawing/2014/chart" uri="{C3380CC4-5D6E-409C-BE32-E72D297353CC}">
                <c16:uniqueId val="{000007CF-6BA1-4C47-8A73-023BF2903B93}"/>
              </c:ext>
            </c:extLst>
          </c:dPt>
          <c:dPt>
            <c:idx val="999"/>
            <c:invertIfNegative val="1"/>
            <c:bubble3D val="0"/>
            <c:spPr>
              <a:solidFill>
                <a:srgbClr val="AEABAB"/>
              </a:solidFill>
            </c:spPr>
            <c:extLst>
              <c:ext xmlns:c16="http://schemas.microsoft.com/office/drawing/2014/chart" uri="{C3380CC4-5D6E-409C-BE32-E72D297353CC}">
                <c16:uniqueId val="{000007D1-6BA1-4C47-8A73-023BF2903B93}"/>
              </c:ext>
            </c:extLst>
          </c:dPt>
          <c:dPt>
            <c:idx val="1000"/>
            <c:invertIfNegative val="1"/>
            <c:bubble3D val="0"/>
            <c:spPr>
              <a:solidFill>
                <a:srgbClr val="AEABAB"/>
              </a:solidFill>
            </c:spPr>
            <c:extLst>
              <c:ext xmlns:c16="http://schemas.microsoft.com/office/drawing/2014/chart" uri="{C3380CC4-5D6E-409C-BE32-E72D297353CC}">
                <c16:uniqueId val="{000007D3-6BA1-4C47-8A73-023BF2903B93}"/>
              </c:ext>
            </c:extLst>
          </c:dPt>
          <c:dPt>
            <c:idx val="1001"/>
            <c:invertIfNegative val="1"/>
            <c:bubble3D val="0"/>
            <c:spPr>
              <a:solidFill>
                <a:srgbClr val="AEABAB"/>
              </a:solidFill>
            </c:spPr>
            <c:extLst>
              <c:ext xmlns:c16="http://schemas.microsoft.com/office/drawing/2014/chart" uri="{C3380CC4-5D6E-409C-BE32-E72D297353CC}">
                <c16:uniqueId val="{000007D5-6BA1-4C47-8A73-023BF2903B93}"/>
              </c:ext>
            </c:extLst>
          </c:dPt>
          <c:dPt>
            <c:idx val="1002"/>
            <c:invertIfNegative val="1"/>
            <c:bubble3D val="0"/>
            <c:spPr>
              <a:solidFill>
                <a:srgbClr val="AEABAB"/>
              </a:solidFill>
            </c:spPr>
            <c:extLst>
              <c:ext xmlns:c16="http://schemas.microsoft.com/office/drawing/2014/chart" uri="{C3380CC4-5D6E-409C-BE32-E72D297353CC}">
                <c16:uniqueId val="{000007D7-6BA1-4C47-8A73-023BF2903B93}"/>
              </c:ext>
            </c:extLst>
          </c:dPt>
          <c:dPt>
            <c:idx val="1003"/>
            <c:invertIfNegative val="1"/>
            <c:bubble3D val="0"/>
            <c:spPr>
              <a:solidFill>
                <a:srgbClr val="AEABAB"/>
              </a:solidFill>
            </c:spPr>
            <c:extLst>
              <c:ext xmlns:c16="http://schemas.microsoft.com/office/drawing/2014/chart" uri="{C3380CC4-5D6E-409C-BE32-E72D297353CC}">
                <c16:uniqueId val="{000007D9-6BA1-4C47-8A73-023BF2903B93}"/>
              </c:ext>
            </c:extLst>
          </c:dPt>
          <c:dPt>
            <c:idx val="1004"/>
            <c:invertIfNegative val="1"/>
            <c:bubble3D val="0"/>
            <c:spPr>
              <a:solidFill>
                <a:srgbClr val="AEABAB"/>
              </a:solidFill>
            </c:spPr>
            <c:extLst>
              <c:ext xmlns:c16="http://schemas.microsoft.com/office/drawing/2014/chart" uri="{C3380CC4-5D6E-409C-BE32-E72D297353CC}">
                <c16:uniqueId val="{000007DB-6BA1-4C47-8A73-023BF2903B93}"/>
              </c:ext>
            </c:extLst>
          </c:dPt>
          <c:dPt>
            <c:idx val="1005"/>
            <c:invertIfNegative val="1"/>
            <c:bubble3D val="0"/>
            <c:spPr>
              <a:solidFill>
                <a:srgbClr val="AEABAB"/>
              </a:solidFill>
            </c:spPr>
            <c:extLst>
              <c:ext xmlns:c16="http://schemas.microsoft.com/office/drawing/2014/chart" uri="{C3380CC4-5D6E-409C-BE32-E72D297353CC}">
                <c16:uniqueId val="{000007DD-6BA1-4C47-8A73-023BF2903B93}"/>
              </c:ext>
            </c:extLst>
          </c:dPt>
          <c:dPt>
            <c:idx val="1006"/>
            <c:invertIfNegative val="1"/>
            <c:bubble3D val="0"/>
            <c:spPr>
              <a:solidFill>
                <a:srgbClr val="AEABAB"/>
              </a:solidFill>
            </c:spPr>
            <c:extLst>
              <c:ext xmlns:c16="http://schemas.microsoft.com/office/drawing/2014/chart" uri="{C3380CC4-5D6E-409C-BE32-E72D297353CC}">
                <c16:uniqueId val="{000007DF-6BA1-4C47-8A73-023BF2903B93}"/>
              </c:ext>
            </c:extLst>
          </c:dPt>
          <c:dPt>
            <c:idx val="1007"/>
            <c:invertIfNegative val="1"/>
            <c:bubble3D val="0"/>
            <c:spPr>
              <a:solidFill>
                <a:srgbClr val="AEABAB"/>
              </a:solidFill>
            </c:spPr>
            <c:extLst>
              <c:ext xmlns:c16="http://schemas.microsoft.com/office/drawing/2014/chart" uri="{C3380CC4-5D6E-409C-BE32-E72D297353CC}">
                <c16:uniqueId val="{000007E1-6BA1-4C47-8A73-023BF2903B93}"/>
              </c:ext>
            </c:extLst>
          </c:dPt>
          <c:dPt>
            <c:idx val="1008"/>
            <c:invertIfNegative val="1"/>
            <c:bubble3D val="0"/>
            <c:spPr>
              <a:solidFill>
                <a:srgbClr val="AEABAB"/>
              </a:solidFill>
            </c:spPr>
            <c:extLst>
              <c:ext xmlns:c16="http://schemas.microsoft.com/office/drawing/2014/chart" uri="{C3380CC4-5D6E-409C-BE32-E72D297353CC}">
                <c16:uniqueId val="{000007E3-6BA1-4C47-8A73-023BF2903B93}"/>
              </c:ext>
            </c:extLst>
          </c:dPt>
          <c:dPt>
            <c:idx val="1009"/>
            <c:invertIfNegative val="1"/>
            <c:bubble3D val="0"/>
            <c:spPr>
              <a:solidFill>
                <a:srgbClr val="AEABAB"/>
              </a:solidFill>
            </c:spPr>
            <c:extLst>
              <c:ext xmlns:c16="http://schemas.microsoft.com/office/drawing/2014/chart" uri="{C3380CC4-5D6E-409C-BE32-E72D297353CC}">
                <c16:uniqueId val="{000007E5-6BA1-4C47-8A73-023BF2903B93}"/>
              </c:ext>
            </c:extLst>
          </c:dPt>
          <c:dPt>
            <c:idx val="1010"/>
            <c:invertIfNegative val="1"/>
            <c:bubble3D val="0"/>
            <c:spPr>
              <a:solidFill>
                <a:srgbClr val="AEABAB"/>
              </a:solidFill>
            </c:spPr>
            <c:extLst>
              <c:ext xmlns:c16="http://schemas.microsoft.com/office/drawing/2014/chart" uri="{C3380CC4-5D6E-409C-BE32-E72D297353CC}">
                <c16:uniqueId val="{000007E7-6BA1-4C47-8A73-023BF2903B93}"/>
              </c:ext>
            </c:extLst>
          </c:dPt>
          <c:dPt>
            <c:idx val="1011"/>
            <c:invertIfNegative val="1"/>
            <c:bubble3D val="0"/>
            <c:spPr>
              <a:solidFill>
                <a:srgbClr val="AEABAB"/>
              </a:solidFill>
            </c:spPr>
            <c:extLst>
              <c:ext xmlns:c16="http://schemas.microsoft.com/office/drawing/2014/chart" uri="{C3380CC4-5D6E-409C-BE32-E72D297353CC}">
                <c16:uniqueId val="{000007E9-6BA1-4C47-8A73-023BF2903B93}"/>
              </c:ext>
            </c:extLst>
          </c:dPt>
          <c:dPt>
            <c:idx val="1012"/>
            <c:invertIfNegative val="1"/>
            <c:bubble3D val="0"/>
            <c:spPr>
              <a:solidFill>
                <a:srgbClr val="AEABAB"/>
              </a:solidFill>
            </c:spPr>
            <c:extLst>
              <c:ext xmlns:c16="http://schemas.microsoft.com/office/drawing/2014/chart" uri="{C3380CC4-5D6E-409C-BE32-E72D297353CC}">
                <c16:uniqueId val="{000007EB-6BA1-4C47-8A73-023BF2903B93}"/>
              </c:ext>
            </c:extLst>
          </c:dPt>
          <c:dPt>
            <c:idx val="1013"/>
            <c:invertIfNegative val="1"/>
            <c:bubble3D val="0"/>
            <c:spPr>
              <a:solidFill>
                <a:srgbClr val="AEABAB"/>
              </a:solidFill>
            </c:spPr>
            <c:extLst>
              <c:ext xmlns:c16="http://schemas.microsoft.com/office/drawing/2014/chart" uri="{C3380CC4-5D6E-409C-BE32-E72D297353CC}">
                <c16:uniqueId val="{000007ED-6BA1-4C47-8A73-023BF2903B93}"/>
              </c:ext>
            </c:extLst>
          </c:dPt>
          <c:dPt>
            <c:idx val="1014"/>
            <c:invertIfNegative val="1"/>
            <c:bubble3D val="0"/>
            <c:spPr>
              <a:solidFill>
                <a:srgbClr val="AEABAB"/>
              </a:solidFill>
            </c:spPr>
            <c:extLst>
              <c:ext xmlns:c16="http://schemas.microsoft.com/office/drawing/2014/chart" uri="{C3380CC4-5D6E-409C-BE32-E72D297353CC}">
                <c16:uniqueId val="{000007EF-6BA1-4C47-8A73-023BF2903B93}"/>
              </c:ext>
            </c:extLst>
          </c:dPt>
          <c:dPt>
            <c:idx val="1015"/>
            <c:invertIfNegative val="1"/>
            <c:bubble3D val="0"/>
            <c:spPr>
              <a:solidFill>
                <a:srgbClr val="AEABAB"/>
              </a:solidFill>
            </c:spPr>
            <c:extLst>
              <c:ext xmlns:c16="http://schemas.microsoft.com/office/drawing/2014/chart" uri="{C3380CC4-5D6E-409C-BE32-E72D297353CC}">
                <c16:uniqueId val="{000007F1-6BA1-4C47-8A73-023BF2903B93}"/>
              </c:ext>
            </c:extLst>
          </c:dPt>
          <c:dPt>
            <c:idx val="1016"/>
            <c:invertIfNegative val="1"/>
            <c:bubble3D val="0"/>
            <c:spPr>
              <a:solidFill>
                <a:srgbClr val="AEABAB"/>
              </a:solidFill>
            </c:spPr>
            <c:extLst>
              <c:ext xmlns:c16="http://schemas.microsoft.com/office/drawing/2014/chart" uri="{C3380CC4-5D6E-409C-BE32-E72D297353CC}">
                <c16:uniqueId val="{000007F3-6BA1-4C47-8A73-023BF2903B93}"/>
              </c:ext>
            </c:extLst>
          </c:dPt>
          <c:dPt>
            <c:idx val="1017"/>
            <c:invertIfNegative val="1"/>
            <c:bubble3D val="0"/>
            <c:spPr>
              <a:solidFill>
                <a:srgbClr val="AEABAB"/>
              </a:solidFill>
            </c:spPr>
            <c:extLst>
              <c:ext xmlns:c16="http://schemas.microsoft.com/office/drawing/2014/chart" uri="{C3380CC4-5D6E-409C-BE32-E72D297353CC}">
                <c16:uniqueId val="{000007F5-6BA1-4C47-8A73-023BF2903B93}"/>
              </c:ext>
            </c:extLst>
          </c:dPt>
          <c:dPt>
            <c:idx val="1018"/>
            <c:invertIfNegative val="1"/>
            <c:bubble3D val="0"/>
            <c:spPr>
              <a:solidFill>
                <a:srgbClr val="AEABAB"/>
              </a:solidFill>
            </c:spPr>
            <c:extLst>
              <c:ext xmlns:c16="http://schemas.microsoft.com/office/drawing/2014/chart" uri="{C3380CC4-5D6E-409C-BE32-E72D297353CC}">
                <c16:uniqueId val="{000007F7-6BA1-4C47-8A73-023BF2903B93}"/>
              </c:ext>
            </c:extLst>
          </c:dPt>
          <c:dPt>
            <c:idx val="1019"/>
            <c:invertIfNegative val="1"/>
            <c:bubble3D val="0"/>
            <c:spPr>
              <a:solidFill>
                <a:srgbClr val="AEABAB"/>
              </a:solidFill>
            </c:spPr>
            <c:extLst>
              <c:ext xmlns:c16="http://schemas.microsoft.com/office/drawing/2014/chart" uri="{C3380CC4-5D6E-409C-BE32-E72D297353CC}">
                <c16:uniqueId val="{000007F9-6BA1-4C47-8A73-023BF2903B93}"/>
              </c:ext>
            </c:extLst>
          </c:dPt>
          <c:dPt>
            <c:idx val="1020"/>
            <c:invertIfNegative val="1"/>
            <c:bubble3D val="0"/>
            <c:spPr>
              <a:solidFill>
                <a:srgbClr val="AEABAB"/>
              </a:solidFill>
            </c:spPr>
            <c:extLst>
              <c:ext xmlns:c16="http://schemas.microsoft.com/office/drawing/2014/chart" uri="{C3380CC4-5D6E-409C-BE32-E72D297353CC}">
                <c16:uniqueId val="{000007FB-6BA1-4C47-8A73-023BF2903B93}"/>
              </c:ext>
            </c:extLst>
          </c:dPt>
          <c:dPt>
            <c:idx val="1021"/>
            <c:invertIfNegative val="1"/>
            <c:bubble3D val="0"/>
            <c:spPr>
              <a:solidFill>
                <a:srgbClr val="AEABAB"/>
              </a:solidFill>
            </c:spPr>
            <c:extLst>
              <c:ext xmlns:c16="http://schemas.microsoft.com/office/drawing/2014/chart" uri="{C3380CC4-5D6E-409C-BE32-E72D297353CC}">
                <c16:uniqueId val="{000007FD-6BA1-4C47-8A73-023BF2903B93}"/>
              </c:ext>
            </c:extLst>
          </c:dPt>
          <c:dPt>
            <c:idx val="1022"/>
            <c:invertIfNegative val="1"/>
            <c:bubble3D val="0"/>
            <c:spPr>
              <a:solidFill>
                <a:srgbClr val="AEABAB"/>
              </a:solidFill>
            </c:spPr>
            <c:extLst>
              <c:ext xmlns:c16="http://schemas.microsoft.com/office/drawing/2014/chart" uri="{C3380CC4-5D6E-409C-BE32-E72D297353CC}">
                <c16:uniqueId val="{000007FF-6BA1-4C47-8A73-023BF2903B93}"/>
              </c:ext>
            </c:extLst>
          </c:dPt>
          <c:dPt>
            <c:idx val="1023"/>
            <c:invertIfNegative val="1"/>
            <c:bubble3D val="0"/>
            <c:spPr>
              <a:solidFill>
                <a:srgbClr val="AEABAB"/>
              </a:solidFill>
            </c:spPr>
            <c:extLst>
              <c:ext xmlns:c16="http://schemas.microsoft.com/office/drawing/2014/chart" uri="{C3380CC4-5D6E-409C-BE32-E72D297353CC}">
                <c16:uniqueId val="{00000801-6BA1-4C47-8A73-023BF2903B93}"/>
              </c:ext>
            </c:extLst>
          </c:dPt>
          <c:dPt>
            <c:idx val="1024"/>
            <c:invertIfNegative val="1"/>
            <c:bubble3D val="0"/>
            <c:spPr>
              <a:solidFill>
                <a:srgbClr val="AEABAB"/>
              </a:solidFill>
            </c:spPr>
            <c:extLst>
              <c:ext xmlns:c16="http://schemas.microsoft.com/office/drawing/2014/chart" uri="{C3380CC4-5D6E-409C-BE32-E72D297353CC}">
                <c16:uniqueId val="{00000803-6BA1-4C47-8A73-023BF2903B93}"/>
              </c:ext>
            </c:extLst>
          </c:dPt>
          <c:dPt>
            <c:idx val="1025"/>
            <c:invertIfNegative val="1"/>
            <c:bubble3D val="0"/>
            <c:spPr>
              <a:solidFill>
                <a:srgbClr val="AEABAB"/>
              </a:solidFill>
            </c:spPr>
            <c:extLst>
              <c:ext xmlns:c16="http://schemas.microsoft.com/office/drawing/2014/chart" uri="{C3380CC4-5D6E-409C-BE32-E72D297353CC}">
                <c16:uniqueId val="{00000805-6BA1-4C47-8A73-023BF2903B93}"/>
              </c:ext>
            </c:extLst>
          </c:dPt>
          <c:dPt>
            <c:idx val="1026"/>
            <c:invertIfNegative val="1"/>
            <c:bubble3D val="0"/>
            <c:spPr>
              <a:solidFill>
                <a:srgbClr val="AEABAB"/>
              </a:solidFill>
            </c:spPr>
            <c:extLst>
              <c:ext xmlns:c16="http://schemas.microsoft.com/office/drawing/2014/chart" uri="{C3380CC4-5D6E-409C-BE32-E72D297353CC}">
                <c16:uniqueId val="{00000807-6BA1-4C47-8A73-023BF2903B93}"/>
              </c:ext>
            </c:extLst>
          </c:dPt>
          <c:dPt>
            <c:idx val="1027"/>
            <c:invertIfNegative val="1"/>
            <c:bubble3D val="0"/>
            <c:spPr>
              <a:solidFill>
                <a:srgbClr val="AEABAB"/>
              </a:solidFill>
            </c:spPr>
            <c:extLst>
              <c:ext xmlns:c16="http://schemas.microsoft.com/office/drawing/2014/chart" uri="{C3380CC4-5D6E-409C-BE32-E72D297353CC}">
                <c16:uniqueId val="{00000809-6BA1-4C47-8A73-023BF2903B93}"/>
              </c:ext>
            </c:extLst>
          </c:dPt>
          <c:dPt>
            <c:idx val="1028"/>
            <c:invertIfNegative val="1"/>
            <c:bubble3D val="0"/>
            <c:spPr>
              <a:solidFill>
                <a:srgbClr val="AEABAB"/>
              </a:solidFill>
            </c:spPr>
            <c:extLst>
              <c:ext xmlns:c16="http://schemas.microsoft.com/office/drawing/2014/chart" uri="{C3380CC4-5D6E-409C-BE32-E72D297353CC}">
                <c16:uniqueId val="{0000080B-6BA1-4C47-8A73-023BF2903B93}"/>
              </c:ext>
            </c:extLst>
          </c:dPt>
          <c:dPt>
            <c:idx val="1029"/>
            <c:invertIfNegative val="1"/>
            <c:bubble3D val="0"/>
            <c:spPr>
              <a:solidFill>
                <a:srgbClr val="AEABAB"/>
              </a:solidFill>
            </c:spPr>
            <c:extLst>
              <c:ext xmlns:c16="http://schemas.microsoft.com/office/drawing/2014/chart" uri="{C3380CC4-5D6E-409C-BE32-E72D297353CC}">
                <c16:uniqueId val="{0000080D-6BA1-4C47-8A73-023BF2903B93}"/>
              </c:ext>
            </c:extLst>
          </c:dPt>
          <c:cat>
            <c:strRef>
              <c:f>Sheet1!$A$2:$A$1031</c:f>
              <c:strCache>
                <c:ptCount val="1030"/>
                <c:pt idx="0">
                  <c:v>Private Lab</c:v>
                </c:pt>
                <c:pt idx="1">
                  <c:v>Private Lab</c:v>
                </c:pt>
                <c:pt idx="2">
                  <c:v>Private Lab</c:v>
                </c:pt>
                <c:pt idx="3">
                  <c:v>Private Lab</c:v>
                </c:pt>
                <c:pt idx="4">
                  <c:v>Private Lab</c:v>
                </c:pt>
                <c:pt idx="5">
                  <c:v>Private Lab</c:v>
                </c:pt>
                <c:pt idx="6">
                  <c:v>Private Lab</c:v>
                </c:pt>
                <c:pt idx="7">
                  <c:v>Private Lab</c:v>
                </c:pt>
                <c:pt idx="8">
                  <c:v>Private Lab</c:v>
                </c:pt>
                <c:pt idx="9">
                  <c:v>Private Lab</c:v>
                </c:pt>
                <c:pt idx="10">
                  <c:v>Private Lab</c:v>
                </c:pt>
                <c:pt idx="11">
                  <c:v>Caprice Des</c:v>
                </c:pt>
                <c:pt idx="12">
                  <c:v>Galbani</c:v>
                </c:pt>
                <c:pt idx="13">
                  <c:v>Private Lab</c:v>
                </c:pt>
                <c:pt idx="14">
                  <c:v>Private Lab</c:v>
                </c:pt>
                <c:pt idx="15">
                  <c:v>Private Lab</c:v>
                </c:pt>
                <c:pt idx="16">
                  <c:v>Private Lab</c:v>
                </c:pt>
                <c:pt idx="17">
                  <c:v>Salakis</c:v>
                </c:pt>
                <c:pt idx="18">
                  <c:v>Private Lab</c:v>
                </c:pt>
                <c:pt idx="19">
                  <c:v>Private Lab</c:v>
                </c:pt>
                <c:pt idx="20">
                  <c:v>President</c:v>
                </c:pt>
                <c:pt idx="21">
                  <c:v>Private Lab</c:v>
                </c:pt>
                <c:pt idx="22">
                  <c:v>Soignon</c:v>
                </c:pt>
                <c:pt idx="23">
                  <c:v>Private Lab</c:v>
                </c:pt>
                <c:pt idx="24">
                  <c:v>Private Lab</c:v>
                </c:pt>
                <c:pt idx="25">
                  <c:v>Mini Babybe</c:v>
                </c:pt>
                <c:pt idx="26">
                  <c:v>Private Lab</c:v>
                </c:pt>
                <c:pt idx="27">
                  <c:v>Leerdammer</c:v>
                </c:pt>
                <c:pt idx="28">
                  <c:v>Private Lab</c:v>
                </c:pt>
                <c:pt idx="29">
                  <c:v>Coeur De Li</c:v>
                </c:pt>
                <c:pt idx="30">
                  <c:v>President</c:v>
                </c:pt>
                <c:pt idx="31">
                  <c:v>Entremont</c:v>
                </c:pt>
                <c:pt idx="32">
                  <c:v>Private Lab</c:v>
                </c:pt>
                <c:pt idx="33">
                  <c:v>Entremont</c:v>
                </c:pt>
                <c:pt idx="34">
                  <c:v>President</c:v>
                </c:pt>
                <c:pt idx="35">
                  <c:v>Private Lab</c:v>
                </c:pt>
                <c:pt idx="36">
                  <c:v>Caprice Des</c:v>
                </c:pt>
                <c:pt idx="37">
                  <c:v>Chaussee Au</c:v>
                </c:pt>
                <c:pt idx="38">
                  <c:v>President</c:v>
                </c:pt>
                <c:pt idx="39">
                  <c:v>Private Lab</c:v>
                </c:pt>
                <c:pt idx="40">
                  <c:v>St Moret</c:v>
                </c:pt>
                <c:pt idx="41">
                  <c:v>Galbani</c:v>
                </c:pt>
                <c:pt idx="42">
                  <c:v>Mini Babybe</c:v>
                </c:pt>
                <c:pt idx="43">
                  <c:v>Private Lab</c:v>
                </c:pt>
                <c:pt idx="44">
                  <c:v>St Moret</c:v>
                </c:pt>
                <c:pt idx="45">
                  <c:v>Private Lab</c:v>
                </c:pt>
                <c:pt idx="46">
                  <c:v>Soignon</c:v>
                </c:pt>
                <c:pt idx="47">
                  <c:v>Private Lab</c:v>
                </c:pt>
                <c:pt idx="48">
                  <c:v>La Vache Qu</c:v>
                </c:pt>
                <c:pt idx="49">
                  <c:v>Private Lab</c:v>
                </c:pt>
                <c:pt idx="50">
                  <c:v>Private Lab</c:v>
                </c:pt>
                <c:pt idx="51">
                  <c:v>Private Lab</c:v>
                </c:pt>
                <c:pt idx="52">
                  <c:v>Le Rustique</c:v>
                </c:pt>
                <c:pt idx="53">
                  <c:v>Private Lab</c:v>
                </c:pt>
                <c:pt idx="54">
                  <c:v>President</c:v>
                </c:pt>
                <c:pt idx="55">
                  <c:v>Private Lab</c:v>
                </c:pt>
                <c:pt idx="56">
                  <c:v>Galbani</c:v>
                </c:pt>
                <c:pt idx="57">
                  <c:v>Private Lab</c:v>
                </c:pt>
                <c:pt idx="58">
                  <c:v>Entremont</c:v>
                </c:pt>
                <c:pt idx="59">
                  <c:v>Private Lab</c:v>
                </c:pt>
                <c:pt idx="60">
                  <c:v>Private Lab</c:v>
                </c:pt>
                <c:pt idx="61">
                  <c:v>Private Lab</c:v>
                </c:pt>
                <c:pt idx="62">
                  <c:v>Private Lab</c:v>
                </c:pt>
                <c:pt idx="63">
                  <c:v>St Moret</c:v>
                </c:pt>
                <c:pt idx="64">
                  <c:v>Private Lab</c:v>
                </c:pt>
                <c:pt idx="65">
                  <c:v>Private Lab</c:v>
                </c:pt>
                <c:pt idx="66">
                  <c:v>Societe</c:v>
                </c:pt>
                <c:pt idx="67">
                  <c:v>Private Lab</c:v>
                </c:pt>
                <c:pt idx="68">
                  <c:v>President</c:v>
                </c:pt>
                <c:pt idx="69">
                  <c:v>Galbani</c:v>
                </c:pt>
                <c:pt idx="70">
                  <c:v>Galbani</c:v>
                </c:pt>
                <c:pt idx="71">
                  <c:v>Private Lab</c:v>
                </c:pt>
                <c:pt idx="72">
                  <c:v>President</c:v>
                </c:pt>
                <c:pt idx="73">
                  <c:v>Private Lab</c:v>
                </c:pt>
                <c:pt idx="74">
                  <c:v>Tartare</c:v>
                </c:pt>
                <c:pt idx="75">
                  <c:v>Les Mousque</c:v>
                </c:pt>
                <c:pt idx="76">
                  <c:v>Private Lab</c:v>
                </c:pt>
                <c:pt idx="77">
                  <c:v>Islos</c:v>
                </c:pt>
                <c:pt idx="78">
                  <c:v>President</c:v>
                </c:pt>
                <c:pt idx="79">
                  <c:v>Juraflore</c:v>
                </c:pt>
                <c:pt idx="80">
                  <c:v>Private Lab</c:v>
                </c:pt>
                <c:pt idx="81">
                  <c:v>Paysan Bret</c:v>
                </c:pt>
                <c:pt idx="82">
                  <c:v>Private Lab</c:v>
                </c:pt>
                <c:pt idx="83">
                  <c:v>Private Lab</c:v>
                </c:pt>
                <c:pt idx="84">
                  <c:v>Private Lab</c:v>
                </c:pt>
                <c:pt idx="85">
                  <c:v>Private Lab</c:v>
                </c:pt>
                <c:pt idx="86">
                  <c:v>St Moret</c:v>
                </c:pt>
                <c:pt idx="87">
                  <c:v>All Others</c:v>
                </c:pt>
                <c:pt idx="88">
                  <c:v>Saint Agur</c:v>
                </c:pt>
                <c:pt idx="89">
                  <c:v>Parmareggio</c:v>
                </c:pt>
                <c:pt idx="90">
                  <c:v>Kiri</c:v>
                </c:pt>
                <c:pt idx="91">
                  <c:v>La Vache Qu</c:v>
                </c:pt>
                <c:pt idx="92">
                  <c:v>Private Lab</c:v>
                </c:pt>
                <c:pt idx="93">
                  <c:v>Private Lab</c:v>
                </c:pt>
                <c:pt idx="94">
                  <c:v>Private Lab</c:v>
                </c:pt>
                <c:pt idx="95">
                  <c:v>Private Lab</c:v>
                </c:pt>
                <c:pt idx="96">
                  <c:v>Coeur De Li</c:v>
                </c:pt>
                <c:pt idx="97">
                  <c:v>Galbani</c:v>
                </c:pt>
                <c:pt idx="98">
                  <c:v>Private Lab</c:v>
                </c:pt>
                <c:pt idx="99">
                  <c:v>Leerdammer</c:v>
                </c:pt>
                <c:pt idx="100">
                  <c:v>Salakis</c:v>
                </c:pt>
                <c:pt idx="101">
                  <c:v>Private Lab</c:v>
                </c:pt>
                <c:pt idx="102">
                  <c:v>President</c:v>
                </c:pt>
                <c:pt idx="103">
                  <c:v>Private Lab</c:v>
                </c:pt>
                <c:pt idx="104">
                  <c:v>Casa Azzurr</c:v>
                </c:pt>
                <c:pt idx="105">
                  <c:v>Private Lab</c:v>
                </c:pt>
                <c:pt idx="106">
                  <c:v>Carre Frais</c:v>
                </c:pt>
                <c:pt idx="107">
                  <c:v>Carre Frais</c:v>
                </c:pt>
                <c:pt idx="108">
                  <c:v>Leerdammer</c:v>
                </c:pt>
                <c:pt idx="109">
                  <c:v>President</c:v>
                </c:pt>
                <c:pt idx="110">
                  <c:v>La Vache Qu</c:v>
                </c:pt>
                <c:pt idx="111">
                  <c:v>Entremont</c:v>
                </c:pt>
                <c:pt idx="112">
                  <c:v>Private Lab</c:v>
                </c:pt>
                <c:pt idx="113">
                  <c:v>Private Lab</c:v>
                </c:pt>
                <c:pt idx="114">
                  <c:v>Private Lab</c:v>
                </c:pt>
                <c:pt idx="115">
                  <c:v>Saint Agur</c:v>
                </c:pt>
                <c:pt idx="116">
                  <c:v>Entremont</c:v>
                </c:pt>
                <c:pt idx="117">
                  <c:v>Private Lab</c:v>
                </c:pt>
                <c:pt idx="118">
                  <c:v>Private Lab</c:v>
                </c:pt>
                <c:pt idx="119">
                  <c:v>Istara</c:v>
                </c:pt>
                <c:pt idx="120">
                  <c:v>Saint Albra</c:v>
                </c:pt>
                <c:pt idx="121">
                  <c:v>Private Lab</c:v>
                </c:pt>
                <c:pt idx="122">
                  <c:v>L'Ortolan</c:v>
                </c:pt>
                <c:pt idx="123">
                  <c:v>Paysan Bret</c:v>
                </c:pt>
                <c:pt idx="124">
                  <c:v>Private Lab</c:v>
                </c:pt>
                <c:pt idx="125">
                  <c:v>Kiri</c:v>
                </c:pt>
                <c:pt idx="126">
                  <c:v>Entremont</c:v>
                </c:pt>
                <c:pt idx="127">
                  <c:v>Private Lab</c:v>
                </c:pt>
                <c:pt idx="128">
                  <c:v>Apericube</c:v>
                </c:pt>
                <c:pt idx="129">
                  <c:v>Casa Azzurr</c:v>
                </c:pt>
                <c:pt idx="130">
                  <c:v>President</c:v>
                </c:pt>
                <c:pt idx="131">
                  <c:v>Kiri</c:v>
                </c:pt>
                <c:pt idx="132">
                  <c:v>Private Lab</c:v>
                </c:pt>
                <c:pt idx="133">
                  <c:v>Private Lab</c:v>
                </c:pt>
                <c:pt idx="134">
                  <c:v>All Others</c:v>
                </c:pt>
                <c:pt idx="135">
                  <c:v>Boursin</c:v>
                </c:pt>
                <c:pt idx="136">
                  <c:v>Ficello</c:v>
                </c:pt>
                <c:pt idx="137">
                  <c:v>Private Lab</c:v>
                </c:pt>
                <c:pt idx="138">
                  <c:v>Private Lab</c:v>
                </c:pt>
                <c:pt idx="139">
                  <c:v>Philadelphi</c:v>
                </c:pt>
                <c:pt idx="140">
                  <c:v>Private Lab</c:v>
                </c:pt>
                <c:pt idx="141">
                  <c:v>Boursin</c:v>
                </c:pt>
                <c:pt idx="142">
                  <c:v>Chaussee Au</c:v>
                </c:pt>
                <c:pt idx="143">
                  <c:v>Private Lab</c:v>
                </c:pt>
                <c:pt idx="144">
                  <c:v>Lou Perac</c:v>
                </c:pt>
                <c:pt idx="145">
                  <c:v>Leerdammer</c:v>
                </c:pt>
                <c:pt idx="146">
                  <c:v>Private Lab</c:v>
                </c:pt>
                <c:pt idx="147">
                  <c:v>Entremont</c:v>
                </c:pt>
                <c:pt idx="148">
                  <c:v>Petit Billy</c:v>
                </c:pt>
                <c:pt idx="149">
                  <c:v>Private Lab</c:v>
                </c:pt>
                <c:pt idx="150">
                  <c:v>Private Lab</c:v>
                </c:pt>
                <c:pt idx="151">
                  <c:v>Soignon</c:v>
                </c:pt>
                <c:pt idx="152">
                  <c:v>Private Lab</c:v>
                </c:pt>
                <c:pt idx="153">
                  <c:v>Private Lab</c:v>
                </c:pt>
                <c:pt idx="154">
                  <c:v>Apericube</c:v>
                </c:pt>
                <c:pt idx="155">
                  <c:v>Private Lab</c:v>
                </c:pt>
                <c:pt idx="156">
                  <c:v>Private Lab</c:v>
                </c:pt>
                <c:pt idx="157">
                  <c:v>Lepetit</c:v>
                </c:pt>
                <c:pt idx="158">
                  <c:v>Private Lab</c:v>
                </c:pt>
                <c:pt idx="159">
                  <c:v>Tartare</c:v>
                </c:pt>
                <c:pt idx="160">
                  <c:v>St Moret</c:v>
                </c:pt>
                <c:pt idx="161">
                  <c:v>Private Lab</c:v>
                </c:pt>
                <c:pt idx="162">
                  <c:v>Private Lab</c:v>
                </c:pt>
                <c:pt idx="163">
                  <c:v>Private Lab</c:v>
                </c:pt>
                <c:pt idx="164">
                  <c:v>Bresse Bleu</c:v>
                </c:pt>
                <c:pt idx="165">
                  <c:v>Philadelphi</c:v>
                </c:pt>
                <c:pt idx="166">
                  <c:v>President</c:v>
                </c:pt>
                <c:pt idx="167">
                  <c:v>Private Lab</c:v>
                </c:pt>
                <c:pt idx="168">
                  <c:v>Private Lab</c:v>
                </c:pt>
                <c:pt idx="169">
                  <c:v>Private Lab</c:v>
                </c:pt>
                <c:pt idx="170">
                  <c:v>Private Lab</c:v>
                </c:pt>
                <c:pt idx="171">
                  <c:v>Boursin</c:v>
                </c:pt>
                <c:pt idx="172">
                  <c:v>Private Lab</c:v>
                </c:pt>
                <c:pt idx="173">
                  <c:v>Kiri</c:v>
                </c:pt>
                <c:pt idx="174">
                  <c:v>Babybel</c:v>
                </c:pt>
                <c:pt idx="175">
                  <c:v>Private Lab</c:v>
                </c:pt>
                <c:pt idx="176">
                  <c:v>Entremont</c:v>
                </c:pt>
                <c:pt idx="177">
                  <c:v>President</c:v>
                </c:pt>
                <c:pt idx="178">
                  <c:v>St Moret</c:v>
                </c:pt>
                <c:pt idx="179">
                  <c:v>Leerdammer</c:v>
                </c:pt>
                <c:pt idx="180">
                  <c:v>St Moret</c:v>
                </c:pt>
                <c:pt idx="181">
                  <c:v>Entremont</c:v>
                </c:pt>
                <c:pt idx="182">
                  <c:v>Aperivrais</c:v>
                </c:pt>
                <c:pt idx="183">
                  <c:v>Private Lab</c:v>
                </c:pt>
                <c:pt idx="184">
                  <c:v>Ficello</c:v>
                </c:pt>
                <c:pt idx="185">
                  <c:v>Private Lab</c:v>
                </c:pt>
                <c:pt idx="186">
                  <c:v>Private Lab</c:v>
                </c:pt>
                <c:pt idx="187">
                  <c:v>Boursin</c:v>
                </c:pt>
                <c:pt idx="188">
                  <c:v>Private Lab</c:v>
                </c:pt>
                <c:pt idx="189">
                  <c:v>Private Lab</c:v>
                </c:pt>
                <c:pt idx="190">
                  <c:v>Port Salut</c:v>
                </c:pt>
                <c:pt idx="191">
                  <c:v>President</c:v>
                </c:pt>
                <c:pt idx="192">
                  <c:v>Galbani</c:v>
                </c:pt>
                <c:pt idx="193">
                  <c:v>Ficello</c:v>
                </c:pt>
                <c:pt idx="194">
                  <c:v>Leerdammer</c:v>
                </c:pt>
                <c:pt idx="195">
                  <c:v>Private Lab</c:v>
                </c:pt>
                <c:pt idx="196">
                  <c:v>Kiri</c:v>
                </c:pt>
                <c:pt idx="197">
                  <c:v>Fol Epi</c:v>
                </c:pt>
                <c:pt idx="198">
                  <c:v>Le Rustique</c:v>
                </c:pt>
                <c:pt idx="199">
                  <c:v>Private Lab</c:v>
                </c:pt>
                <c:pt idx="200">
                  <c:v>Private Lab</c:v>
                </c:pt>
                <c:pt idx="201">
                  <c:v>Private Lab</c:v>
                </c:pt>
                <c:pt idx="202">
                  <c:v>Private Lab</c:v>
                </c:pt>
                <c:pt idx="203">
                  <c:v>Private Lab</c:v>
                </c:pt>
                <c:pt idx="204">
                  <c:v>Soignon</c:v>
                </c:pt>
                <c:pt idx="205">
                  <c:v>Coeur De Li</c:v>
                </c:pt>
                <c:pt idx="206">
                  <c:v>Private Lab</c:v>
                </c:pt>
                <c:pt idx="207">
                  <c:v>Soignon</c:v>
                </c:pt>
                <c:pt idx="208">
                  <c:v>Private Lab</c:v>
                </c:pt>
                <c:pt idx="209">
                  <c:v>Entremont</c:v>
                </c:pt>
                <c:pt idx="210">
                  <c:v>Casa Azzurr</c:v>
                </c:pt>
                <c:pt idx="211">
                  <c:v>Coeur De Li</c:v>
                </c:pt>
                <c:pt idx="212">
                  <c:v>Parmareggio</c:v>
                </c:pt>
                <c:pt idx="213">
                  <c:v>Caprice Des</c:v>
                </c:pt>
                <c:pt idx="214">
                  <c:v>Etorki</c:v>
                </c:pt>
                <c:pt idx="215">
                  <c:v>President</c:v>
                </c:pt>
                <c:pt idx="216">
                  <c:v>L'Ortolan</c:v>
                </c:pt>
                <c:pt idx="217">
                  <c:v>Entremont</c:v>
                </c:pt>
                <c:pt idx="218">
                  <c:v>Pave D'Affi</c:v>
                </c:pt>
                <c:pt idx="219">
                  <c:v>Private Lab</c:v>
                </c:pt>
                <c:pt idx="220">
                  <c:v>Chavroux</c:v>
                </c:pt>
                <c:pt idx="221">
                  <c:v>Boursin</c:v>
                </c:pt>
                <c:pt idx="222">
                  <c:v>Salakis</c:v>
                </c:pt>
                <c:pt idx="223">
                  <c:v>Private Lab</c:v>
                </c:pt>
                <c:pt idx="224">
                  <c:v>Private Lab</c:v>
                </c:pt>
                <c:pt idx="225">
                  <c:v>Entremont</c:v>
                </c:pt>
                <c:pt idx="226">
                  <c:v>Private Lab</c:v>
                </c:pt>
                <c:pt idx="227">
                  <c:v>Private Lab</c:v>
                </c:pt>
                <c:pt idx="228">
                  <c:v>President</c:v>
                </c:pt>
                <c:pt idx="229">
                  <c:v>President</c:v>
                </c:pt>
                <c:pt idx="230">
                  <c:v>Societe</c:v>
                </c:pt>
                <c:pt idx="231">
                  <c:v>Apericube</c:v>
                </c:pt>
                <c:pt idx="232">
                  <c:v>Private Lab</c:v>
                </c:pt>
                <c:pt idx="233">
                  <c:v>Boursin</c:v>
                </c:pt>
                <c:pt idx="234">
                  <c:v>President</c:v>
                </c:pt>
                <c:pt idx="235">
                  <c:v>Private Lab</c:v>
                </c:pt>
                <c:pt idx="236">
                  <c:v>All Others</c:v>
                </c:pt>
                <c:pt idx="237">
                  <c:v>Leerdammer</c:v>
                </c:pt>
                <c:pt idx="238">
                  <c:v>Casa Azzurr</c:v>
                </c:pt>
                <c:pt idx="239">
                  <c:v>Casa Azzurr</c:v>
                </c:pt>
                <c:pt idx="240">
                  <c:v>Apericube</c:v>
                </c:pt>
                <c:pt idx="241">
                  <c:v>Private Lab</c:v>
                </c:pt>
                <c:pt idx="242">
                  <c:v>Private Lab</c:v>
                </c:pt>
                <c:pt idx="243">
                  <c:v>Private Lab</c:v>
                </c:pt>
                <c:pt idx="244">
                  <c:v>All Others</c:v>
                </c:pt>
                <c:pt idx="245">
                  <c:v>Galbani</c:v>
                </c:pt>
                <c:pt idx="246">
                  <c:v>President</c:v>
                </c:pt>
                <c:pt idx="247">
                  <c:v>Private Lab</c:v>
                </c:pt>
                <c:pt idx="248">
                  <c:v>Le Brebiou</c:v>
                </c:pt>
                <c:pt idx="249">
                  <c:v>Apericube</c:v>
                </c:pt>
                <c:pt idx="250">
                  <c:v>Private Lab</c:v>
                </c:pt>
                <c:pt idx="251">
                  <c:v>Private Lab</c:v>
                </c:pt>
                <c:pt idx="252">
                  <c:v>P'Tit Louis</c:v>
                </c:pt>
                <c:pt idx="253">
                  <c:v>Soignon</c:v>
                </c:pt>
                <c:pt idx="254">
                  <c:v>Private Lab</c:v>
                </c:pt>
                <c:pt idx="255">
                  <c:v>Private Lab</c:v>
                </c:pt>
                <c:pt idx="256">
                  <c:v>President</c:v>
                </c:pt>
                <c:pt idx="257">
                  <c:v>Private Lab</c:v>
                </c:pt>
                <c:pt idx="258">
                  <c:v>Soignon</c:v>
                </c:pt>
                <c:pt idx="259">
                  <c:v>La Vache Qu</c:v>
                </c:pt>
                <c:pt idx="260">
                  <c:v>Paysan Bret</c:v>
                </c:pt>
                <c:pt idx="261">
                  <c:v>Private Lab</c:v>
                </c:pt>
                <c:pt idx="262">
                  <c:v>Private Lab</c:v>
                </c:pt>
                <c:pt idx="263">
                  <c:v>Private Lab</c:v>
                </c:pt>
                <c:pt idx="264">
                  <c:v>Private Lab</c:v>
                </c:pt>
                <c:pt idx="265">
                  <c:v>Private Lab</c:v>
                </c:pt>
                <c:pt idx="266">
                  <c:v>Private Lab</c:v>
                </c:pt>
                <c:pt idx="267">
                  <c:v>Boursin</c:v>
                </c:pt>
                <c:pt idx="268">
                  <c:v>Leerdammer</c:v>
                </c:pt>
                <c:pt idx="269">
                  <c:v>All Others</c:v>
                </c:pt>
                <c:pt idx="270">
                  <c:v>Soignon</c:v>
                </c:pt>
                <c:pt idx="271">
                  <c:v>Private Lab</c:v>
                </c:pt>
                <c:pt idx="272">
                  <c:v>Caprice Des</c:v>
                </c:pt>
                <c:pt idx="273">
                  <c:v>Private Lab</c:v>
                </c:pt>
                <c:pt idx="274">
                  <c:v>President</c:v>
                </c:pt>
                <c:pt idx="275">
                  <c:v>Salakis</c:v>
                </c:pt>
                <c:pt idx="276">
                  <c:v>All Others</c:v>
                </c:pt>
                <c:pt idx="277">
                  <c:v>Richesmonts</c:v>
                </c:pt>
                <c:pt idx="278">
                  <c:v>Les Mousque</c:v>
                </c:pt>
                <c:pt idx="279">
                  <c:v>Galbani</c:v>
                </c:pt>
                <c:pt idx="280">
                  <c:v>President</c:v>
                </c:pt>
                <c:pt idx="281">
                  <c:v>Paysan Bret</c:v>
                </c:pt>
                <c:pt idx="282">
                  <c:v>All Others</c:v>
                </c:pt>
                <c:pt idx="283">
                  <c:v>Tartare</c:v>
                </c:pt>
                <c:pt idx="284">
                  <c:v>Istara</c:v>
                </c:pt>
                <c:pt idx="285">
                  <c:v>Pochat</c:v>
                </c:pt>
                <c:pt idx="286">
                  <c:v>Private Lab</c:v>
                </c:pt>
                <c:pt idx="287">
                  <c:v>Vieux Pane</c:v>
                </c:pt>
                <c:pt idx="288">
                  <c:v>Entremont</c:v>
                </c:pt>
                <c:pt idx="289">
                  <c:v>Galbani</c:v>
                </c:pt>
                <c:pt idx="290">
                  <c:v>Saint Albra</c:v>
                </c:pt>
                <c:pt idx="291">
                  <c:v>President</c:v>
                </c:pt>
                <c:pt idx="292">
                  <c:v>Soignon</c:v>
                </c:pt>
                <c:pt idx="293">
                  <c:v>Apericube</c:v>
                </c:pt>
                <c:pt idx="294">
                  <c:v>Lactalis: A</c:v>
                </c:pt>
                <c:pt idx="295">
                  <c:v>Galbani</c:v>
                </c:pt>
                <c:pt idx="296">
                  <c:v>President</c:v>
                </c:pt>
                <c:pt idx="297">
                  <c:v>All Others</c:v>
                </c:pt>
                <c:pt idx="298">
                  <c:v>Private Lab</c:v>
                </c:pt>
                <c:pt idx="299">
                  <c:v>Lou Perac</c:v>
                </c:pt>
                <c:pt idx="300">
                  <c:v>Private Lab</c:v>
                </c:pt>
                <c:pt idx="301">
                  <c:v>Private Lab</c:v>
                </c:pt>
                <c:pt idx="302">
                  <c:v>Les Mousque</c:v>
                </c:pt>
                <c:pt idx="303">
                  <c:v>Apericube</c:v>
                </c:pt>
                <c:pt idx="304">
                  <c:v>Private Lab</c:v>
                </c:pt>
                <c:pt idx="305">
                  <c:v>Private Lab</c:v>
                </c:pt>
                <c:pt idx="306">
                  <c:v>Aperivrais</c:v>
                </c:pt>
                <c:pt idx="307">
                  <c:v>Private Lab</c:v>
                </c:pt>
                <c:pt idx="308">
                  <c:v>Boursin</c:v>
                </c:pt>
                <c:pt idx="309">
                  <c:v>Soignon</c:v>
                </c:pt>
                <c:pt idx="310">
                  <c:v>Casa Azzurr</c:v>
                </c:pt>
                <c:pt idx="311">
                  <c:v>Bresse Bleu</c:v>
                </c:pt>
                <c:pt idx="312">
                  <c:v>Carre Frais</c:v>
                </c:pt>
                <c:pt idx="313">
                  <c:v>Coeur De Li</c:v>
                </c:pt>
                <c:pt idx="314">
                  <c:v>Galbani</c:v>
                </c:pt>
                <c:pt idx="315">
                  <c:v>Galbani</c:v>
                </c:pt>
                <c:pt idx="316">
                  <c:v>Boursin</c:v>
                </c:pt>
                <c:pt idx="317">
                  <c:v>Private Lab</c:v>
                </c:pt>
                <c:pt idx="318">
                  <c:v>Private Lab</c:v>
                </c:pt>
                <c:pt idx="319">
                  <c:v>Private Lab</c:v>
                </c:pt>
                <c:pt idx="320">
                  <c:v>President</c:v>
                </c:pt>
                <c:pt idx="321">
                  <c:v>Kiri</c:v>
                </c:pt>
                <c:pt idx="322">
                  <c:v>Salakis</c:v>
                </c:pt>
                <c:pt idx="323">
                  <c:v>Private Lab</c:v>
                </c:pt>
                <c:pt idx="324">
                  <c:v>All Others</c:v>
                </c:pt>
                <c:pt idx="325">
                  <c:v>Private Lab</c:v>
                </c:pt>
                <c:pt idx="326">
                  <c:v>St Moret</c:v>
                </c:pt>
                <c:pt idx="327">
                  <c:v>Aperivrais</c:v>
                </c:pt>
                <c:pt idx="328">
                  <c:v>All Others</c:v>
                </c:pt>
                <c:pt idx="329">
                  <c:v>Private Lab</c:v>
                </c:pt>
                <c:pt idx="330">
                  <c:v>Casa Azzurr</c:v>
                </c:pt>
                <c:pt idx="331">
                  <c:v>Private Lab</c:v>
                </c:pt>
                <c:pt idx="332">
                  <c:v>Le Rustique</c:v>
                </c:pt>
                <c:pt idx="333">
                  <c:v>All Others</c:v>
                </c:pt>
                <c:pt idx="334">
                  <c:v>Private Lab</c:v>
                </c:pt>
                <c:pt idx="335">
                  <c:v>All Others</c:v>
                </c:pt>
                <c:pt idx="336">
                  <c:v>Paysan Bret</c:v>
                </c:pt>
                <c:pt idx="337">
                  <c:v>Boursin</c:v>
                </c:pt>
                <c:pt idx="338">
                  <c:v>Private Lab</c:v>
                </c:pt>
                <c:pt idx="339">
                  <c:v>President</c:v>
                </c:pt>
                <c:pt idx="340">
                  <c:v>All Others</c:v>
                </c:pt>
                <c:pt idx="341">
                  <c:v>Leerdammer</c:v>
                </c:pt>
                <c:pt idx="342">
                  <c:v>Boursin</c:v>
                </c:pt>
                <c:pt idx="343">
                  <c:v>Private Lab</c:v>
                </c:pt>
                <c:pt idx="344">
                  <c:v>Private Lab</c:v>
                </c:pt>
                <c:pt idx="345">
                  <c:v>All Others</c:v>
                </c:pt>
                <c:pt idx="346">
                  <c:v>Private Lab</c:v>
                </c:pt>
                <c:pt idx="347">
                  <c:v>Apericube</c:v>
                </c:pt>
                <c:pt idx="348">
                  <c:v>Galbani</c:v>
                </c:pt>
                <c:pt idx="349">
                  <c:v>Chavroux</c:v>
                </c:pt>
                <c:pt idx="350">
                  <c:v>Private Lab</c:v>
                </c:pt>
                <c:pt idx="351">
                  <c:v>Savencia: A</c:v>
                </c:pt>
                <c:pt idx="352">
                  <c:v>Apericube</c:v>
                </c:pt>
                <c:pt idx="353">
                  <c:v>Private Lab</c:v>
                </c:pt>
                <c:pt idx="354">
                  <c:v>Private Lab</c:v>
                </c:pt>
                <c:pt idx="355">
                  <c:v>Saint Agur</c:v>
                </c:pt>
                <c:pt idx="356">
                  <c:v>Private Lab</c:v>
                </c:pt>
                <c:pt idx="357">
                  <c:v>Salakis</c:v>
                </c:pt>
                <c:pt idx="358">
                  <c:v>Societe</c:v>
                </c:pt>
                <c:pt idx="359">
                  <c:v>Savencia: A</c:v>
                </c:pt>
                <c:pt idx="360">
                  <c:v>Private Lab</c:v>
                </c:pt>
                <c:pt idx="361">
                  <c:v>Casa Azzurr</c:v>
                </c:pt>
                <c:pt idx="362">
                  <c:v>La Vache Qu</c:v>
                </c:pt>
                <c:pt idx="363">
                  <c:v>All Others</c:v>
                </c:pt>
                <c:pt idx="364">
                  <c:v>President</c:v>
                </c:pt>
                <c:pt idx="365">
                  <c:v>Casa Azzurr</c:v>
                </c:pt>
                <c:pt idx="366">
                  <c:v>Private Lab</c:v>
                </c:pt>
                <c:pt idx="367">
                  <c:v>Societe</c:v>
                </c:pt>
                <c:pt idx="368">
                  <c:v>Boursin</c:v>
                </c:pt>
                <c:pt idx="369">
                  <c:v>Galbani</c:v>
                </c:pt>
                <c:pt idx="370">
                  <c:v>Lou Perac</c:v>
                </c:pt>
                <c:pt idx="371">
                  <c:v>Pochat</c:v>
                </c:pt>
                <c:pt idx="372">
                  <c:v>Milleret: A</c:v>
                </c:pt>
                <c:pt idx="373">
                  <c:v>Paysan Bret</c:v>
                </c:pt>
                <c:pt idx="374">
                  <c:v>Savencia: A</c:v>
                </c:pt>
                <c:pt idx="375">
                  <c:v>President</c:v>
                </c:pt>
                <c:pt idx="376">
                  <c:v>Soignon</c:v>
                </c:pt>
                <c:pt idx="377">
                  <c:v>Casa Azzurr</c:v>
                </c:pt>
                <c:pt idx="378">
                  <c:v>Galbani</c:v>
                </c:pt>
                <c:pt idx="379">
                  <c:v>Les Mousque</c:v>
                </c:pt>
                <c:pt idx="380">
                  <c:v>Casa Azzurr</c:v>
                </c:pt>
                <c:pt idx="381">
                  <c:v>Private Lab</c:v>
                </c:pt>
                <c:pt idx="382">
                  <c:v>Juraflore</c:v>
                </c:pt>
                <c:pt idx="383">
                  <c:v>Private Lab</c:v>
                </c:pt>
                <c:pt idx="384">
                  <c:v>Coeur De Li</c:v>
                </c:pt>
                <c:pt idx="385">
                  <c:v>Private Lab</c:v>
                </c:pt>
                <c:pt idx="386">
                  <c:v>Private Lab</c:v>
                </c:pt>
                <c:pt idx="387">
                  <c:v>All Others</c:v>
                </c:pt>
                <c:pt idx="388">
                  <c:v>Saint Agur</c:v>
                </c:pt>
                <c:pt idx="389">
                  <c:v>L'Ortolan</c:v>
                </c:pt>
                <c:pt idx="390">
                  <c:v>All Others</c:v>
                </c:pt>
                <c:pt idx="391">
                  <c:v>Pave D'Affi</c:v>
                </c:pt>
                <c:pt idx="392">
                  <c:v>All Others</c:v>
                </c:pt>
                <c:pt idx="393">
                  <c:v>All Others</c:v>
                </c:pt>
                <c:pt idx="394">
                  <c:v>Paysan Bret</c:v>
                </c:pt>
                <c:pt idx="395">
                  <c:v>Tartare</c:v>
                </c:pt>
                <c:pt idx="396">
                  <c:v>Private Lab</c:v>
                </c:pt>
                <c:pt idx="397">
                  <c:v>Apericube</c:v>
                </c:pt>
                <c:pt idx="398">
                  <c:v>All Others</c:v>
                </c:pt>
                <c:pt idx="399">
                  <c:v>Lactalis: A</c:v>
                </c:pt>
                <c:pt idx="400">
                  <c:v>Private Lab</c:v>
                </c:pt>
                <c:pt idx="401">
                  <c:v>Private Lab</c:v>
                </c:pt>
                <c:pt idx="402">
                  <c:v>Mini Babybe</c:v>
                </c:pt>
                <c:pt idx="403">
                  <c:v>Private Lab</c:v>
                </c:pt>
                <c:pt idx="404">
                  <c:v>Casa Azzurr</c:v>
                </c:pt>
                <c:pt idx="405">
                  <c:v>All Others</c:v>
                </c:pt>
                <c:pt idx="406">
                  <c:v>Entremont</c:v>
                </c:pt>
                <c:pt idx="407">
                  <c:v>Galbani</c:v>
                </c:pt>
                <c:pt idx="408">
                  <c:v>Galbani</c:v>
                </c:pt>
                <c:pt idx="409">
                  <c:v>Tartare</c:v>
                </c:pt>
                <c:pt idx="410">
                  <c:v>St Moret</c:v>
                </c:pt>
                <c:pt idx="411">
                  <c:v>La Vache Qu</c:v>
                </c:pt>
                <c:pt idx="412">
                  <c:v>Kiri</c:v>
                </c:pt>
                <c:pt idx="413">
                  <c:v>Eurial Autr</c:v>
                </c:pt>
                <c:pt idx="414">
                  <c:v>Les Mousque</c:v>
                </c:pt>
                <c:pt idx="415">
                  <c:v>Triballat N</c:v>
                </c:pt>
                <c:pt idx="416">
                  <c:v>Mini Babybe</c:v>
                </c:pt>
                <c:pt idx="417">
                  <c:v>All Others</c:v>
                </c:pt>
                <c:pt idx="418">
                  <c:v>Savencia: A</c:v>
                </c:pt>
                <c:pt idx="419">
                  <c:v>Casa Azzurr</c:v>
                </c:pt>
                <c:pt idx="420">
                  <c:v>Private Lab</c:v>
                </c:pt>
                <c:pt idx="421">
                  <c:v>All Others</c:v>
                </c:pt>
                <c:pt idx="422">
                  <c:v>Private Lab</c:v>
                </c:pt>
                <c:pt idx="423">
                  <c:v>Lactalis: A</c:v>
                </c:pt>
                <c:pt idx="424">
                  <c:v>La Table M</c:v>
                </c:pt>
                <c:pt idx="425">
                  <c:v>Lactalis: A</c:v>
                </c:pt>
                <c:pt idx="426">
                  <c:v>St Moret</c:v>
                </c:pt>
                <c:pt idx="427">
                  <c:v>Tartare</c:v>
                </c:pt>
                <c:pt idx="428">
                  <c:v>All Others</c:v>
                </c:pt>
                <c:pt idx="429">
                  <c:v>Salakis</c:v>
                </c:pt>
                <c:pt idx="430">
                  <c:v>Kiri</c:v>
                </c:pt>
                <c:pt idx="431">
                  <c:v>Private Lab</c:v>
                </c:pt>
                <c:pt idx="432">
                  <c:v>Aperivrais</c:v>
                </c:pt>
                <c:pt idx="433">
                  <c:v>Islos</c:v>
                </c:pt>
                <c:pt idx="434">
                  <c:v>All Others</c:v>
                </c:pt>
                <c:pt idx="435">
                  <c:v>All Others</c:v>
                </c:pt>
                <c:pt idx="436">
                  <c:v>Private Lab</c:v>
                </c:pt>
                <c:pt idx="437">
                  <c:v>Galbani</c:v>
                </c:pt>
                <c:pt idx="438">
                  <c:v>Soignon</c:v>
                </c:pt>
                <c:pt idx="439">
                  <c:v>Caprice Des</c:v>
                </c:pt>
                <c:pt idx="440">
                  <c:v>Savencia: A</c:v>
                </c:pt>
                <c:pt idx="441">
                  <c:v>Saint Agur</c:v>
                </c:pt>
                <c:pt idx="442">
                  <c:v>Private Lab</c:v>
                </c:pt>
                <c:pt idx="443">
                  <c:v>Private Lab</c:v>
                </c:pt>
                <c:pt idx="444">
                  <c:v>Leerdammer</c:v>
                </c:pt>
                <c:pt idx="445">
                  <c:v>Paysan Bret</c:v>
                </c:pt>
                <c:pt idx="446">
                  <c:v>La Belle Et</c:v>
                </c:pt>
                <c:pt idx="447">
                  <c:v>Le Saint Am</c:v>
                </c:pt>
                <c:pt idx="448">
                  <c:v>Salakis</c:v>
                </c:pt>
                <c:pt idx="449">
                  <c:v>Societe</c:v>
                </c:pt>
                <c:pt idx="450">
                  <c:v>Fauquet</c:v>
                </c:pt>
                <c:pt idx="451">
                  <c:v>All Others</c:v>
                </c:pt>
                <c:pt idx="452">
                  <c:v>Casa Azzurr</c:v>
                </c:pt>
                <c:pt idx="453">
                  <c:v>Paysan Bret</c:v>
                </c:pt>
                <c:pt idx="454">
                  <c:v>St Moret</c:v>
                </c:pt>
                <c:pt idx="455">
                  <c:v>Boursin</c:v>
                </c:pt>
                <c:pt idx="456">
                  <c:v>Private Lab</c:v>
                </c:pt>
                <c:pt idx="457">
                  <c:v>Leerdammer</c:v>
                </c:pt>
                <c:pt idx="458">
                  <c:v>Boursin</c:v>
                </c:pt>
                <c:pt idx="459">
                  <c:v>Caprice Des</c:v>
                </c:pt>
                <c:pt idx="460">
                  <c:v>Galbani</c:v>
                </c:pt>
                <c:pt idx="461">
                  <c:v>Boursin</c:v>
                </c:pt>
                <c:pt idx="462">
                  <c:v>Private Lab</c:v>
                </c:pt>
                <c:pt idx="463">
                  <c:v>All Others</c:v>
                </c:pt>
                <c:pt idx="464">
                  <c:v>Societe</c:v>
                </c:pt>
                <c:pt idx="465">
                  <c:v>Galbani</c:v>
                </c:pt>
                <c:pt idx="466">
                  <c:v>All Others</c:v>
                </c:pt>
                <c:pt idx="467">
                  <c:v>Pave D'Affi</c:v>
                </c:pt>
                <c:pt idx="468">
                  <c:v>Le Rustique</c:v>
                </c:pt>
                <c:pt idx="469">
                  <c:v>Aperivrais</c:v>
                </c:pt>
                <c:pt idx="470">
                  <c:v>Etorki</c:v>
                </c:pt>
                <c:pt idx="471">
                  <c:v>Pave D'Affi</c:v>
                </c:pt>
                <c:pt idx="472">
                  <c:v>Savencia: A</c:v>
                </c:pt>
                <c:pt idx="473">
                  <c:v>Pochat</c:v>
                </c:pt>
                <c:pt idx="474">
                  <c:v>President</c:v>
                </c:pt>
                <c:pt idx="475">
                  <c:v>All Others</c:v>
                </c:pt>
                <c:pt idx="476">
                  <c:v>Private Lab</c:v>
                </c:pt>
                <c:pt idx="477">
                  <c:v>Eurial Autr</c:v>
                </c:pt>
                <c:pt idx="478">
                  <c:v>All Others</c:v>
                </c:pt>
                <c:pt idx="479">
                  <c:v>Private Lab</c:v>
                </c:pt>
                <c:pt idx="480">
                  <c:v>Boursin</c:v>
                </c:pt>
                <c:pt idx="481">
                  <c:v>Caprice Des</c:v>
                </c:pt>
                <c:pt idx="482">
                  <c:v>All Others</c:v>
                </c:pt>
                <c:pt idx="483">
                  <c:v>Casa Azzurr</c:v>
                </c:pt>
                <c:pt idx="484">
                  <c:v>All Others</c:v>
                </c:pt>
                <c:pt idx="485">
                  <c:v>President</c:v>
                </c:pt>
                <c:pt idx="486">
                  <c:v>Tartare</c:v>
                </c:pt>
                <c:pt idx="487">
                  <c:v>Milleret: A</c:v>
                </c:pt>
                <c:pt idx="488">
                  <c:v>Lactalis: A</c:v>
                </c:pt>
                <c:pt idx="489">
                  <c:v>Lactalis: A</c:v>
                </c:pt>
                <c:pt idx="490">
                  <c:v>All Others</c:v>
                </c:pt>
                <c:pt idx="491">
                  <c:v>Galbani</c:v>
                </c:pt>
                <c:pt idx="492">
                  <c:v>All Others</c:v>
                </c:pt>
                <c:pt idx="493">
                  <c:v>Cousteron</c:v>
                </c:pt>
                <c:pt idx="494">
                  <c:v>All Others</c:v>
                </c:pt>
                <c:pt idx="495">
                  <c:v>All Others</c:v>
                </c:pt>
                <c:pt idx="496">
                  <c:v>Casa Azzurr</c:v>
                </c:pt>
                <c:pt idx="497">
                  <c:v>Corsica</c:v>
                </c:pt>
                <c:pt idx="498">
                  <c:v>All Others</c:v>
                </c:pt>
                <c:pt idx="499">
                  <c:v>All Others</c:v>
                </c:pt>
                <c:pt idx="500">
                  <c:v>Private Lab</c:v>
                </c:pt>
                <c:pt idx="501">
                  <c:v>Tartare</c:v>
                </c:pt>
                <c:pt idx="502">
                  <c:v>Juraflore</c:v>
                </c:pt>
                <c:pt idx="503">
                  <c:v>Lou Perac</c:v>
                </c:pt>
                <c:pt idx="504">
                  <c:v>La Belle Et</c:v>
                </c:pt>
                <c:pt idx="505">
                  <c:v>Islos</c:v>
                </c:pt>
                <c:pt idx="506">
                  <c:v>Private Lab</c:v>
                </c:pt>
                <c:pt idx="507">
                  <c:v>Soignon</c:v>
                </c:pt>
                <c:pt idx="508">
                  <c:v>Paysan Bret</c:v>
                </c:pt>
                <c:pt idx="509">
                  <c:v>L'Ortolan</c:v>
                </c:pt>
                <c:pt idx="510">
                  <c:v>Raguin</c:v>
                </c:pt>
                <c:pt idx="511">
                  <c:v>Soignon</c:v>
                </c:pt>
                <c:pt idx="512">
                  <c:v>Private Lab</c:v>
                </c:pt>
                <c:pt idx="513">
                  <c:v>All Others</c:v>
                </c:pt>
                <c:pt idx="514">
                  <c:v>Saint Agur</c:v>
                </c:pt>
                <c:pt idx="515">
                  <c:v>Private Lab</c:v>
                </c:pt>
                <c:pt idx="516">
                  <c:v>Triballat N</c:v>
                </c:pt>
                <c:pt idx="517">
                  <c:v>Les Mousque</c:v>
                </c:pt>
                <c:pt idx="518">
                  <c:v>All Others</c:v>
                </c:pt>
                <c:pt idx="519">
                  <c:v>La Vache Qu</c:v>
                </c:pt>
                <c:pt idx="520">
                  <c:v>All Others</c:v>
                </c:pt>
                <c:pt idx="521">
                  <c:v>President</c:v>
                </c:pt>
                <c:pt idx="522">
                  <c:v>L'Ortolan</c:v>
                </c:pt>
                <c:pt idx="523">
                  <c:v>All Others</c:v>
                </c:pt>
                <c:pt idx="524">
                  <c:v>All Others</c:v>
                </c:pt>
                <c:pt idx="525">
                  <c:v>Vieux Pane</c:v>
                </c:pt>
                <c:pt idx="526">
                  <c:v>Apericube</c:v>
                </c:pt>
                <c:pt idx="527">
                  <c:v>Triballat N</c:v>
                </c:pt>
                <c:pt idx="528">
                  <c:v>President</c:v>
                </c:pt>
                <c:pt idx="529">
                  <c:v>All Others</c:v>
                </c:pt>
                <c:pt idx="530">
                  <c:v>Entremont</c:v>
                </c:pt>
                <c:pt idx="531">
                  <c:v>Lactalis: A</c:v>
                </c:pt>
                <c:pt idx="532">
                  <c:v>Entremont</c:v>
                </c:pt>
                <c:pt idx="533">
                  <c:v>Mini Babybe</c:v>
                </c:pt>
                <c:pt idx="534">
                  <c:v>All Others</c:v>
                </c:pt>
                <c:pt idx="535">
                  <c:v>All Others</c:v>
                </c:pt>
                <c:pt idx="536">
                  <c:v>All Others</c:v>
                </c:pt>
                <c:pt idx="537">
                  <c:v>President</c:v>
                </c:pt>
                <c:pt idx="538">
                  <c:v>All Others</c:v>
                </c:pt>
                <c:pt idx="539">
                  <c:v>Raguin</c:v>
                </c:pt>
                <c:pt idx="540">
                  <c:v>All Others</c:v>
                </c:pt>
                <c:pt idx="541">
                  <c:v>All Others</c:v>
                </c:pt>
                <c:pt idx="542">
                  <c:v>Private Lab</c:v>
                </c:pt>
                <c:pt idx="543">
                  <c:v>All Others</c:v>
                </c:pt>
                <c:pt idx="544">
                  <c:v>All Others</c:v>
                </c:pt>
                <c:pt idx="545">
                  <c:v>Le Rustique</c:v>
                </c:pt>
                <c:pt idx="546">
                  <c:v>Casa Azzurr</c:v>
                </c:pt>
                <c:pt idx="547">
                  <c:v>All Others</c:v>
                </c:pt>
                <c:pt idx="548">
                  <c:v>All Others</c:v>
                </c:pt>
                <c:pt idx="549">
                  <c:v>Le Coq Crem</c:v>
                </c:pt>
                <c:pt idx="550">
                  <c:v>All Others</c:v>
                </c:pt>
                <c:pt idx="551">
                  <c:v>Paysan Bret</c:v>
                </c:pt>
                <c:pt idx="552">
                  <c:v>Paysan Bret</c:v>
                </c:pt>
                <c:pt idx="553">
                  <c:v>All Others</c:v>
                </c:pt>
                <c:pt idx="554">
                  <c:v>All Others</c:v>
                </c:pt>
                <c:pt idx="555">
                  <c:v>All Others</c:v>
                </c:pt>
                <c:pt idx="556">
                  <c:v>All Others</c:v>
                </c:pt>
                <c:pt idx="557">
                  <c:v>Private Lab</c:v>
                </c:pt>
                <c:pt idx="558">
                  <c:v>All Others</c:v>
                </c:pt>
                <c:pt idx="559">
                  <c:v>All Others</c:v>
                </c:pt>
                <c:pt idx="560">
                  <c:v>All Others</c:v>
                </c:pt>
                <c:pt idx="561">
                  <c:v>Raguin</c:v>
                </c:pt>
                <c:pt idx="562">
                  <c:v>All Others</c:v>
                </c:pt>
                <c:pt idx="563">
                  <c:v>L'Ortolan</c:v>
                </c:pt>
                <c:pt idx="564">
                  <c:v>All Others</c:v>
                </c:pt>
                <c:pt idx="565">
                  <c:v>Milleret: A</c:v>
                </c:pt>
                <c:pt idx="566">
                  <c:v>Boursin</c:v>
                </c:pt>
                <c:pt idx="567">
                  <c:v>All Others</c:v>
                </c:pt>
                <c:pt idx="568">
                  <c:v>St Moret</c:v>
                </c:pt>
                <c:pt idx="569">
                  <c:v>All Others</c:v>
                </c:pt>
                <c:pt idx="570">
                  <c:v>All Others</c:v>
                </c:pt>
                <c:pt idx="571">
                  <c:v>Istara</c:v>
                </c:pt>
                <c:pt idx="572">
                  <c:v>All Others</c:v>
                </c:pt>
                <c:pt idx="573">
                  <c:v>All Others</c:v>
                </c:pt>
                <c:pt idx="574">
                  <c:v>Entremont</c:v>
                </c:pt>
                <c:pt idx="575">
                  <c:v>Bresse Bleu</c:v>
                </c:pt>
                <c:pt idx="576">
                  <c:v>Fol Epi</c:v>
                </c:pt>
                <c:pt idx="577">
                  <c:v>All Others</c:v>
                </c:pt>
                <c:pt idx="578">
                  <c:v>Etoile Du Q</c:v>
                </c:pt>
                <c:pt idx="579">
                  <c:v>All Others</c:v>
                </c:pt>
                <c:pt idx="580">
                  <c:v>Raguin</c:v>
                </c:pt>
                <c:pt idx="581">
                  <c:v>All Others</c:v>
                </c:pt>
                <c:pt idx="582">
                  <c:v>Private Lab</c:v>
                </c:pt>
                <c:pt idx="583">
                  <c:v>Boursin</c:v>
                </c:pt>
                <c:pt idx="584">
                  <c:v>All Others</c:v>
                </c:pt>
                <c:pt idx="585">
                  <c:v>All Others</c:v>
                </c:pt>
                <c:pt idx="586">
                  <c:v>La Belle Et</c:v>
                </c:pt>
                <c:pt idx="587">
                  <c:v>All Others</c:v>
                </c:pt>
                <c:pt idx="588">
                  <c:v>Les Mousque</c:v>
                </c:pt>
                <c:pt idx="589">
                  <c:v>All Others</c:v>
                </c:pt>
                <c:pt idx="590">
                  <c:v>Paysan Bret</c:v>
                </c:pt>
                <c:pt idx="591">
                  <c:v>Etoile Du V</c:v>
                </c:pt>
                <c:pt idx="592">
                  <c:v>All Others</c:v>
                </c:pt>
                <c:pt idx="593">
                  <c:v>L'Ortolan</c:v>
                </c:pt>
                <c:pt idx="594">
                  <c:v>All Others</c:v>
                </c:pt>
                <c:pt idx="595">
                  <c:v>President</c:v>
                </c:pt>
                <c:pt idx="596">
                  <c:v>All Others</c:v>
                </c:pt>
                <c:pt idx="597">
                  <c:v>All Others</c:v>
                </c:pt>
                <c:pt idx="598">
                  <c:v>Societe</c:v>
                </c:pt>
                <c:pt idx="599">
                  <c:v>Lindahls Pr</c:v>
                </c:pt>
                <c:pt idx="600">
                  <c:v>Coeur De Li</c:v>
                </c:pt>
                <c:pt idx="601">
                  <c:v>Milleret: A</c:v>
                </c:pt>
                <c:pt idx="602">
                  <c:v>Carre Frais</c:v>
                </c:pt>
                <c:pt idx="603">
                  <c:v>Entremont</c:v>
                </c:pt>
                <c:pt idx="604">
                  <c:v>Pochat</c:v>
                </c:pt>
                <c:pt idx="605">
                  <c:v>All Others</c:v>
                </c:pt>
                <c:pt idx="606">
                  <c:v>Eurial Autr</c:v>
                </c:pt>
                <c:pt idx="607">
                  <c:v>Soignon</c:v>
                </c:pt>
                <c:pt idx="608">
                  <c:v>All Others</c:v>
                </c:pt>
                <c:pt idx="609">
                  <c:v>Savencia: A</c:v>
                </c:pt>
                <c:pt idx="610">
                  <c:v>Savencia: A</c:v>
                </c:pt>
                <c:pt idx="611">
                  <c:v>Savencia: A</c:v>
                </c:pt>
                <c:pt idx="612">
                  <c:v>Richesmonts</c:v>
                </c:pt>
                <c:pt idx="613">
                  <c:v>Nurishh</c:v>
                </c:pt>
                <c:pt idx="614">
                  <c:v>All Others</c:v>
                </c:pt>
                <c:pt idx="615">
                  <c:v>Milleret: A</c:v>
                </c:pt>
                <c:pt idx="616">
                  <c:v>La Belle Et</c:v>
                </c:pt>
                <c:pt idx="617">
                  <c:v>All Others</c:v>
                </c:pt>
                <c:pt idx="618">
                  <c:v>Milleret: A</c:v>
                </c:pt>
                <c:pt idx="619">
                  <c:v>Private Lab</c:v>
                </c:pt>
                <c:pt idx="620">
                  <c:v>All Others</c:v>
                </c:pt>
                <c:pt idx="621">
                  <c:v>All Others</c:v>
                </c:pt>
                <c:pt idx="622">
                  <c:v>Vieux Pane</c:v>
                </c:pt>
                <c:pt idx="623">
                  <c:v>Nurishh</c:v>
                </c:pt>
                <c:pt idx="624">
                  <c:v>All Others</c:v>
                </c:pt>
                <c:pt idx="625">
                  <c:v>All Others</c:v>
                </c:pt>
                <c:pt idx="626">
                  <c:v>All Others</c:v>
                </c:pt>
                <c:pt idx="627">
                  <c:v>L'Ortolan</c:v>
                </c:pt>
                <c:pt idx="628">
                  <c:v>All Others</c:v>
                </c:pt>
                <c:pt idx="629">
                  <c:v>All Others</c:v>
                </c:pt>
                <c:pt idx="630">
                  <c:v>All Others</c:v>
                </c:pt>
                <c:pt idx="631">
                  <c:v>Soignon</c:v>
                </c:pt>
                <c:pt idx="632">
                  <c:v>Private Lab</c:v>
                </c:pt>
                <c:pt idx="633">
                  <c:v>Violife</c:v>
                </c:pt>
                <c:pt idx="634">
                  <c:v>All Others</c:v>
                </c:pt>
                <c:pt idx="635">
                  <c:v>Kiri</c:v>
                </c:pt>
                <c:pt idx="636">
                  <c:v>All Others</c:v>
                </c:pt>
                <c:pt idx="637">
                  <c:v>All Others</c:v>
                </c:pt>
                <c:pt idx="638">
                  <c:v>All Others</c:v>
                </c:pt>
                <c:pt idx="639">
                  <c:v>All Others</c:v>
                </c:pt>
                <c:pt idx="640">
                  <c:v>All Others</c:v>
                </c:pt>
                <c:pt idx="641">
                  <c:v>All Others</c:v>
                </c:pt>
                <c:pt idx="642">
                  <c:v>All Others</c:v>
                </c:pt>
                <c:pt idx="643">
                  <c:v>All Others</c:v>
                </c:pt>
                <c:pt idx="644">
                  <c:v>St Moret</c:v>
                </c:pt>
                <c:pt idx="645">
                  <c:v>Lactalis: A</c:v>
                </c:pt>
                <c:pt idx="646">
                  <c:v>Boursin</c:v>
                </c:pt>
                <c:pt idx="647">
                  <c:v>All Others</c:v>
                </c:pt>
                <c:pt idx="648">
                  <c:v>Fauquet</c:v>
                </c:pt>
                <c:pt idx="649">
                  <c:v>All Others</c:v>
                </c:pt>
                <c:pt idx="650">
                  <c:v>Chavroux</c:v>
                </c:pt>
                <c:pt idx="651">
                  <c:v>P'Tit Louis</c:v>
                </c:pt>
                <c:pt idx="652">
                  <c:v>All Others</c:v>
                </c:pt>
                <c:pt idx="653">
                  <c:v>Apericube</c:v>
                </c:pt>
                <c:pt idx="654">
                  <c:v>All Others</c:v>
                </c:pt>
                <c:pt idx="655">
                  <c:v>All Others</c:v>
                </c:pt>
                <c:pt idx="656">
                  <c:v>All Others</c:v>
                </c:pt>
                <c:pt idx="657">
                  <c:v>Societe</c:v>
                </c:pt>
                <c:pt idx="658">
                  <c:v>Salakis</c:v>
                </c:pt>
                <c:pt idx="659">
                  <c:v>Lactalis: A</c:v>
                </c:pt>
                <c:pt idx="660">
                  <c:v>Entremont</c:v>
                </c:pt>
                <c:pt idx="661">
                  <c:v>Nurishh</c:v>
                </c:pt>
                <c:pt idx="662">
                  <c:v>Richesmonts</c:v>
                </c:pt>
                <c:pt idx="663">
                  <c:v>All Others</c:v>
                </c:pt>
                <c:pt idx="664">
                  <c:v>Apericube</c:v>
                </c:pt>
                <c:pt idx="665">
                  <c:v>All Others</c:v>
                </c:pt>
                <c:pt idx="666">
                  <c:v>All Others</c:v>
                </c:pt>
                <c:pt idx="667">
                  <c:v>All Others</c:v>
                </c:pt>
                <c:pt idx="668">
                  <c:v>All Others</c:v>
                </c:pt>
                <c:pt idx="669">
                  <c:v>Nurishh</c:v>
                </c:pt>
                <c:pt idx="670">
                  <c:v>All Others</c:v>
                </c:pt>
                <c:pt idx="671">
                  <c:v>Violife</c:v>
                </c:pt>
                <c:pt idx="672">
                  <c:v>Bresse Bleu</c:v>
                </c:pt>
                <c:pt idx="673">
                  <c:v>Salakis</c:v>
                </c:pt>
                <c:pt idx="674">
                  <c:v>All Others</c:v>
                </c:pt>
                <c:pt idx="675">
                  <c:v>Caprice Des</c:v>
                </c:pt>
                <c:pt idx="676">
                  <c:v>All Others</c:v>
                </c:pt>
                <c:pt idx="677">
                  <c:v>All Others</c:v>
                </c:pt>
                <c:pt idx="678">
                  <c:v>Pave D'Affi</c:v>
                </c:pt>
                <c:pt idx="679">
                  <c:v>Soignon</c:v>
                </c:pt>
                <c:pt idx="680">
                  <c:v>President</c:v>
                </c:pt>
                <c:pt idx="681">
                  <c:v>Boursin</c:v>
                </c:pt>
                <c:pt idx="682">
                  <c:v>Triballat N</c:v>
                </c:pt>
                <c:pt idx="683">
                  <c:v>All Others</c:v>
                </c:pt>
                <c:pt idx="684">
                  <c:v>All Others</c:v>
                </c:pt>
                <c:pt idx="685">
                  <c:v>Etoile Du V</c:v>
                </c:pt>
                <c:pt idx="686">
                  <c:v>All Others</c:v>
                </c:pt>
                <c:pt idx="687">
                  <c:v>Savencia: A</c:v>
                </c:pt>
                <c:pt idx="688">
                  <c:v>Etoile Du V</c:v>
                </c:pt>
                <c:pt idx="689">
                  <c:v>All Others</c:v>
                </c:pt>
                <c:pt idx="690">
                  <c:v>Milleret: A</c:v>
                </c:pt>
                <c:pt idx="691">
                  <c:v>All Others</c:v>
                </c:pt>
                <c:pt idx="692">
                  <c:v>Mini Babybe</c:v>
                </c:pt>
                <c:pt idx="693">
                  <c:v>All Others</c:v>
                </c:pt>
                <c:pt idx="694">
                  <c:v>Paysan Bret</c:v>
                </c:pt>
                <c:pt idx="695">
                  <c:v>Richesmonts</c:v>
                </c:pt>
                <c:pt idx="696">
                  <c:v>Lactalis: A</c:v>
                </c:pt>
                <c:pt idx="697">
                  <c:v>Lactalis: A</c:v>
                </c:pt>
                <c:pt idx="698">
                  <c:v>All Others</c:v>
                </c:pt>
                <c:pt idx="699">
                  <c:v>All Others</c:v>
                </c:pt>
                <c:pt idx="700">
                  <c:v>Societe</c:v>
                </c:pt>
                <c:pt idx="701">
                  <c:v>All Others</c:v>
                </c:pt>
                <c:pt idx="702">
                  <c:v>President</c:v>
                </c:pt>
                <c:pt idx="703">
                  <c:v>Istara</c:v>
                </c:pt>
                <c:pt idx="704">
                  <c:v>Etoile Du V</c:v>
                </c:pt>
                <c:pt idx="705">
                  <c:v>All Others</c:v>
                </c:pt>
                <c:pt idx="706">
                  <c:v>All Others</c:v>
                </c:pt>
                <c:pt idx="707">
                  <c:v>All Others</c:v>
                </c:pt>
                <c:pt idx="708">
                  <c:v>Private Lab</c:v>
                </c:pt>
                <c:pt idx="709">
                  <c:v>Etoile Du V</c:v>
                </c:pt>
                <c:pt idx="710">
                  <c:v>All Others</c:v>
                </c:pt>
                <c:pt idx="711">
                  <c:v>Fol Epi</c:v>
                </c:pt>
                <c:pt idx="712">
                  <c:v>All Others</c:v>
                </c:pt>
                <c:pt idx="713">
                  <c:v>Milleret: A</c:v>
                </c:pt>
                <c:pt idx="714">
                  <c:v>All Others</c:v>
                </c:pt>
                <c:pt idx="715">
                  <c:v>All Others</c:v>
                </c:pt>
                <c:pt idx="716">
                  <c:v>Etoile Du V</c:v>
                </c:pt>
                <c:pt idx="717">
                  <c:v>Chaussee Au</c:v>
                </c:pt>
                <c:pt idx="718">
                  <c:v>Paysan Bret</c:v>
                </c:pt>
                <c:pt idx="719">
                  <c:v>All Others</c:v>
                </c:pt>
                <c:pt idx="720">
                  <c:v>Entremont</c:v>
                </c:pt>
                <c:pt idx="721">
                  <c:v>All Others</c:v>
                </c:pt>
                <c:pt idx="722">
                  <c:v>All Others</c:v>
                </c:pt>
                <c:pt idx="723">
                  <c:v>All Others</c:v>
                </c:pt>
                <c:pt idx="724">
                  <c:v>La Belle Et</c:v>
                </c:pt>
                <c:pt idx="725">
                  <c:v>Nurishh</c:v>
                </c:pt>
                <c:pt idx="726">
                  <c:v>All Others</c:v>
                </c:pt>
                <c:pt idx="727">
                  <c:v>Savencia: A</c:v>
                </c:pt>
                <c:pt idx="728">
                  <c:v>All Others</c:v>
                </c:pt>
                <c:pt idx="729">
                  <c:v>Nurishh</c:v>
                </c:pt>
                <c:pt idx="730">
                  <c:v>Milleret</c:v>
                </c:pt>
                <c:pt idx="731">
                  <c:v>All Others</c:v>
                </c:pt>
                <c:pt idx="732">
                  <c:v>All Others</c:v>
                </c:pt>
                <c:pt idx="733">
                  <c:v>All Others</c:v>
                </c:pt>
                <c:pt idx="734">
                  <c:v>Saint Agur</c:v>
                </c:pt>
                <c:pt idx="735">
                  <c:v>All Others</c:v>
                </c:pt>
                <c:pt idx="736">
                  <c:v>Lactalis: A</c:v>
                </c:pt>
                <c:pt idx="737">
                  <c:v>All Others</c:v>
                </c:pt>
                <c:pt idx="738">
                  <c:v>All Others</c:v>
                </c:pt>
                <c:pt idx="739">
                  <c:v>All Others</c:v>
                </c:pt>
                <c:pt idx="740">
                  <c:v>All Others</c:v>
                </c:pt>
                <c:pt idx="741">
                  <c:v>All Others</c:v>
                </c:pt>
                <c:pt idx="742">
                  <c:v>All Others</c:v>
                </c:pt>
                <c:pt idx="743">
                  <c:v>Milleret: A</c:v>
                </c:pt>
                <c:pt idx="744">
                  <c:v>Violife</c:v>
                </c:pt>
                <c:pt idx="745">
                  <c:v>All Others</c:v>
                </c:pt>
                <c:pt idx="746">
                  <c:v>Entremont</c:v>
                </c:pt>
                <c:pt idx="747">
                  <c:v>All Others</c:v>
                </c:pt>
                <c:pt idx="748">
                  <c:v>All Others</c:v>
                </c:pt>
                <c:pt idx="749">
                  <c:v>All Others</c:v>
                </c:pt>
                <c:pt idx="750">
                  <c:v>Lactalis: A</c:v>
                </c:pt>
                <c:pt idx="751">
                  <c:v>All Others</c:v>
                </c:pt>
                <c:pt idx="752">
                  <c:v>All Others</c:v>
                </c:pt>
                <c:pt idx="753">
                  <c:v>Paysan Bret</c:v>
                </c:pt>
                <c:pt idx="754">
                  <c:v>Tartare</c:v>
                </c:pt>
                <c:pt idx="755">
                  <c:v>All Others</c:v>
                </c:pt>
                <c:pt idx="756">
                  <c:v>All Others</c:v>
                </c:pt>
                <c:pt idx="757">
                  <c:v>Lactalis: A</c:v>
                </c:pt>
                <c:pt idx="758">
                  <c:v>Le Brebiou</c:v>
                </c:pt>
                <c:pt idx="759">
                  <c:v>Private Lab</c:v>
                </c:pt>
                <c:pt idx="760">
                  <c:v>All Others</c:v>
                </c:pt>
                <c:pt idx="761">
                  <c:v>Etoile Du V</c:v>
                </c:pt>
                <c:pt idx="762">
                  <c:v>All Others</c:v>
                </c:pt>
                <c:pt idx="763">
                  <c:v>Lactalis: A</c:v>
                </c:pt>
                <c:pt idx="764">
                  <c:v>Savencia: A</c:v>
                </c:pt>
                <c:pt idx="765">
                  <c:v>All Others</c:v>
                </c:pt>
                <c:pt idx="766">
                  <c:v>Savencia: A</c:v>
                </c:pt>
                <c:pt idx="767">
                  <c:v>All Others</c:v>
                </c:pt>
                <c:pt idx="768">
                  <c:v>All Others</c:v>
                </c:pt>
                <c:pt idx="769">
                  <c:v>Entremont</c:v>
                </c:pt>
                <c:pt idx="770">
                  <c:v>All Others</c:v>
                </c:pt>
                <c:pt idx="771">
                  <c:v>Aperivrais</c:v>
                </c:pt>
                <c:pt idx="772">
                  <c:v>La Belle Et</c:v>
                </c:pt>
                <c:pt idx="773">
                  <c:v>All Others</c:v>
                </c:pt>
                <c:pt idx="774">
                  <c:v>All Others</c:v>
                </c:pt>
                <c:pt idx="775">
                  <c:v>All Others</c:v>
                </c:pt>
                <c:pt idx="776">
                  <c:v>All Others</c:v>
                </c:pt>
                <c:pt idx="777">
                  <c:v>All Others</c:v>
                </c:pt>
                <c:pt idx="778">
                  <c:v>All Others</c:v>
                </c:pt>
                <c:pt idx="779">
                  <c:v>All Others</c:v>
                </c:pt>
                <c:pt idx="780">
                  <c:v>All Others</c:v>
                </c:pt>
                <c:pt idx="781">
                  <c:v>All Others</c:v>
                </c:pt>
                <c:pt idx="782">
                  <c:v>Entremont</c:v>
                </c:pt>
                <c:pt idx="783">
                  <c:v>All Others</c:v>
                </c:pt>
                <c:pt idx="784">
                  <c:v>All Others</c:v>
                </c:pt>
                <c:pt idx="785">
                  <c:v>Richesmonts</c:v>
                </c:pt>
                <c:pt idx="786">
                  <c:v>All Others</c:v>
                </c:pt>
                <c:pt idx="787">
                  <c:v>All Others</c:v>
                </c:pt>
                <c:pt idx="788">
                  <c:v>La Belle Et</c:v>
                </c:pt>
                <c:pt idx="789">
                  <c:v>All Others</c:v>
                </c:pt>
                <c:pt idx="790">
                  <c:v>All Others</c:v>
                </c:pt>
                <c:pt idx="791">
                  <c:v>All Others</c:v>
                </c:pt>
                <c:pt idx="792">
                  <c:v>Saint Albra</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All Others</c:v>
                </c:pt>
                <c:pt idx="810">
                  <c:v>Fol Epi</c:v>
                </c:pt>
                <c:pt idx="811">
                  <c:v>All Others</c:v>
                </c:pt>
                <c:pt idx="812">
                  <c:v>All Others</c:v>
                </c:pt>
                <c:pt idx="813">
                  <c:v>All Others</c:v>
                </c:pt>
                <c:pt idx="814">
                  <c:v>Lactalis: A</c:v>
                </c:pt>
                <c:pt idx="815">
                  <c:v>Dodin</c:v>
                </c:pt>
                <c:pt idx="816">
                  <c:v>All Others</c:v>
                </c:pt>
                <c:pt idx="817">
                  <c:v>La Belle Et</c:v>
                </c:pt>
                <c:pt idx="818">
                  <c:v>La Belle Et</c:v>
                </c:pt>
                <c:pt idx="819">
                  <c:v>Entremont</c:v>
                </c:pt>
                <c:pt idx="820">
                  <c:v>All Others</c:v>
                </c:pt>
                <c:pt idx="821">
                  <c:v>Etorki</c:v>
                </c:pt>
                <c:pt idx="822">
                  <c:v>All Others</c:v>
                </c:pt>
                <c:pt idx="823">
                  <c:v>All Others</c:v>
                </c:pt>
                <c:pt idx="824">
                  <c:v>All Others</c:v>
                </c:pt>
                <c:pt idx="825">
                  <c:v>Entremont</c:v>
                </c:pt>
                <c:pt idx="826">
                  <c:v>All Others</c:v>
                </c:pt>
                <c:pt idx="827">
                  <c:v>Soignon</c:v>
                </c:pt>
                <c:pt idx="828">
                  <c:v>All Others</c:v>
                </c:pt>
                <c:pt idx="829">
                  <c:v>All Others</c:v>
                </c:pt>
                <c:pt idx="830">
                  <c:v>All Others</c:v>
                </c:pt>
                <c:pt idx="831">
                  <c:v>All Others</c:v>
                </c:pt>
                <c:pt idx="832">
                  <c:v>Lactalis: A</c:v>
                </c:pt>
                <c:pt idx="833">
                  <c:v>All Others</c:v>
                </c:pt>
                <c:pt idx="834">
                  <c:v>All Others</c:v>
                </c:pt>
                <c:pt idx="835">
                  <c:v>Paysan Bret</c:v>
                </c:pt>
                <c:pt idx="836">
                  <c:v>All Others</c:v>
                </c:pt>
                <c:pt idx="837">
                  <c:v>La Belle Et</c:v>
                </c:pt>
                <c:pt idx="838">
                  <c:v>Tartare</c:v>
                </c:pt>
                <c:pt idx="839">
                  <c:v>All Others</c:v>
                </c:pt>
                <c:pt idx="840">
                  <c:v>All Others</c:v>
                </c:pt>
                <c:pt idx="841">
                  <c:v>Eurial Autr</c:v>
                </c:pt>
                <c:pt idx="842">
                  <c:v>All Others</c:v>
                </c:pt>
                <c:pt idx="843">
                  <c:v>All Others</c:v>
                </c:pt>
                <c:pt idx="844">
                  <c:v>All Others</c:v>
                </c:pt>
                <c:pt idx="845">
                  <c:v>Chavroux</c:v>
                </c:pt>
                <c:pt idx="846">
                  <c:v>All Others</c:v>
                </c:pt>
                <c:pt idx="847">
                  <c:v>All Others</c:v>
                </c:pt>
                <c:pt idx="848">
                  <c:v>All Others</c:v>
                </c:pt>
                <c:pt idx="849">
                  <c:v>Apericube</c:v>
                </c:pt>
                <c:pt idx="850">
                  <c:v>Aperivrais</c:v>
                </c:pt>
                <c:pt idx="851">
                  <c:v>All Others</c:v>
                </c:pt>
                <c:pt idx="852">
                  <c:v>Lactalis: A</c:v>
                </c:pt>
                <c:pt idx="853">
                  <c:v>All Others</c:v>
                </c:pt>
                <c:pt idx="854">
                  <c:v>Paysan Bret</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Private Lab</c:v>
                </c:pt>
                <c:pt idx="867">
                  <c:v>All Others</c:v>
                </c:pt>
                <c:pt idx="868">
                  <c:v>Rians</c:v>
                </c:pt>
                <c:pt idx="869">
                  <c:v>Entremont</c:v>
                </c:pt>
                <c:pt idx="870">
                  <c:v>All Others</c:v>
                </c:pt>
                <c:pt idx="871">
                  <c:v>All Others</c:v>
                </c:pt>
                <c:pt idx="872">
                  <c:v>All Others</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All Others</c:v>
                </c:pt>
                <c:pt idx="889">
                  <c:v>All Others</c:v>
                </c:pt>
                <c:pt idx="890">
                  <c:v>All Others</c:v>
                </c:pt>
                <c:pt idx="891">
                  <c:v>All Others</c:v>
                </c:pt>
                <c:pt idx="892">
                  <c:v>All Others</c:v>
                </c:pt>
                <c:pt idx="893">
                  <c:v>All Others</c:v>
                </c:pt>
                <c:pt idx="894">
                  <c:v>All Others</c:v>
                </c:pt>
                <c:pt idx="895">
                  <c:v>All Others</c:v>
                </c:pt>
                <c:pt idx="896">
                  <c:v>Other Suppl</c:v>
                </c:pt>
                <c:pt idx="897">
                  <c:v>All Others</c:v>
                </c:pt>
                <c:pt idx="898">
                  <c:v>All Others</c:v>
                </c:pt>
                <c:pt idx="899">
                  <c:v>All Others</c:v>
                </c:pt>
                <c:pt idx="900">
                  <c:v>All Others</c:v>
                </c:pt>
                <c:pt idx="901">
                  <c:v>Private Lab</c:v>
                </c:pt>
                <c:pt idx="902">
                  <c:v>All Others</c:v>
                </c:pt>
                <c:pt idx="903">
                  <c:v>All Others</c:v>
                </c:pt>
                <c:pt idx="904">
                  <c:v>All Others</c:v>
                </c:pt>
                <c:pt idx="905">
                  <c:v>La Belle Et</c:v>
                </c:pt>
                <c:pt idx="906">
                  <c:v>All Others</c:v>
                </c:pt>
                <c:pt idx="907">
                  <c:v>All Others</c:v>
                </c:pt>
                <c:pt idx="908">
                  <c:v>Entremont</c:v>
                </c:pt>
                <c:pt idx="909">
                  <c:v>Paysan Bret</c:v>
                </c:pt>
                <c:pt idx="910">
                  <c:v>All Others</c:v>
                </c:pt>
                <c:pt idx="911">
                  <c:v>Petit Billy</c:v>
                </c:pt>
                <c:pt idx="912">
                  <c:v>All Others</c:v>
                </c:pt>
                <c:pt idx="913">
                  <c:v>All Others</c:v>
                </c:pt>
                <c:pt idx="914">
                  <c:v>All Others</c:v>
                </c:pt>
                <c:pt idx="915">
                  <c:v>All Others</c:v>
                </c:pt>
                <c:pt idx="916">
                  <c:v>La Belle Et</c:v>
                </c:pt>
                <c:pt idx="917">
                  <c:v>All Others</c:v>
                </c:pt>
                <c:pt idx="918">
                  <c:v>All Others</c:v>
                </c:pt>
                <c:pt idx="919">
                  <c:v>Private Lab</c:v>
                </c:pt>
                <c:pt idx="920">
                  <c:v>All Others</c:v>
                </c:pt>
                <c:pt idx="921">
                  <c:v>All Others</c:v>
                </c:pt>
                <c:pt idx="922">
                  <c:v>All Others</c:v>
                </c:pt>
                <c:pt idx="923">
                  <c:v>All Others</c:v>
                </c:pt>
                <c:pt idx="924">
                  <c:v>Private Lab</c:v>
                </c:pt>
                <c:pt idx="925">
                  <c:v>All Others</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All Others</c:v>
                </c:pt>
                <c:pt idx="936">
                  <c:v>All Others</c:v>
                </c:pt>
                <c:pt idx="937">
                  <c:v>Private Lab</c:v>
                </c:pt>
                <c:pt idx="938">
                  <c:v>All Others</c:v>
                </c:pt>
                <c:pt idx="939">
                  <c:v>All Others</c:v>
                </c:pt>
                <c:pt idx="940">
                  <c:v>Private Lab</c:v>
                </c:pt>
                <c:pt idx="941">
                  <c:v>All Others</c:v>
                </c:pt>
                <c:pt idx="942">
                  <c:v>All Others</c:v>
                </c:pt>
                <c:pt idx="943">
                  <c:v>All Others</c:v>
                </c:pt>
                <c:pt idx="944">
                  <c:v>La Belle Et</c:v>
                </c:pt>
                <c:pt idx="945">
                  <c:v>All Others</c:v>
                </c:pt>
                <c:pt idx="946">
                  <c:v>All Others</c:v>
                </c:pt>
                <c:pt idx="947">
                  <c:v>All Others</c:v>
                </c:pt>
                <c:pt idx="948">
                  <c:v>All Others</c:v>
                </c:pt>
                <c:pt idx="949">
                  <c:v>Violife</c:v>
                </c:pt>
                <c:pt idx="950">
                  <c:v>All Others</c:v>
                </c:pt>
                <c:pt idx="951">
                  <c:v>All Others</c:v>
                </c:pt>
                <c:pt idx="952">
                  <c:v>All Others</c:v>
                </c:pt>
                <c:pt idx="953">
                  <c:v>Etoile Du V</c:v>
                </c:pt>
                <c:pt idx="954">
                  <c:v>All Others</c:v>
                </c:pt>
                <c:pt idx="955">
                  <c:v>Private Lab</c:v>
                </c:pt>
                <c:pt idx="956">
                  <c:v>All Others</c:v>
                </c:pt>
                <c:pt idx="957">
                  <c:v>All Others</c:v>
                </c:pt>
                <c:pt idx="958">
                  <c:v>Baillon</c:v>
                </c:pt>
                <c:pt idx="959">
                  <c:v>La Belle Et</c:v>
                </c:pt>
                <c:pt idx="960">
                  <c:v>Netto</c:v>
                </c:pt>
                <c:pt idx="961">
                  <c:v>Private Lab</c:v>
                </c:pt>
                <c:pt idx="962">
                  <c:v>All Others</c:v>
                </c:pt>
                <c:pt idx="963">
                  <c:v>Private Lab</c:v>
                </c:pt>
                <c:pt idx="964">
                  <c:v>Milleret: A</c:v>
                </c:pt>
                <c:pt idx="965">
                  <c:v>All Others</c:v>
                </c:pt>
                <c:pt idx="966">
                  <c:v>President</c:v>
                </c:pt>
                <c:pt idx="967">
                  <c:v>All Others</c:v>
                </c:pt>
                <c:pt idx="968">
                  <c:v>All Others</c:v>
                </c:pt>
                <c:pt idx="969">
                  <c:v>Private Lab</c:v>
                </c:pt>
                <c:pt idx="970">
                  <c:v>All Others</c:v>
                </c:pt>
                <c:pt idx="971">
                  <c:v>Casa Azzurr</c:v>
                </c:pt>
                <c:pt idx="972">
                  <c:v>Private Lab</c:v>
                </c:pt>
                <c:pt idx="973">
                  <c:v>All Others</c:v>
                </c:pt>
                <c:pt idx="974">
                  <c:v>Private Lab</c:v>
                </c:pt>
                <c:pt idx="975">
                  <c:v>Richesmonts</c:v>
                </c:pt>
                <c:pt idx="976">
                  <c:v>Paysan Bret</c:v>
                </c:pt>
                <c:pt idx="977">
                  <c:v>All Others</c:v>
                </c:pt>
                <c:pt idx="978">
                  <c:v>Entremont</c:v>
                </c:pt>
                <c:pt idx="979">
                  <c:v>Entremont</c:v>
                </c:pt>
                <c:pt idx="980">
                  <c:v>All Others</c:v>
                </c:pt>
                <c:pt idx="981">
                  <c:v>Mini Babybe</c:v>
                </c:pt>
                <c:pt idx="982">
                  <c:v>Boursin</c:v>
                </c:pt>
                <c:pt idx="983">
                  <c:v>All Others</c:v>
                </c:pt>
                <c:pt idx="984">
                  <c:v>All Others</c:v>
                </c:pt>
                <c:pt idx="985">
                  <c:v>All Others</c:v>
                </c:pt>
                <c:pt idx="986">
                  <c:v>All Others</c:v>
                </c:pt>
                <c:pt idx="987">
                  <c:v>La Belle Et</c:v>
                </c:pt>
                <c:pt idx="988">
                  <c:v>Kiri</c:v>
                </c:pt>
                <c:pt idx="989">
                  <c:v>All Others</c:v>
                </c:pt>
                <c:pt idx="990">
                  <c:v>Private Lab</c:v>
                </c:pt>
                <c:pt idx="991">
                  <c:v>All Others</c:v>
                </c:pt>
                <c:pt idx="992">
                  <c:v>All Others</c:v>
                </c:pt>
                <c:pt idx="993">
                  <c:v>All Others</c:v>
                </c:pt>
                <c:pt idx="994">
                  <c:v>All Others</c:v>
                </c:pt>
                <c:pt idx="995">
                  <c:v>Raguin</c:v>
                </c:pt>
                <c:pt idx="996">
                  <c:v>Entremont</c:v>
                </c:pt>
                <c:pt idx="997">
                  <c:v>Savencia: A</c:v>
                </c:pt>
                <c:pt idx="998">
                  <c:v>All Others</c:v>
                </c:pt>
                <c:pt idx="999">
                  <c:v>Apericube</c:v>
                </c:pt>
                <c:pt idx="1000">
                  <c:v>All Others</c:v>
                </c:pt>
                <c:pt idx="1001">
                  <c:v>Private Lab</c:v>
                </c:pt>
                <c:pt idx="1002">
                  <c:v>All Others</c:v>
                </c:pt>
                <c:pt idx="1003">
                  <c:v>All Others</c:v>
                </c:pt>
                <c:pt idx="1004">
                  <c:v>All Others</c:v>
                </c:pt>
                <c:pt idx="1005">
                  <c:v>All Others</c:v>
                </c:pt>
                <c:pt idx="1006">
                  <c:v>All Others</c:v>
                </c:pt>
                <c:pt idx="1007">
                  <c:v>Private Lab</c:v>
                </c:pt>
                <c:pt idx="1008">
                  <c:v>All Others</c:v>
                </c:pt>
                <c:pt idx="1009">
                  <c:v>Mini Babybe</c:v>
                </c:pt>
                <c:pt idx="1010">
                  <c:v>All Others</c:v>
                </c:pt>
                <c:pt idx="1011">
                  <c:v>All Others</c:v>
                </c:pt>
                <c:pt idx="1012">
                  <c:v>La Belle Et</c:v>
                </c:pt>
                <c:pt idx="1013">
                  <c:v>Corsica</c:v>
                </c:pt>
                <c:pt idx="1014">
                  <c:v>Private Lab</c:v>
                </c:pt>
                <c:pt idx="1015">
                  <c:v>All Others</c:v>
                </c:pt>
                <c:pt idx="1016">
                  <c:v>Entremont</c:v>
                </c:pt>
                <c:pt idx="1017">
                  <c:v>Entremont</c:v>
                </c:pt>
                <c:pt idx="1018">
                  <c:v>Netto</c:v>
                </c:pt>
                <c:pt idx="1019">
                  <c:v>Pochat</c:v>
                </c:pt>
                <c:pt idx="1020">
                  <c:v>Entremont</c:v>
                </c:pt>
                <c:pt idx="1021">
                  <c:v>All Others</c:v>
                </c:pt>
                <c:pt idx="1022">
                  <c:v>All Others</c:v>
                </c:pt>
                <c:pt idx="1023">
                  <c:v>Boursin</c:v>
                </c:pt>
                <c:pt idx="1024">
                  <c:v>Richesmonts</c:v>
                </c:pt>
                <c:pt idx="1025">
                  <c:v>President</c:v>
                </c:pt>
                <c:pt idx="1026">
                  <c:v>Entremont</c:v>
                </c:pt>
                <c:pt idx="1027">
                  <c:v>All Others</c:v>
                </c:pt>
                <c:pt idx="1028">
                  <c:v>Private Lab</c:v>
                </c:pt>
                <c:pt idx="1029">
                  <c:v>Richesmonts</c:v>
                </c:pt>
              </c:strCache>
            </c:strRef>
          </c:cat>
          <c:val>
            <c:numRef>
              <c:f>Sheet1!$C$2:$C$1031</c:f>
              <c:numCache>
                <c:formatCode>General</c:formatCode>
                <c:ptCount val="1030"/>
                <c:pt idx="0">
                  <c:v>1.8239224111796303E-2</c:v>
                </c:pt>
                <c:pt idx="1">
                  <c:v>3.6211034935545991E-2</c:v>
                </c:pt>
                <c:pt idx="2">
                  <c:v>5.4059060809705205E-2</c:v>
                </c:pt>
                <c:pt idx="3">
                  <c:v>7.1373025045663979E-2</c:v>
                </c:pt>
                <c:pt idx="4">
                  <c:v>8.6958544618366079E-2</c:v>
                </c:pt>
                <c:pt idx="5">
                  <c:v>0.10215556573422913</c:v>
                </c:pt>
                <c:pt idx="6">
                  <c:v>0.11656890797893893</c:v>
                </c:pt>
                <c:pt idx="7">
                  <c:v>0.12663036106440928</c:v>
                </c:pt>
                <c:pt idx="8">
                  <c:v>0.13638156433983734</c:v>
                </c:pt>
                <c:pt idx="9">
                  <c:v>0.14591154307703871</c:v>
                </c:pt>
                <c:pt idx="10">
                  <c:v>0.15542948529151546</c:v>
                </c:pt>
                <c:pt idx="11">
                  <c:v>0.16420827251983341</c:v>
                </c:pt>
                <c:pt idx="12">
                  <c:v>0.17279472286446382</c:v>
                </c:pt>
                <c:pt idx="13">
                  <c:v>0.18095019820103256</c:v>
                </c:pt>
                <c:pt idx="14">
                  <c:v>0.18880989005300186</c:v>
                </c:pt>
                <c:pt idx="15">
                  <c:v>0.19648577182897076</c:v>
                </c:pt>
                <c:pt idx="16">
                  <c:v>0.20414657982881723</c:v>
                </c:pt>
                <c:pt idx="17">
                  <c:v>0.21134093320128103</c:v>
                </c:pt>
                <c:pt idx="18">
                  <c:v>0.21853137189158767</c:v>
                </c:pt>
                <c:pt idx="19">
                  <c:v>0.22568437362149471</c:v>
                </c:pt>
                <c:pt idx="20">
                  <c:v>0.23276709105795926</c:v>
                </c:pt>
                <c:pt idx="21">
                  <c:v>0.23981783859014025</c:v>
                </c:pt>
                <c:pt idx="22">
                  <c:v>0.24672504777655838</c:v>
                </c:pt>
                <c:pt idx="23">
                  <c:v>0.2535662023261176</c:v>
                </c:pt>
                <c:pt idx="24">
                  <c:v>0.26040447710949227</c:v>
                </c:pt>
                <c:pt idx="25">
                  <c:v>0.26700825343238316</c:v>
                </c:pt>
                <c:pt idx="26">
                  <c:v>0.27356428863149523</c:v>
                </c:pt>
                <c:pt idx="27">
                  <c:v>0.28001687722969548</c:v>
                </c:pt>
                <c:pt idx="28">
                  <c:v>0.28640671842251442</c:v>
                </c:pt>
                <c:pt idx="29">
                  <c:v>0.29276366728594383</c:v>
                </c:pt>
                <c:pt idx="30">
                  <c:v>0.29908452907937266</c:v>
                </c:pt>
                <c:pt idx="31">
                  <c:v>0.30535722228372969</c:v>
                </c:pt>
                <c:pt idx="32">
                  <c:v>0.31154246508840328</c:v>
                </c:pt>
                <c:pt idx="33">
                  <c:v>0.31771528890140582</c:v>
                </c:pt>
                <c:pt idx="34">
                  <c:v>0.32385202564440779</c:v>
                </c:pt>
                <c:pt idx="35">
                  <c:v>0.32985863295294388</c:v>
                </c:pt>
                <c:pt idx="36">
                  <c:v>0.33547055480697874</c:v>
                </c:pt>
                <c:pt idx="37">
                  <c:v>0.34098890675818794</c:v>
                </c:pt>
                <c:pt idx="38">
                  <c:v>0.3464676394261858</c:v>
                </c:pt>
                <c:pt idx="39">
                  <c:v>0.3518667510588146</c:v>
                </c:pt>
                <c:pt idx="40">
                  <c:v>0.35724273456927341</c:v>
                </c:pt>
                <c:pt idx="41">
                  <c:v>0.36253684722703144</c:v>
                </c:pt>
                <c:pt idx="42">
                  <c:v>0.36778992321665915</c:v>
                </c:pt>
                <c:pt idx="43">
                  <c:v>0.37299690044916023</c:v>
                </c:pt>
                <c:pt idx="44">
                  <c:v>0.3780914543095959</c:v>
                </c:pt>
                <c:pt idx="45">
                  <c:v>0.38316715470079188</c:v>
                </c:pt>
                <c:pt idx="46">
                  <c:v>0.38821473237534154</c:v>
                </c:pt>
                <c:pt idx="47">
                  <c:v>0.39297485088941908</c:v>
                </c:pt>
                <c:pt idx="48">
                  <c:v>0.39770214456862701</c:v>
                </c:pt>
                <c:pt idx="49">
                  <c:v>0.40239425110476706</c:v>
                </c:pt>
                <c:pt idx="50">
                  <c:v>0.40708437780165524</c:v>
                </c:pt>
                <c:pt idx="51">
                  <c:v>0.4116203920113215</c:v>
                </c:pt>
                <c:pt idx="52">
                  <c:v>0.41613375056045748</c:v>
                </c:pt>
                <c:pt idx="53">
                  <c:v>0.42063455512888254</c:v>
                </c:pt>
                <c:pt idx="54">
                  <c:v>0.42510908183087326</c:v>
                </c:pt>
                <c:pt idx="55">
                  <c:v>0.42944441233455133</c:v>
                </c:pt>
                <c:pt idx="56">
                  <c:v>0.43372178754376467</c:v>
                </c:pt>
                <c:pt idx="57">
                  <c:v>0.43792723609288337</c:v>
                </c:pt>
                <c:pt idx="58">
                  <c:v>0.44206321028279894</c:v>
                </c:pt>
                <c:pt idx="59">
                  <c:v>0.44619677716816958</c:v>
                </c:pt>
                <c:pt idx="60">
                  <c:v>0.45023830402650011</c:v>
                </c:pt>
                <c:pt idx="61">
                  <c:v>0.45415622592062671</c:v>
                </c:pt>
                <c:pt idx="62">
                  <c:v>0.45805108718710336</c:v>
                </c:pt>
                <c:pt idx="63">
                  <c:v>0.46193620674453367</c:v>
                </c:pt>
                <c:pt idx="64">
                  <c:v>0.46579646582044865</c:v>
                </c:pt>
                <c:pt idx="65">
                  <c:v>0.46964430590469258</c:v>
                </c:pt>
                <c:pt idx="66">
                  <c:v>0.47349052612045772</c:v>
                </c:pt>
                <c:pt idx="67">
                  <c:v>0.47733197672347966</c:v>
                </c:pt>
                <c:pt idx="68">
                  <c:v>0.48112102908084614</c:v>
                </c:pt>
                <c:pt idx="69">
                  <c:v>0.48490535682181601</c:v>
                </c:pt>
                <c:pt idx="70">
                  <c:v>0.48868239515463119</c:v>
                </c:pt>
                <c:pt idx="71">
                  <c:v>0.49237787760917201</c:v>
                </c:pt>
                <c:pt idx="72">
                  <c:v>0.49604678972102539</c:v>
                </c:pt>
                <c:pt idx="73">
                  <c:v>0.49970980731146969</c:v>
                </c:pt>
                <c:pt idx="74">
                  <c:v>0.50337145251334159</c:v>
                </c:pt>
                <c:pt idx="75">
                  <c:v>0.50703276024261379</c:v>
                </c:pt>
                <c:pt idx="76">
                  <c:v>0.51064191720613705</c:v>
                </c:pt>
                <c:pt idx="77">
                  <c:v>0.51419705605552601</c:v>
                </c:pt>
                <c:pt idx="78">
                  <c:v>0.5177011465496586</c:v>
                </c:pt>
                <c:pt idx="79">
                  <c:v>0.52120332469905917</c:v>
                </c:pt>
                <c:pt idx="80">
                  <c:v>0.524686221913927</c:v>
                </c:pt>
                <c:pt idx="81">
                  <c:v>0.52816360707633225</c:v>
                </c:pt>
                <c:pt idx="82">
                  <c:v>0.53163442277212891</c:v>
                </c:pt>
                <c:pt idx="83">
                  <c:v>0.53509916396112989</c:v>
                </c:pt>
                <c:pt idx="84">
                  <c:v>0.53852775058561042</c:v>
                </c:pt>
                <c:pt idx="85">
                  <c:v>0.54195251252062704</c:v>
                </c:pt>
                <c:pt idx="86">
                  <c:v>0.54536742025573071</c:v>
                </c:pt>
                <c:pt idx="87">
                  <c:v>0.54876932404665713</c:v>
                </c:pt>
                <c:pt idx="88">
                  <c:v>0.55206737626955205</c:v>
                </c:pt>
                <c:pt idx="89">
                  <c:v>0.55516413733577918</c:v>
                </c:pt>
                <c:pt idx="90">
                  <c:v>0.55825950351526066</c:v>
                </c:pt>
                <c:pt idx="91">
                  <c:v>0.56134584792724196</c:v>
                </c:pt>
                <c:pt idx="92">
                  <c:v>0.56442832265341281</c:v>
                </c:pt>
                <c:pt idx="93">
                  <c:v>0.56749563361076794</c:v>
                </c:pt>
                <c:pt idx="94">
                  <c:v>0.57052930979901406</c:v>
                </c:pt>
                <c:pt idx="95">
                  <c:v>0.57353324340213496</c:v>
                </c:pt>
                <c:pt idx="96">
                  <c:v>0.57651456634107223</c:v>
                </c:pt>
                <c:pt idx="97">
                  <c:v>0.57949046722024011</c:v>
                </c:pt>
                <c:pt idx="98">
                  <c:v>0.58246315086062361</c:v>
                </c:pt>
                <c:pt idx="99">
                  <c:v>0.58540915166745311</c:v>
                </c:pt>
                <c:pt idx="100">
                  <c:v>0.58835450002725642</c:v>
                </c:pt>
                <c:pt idx="101">
                  <c:v>0.59123804590495777</c:v>
                </c:pt>
                <c:pt idx="102">
                  <c:v>0.59410532560335083</c:v>
                </c:pt>
                <c:pt idx="103">
                  <c:v>0.59697143539673148</c:v>
                </c:pt>
                <c:pt idx="104">
                  <c:v>0.5998240012897752</c:v>
                </c:pt>
                <c:pt idx="105">
                  <c:v>0.60262857857913366</c:v>
                </c:pt>
                <c:pt idx="106">
                  <c:v>0.60542856624113539</c:v>
                </c:pt>
                <c:pt idx="107">
                  <c:v>0.6082204320625697</c:v>
                </c:pt>
                <c:pt idx="108">
                  <c:v>0.61099182454628542</c:v>
                </c:pt>
                <c:pt idx="109">
                  <c:v>0.61376251958662831</c:v>
                </c:pt>
                <c:pt idx="110">
                  <c:v>0.61651339373627889</c:v>
                </c:pt>
                <c:pt idx="111">
                  <c:v>0.61925414370793685</c:v>
                </c:pt>
                <c:pt idx="112">
                  <c:v>0.62195178717951927</c:v>
                </c:pt>
                <c:pt idx="113">
                  <c:v>0.62460207199626927</c:v>
                </c:pt>
                <c:pt idx="114">
                  <c:v>0.62725017449020748</c:v>
                </c:pt>
                <c:pt idx="115">
                  <c:v>0.62982459546653236</c:v>
                </c:pt>
                <c:pt idx="116">
                  <c:v>0.63234997042502605</c:v>
                </c:pt>
                <c:pt idx="117">
                  <c:v>0.63483759344869373</c:v>
                </c:pt>
                <c:pt idx="118">
                  <c:v>0.63729491143290329</c:v>
                </c:pt>
                <c:pt idx="119">
                  <c:v>0.63974138529757407</c:v>
                </c:pt>
                <c:pt idx="120">
                  <c:v>0.64217577764317357</c:v>
                </c:pt>
                <c:pt idx="121">
                  <c:v>0.64452233712014328</c:v>
                </c:pt>
                <c:pt idx="122">
                  <c:v>0.64686786168114041</c:v>
                </c:pt>
                <c:pt idx="123">
                  <c:v>0.64920425198377074</c:v>
                </c:pt>
                <c:pt idx="124">
                  <c:v>0.65150727749537185</c:v>
                </c:pt>
                <c:pt idx="125">
                  <c:v>0.65375259519241469</c:v>
                </c:pt>
                <c:pt idx="126">
                  <c:v>0.65597525722892724</c:v>
                </c:pt>
                <c:pt idx="127">
                  <c:v>0.65819632189513433</c:v>
                </c:pt>
                <c:pt idx="128">
                  <c:v>0.66041587918372913</c:v>
                </c:pt>
                <c:pt idx="129">
                  <c:v>0.66259469228044676</c:v>
                </c:pt>
                <c:pt idx="130">
                  <c:v>0.664756159285537</c:v>
                </c:pt>
                <c:pt idx="131">
                  <c:v>0.66690869451582035</c:v>
                </c:pt>
                <c:pt idx="132">
                  <c:v>0.66905034063021818</c:v>
                </c:pt>
                <c:pt idx="133">
                  <c:v>0.67116669879780766</c:v>
                </c:pt>
                <c:pt idx="134">
                  <c:v>0.67326962555592684</c:v>
                </c:pt>
                <c:pt idx="135">
                  <c:v>0.6753725298158727</c:v>
                </c:pt>
                <c:pt idx="136">
                  <c:v>0.67746665978822496</c:v>
                </c:pt>
                <c:pt idx="137">
                  <c:v>0.67955662759851354</c:v>
                </c:pt>
                <c:pt idx="138">
                  <c:v>0.68164634792889567</c:v>
                </c:pt>
                <c:pt idx="139">
                  <c:v>0.68372868885842975</c:v>
                </c:pt>
                <c:pt idx="140">
                  <c:v>0.68580457281222185</c:v>
                </c:pt>
                <c:pt idx="141">
                  <c:v>0.68785233404936763</c:v>
                </c:pt>
                <c:pt idx="142">
                  <c:v>0.68987525730317134</c:v>
                </c:pt>
                <c:pt idx="143">
                  <c:v>0.69184787464143815</c:v>
                </c:pt>
                <c:pt idx="144">
                  <c:v>0.69381734223544056</c:v>
                </c:pt>
                <c:pt idx="145">
                  <c:v>0.69577697812770334</c:v>
                </c:pt>
                <c:pt idx="146">
                  <c:v>0.69773272183598234</c:v>
                </c:pt>
                <c:pt idx="147">
                  <c:v>0.69967138943071361</c:v>
                </c:pt>
                <c:pt idx="148">
                  <c:v>0.70156292335234571</c:v>
                </c:pt>
                <c:pt idx="149">
                  <c:v>0.70343722367321693</c:v>
                </c:pt>
                <c:pt idx="150">
                  <c:v>0.70525147636950491</c:v>
                </c:pt>
                <c:pt idx="151">
                  <c:v>0.70705803469051842</c:v>
                </c:pt>
                <c:pt idx="152">
                  <c:v>0.70885926094445584</c:v>
                </c:pt>
                <c:pt idx="153">
                  <c:v>0.71065902481712762</c:v>
                </c:pt>
                <c:pt idx="154">
                  <c:v>0.71245829372998637</c:v>
                </c:pt>
                <c:pt idx="155">
                  <c:v>0.71421765088338074</c:v>
                </c:pt>
                <c:pt idx="156">
                  <c:v>0.71597651307696208</c:v>
                </c:pt>
                <c:pt idx="157">
                  <c:v>0.71772075145788738</c:v>
                </c:pt>
                <c:pt idx="158">
                  <c:v>0.71945761043796463</c:v>
                </c:pt>
                <c:pt idx="159">
                  <c:v>0.72118810243499321</c:v>
                </c:pt>
                <c:pt idx="160">
                  <c:v>0.72290145082395418</c:v>
                </c:pt>
                <c:pt idx="161">
                  <c:v>0.72461304435539642</c:v>
                </c:pt>
                <c:pt idx="162">
                  <c:v>0.72628384869861473</c:v>
                </c:pt>
                <c:pt idx="163">
                  <c:v>0.72794909599302382</c:v>
                </c:pt>
                <c:pt idx="164">
                  <c:v>0.72960543401079936</c:v>
                </c:pt>
                <c:pt idx="165">
                  <c:v>0.73125938722220329</c:v>
                </c:pt>
                <c:pt idx="166">
                  <c:v>0.73287761333437973</c:v>
                </c:pt>
                <c:pt idx="167">
                  <c:v>0.73449363462557105</c:v>
                </c:pt>
                <c:pt idx="168">
                  <c:v>0.73610029667666244</c:v>
                </c:pt>
                <c:pt idx="169">
                  <c:v>0.73769510219041579</c:v>
                </c:pt>
                <c:pt idx="170">
                  <c:v>0.73927001931895686</c:v>
                </c:pt>
                <c:pt idx="171">
                  <c:v>0.74084408151691183</c:v>
                </c:pt>
                <c:pt idx="172">
                  <c:v>0.74241515145781567</c:v>
                </c:pt>
                <c:pt idx="173">
                  <c:v>0.74398133929510968</c:v>
                </c:pt>
                <c:pt idx="174">
                  <c:v>0.74554536730776522</c:v>
                </c:pt>
                <c:pt idx="175">
                  <c:v>0.74710525565653041</c:v>
                </c:pt>
                <c:pt idx="176">
                  <c:v>0.74866476153634931</c:v>
                </c:pt>
                <c:pt idx="177">
                  <c:v>0.75021038604323154</c:v>
                </c:pt>
                <c:pt idx="178">
                  <c:v>0.75175459316519477</c:v>
                </c:pt>
                <c:pt idx="179">
                  <c:v>0.7532803067886914</c:v>
                </c:pt>
                <c:pt idx="180">
                  <c:v>0.75480543545968182</c:v>
                </c:pt>
                <c:pt idx="181">
                  <c:v>0.75632703191746142</c:v>
                </c:pt>
                <c:pt idx="182">
                  <c:v>0.7578240153736322</c:v>
                </c:pt>
                <c:pt idx="183">
                  <c:v>0.7593148343303141</c:v>
                </c:pt>
                <c:pt idx="184">
                  <c:v>0.76078131026346685</c:v>
                </c:pt>
                <c:pt idx="185">
                  <c:v>0.76224371402724922</c:v>
                </c:pt>
                <c:pt idx="186">
                  <c:v>0.76370416044995304</c:v>
                </c:pt>
                <c:pt idx="187">
                  <c:v>0.76514647334496333</c:v>
                </c:pt>
                <c:pt idx="188">
                  <c:v>0.76658833627650724</c:v>
                </c:pt>
                <c:pt idx="189">
                  <c:v>0.76801978255380532</c:v>
                </c:pt>
                <c:pt idx="190">
                  <c:v>0.76942630085506813</c:v>
                </c:pt>
                <c:pt idx="191">
                  <c:v>0.77083137927323864</c:v>
                </c:pt>
                <c:pt idx="192">
                  <c:v>0.77223409538321086</c:v>
                </c:pt>
                <c:pt idx="193">
                  <c:v>0.77362117526272778</c:v>
                </c:pt>
                <c:pt idx="194">
                  <c:v>0.77499347384237538</c:v>
                </c:pt>
                <c:pt idx="195">
                  <c:v>0.77635963042070744</c:v>
                </c:pt>
                <c:pt idx="196">
                  <c:v>0.77772223228765536</c:v>
                </c:pt>
                <c:pt idx="197">
                  <c:v>0.77908226936284508</c:v>
                </c:pt>
                <c:pt idx="198">
                  <c:v>0.78042826757788497</c:v>
                </c:pt>
                <c:pt idx="199">
                  <c:v>0.78176135184144091</c:v>
                </c:pt>
                <c:pt idx="200">
                  <c:v>0.7830850543667236</c:v>
                </c:pt>
                <c:pt idx="201">
                  <c:v>0.7843967653656283</c:v>
                </c:pt>
                <c:pt idx="202">
                  <c:v>0.78570586657642827</c:v>
                </c:pt>
                <c:pt idx="203">
                  <c:v>0.78701204302469696</c:v>
                </c:pt>
                <c:pt idx="204">
                  <c:v>0.78831803948757917</c:v>
                </c:pt>
                <c:pt idx="205">
                  <c:v>0.78961978379570441</c:v>
                </c:pt>
                <c:pt idx="206">
                  <c:v>0.79092074066776352</c:v>
                </c:pt>
                <c:pt idx="207">
                  <c:v>0.79221548804398723</c:v>
                </c:pt>
                <c:pt idx="208">
                  <c:v>0.79350260853945642</c:v>
                </c:pt>
                <c:pt idx="209">
                  <c:v>0.79478916658059262</c:v>
                </c:pt>
                <c:pt idx="210">
                  <c:v>0.79607306983727744</c:v>
                </c:pt>
                <c:pt idx="211">
                  <c:v>0.79735452079307068</c:v>
                </c:pt>
                <c:pt idx="212">
                  <c:v>0.79861599337095834</c:v>
                </c:pt>
                <c:pt idx="213">
                  <c:v>0.79987116646031731</c:v>
                </c:pt>
                <c:pt idx="214">
                  <c:v>0.80112201990039933</c:v>
                </c:pt>
                <c:pt idx="215">
                  <c:v>0.80236697881907237</c:v>
                </c:pt>
                <c:pt idx="216">
                  <c:v>0.80361115030167929</c:v>
                </c:pt>
                <c:pt idx="217">
                  <c:v>0.80485043968067638</c:v>
                </c:pt>
                <c:pt idx="218">
                  <c:v>0.80608590437020955</c:v>
                </c:pt>
                <c:pt idx="219">
                  <c:v>0.8073156320255469</c:v>
                </c:pt>
                <c:pt idx="220">
                  <c:v>0.80853411059422575</c:v>
                </c:pt>
                <c:pt idx="221">
                  <c:v>0.80975013686201303</c:v>
                </c:pt>
                <c:pt idx="222">
                  <c:v>0.81094838957287985</c:v>
                </c:pt>
                <c:pt idx="223">
                  <c:v>0.81213874542491238</c:v>
                </c:pt>
                <c:pt idx="224">
                  <c:v>0.81332606402354701</c:v>
                </c:pt>
                <c:pt idx="225">
                  <c:v>0.81451250519342233</c:v>
                </c:pt>
                <c:pt idx="226">
                  <c:v>0.81569716900760558</c:v>
                </c:pt>
                <c:pt idx="227">
                  <c:v>0.81687897555377753</c:v>
                </c:pt>
                <c:pt idx="228">
                  <c:v>0.81804710321057272</c:v>
                </c:pt>
                <c:pt idx="229">
                  <c:v>0.819214735907555</c:v>
                </c:pt>
                <c:pt idx="230">
                  <c:v>0.82037746400275413</c:v>
                </c:pt>
                <c:pt idx="231">
                  <c:v>0.82153931466919394</c:v>
                </c:pt>
                <c:pt idx="232">
                  <c:v>0.82269896051464864</c:v>
                </c:pt>
                <c:pt idx="233">
                  <c:v>0.82385723397153099</c:v>
                </c:pt>
                <c:pt idx="234">
                  <c:v>0.82500702561707284</c:v>
                </c:pt>
                <c:pt idx="235">
                  <c:v>0.82615191266083154</c:v>
                </c:pt>
                <c:pt idx="236">
                  <c:v>0.82728658553390433</c:v>
                </c:pt>
                <c:pt idx="237">
                  <c:v>0.82841916607685862</c:v>
                </c:pt>
                <c:pt idx="238">
                  <c:v>0.82954792193034899</c:v>
                </c:pt>
                <c:pt idx="239">
                  <c:v>0.83067010831723076</c:v>
                </c:pt>
                <c:pt idx="240">
                  <c:v>0.83178361040921212</c:v>
                </c:pt>
                <c:pt idx="241">
                  <c:v>0.83287879898811346</c:v>
                </c:pt>
                <c:pt idx="242">
                  <c:v>0.83396548325750086</c:v>
                </c:pt>
                <c:pt idx="243">
                  <c:v>0.83505041266936963</c:v>
                </c:pt>
                <c:pt idx="244">
                  <c:v>0.83612843514203006</c:v>
                </c:pt>
                <c:pt idx="245">
                  <c:v>0.8372060076512241</c:v>
                </c:pt>
                <c:pt idx="246">
                  <c:v>0.83828175780837944</c:v>
                </c:pt>
                <c:pt idx="247">
                  <c:v>0.83935323331260459</c:v>
                </c:pt>
                <c:pt idx="248">
                  <c:v>0.84040689026356263</c:v>
                </c:pt>
                <c:pt idx="249">
                  <c:v>0.84145825240084227</c:v>
                </c:pt>
                <c:pt idx="250">
                  <c:v>0.84250533988519172</c:v>
                </c:pt>
                <c:pt idx="251">
                  <c:v>0.84355197740607479</c:v>
                </c:pt>
                <c:pt idx="252">
                  <c:v>0.8445973100329055</c:v>
                </c:pt>
                <c:pt idx="253">
                  <c:v>0.84564183272549676</c:v>
                </c:pt>
                <c:pt idx="254">
                  <c:v>0.84667215907072502</c:v>
                </c:pt>
                <c:pt idx="255">
                  <c:v>0.84769962814794197</c:v>
                </c:pt>
                <c:pt idx="256">
                  <c:v>0.84872698473429231</c:v>
                </c:pt>
                <c:pt idx="257">
                  <c:v>0.84975197901244437</c:v>
                </c:pt>
                <c:pt idx="258">
                  <c:v>0.85077074129658758</c:v>
                </c:pt>
                <c:pt idx="259">
                  <c:v>0.85178621884742656</c:v>
                </c:pt>
                <c:pt idx="260">
                  <c:v>0.8527944294882841</c:v>
                </c:pt>
                <c:pt idx="261">
                  <c:v>0.85380219016567527</c:v>
                </c:pt>
                <c:pt idx="262">
                  <c:v>0.85480682359697535</c:v>
                </c:pt>
                <c:pt idx="263">
                  <c:v>0.85580886973834402</c:v>
                </c:pt>
                <c:pt idx="264">
                  <c:v>0.85679136496710018</c:v>
                </c:pt>
                <c:pt idx="265">
                  <c:v>0.85777064295707195</c:v>
                </c:pt>
                <c:pt idx="266">
                  <c:v>0.85874560129776689</c:v>
                </c:pt>
                <c:pt idx="267">
                  <c:v>0.85971358520473351</c:v>
                </c:pt>
                <c:pt idx="268">
                  <c:v>0.86067225486794685</c:v>
                </c:pt>
                <c:pt idx="269">
                  <c:v>0.86162903468460161</c:v>
                </c:pt>
                <c:pt idx="270">
                  <c:v>0.86258113488120636</c:v>
                </c:pt>
                <c:pt idx="271">
                  <c:v>0.86353269512165154</c:v>
                </c:pt>
                <c:pt idx="272">
                  <c:v>0.86447957574204681</c:v>
                </c:pt>
                <c:pt idx="273">
                  <c:v>0.86541073013929337</c:v>
                </c:pt>
                <c:pt idx="274">
                  <c:v>0.8663327952745199</c:v>
                </c:pt>
                <c:pt idx="275">
                  <c:v>0.8672536005120407</c:v>
                </c:pt>
                <c:pt idx="276">
                  <c:v>0.86816533898571469</c:v>
                </c:pt>
                <c:pt idx="277">
                  <c:v>0.86906823567727509</c:v>
                </c:pt>
                <c:pt idx="278">
                  <c:v>0.86996640775243883</c:v>
                </c:pt>
                <c:pt idx="279">
                  <c:v>0.87085627800164866</c:v>
                </c:pt>
                <c:pt idx="280">
                  <c:v>0.87174502334219262</c:v>
                </c:pt>
                <c:pt idx="281">
                  <c:v>0.87262908906268666</c:v>
                </c:pt>
                <c:pt idx="282">
                  <c:v>0.87350750774167807</c:v>
                </c:pt>
                <c:pt idx="283">
                  <c:v>0.87437955943762069</c:v>
                </c:pt>
                <c:pt idx="284">
                  <c:v>0.87524996876691119</c:v>
                </c:pt>
                <c:pt idx="285">
                  <c:v>0.8761133361679535</c:v>
                </c:pt>
                <c:pt idx="286">
                  <c:v>0.87696990912065409</c:v>
                </c:pt>
                <c:pt idx="287">
                  <c:v>0.8778240297724631</c:v>
                </c:pt>
                <c:pt idx="288">
                  <c:v>0.8786771830028195</c:v>
                </c:pt>
                <c:pt idx="289">
                  <c:v>0.87951791724150485</c:v>
                </c:pt>
                <c:pt idx="290">
                  <c:v>0.88035466930351303</c:v>
                </c:pt>
                <c:pt idx="291">
                  <c:v>0.88118563933497873</c:v>
                </c:pt>
                <c:pt idx="292">
                  <c:v>0.88201192974639453</c:v>
                </c:pt>
                <c:pt idx="293">
                  <c:v>0.88283482293363946</c:v>
                </c:pt>
                <c:pt idx="294">
                  <c:v>0.88365395892594045</c:v>
                </c:pt>
                <c:pt idx="295">
                  <c:v>0.88446567052104674</c:v>
                </c:pt>
                <c:pt idx="296">
                  <c:v>0.88526305077975009</c:v>
                </c:pt>
                <c:pt idx="297">
                  <c:v>0.88605206171797946</c:v>
                </c:pt>
                <c:pt idx="298">
                  <c:v>0.8868376304356913</c:v>
                </c:pt>
                <c:pt idx="299">
                  <c:v>0.8876163822068881</c:v>
                </c:pt>
                <c:pt idx="300">
                  <c:v>0.88839173675391403</c:v>
                </c:pt>
                <c:pt idx="301">
                  <c:v>0.88916295163704961</c:v>
                </c:pt>
                <c:pt idx="302">
                  <c:v>0.8899275970535766</c:v>
                </c:pt>
                <c:pt idx="303">
                  <c:v>0.89069217497558362</c:v>
                </c:pt>
                <c:pt idx="304">
                  <c:v>0.89145479555651208</c:v>
                </c:pt>
                <c:pt idx="305">
                  <c:v>0.89221548129453532</c:v>
                </c:pt>
                <c:pt idx="306">
                  <c:v>0.89297171239424178</c:v>
                </c:pt>
                <c:pt idx="307">
                  <c:v>0.8937265711053759</c:v>
                </c:pt>
                <c:pt idx="308">
                  <c:v>0.89447504033528791</c:v>
                </c:pt>
                <c:pt idx="309">
                  <c:v>0.89521799751273723</c:v>
                </c:pt>
                <c:pt idx="310">
                  <c:v>0.8959602347486405</c:v>
                </c:pt>
                <c:pt idx="311">
                  <c:v>0.89670184203569081</c:v>
                </c:pt>
                <c:pt idx="312">
                  <c:v>0.89744326933735463</c:v>
                </c:pt>
                <c:pt idx="313">
                  <c:v>0.89817747472538367</c:v>
                </c:pt>
                <c:pt idx="314">
                  <c:v>0.89891152262619944</c:v>
                </c:pt>
                <c:pt idx="315">
                  <c:v>0.89964325321516359</c:v>
                </c:pt>
                <c:pt idx="316">
                  <c:v>0.9003730489612225</c:v>
                </c:pt>
                <c:pt idx="317">
                  <c:v>0.90108619605902673</c:v>
                </c:pt>
                <c:pt idx="318">
                  <c:v>0.90179752080479236</c:v>
                </c:pt>
                <c:pt idx="319">
                  <c:v>0.90249419923972851</c:v>
                </c:pt>
                <c:pt idx="320">
                  <c:v>0.90318806540300001</c:v>
                </c:pt>
                <c:pt idx="321">
                  <c:v>0.90387952426172657</c:v>
                </c:pt>
                <c:pt idx="322">
                  <c:v>0.90456688845290945</c:v>
                </c:pt>
                <c:pt idx="323">
                  <c:v>0.90525389267331924</c:v>
                </c:pt>
                <c:pt idx="324">
                  <c:v>0.90593983947958312</c:v>
                </c:pt>
                <c:pt idx="325">
                  <c:v>0.90662117416031707</c:v>
                </c:pt>
                <c:pt idx="326">
                  <c:v>0.90729445449500346</c:v>
                </c:pt>
                <c:pt idx="327">
                  <c:v>0.90796768983334319</c:v>
                </c:pt>
                <c:pt idx="328">
                  <c:v>0.90863566059912682</c:v>
                </c:pt>
                <c:pt idx="329">
                  <c:v>0.90929852427956748</c:v>
                </c:pt>
                <c:pt idx="330">
                  <c:v>0.90995184873452162</c:v>
                </c:pt>
                <c:pt idx="331">
                  <c:v>0.91060110102010539</c:v>
                </c:pt>
                <c:pt idx="332">
                  <c:v>0.91124913840433008</c:v>
                </c:pt>
                <c:pt idx="333">
                  <c:v>0.91189638835248865</c:v>
                </c:pt>
                <c:pt idx="334">
                  <c:v>0.91254291835910106</c:v>
                </c:pt>
                <c:pt idx="335">
                  <c:v>0.91318508372009</c:v>
                </c:pt>
                <c:pt idx="336">
                  <c:v>0.91381626997250021</c:v>
                </c:pt>
                <c:pt idx="337">
                  <c:v>0.91444018931492899</c:v>
                </c:pt>
                <c:pt idx="338">
                  <c:v>0.91505789916152225</c:v>
                </c:pt>
                <c:pt idx="339">
                  <c:v>0.91567081689719898</c:v>
                </c:pt>
                <c:pt idx="340">
                  <c:v>0.91628008992879839</c:v>
                </c:pt>
                <c:pt idx="341">
                  <c:v>0.91688794557547881</c:v>
                </c:pt>
                <c:pt idx="342">
                  <c:v>0.91749116659845587</c:v>
                </c:pt>
                <c:pt idx="343">
                  <c:v>0.9180935101926736</c:v>
                </c:pt>
                <c:pt idx="344">
                  <c:v>0.91869292902436006</c:v>
                </c:pt>
                <c:pt idx="345">
                  <c:v>0.91927695910549767</c:v>
                </c:pt>
                <c:pt idx="346">
                  <c:v>0.91985046004152293</c:v>
                </c:pt>
                <c:pt idx="347">
                  <c:v>0.9204217786547364</c:v>
                </c:pt>
                <c:pt idx="348">
                  <c:v>0.92098650530316795</c:v>
                </c:pt>
                <c:pt idx="349">
                  <c:v>0.92155116445707963</c:v>
                </c:pt>
                <c:pt idx="350">
                  <c:v>0.92211573361829802</c:v>
                </c:pt>
                <c:pt idx="351">
                  <c:v>0.92267611811927941</c:v>
                </c:pt>
                <c:pt idx="352">
                  <c:v>0.9232277283326672</c:v>
                </c:pt>
                <c:pt idx="353">
                  <c:v>0.92377652627439033</c:v>
                </c:pt>
                <c:pt idx="354">
                  <c:v>0.92431495255821428</c:v>
                </c:pt>
                <c:pt idx="355">
                  <c:v>0.92485038658498708</c:v>
                </c:pt>
                <c:pt idx="356">
                  <c:v>0.92538381827433469</c:v>
                </c:pt>
                <c:pt idx="357">
                  <c:v>0.9259148651573107</c:v>
                </c:pt>
                <c:pt idx="358">
                  <c:v>0.92644075995859709</c:v>
                </c:pt>
                <c:pt idx="359">
                  <c:v>0.92696665475988349</c:v>
                </c:pt>
                <c:pt idx="360">
                  <c:v>0.92748616007994777</c:v>
                </c:pt>
                <c:pt idx="361">
                  <c:v>0.92800134575073523</c:v>
                </c:pt>
                <c:pt idx="362">
                  <c:v>0.92851608145805631</c:v>
                </c:pt>
                <c:pt idx="363">
                  <c:v>0.92902472016040849</c:v>
                </c:pt>
                <c:pt idx="364">
                  <c:v>0.92952764432673807</c:v>
                </c:pt>
                <c:pt idx="365">
                  <c:v>0.93002858865381577</c:v>
                </c:pt>
                <c:pt idx="366">
                  <c:v>0.93052892553021394</c:v>
                </c:pt>
                <c:pt idx="367">
                  <c:v>0.93102780002534646</c:v>
                </c:pt>
                <c:pt idx="368">
                  <c:v>0.93151837269452498</c:v>
                </c:pt>
                <c:pt idx="369">
                  <c:v>0.93200878787649033</c:v>
                </c:pt>
                <c:pt idx="370">
                  <c:v>0.93249544586351174</c:v>
                </c:pt>
                <c:pt idx="371">
                  <c:v>0.93298100144004059</c:v>
                </c:pt>
                <c:pt idx="372">
                  <c:v>0.9334607974842003</c:v>
                </c:pt>
                <c:pt idx="373">
                  <c:v>0.93394003107402701</c:v>
                </c:pt>
                <c:pt idx="374">
                  <c:v>0.93441872470769416</c:v>
                </c:pt>
                <c:pt idx="375">
                  <c:v>0.93489078138023274</c:v>
                </c:pt>
                <c:pt idx="376">
                  <c:v>0.93536067822813296</c:v>
                </c:pt>
                <c:pt idx="377">
                  <c:v>0.93582942766919397</c:v>
                </c:pt>
                <c:pt idx="378">
                  <c:v>0.93629608478013648</c:v>
                </c:pt>
                <c:pt idx="379">
                  <c:v>0.93675756731121607</c:v>
                </c:pt>
                <c:pt idx="380">
                  <c:v>0.93721340280079313</c:v>
                </c:pt>
                <c:pt idx="381">
                  <c:v>0.93766804588718433</c:v>
                </c:pt>
                <c:pt idx="382">
                  <c:v>0.93811976421104437</c:v>
                </c:pt>
                <c:pt idx="383">
                  <c:v>0.93857143753855776</c:v>
                </c:pt>
                <c:pt idx="384">
                  <c:v>0.93901973614007361</c:v>
                </c:pt>
                <c:pt idx="385">
                  <c:v>0.93946594241147097</c:v>
                </c:pt>
                <c:pt idx="386">
                  <c:v>0.93990506175827337</c:v>
                </c:pt>
                <c:pt idx="387">
                  <c:v>0.9403419087895708</c:v>
                </c:pt>
                <c:pt idx="388">
                  <c:v>0.94077553858208385</c:v>
                </c:pt>
                <c:pt idx="389">
                  <c:v>0.94120727852803832</c:v>
                </c:pt>
                <c:pt idx="390">
                  <c:v>0.94163899597581946</c:v>
                </c:pt>
                <c:pt idx="391">
                  <c:v>0.94206916104964167</c:v>
                </c:pt>
                <c:pt idx="392">
                  <c:v>0.94249214920617574</c:v>
                </c:pt>
                <c:pt idx="393">
                  <c:v>0.94291430493029715</c:v>
                </c:pt>
                <c:pt idx="394">
                  <c:v>0.94333538074209933</c:v>
                </c:pt>
                <c:pt idx="395">
                  <c:v>0.94375481418724938</c:v>
                </c:pt>
                <c:pt idx="396">
                  <c:v>0.94416749818040424</c:v>
                </c:pt>
                <c:pt idx="397">
                  <c:v>0.94457950722835959</c:v>
                </c:pt>
                <c:pt idx="398">
                  <c:v>0.94498870400465029</c:v>
                </c:pt>
                <c:pt idx="399">
                  <c:v>0.94538881151892096</c:v>
                </c:pt>
                <c:pt idx="400">
                  <c:v>0.94578662421951332</c:v>
                </c:pt>
                <c:pt idx="401">
                  <c:v>0.94618382946942603</c:v>
                </c:pt>
                <c:pt idx="402">
                  <c:v>0.94658094472664556</c:v>
                </c:pt>
                <c:pt idx="403">
                  <c:v>0.94697599015191991</c:v>
                </c:pt>
                <c:pt idx="404">
                  <c:v>0.94736950570140865</c:v>
                </c:pt>
                <c:pt idx="405">
                  <c:v>0.94776263878195099</c:v>
                </c:pt>
                <c:pt idx="406">
                  <c:v>0.94815241963466912</c:v>
                </c:pt>
                <c:pt idx="407">
                  <c:v>0.94854211049469395</c:v>
                </c:pt>
                <c:pt idx="408">
                  <c:v>0.94893006899537335</c:v>
                </c:pt>
                <c:pt idx="409">
                  <c:v>0.94931555269698786</c:v>
                </c:pt>
                <c:pt idx="410">
                  <c:v>0.94969847160684429</c:v>
                </c:pt>
                <c:pt idx="411">
                  <c:v>0.95006854405973662</c:v>
                </c:pt>
                <c:pt idx="412">
                  <c:v>0.95043654668068378</c:v>
                </c:pt>
                <c:pt idx="413">
                  <c:v>0.95079836230396875</c:v>
                </c:pt>
                <c:pt idx="414">
                  <c:v>0.95115885053502802</c:v>
                </c:pt>
                <c:pt idx="415">
                  <c:v>0.95150995702781416</c:v>
                </c:pt>
                <c:pt idx="416">
                  <c:v>0.95185541647909766</c:v>
                </c:pt>
                <c:pt idx="417">
                  <c:v>0.95219999850162185</c:v>
                </c:pt>
                <c:pt idx="418">
                  <c:v>0.95254413056067966</c:v>
                </c:pt>
                <c:pt idx="419">
                  <c:v>0.95288716020924491</c:v>
                </c:pt>
                <c:pt idx="420">
                  <c:v>0.95322564522680009</c:v>
                </c:pt>
                <c:pt idx="421">
                  <c:v>0.95356077801653105</c:v>
                </c:pt>
                <c:pt idx="422">
                  <c:v>0.95389438093047652</c:v>
                </c:pt>
                <c:pt idx="423">
                  <c:v>0.95422694892844939</c:v>
                </c:pt>
                <c:pt idx="424">
                  <c:v>0.95455076513700188</c:v>
                </c:pt>
                <c:pt idx="425">
                  <c:v>0.95487401889122148</c:v>
                </c:pt>
                <c:pt idx="426">
                  <c:v>0.95519430288656315</c:v>
                </c:pt>
                <c:pt idx="427">
                  <c:v>0.95551395693305197</c:v>
                </c:pt>
                <c:pt idx="428">
                  <c:v>0.95583043873710305</c:v>
                </c:pt>
                <c:pt idx="429">
                  <c:v>0.95614644807951454</c:v>
                </c:pt>
                <c:pt idx="430">
                  <c:v>0.95646151249864675</c:v>
                </c:pt>
                <c:pt idx="431">
                  <c:v>0.95677572198719285</c:v>
                </c:pt>
                <c:pt idx="432">
                  <c:v>0.95708858158533994</c:v>
                </c:pt>
                <c:pt idx="433">
                  <c:v>0.95740076623828752</c:v>
                </c:pt>
                <c:pt idx="434">
                  <c:v>0.95771061108121014</c:v>
                </c:pt>
                <c:pt idx="435">
                  <c:v>0.95801894854652048</c:v>
                </c:pt>
                <c:pt idx="436">
                  <c:v>0.95832645357941815</c:v>
                </c:pt>
                <c:pt idx="437">
                  <c:v>0.95863317117624969</c:v>
                </c:pt>
                <c:pt idx="438">
                  <c:v>0.95893626656717712</c:v>
                </c:pt>
                <c:pt idx="439">
                  <c:v>0.95923369241842871</c:v>
                </c:pt>
                <c:pt idx="440">
                  <c:v>0.95952956589572136</c:v>
                </c:pt>
                <c:pt idx="441">
                  <c:v>0.95982514689676091</c:v>
                </c:pt>
                <c:pt idx="442">
                  <c:v>0.96012070539962713</c:v>
                </c:pt>
                <c:pt idx="443">
                  <c:v>0.96041376660525524</c:v>
                </c:pt>
                <c:pt idx="444">
                  <c:v>0.96070282313603284</c:v>
                </c:pt>
                <c:pt idx="445">
                  <c:v>0.96098798748282666</c:v>
                </c:pt>
                <c:pt idx="446">
                  <c:v>0.96127227440086105</c:v>
                </c:pt>
                <c:pt idx="447">
                  <c:v>0.96155192669519218</c:v>
                </c:pt>
                <c:pt idx="448">
                  <c:v>0.96182471704666161</c:v>
                </c:pt>
                <c:pt idx="449">
                  <c:v>0.96209325524337408</c:v>
                </c:pt>
                <c:pt idx="450">
                  <c:v>0.96236073602594063</c:v>
                </c:pt>
                <c:pt idx="451">
                  <c:v>0.96262819431033386</c:v>
                </c:pt>
                <c:pt idx="452">
                  <c:v>0.96289513513674085</c:v>
                </c:pt>
                <c:pt idx="453">
                  <c:v>0.9631619409741079</c:v>
                </c:pt>
                <c:pt idx="454">
                  <c:v>0.96342863432060832</c:v>
                </c:pt>
                <c:pt idx="455">
                  <c:v>0.96369352781324347</c:v>
                </c:pt>
                <c:pt idx="456">
                  <c:v>0.96395713890999946</c:v>
                </c:pt>
                <c:pt idx="457">
                  <c:v>0.96422072750858212</c:v>
                </c:pt>
                <c:pt idx="458">
                  <c:v>0.96448287622407258</c:v>
                </c:pt>
                <c:pt idx="459">
                  <c:v>0.96473996285056662</c:v>
                </c:pt>
                <c:pt idx="460">
                  <c:v>0.96499459717616909</c:v>
                </c:pt>
                <c:pt idx="461">
                  <c:v>0.96524466437258827</c:v>
                </c:pt>
                <c:pt idx="462">
                  <c:v>0.9654945965799675</c:v>
                </c:pt>
                <c:pt idx="463">
                  <c:v>0.96574108656682922</c:v>
                </c:pt>
                <c:pt idx="464">
                  <c:v>0.96598278444277441</c:v>
                </c:pt>
                <c:pt idx="465">
                  <c:v>0.96622376237717345</c:v>
                </c:pt>
                <c:pt idx="466">
                  <c:v>0.96646402037002632</c:v>
                </c:pt>
                <c:pt idx="467">
                  <c:v>0.96670043117524207</c:v>
                </c:pt>
                <c:pt idx="468">
                  <c:v>0.96693342225811363</c:v>
                </c:pt>
                <c:pt idx="469">
                  <c:v>0.9671632860948941</c:v>
                </c:pt>
                <c:pt idx="470">
                  <c:v>0.96739177754310224</c:v>
                </c:pt>
                <c:pt idx="471">
                  <c:v>0.96762022399496372</c:v>
                </c:pt>
                <c:pt idx="472">
                  <c:v>0.96784729805825287</c:v>
                </c:pt>
                <c:pt idx="473">
                  <c:v>0.96807362968182253</c:v>
                </c:pt>
                <c:pt idx="474">
                  <c:v>0.96829809395700683</c:v>
                </c:pt>
                <c:pt idx="475">
                  <c:v>0.96852118584361879</c:v>
                </c:pt>
                <c:pt idx="476">
                  <c:v>0.96874425523205743</c:v>
                </c:pt>
                <c:pt idx="477">
                  <c:v>0.9689668746570298</c:v>
                </c:pt>
                <c:pt idx="478">
                  <c:v>0.96918922410392228</c:v>
                </c:pt>
                <c:pt idx="479">
                  <c:v>0.96941155105264154</c:v>
                </c:pt>
                <c:pt idx="480">
                  <c:v>0.96963142570046923</c:v>
                </c:pt>
                <c:pt idx="481">
                  <c:v>0.969851097864737</c:v>
                </c:pt>
                <c:pt idx="482">
                  <c:v>0.9700707025344848</c:v>
                </c:pt>
                <c:pt idx="483">
                  <c:v>0.97028758492526124</c:v>
                </c:pt>
                <c:pt idx="484">
                  <c:v>0.97050223999687935</c:v>
                </c:pt>
                <c:pt idx="485">
                  <c:v>0.97071464525116569</c:v>
                </c:pt>
                <c:pt idx="486">
                  <c:v>0.97092621807303936</c:v>
                </c:pt>
                <c:pt idx="487">
                  <c:v>0.97113734093144666</c:v>
                </c:pt>
                <c:pt idx="488">
                  <c:v>0.97134841879350731</c:v>
                </c:pt>
                <c:pt idx="489">
                  <c:v>0.97155789928526248</c:v>
                </c:pt>
                <c:pt idx="490">
                  <c:v>0.97176706480259123</c:v>
                </c:pt>
                <c:pt idx="491">
                  <c:v>0.97197589284732022</c:v>
                </c:pt>
                <c:pt idx="492">
                  <c:v>0.97218409094319636</c:v>
                </c:pt>
                <c:pt idx="493">
                  <c:v>0.97238922928750138</c:v>
                </c:pt>
                <c:pt idx="494">
                  <c:v>0.97259092541128889</c:v>
                </c:pt>
                <c:pt idx="495">
                  <c:v>0.972790821681211</c:v>
                </c:pt>
                <c:pt idx="496">
                  <c:v>0.97299058296209318</c:v>
                </c:pt>
                <c:pt idx="497">
                  <c:v>0.97318969179594916</c:v>
                </c:pt>
                <c:pt idx="498">
                  <c:v>0.97338711326680638</c:v>
                </c:pt>
                <c:pt idx="499">
                  <c:v>0.97358354481803766</c:v>
                </c:pt>
                <c:pt idx="500">
                  <c:v>0.97377673663231124</c:v>
                </c:pt>
                <c:pt idx="501">
                  <c:v>0.97396779112011977</c:v>
                </c:pt>
                <c:pt idx="502">
                  <c:v>0.97415742822300933</c:v>
                </c:pt>
                <c:pt idx="503">
                  <c:v>0.97434598541357964</c:v>
                </c:pt>
                <c:pt idx="504">
                  <c:v>0.97453294523384448</c:v>
                </c:pt>
                <c:pt idx="505">
                  <c:v>0.97471833018197707</c:v>
                </c:pt>
                <c:pt idx="506">
                  <c:v>0.97490124033104475</c:v>
                </c:pt>
                <c:pt idx="507">
                  <c:v>0.97508403798924592</c:v>
                </c:pt>
                <c:pt idx="508">
                  <c:v>0.97526566574243456</c:v>
                </c:pt>
                <c:pt idx="509">
                  <c:v>0.97544661855042369</c:v>
                </c:pt>
                <c:pt idx="510">
                  <c:v>0.97562712139494645</c:v>
                </c:pt>
                <c:pt idx="511">
                  <c:v>0.97580382204817862</c:v>
                </c:pt>
                <c:pt idx="512">
                  <c:v>0.97598045520689092</c:v>
                </c:pt>
                <c:pt idx="513">
                  <c:v>0.97615621093684379</c:v>
                </c:pt>
                <c:pt idx="514">
                  <c:v>0.97633162919419691</c:v>
                </c:pt>
                <c:pt idx="515">
                  <c:v>0.97650628251365723</c:v>
                </c:pt>
                <c:pt idx="516">
                  <c:v>0.97667875351030586</c:v>
                </c:pt>
                <c:pt idx="517">
                  <c:v>0.97684967213299556</c:v>
                </c:pt>
                <c:pt idx="518">
                  <c:v>0.97702056825751193</c:v>
                </c:pt>
                <c:pt idx="519">
                  <c:v>0.97719083443317545</c:v>
                </c:pt>
                <c:pt idx="520">
                  <c:v>0.97736033567094616</c:v>
                </c:pt>
                <c:pt idx="521">
                  <c:v>0.97752893698178422</c:v>
                </c:pt>
                <c:pt idx="522">
                  <c:v>0.97769724581636919</c:v>
                </c:pt>
                <c:pt idx="523">
                  <c:v>0.97786440724411494</c:v>
                </c:pt>
                <c:pt idx="524">
                  <c:v>0.97803125369743427</c:v>
                </c:pt>
                <c:pt idx="525">
                  <c:v>0.97819774017998051</c:v>
                </c:pt>
                <c:pt idx="526">
                  <c:v>0.9783636867063672</c:v>
                </c:pt>
                <c:pt idx="527">
                  <c:v>0.97852882329851443</c:v>
                </c:pt>
                <c:pt idx="528">
                  <c:v>0.97868669298068023</c:v>
                </c:pt>
                <c:pt idx="529">
                  <c:v>0.97884366273591339</c:v>
                </c:pt>
                <c:pt idx="530">
                  <c:v>0.97900052000027993</c:v>
                </c:pt>
                <c:pt idx="531">
                  <c:v>0.97915449749846195</c:v>
                </c:pt>
                <c:pt idx="532">
                  <c:v>0.9793081150258709</c:v>
                </c:pt>
                <c:pt idx="533">
                  <c:v>0.9794615075715466</c:v>
                </c:pt>
                <c:pt idx="534">
                  <c:v>0.97961456264462254</c:v>
                </c:pt>
                <c:pt idx="535">
                  <c:v>0.97976761771769849</c:v>
                </c:pt>
                <c:pt idx="536">
                  <c:v>0.97992044780904131</c:v>
                </c:pt>
                <c:pt idx="537">
                  <c:v>0.98007309791499753</c:v>
                </c:pt>
                <c:pt idx="538">
                  <c:v>0.98022523056296751</c:v>
                </c:pt>
                <c:pt idx="539">
                  <c:v>0.98037684575295114</c:v>
                </c:pt>
                <c:pt idx="540">
                  <c:v>0.98052821346302832</c:v>
                </c:pt>
                <c:pt idx="541">
                  <c:v>0.98067933369319904</c:v>
                </c:pt>
                <c:pt idx="542">
                  <c:v>0.98082716919006541</c:v>
                </c:pt>
                <c:pt idx="543">
                  <c:v>0.98097300234950657</c:v>
                </c:pt>
                <c:pt idx="544">
                  <c:v>0.98111861052721461</c:v>
                </c:pt>
                <c:pt idx="545">
                  <c:v>0.98126372374510962</c:v>
                </c:pt>
                <c:pt idx="546">
                  <c:v>0.98140870197396479</c:v>
                </c:pt>
                <c:pt idx="547">
                  <c:v>0.98154648078735851</c:v>
                </c:pt>
                <c:pt idx="548">
                  <c:v>0.98168421460440558</c:v>
                </c:pt>
                <c:pt idx="549">
                  <c:v>0.98181974360046753</c:v>
                </c:pt>
                <c:pt idx="550">
                  <c:v>0.98195502511662303</c:v>
                </c:pt>
                <c:pt idx="551">
                  <c:v>0.98208816930631337</c:v>
                </c:pt>
                <c:pt idx="552">
                  <c:v>0.98221960363483163</c:v>
                </c:pt>
                <c:pt idx="553">
                  <c:v>0.9823509479706567</c:v>
                </c:pt>
                <c:pt idx="554">
                  <c:v>0.9824808974197361</c:v>
                </c:pt>
                <c:pt idx="555">
                  <c:v>0.98260974445832294</c:v>
                </c:pt>
                <c:pt idx="556">
                  <c:v>0.98273510428004562</c:v>
                </c:pt>
                <c:pt idx="557">
                  <c:v>0.98285884423328951</c:v>
                </c:pt>
                <c:pt idx="558">
                  <c:v>0.98298132428882756</c:v>
                </c:pt>
                <c:pt idx="559">
                  <c:v>0.98310360186080581</c:v>
                </c:pt>
                <c:pt idx="560">
                  <c:v>0.98322443954969174</c:v>
                </c:pt>
                <c:pt idx="561">
                  <c:v>0.98334412983173847</c:v>
                </c:pt>
                <c:pt idx="562">
                  <c:v>0.98346357263387874</c:v>
                </c:pt>
                <c:pt idx="563">
                  <c:v>0.9835811030912871</c:v>
                </c:pt>
                <c:pt idx="564">
                  <c:v>0.9836973286546431</c:v>
                </c:pt>
                <c:pt idx="565">
                  <c:v>0.98381274428375964</c:v>
                </c:pt>
                <c:pt idx="566">
                  <c:v>0.98392795742931627</c:v>
                </c:pt>
                <c:pt idx="567">
                  <c:v>0.98404285560044646</c:v>
                </c:pt>
                <c:pt idx="568">
                  <c:v>0.98415766377888347</c:v>
                </c:pt>
                <c:pt idx="569">
                  <c:v>0.98427123455778798</c:v>
                </c:pt>
                <c:pt idx="570">
                  <c:v>0.9843845353586127</c:v>
                </c:pt>
                <c:pt idx="571">
                  <c:v>0.98449695873067811</c:v>
                </c:pt>
                <c:pt idx="572">
                  <c:v>0.98460906712831708</c:v>
                </c:pt>
                <c:pt idx="573">
                  <c:v>0.98471955565747715</c:v>
                </c:pt>
                <c:pt idx="574">
                  <c:v>0.98482869429623821</c:v>
                </c:pt>
                <c:pt idx="575">
                  <c:v>0.98493664053181351</c:v>
                </c:pt>
                <c:pt idx="576">
                  <c:v>0.9850444742765222</c:v>
                </c:pt>
                <c:pt idx="577">
                  <c:v>0.98515210553767107</c:v>
                </c:pt>
                <c:pt idx="578">
                  <c:v>0.98525966930429998</c:v>
                </c:pt>
                <c:pt idx="579">
                  <c:v>0.98536709808188894</c:v>
                </c:pt>
                <c:pt idx="580">
                  <c:v>0.98547166959146659</c:v>
                </c:pt>
                <c:pt idx="581">
                  <c:v>0.98557558865401806</c:v>
                </c:pt>
                <c:pt idx="582">
                  <c:v>0.98567912524762313</c:v>
                </c:pt>
                <c:pt idx="583">
                  <c:v>0.98578259434670834</c:v>
                </c:pt>
                <c:pt idx="584">
                  <c:v>0.9858858384640603</c:v>
                </c:pt>
                <c:pt idx="585">
                  <c:v>0.98598883510150581</c:v>
                </c:pt>
                <c:pt idx="586">
                  <c:v>0.98608978440517947</c:v>
                </c:pt>
                <c:pt idx="587">
                  <c:v>0.9861867065358294</c:v>
                </c:pt>
                <c:pt idx="588">
                  <c:v>0.98628344868109274</c:v>
                </c:pt>
                <c:pt idx="589">
                  <c:v>0.98638016832818276</c:v>
                </c:pt>
                <c:pt idx="590">
                  <c:v>0.98647655050267302</c:v>
                </c:pt>
                <c:pt idx="591">
                  <c:v>0.98657279768812345</c:v>
                </c:pt>
                <c:pt idx="592">
                  <c:v>0.98666866240462747</c:v>
                </c:pt>
                <c:pt idx="593">
                  <c:v>0.98676448212478485</c:v>
                </c:pt>
                <c:pt idx="594">
                  <c:v>0.98685942441618291</c:v>
                </c:pt>
                <c:pt idx="595">
                  <c:v>0.98695357927151484</c:v>
                </c:pt>
                <c:pt idx="596">
                  <c:v>0.98704582178211475</c:v>
                </c:pt>
                <c:pt idx="597">
                  <c:v>0.98713779431463489</c:v>
                </c:pt>
                <c:pt idx="598">
                  <c:v>0.98722931688368865</c:v>
                </c:pt>
                <c:pt idx="599">
                  <c:v>0.98732065946735592</c:v>
                </c:pt>
                <c:pt idx="600">
                  <c:v>0.98741015720081116</c:v>
                </c:pt>
                <c:pt idx="601">
                  <c:v>0.98749913747628015</c:v>
                </c:pt>
                <c:pt idx="602">
                  <c:v>0.98758757779558948</c:v>
                </c:pt>
                <c:pt idx="603">
                  <c:v>0.98767484820988638</c:v>
                </c:pt>
                <c:pt idx="604">
                  <c:v>0.98776196113697001</c:v>
                </c:pt>
                <c:pt idx="605">
                  <c:v>0.98784869159510724</c:v>
                </c:pt>
                <c:pt idx="606">
                  <c:v>0.98793533206055129</c:v>
                </c:pt>
                <c:pt idx="607">
                  <c:v>0.98802190503147536</c:v>
                </c:pt>
                <c:pt idx="608">
                  <c:v>0.98810773556267995</c:v>
                </c:pt>
                <c:pt idx="609">
                  <c:v>0.98819255367608527</c:v>
                </c:pt>
                <c:pt idx="610">
                  <c:v>0.98827732679314395</c:v>
                </c:pt>
                <c:pt idx="611">
                  <c:v>0.98836155995404307</c:v>
                </c:pt>
                <c:pt idx="612">
                  <c:v>0.98844545564234243</c:v>
                </c:pt>
                <c:pt idx="613">
                  <c:v>0.98852890136717542</c:v>
                </c:pt>
                <c:pt idx="614">
                  <c:v>0.9886120546157553</c:v>
                </c:pt>
                <c:pt idx="615">
                  <c:v>0.98869390297028281</c:v>
                </c:pt>
                <c:pt idx="616">
                  <c:v>0.98877476140518439</c:v>
                </c:pt>
                <c:pt idx="617">
                  <c:v>0.98885539485835272</c:v>
                </c:pt>
                <c:pt idx="618">
                  <c:v>0.98893553335170814</c:v>
                </c:pt>
                <c:pt idx="619">
                  <c:v>0.98901454693639768</c:v>
                </c:pt>
                <c:pt idx="620">
                  <c:v>0.98909313305579416</c:v>
                </c:pt>
                <c:pt idx="621">
                  <c:v>0.98917162918249735</c:v>
                </c:pt>
                <c:pt idx="622">
                  <c:v>0.98924983283294743</c:v>
                </c:pt>
                <c:pt idx="623">
                  <c:v>0.98932774400714441</c:v>
                </c:pt>
                <c:pt idx="624">
                  <c:v>0.98940543019960825</c:v>
                </c:pt>
                <c:pt idx="625">
                  <c:v>0.98948253143956577</c:v>
                </c:pt>
                <c:pt idx="626">
                  <c:v>0.98955936270144351</c:v>
                </c:pt>
                <c:pt idx="627">
                  <c:v>0.98963416912772273</c:v>
                </c:pt>
                <c:pt idx="628">
                  <c:v>0.98970854808870889</c:v>
                </c:pt>
                <c:pt idx="629">
                  <c:v>0.98978209461728239</c:v>
                </c:pt>
                <c:pt idx="630">
                  <c:v>0.98985564114585589</c:v>
                </c:pt>
                <c:pt idx="631">
                  <c:v>0.98992878270730966</c:v>
                </c:pt>
                <c:pt idx="632">
                  <c:v>0.99000178927972349</c:v>
                </c:pt>
                <c:pt idx="633">
                  <c:v>0.9900737384379914</c:v>
                </c:pt>
                <c:pt idx="634">
                  <c:v>0.99014564259991278</c:v>
                </c:pt>
                <c:pt idx="635">
                  <c:v>0.99021741177279421</c:v>
                </c:pt>
                <c:pt idx="636">
                  <c:v>0.99028911345115567</c:v>
                </c:pt>
                <c:pt idx="637">
                  <c:v>0.99036059014778399</c:v>
                </c:pt>
                <c:pt idx="638">
                  <c:v>0.99043197685171902</c:v>
                </c:pt>
                <c:pt idx="639">
                  <c:v>0.99050316107209424</c:v>
                </c:pt>
                <c:pt idx="640">
                  <c:v>0.99057432279429614</c:v>
                </c:pt>
                <c:pt idx="641">
                  <c:v>0.99064399963705907</c:v>
                </c:pt>
                <c:pt idx="642">
                  <c:v>0.99071342899991555</c:v>
                </c:pt>
                <c:pt idx="643">
                  <c:v>0.990782363402959</c:v>
                </c:pt>
                <c:pt idx="644">
                  <c:v>0.99085111782061597</c:v>
                </c:pt>
                <c:pt idx="645">
                  <c:v>0.99091987223827294</c:v>
                </c:pt>
                <c:pt idx="646">
                  <c:v>0.99098783921986378</c:v>
                </c:pt>
                <c:pt idx="647">
                  <c:v>0.99105576120510797</c:v>
                </c:pt>
                <c:pt idx="648">
                  <c:v>0.99112350320496567</c:v>
                </c:pt>
                <c:pt idx="649">
                  <c:v>0.99119111021578343</c:v>
                </c:pt>
                <c:pt idx="650">
                  <c:v>0.99125795228870839</c:v>
                </c:pt>
                <c:pt idx="651">
                  <c:v>0.99132459187807354</c:v>
                </c:pt>
                <c:pt idx="652">
                  <c:v>0.9913906690131058</c:v>
                </c:pt>
                <c:pt idx="653">
                  <c:v>0.99145611619928509</c:v>
                </c:pt>
                <c:pt idx="654">
                  <c:v>0.99152151838911784</c:v>
                </c:pt>
                <c:pt idx="655">
                  <c:v>0.99158667309904402</c:v>
                </c:pt>
                <c:pt idx="656">
                  <c:v>0.99165135534733062</c:v>
                </c:pt>
                <c:pt idx="657">
                  <c:v>0.99171498018147131</c:v>
                </c:pt>
                <c:pt idx="658">
                  <c:v>0.99177826754301224</c:v>
                </c:pt>
                <c:pt idx="659">
                  <c:v>0.99184074497031371</c:v>
                </c:pt>
                <c:pt idx="660">
                  <c:v>0.99190247995789571</c:v>
                </c:pt>
                <c:pt idx="661">
                  <c:v>0.99196365249114482</c:v>
                </c:pt>
                <c:pt idx="662">
                  <c:v>0.99202482502439393</c:v>
                </c:pt>
                <c:pt idx="663">
                  <c:v>0.992084715161764</c:v>
                </c:pt>
                <c:pt idx="664">
                  <c:v>0.99214449280826744</c:v>
                </c:pt>
                <c:pt idx="665">
                  <c:v>0.99220406797121108</c:v>
                </c:pt>
                <c:pt idx="666">
                  <c:v>0.99226353064328809</c:v>
                </c:pt>
                <c:pt idx="667">
                  <c:v>0.99232288082449849</c:v>
                </c:pt>
                <c:pt idx="668">
                  <c:v>0.99238175854406929</c:v>
                </c:pt>
                <c:pt idx="669">
                  <c:v>0.99244029879104034</c:v>
                </c:pt>
                <c:pt idx="670">
                  <c:v>0.99249852406358485</c:v>
                </c:pt>
                <c:pt idx="671">
                  <c:v>0.99255665934343618</c:v>
                </c:pt>
                <c:pt idx="672">
                  <c:v>0.99261477212511418</c:v>
                </c:pt>
                <c:pt idx="673">
                  <c:v>0.99267225495793932</c:v>
                </c:pt>
                <c:pt idx="674">
                  <c:v>0.9927290178492183</c:v>
                </c:pt>
                <c:pt idx="675">
                  <c:v>0.99278560075511069</c:v>
                </c:pt>
                <c:pt idx="676">
                  <c:v>0.99284213866465643</c:v>
                </c:pt>
                <c:pt idx="677">
                  <c:v>0.99289833910160241</c:v>
                </c:pt>
                <c:pt idx="678">
                  <c:v>0.99295314465180273</c:v>
                </c:pt>
                <c:pt idx="679">
                  <c:v>0.99300786020930987</c:v>
                </c:pt>
                <c:pt idx="680">
                  <c:v>0.99306241827960373</c:v>
                </c:pt>
                <c:pt idx="681">
                  <c:v>0.99311684136085776</c:v>
                </c:pt>
                <c:pt idx="682">
                  <c:v>0.99317101696220522</c:v>
                </c:pt>
                <c:pt idx="683">
                  <c:v>0.99322465260739312</c:v>
                </c:pt>
                <c:pt idx="684">
                  <c:v>0.99327815326354107</c:v>
                </c:pt>
                <c:pt idx="685">
                  <c:v>0.99333158642516906</c:v>
                </c:pt>
                <c:pt idx="686">
                  <c:v>0.99338499708862371</c:v>
                </c:pt>
                <c:pt idx="687">
                  <c:v>0.9934374853269724</c:v>
                </c:pt>
                <c:pt idx="688">
                  <c:v>0.99348965859089466</c:v>
                </c:pt>
                <c:pt idx="689">
                  <c:v>0.99354174186212363</c:v>
                </c:pt>
                <c:pt idx="690">
                  <c:v>0.99359344266440619</c:v>
                </c:pt>
                <c:pt idx="691">
                  <c:v>0.99364514346668875</c:v>
                </c:pt>
                <c:pt idx="692">
                  <c:v>0.99369664178541151</c:v>
                </c:pt>
                <c:pt idx="693">
                  <c:v>0.99374787012605448</c:v>
                </c:pt>
                <c:pt idx="694">
                  <c:v>0.99379804105255154</c:v>
                </c:pt>
                <c:pt idx="695">
                  <c:v>0.99384809948818198</c:v>
                </c:pt>
                <c:pt idx="696">
                  <c:v>0.99389800043659926</c:v>
                </c:pt>
                <c:pt idx="697">
                  <c:v>0.99394702395625711</c:v>
                </c:pt>
                <c:pt idx="698">
                  <c:v>0.99399535003254214</c:v>
                </c:pt>
                <c:pt idx="699">
                  <c:v>0.99404239371294811</c:v>
                </c:pt>
                <c:pt idx="700">
                  <c:v>0.99408894243354107</c:v>
                </c:pt>
                <c:pt idx="701">
                  <c:v>0.99413519867788092</c:v>
                </c:pt>
                <c:pt idx="702">
                  <c:v>0.99418107245327436</c:v>
                </c:pt>
                <c:pt idx="703">
                  <c:v>0.99422586631634868</c:v>
                </c:pt>
                <c:pt idx="704">
                  <c:v>0.99426991773970352</c:v>
                </c:pt>
                <c:pt idx="705">
                  <c:v>0.99431392416671172</c:v>
                </c:pt>
                <c:pt idx="706">
                  <c:v>0.99435775060833331</c:v>
                </c:pt>
                <c:pt idx="707">
                  <c:v>0.99440148705726172</c:v>
                </c:pt>
                <c:pt idx="708">
                  <c:v>0.99444502102263022</c:v>
                </c:pt>
                <c:pt idx="709">
                  <c:v>0.99448841999895887</c:v>
                </c:pt>
                <c:pt idx="710">
                  <c:v>0.99453105403739472</c:v>
                </c:pt>
                <c:pt idx="711">
                  <c:v>0.99457366557765725</c:v>
                </c:pt>
                <c:pt idx="712">
                  <c:v>0.99461535469281381</c:v>
                </c:pt>
                <c:pt idx="713">
                  <c:v>0.99465686382258378</c:v>
                </c:pt>
                <c:pt idx="714">
                  <c:v>0.99469817046879394</c:v>
                </c:pt>
                <c:pt idx="715">
                  <c:v>0.99473927463144418</c:v>
                </c:pt>
                <c:pt idx="716">
                  <c:v>0.99478033379774777</c:v>
                </c:pt>
                <c:pt idx="717">
                  <c:v>0.99482103299327829</c:v>
                </c:pt>
                <c:pt idx="718">
                  <c:v>0.99486164219611561</c:v>
                </c:pt>
                <c:pt idx="719">
                  <c:v>0.99490220640260629</c:v>
                </c:pt>
                <c:pt idx="720">
                  <c:v>0.99494198317303084</c:v>
                </c:pt>
                <c:pt idx="721">
                  <c:v>0.99498148996537561</c:v>
                </c:pt>
                <c:pt idx="722">
                  <c:v>0.99502099675772038</c:v>
                </c:pt>
                <c:pt idx="723">
                  <c:v>0.99506025607015869</c:v>
                </c:pt>
                <c:pt idx="724">
                  <c:v>0.99509926790269043</c:v>
                </c:pt>
                <c:pt idx="725">
                  <c:v>0.99513803225531572</c:v>
                </c:pt>
                <c:pt idx="726">
                  <c:v>0.99517668411707438</c:v>
                </c:pt>
                <c:pt idx="727">
                  <c:v>0.99521529098248651</c:v>
                </c:pt>
                <c:pt idx="728">
                  <c:v>0.99525387534972531</c:v>
                </c:pt>
                <c:pt idx="729">
                  <c:v>0.99529209974619104</c:v>
                </c:pt>
                <c:pt idx="730">
                  <c:v>0.99533023414996347</c:v>
                </c:pt>
                <c:pt idx="731">
                  <c:v>0.99536816607017609</c:v>
                </c:pt>
                <c:pt idx="732">
                  <c:v>0.99540522056162928</c:v>
                </c:pt>
                <c:pt idx="733">
                  <c:v>0.9954422075585625</c:v>
                </c:pt>
                <c:pt idx="734">
                  <c:v>0.99547912706097574</c:v>
                </c:pt>
                <c:pt idx="735">
                  <c:v>0.99551593407252248</c:v>
                </c:pt>
                <c:pt idx="736">
                  <c:v>0.99555262859320259</c:v>
                </c:pt>
                <c:pt idx="737">
                  <c:v>0.99558925561936273</c:v>
                </c:pt>
                <c:pt idx="738">
                  <c:v>0.99562579265282969</c:v>
                </c:pt>
                <c:pt idx="739">
                  <c:v>0.99566201471187021</c:v>
                </c:pt>
                <c:pt idx="740">
                  <c:v>0.99569805678552414</c:v>
                </c:pt>
                <c:pt idx="741">
                  <c:v>0.99573358140119184</c:v>
                </c:pt>
                <c:pt idx="742">
                  <c:v>0.99576863355521983</c:v>
                </c:pt>
                <c:pt idx="743">
                  <c:v>0.99580350572386123</c:v>
                </c:pt>
                <c:pt idx="744">
                  <c:v>0.99583831039798276</c:v>
                </c:pt>
                <c:pt idx="745">
                  <c:v>0.99587300258123768</c:v>
                </c:pt>
                <c:pt idx="746">
                  <c:v>0.99590728979737286</c:v>
                </c:pt>
                <c:pt idx="747">
                  <c:v>0.99594150951898808</c:v>
                </c:pt>
                <c:pt idx="748">
                  <c:v>0.99597543676435019</c:v>
                </c:pt>
                <c:pt idx="749">
                  <c:v>0.99600925151884578</c:v>
                </c:pt>
                <c:pt idx="750">
                  <c:v>0.99604250381900838</c:v>
                </c:pt>
                <c:pt idx="751">
                  <c:v>0.99607571112282434</c:v>
                </c:pt>
                <c:pt idx="752">
                  <c:v>0.99610878343760045</c:v>
                </c:pt>
                <c:pt idx="753">
                  <c:v>0.99614158577429668</c:v>
                </c:pt>
                <c:pt idx="754">
                  <c:v>0.99617411813291312</c:v>
                </c:pt>
                <c:pt idx="755">
                  <c:v>0.99620597554633006</c:v>
                </c:pt>
                <c:pt idx="756">
                  <c:v>0.99623756298166721</c:v>
                </c:pt>
                <c:pt idx="757">
                  <c:v>0.99626901542796442</c:v>
                </c:pt>
                <c:pt idx="758">
                  <c:v>0.9963002428925285</c:v>
                </c:pt>
                <c:pt idx="759">
                  <c:v>0.99633108788814617</c:v>
                </c:pt>
                <c:pt idx="760">
                  <c:v>0.99636179789472401</c:v>
                </c:pt>
                <c:pt idx="761">
                  <c:v>0.99639248540312852</c:v>
                </c:pt>
                <c:pt idx="762">
                  <c:v>0.9964229479297998</c:v>
                </c:pt>
                <c:pt idx="763">
                  <c:v>0.99645185808251224</c:v>
                </c:pt>
                <c:pt idx="764">
                  <c:v>0.99648061074801142</c:v>
                </c:pt>
                <c:pt idx="765">
                  <c:v>0.99650934091533727</c:v>
                </c:pt>
                <c:pt idx="766">
                  <c:v>0.99653800358814326</c:v>
                </c:pt>
                <c:pt idx="767">
                  <c:v>0.99656637378469604</c:v>
                </c:pt>
                <c:pt idx="768">
                  <c:v>0.99659472148307549</c:v>
                </c:pt>
                <c:pt idx="769">
                  <c:v>0.99662300168693507</c:v>
                </c:pt>
                <c:pt idx="770">
                  <c:v>0.99665116939992804</c:v>
                </c:pt>
                <c:pt idx="771">
                  <c:v>0.9966791346293612</c:v>
                </c:pt>
                <c:pt idx="772">
                  <c:v>0.99670698736792773</c:v>
                </c:pt>
                <c:pt idx="773">
                  <c:v>0.99673479511014762</c:v>
                </c:pt>
                <c:pt idx="774">
                  <c:v>0.99676251285967421</c:v>
                </c:pt>
                <c:pt idx="775">
                  <c:v>0.99679020811102748</c:v>
                </c:pt>
                <c:pt idx="776">
                  <c:v>0.99681783586786088</c:v>
                </c:pt>
                <c:pt idx="777">
                  <c:v>0.99684535113382766</c:v>
                </c:pt>
                <c:pt idx="778">
                  <c:v>0.9968727314107545</c:v>
                </c:pt>
                <c:pt idx="779">
                  <c:v>0.99689995420046817</c:v>
                </c:pt>
                <c:pt idx="780">
                  <c:v>0.99692717699018185</c:v>
                </c:pt>
                <c:pt idx="781">
                  <c:v>0.99695435478354888</c:v>
                </c:pt>
                <c:pt idx="782">
                  <c:v>0.99698142008604929</c:v>
                </c:pt>
                <c:pt idx="783">
                  <c:v>0.99700776544700354</c:v>
                </c:pt>
                <c:pt idx="784">
                  <c:v>0.99703397581891795</c:v>
                </c:pt>
                <c:pt idx="785">
                  <c:v>0.99708608158832024</c:v>
                </c:pt>
                <c:pt idx="786">
                  <c:v>0.99711170700772833</c:v>
                </c:pt>
                <c:pt idx="787">
                  <c:v>0.9971373099289631</c:v>
                </c:pt>
                <c:pt idx="788">
                  <c:v>0.99716248538490493</c:v>
                </c:pt>
                <c:pt idx="789">
                  <c:v>0.99721202636254913</c:v>
                </c:pt>
                <c:pt idx="790">
                  <c:v>0.99723668436050461</c:v>
                </c:pt>
                <c:pt idx="791">
                  <c:v>0.99726120736942026</c:v>
                </c:pt>
                <c:pt idx="792">
                  <c:v>0.99728550539660266</c:v>
                </c:pt>
                <c:pt idx="793">
                  <c:v>0.99730980342378506</c:v>
                </c:pt>
                <c:pt idx="794">
                  <c:v>0.99733403395644749</c:v>
                </c:pt>
                <c:pt idx="795">
                  <c:v>0.9973582419909367</c:v>
                </c:pt>
                <c:pt idx="796">
                  <c:v>0.99738233753455929</c:v>
                </c:pt>
                <c:pt idx="797">
                  <c:v>0.99740634308548859</c:v>
                </c:pt>
                <c:pt idx="798">
                  <c:v>0.99742974118573835</c:v>
                </c:pt>
                <c:pt idx="799">
                  <c:v>0.99745295930060152</c:v>
                </c:pt>
                <c:pt idx="800">
                  <c:v>0.99747597493190487</c:v>
                </c:pt>
                <c:pt idx="801">
                  <c:v>0.99749887807234161</c:v>
                </c:pt>
                <c:pt idx="802">
                  <c:v>0.99752175871460502</c:v>
                </c:pt>
                <c:pt idx="803">
                  <c:v>0.99754427938609536</c:v>
                </c:pt>
                <c:pt idx="804">
                  <c:v>0.99756675506123915</c:v>
                </c:pt>
                <c:pt idx="805">
                  <c:v>0.9975891857400363</c:v>
                </c:pt>
                <c:pt idx="806">
                  <c:v>0.9976115714224868</c:v>
                </c:pt>
                <c:pt idx="807">
                  <c:v>0.99763375462137738</c:v>
                </c:pt>
                <c:pt idx="808">
                  <c:v>0.99765591532209463</c:v>
                </c:pt>
                <c:pt idx="809">
                  <c:v>0.9976778960374254</c:v>
                </c:pt>
                <c:pt idx="810">
                  <c:v>0.99772104753384749</c:v>
                </c:pt>
                <c:pt idx="811">
                  <c:v>0.99774235330397876</c:v>
                </c:pt>
                <c:pt idx="812">
                  <c:v>0.99776345659055021</c:v>
                </c:pt>
                <c:pt idx="813">
                  <c:v>0.99778435739356175</c:v>
                </c:pt>
                <c:pt idx="814">
                  <c:v>0.99780501071666683</c:v>
                </c:pt>
                <c:pt idx="815">
                  <c:v>0.99782552905073196</c:v>
                </c:pt>
                <c:pt idx="816">
                  <c:v>0.99784593489393059</c:v>
                </c:pt>
                <c:pt idx="817">
                  <c:v>0.99786622824626259</c:v>
                </c:pt>
                <c:pt idx="818">
                  <c:v>0.99788647660224794</c:v>
                </c:pt>
                <c:pt idx="819">
                  <c:v>0.99790658996919335</c:v>
                </c:pt>
                <c:pt idx="820">
                  <c:v>0.99792656834709892</c:v>
                </c:pt>
                <c:pt idx="821">
                  <c:v>0.99794629924509803</c:v>
                </c:pt>
                <c:pt idx="822">
                  <c:v>0.99796580516136391</c:v>
                </c:pt>
                <c:pt idx="823">
                  <c:v>0.99798522108493648</c:v>
                </c:pt>
                <c:pt idx="824">
                  <c:v>0.99800459201216252</c:v>
                </c:pt>
                <c:pt idx="825">
                  <c:v>0.99802380545217528</c:v>
                </c:pt>
                <c:pt idx="826">
                  <c:v>0.99808115329596037</c:v>
                </c:pt>
                <c:pt idx="827">
                  <c:v>0.99809982677981357</c:v>
                </c:pt>
                <c:pt idx="828">
                  <c:v>0.99811816279106702</c:v>
                </c:pt>
                <c:pt idx="829">
                  <c:v>0.99813640880962717</c:v>
                </c:pt>
                <c:pt idx="830">
                  <c:v>0.99815460983184068</c:v>
                </c:pt>
                <c:pt idx="831">
                  <c:v>0.99817265336684091</c:v>
                </c:pt>
                <c:pt idx="832">
                  <c:v>0.99819060690914796</c:v>
                </c:pt>
                <c:pt idx="833">
                  <c:v>0.99820831297154844</c:v>
                </c:pt>
                <c:pt idx="834">
                  <c:v>0.99822597403760238</c:v>
                </c:pt>
                <c:pt idx="835">
                  <c:v>0.99826059872633732</c:v>
                </c:pt>
                <c:pt idx="836">
                  <c:v>0.99827771983623159</c:v>
                </c:pt>
                <c:pt idx="837">
                  <c:v>0.99829470595708603</c:v>
                </c:pt>
                <c:pt idx="838">
                  <c:v>0.99831162458342049</c:v>
                </c:pt>
                <c:pt idx="839">
                  <c:v>0.99832813824263522</c:v>
                </c:pt>
                <c:pt idx="840">
                  <c:v>0.99834462940367663</c:v>
                </c:pt>
                <c:pt idx="841">
                  <c:v>0.99836100807385142</c:v>
                </c:pt>
                <c:pt idx="842">
                  <c:v>0.99837729675133302</c:v>
                </c:pt>
                <c:pt idx="843">
                  <c:v>0.9983935629306413</c:v>
                </c:pt>
                <c:pt idx="844">
                  <c:v>0.99842580281300464</c:v>
                </c:pt>
                <c:pt idx="845">
                  <c:v>0.998441866508753</c:v>
                </c:pt>
                <c:pt idx="846">
                  <c:v>0.99845779521546152</c:v>
                </c:pt>
                <c:pt idx="847">
                  <c:v>0.99847370142399672</c:v>
                </c:pt>
                <c:pt idx="848">
                  <c:v>0.99850551384106712</c:v>
                </c:pt>
                <c:pt idx="849">
                  <c:v>0.99852101508248259</c:v>
                </c:pt>
                <c:pt idx="850">
                  <c:v>0.99853649382572474</c:v>
                </c:pt>
                <c:pt idx="851">
                  <c:v>0.99855188257627359</c:v>
                </c:pt>
                <c:pt idx="852">
                  <c:v>0.99856655138527628</c:v>
                </c:pt>
                <c:pt idx="853">
                  <c:v>0.99858104020889249</c:v>
                </c:pt>
                <c:pt idx="854">
                  <c:v>0.99859548403616205</c:v>
                </c:pt>
                <c:pt idx="855">
                  <c:v>0.99860974787804502</c:v>
                </c:pt>
                <c:pt idx="856">
                  <c:v>0.99862371924367488</c:v>
                </c:pt>
                <c:pt idx="857">
                  <c:v>0.99863751062391826</c:v>
                </c:pt>
                <c:pt idx="858">
                  <c:v>0.99865091953521523</c:v>
                </c:pt>
                <c:pt idx="859">
                  <c:v>0.99866430594833888</c:v>
                </c:pt>
                <c:pt idx="860">
                  <c:v>0.99867748987790272</c:v>
                </c:pt>
                <c:pt idx="861">
                  <c:v>0.9986905163202533</c:v>
                </c:pt>
                <c:pt idx="862">
                  <c:v>0.99870345276991057</c:v>
                </c:pt>
                <c:pt idx="863">
                  <c:v>0.99872898819662537</c:v>
                </c:pt>
                <c:pt idx="864">
                  <c:v>0.99875384867814065</c:v>
                </c:pt>
                <c:pt idx="865">
                  <c:v>0.99876604268807845</c:v>
                </c:pt>
                <c:pt idx="866">
                  <c:v>0.99880145481287952</c:v>
                </c:pt>
                <c:pt idx="867">
                  <c:v>0.99881308636848443</c:v>
                </c:pt>
                <c:pt idx="868">
                  <c:v>0.99882469542591601</c:v>
                </c:pt>
                <c:pt idx="869">
                  <c:v>0.99883612449796111</c:v>
                </c:pt>
                <c:pt idx="870">
                  <c:v>0.99884748607548624</c:v>
                </c:pt>
                <c:pt idx="871">
                  <c:v>0.99886991675428338</c:v>
                </c:pt>
                <c:pt idx="872">
                  <c:v>0.99888103085190205</c:v>
                </c:pt>
                <c:pt idx="873">
                  <c:v>0.99889209995317407</c:v>
                </c:pt>
                <c:pt idx="874">
                  <c:v>0.99890316905444609</c:v>
                </c:pt>
                <c:pt idx="875">
                  <c:v>0.99892478979900379</c:v>
                </c:pt>
                <c:pt idx="876">
                  <c:v>0.99894620806000167</c:v>
                </c:pt>
                <c:pt idx="877">
                  <c:v>0.99895689469232729</c:v>
                </c:pt>
                <c:pt idx="878">
                  <c:v>0.99896740133926631</c:v>
                </c:pt>
                <c:pt idx="879">
                  <c:v>0.9989778629898588</c:v>
                </c:pt>
                <c:pt idx="880">
                  <c:v>0.99898825714593131</c:v>
                </c:pt>
                <c:pt idx="881">
                  <c:v>0.9989986288038305</c:v>
                </c:pt>
                <c:pt idx="882">
                  <c:v>0.99901919213424228</c:v>
                </c:pt>
                <c:pt idx="883">
                  <c:v>0.99902922631954172</c:v>
                </c:pt>
                <c:pt idx="884">
                  <c:v>0.99903919301032118</c:v>
                </c:pt>
                <c:pt idx="885">
                  <c:v>0.99905901390101348</c:v>
                </c:pt>
                <c:pt idx="886">
                  <c:v>0.99906886810092632</c:v>
                </c:pt>
                <c:pt idx="887">
                  <c:v>0.999078564813626</c:v>
                </c:pt>
                <c:pt idx="888">
                  <c:v>0.99908823902815236</c:v>
                </c:pt>
                <c:pt idx="889">
                  <c:v>0.99909789074450539</c:v>
                </c:pt>
                <c:pt idx="890">
                  <c:v>0.9991075199626851</c:v>
                </c:pt>
                <c:pt idx="891">
                  <c:v>0.99911712668269148</c:v>
                </c:pt>
                <c:pt idx="892">
                  <c:v>0.99913627262818427</c:v>
                </c:pt>
                <c:pt idx="893">
                  <c:v>0.99915505860290399</c:v>
                </c:pt>
                <c:pt idx="894">
                  <c:v>0.99916432785031062</c:v>
                </c:pt>
                <c:pt idx="895">
                  <c:v>0.99917357459954392</c:v>
                </c:pt>
                <c:pt idx="896">
                  <c:v>0.99919195560714391</c:v>
                </c:pt>
                <c:pt idx="897">
                  <c:v>0.99920111236368392</c:v>
                </c:pt>
                <c:pt idx="898">
                  <c:v>0.9992099541457975</c:v>
                </c:pt>
                <c:pt idx="899">
                  <c:v>0.99921875093156443</c:v>
                </c:pt>
                <c:pt idx="900">
                  <c:v>0.99922745772463817</c:v>
                </c:pt>
                <c:pt idx="901">
                  <c:v>0.99923614201953859</c:v>
                </c:pt>
                <c:pt idx="902">
                  <c:v>0.99924480381626568</c:v>
                </c:pt>
                <c:pt idx="903">
                  <c:v>0.99926208241337322</c:v>
                </c:pt>
                <c:pt idx="904">
                  <c:v>0.99927897854153425</c:v>
                </c:pt>
                <c:pt idx="905">
                  <c:v>0.99931202835813693</c:v>
                </c:pt>
                <c:pt idx="906">
                  <c:v>0.99932017269687767</c:v>
                </c:pt>
                <c:pt idx="907">
                  <c:v>0.999336303887146</c:v>
                </c:pt>
                <c:pt idx="908">
                  <c:v>0.99934431323684692</c:v>
                </c:pt>
                <c:pt idx="909">
                  <c:v>0.99935232258654783</c:v>
                </c:pt>
                <c:pt idx="910">
                  <c:v>0.99936030943807541</c:v>
                </c:pt>
                <c:pt idx="911">
                  <c:v>0.999368296289603</c:v>
                </c:pt>
                <c:pt idx="912">
                  <c:v>0.99937621564661061</c:v>
                </c:pt>
                <c:pt idx="913">
                  <c:v>0.99938406750909825</c:v>
                </c:pt>
                <c:pt idx="914">
                  <c:v>0.99939187437523924</c:v>
                </c:pt>
                <c:pt idx="915">
                  <c:v>0.99939952375416707</c:v>
                </c:pt>
                <c:pt idx="916">
                  <c:v>0.99940712813674826</c:v>
                </c:pt>
                <c:pt idx="917">
                  <c:v>0.99941471002115612</c:v>
                </c:pt>
                <c:pt idx="918">
                  <c:v>0.99942224690921733</c:v>
                </c:pt>
                <c:pt idx="919">
                  <c:v>0.9994371856962998</c:v>
                </c:pt>
                <c:pt idx="920">
                  <c:v>0.99944458759532107</c:v>
                </c:pt>
                <c:pt idx="921">
                  <c:v>0.99945198949434233</c:v>
                </c:pt>
                <c:pt idx="922">
                  <c:v>0.99945927890249708</c:v>
                </c:pt>
                <c:pt idx="923">
                  <c:v>0.99946638832526524</c:v>
                </c:pt>
                <c:pt idx="924">
                  <c:v>0.99948040468724186</c:v>
                </c:pt>
                <c:pt idx="925">
                  <c:v>0.99948737912097019</c:v>
                </c:pt>
                <c:pt idx="926">
                  <c:v>0.99949435355469851</c:v>
                </c:pt>
                <c:pt idx="927">
                  <c:v>0.99950126049390686</c:v>
                </c:pt>
                <c:pt idx="928">
                  <c:v>0.99950812243676856</c:v>
                </c:pt>
                <c:pt idx="929">
                  <c:v>0.99951491688511029</c:v>
                </c:pt>
                <c:pt idx="930">
                  <c:v>0.99952166633710537</c:v>
                </c:pt>
                <c:pt idx="931">
                  <c:v>0.99952837079275381</c:v>
                </c:pt>
                <c:pt idx="932">
                  <c:v>0.9995350302520557</c:v>
                </c:pt>
                <c:pt idx="933">
                  <c:v>0.9995415997186643</c:v>
                </c:pt>
                <c:pt idx="934">
                  <c:v>0.99955458116466822</c:v>
                </c:pt>
                <c:pt idx="935">
                  <c:v>0.9995610381404102</c:v>
                </c:pt>
                <c:pt idx="936">
                  <c:v>0.99956740512345887</c:v>
                </c:pt>
                <c:pt idx="937">
                  <c:v>0.99957374960833434</c:v>
                </c:pt>
                <c:pt idx="938">
                  <c:v>0.9995800940932098</c:v>
                </c:pt>
                <c:pt idx="939">
                  <c:v>0.99958632608721865</c:v>
                </c:pt>
                <c:pt idx="940">
                  <c:v>0.99959255808122749</c:v>
                </c:pt>
                <c:pt idx="941">
                  <c:v>0.99959874507888968</c:v>
                </c:pt>
                <c:pt idx="942">
                  <c:v>0.99960490957837855</c:v>
                </c:pt>
                <c:pt idx="943">
                  <c:v>0.99961708109014302</c:v>
                </c:pt>
                <c:pt idx="944">
                  <c:v>0.9996231555969386</c:v>
                </c:pt>
                <c:pt idx="945">
                  <c:v>0.99962920760556084</c:v>
                </c:pt>
                <c:pt idx="946">
                  <c:v>0.99963516962148991</c:v>
                </c:pt>
                <c:pt idx="947">
                  <c:v>0.99964113163741897</c:v>
                </c:pt>
                <c:pt idx="948">
                  <c:v>0.99964695866430808</c:v>
                </c:pt>
                <c:pt idx="949">
                  <c:v>0.9996527856911972</c:v>
                </c:pt>
                <c:pt idx="950">
                  <c:v>0.99965845523087304</c:v>
                </c:pt>
                <c:pt idx="951">
                  <c:v>0.99966412477054889</c:v>
                </c:pt>
                <c:pt idx="952">
                  <c:v>0.99966977181205152</c:v>
                </c:pt>
                <c:pt idx="953">
                  <c:v>0.99967526136634088</c:v>
                </c:pt>
                <c:pt idx="954">
                  <c:v>0.99968072842245692</c:v>
                </c:pt>
                <c:pt idx="955">
                  <c:v>0.99970122425834884</c:v>
                </c:pt>
                <c:pt idx="956">
                  <c:v>0.99970615135830532</c:v>
                </c:pt>
                <c:pt idx="957">
                  <c:v>0.99971094346922185</c:v>
                </c:pt>
                <c:pt idx="958">
                  <c:v>0.99971553309657857</c:v>
                </c:pt>
                <c:pt idx="959">
                  <c:v>0.99971996523672202</c:v>
                </c:pt>
                <c:pt idx="960">
                  <c:v>0.99972435238051882</c:v>
                </c:pt>
                <c:pt idx="961">
                  <c:v>0.99972869452796898</c:v>
                </c:pt>
                <c:pt idx="962">
                  <c:v>0.9997330141772458</c:v>
                </c:pt>
                <c:pt idx="963">
                  <c:v>0.9997372888301761</c:v>
                </c:pt>
                <c:pt idx="964">
                  <c:v>0.99974151848675974</c:v>
                </c:pt>
                <c:pt idx="965">
                  <c:v>0.99974574814334338</c:v>
                </c:pt>
                <c:pt idx="966">
                  <c:v>0.99974982031271376</c:v>
                </c:pt>
                <c:pt idx="967">
                  <c:v>0.99975778466606791</c:v>
                </c:pt>
                <c:pt idx="968">
                  <c:v>0.99976898875637976</c:v>
                </c:pt>
                <c:pt idx="969">
                  <c:v>0.99977261096228376</c:v>
                </c:pt>
                <c:pt idx="970">
                  <c:v>0.99977974288322535</c:v>
                </c:pt>
                <c:pt idx="971">
                  <c:v>0.99978323010008951</c:v>
                </c:pt>
                <c:pt idx="972">
                  <c:v>0.99978671731695368</c:v>
                </c:pt>
                <c:pt idx="973">
                  <c:v>0.99979020453381784</c:v>
                </c:pt>
                <c:pt idx="974">
                  <c:v>0.99979355676164205</c:v>
                </c:pt>
                <c:pt idx="975">
                  <c:v>0.99980350095424808</c:v>
                </c:pt>
                <c:pt idx="976">
                  <c:v>0.99980678568755232</c:v>
                </c:pt>
                <c:pt idx="977">
                  <c:v>0.99980995792999006</c:v>
                </c:pt>
                <c:pt idx="978">
                  <c:v>0.99981313017242779</c:v>
                </c:pt>
                <c:pt idx="979">
                  <c:v>0.9998162799166922</c:v>
                </c:pt>
                <c:pt idx="980">
                  <c:v>0.99982516669515242</c:v>
                </c:pt>
                <c:pt idx="981">
                  <c:v>0.9998280014649904</c:v>
                </c:pt>
                <c:pt idx="982">
                  <c:v>0.99983351351745309</c:v>
                </c:pt>
                <c:pt idx="983">
                  <c:v>0.99983882308635585</c:v>
                </c:pt>
                <c:pt idx="984">
                  <c:v>0.99984408765891197</c:v>
                </c:pt>
                <c:pt idx="985">
                  <c:v>0.99985187202687964</c:v>
                </c:pt>
                <c:pt idx="986">
                  <c:v>0.99985443681863784</c:v>
                </c:pt>
                <c:pt idx="987">
                  <c:v>0.99986422352403082</c:v>
                </c:pt>
                <c:pt idx="988">
                  <c:v>0.9998689706386007</c:v>
                </c:pt>
                <c:pt idx="989">
                  <c:v>0.99987353776778398</c:v>
                </c:pt>
                <c:pt idx="990">
                  <c:v>0.99987578758511564</c:v>
                </c:pt>
                <c:pt idx="991">
                  <c:v>0.99988658670830799</c:v>
                </c:pt>
                <c:pt idx="992">
                  <c:v>0.99988865654025316</c:v>
                </c:pt>
                <c:pt idx="993">
                  <c:v>0.99989464105435544</c:v>
                </c:pt>
                <c:pt idx="994">
                  <c:v>0.99990244792049632</c:v>
                </c:pt>
                <c:pt idx="995">
                  <c:v>0.99990611512274707</c:v>
                </c:pt>
                <c:pt idx="996">
                  <c:v>0.99990786998026582</c:v>
                </c:pt>
                <c:pt idx="997">
                  <c:v>0.99991306705830207</c:v>
                </c:pt>
                <c:pt idx="998">
                  <c:v>0.99991475442130084</c:v>
                </c:pt>
                <c:pt idx="999">
                  <c:v>0.99991639678795297</c:v>
                </c:pt>
                <c:pt idx="1000">
                  <c:v>0.99991963652491056</c:v>
                </c:pt>
                <c:pt idx="1001">
                  <c:v>0.99992427114861393</c:v>
                </c:pt>
                <c:pt idx="1002">
                  <c:v>0.99992863579423752</c:v>
                </c:pt>
                <c:pt idx="1003">
                  <c:v>0.99993140306955552</c:v>
                </c:pt>
                <c:pt idx="1004">
                  <c:v>0.99993410285035356</c:v>
                </c:pt>
                <c:pt idx="1005">
                  <c:v>0.99993543024257925</c:v>
                </c:pt>
                <c:pt idx="1006">
                  <c:v>0.99993806252885731</c:v>
                </c:pt>
                <c:pt idx="1007">
                  <c:v>0.99994193221466776</c:v>
                </c:pt>
                <c:pt idx="1008">
                  <c:v>0.99994568940961159</c:v>
                </c:pt>
                <c:pt idx="1009">
                  <c:v>0.99994809671415652</c:v>
                </c:pt>
                <c:pt idx="1010">
                  <c:v>0.99994928911734238</c:v>
                </c:pt>
                <c:pt idx="1011">
                  <c:v>0.99995156143284747</c:v>
                </c:pt>
                <c:pt idx="1012">
                  <c:v>0.99995376625383259</c:v>
                </c:pt>
                <c:pt idx="1013">
                  <c:v>0.99995594857664438</c:v>
                </c:pt>
                <c:pt idx="1014">
                  <c:v>0.99995698349261697</c:v>
                </c:pt>
                <c:pt idx="1015">
                  <c:v>0.99996193309074666</c:v>
                </c:pt>
                <c:pt idx="1016">
                  <c:v>0.99997135982536667</c:v>
                </c:pt>
                <c:pt idx="1017">
                  <c:v>0.99997590445637685</c:v>
                </c:pt>
                <c:pt idx="1018">
                  <c:v>0.99997873922621483</c:v>
                </c:pt>
                <c:pt idx="1019">
                  <c:v>0.99998321636270482</c:v>
                </c:pt>
                <c:pt idx="1020">
                  <c:v>0.999987221037555</c:v>
                </c:pt>
                <c:pt idx="1021">
                  <c:v>0.99999167567587199</c:v>
                </c:pt>
                <c:pt idx="1022">
                  <c:v>0.99999298056992447</c:v>
                </c:pt>
                <c:pt idx="1023">
                  <c:v>0.99999336303887087</c:v>
                </c:pt>
                <c:pt idx="1024">
                  <c:v>0.99999444295119011</c:v>
                </c:pt>
                <c:pt idx="1025">
                  <c:v>0.99999543287081605</c:v>
                </c:pt>
                <c:pt idx="1026">
                  <c:v>0.99999637779409534</c:v>
                </c:pt>
                <c:pt idx="1027">
                  <c:v>0.99999696274660155</c:v>
                </c:pt>
                <c:pt idx="1028">
                  <c:v>0.99999725522285465</c:v>
                </c:pt>
                <c:pt idx="1029">
                  <c:v>0.9999985826150802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30</c:f>
              <c:strCache>
                <c:ptCount val="1029"/>
                <c:pt idx="0">
                  <c:v>Caprice Des</c:v>
                </c:pt>
                <c:pt idx="1">
                  <c:v>Galbani</c:v>
                </c:pt>
                <c:pt idx="2">
                  <c:v>Caprice Des</c:v>
                </c:pt>
                <c:pt idx="3">
                  <c:v>Coeur De Li</c:v>
                </c:pt>
                <c:pt idx="4">
                  <c:v>President</c:v>
                </c:pt>
                <c:pt idx="5">
                  <c:v>Soignon</c:v>
                </c:pt>
                <c:pt idx="6">
                  <c:v>Salakis</c:v>
                </c:pt>
                <c:pt idx="7">
                  <c:v>Le Rustique</c:v>
                </c:pt>
                <c:pt idx="8">
                  <c:v>Coeur De Li</c:v>
                </c:pt>
                <c:pt idx="9">
                  <c:v>Mini Babybe</c:v>
                </c:pt>
                <c:pt idx="10">
                  <c:v>Mini Babybe</c:v>
                </c:pt>
                <c:pt idx="11">
                  <c:v>La Vache Qu</c:v>
                </c:pt>
                <c:pt idx="12">
                  <c:v>St Moret</c:v>
                </c:pt>
                <c:pt idx="13">
                  <c:v>Soignon</c:v>
                </c:pt>
                <c:pt idx="14">
                  <c:v>La Vache Qu</c:v>
                </c:pt>
                <c:pt idx="15">
                  <c:v>Islos</c:v>
                </c:pt>
                <c:pt idx="16">
                  <c:v>La Vache Qu</c:v>
                </c:pt>
                <c:pt idx="17">
                  <c:v>Kiri</c:v>
                </c:pt>
                <c:pt idx="18">
                  <c:v>St Moret</c:v>
                </c:pt>
                <c:pt idx="19">
                  <c:v>Paysan Bret</c:v>
                </c:pt>
                <c:pt idx="20">
                  <c:v>Tartare</c:v>
                </c:pt>
                <c:pt idx="21">
                  <c:v>Salakis</c:v>
                </c:pt>
                <c:pt idx="22">
                  <c:v>Soignon</c:v>
                </c:pt>
                <c:pt idx="23">
                  <c:v>St Moret</c:v>
                </c:pt>
                <c:pt idx="24">
                  <c:v>All Others</c:v>
                </c:pt>
                <c:pt idx="25">
                  <c:v>President</c:v>
                </c:pt>
                <c:pt idx="26">
                  <c:v>Ficello</c:v>
                </c:pt>
                <c:pt idx="27">
                  <c:v>Kiri</c:v>
                </c:pt>
                <c:pt idx="28">
                  <c:v>Kiri</c:v>
                </c:pt>
                <c:pt idx="29">
                  <c:v>Mini Babybe</c:v>
                </c:pt>
                <c:pt idx="30">
                  <c:v>Galbani</c:v>
                </c:pt>
                <c:pt idx="31">
                  <c:v>Galbani</c:v>
                </c:pt>
                <c:pt idx="32">
                  <c:v>Carre Frais</c:v>
                </c:pt>
                <c:pt idx="33">
                  <c:v>Carre Frais</c:v>
                </c:pt>
                <c:pt idx="34">
                  <c:v>Paysan Bret</c:v>
                </c:pt>
                <c:pt idx="35">
                  <c:v>All Others</c:v>
                </c:pt>
                <c:pt idx="36">
                  <c:v>Casa Azzurr</c:v>
                </c:pt>
                <c:pt idx="37">
                  <c:v>Casa Azzurr</c:v>
                </c:pt>
                <c:pt idx="38">
                  <c:v>Philadelphi</c:v>
                </c:pt>
                <c:pt idx="39">
                  <c:v>Petit Billy</c:v>
                </c:pt>
                <c:pt idx="40">
                  <c:v>All Others</c:v>
                </c:pt>
                <c:pt idx="41">
                  <c:v>President</c:v>
                </c:pt>
                <c:pt idx="42">
                  <c:v>Coeur De Li</c:v>
                </c:pt>
                <c:pt idx="43">
                  <c:v>Ficello</c:v>
                </c:pt>
                <c:pt idx="44">
                  <c:v>Mini Babybe</c:v>
                </c:pt>
                <c:pt idx="45">
                  <c:v>Galbani</c:v>
                </c:pt>
                <c:pt idx="46">
                  <c:v>Boursin</c:v>
                </c:pt>
                <c:pt idx="47">
                  <c:v>St Moret</c:v>
                </c:pt>
                <c:pt idx="48">
                  <c:v>Kiri</c:v>
                </c:pt>
                <c:pt idx="49">
                  <c:v>Casa Azzurr</c:v>
                </c:pt>
                <c:pt idx="50">
                  <c:v>St Moret</c:v>
                </c:pt>
                <c:pt idx="51">
                  <c:v>Boursin</c:v>
                </c:pt>
                <c:pt idx="52">
                  <c:v>Casa Azzurr</c:v>
                </c:pt>
                <c:pt idx="53">
                  <c:v>Caprice Des</c:v>
                </c:pt>
                <c:pt idx="54">
                  <c:v>President</c:v>
                </c:pt>
                <c:pt idx="55">
                  <c:v>St Moret</c:v>
                </c:pt>
                <c:pt idx="56">
                  <c:v>Lepetit</c:v>
                </c:pt>
                <c:pt idx="57">
                  <c:v>Boursin</c:v>
                </c:pt>
                <c:pt idx="58">
                  <c:v>Casa Azzurr</c:v>
                </c:pt>
                <c:pt idx="59">
                  <c:v>Salakis</c:v>
                </c:pt>
                <c:pt idx="60">
                  <c:v>All Others</c:v>
                </c:pt>
                <c:pt idx="61">
                  <c:v>Casa Azzurr</c:v>
                </c:pt>
                <c:pt idx="62">
                  <c:v>Soignon</c:v>
                </c:pt>
                <c:pt idx="63">
                  <c:v>Galbani</c:v>
                </c:pt>
                <c:pt idx="64">
                  <c:v>Philadelphi</c:v>
                </c:pt>
                <c:pt idx="65">
                  <c:v>Istara</c:v>
                </c:pt>
                <c:pt idx="66">
                  <c:v>Salakis</c:v>
                </c:pt>
                <c:pt idx="67">
                  <c:v>St Moret</c:v>
                </c:pt>
                <c:pt idx="68">
                  <c:v>Tartare</c:v>
                </c:pt>
                <c:pt idx="69">
                  <c:v>La Vache Qu</c:v>
                </c:pt>
                <c:pt idx="70">
                  <c:v>Lou Perac</c:v>
                </c:pt>
                <c:pt idx="71">
                  <c:v>All Others</c:v>
                </c:pt>
                <c:pt idx="72">
                  <c:v>Le Brebiou</c:v>
                </c:pt>
                <c:pt idx="73">
                  <c:v>Etorki</c:v>
                </c:pt>
                <c:pt idx="74">
                  <c:v>Paysan Bret</c:v>
                </c:pt>
                <c:pt idx="75">
                  <c:v>All Others</c:v>
                </c:pt>
                <c:pt idx="76">
                  <c:v>Coeur De Li</c:v>
                </c:pt>
                <c:pt idx="77">
                  <c:v>Soignon</c:v>
                </c:pt>
                <c:pt idx="78">
                  <c:v>President</c:v>
                </c:pt>
                <c:pt idx="79">
                  <c:v>All Others</c:v>
                </c:pt>
                <c:pt idx="80">
                  <c:v>Tartare</c:v>
                </c:pt>
                <c:pt idx="81">
                  <c:v>Casa Azzurr</c:v>
                </c:pt>
                <c:pt idx="82">
                  <c:v>Galbani</c:v>
                </c:pt>
                <c:pt idx="83">
                  <c:v>Paysan Bret</c:v>
                </c:pt>
                <c:pt idx="84">
                  <c:v>St Moret</c:v>
                </c:pt>
                <c:pt idx="85">
                  <c:v>La Vache Qu</c:v>
                </c:pt>
                <c:pt idx="86">
                  <c:v>St Moret</c:v>
                </c:pt>
                <c:pt idx="87">
                  <c:v>President</c:v>
                </c:pt>
                <c:pt idx="88">
                  <c:v>President</c:v>
                </c:pt>
                <c:pt idx="89">
                  <c:v>President</c:v>
                </c:pt>
                <c:pt idx="90">
                  <c:v>Chavroux</c:v>
                </c:pt>
                <c:pt idx="91">
                  <c:v>Boursin</c:v>
                </c:pt>
                <c:pt idx="92">
                  <c:v>Galbani</c:v>
                </c:pt>
                <c:pt idx="93">
                  <c:v>All Others</c:v>
                </c:pt>
                <c:pt idx="94">
                  <c:v>President</c:v>
                </c:pt>
                <c:pt idx="95">
                  <c:v>Kiri</c:v>
                </c:pt>
                <c:pt idx="96">
                  <c:v>Kiri</c:v>
                </c:pt>
                <c:pt idx="97">
                  <c:v>All Others</c:v>
                </c:pt>
                <c:pt idx="98">
                  <c:v>Le Rustique</c:v>
                </c:pt>
                <c:pt idx="99">
                  <c:v>Casa Azzurr</c:v>
                </c:pt>
                <c:pt idx="100">
                  <c:v>Salakis</c:v>
                </c:pt>
                <c:pt idx="101">
                  <c:v>All Others</c:v>
                </c:pt>
                <c:pt idx="102">
                  <c:v>Coeur De Li</c:v>
                </c:pt>
                <c:pt idx="103">
                  <c:v>Soignon</c:v>
                </c:pt>
                <c:pt idx="104">
                  <c:v>Casa Azzurr</c:v>
                </c:pt>
                <c:pt idx="105">
                  <c:v>President</c:v>
                </c:pt>
                <c:pt idx="106">
                  <c:v>All Others</c:v>
                </c:pt>
                <c:pt idx="107">
                  <c:v>All Others</c:v>
                </c:pt>
                <c:pt idx="108">
                  <c:v>Lactalis: A</c:v>
                </c:pt>
                <c:pt idx="109">
                  <c:v>Caprice Des</c:v>
                </c:pt>
                <c:pt idx="110">
                  <c:v>Salakis</c:v>
                </c:pt>
                <c:pt idx="111">
                  <c:v>La Vache Qu</c:v>
                </c:pt>
                <c:pt idx="112">
                  <c:v>Philadelphi</c:v>
                </c:pt>
                <c:pt idx="113">
                  <c:v>Casa Azzurr</c:v>
                </c:pt>
                <c:pt idx="114">
                  <c:v>Istara</c:v>
                </c:pt>
                <c:pt idx="115">
                  <c:v>President</c:v>
                </c:pt>
                <c:pt idx="116">
                  <c:v>Lactalis: A</c:v>
                </c:pt>
                <c:pt idx="117">
                  <c:v>All Others</c:v>
                </c:pt>
                <c:pt idx="118">
                  <c:v>Le Rustique</c:v>
                </c:pt>
                <c:pt idx="119">
                  <c:v>Soignon</c:v>
                </c:pt>
                <c:pt idx="120">
                  <c:v>All Others</c:v>
                </c:pt>
                <c:pt idx="121">
                  <c:v>Paysan Bret</c:v>
                </c:pt>
                <c:pt idx="122">
                  <c:v>Tartare</c:v>
                </c:pt>
                <c:pt idx="123">
                  <c:v>Paysan Bret</c:v>
                </c:pt>
                <c:pt idx="124">
                  <c:v>Lou Perac</c:v>
                </c:pt>
                <c:pt idx="125">
                  <c:v>All Others</c:v>
                </c:pt>
                <c:pt idx="126">
                  <c:v>Galbani</c:v>
                </c:pt>
                <c:pt idx="127">
                  <c:v>Galbani</c:v>
                </c:pt>
                <c:pt idx="128">
                  <c:v>Rondele</c:v>
                </c:pt>
                <c:pt idx="129">
                  <c:v>All Others</c:v>
                </c:pt>
                <c:pt idx="130">
                  <c:v>All Others</c:v>
                </c:pt>
                <c:pt idx="131">
                  <c:v>Carre Frais</c:v>
                </c:pt>
                <c:pt idx="132">
                  <c:v>P'Tit Louis</c:v>
                </c:pt>
                <c:pt idx="133">
                  <c:v>Galbani</c:v>
                </c:pt>
                <c:pt idx="134">
                  <c:v>Chavroux</c:v>
                </c:pt>
                <c:pt idx="135">
                  <c:v>All Others</c:v>
                </c:pt>
                <c:pt idx="136">
                  <c:v>Boursin</c:v>
                </c:pt>
                <c:pt idx="137">
                  <c:v>Le Rustique</c:v>
                </c:pt>
                <c:pt idx="138">
                  <c:v>Lactalis: A</c:v>
                </c:pt>
                <c:pt idx="139">
                  <c:v>All Others</c:v>
                </c:pt>
                <c:pt idx="140">
                  <c:v>All Others</c:v>
                </c:pt>
                <c:pt idx="141">
                  <c:v>Soignon</c:v>
                </c:pt>
                <c:pt idx="142">
                  <c:v>Mini Babybe</c:v>
                </c:pt>
                <c:pt idx="143">
                  <c:v>Savencia: A</c:v>
                </c:pt>
                <c:pt idx="144">
                  <c:v>All Others</c:v>
                </c:pt>
                <c:pt idx="145">
                  <c:v>Soignon</c:v>
                </c:pt>
                <c:pt idx="146">
                  <c:v>President</c:v>
                </c:pt>
                <c:pt idx="147">
                  <c:v>All Others</c:v>
                </c:pt>
                <c:pt idx="148">
                  <c:v>All Others</c:v>
                </c:pt>
                <c:pt idx="149">
                  <c:v>Salakis</c:v>
                </c:pt>
                <c:pt idx="150">
                  <c:v>All Others</c:v>
                </c:pt>
                <c:pt idx="151">
                  <c:v>Soignon</c:v>
                </c:pt>
                <c:pt idx="152">
                  <c:v>Casa Azzurr</c:v>
                </c:pt>
                <c:pt idx="153">
                  <c:v>Paysan Bret</c:v>
                </c:pt>
                <c:pt idx="154">
                  <c:v>All Others</c:v>
                </c:pt>
                <c:pt idx="155">
                  <c:v>All Others</c:v>
                </c:pt>
                <c:pt idx="156">
                  <c:v>All Others</c:v>
                </c:pt>
                <c:pt idx="157">
                  <c:v>Mini Babybe</c:v>
                </c:pt>
                <c:pt idx="158">
                  <c:v>All Others</c:v>
                </c:pt>
                <c:pt idx="159">
                  <c:v>All Others</c:v>
                </c:pt>
                <c:pt idx="160">
                  <c:v>All Others</c:v>
                </c:pt>
                <c:pt idx="161">
                  <c:v>All Others</c:v>
                </c:pt>
                <c:pt idx="162">
                  <c:v>Lactalis: A</c:v>
                </c:pt>
                <c:pt idx="163">
                  <c:v>All Others</c:v>
                </c:pt>
                <c:pt idx="164">
                  <c:v>Caprice Des</c:v>
                </c:pt>
                <c:pt idx="165">
                  <c:v>President</c:v>
                </c:pt>
                <c:pt idx="166">
                  <c:v>All Others</c:v>
                </c:pt>
                <c:pt idx="167">
                  <c:v>Islos</c:v>
                </c:pt>
                <c:pt idx="168">
                  <c:v>All Others</c:v>
                </c:pt>
                <c:pt idx="169">
                  <c:v>Boursin</c:v>
                </c:pt>
                <c:pt idx="170">
                  <c:v>All Others</c:v>
                </c:pt>
                <c:pt idx="171">
                  <c:v>All Others</c:v>
                </c:pt>
                <c:pt idx="172">
                  <c:v>Chavroux</c:v>
                </c:pt>
                <c:pt idx="173">
                  <c:v>All Others</c:v>
                </c:pt>
                <c:pt idx="174">
                  <c:v>Boursin</c:v>
                </c:pt>
                <c:pt idx="175">
                  <c:v>All Others</c:v>
                </c:pt>
                <c:pt idx="176">
                  <c:v>Casa Azzurr</c:v>
                </c:pt>
                <c:pt idx="177">
                  <c:v>All Others</c:v>
                </c:pt>
                <c:pt idx="178">
                  <c:v>Caprice Des</c:v>
                </c:pt>
                <c:pt idx="179">
                  <c:v>All Others</c:v>
                </c:pt>
                <c:pt idx="180">
                  <c:v>Ficello</c:v>
                </c:pt>
                <c:pt idx="181">
                  <c:v>All Others</c:v>
                </c:pt>
                <c:pt idx="182">
                  <c:v>All Others</c:v>
                </c:pt>
                <c:pt idx="183">
                  <c:v>Casa Azzurr</c:v>
                </c:pt>
                <c:pt idx="184">
                  <c:v>All Others</c:v>
                </c:pt>
                <c:pt idx="185">
                  <c:v>Boursin</c:v>
                </c:pt>
                <c:pt idx="186">
                  <c:v>Paysan Bret</c:v>
                </c:pt>
                <c:pt idx="187">
                  <c:v>Casa Azzurr</c:v>
                </c:pt>
                <c:pt idx="188">
                  <c:v>Boursin</c:v>
                </c:pt>
                <c:pt idx="189">
                  <c:v>Kiri</c:v>
                </c:pt>
                <c:pt idx="190">
                  <c:v>All Others</c:v>
                </c:pt>
                <c:pt idx="191">
                  <c:v>All Others</c:v>
                </c:pt>
                <c:pt idx="192">
                  <c:v>Rondele</c:v>
                </c:pt>
                <c:pt idx="193">
                  <c:v>Galbani</c:v>
                </c:pt>
                <c:pt idx="194">
                  <c:v>Lou Perac</c:v>
                </c:pt>
                <c:pt idx="195">
                  <c:v>Galbani</c:v>
                </c:pt>
                <c:pt idx="196">
                  <c:v>Savencia: A</c:v>
                </c:pt>
                <c:pt idx="197">
                  <c:v>All Others</c:v>
                </c:pt>
                <c:pt idx="198">
                  <c:v>All Others</c:v>
                </c:pt>
                <c:pt idx="199">
                  <c:v>All Others</c:v>
                </c:pt>
                <c:pt idx="200">
                  <c:v>St Moret</c:v>
                </c:pt>
                <c:pt idx="201">
                  <c:v>Lactalis: A</c:v>
                </c:pt>
                <c:pt idx="202">
                  <c:v>Soignon</c:v>
                </c:pt>
                <c:pt idx="203">
                  <c:v>Laita: All </c:v>
                </c:pt>
                <c:pt idx="204">
                  <c:v>All Others</c:v>
                </c:pt>
                <c:pt idx="205">
                  <c:v>All Others</c:v>
                </c:pt>
                <c:pt idx="206">
                  <c:v>Soignon</c:v>
                </c:pt>
                <c:pt idx="207">
                  <c:v>Mini Babybe</c:v>
                </c:pt>
                <c:pt idx="208">
                  <c:v>Boursin</c:v>
                </c:pt>
                <c:pt idx="209">
                  <c:v>All Others</c:v>
                </c:pt>
                <c:pt idx="210">
                  <c:v>Kiri</c:v>
                </c:pt>
                <c:pt idx="211">
                  <c:v>All Others</c:v>
                </c:pt>
                <c:pt idx="212">
                  <c:v>Pave D'Affi</c:v>
                </c:pt>
                <c:pt idx="213">
                  <c:v>Lou Perac</c:v>
                </c:pt>
                <c:pt idx="214">
                  <c:v>All Others</c:v>
                </c:pt>
                <c:pt idx="215">
                  <c:v>Caprice Des</c:v>
                </c:pt>
                <c:pt idx="216">
                  <c:v>Coeur De Li</c:v>
                </c:pt>
                <c:pt idx="217">
                  <c:v>All Others</c:v>
                </c:pt>
                <c:pt idx="218">
                  <c:v>Islos</c:v>
                </c:pt>
                <c:pt idx="219">
                  <c:v>Mini Babybe</c:v>
                </c:pt>
                <c:pt idx="220">
                  <c:v>Paysan Bret</c:v>
                </c:pt>
                <c:pt idx="221">
                  <c:v>All Others</c:v>
                </c:pt>
                <c:pt idx="222">
                  <c:v>All Others</c:v>
                </c:pt>
                <c:pt idx="223">
                  <c:v>All Others</c:v>
                </c:pt>
                <c:pt idx="224">
                  <c:v>All Others</c:v>
                </c:pt>
                <c:pt idx="225">
                  <c:v>All Others</c:v>
                </c:pt>
                <c:pt idx="226">
                  <c:v>Philadelphi</c:v>
                </c:pt>
                <c:pt idx="227">
                  <c:v>All Others</c:v>
                </c:pt>
                <c:pt idx="228">
                  <c:v>All Others</c:v>
                </c:pt>
                <c:pt idx="229">
                  <c:v>All Others</c:v>
                </c:pt>
                <c:pt idx="230">
                  <c:v>La Vache Qu</c:v>
                </c:pt>
                <c:pt idx="231">
                  <c:v>Triballat N</c:v>
                </c:pt>
                <c:pt idx="232">
                  <c:v>All Others</c:v>
                </c:pt>
                <c:pt idx="233">
                  <c:v>All Others</c:v>
                </c:pt>
                <c:pt idx="234">
                  <c:v>All Others</c:v>
                </c:pt>
                <c:pt idx="235">
                  <c:v>Etorki</c:v>
                </c:pt>
                <c:pt idx="236">
                  <c:v>All Others</c:v>
                </c:pt>
                <c:pt idx="237">
                  <c:v>All Others</c:v>
                </c:pt>
                <c:pt idx="238">
                  <c:v>All Others</c:v>
                </c:pt>
                <c:pt idx="239">
                  <c:v>Soignon</c:v>
                </c:pt>
                <c:pt idx="240">
                  <c:v>Boursin</c:v>
                </c:pt>
                <c:pt idx="241">
                  <c:v>All Others</c:v>
                </c:pt>
                <c:pt idx="242">
                  <c:v>Tartare</c:v>
                </c:pt>
                <c:pt idx="243">
                  <c:v>Boursin</c:v>
                </c:pt>
                <c:pt idx="244">
                  <c:v>All Others</c:v>
                </c:pt>
                <c:pt idx="245">
                  <c:v>All Others</c:v>
                </c:pt>
                <c:pt idx="246">
                  <c:v>Paysan Bret</c:v>
                </c:pt>
                <c:pt idx="247">
                  <c:v>P'Tit Louis</c:v>
                </c:pt>
                <c:pt idx="248">
                  <c:v>La Vache Qu</c:v>
                </c:pt>
                <c:pt idx="249">
                  <c:v>All Others</c:v>
                </c:pt>
                <c:pt idx="250">
                  <c:v>All Others</c:v>
                </c:pt>
                <c:pt idx="251">
                  <c:v>All Others</c:v>
                </c:pt>
                <c:pt idx="252">
                  <c:v>Casa Azzurr</c:v>
                </c:pt>
                <c:pt idx="253">
                  <c:v>All Others</c:v>
                </c:pt>
                <c:pt idx="254">
                  <c:v>All Others</c:v>
                </c:pt>
                <c:pt idx="255">
                  <c:v>Etoile Du Q</c:v>
                </c:pt>
                <c:pt idx="256">
                  <c:v>Lactalis: A</c:v>
                </c:pt>
                <c:pt idx="257">
                  <c:v>All Others</c:v>
                </c:pt>
                <c:pt idx="258">
                  <c:v>Corsica</c:v>
                </c:pt>
                <c:pt idx="259">
                  <c:v>Tartare</c:v>
                </c:pt>
                <c:pt idx="260">
                  <c:v>All Others</c:v>
                </c:pt>
                <c:pt idx="261">
                  <c:v>All Others</c:v>
                </c:pt>
                <c:pt idx="262">
                  <c:v>All Others</c:v>
                </c:pt>
                <c:pt idx="263">
                  <c:v>Salakis</c:v>
                </c:pt>
                <c:pt idx="264">
                  <c:v>Caprice Des</c:v>
                </c:pt>
                <c:pt idx="265">
                  <c:v>P'Tit Louis</c:v>
                </c:pt>
                <c:pt idx="266">
                  <c:v>All Others</c:v>
                </c:pt>
                <c:pt idx="267">
                  <c:v>All Others</c:v>
                </c:pt>
                <c:pt idx="268">
                  <c:v>All Others</c:v>
                </c:pt>
                <c:pt idx="269">
                  <c:v>Chavroux</c:v>
                </c:pt>
                <c:pt idx="270">
                  <c:v>Savencia: A</c:v>
                </c:pt>
                <c:pt idx="271">
                  <c:v>President</c:v>
                </c:pt>
                <c:pt idx="272">
                  <c:v>Kiri</c:v>
                </c:pt>
                <c:pt idx="273">
                  <c:v>All Others</c:v>
                </c:pt>
                <c:pt idx="274">
                  <c:v>Triballat R</c:v>
                </c:pt>
                <c:pt idx="275">
                  <c:v>Savencia: A</c:v>
                </c:pt>
                <c:pt idx="276">
                  <c:v>Lou Perac</c:v>
                </c:pt>
                <c:pt idx="277">
                  <c:v>Galbani</c:v>
                </c:pt>
                <c:pt idx="278">
                  <c:v>All Others</c:v>
                </c:pt>
                <c:pt idx="279">
                  <c:v>Lactalis: A</c:v>
                </c:pt>
                <c:pt idx="280">
                  <c:v>All Others</c:v>
                </c:pt>
                <c:pt idx="281">
                  <c:v>All Others</c:v>
                </c:pt>
                <c:pt idx="282">
                  <c:v>Ficello</c:v>
                </c:pt>
                <c:pt idx="283">
                  <c:v>All Others</c:v>
                </c:pt>
                <c:pt idx="284">
                  <c:v>Saint Agur</c:v>
                </c:pt>
                <c:pt idx="285">
                  <c:v>All Others</c:v>
                </c:pt>
                <c:pt idx="286">
                  <c:v>All Others</c:v>
                </c:pt>
                <c:pt idx="287">
                  <c:v>Eurial Autr</c:v>
                </c:pt>
                <c:pt idx="288">
                  <c:v>Triballat N</c:v>
                </c:pt>
                <c:pt idx="289">
                  <c:v>Corsica</c:v>
                </c:pt>
                <c:pt idx="290">
                  <c:v>All Others</c:v>
                </c:pt>
                <c:pt idx="291">
                  <c:v>Etoile Du V</c:v>
                </c:pt>
                <c:pt idx="292">
                  <c:v>All Others</c:v>
                </c:pt>
                <c:pt idx="293">
                  <c:v>Boursin</c:v>
                </c:pt>
                <c:pt idx="294">
                  <c:v>All Others</c:v>
                </c:pt>
                <c:pt idx="295">
                  <c:v>All Others</c:v>
                </c:pt>
                <c:pt idx="296">
                  <c:v>All Others</c:v>
                </c:pt>
                <c:pt idx="297">
                  <c:v>All Others</c:v>
                </c:pt>
                <c:pt idx="298">
                  <c:v>President</c:v>
                </c:pt>
                <c:pt idx="299">
                  <c:v>Milleret: A</c:v>
                </c:pt>
                <c:pt idx="300">
                  <c:v>Salakis</c:v>
                </c:pt>
                <c:pt idx="301">
                  <c:v>All Others</c:v>
                </c:pt>
                <c:pt idx="302">
                  <c:v>All Others</c:v>
                </c:pt>
                <c:pt idx="303">
                  <c:v>Tartare</c:v>
                </c:pt>
                <c:pt idx="304">
                  <c:v>All Others</c:v>
                </c:pt>
                <c:pt idx="305">
                  <c:v>All Others</c:v>
                </c:pt>
                <c:pt idx="306">
                  <c:v>All Others</c:v>
                </c:pt>
                <c:pt idx="307">
                  <c:v>All Others</c:v>
                </c:pt>
                <c:pt idx="308">
                  <c:v>All Others</c:v>
                </c:pt>
                <c:pt idx="309">
                  <c:v>All Others</c:v>
                </c:pt>
                <c:pt idx="310">
                  <c:v>All Others</c:v>
                </c:pt>
                <c:pt idx="311">
                  <c:v>All Others</c:v>
                </c:pt>
                <c:pt idx="312">
                  <c:v>Etoile Du Q</c:v>
                </c:pt>
                <c:pt idx="313">
                  <c:v>Lactalis: A</c:v>
                </c:pt>
                <c:pt idx="314">
                  <c:v>All Others</c:v>
                </c:pt>
                <c:pt idx="315">
                  <c:v>All Others</c:v>
                </c:pt>
                <c:pt idx="316">
                  <c:v>All Others</c:v>
                </c:pt>
                <c:pt idx="317">
                  <c:v>All Others</c:v>
                </c:pt>
                <c:pt idx="318">
                  <c:v>Lactalis: A</c:v>
                </c:pt>
                <c:pt idx="319">
                  <c:v>All Others</c:v>
                </c:pt>
                <c:pt idx="320">
                  <c:v>All Others</c:v>
                </c:pt>
                <c:pt idx="321">
                  <c:v>All Others</c:v>
                </c:pt>
                <c:pt idx="322">
                  <c:v>All Others</c:v>
                </c:pt>
                <c:pt idx="323">
                  <c:v>Savencia: A</c:v>
                </c:pt>
                <c:pt idx="324">
                  <c:v>All Others</c:v>
                </c:pt>
                <c:pt idx="325">
                  <c:v>Coeur De Li</c:v>
                </c:pt>
                <c:pt idx="326">
                  <c:v>All Others</c:v>
                </c:pt>
                <c:pt idx="327">
                  <c:v>All Others</c:v>
                </c:pt>
                <c:pt idx="328">
                  <c:v>All Others</c:v>
                </c:pt>
                <c:pt idx="329">
                  <c:v>All Others</c:v>
                </c:pt>
                <c:pt idx="330">
                  <c:v>Lactalis: A</c:v>
                </c:pt>
                <c:pt idx="331">
                  <c:v>Paysan Bret</c:v>
                </c:pt>
                <c:pt idx="332">
                  <c:v>All Others</c:v>
                </c:pt>
                <c:pt idx="333">
                  <c:v>All Others</c:v>
                </c:pt>
                <c:pt idx="334">
                  <c:v>All Others</c:v>
                </c:pt>
                <c:pt idx="335">
                  <c:v>All Others</c:v>
                </c:pt>
                <c:pt idx="336">
                  <c:v>All Others</c:v>
                </c:pt>
                <c:pt idx="337">
                  <c:v>St Moret</c:v>
                </c:pt>
                <c:pt idx="338">
                  <c:v>All Others</c:v>
                </c:pt>
                <c:pt idx="339">
                  <c:v>All Others</c:v>
                </c:pt>
                <c:pt idx="340">
                  <c:v>All Others</c:v>
                </c:pt>
                <c:pt idx="341">
                  <c:v>Etoile Du Q</c:v>
                </c:pt>
                <c:pt idx="342">
                  <c:v>President</c:v>
                </c:pt>
                <c:pt idx="343">
                  <c:v>All Others</c:v>
                </c:pt>
                <c:pt idx="344">
                  <c:v>All Others</c:v>
                </c:pt>
                <c:pt idx="345">
                  <c:v>All Others</c:v>
                </c:pt>
                <c:pt idx="346">
                  <c:v>Istara</c:v>
                </c:pt>
                <c:pt idx="347">
                  <c:v>All Others</c:v>
                </c:pt>
                <c:pt idx="348">
                  <c:v>Boursin</c:v>
                </c:pt>
                <c:pt idx="349">
                  <c:v>All Others</c:v>
                </c:pt>
                <c:pt idx="350">
                  <c:v>All Others</c:v>
                </c:pt>
                <c:pt idx="351">
                  <c:v>All Others</c:v>
                </c:pt>
                <c:pt idx="352">
                  <c:v>All Others</c:v>
                </c:pt>
                <c:pt idx="353">
                  <c:v>All Others</c:v>
                </c:pt>
                <c:pt idx="354">
                  <c:v>Casa Azzurr</c:v>
                </c:pt>
                <c:pt idx="355">
                  <c:v>All Others</c:v>
                </c:pt>
                <c:pt idx="356">
                  <c:v>All Others</c:v>
                </c:pt>
                <c:pt idx="357">
                  <c:v>All Others</c:v>
                </c:pt>
                <c:pt idx="358">
                  <c:v>All Others</c:v>
                </c:pt>
                <c:pt idx="359">
                  <c:v>All Others</c:v>
                </c:pt>
                <c:pt idx="360">
                  <c:v>All Others</c:v>
                </c:pt>
                <c:pt idx="361">
                  <c:v>All Others</c:v>
                </c:pt>
                <c:pt idx="362">
                  <c:v>Philadelphi</c:v>
                </c:pt>
                <c:pt idx="363">
                  <c:v>All Others</c:v>
                </c:pt>
                <c:pt idx="364">
                  <c:v>Salakis</c:v>
                </c:pt>
                <c:pt idx="365">
                  <c:v>Triballat R</c:v>
                </c:pt>
                <c:pt idx="366">
                  <c:v>Paysan Bret</c:v>
                </c:pt>
                <c:pt idx="367">
                  <c:v>All Others</c:v>
                </c:pt>
                <c:pt idx="368">
                  <c:v>All Others</c:v>
                </c:pt>
                <c:pt idx="369">
                  <c:v>All Others</c:v>
                </c:pt>
                <c:pt idx="370">
                  <c:v>All Others</c:v>
                </c:pt>
                <c:pt idx="371">
                  <c:v>All Others</c:v>
                </c:pt>
                <c:pt idx="372">
                  <c:v>All Others</c:v>
                </c:pt>
                <c:pt idx="373">
                  <c:v>All Others</c:v>
                </c:pt>
                <c:pt idx="374">
                  <c:v>Boursin</c:v>
                </c:pt>
                <c:pt idx="375">
                  <c:v>All Others</c:v>
                </c:pt>
                <c:pt idx="376">
                  <c:v>All Others</c:v>
                </c:pt>
                <c:pt idx="377">
                  <c:v>Lactalis: A</c:v>
                </c:pt>
                <c:pt idx="378">
                  <c:v>Savencia: A</c:v>
                </c:pt>
                <c:pt idx="379">
                  <c:v>All Others</c:v>
                </c:pt>
                <c:pt idx="380">
                  <c:v>All Others</c:v>
                </c:pt>
                <c:pt idx="381">
                  <c:v>All Others</c:v>
                </c:pt>
                <c:pt idx="382">
                  <c:v>Boursin</c:v>
                </c:pt>
                <c:pt idx="383">
                  <c:v>All Others</c:v>
                </c:pt>
                <c:pt idx="384">
                  <c:v>All Others</c:v>
                </c:pt>
                <c:pt idx="385">
                  <c:v>Triballat R</c:v>
                </c:pt>
                <c:pt idx="386">
                  <c:v>All Others</c:v>
                </c:pt>
                <c:pt idx="387">
                  <c:v>St Moret</c:v>
                </c:pt>
                <c:pt idx="388">
                  <c:v>All Others</c:v>
                </c:pt>
                <c:pt idx="389">
                  <c:v>Triballat R</c:v>
                </c:pt>
                <c:pt idx="390">
                  <c:v>All Others</c:v>
                </c:pt>
                <c:pt idx="391">
                  <c:v>All Others</c:v>
                </c:pt>
                <c:pt idx="392">
                  <c:v>Lactalis: A</c:v>
                </c:pt>
                <c:pt idx="393">
                  <c:v>All Others</c:v>
                </c:pt>
                <c:pt idx="394">
                  <c:v>All Others</c:v>
                </c:pt>
                <c:pt idx="395">
                  <c:v>All Others</c:v>
                </c:pt>
                <c:pt idx="396">
                  <c:v>Mini Babybe</c:v>
                </c:pt>
                <c:pt idx="397">
                  <c:v>All Others</c:v>
                </c:pt>
                <c:pt idx="398">
                  <c:v>All Others</c:v>
                </c:pt>
                <c:pt idx="399">
                  <c:v>All Others</c:v>
                </c:pt>
                <c:pt idx="400">
                  <c:v>All Others</c:v>
                </c:pt>
                <c:pt idx="401">
                  <c:v>All Others</c:v>
                </c:pt>
                <c:pt idx="402">
                  <c:v>Milleret: A</c:v>
                </c:pt>
                <c:pt idx="403">
                  <c:v>All Others</c:v>
                </c:pt>
                <c:pt idx="404">
                  <c:v>Eurial Autr</c:v>
                </c:pt>
                <c:pt idx="405">
                  <c:v>All Others</c:v>
                </c:pt>
                <c:pt idx="406">
                  <c:v>All Others</c:v>
                </c:pt>
                <c:pt idx="407">
                  <c:v>Tartare</c:v>
                </c:pt>
                <c:pt idx="408">
                  <c:v>Saint Agur</c:v>
                </c:pt>
                <c:pt idx="409">
                  <c:v>All Others</c:v>
                </c:pt>
                <c:pt idx="410">
                  <c:v>All Others</c:v>
                </c:pt>
                <c:pt idx="411">
                  <c:v>All Others</c:v>
                </c:pt>
                <c:pt idx="412">
                  <c:v>All Others</c:v>
                </c:pt>
                <c:pt idx="413">
                  <c:v>All Others</c:v>
                </c:pt>
                <c:pt idx="414">
                  <c:v>Triballat N</c:v>
                </c:pt>
                <c:pt idx="415">
                  <c:v>All Others</c:v>
                </c:pt>
                <c:pt idx="416">
                  <c:v>All Others</c:v>
                </c:pt>
                <c:pt idx="417">
                  <c:v>Etoile Du V</c:v>
                </c:pt>
                <c:pt idx="418">
                  <c:v>All Others</c:v>
                </c:pt>
                <c:pt idx="419">
                  <c:v>All Others</c:v>
                </c:pt>
                <c:pt idx="420">
                  <c:v>All Others</c:v>
                </c:pt>
                <c:pt idx="421">
                  <c:v>All Others</c:v>
                </c:pt>
                <c:pt idx="422">
                  <c:v>Savencia: A</c:v>
                </c:pt>
                <c:pt idx="423">
                  <c:v>All Others</c:v>
                </c:pt>
                <c:pt idx="424">
                  <c:v>Tartare</c:v>
                </c:pt>
                <c:pt idx="425">
                  <c:v>All Others</c:v>
                </c:pt>
                <c:pt idx="426">
                  <c:v>All Others</c:v>
                </c:pt>
                <c:pt idx="427">
                  <c:v>All Others</c:v>
                </c:pt>
                <c:pt idx="428">
                  <c:v>Etoile Du V</c:v>
                </c:pt>
                <c:pt idx="429">
                  <c:v>All Others</c:v>
                </c:pt>
                <c:pt idx="430">
                  <c:v>All Others</c:v>
                </c:pt>
                <c:pt idx="431">
                  <c:v>All Others</c:v>
                </c:pt>
                <c:pt idx="432">
                  <c:v>All Others</c:v>
                </c:pt>
                <c:pt idx="433">
                  <c:v>All Others</c:v>
                </c:pt>
                <c:pt idx="434">
                  <c:v>All Others</c:v>
                </c:pt>
                <c:pt idx="435">
                  <c:v>Lactalis: A</c:v>
                </c:pt>
                <c:pt idx="436">
                  <c:v>Soignon</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Boursin</c:v>
                </c:pt>
                <c:pt idx="454">
                  <c:v>All Others</c:v>
                </c:pt>
                <c:pt idx="455">
                  <c:v>All Others</c:v>
                </c:pt>
                <c:pt idx="456">
                  <c:v>All Others</c:v>
                </c:pt>
                <c:pt idx="457">
                  <c:v>Casa Azzurr</c:v>
                </c:pt>
                <c:pt idx="458">
                  <c:v>All Others</c:v>
                </c:pt>
                <c:pt idx="459">
                  <c:v>All Others</c:v>
                </c:pt>
                <c:pt idx="460">
                  <c:v>All Others</c:v>
                </c:pt>
                <c:pt idx="461">
                  <c:v>All Others</c:v>
                </c:pt>
                <c:pt idx="462">
                  <c:v>All Others</c:v>
                </c:pt>
                <c:pt idx="463">
                  <c:v>Istara</c:v>
                </c:pt>
                <c:pt idx="464">
                  <c:v>All Others</c:v>
                </c:pt>
                <c:pt idx="465">
                  <c:v>Eurial Autr</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Boursin</c:v>
                </c:pt>
                <c:pt idx="479">
                  <c:v>Private Lab</c:v>
                </c:pt>
                <c:pt idx="480">
                  <c:v>All Others</c:v>
                </c:pt>
                <c:pt idx="481">
                  <c:v>All Others</c:v>
                </c:pt>
                <c:pt idx="482">
                  <c:v>Mini Babybe</c:v>
                </c:pt>
                <c:pt idx="483">
                  <c:v>All Others</c:v>
                </c:pt>
                <c:pt idx="484">
                  <c:v>All Others</c:v>
                </c:pt>
                <c:pt idx="485">
                  <c:v>All Others</c:v>
                </c:pt>
                <c:pt idx="486">
                  <c:v>Soignon</c:v>
                </c:pt>
                <c:pt idx="487">
                  <c:v>All Others</c:v>
                </c:pt>
                <c:pt idx="488">
                  <c:v>All Others</c:v>
                </c:pt>
                <c:pt idx="489">
                  <c:v>All Others</c:v>
                </c:pt>
                <c:pt idx="490">
                  <c:v>All Others</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Tartare</c:v>
                </c:pt>
                <c:pt idx="502">
                  <c:v>All Others</c:v>
                </c:pt>
                <c:pt idx="503">
                  <c:v>Etoile Du V</c:v>
                </c:pt>
                <c:pt idx="504">
                  <c:v>All Others</c:v>
                </c:pt>
                <c:pt idx="505">
                  <c:v>Lactalis: A</c:v>
                </c:pt>
                <c:pt idx="506">
                  <c:v>All Others</c:v>
                </c:pt>
                <c:pt idx="507">
                  <c:v>All Others</c:v>
                </c:pt>
                <c:pt idx="508">
                  <c:v>All Others</c:v>
                </c:pt>
                <c:pt idx="509">
                  <c:v>All Others</c:v>
                </c:pt>
                <c:pt idx="510">
                  <c:v>All Others</c:v>
                </c:pt>
                <c:pt idx="511">
                  <c:v>All Others</c:v>
                </c:pt>
                <c:pt idx="512">
                  <c:v>Etoile Du V</c:v>
                </c:pt>
                <c:pt idx="513">
                  <c:v>All Others</c:v>
                </c:pt>
                <c:pt idx="514">
                  <c:v>All Others</c:v>
                </c:pt>
                <c:pt idx="515">
                  <c:v>All Others</c:v>
                </c:pt>
                <c:pt idx="516">
                  <c:v>All Others</c:v>
                </c:pt>
                <c:pt idx="517">
                  <c:v>All Others</c:v>
                </c:pt>
                <c:pt idx="518">
                  <c:v>Boursin</c:v>
                </c:pt>
                <c:pt idx="519">
                  <c:v>Salakis</c:v>
                </c:pt>
                <c:pt idx="520">
                  <c:v>All Others</c:v>
                </c:pt>
                <c:pt idx="521">
                  <c:v>All Others</c:v>
                </c:pt>
                <c:pt idx="522">
                  <c:v>Eurial Autr</c:v>
                </c:pt>
                <c:pt idx="523">
                  <c:v>All Others</c:v>
                </c:pt>
                <c:pt idx="524">
                  <c:v>All Others</c:v>
                </c:pt>
                <c:pt idx="525">
                  <c:v>All Others</c:v>
                </c:pt>
                <c:pt idx="526">
                  <c:v>All Others</c:v>
                </c:pt>
                <c:pt idx="527">
                  <c:v>All Others</c:v>
                </c:pt>
                <c:pt idx="528">
                  <c:v>All Others</c:v>
                </c:pt>
                <c:pt idx="529">
                  <c:v>All Others</c:v>
                </c:pt>
                <c:pt idx="530">
                  <c:v>All Others</c:v>
                </c:pt>
                <c:pt idx="531">
                  <c:v>All Others</c:v>
                </c:pt>
                <c:pt idx="532">
                  <c:v>Lactalis: A</c:v>
                </c:pt>
                <c:pt idx="533">
                  <c:v>Etoile Du V</c:v>
                </c:pt>
                <c:pt idx="534">
                  <c:v>All Others</c:v>
                </c:pt>
                <c:pt idx="535">
                  <c:v>All Others</c:v>
                </c:pt>
                <c:pt idx="536">
                  <c:v>All Others</c:v>
                </c:pt>
                <c:pt idx="537">
                  <c:v>Etoile Du Q</c:v>
                </c:pt>
                <c:pt idx="538">
                  <c:v>All Others</c:v>
                </c:pt>
                <c:pt idx="539">
                  <c:v>All Others</c:v>
                </c:pt>
                <c:pt idx="540">
                  <c:v>All Others</c:v>
                </c:pt>
                <c:pt idx="541">
                  <c:v>All Others</c:v>
                </c:pt>
                <c:pt idx="542">
                  <c:v>All Others</c:v>
                </c:pt>
                <c:pt idx="543">
                  <c:v>All Others</c:v>
                </c:pt>
                <c:pt idx="544">
                  <c:v>All Others</c:v>
                </c:pt>
                <c:pt idx="545">
                  <c:v>All Others</c:v>
                </c:pt>
                <c:pt idx="546">
                  <c:v>All Others</c:v>
                </c:pt>
                <c:pt idx="547">
                  <c:v>All Others</c:v>
                </c:pt>
                <c:pt idx="548">
                  <c:v>Kiri</c:v>
                </c:pt>
                <c:pt idx="549">
                  <c:v>All Others</c:v>
                </c:pt>
                <c:pt idx="550">
                  <c:v>All Others</c:v>
                </c:pt>
                <c:pt idx="551">
                  <c:v>All Others</c:v>
                </c:pt>
                <c:pt idx="552">
                  <c:v>Salakis</c:v>
                </c:pt>
                <c:pt idx="553">
                  <c:v>All Others</c:v>
                </c:pt>
                <c:pt idx="554">
                  <c:v>All Others</c:v>
                </c:pt>
                <c:pt idx="555">
                  <c:v>All Others</c:v>
                </c:pt>
                <c:pt idx="556">
                  <c:v>All Others</c:v>
                </c:pt>
                <c:pt idx="557">
                  <c:v>All Others</c:v>
                </c:pt>
                <c:pt idx="558">
                  <c:v>Triballat N</c:v>
                </c:pt>
                <c:pt idx="559">
                  <c:v>All Others</c:v>
                </c:pt>
                <c:pt idx="560">
                  <c:v>All Others</c:v>
                </c:pt>
                <c:pt idx="561">
                  <c:v>All Others</c:v>
                </c:pt>
                <c:pt idx="562">
                  <c:v>All Others</c:v>
                </c:pt>
                <c:pt idx="563">
                  <c:v>All Others</c:v>
                </c:pt>
                <c:pt idx="564">
                  <c:v>All Others</c:v>
                </c:pt>
                <c:pt idx="565">
                  <c:v>All Others</c:v>
                </c:pt>
                <c:pt idx="566">
                  <c:v>All Others</c:v>
                </c:pt>
                <c:pt idx="567">
                  <c:v>All Others</c:v>
                </c:pt>
                <c:pt idx="568">
                  <c:v>La Vache Qu</c:v>
                </c:pt>
                <c:pt idx="569">
                  <c:v>All Others</c:v>
                </c:pt>
                <c:pt idx="570">
                  <c:v>All Others</c:v>
                </c:pt>
                <c:pt idx="571">
                  <c:v>Islos</c:v>
                </c:pt>
                <c:pt idx="572">
                  <c:v>La Vache Qu</c:v>
                </c:pt>
                <c:pt idx="573">
                  <c:v>All Others</c:v>
                </c:pt>
                <c:pt idx="574">
                  <c:v>All Others</c:v>
                </c:pt>
                <c:pt idx="575">
                  <c:v>All Others</c:v>
                </c:pt>
                <c:pt idx="576">
                  <c:v>All Others</c:v>
                </c:pt>
                <c:pt idx="577">
                  <c:v>All Others</c:v>
                </c:pt>
                <c:pt idx="578">
                  <c:v>All Others</c:v>
                </c:pt>
                <c:pt idx="579">
                  <c:v>Lactalis: A</c:v>
                </c:pt>
                <c:pt idx="580">
                  <c:v>Tartare</c:v>
                </c:pt>
                <c:pt idx="581">
                  <c:v>All Others</c:v>
                </c:pt>
                <c:pt idx="582">
                  <c:v>All Others</c:v>
                </c:pt>
                <c:pt idx="583">
                  <c:v>All Others</c:v>
                </c:pt>
                <c:pt idx="584">
                  <c:v>Triballat R</c:v>
                </c:pt>
                <c:pt idx="585">
                  <c:v>All Others</c:v>
                </c:pt>
                <c:pt idx="586">
                  <c:v>Triballat N</c:v>
                </c:pt>
                <c:pt idx="587">
                  <c:v>All Others</c:v>
                </c:pt>
                <c:pt idx="588">
                  <c:v>All Others</c:v>
                </c:pt>
                <c:pt idx="589">
                  <c:v>All Others</c:v>
                </c:pt>
                <c:pt idx="590">
                  <c:v>All Others</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All Others</c:v>
                </c:pt>
                <c:pt idx="601">
                  <c:v>All Others</c:v>
                </c:pt>
                <c:pt idx="602">
                  <c:v>All Others</c:v>
                </c:pt>
                <c:pt idx="603">
                  <c:v>All Others</c:v>
                </c:pt>
                <c:pt idx="604">
                  <c:v>All Others</c:v>
                </c:pt>
                <c:pt idx="605">
                  <c:v>All Others</c:v>
                </c:pt>
                <c:pt idx="606">
                  <c:v>All Others</c:v>
                </c:pt>
                <c:pt idx="607">
                  <c:v>All Others</c:v>
                </c:pt>
                <c:pt idx="608">
                  <c:v>All Others</c:v>
                </c:pt>
                <c:pt idx="609">
                  <c:v>All Others</c:v>
                </c:pt>
                <c:pt idx="610">
                  <c:v>All Others</c:v>
                </c:pt>
                <c:pt idx="611">
                  <c:v>Casa Azzurr</c:v>
                </c:pt>
                <c:pt idx="612">
                  <c:v>All Others</c:v>
                </c:pt>
                <c:pt idx="613">
                  <c:v>All Others</c:v>
                </c:pt>
                <c:pt idx="614">
                  <c:v>All Others</c:v>
                </c:pt>
                <c:pt idx="615">
                  <c:v>All Others</c:v>
                </c:pt>
                <c:pt idx="616">
                  <c:v>All Others</c:v>
                </c:pt>
                <c:pt idx="617">
                  <c:v>All Others</c:v>
                </c:pt>
                <c:pt idx="618">
                  <c:v>All Others</c:v>
                </c:pt>
                <c:pt idx="619">
                  <c:v>All Others</c:v>
                </c:pt>
                <c:pt idx="620">
                  <c:v>All Others</c:v>
                </c:pt>
                <c:pt idx="621">
                  <c:v>All Others</c:v>
                </c:pt>
                <c:pt idx="622">
                  <c:v>All Others</c:v>
                </c:pt>
                <c:pt idx="623">
                  <c:v>All Others</c:v>
                </c:pt>
                <c:pt idx="624">
                  <c:v>All Others</c:v>
                </c:pt>
                <c:pt idx="625">
                  <c:v>All Others</c:v>
                </c:pt>
                <c:pt idx="626">
                  <c:v>All Others</c:v>
                </c:pt>
                <c:pt idx="627">
                  <c:v>All Others</c:v>
                </c:pt>
                <c:pt idx="628">
                  <c:v>All Others</c:v>
                </c:pt>
                <c:pt idx="629">
                  <c:v>All Others</c:v>
                </c:pt>
                <c:pt idx="630">
                  <c:v>Lactalis: A</c:v>
                </c:pt>
                <c:pt idx="631">
                  <c:v>All Others</c:v>
                </c:pt>
                <c:pt idx="632">
                  <c:v>All Others</c:v>
                </c:pt>
                <c:pt idx="633">
                  <c:v>All Others</c:v>
                </c:pt>
                <c:pt idx="634">
                  <c:v>All Others</c:v>
                </c:pt>
                <c:pt idx="635">
                  <c:v>All Others</c:v>
                </c:pt>
                <c:pt idx="636">
                  <c:v>All Others</c:v>
                </c:pt>
                <c:pt idx="637">
                  <c:v>All Others</c:v>
                </c:pt>
                <c:pt idx="638">
                  <c:v>All Others</c:v>
                </c:pt>
                <c:pt idx="639">
                  <c:v>All Others</c:v>
                </c:pt>
                <c:pt idx="640">
                  <c:v>All Others</c:v>
                </c:pt>
                <c:pt idx="641">
                  <c:v>All Others</c:v>
                </c:pt>
                <c:pt idx="642">
                  <c:v>All Others</c:v>
                </c:pt>
                <c:pt idx="643">
                  <c:v>All Others</c:v>
                </c:pt>
                <c:pt idx="644">
                  <c:v>All Others</c:v>
                </c:pt>
                <c:pt idx="645">
                  <c:v>All Others</c:v>
                </c:pt>
                <c:pt idx="646">
                  <c:v>All Others</c:v>
                </c:pt>
                <c:pt idx="647">
                  <c:v>All Others</c:v>
                </c:pt>
                <c:pt idx="648">
                  <c:v>All Others</c:v>
                </c:pt>
                <c:pt idx="649">
                  <c:v>All Others</c:v>
                </c:pt>
                <c:pt idx="650">
                  <c:v>All Others</c:v>
                </c:pt>
                <c:pt idx="651">
                  <c:v>All Others</c:v>
                </c:pt>
                <c:pt idx="652">
                  <c:v>All Others</c:v>
                </c:pt>
                <c:pt idx="653">
                  <c:v>All Others</c:v>
                </c:pt>
                <c:pt idx="654">
                  <c:v>All Others</c:v>
                </c:pt>
                <c:pt idx="655">
                  <c:v>La Vache Qu</c:v>
                </c:pt>
                <c:pt idx="656">
                  <c:v>All Others</c:v>
                </c:pt>
                <c:pt idx="657">
                  <c:v>All Others</c:v>
                </c:pt>
                <c:pt idx="658">
                  <c:v>All Others</c:v>
                </c:pt>
                <c:pt idx="659">
                  <c:v>All Others</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Soignon</c:v>
                </c:pt>
                <c:pt idx="672">
                  <c:v>All Others</c:v>
                </c:pt>
                <c:pt idx="673">
                  <c:v>All Others</c:v>
                </c:pt>
                <c:pt idx="674">
                  <c:v>All Others</c:v>
                </c:pt>
                <c:pt idx="675">
                  <c:v>All Others</c:v>
                </c:pt>
                <c:pt idx="676">
                  <c:v>All Others</c:v>
                </c:pt>
                <c:pt idx="677">
                  <c:v>All Others</c:v>
                </c:pt>
                <c:pt idx="678">
                  <c:v>All Others</c:v>
                </c:pt>
                <c:pt idx="679">
                  <c:v>All Others</c:v>
                </c:pt>
                <c:pt idx="680">
                  <c:v>All Others</c:v>
                </c:pt>
                <c:pt idx="681">
                  <c:v>All Others</c:v>
                </c:pt>
                <c:pt idx="682">
                  <c:v>All Others</c:v>
                </c:pt>
                <c:pt idx="683">
                  <c:v>All Others</c:v>
                </c:pt>
                <c:pt idx="684">
                  <c:v>All Others</c:v>
                </c:pt>
                <c:pt idx="685">
                  <c:v>All Others</c:v>
                </c:pt>
                <c:pt idx="686">
                  <c:v>All Others</c:v>
                </c:pt>
                <c:pt idx="687">
                  <c:v>All Others</c:v>
                </c:pt>
                <c:pt idx="688">
                  <c:v>All Others</c:v>
                </c:pt>
                <c:pt idx="689">
                  <c:v>All Others</c:v>
                </c:pt>
                <c:pt idx="690">
                  <c:v>All Others</c:v>
                </c:pt>
                <c:pt idx="691">
                  <c:v>All Others</c:v>
                </c:pt>
                <c:pt idx="692">
                  <c:v>All Others</c:v>
                </c:pt>
                <c:pt idx="693">
                  <c:v>All Others</c:v>
                </c:pt>
                <c:pt idx="694">
                  <c:v>All Others</c:v>
                </c:pt>
                <c:pt idx="695">
                  <c:v>All Others</c:v>
                </c:pt>
                <c:pt idx="696">
                  <c:v>All Others</c:v>
                </c:pt>
                <c:pt idx="697">
                  <c:v>All Others</c:v>
                </c:pt>
                <c:pt idx="698">
                  <c:v>All Others</c:v>
                </c:pt>
                <c:pt idx="699">
                  <c:v>All Others</c:v>
                </c:pt>
                <c:pt idx="700">
                  <c:v>Triballat N</c:v>
                </c:pt>
                <c:pt idx="701">
                  <c:v>All Others</c:v>
                </c:pt>
                <c:pt idx="702">
                  <c:v>All Others</c:v>
                </c:pt>
                <c:pt idx="703">
                  <c:v>All Others</c:v>
                </c:pt>
                <c:pt idx="704">
                  <c:v>All Others</c:v>
                </c:pt>
                <c:pt idx="705">
                  <c:v>All Others</c:v>
                </c:pt>
                <c:pt idx="706">
                  <c:v>All Others</c:v>
                </c:pt>
                <c:pt idx="707">
                  <c:v>All Others</c:v>
                </c:pt>
                <c:pt idx="708">
                  <c:v>All Others</c:v>
                </c:pt>
                <c:pt idx="709">
                  <c:v>All Others</c:v>
                </c:pt>
                <c:pt idx="710">
                  <c:v>Triballat R</c:v>
                </c:pt>
                <c:pt idx="711">
                  <c:v>Lactalis: A</c:v>
                </c:pt>
                <c:pt idx="712">
                  <c:v>All Others</c:v>
                </c:pt>
                <c:pt idx="713">
                  <c:v>All Others</c:v>
                </c:pt>
                <c:pt idx="714">
                  <c:v>All Others</c:v>
                </c:pt>
                <c:pt idx="715">
                  <c:v>All Others</c:v>
                </c:pt>
                <c:pt idx="716">
                  <c:v>Lactalis: A</c:v>
                </c:pt>
                <c:pt idx="717">
                  <c:v>All Others</c:v>
                </c:pt>
                <c:pt idx="718">
                  <c:v>All Others</c:v>
                </c:pt>
                <c:pt idx="719">
                  <c:v>Eurial Autr</c:v>
                </c:pt>
                <c:pt idx="720">
                  <c:v>All Others</c:v>
                </c:pt>
                <c:pt idx="721">
                  <c:v>All Others</c:v>
                </c:pt>
                <c:pt idx="722">
                  <c:v>All Others</c:v>
                </c:pt>
                <c:pt idx="723">
                  <c:v>All Others</c:v>
                </c:pt>
                <c:pt idx="724">
                  <c:v>All Others</c:v>
                </c:pt>
                <c:pt idx="725">
                  <c:v>All Others</c:v>
                </c:pt>
                <c:pt idx="726">
                  <c:v>All Others</c:v>
                </c:pt>
                <c:pt idx="727">
                  <c:v>All Others</c:v>
                </c:pt>
                <c:pt idx="728">
                  <c:v>All Others</c:v>
                </c:pt>
                <c:pt idx="729">
                  <c:v>All Others</c:v>
                </c:pt>
                <c:pt idx="730">
                  <c:v>All Others</c:v>
                </c:pt>
                <c:pt idx="731">
                  <c:v>Eurial Autr</c:v>
                </c:pt>
                <c:pt idx="732">
                  <c:v>Eurial Autr</c:v>
                </c:pt>
                <c:pt idx="733">
                  <c:v>All Others</c:v>
                </c:pt>
                <c:pt idx="734">
                  <c:v>All Others</c:v>
                </c:pt>
                <c:pt idx="735">
                  <c:v>All Others</c:v>
                </c:pt>
                <c:pt idx="736">
                  <c:v>All Others</c:v>
                </c:pt>
                <c:pt idx="737">
                  <c:v>All Others</c:v>
                </c:pt>
                <c:pt idx="738">
                  <c:v>All Others</c:v>
                </c:pt>
                <c:pt idx="739">
                  <c:v>All Others</c:v>
                </c:pt>
                <c:pt idx="740">
                  <c:v>All Others</c:v>
                </c:pt>
                <c:pt idx="741">
                  <c:v>All Others</c:v>
                </c:pt>
                <c:pt idx="742">
                  <c:v>Kiri</c:v>
                </c:pt>
                <c:pt idx="743">
                  <c:v>All Others</c:v>
                </c:pt>
                <c:pt idx="744">
                  <c:v>All Others</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Savencia: A</c:v>
                </c:pt>
                <c:pt idx="756">
                  <c:v>All Others</c:v>
                </c:pt>
                <c:pt idx="757">
                  <c:v>President</c:v>
                </c:pt>
                <c:pt idx="758">
                  <c:v>All Others</c:v>
                </c:pt>
                <c:pt idx="759">
                  <c:v>All Others</c:v>
                </c:pt>
                <c:pt idx="760">
                  <c:v>All Others</c:v>
                </c:pt>
                <c:pt idx="761">
                  <c:v>All Others</c:v>
                </c:pt>
                <c:pt idx="762">
                  <c:v>Lou Perac</c:v>
                </c:pt>
                <c:pt idx="763">
                  <c:v>All Others</c:v>
                </c:pt>
                <c:pt idx="764">
                  <c:v>All Others</c:v>
                </c:pt>
                <c:pt idx="765">
                  <c:v>All Others</c:v>
                </c:pt>
                <c:pt idx="766">
                  <c:v>All Other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All Others</c:v>
                </c:pt>
                <c:pt idx="777">
                  <c:v>All Others</c:v>
                </c:pt>
                <c:pt idx="778">
                  <c:v>Eurial Autr</c:v>
                </c:pt>
                <c:pt idx="779">
                  <c:v>All Others</c:v>
                </c:pt>
                <c:pt idx="780">
                  <c:v>All Others</c:v>
                </c:pt>
                <c:pt idx="781">
                  <c:v>Eurial Autr</c:v>
                </c:pt>
                <c:pt idx="782">
                  <c:v>All Others</c:v>
                </c:pt>
                <c:pt idx="783">
                  <c:v>All Others</c:v>
                </c:pt>
                <c:pt idx="784">
                  <c:v>All Others</c:v>
                </c:pt>
                <c:pt idx="785">
                  <c:v>All Others</c:v>
                </c:pt>
                <c:pt idx="786">
                  <c:v>All Others</c:v>
                </c:pt>
                <c:pt idx="787">
                  <c:v>All Others</c:v>
                </c:pt>
                <c:pt idx="788">
                  <c:v>All Others</c:v>
                </c:pt>
                <c:pt idx="789">
                  <c:v>All Others</c:v>
                </c:pt>
                <c:pt idx="790">
                  <c:v>All Others</c:v>
                </c:pt>
                <c:pt idx="791">
                  <c:v>All Others</c:v>
                </c:pt>
                <c:pt idx="792">
                  <c:v>Petit Billy</c:v>
                </c:pt>
                <c:pt idx="793">
                  <c:v>All Others</c:v>
                </c:pt>
                <c:pt idx="794">
                  <c:v>Milleret: A</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Triballat R</c:v>
                </c:pt>
                <c:pt idx="806">
                  <c:v>All Others</c:v>
                </c:pt>
                <c:pt idx="807">
                  <c:v>Eurial Autr</c:v>
                </c:pt>
                <c:pt idx="808">
                  <c:v>All Others</c:v>
                </c:pt>
                <c:pt idx="809">
                  <c:v>All Others</c:v>
                </c:pt>
                <c:pt idx="810">
                  <c:v>All Others</c:v>
                </c:pt>
                <c:pt idx="811">
                  <c:v>All Others</c:v>
                </c:pt>
                <c:pt idx="812">
                  <c:v>All Others</c:v>
                </c:pt>
                <c:pt idx="813">
                  <c:v>All Others</c:v>
                </c:pt>
                <c:pt idx="814">
                  <c:v>All Others</c:v>
                </c:pt>
                <c:pt idx="815">
                  <c:v>All Others</c:v>
                </c:pt>
                <c:pt idx="816">
                  <c:v>Etorki</c:v>
                </c:pt>
                <c:pt idx="817">
                  <c:v>All Others</c:v>
                </c:pt>
                <c:pt idx="818">
                  <c:v>Lactalis: A</c:v>
                </c:pt>
                <c:pt idx="819">
                  <c:v>Caprice Des</c:v>
                </c:pt>
                <c:pt idx="820">
                  <c:v>All Others</c:v>
                </c:pt>
                <c:pt idx="821">
                  <c:v>All Others</c:v>
                </c:pt>
                <c:pt idx="822">
                  <c:v>All Others</c:v>
                </c:pt>
                <c:pt idx="823">
                  <c:v>Corsica</c:v>
                </c:pt>
                <c:pt idx="824">
                  <c:v>All Others</c:v>
                </c:pt>
                <c:pt idx="825">
                  <c:v>All Others</c:v>
                </c:pt>
                <c:pt idx="826">
                  <c:v>All Others</c:v>
                </c:pt>
                <c:pt idx="827">
                  <c:v>All Others</c:v>
                </c:pt>
                <c:pt idx="828">
                  <c:v>Mini Babybe</c:v>
                </c:pt>
                <c:pt idx="829">
                  <c:v>All Others</c:v>
                </c:pt>
                <c:pt idx="830">
                  <c:v>All Others</c:v>
                </c:pt>
                <c:pt idx="831">
                  <c:v>All Others</c:v>
                </c:pt>
                <c:pt idx="832">
                  <c:v>All Others</c:v>
                </c:pt>
                <c:pt idx="833">
                  <c:v>Savencia: A</c:v>
                </c:pt>
                <c:pt idx="834">
                  <c:v>All Others</c:v>
                </c:pt>
                <c:pt idx="835">
                  <c:v>All Others</c:v>
                </c:pt>
                <c:pt idx="836">
                  <c:v>All Others</c:v>
                </c:pt>
                <c:pt idx="837">
                  <c:v>All Others</c:v>
                </c:pt>
                <c:pt idx="838">
                  <c:v>All Others</c:v>
                </c:pt>
                <c:pt idx="839">
                  <c:v>All Others</c:v>
                </c:pt>
                <c:pt idx="840">
                  <c:v>All Others</c:v>
                </c:pt>
                <c:pt idx="841">
                  <c:v>All Others</c:v>
                </c:pt>
                <c:pt idx="842">
                  <c:v>All Others</c:v>
                </c:pt>
                <c:pt idx="843">
                  <c:v>Savencia: A</c:v>
                </c:pt>
                <c:pt idx="844">
                  <c:v>All Others</c:v>
                </c:pt>
                <c:pt idx="845">
                  <c:v>All Others</c:v>
                </c:pt>
                <c:pt idx="846">
                  <c:v>All Others</c:v>
                </c:pt>
                <c:pt idx="847">
                  <c:v>Lactalis: A</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Triballat R</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All Others</c:v>
                </c:pt>
                <c:pt idx="868">
                  <c:v>All Others</c:v>
                </c:pt>
                <c:pt idx="869">
                  <c:v>All Others</c:v>
                </c:pt>
                <c:pt idx="870">
                  <c:v>All Others</c:v>
                </c:pt>
                <c:pt idx="871">
                  <c:v>All Others</c:v>
                </c:pt>
                <c:pt idx="872">
                  <c:v>All Others</c:v>
                </c:pt>
                <c:pt idx="873">
                  <c:v>All Others</c:v>
                </c:pt>
                <c:pt idx="874">
                  <c:v>All Others</c:v>
                </c:pt>
                <c:pt idx="875">
                  <c:v>All Others</c:v>
                </c:pt>
                <c:pt idx="876">
                  <c:v>All Others</c:v>
                </c:pt>
                <c:pt idx="877">
                  <c:v>All Others</c:v>
                </c:pt>
                <c:pt idx="878">
                  <c:v>All Others</c:v>
                </c:pt>
                <c:pt idx="879">
                  <c:v>All Others</c:v>
                </c:pt>
                <c:pt idx="880">
                  <c:v>Soignon</c:v>
                </c:pt>
                <c:pt idx="881">
                  <c:v>Soignon</c:v>
                </c:pt>
                <c:pt idx="882">
                  <c:v>All Others</c:v>
                </c:pt>
                <c:pt idx="883">
                  <c:v>All Others</c:v>
                </c:pt>
                <c:pt idx="884">
                  <c:v>Mini Babybe</c:v>
                </c:pt>
                <c:pt idx="885">
                  <c:v>All Others</c:v>
                </c:pt>
                <c:pt idx="886">
                  <c:v>All Others</c:v>
                </c:pt>
                <c:pt idx="887">
                  <c:v>All Others</c:v>
                </c:pt>
                <c:pt idx="888">
                  <c:v>All Others</c:v>
                </c:pt>
                <c:pt idx="889">
                  <c:v>All Others</c:v>
                </c:pt>
                <c:pt idx="890">
                  <c:v>All Others</c:v>
                </c:pt>
                <c:pt idx="891">
                  <c:v>All Others</c:v>
                </c:pt>
                <c:pt idx="892">
                  <c:v>All Others</c:v>
                </c:pt>
                <c:pt idx="893">
                  <c:v>All Others</c:v>
                </c:pt>
                <c:pt idx="894">
                  <c:v>Soignon</c:v>
                </c:pt>
                <c:pt idx="895">
                  <c:v>All Others</c:v>
                </c:pt>
                <c:pt idx="896">
                  <c:v>All Others</c:v>
                </c:pt>
                <c:pt idx="897">
                  <c:v>All Others</c:v>
                </c:pt>
                <c:pt idx="898">
                  <c:v>Eurial Autr</c:v>
                </c:pt>
                <c:pt idx="899">
                  <c:v>All Others</c:v>
                </c:pt>
                <c:pt idx="900">
                  <c:v>All Others</c:v>
                </c:pt>
                <c:pt idx="901">
                  <c:v>All Others</c:v>
                </c:pt>
                <c:pt idx="902">
                  <c:v>All Others</c:v>
                </c:pt>
                <c:pt idx="903">
                  <c:v>All Others</c:v>
                </c:pt>
                <c:pt idx="904">
                  <c:v>All Others</c:v>
                </c:pt>
                <c:pt idx="905">
                  <c:v>All Others</c:v>
                </c:pt>
                <c:pt idx="906">
                  <c:v>All Others</c:v>
                </c:pt>
                <c:pt idx="907">
                  <c:v>All Others</c:v>
                </c:pt>
                <c:pt idx="908">
                  <c:v>All Others</c:v>
                </c:pt>
                <c:pt idx="909">
                  <c:v>All Others</c:v>
                </c:pt>
                <c:pt idx="910">
                  <c:v>President</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Eurial Autr</c:v>
                </c:pt>
                <c:pt idx="922">
                  <c:v>All Others</c:v>
                </c:pt>
                <c:pt idx="923">
                  <c:v>All Others</c:v>
                </c:pt>
                <c:pt idx="924">
                  <c:v>All Others</c:v>
                </c:pt>
                <c:pt idx="925">
                  <c:v>All Others</c:v>
                </c:pt>
                <c:pt idx="926">
                  <c:v>All Others</c:v>
                </c:pt>
                <c:pt idx="927">
                  <c:v>All Others</c:v>
                </c:pt>
                <c:pt idx="928">
                  <c:v>All Others</c:v>
                </c:pt>
                <c:pt idx="929">
                  <c:v>All Others</c:v>
                </c:pt>
                <c:pt idx="930">
                  <c:v>Lactalis: A</c:v>
                </c:pt>
                <c:pt idx="931">
                  <c:v>All Others</c:v>
                </c:pt>
                <c:pt idx="932">
                  <c:v>Mini Babybe</c:v>
                </c:pt>
                <c:pt idx="933">
                  <c:v>All Others</c:v>
                </c:pt>
                <c:pt idx="934">
                  <c:v>All Others</c:v>
                </c:pt>
                <c:pt idx="935">
                  <c:v>All Others</c:v>
                </c:pt>
                <c:pt idx="936">
                  <c:v>All Others</c:v>
                </c:pt>
                <c:pt idx="937">
                  <c:v>Lactalis: A</c:v>
                </c:pt>
                <c:pt idx="938">
                  <c:v>All Others</c:v>
                </c:pt>
                <c:pt idx="939">
                  <c:v>All Others</c:v>
                </c:pt>
                <c:pt idx="940">
                  <c:v>Salakis</c:v>
                </c:pt>
                <c:pt idx="941">
                  <c:v>Societe</c:v>
                </c:pt>
                <c:pt idx="942">
                  <c:v>All Others</c:v>
                </c:pt>
                <c:pt idx="943">
                  <c:v>All Others</c:v>
                </c:pt>
                <c:pt idx="944">
                  <c:v>All Others</c:v>
                </c:pt>
                <c:pt idx="945">
                  <c:v>All Others</c:v>
                </c:pt>
                <c:pt idx="946">
                  <c:v>All Others</c:v>
                </c:pt>
                <c:pt idx="947">
                  <c:v>All Others</c:v>
                </c:pt>
                <c:pt idx="948">
                  <c:v>All Others</c:v>
                </c:pt>
                <c:pt idx="949">
                  <c:v>All Others</c:v>
                </c:pt>
                <c:pt idx="950">
                  <c:v>All Others</c:v>
                </c:pt>
                <c:pt idx="951">
                  <c:v>All Others</c:v>
                </c:pt>
                <c:pt idx="952">
                  <c:v>All Others</c:v>
                </c:pt>
                <c:pt idx="953">
                  <c:v>All Others</c:v>
                </c:pt>
                <c:pt idx="954">
                  <c:v>All Others</c:v>
                </c:pt>
                <c:pt idx="955">
                  <c:v>All Others</c:v>
                </c:pt>
                <c:pt idx="956">
                  <c:v>All Others</c:v>
                </c:pt>
                <c:pt idx="957">
                  <c:v>All Others</c:v>
                </c:pt>
                <c:pt idx="958">
                  <c:v>All Others</c:v>
                </c:pt>
                <c:pt idx="959">
                  <c:v>All Others</c:v>
                </c:pt>
                <c:pt idx="960">
                  <c:v>All Others</c:v>
                </c:pt>
                <c:pt idx="961">
                  <c:v>All Others</c:v>
                </c:pt>
                <c:pt idx="962">
                  <c:v>All Others</c:v>
                </c:pt>
                <c:pt idx="963">
                  <c:v>All Others</c:v>
                </c:pt>
                <c:pt idx="964">
                  <c:v>Eurial Autr</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Le Brebiou</c:v>
                </c:pt>
                <c:pt idx="977">
                  <c:v>All Others</c:v>
                </c:pt>
                <c:pt idx="978">
                  <c:v>All Others</c:v>
                </c:pt>
                <c:pt idx="979">
                  <c:v>All Others</c:v>
                </c:pt>
                <c:pt idx="980">
                  <c:v>All Others</c:v>
                </c:pt>
                <c:pt idx="981">
                  <c:v>All Others</c:v>
                </c:pt>
                <c:pt idx="982">
                  <c:v>All Others</c:v>
                </c:pt>
                <c:pt idx="983">
                  <c:v>All Others</c:v>
                </c:pt>
                <c:pt idx="984">
                  <c:v>All Others</c:v>
                </c:pt>
                <c:pt idx="985">
                  <c:v>Petit Billy</c:v>
                </c:pt>
                <c:pt idx="986">
                  <c:v>All Others</c:v>
                </c:pt>
                <c:pt idx="987">
                  <c:v>Lactalis: A</c:v>
                </c:pt>
                <c:pt idx="988">
                  <c:v>All Others</c:v>
                </c:pt>
                <c:pt idx="989">
                  <c:v>All Others</c:v>
                </c:pt>
                <c:pt idx="990">
                  <c:v>All Others</c:v>
                </c:pt>
                <c:pt idx="991">
                  <c:v>All Others</c:v>
                </c:pt>
                <c:pt idx="992">
                  <c:v>Limiano</c:v>
                </c:pt>
                <c:pt idx="993">
                  <c:v>Petit Billy</c:v>
                </c:pt>
                <c:pt idx="994">
                  <c:v>Mini Babybe</c:v>
                </c:pt>
                <c:pt idx="995">
                  <c:v>All Others</c:v>
                </c:pt>
                <c:pt idx="996">
                  <c:v>Boursin</c:v>
                </c:pt>
                <c:pt idx="997">
                  <c:v>Savencia: A</c:v>
                </c:pt>
                <c:pt idx="998">
                  <c:v>All Others</c:v>
                </c:pt>
                <c:pt idx="999">
                  <c:v>All Others</c:v>
                </c:pt>
                <c:pt idx="1000">
                  <c:v>All Others</c:v>
                </c:pt>
                <c:pt idx="1001">
                  <c:v>All Others</c:v>
                </c:pt>
                <c:pt idx="1002">
                  <c:v>All Others</c:v>
                </c:pt>
                <c:pt idx="1003">
                  <c:v>All Others</c:v>
                </c:pt>
                <c:pt idx="1004">
                  <c:v>All Others</c:v>
                </c:pt>
                <c:pt idx="1005">
                  <c:v>All Others</c:v>
                </c:pt>
                <c:pt idx="1006">
                  <c:v>All Others</c:v>
                </c:pt>
                <c:pt idx="1007">
                  <c:v>All Others</c:v>
                </c:pt>
                <c:pt idx="1008">
                  <c:v>All Others</c:v>
                </c:pt>
                <c:pt idx="1009">
                  <c:v>All Others</c:v>
                </c:pt>
                <c:pt idx="1010">
                  <c:v>All Others</c:v>
                </c:pt>
                <c:pt idx="1011">
                  <c:v>All Others</c:v>
                </c:pt>
                <c:pt idx="1012">
                  <c:v>President</c:v>
                </c:pt>
                <c:pt idx="1013">
                  <c:v>All Others</c:v>
                </c:pt>
                <c:pt idx="1014">
                  <c:v>All Others</c:v>
                </c:pt>
                <c:pt idx="1015">
                  <c:v>All Others</c:v>
                </c:pt>
                <c:pt idx="1016">
                  <c:v>All Others</c:v>
                </c:pt>
                <c:pt idx="1017">
                  <c:v>All Others</c:v>
                </c:pt>
                <c:pt idx="1018">
                  <c:v>All Others</c:v>
                </c:pt>
                <c:pt idx="1019">
                  <c:v>All Others</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strCache>
            </c:strRef>
          </c:cat>
          <c:val>
            <c:numRef>
              <c:f>Sheet1!$B$2:$B$1030</c:f>
              <c:numCache>
                <c:formatCode>General</c:formatCode>
                <c:ptCount val="1029"/>
                <c:pt idx="0">
                  <c:v>0.90700000000000003</c:v>
                </c:pt>
                <c:pt idx="1">
                  <c:v>0.94799999999999995</c:v>
                </c:pt>
                <c:pt idx="2">
                  <c:v>0.98799999999999999</c:v>
                </c:pt>
                <c:pt idx="3">
                  <c:v>0.95599999999999996</c:v>
                </c:pt>
                <c:pt idx="4">
                  <c:v>0.98599999999999999</c:v>
                </c:pt>
                <c:pt idx="5">
                  <c:v>0.98299999999999998</c:v>
                </c:pt>
                <c:pt idx="6">
                  <c:v>0.93899999999999995</c:v>
                </c:pt>
                <c:pt idx="7">
                  <c:v>0.98399999999999999</c:v>
                </c:pt>
                <c:pt idx="8">
                  <c:v>0.97099999999999997</c:v>
                </c:pt>
                <c:pt idx="9">
                  <c:v>0.98899999999999999</c:v>
                </c:pt>
                <c:pt idx="10">
                  <c:v>0.86199999999999999</c:v>
                </c:pt>
                <c:pt idx="11">
                  <c:v>0.86399999999999999</c:v>
                </c:pt>
                <c:pt idx="12">
                  <c:v>0.98599999999999999</c:v>
                </c:pt>
                <c:pt idx="13">
                  <c:v>0.90900000000000003</c:v>
                </c:pt>
                <c:pt idx="14">
                  <c:v>0.80400000000000005</c:v>
                </c:pt>
                <c:pt idx="15">
                  <c:v>0.83599999999999997</c:v>
                </c:pt>
                <c:pt idx="16">
                  <c:v>0.97799999999999998</c:v>
                </c:pt>
                <c:pt idx="17">
                  <c:v>0.76200000000000001</c:v>
                </c:pt>
                <c:pt idx="18">
                  <c:v>0.84499999999999997</c:v>
                </c:pt>
                <c:pt idx="19">
                  <c:v>0.97299999999999998</c:v>
                </c:pt>
                <c:pt idx="20">
                  <c:v>0.89700000000000002</c:v>
                </c:pt>
                <c:pt idx="21">
                  <c:v>0.91500000000000004</c:v>
                </c:pt>
                <c:pt idx="22">
                  <c:v>0.82399999999999995</c:v>
                </c:pt>
                <c:pt idx="23">
                  <c:v>0.95399999999999996</c:v>
                </c:pt>
                <c:pt idx="24">
                  <c:v>0.82899999999999996</c:v>
                </c:pt>
                <c:pt idx="25">
                  <c:v>0.91500000000000004</c:v>
                </c:pt>
                <c:pt idx="26">
                  <c:v>0.82899999999999996</c:v>
                </c:pt>
                <c:pt idx="27">
                  <c:v>0.98899999999999999</c:v>
                </c:pt>
                <c:pt idx="28">
                  <c:v>0.94699999999999995</c:v>
                </c:pt>
                <c:pt idx="29">
                  <c:v>0.80500000000000005</c:v>
                </c:pt>
                <c:pt idx="30">
                  <c:v>0.84299999999999997</c:v>
                </c:pt>
                <c:pt idx="31">
                  <c:v>0.69099999999999995</c:v>
                </c:pt>
                <c:pt idx="32">
                  <c:v>0.91500000000000004</c:v>
                </c:pt>
                <c:pt idx="33">
                  <c:v>0.871</c:v>
                </c:pt>
                <c:pt idx="34">
                  <c:v>0.81699999999999995</c:v>
                </c:pt>
                <c:pt idx="35">
                  <c:v>0.73899999999999999</c:v>
                </c:pt>
                <c:pt idx="36">
                  <c:v>0.77800000000000002</c:v>
                </c:pt>
                <c:pt idx="37">
                  <c:v>0.80900000000000005</c:v>
                </c:pt>
                <c:pt idx="38">
                  <c:v>0.97699999999999998</c:v>
                </c:pt>
                <c:pt idx="39">
                  <c:v>0.95499999999999996</c:v>
                </c:pt>
                <c:pt idx="40">
                  <c:v>0.75700000000000001</c:v>
                </c:pt>
                <c:pt idx="41">
                  <c:v>0.85199999999999998</c:v>
                </c:pt>
                <c:pt idx="42">
                  <c:v>0.82099999999999995</c:v>
                </c:pt>
                <c:pt idx="43">
                  <c:v>0.94499999999999995</c:v>
                </c:pt>
                <c:pt idx="44">
                  <c:v>0.438</c:v>
                </c:pt>
                <c:pt idx="45">
                  <c:v>0.83299999999999996</c:v>
                </c:pt>
                <c:pt idx="46">
                  <c:v>0.96799999999999997</c:v>
                </c:pt>
                <c:pt idx="47">
                  <c:v>0.78200000000000003</c:v>
                </c:pt>
                <c:pt idx="48">
                  <c:v>0.82399999999999995</c:v>
                </c:pt>
                <c:pt idx="49">
                  <c:v>0.77400000000000002</c:v>
                </c:pt>
                <c:pt idx="50">
                  <c:v>0.89600000000000002</c:v>
                </c:pt>
                <c:pt idx="51">
                  <c:v>0.90300000000000002</c:v>
                </c:pt>
                <c:pt idx="52">
                  <c:v>0.82</c:v>
                </c:pt>
                <c:pt idx="53">
                  <c:v>0.90200000000000002</c:v>
                </c:pt>
                <c:pt idx="54">
                  <c:v>0.78500000000000003</c:v>
                </c:pt>
                <c:pt idx="55">
                  <c:v>0.81</c:v>
                </c:pt>
                <c:pt idx="56">
                  <c:v>0.90700000000000003</c:v>
                </c:pt>
                <c:pt idx="57">
                  <c:v>0.96099999999999997</c:v>
                </c:pt>
                <c:pt idx="58">
                  <c:v>0.73299999999999998</c:v>
                </c:pt>
                <c:pt idx="59">
                  <c:v>0.77400000000000002</c:v>
                </c:pt>
                <c:pt idx="60">
                  <c:v>0.78300000000000003</c:v>
                </c:pt>
                <c:pt idx="61">
                  <c:v>0.71799999999999997</c:v>
                </c:pt>
                <c:pt idx="62">
                  <c:v>0.93400000000000005</c:v>
                </c:pt>
                <c:pt idx="63">
                  <c:v>0.68500000000000005</c:v>
                </c:pt>
                <c:pt idx="64">
                  <c:v>0.82499999999999996</c:v>
                </c:pt>
                <c:pt idx="65">
                  <c:v>0.878</c:v>
                </c:pt>
                <c:pt idx="66">
                  <c:v>0.747</c:v>
                </c:pt>
                <c:pt idx="67">
                  <c:v>0.76300000000000001</c:v>
                </c:pt>
                <c:pt idx="68">
                  <c:v>0.86399999999999999</c:v>
                </c:pt>
                <c:pt idx="69">
                  <c:v>0.71699999999999997</c:v>
                </c:pt>
                <c:pt idx="70">
                  <c:v>0.89700000000000002</c:v>
                </c:pt>
                <c:pt idx="71">
                  <c:v>0.77700000000000002</c:v>
                </c:pt>
                <c:pt idx="72">
                  <c:v>0.91700000000000004</c:v>
                </c:pt>
                <c:pt idx="73">
                  <c:v>0.88100000000000001</c:v>
                </c:pt>
                <c:pt idx="74">
                  <c:v>0.88600000000000001</c:v>
                </c:pt>
                <c:pt idx="75">
                  <c:v>0.90500000000000003</c:v>
                </c:pt>
                <c:pt idx="76">
                  <c:v>0.82</c:v>
                </c:pt>
                <c:pt idx="77">
                  <c:v>0.93100000000000005</c:v>
                </c:pt>
                <c:pt idx="78">
                  <c:v>0.68700000000000006</c:v>
                </c:pt>
                <c:pt idx="79">
                  <c:v>0.60699999999999998</c:v>
                </c:pt>
                <c:pt idx="80">
                  <c:v>0.82399999999999995</c:v>
                </c:pt>
                <c:pt idx="81">
                  <c:v>0.754</c:v>
                </c:pt>
                <c:pt idx="82">
                  <c:v>0.80100000000000005</c:v>
                </c:pt>
                <c:pt idx="83">
                  <c:v>0.61</c:v>
                </c:pt>
                <c:pt idx="84">
                  <c:v>0.83799999999999997</c:v>
                </c:pt>
                <c:pt idx="85">
                  <c:v>0.90600000000000003</c:v>
                </c:pt>
                <c:pt idx="86">
                  <c:v>0.46300000000000002</c:v>
                </c:pt>
                <c:pt idx="87">
                  <c:v>0.90400000000000003</c:v>
                </c:pt>
                <c:pt idx="88">
                  <c:v>0.83099999999999996</c:v>
                </c:pt>
                <c:pt idx="89">
                  <c:v>0.82399999999999995</c:v>
                </c:pt>
                <c:pt idx="90">
                  <c:v>0.94399999999999995</c:v>
                </c:pt>
                <c:pt idx="91">
                  <c:v>0.80100000000000005</c:v>
                </c:pt>
                <c:pt idx="92">
                  <c:v>0.73799999999999999</c:v>
                </c:pt>
                <c:pt idx="93">
                  <c:v>0.621</c:v>
                </c:pt>
                <c:pt idx="94">
                  <c:v>0.80400000000000005</c:v>
                </c:pt>
                <c:pt idx="95">
                  <c:v>0.72</c:v>
                </c:pt>
                <c:pt idx="96">
                  <c:v>0.71199999999999997</c:v>
                </c:pt>
                <c:pt idx="97">
                  <c:v>0.82699999999999996</c:v>
                </c:pt>
                <c:pt idx="98">
                  <c:v>0.80500000000000005</c:v>
                </c:pt>
                <c:pt idx="99">
                  <c:v>0.63900000000000001</c:v>
                </c:pt>
                <c:pt idx="100">
                  <c:v>0.65300000000000002</c:v>
                </c:pt>
                <c:pt idx="101">
                  <c:v>0.54200000000000004</c:v>
                </c:pt>
                <c:pt idx="102">
                  <c:v>0.80100000000000005</c:v>
                </c:pt>
                <c:pt idx="103">
                  <c:v>0.86399999999999999</c:v>
                </c:pt>
                <c:pt idx="104">
                  <c:v>0.621</c:v>
                </c:pt>
                <c:pt idx="105">
                  <c:v>0.90500000000000003</c:v>
                </c:pt>
                <c:pt idx="106">
                  <c:v>0.58899999999999997</c:v>
                </c:pt>
                <c:pt idx="107">
                  <c:v>0.67200000000000004</c:v>
                </c:pt>
                <c:pt idx="108">
                  <c:v>0.76</c:v>
                </c:pt>
                <c:pt idx="109">
                  <c:v>0.72799999999999998</c:v>
                </c:pt>
                <c:pt idx="110">
                  <c:v>0.64</c:v>
                </c:pt>
                <c:pt idx="111">
                  <c:v>0.67800000000000005</c:v>
                </c:pt>
                <c:pt idx="112">
                  <c:v>0.68400000000000005</c:v>
                </c:pt>
                <c:pt idx="113">
                  <c:v>0.73699999999999999</c:v>
                </c:pt>
                <c:pt idx="114">
                  <c:v>0.65900000000000003</c:v>
                </c:pt>
                <c:pt idx="115">
                  <c:v>0.749</c:v>
                </c:pt>
                <c:pt idx="116">
                  <c:v>0.78100000000000003</c:v>
                </c:pt>
                <c:pt idx="117">
                  <c:v>0.73</c:v>
                </c:pt>
                <c:pt idx="118">
                  <c:v>0.79600000000000004</c:v>
                </c:pt>
                <c:pt idx="119">
                  <c:v>0.752</c:v>
                </c:pt>
                <c:pt idx="120">
                  <c:v>0.36099999999999999</c:v>
                </c:pt>
                <c:pt idx="121">
                  <c:v>0.74299999999999999</c:v>
                </c:pt>
                <c:pt idx="122">
                  <c:v>0.76100000000000001</c:v>
                </c:pt>
                <c:pt idx="123">
                  <c:v>0.70599999999999996</c:v>
                </c:pt>
                <c:pt idx="124">
                  <c:v>0.66800000000000004</c:v>
                </c:pt>
                <c:pt idx="125">
                  <c:v>0.749</c:v>
                </c:pt>
                <c:pt idx="126">
                  <c:v>0.60199999999999998</c:v>
                </c:pt>
                <c:pt idx="127">
                  <c:v>0.80100000000000005</c:v>
                </c:pt>
                <c:pt idx="128">
                  <c:v>0.80500000000000005</c:v>
                </c:pt>
                <c:pt idx="129">
                  <c:v>0.623</c:v>
                </c:pt>
                <c:pt idx="130">
                  <c:v>0.60199999999999998</c:v>
                </c:pt>
                <c:pt idx="131">
                  <c:v>0.45300000000000001</c:v>
                </c:pt>
                <c:pt idx="132">
                  <c:v>0.76200000000000001</c:v>
                </c:pt>
                <c:pt idx="133">
                  <c:v>0.51</c:v>
                </c:pt>
                <c:pt idx="134">
                  <c:v>0.76</c:v>
                </c:pt>
                <c:pt idx="135">
                  <c:v>0.60399999999999998</c:v>
                </c:pt>
                <c:pt idx="136">
                  <c:v>0.80500000000000005</c:v>
                </c:pt>
                <c:pt idx="137">
                  <c:v>0.66200000000000003</c:v>
                </c:pt>
                <c:pt idx="138">
                  <c:v>0.70399999999999996</c:v>
                </c:pt>
                <c:pt idx="139">
                  <c:v>0.28999999999999998</c:v>
                </c:pt>
                <c:pt idx="140">
                  <c:v>0.64700000000000002</c:v>
                </c:pt>
                <c:pt idx="141">
                  <c:v>0.71499999999999997</c:v>
                </c:pt>
                <c:pt idx="142">
                  <c:v>0.69299999999999995</c:v>
                </c:pt>
                <c:pt idx="143">
                  <c:v>0.69499999999999995</c:v>
                </c:pt>
                <c:pt idx="144">
                  <c:v>0.746</c:v>
                </c:pt>
                <c:pt idx="145">
                  <c:v>0.72199999999999998</c:v>
                </c:pt>
                <c:pt idx="146">
                  <c:v>0.58499999999999996</c:v>
                </c:pt>
                <c:pt idx="147">
                  <c:v>0.65900000000000003</c:v>
                </c:pt>
                <c:pt idx="148">
                  <c:v>0.64700000000000002</c:v>
                </c:pt>
                <c:pt idx="149">
                  <c:v>0.53800000000000003</c:v>
                </c:pt>
                <c:pt idx="150">
                  <c:v>0.69599999999999995</c:v>
                </c:pt>
                <c:pt idx="151">
                  <c:v>0.75</c:v>
                </c:pt>
                <c:pt idx="152">
                  <c:v>0.621</c:v>
                </c:pt>
                <c:pt idx="153">
                  <c:v>0.755</c:v>
                </c:pt>
                <c:pt idx="154">
                  <c:v>0.69099999999999995</c:v>
                </c:pt>
                <c:pt idx="155">
                  <c:v>0.45500000000000002</c:v>
                </c:pt>
                <c:pt idx="156">
                  <c:v>0.442</c:v>
                </c:pt>
                <c:pt idx="157">
                  <c:v>0.41099999999999998</c:v>
                </c:pt>
                <c:pt idx="158">
                  <c:v>0.54700000000000004</c:v>
                </c:pt>
                <c:pt idx="159">
                  <c:v>0.59199999999999997</c:v>
                </c:pt>
                <c:pt idx="160">
                  <c:v>0.41399999999999998</c:v>
                </c:pt>
                <c:pt idx="161">
                  <c:v>0.56000000000000005</c:v>
                </c:pt>
                <c:pt idx="162">
                  <c:v>0.47199999999999998</c:v>
                </c:pt>
                <c:pt idx="163">
                  <c:v>0.38</c:v>
                </c:pt>
                <c:pt idx="164">
                  <c:v>0.40600000000000003</c:v>
                </c:pt>
                <c:pt idx="165">
                  <c:v>0.67700000000000005</c:v>
                </c:pt>
                <c:pt idx="166">
                  <c:v>0.67500000000000004</c:v>
                </c:pt>
                <c:pt idx="167">
                  <c:v>0.77400000000000002</c:v>
                </c:pt>
                <c:pt idx="168">
                  <c:v>2E-3</c:v>
                </c:pt>
                <c:pt idx="169">
                  <c:v>0.79300000000000004</c:v>
                </c:pt>
                <c:pt idx="170">
                  <c:v>0.42599999999999999</c:v>
                </c:pt>
                <c:pt idx="171">
                  <c:v>0.52500000000000002</c:v>
                </c:pt>
                <c:pt idx="172">
                  <c:v>0.55200000000000005</c:v>
                </c:pt>
                <c:pt idx="173">
                  <c:v>0.53300000000000003</c:v>
                </c:pt>
                <c:pt idx="174">
                  <c:v>0.76300000000000001</c:v>
                </c:pt>
                <c:pt idx="175">
                  <c:v>0.57499999999999996</c:v>
                </c:pt>
                <c:pt idx="176">
                  <c:v>0.47199999999999998</c:v>
                </c:pt>
                <c:pt idx="177">
                  <c:v>0.61799999999999999</c:v>
                </c:pt>
                <c:pt idx="178">
                  <c:v>0.69299999999999995</c:v>
                </c:pt>
                <c:pt idx="179">
                  <c:v>0.42399999999999999</c:v>
                </c:pt>
                <c:pt idx="180">
                  <c:v>0.63100000000000001</c:v>
                </c:pt>
                <c:pt idx="181">
                  <c:v>0.32700000000000001</c:v>
                </c:pt>
                <c:pt idx="182">
                  <c:v>0.52100000000000002</c:v>
                </c:pt>
                <c:pt idx="183">
                  <c:v>0.57999999999999996</c:v>
                </c:pt>
                <c:pt idx="184">
                  <c:v>0.59399999999999997</c:v>
                </c:pt>
                <c:pt idx="185">
                  <c:v>0.76600000000000001</c:v>
                </c:pt>
                <c:pt idx="186">
                  <c:v>0.42899999999999999</c:v>
                </c:pt>
                <c:pt idx="187">
                  <c:v>0.40600000000000003</c:v>
                </c:pt>
                <c:pt idx="188">
                  <c:v>0.78600000000000003</c:v>
                </c:pt>
                <c:pt idx="189">
                  <c:v>0.75</c:v>
                </c:pt>
                <c:pt idx="190">
                  <c:v>0.438</c:v>
                </c:pt>
                <c:pt idx="191">
                  <c:v>0.65800000000000003</c:v>
                </c:pt>
                <c:pt idx="192">
                  <c:v>0.74</c:v>
                </c:pt>
                <c:pt idx="193">
                  <c:v>0.40400000000000003</c:v>
                </c:pt>
                <c:pt idx="194">
                  <c:v>0.66</c:v>
                </c:pt>
                <c:pt idx="195">
                  <c:v>0.42399999999999999</c:v>
                </c:pt>
                <c:pt idx="196">
                  <c:v>0.63600000000000001</c:v>
                </c:pt>
                <c:pt idx="197">
                  <c:v>0.45700000000000002</c:v>
                </c:pt>
                <c:pt idx="198">
                  <c:v>0.32</c:v>
                </c:pt>
                <c:pt idx="199">
                  <c:v>0.49399999999999999</c:v>
                </c:pt>
                <c:pt idx="200">
                  <c:v>0.59099999999999997</c:v>
                </c:pt>
                <c:pt idx="201">
                  <c:v>0.41499999999999998</c:v>
                </c:pt>
                <c:pt idx="202">
                  <c:v>0.60799999999999998</c:v>
                </c:pt>
                <c:pt idx="203">
                  <c:v>0.38400000000000001</c:v>
                </c:pt>
                <c:pt idx="204">
                  <c:v>0.28199999999999997</c:v>
                </c:pt>
                <c:pt idx="205">
                  <c:v>0.71899999999999997</c:v>
                </c:pt>
                <c:pt idx="206">
                  <c:v>0.623</c:v>
                </c:pt>
                <c:pt idx="207">
                  <c:v>0.64100000000000001</c:v>
                </c:pt>
                <c:pt idx="208">
                  <c:v>0.67200000000000004</c:v>
                </c:pt>
                <c:pt idx="209">
                  <c:v>0.35199999999999998</c:v>
                </c:pt>
                <c:pt idx="210">
                  <c:v>0.61199999999999999</c:v>
                </c:pt>
                <c:pt idx="211">
                  <c:v>0.48399999999999999</c:v>
                </c:pt>
                <c:pt idx="212">
                  <c:v>0.61799999999999999</c:v>
                </c:pt>
                <c:pt idx="213">
                  <c:v>0.64900000000000002</c:v>
                </c:pt>
                <c:pt idx="214">
                  <c:v>0.29099999999999998</c:v>
                </c:pt>
                <c:pt idx="215">
                  <c:v>0.66800000000000004</c:v>
                </c:pt>
                <c:pt idx="216">
                  <c:v>0.44700000000000001</c:v>
                </c:pt>
                <c:pt idx="217">
                  <c:v>0.16700000000000001</c:v>
                </c:pt>
                <c:pt idx="218">
                  <c:v>0.54200000000000004</c:v>
                </c:pt>
                <c:pt idx="219">
                  <c:v>0.59599999999999997</c:v>
                </c:pt>
                <c:pt idx="220">
                  <c:v>0.42199999999999999</c:v>
                </c:pt>
                <c:pt idx="221">
                  <c:v>0.38</c:v>
                </c:pt>
                <c:pt idx="222">
                  <c:v>0.57799999999999996</c:v>
                </c:pt>
                <c:pt idx="223">
                  <c:v>0.58899999999999997</c:v>
                </c:pt>
                <c:pt idx="224">
                  <c:v>0.58499999999999996</c:v>
                </c:pt>
                <c:pt idx="225">
                  <c:v>0.55000000000000004</c:v>
                </c:pt>
                <c:pt idx="226">
                  <c:v>0.59899999999999998</c:v>
                </c:pt>
                <c:pt idx="227">
                  <c:v>0.68</c:v>
                </c:pt>
                <c:pt idx="228">
                  <c:v>0.34200000000000003</c:v>
                </c:pt>
                <c:pt idx="229">
                  <c:v>0.29299999999999998</c:v>
                </c:pt>
                <c:pt idx="230">
                  <c:v>0.42</c:v>
                </c:pt>
                <c:pt idx="231">
                  <c:v>0.313</c:v>
                </c:pt>
                <c:pt idx="232">
                  <c:v>0.66300000000000003</c:v>
                </c:pt>
                <c:pt idx="233">
                  <c:v>0.57199999999999995</c:v>
                </c:pt>
                <c:pt idx="234">
                  <c:v>0.42699999999999999</c:v>
                </c:pt>
                <c:pt idx="235">
                  <c:v>0.39700000000000002</c:v>
                </c:pt>
                <c:pt idx="236">
                  <c:v>0.39400000000000002</c:v>
                </c:pt>
                <c:pt idx="237">
                  <c:v>0.29199999999999998</c:v>
                </c:pt>
                <c:pt idx="238">
                  <c:v>0.52200000000000002</c:v>
                </c:pt>
                <c:pt idx="239">
                  <c:v>0.61499999999999999</c:v>
                </c:pt>
                <c:pt idx="240">
                  <c:v>0.69399999999999995</c:v>
                </c:pt>
                <c:pt idx="241">
                  <c:v>0.30199999999999999</c:v>
                </c:pt>
                <c:pt idx="242">
                  <c:v>0.58699999999999997</c:v>
                </c:pt>
                <c:pt idx="243">
                  <c:v>0.69399999999999995</c:v>
                </c:pt>
                <c:pt idx="244">
                  <c:v>0.26900000000000002</c:v>
                </c:pt>
                <c:pt idx="245">
                  <c:v>0.52900000000000003</c:v>
                </c:pt>
                <c:pt idx="246">
                  <c:v>0.71199999999999997</c:v>
                </c:pt>
                <c:pt idx="247">
                  <c:v>0.44400000000000001</c:v>
                </c:pt>
                <c:pt idx="248">
                  <c:v>0.48199999999999998</c:v>
                </c:pt>
                <c:pt idx="249">
                  <c:v>0.502</c:v>
                </c:pt>
                <c:pt idx="250">
                  <c:v>0.42899999999999999</c:v>
                </c:pt>
                <c:pt idx="251">
                  <c:v>0.53400000000000003</c:v>
                </c:pt>
                <c:pt idx="252">
                  <c:v>0.379</c:v>
                </c:pt>
                <c:pt idx="253">
                  <c:v>0.29199999999999998</c:v>
                </c:pt>
                <c:pt idx="254">
                  <c:v>0.54700000000000004</c:v>
                </c:pt>
                <c:pt idx="255">
                  <c:v>0.24299999999999999</c:v>
                </c:pt>
                <c:pt idx="256">
                  <c:v>0.41099999999999998</c:v>
                </c:pt>
                <c:pt idx="257">
                  <c:v>0.38400000000000001</c:v>
                </c:pt>
                <c:pt idx="258">
                  <c:v>0.41099999999999998</c:v>
                </c:pt>
                <c:pt idx="259">
                  <c:v>0.57999999999999996</c:v>
                </c:pt>
                <c:pt idx="260">
                  <c:v>0.52900000000000003</c:v>
                </c:pt>
                <c:pt idx="261">
                  <c:v>0.107</c:v>
                </c:pt>
                <c:pt idx="262">
                  <c:v>0.51900000000000002</c:v>
                </c:pt>
                <c:pt idx="263">
                  <c:v>0.28899999999999998</c:v>
                </c:pt>
                <c:pt idx="264">
                  <c:v>0.42</c:v>
                </c:pt>
                <c:pt idx="265">
                  <c:v>0.42899999999999999</c:v>
                </c:pt>
                <c:pt idx="266">
                  <c:v>0.38700000000000001</c:v>
                </c:pt>
                <c:pt idx="267">
                  <c:v>0.42399999999999999</c:v>
                </c:pt>
                <c:pt idx="268">
                  <c:v>0.48499999999999999</c:v>
                </c:pt>
                <c:pt idx="269">
                  <c:v>0.57399999999999995</c:v>
                </c:pt>
                <c:pt idx="270">
                  <c:v>0.313</c:v>
                </c:pt>
                <c:pt idx="271">
                  <c:v>0.42</c:v>
                </c:pt>
                <c:pt idx="272">
                  <c:v>0.39200000000000002</c:v>
                </c:pt>
                <c:pt idx="273">
                  <c:v>0.49099999999999999</c:v>
                </c:pt>
                <c:pt idx="274">
                  <c:v>0.48899999999999999</c:v>
                </c:pt>
                <c:pt idx="275">
                  <c:v>0.36599999999999999</c:v>
                </c:pt>
                <c:pt idx="276">
                  <c:v>0.44800000000000001</c:v>
                </c:pt>
                <c:pt idx="277">
                  <c:v>0.21199999999999999</c:v>
                </c:pt>
                <c:pt idx="278">
                  <c:v>0.434</c:v>
                </c:pt>
                <c:pt idx="279">
                  <c:v>0.379</c:v>
                </c:pt>
                <c:pt idx="280">
                  <c:v>9.8000000000000004E-2</c:v>
                </c:pt>
                <c:pt idx="281">
                  <c:v>7.4999999999999997E-2</c:v>
                </c:pt>
                <c:pt idx="282">
                  <c:v>0.51500000000000001</c:v>
                </c:pt>
                <c:pt idx="283">
                  <c:v>3.4000000000000002E-2</c:v>
                </c:pt>
                <c:pt idx="284">
                  <c:v>0.40100000000000002</c:v>
                </c:pt>
                <c:pt idx="285">
                  <c:v>0.54300000000000004</c:v>
                </c:pt>
                <c:pt idx="286">
                  <c:v>8.9999999999999993E-3</c:v>
                </c:pt>
                <c:pt idx="287">
                  <c:v>0.25900000000000001</c:v>
                </c:pt>
                <c:pt idx="288">
                  <c:v>0.26300000000000001</c:v>
                </c:pt>
                <c:pt idx="289">
                  <c:v>0.37</c:v>
                </c:pt>
                <c:pt idx="290">
                  <c:v>0.217</c:v>
                </c:pt>
                <c:pt idx="291">
                  <c:v>0.44800000000000001</c:v>
                </c:pt>
                <c:pt idx="292">
                  <c:v>0.104</c:v>
                </c:pt>
                <c:pt idx="293">
                  <c:v>0.39700000000000002</c:v>
                </c:pt>
                <c:pt idx="294">
                  <c:v>0.24099999999999999</c:v>
                </c:pt>
                <c:pt idx="295">
                  <c:v>0.27100000000000002</c:v>
                </c:pt>
                <c:pt idx="296">
                  <c:v>0.11</c:v>
                </c:pt>
                <c:pt idx="297">
                  <c:v>5.6000000000000001E-2</c:v>
                </c:pt>
                <c:pt idx="298">
                  <c:v>0.57699999999999996</c:v>
                </c:pt>
                <c:pt idx="299">
                  <c:v>0.112</c:v>
                </c:pt>
                <c:pt idx="300">
                  <c:v>0.32900000000000001</c:v>
                </c:pt>
                <c:pt idx="301">
                  <c:v>0.45200000000000001</c:v>
                </c:pt>
                <c:pt idx="302">
                  <c:v>0.53800000000000003</c:v>
                </c:pt>
                <c:pt idx="303">
                  <c:v>0.40699999999999997</c:v>
                </c:pt>
                <c:pt idx="304">
                  <c:v>0.1</c:v>
                </c:pt>
                <c:pt idx="305">
                  <c:v>0.49099999999999999</c:v>
                </c:pt>
                <c:pt idx="306">
                  <c:v>0.32500000000000001</c:v>
                </c:pt>
                <c:pt idx="307">
                  <c:v>0.11</c:v>
                </c:pt>
                <c:pt idx="308">
                  <c:v>0.41799999999999998</c:v>
                </c:pt>
                <c:pt idx="309">
                  <c:v>0.107</c:v>
                </c:pt>
                <c:pt idx="310">
                  <c:v>0.27700000000000002</c:v>
                </c:pt>
                <c:pt idx="311">
                  <c:v>4.5999999999999999E-2</c:v>
                </c:pt>
                <c:pt idx="312">
                  <c:v>0.21099999999999999</c:v>
                </c:pt>
                <c:pt idx="313">
                  <c:v>0.19800000000000001</c:v>
                </c:pt>
                <c:pt idx="314">
                  <c:v>0.17799999999999999</c:v>
                </c:pt>
                <c:pt idx="315">
                  <c:v>9.9000000000000005E-2</c:v>
                </c:pt>
                <c:pt idx="316">
                  <c:v>0.33300000000000002</c:v>
                </c:pt>
                <c:pt idx="317">
                  <c:v>3.7999999999999999E-2</c:v>
                </c:pt>
                <c:pt idx="318">
                  <c:v>0.58099999999999996</c:v>
                </c:pt>
                <c:pt idx="319">
                  <c:v>0.191</c:v>
                </c:pt>
                <c:pt idx="320">
                  <c:v>0.42899999999999999</c:v>
                </c:pt>
                <c:pt idx="321">
                  <c:v>0.23400000000000001</c:v>
                </c:pt>
                <c:pt idx="322">
                  <c:v>0.434</c:v>
                </c:pt>
                <c:pt idx="323">
                  <c:v>0.33800000000000002</c:v>
                </c:pt>
                <c:pt idx="324">
                  <c:v>0.34899999999999998</c:v>
                </c:pt>
                <c:pt idx="325">
                  <c:v>0.28000000000000003</c:v>
                </c:pt>
                <c:pt idx="326">
                  <c:v>0.14499999999999999</c:v>
                </c:pt>
                <c:pt idx="327">
                  <c:v>9.6000000000000002E-2</c:v>
                </c:pt>
                <c:pt idx="328">
                  <c:v>0.372</c:v>
                </c:pt>
                <c:pt idx="329">
                  <c:v>0.23599999999999999</c:v>
                </c:pt>
                <c:pt idx="330">
                  <c:v>9.5000000000000001E-2</c:v>
                </c:pt>
                <c:pt idx="331">
                  <c:v>3.2000000000000001E-2</c:v>
                </c:pt>
                <c:pt idx="332">
                  <c:v>0.34799999999999998</c:v>
                </c:pt>
                <c:pt idx="333">
                  <c:v>7.8E-2</c:v>
                </c:pt>
                <c:pt idx="334">
                  <c:v>0.38500000000000001</c:v>
                </c:pt>
                <c:pt idx="335">
                  <c:v>0.21199999999999999</c:v>
                </c:pt>
                <c:pt idx="336">
                  <c:v>0.14899999999999999</c:v>
                </c:pt>
                <c:pt idx="337">
                  <c:v>0.39600000000000002</c:v>
                </c:pt>
                <c:pt idx="338">
                  <c:v>2.5000000000000001E-2</c:v>
                </c:pt>
                <c:pt idx="339">
                  <c:v>0.21299999999999999</c:v>
                </c:pt>
                <c:pt idx="340">
                  <c:v>0.21299999999999999</c:v>
                </c:pt>
                <c:pt idx="341">
                  <c:v>0.153</c:v>
                </c:pt>
                <c:pt idx="342">
                  <c:v>0.316</c:v>
                </c:pt>
                <c:pt idx="343">
                  <c:v>8.6999999999999994E-2</c:v>
                </c:pt>
                <c:pt idx="344">
                  <c:v>0.19800000000000001</c:v>
                </c:pt>
                <c:pt idx="345">
                  <c:v>0.16700000000000001</c:v>
                </c:pt>
                <c:pt idx="346">
                  <c:v>0.32500000000000001</c:v>
                </c:pt>
                <c:pt idx="347">
                  <c:v>8.2000000000000003E-2</c:v>
                </c:pt>
                <c:pt idx="348">
                  <c:v>0.23899999999999999</c:v>
                </c:pt>
                <c:pt idx="349">
                  <c:v>0.26600000000000001</c:v>
                </c:pt>
                <c:pt idx="350">
                  <c:v>4.1000000000000002E-2</c:v>
                </c:pt>
                <c:pt idx="351">
                  <c:v>0.224</c:v>
                </c:pt>
                <c:pt idx="352">
                  <c:v>8.0000000000000002E-3</c:v>
                </c:pt>
                <c:pt idx="353">
                  <c:v>0.14599999999999999</c:v>
                </c:pt>
                <c:pt idx="354">
                  <c:v>0.19900000000000001</c:v>
                </c:pt>
                <c:pt idx="355">
                  <c:v>0.14499999999999999</c:v>
                </c:pt>
                <c:pt idx="356">
                  <c:v>0.115</c:v>
                </c:pt>
                <c:pt idx="357">
                  <c:v>0.29699999999999999</c:v>
                </c:pt>
                <c:pt idx="358">
                  <c:v>0.10199999999999999</c:v>
                </c:pt>
                <c:pt idx="359">
                  <c:v>0.23</c:v>
                </c:pt>
                <c:pt idx="360">
                  <c:v>0.222</c:v>
                </c:pt>
                <c:pt idx="361">
                  <c:v>9.8000000000000004E-2</c:v>
                </c:pt>
                <c:pt idx="362">
                  <c:v>0.33600000000000002</c:v>
                </c:pt>
                <c:pt idx="363">
                  <c:v>0.20200000000000001</c:v>
                </c:pt>
                <c:pt idx="364">
                  <c:v>0.316</c:v>
                </c:pt>
                <c:pt idx="365">
                  <c:v>0.159</c:v>
                </c:pt>
                <c:pt idx="366">
                  <c:v>0.02</c:v>
                </c:pt>
                <c:pt idx="367">
                  <c:v>0.17</c:v>
                </c:pt>
                <c:pt idx="368">
                  <c:v>4.0000000000000001E-3</c:v>
                </c:pt>
                <c:pt idx="369">
                  <c:v>9.5000000000000001E-2</c:v>
                </c:pt>
                <c:pt idx="370">
                  <c:v>0.48299999999999998</c:v>
                </c:pt>
                <c:pt idx="371">
                  <c:v>3.2000000000000001E-2</c:v>
                </c:pt>
                <c:pt idx="372">
                  <c:v>0.20799999999999999</c:v>
                </c:pt>
                <c:pt idx="373">
                  <c:v>1.7999999999999999E-2</c:v>
                </c:pt>
                <c:pt idx="374">
                  <c:v>0.38400000000000001</c:v>
                </c:pt>
                <c:pt idx="375">
                  <c:v>5.0000000000000001E-3</c:v>
                </c:pt>
                <c:pt idx="376">
                  <c:v>0.29799999999999999</c:v>
                </c:pt>
                <c:pt idx="377">
                  <c:v>0.161</c:v>
                </c:pt>
                <c:pt idx="378">
                  <c:v>0.16400000000000001</c:v>
                </c:pt>
                <c:pt idx="379">
                  <c:v>8.0000000000000002E-3</c:v>
                </c:pt>
                <c:pt idx="380">
                  <c:v>6.8000000000000005E-2</c:v>
                </c:pt>
                <c:pt idx="381">
                  <c:v>0.214</c:v>
                </c:pt>
                <c:pt idx="382">
                  <c:v>0.36599999999999999</c:v>
                </c:pt>
                <c:pt idx="383">
                  <c:v>0.40600000000000003</c:v>
                </c:pt>
                <c:pt idx="384">
                  <c:v>0.24099999999999999</c:v>
                </c:pt>
                <c:pt idx="385">
                  <c:v>0.20200000000000001</c:v>
                </c:pt>
                <c:pt idx="386">
                  <c:v>0.17199999999999999</c:v>
                </c:pt>
                <c:pt idx="387">
                  <c:v>0.39100000000000001</c:v>
                </c:pt>
                <c:pt idx="388">
                  <c:v>4.0000000000000001E-3</c:v>
                </c:pt>
                <c:pt idx="389">
                  <c:v>6.8000000000000005E-2</c:v>
                </c:pt>
                <c:pt idx="390">
                  <c:v>0.17499999999999999</c:v>
                </c:pt>
                <c:pt idx="391">
                  <c:v>8.0000000000000002E-3</c:v>
                </c:pt>
                <c:pt idx="392">
                  <c:v>0.379</c:v>
                </c:pt>
                <c:pt idx="393">
                  <c:v>0.15</c:v>
                </c:pt>
                <c:pt idx="394">
                  <c:v>4.4999999999999998E-2</c:v>
                </c:pt>
                <c:pt idx="395">
                  <c:v>0.3</c:v>
                </c:pt>
                <c:pt idx="396">
                  <c:v>0.307</c:v>
                </c:pt>
                <c:pt idx="397">
                  <c:v>4.0000000000000001E-3</c:v>
                </c:pt>
                <c:pt idx="398">
                  <c:v>8.4000000000000005E-2</c:v>
                </c:pt>
                <c:pt idx="399">
                  <c:v>8.7999999999999995E-2</c:v>
                </c:pt>
                <c:pt idx="400">
                  <c:v>0.13200000000000001</c:v>
                </c:pt>
                <c:pt idx="401">
                  <c:v>0.14499999999999999</c:v>
                </c:pt>
                <c:pt idx="402">
                  <c:v>5.6000000000000001E-2</c:v>
                </c:pt>
                <c:pt idx="403">
                  <c:v>8.0000000000000002E-3</c:v>
                </c:pt>
                <c:pt idx="404">
                  <c:v>8.9999999999999993E-3</c:v>
                </c:pt>
                <c:pt idx="405">
                  <c:v>1.2999999999999999E-2</c:v>
                </c:pt>
                <c:pt idx="406">
                  <c:v>0.157</c:v>
                </c:pt>
                <c:pt idx="407">
                  <c:v>0.39400000000000002</c:v>
                </c:pt>
                <c:pt idx="408">
                  <c:v>0.28499999999999998</c:v>
                </c:pt>
                <c:pt idx="409">
                  <c:v>3.0000000000000001E-3</c:v>
                </c:pt>
                <c:pt idx="410">
                  <c:v>0.22500000000000001</c:v>
                </c:pt>
                <c:pt idx="411">
                  <c:v>0.129</c:v>
                </c:pt>
                <c:pt idx="412">
                  <c:v>9.0999999999999998E-2</c:v>
                </c:pt>
                <c:pt idx="413">
                  <c:v>0.161</c:v>
                </c:pt>
                <c:pt idx="414">
                  <c:v>0.217</c:v>
                </c:pt>
                <c:pt idx="415">
                  <c:v>3.1E-2</c:v>
                </c:pt>
                <c:pt idx="416">
                  <c:v>7.3999999999999996E-2</c:v>
                </c:pt>
                <c:pt idx="417">
                  <c:v>0.14899999999999999</c:v>
                </c:pt>
                <c:pt idx="418">
                  <c:v>0.16300000000000001</c:v>
                </c:pt>
                <c:pt idx="419">
                  <c:v>7.2999999999999995E-2</c:v>
                </c:pt>
                <c:pt idx="420">
                  <c:v>0.17399999999999999</c:v>
                </c:pt>
                <c:pt idx="421">
                  <c:v>8.0000000000000002E-3</c:v>
                </c:pt>
                <c:pt idx="422">
                  <c:v>0.14000000000000001</c:v>
                </c:pt>
                <c:pt idx="423">
                  <c:v>5.0000000000000001E-3</c:v>
                </c:pt>
                <c:pt idx="424">
                  <c:v>0.436</c:v>
                </c:pt>
                <c:pt idx="425">
                  <c:v>0.21199999999999999</c:v>
                </c:pt>
                <c:pt idx="426">
                  <c:v>7.0000000000000001E-3</c:v>
                </c:pt>
                <c:pt idx="427">
                  <c:v>1.7000000000000001E-2</c:v>
                </c:pt>
                <c:pt idx="428">
                  <c:v>7.1999999999999995E-2</c:v>
                </c:pt>
                <c:pt idx="429">
                  <c:v>0.126</c:v>
                </c:pt>
                <c:pt idx="430">
                  <c:v>8.0000000000000002E-3</c:v>
                </c:pt>
                <c:pt idx="431">
                  <c:v>0.151</c:v>
                </c:pt>
                <c:pt idx="432">
                  <c:v>8.1000000000000003E-2</c:v>
                </c:pt>
                <c:pt idx="433">
                  <c:v>8.0000000000000002E-3</c:v>
                </c:pt>
                <c:pt idx="434">
                  <c:v>4.9000000000000002E-2</c:v>
                </c:pt>
                <c:pt idx="435">
                  <c:v>0.14899999999999999</c:v>
                </c:pt>
                <c:pt idx="436">
                  <c:v>0.311</c:v>
                </c:pt>
                <c:pt idx="437">
                  <c:v>0.11</c:v>
                </c:pt>
                <c:pt idx="438">
                  <c:v>8.0000000000000002E-3</c:v>
                </c:pt>
                <c:pt idx="439">
                  <c:v>0.112</c:v>
                </c:pt>
                <c:pt idx="440">
                  <c:v>0.32700000000000001</c:v>
                </c:pt>
                <c:pt idx="441">
                  <c:v>0.154</c:v>
                </c:pt>
                <c:pt idx="442">
                  <c:v>6.0999999999999999E-2</c:v>
                </c:pt>
                <c:pt idx="443">
                  <c:v>7.6999999999999999E-2</c:v>
                </c:pt>
                <c:pt idx="444">
                  <c:v>4.0000000000000001E-3</c:v>
                </c:pt>
                <c:pt idx="445">
                  <c:v>2.9000000000000001E-2</c:v>
                </c:pt>
                <c:pt idx="446">
                  <c:v>5.3999999999999999E-2</c:v>
                </c:pt>
                <c:pt idx="447">
                  <c:v>3.9E-2</c:v>
                </c:pt>
                <c:pt idx="448">
                  <c:v>7.6999999999999999E-2</c:v>
                </c:pt>
                <c:pt idx="449">
                  <c:v>3.5000000000000003E-2</c:v>
                </c:pt>
                <c:pt idx="450">
                  <c:v>0.03</c:v>
                </c:pt>
                <c:pt idx="451">
                  <c:v>5.7000000000000002E-2</c:v>
                </c:pt>
                <c:pt idx="452">
                  <c:v>3.5000000000000003E-2</c:v>
                </c:pt>
                <c:pt idx="453">
                  <c:v>0.34</c:v>
                </c:pt>
                <c:pt idx="454">
                  <c:v>6.8000000000000005E-2</c:v>
                </c:pt>
                <c:pt idx="455">
                  <c:v>8.2000000000000003E-2</c:v>
                </c:pt>
                <c:pt idx="456">
                  <c:v>0.30199999999999999</c:v>
                </c:pt>
                <c:pt idx="457">
                  <c:v>5.8999999999999997E-2</c:v>
                </c:pt>
                <c:pt idx="458">
                  <c:v>4.1000000000000002E-2</c:v>
                </c:pt>
                <c:pt idx="459">
                  <c:v>6.3E-2</c:v>
                </c:pt>
                <c:pt idx="460">
                  <c:v>2.4E-2</c:v>
                </c:pt>
                <c:pt idx="461">
                  <c:v>4.8000000000000001E-2</c:v>
                </c:pt>
                <c:pt idx="462">
                  <c:v>2.5999999999999999E-2</c:v>
                </c:pt>
                <c:pt idx="463">
                  <c:v>1.6E-2</c:v>
                </c:pt>
                <c:pt idx="464">
                  <c:v>0.06</c:v>
                </c:pt>
                <c:pt idx="465">
                  <c:v>0.16200000000000001</c:v>
                </c:pt>
                <c:pt idx="466">
                  <c:v>0.16600000000000001</c:v>
                </c:pt>
                <c:pt idx="467">
                  <c:v>0.26</c:v>
                </c:pt>
                <c:pt idx="468">
                  <c:v>2.8000000000000001E-2</c:v>
                </c:pt>
                <c:pt idx="469">
                  <c:v>0.157</c:v>
                </c:pt>
                <c:pt idx="470">
                  <c:v>5.0000000000000001E-3</c:v>
                </c:pt>
                <c:pt idx="471">
                  <c:v>1.6E-2</c:v>
                </c:pt>
                <c:pt idx="472">
                  <c:v>0.32500000000000001</c:v>
                </c:pt>
                <c:pt idx="473">
                  <c:v>8.0000000000000002E-3</c:v>
                </c:pt>
                <c:pt idx="474">
                  <c:v>2.5999999999999999E-2</c:v>
                </c:pt>
                <c:pt idx="475">
                  <c:v>4.8000000000000001E-2</c:v>
                </c:pt>
                <c:pt idx="476">
                  <c:v>7.1999999999999995E-2</c:v>
                </c:pt>
                <c:pt idx="477">
                  <c:v>1.7999999999999999E-2</c:v>
                </c:pt>
                <c:pt idx="478">
                  <c:v>0.27400000000000002</c:v>
                </c:pt>
                <c:pt idx="479">
                  <c:v>5.0000000000000001E-3</c:v>
                </c:pt>
                <c:pt idx="480">
                  <c:v>4.3999999999999997E-2</c:v>
                </c:pt>
                <c:pt idx="481">
                  <c:v>2.5000000000000001E-2</c:v>
                </c:pt>
                <c:pt idx="482">
                  <c:v>0.124</c:v>
                </c:pt>
                <c:pt idx="483">
                  <c:v>1.0999999999999999E-2</c:v>
                </c:pt>
                <c:pt idx="484">
                  <c:v>8.0000000000000002E-3</c:v>
                </c:pt>
                <c:pt idx="485">
                  <c:v>4.1000000000000002E-2</c:v>
                </c:pt>
                <c:pt idx="486">
                  <c:v>0.28599999999999998</c:v>
                </c:pt>
                <c:pt idx="487">
                  <c:v>0.13900000000000001</c:v>
                </c:pt>
                <c:pt idx="488">
                  <c:v>3.9E-2</c:v>
                </c:pt>
                <c:pt idx="489">
                  <c:v>4.2000000000000003E-2</c:v>
                </c:pt>
                <c:pt idx="490">
                  <c:v>8.0000000000000002E-3</c:v>
                </c:pt>
                <c:pt idx="491">
                  <c:v>3.2000000000000001E-2</c:v>
                </c:pt>
                <c:pt idx="492">
                  <c:v>0.11700000000000001</c:v>
                </c:pt>
                <c:pt idx="493">
                  <c:v>0.11</c:v>
                </c:pt>
                <c:pt idx="494">
                  <c:v>3.9E-2</c:v>
                </c:pt>
                <c:pt idx="495">
                  <c:v>4.4999999999999998E-2</c:v>
                </c:pt>
                <c:pt idx="496">
                  <c:v>4.8000000000000001E-2</c:v>
                </c:pt>
                <c:pt idx="497">
                  <c:v>0.153</c:v>
                </c:pt>
                <c:pt idx="498">
                  <c:v>8.0000000000000002E-3</c:v>
                </c:pt>
                <c:pt idx="499">
                  <c:v>1.0999999999999999E-2</c:v>
                </c:pt>
                <c:pt idx="500">
                  <c:v>4.3999999999999997E-2</c:v>
                </c:pt>
                <c:pt idx="501">
                  <c:v>0.35</c:v>
                </c:pt>
                <c:pt idx="502">
                  <c:v>8.0000000000000002E-3</c:v>
                </c:pt>
                <c:pt idx="503">
                  <c:v>7.6999999999999999E-2</c:v>
                </c:pt>
                <c:pt idx="504">
                  <c:v>0.03</c:v>
                </c:pt>
                <c:pt idx="505">
                  <c:v>0.31900000000000001</c:v>
                </c:pt>
                <c:pt idx="506">
                  <c:v>0.14199999999999999</c:v>
                </c:pt>
                <c:pt idx="507">
                  <c:v>4.1000000000000002E-2</c:v>
                </c:pt>
                <c:pt idx="508">
                  <c:v>0.27700000000000002</c:v>
                </c:pt>
                <c:pt idx="509">
                  <c:v>9.5000000000000001E-2</c:v>
                </c:pt>
                <c:pt idx="510">
                  <c:v>3.0000000000000001E-3</c:v>
                </c:pt>
                <c:pt idx="511">
                  <c:v>3.0000000000000001E-3</c:v>
                </c:pt>
                <c:pt idx="512">
                  <c:v>7.1999999999999995E-2</c:v>
                </c:pt>
                <c:pt idx="513">
                  <c:v>4.3999999999999997E-2</c:v>
                </c:pt>
                <c:pt idx="514">
                  <c:v>5.8000000000000003E-2</c:v>
                </c:pt>
                <c:pt idx="515">
                  <c:v>0.02</c:v>
                </c:pt>
                <c:pt idx="516">
                  <c:v>1.2999999999999999E-2</c:v>
                </c:pt>
                <c:pt idx="517">
                  <c:v>0.02</c:v>
                </c:pt>
                <c:pt idx="518">
                  <c:v>0.24</c:v>
                </c:pt>
                <c:pt idx="519">
                  <c:v>0.221</c:v>
                </c:pt>
                <c:pt idx="520">
                  <c:v>2.1999999999999999E-2</c:v>
                </c:pt>
                <c:pt idx="521">
                  <c:v>8.5999999999999993E-2</c:v>
                </c:pt>
                <c:pt idx="522">
                  <c:v>3.0000000000000001E-3</c:v>
                </c:pt>
                <c:pt idx="523">
                  <c:v>5.0000000000000001E-3</c:v>
                </c:pt>
                <c:pt idx="524">
                  <c:v>0.23499999999999999</c:v>
                </c:pt>
                <c:pt idx="525">
                  <c:v>0.26500000000000001</c:v>
                </c:pt>
                <c:pt idx="526">
                  <c:v>5.6000000000000001E-2</c:v>
                </c:pt>
                <c:pt idx="527">
                  <c:v>2E-3</c:v>
                </c:pt>
                <c:pt idx="528">
                  <c:v>7.3999999999999996E-2</c:v>
                </c:pt>
                <c:pt idx="529">
                  <c:v>6.3E-2</c:v>
                </c:pt>
                <c:pt idx="530">
                  <c:v>2.7E-2</c:v>
                </c:pt>
                <c:pt idx="531">
                  <c:v>8.0000000000000002E-3</c:v>
                </c:pt>
                <c:pt idx="532">
                  <c:v>2.8000000000000001E-2</c:v>
                </c:pt>
                <c:pt idx="533">
                  <c:v>7.1999999999999995E-2</c:v>
                </c:pt>
                <c:pt idx="534">
                  <c:v>2.3E-2</c:v>
                </c:pt>
                <c:pt idx="535">
                  <c:v>0.105</c:v>
                </c:pt>
                <c:pt idx="536">
                  <c:v>6.2E-2</c:v>
                </c:pt>
                <c:pt idx="537">
                  <c:v>8.1000000000000003E-2</c:v>
                </c:pt>
                <c:pt idx="538">
                  <c:v>8.0000000000000002E-3</c:v>
                </c:pt>
                <c:pt idx="539">
                  <c:v>8.9999999999999993E-3</c:v>
                </c:pt>
                <c:pt idx="540">
                  <c:v>8.0000000000000002E-3</c:v>
                </c:pt>
                <c:pt idx="541">
                  <c:v>0.05</c:v>
                </c:pt>
                <c:pt idx="542">
                  <c:v>5.0000000000000001E-3</c:v>
                </c:pt>
                <c:pt idx="543">
                  <c:v>1.4E-2</c:v>
                </c:pt>
                <c:pt idx="544">
                  <c:v>2.5999999999999999E-2</c:v>
                </c:pt>
                <c:pt idx="545">
                  <c:v>1.0999999999999999E-2</c:v>
                </c:pt>
                <c:pt idx="546">
                  <c:v>3.0000000000000001E-3</c:v>
                </c:pt>
                <c:pt idx="547">
                  <c:v>9.2999999999999999E-2</c:v>
                </c:pt>
                <c:pt idx="548">
                  <c:v>0.39500000000000002</c:v>
                </c:pt>
                <c:pt idx="549">
                  <c:v>0.13100000000000001</c:v>
                </c:pt>
                <c:pt idx="550">
                  <c:v>2.3E-2</c:v>
                </c:pt>
                <c:pt idx="551">
                  <c:v>2.7E-2</c:v>
                </c:pt>
                <c:pt idx="552">
                  <c:v>0.20799999999999999</c:v>
                </c:pt>
                <c:pt idx="553">
                  <c:v>8.2000000000000003E-2</c:v>
                </c:pt>
                <c:pt idx="554">
                  <c:v>1.2E-2</c:v>
                </c:pt>
                <c:pt idx="555">
                  <c:v>7.5999999999999998E-2</c:v>
                </c:pt>
                <c:pt idx="556">
                  <c:v>3.5000000000000003E-2</c:v>
                </c:pt>
                <c:pt idx="557">
                  <c:v>6.3E-2</c:v>
                </c:pt>
                <c:pt idx="558">
                  <c:v>9.5000000000000001E-2</c:v>
                </c:pt>
                <c:pt idx="559">
                  <c:v>1.2999999999999999E-2</c:v>
                </c:pt>
                <c:pt idx="560">
                  <c:v>3.5999999999999997E-2</c:v>
                </c:pt>
                <c:pt idx="561">
                  <c:v>5.0000000000000001E-3</c:v>
                </c:pt>
                <c:pt idx="562">
                  <c:v>3.0000000000000001E-3</c:v>
                </c:pt>
                <c:pt idx="563">
                  <c:v>1.2999999999999999E-2</c:v>
                </c:pt>
                <c:pt idx="564">
                  <c:v>2.3E-2</c:v>
                </c:pt>
                <c:pt idx="565">
                  <c:v>2.1999999999999999E-2</c:v>
                </c:pt>
                <c:pt idx="566">
                  <c:v>1.2999999999999999E-2</c:v>
                </c:pt>
                <c:pt idx="567">
                  <c:v>3.5999999999999997E-2</c:v>
                </c:pt>
                <c:pt idx="568">
                  <c:v>8.0000000000000002E-3</c:v>
                </c:pt>
                <c:pt idx="569">
                  <c:v>3.5999999999999997E-2</c:v>
                </c:pt>
                <c:pt idx="570">
                  <c:v>6.3E-2</c:v>
                </c:pt>
                <c:pt idx="571">
                  <c:v>0.193</c:v>
                </c:pt>
                <c:pt idx="572">
                  <c:v>2.7E-2</c:v>
                </c:pt>
                <c:pt idx="573">
                  <c:v>2.5999999999999999E-2</c:v>
                </c:pt>
                <c:pt idx="574">
                  <c:v>4.0000000000000001E-3</c:v>
                </c:pt>
                <c:pt idx="575">
                  <c:v>0.14899999999999999</c:v>
                </c:pt>
                <c:pt idx="576">
                  <c:v>5.8999999999999997E-2</c:v>
                </c:pt>
                <c:pt idx="577">
                  <c:v>2.7E-2</c:v>
                </c:pt>
                <c:pt idx="578">
                  <c:v>3.5999999999999997E-2</c:v>
                </c:pt>
                <c:pt idx="579">
                  <c:v>3.7999999999999999E-2</c:v>
                </c:pt>
                <c:pt idx="580">
                  <c:v>0.185</c:v>
                </c:pt>
                <c:pt idx="581">
                  <c:v>3.1E-2</c:v>
                </c:pt>
                <c:pt idx="582">
                  <c:v>5.0000000000000001E-3</c:v>
                </c:pt>
                <c:pt idx="583">
                  <c:v>7.6999999999999999E-2</c:v>
                </c:pt>
                <c:pt idx="584">
                  <c:v>3.1E-2</c:v>
                </c:pt>
                <c:pt idx="585">
                  <c:v>3.5999999999999997E-2</c:v>
                </c:pt>
                <c:pt idx="586">
                  <c:v>9.5000000000000001E-2</c:v>
                </c:pt>
                <c:pt idx="587">
                  <c:v>2.1999999999999999E-2</c:v>
                </c:pt>
                <c:pt idx="588">
                  <c:v>5.0000000000000001E-3</c:v>
                </c:pt>
                <c:pt idx="589">
                  <c:v>1.7000000000000001E-2</c:v>
                </c:pt>
                <c:pt idx="590">
                  <c:v>2.3E-2</c:v>
                </c:pt>
                <c:pt idx="591">
                  <c:v>0.05</c:v>
                </c:pt>
                <c:pt idx="592">
                  <c:v>3.5999999999999997E-2</c:v>
                </c:pt>
                <c:pt idx="593">
                  <c:v>8.0000000000000002E-3</c:v>
                </c:pt>
                <c:pt idx="594">
                  <c:v>3.4000000000000002E-2</c:v>
                </c:pt>
                <c:pt idx="595">
                  <c:v>4.1000000000000002E-2</c:v>
                </c:pt>
                <c:pt idx="596">
                  <c:v>4.0000000000000001E-3</c:v>
                </c:pt>
                <c:pt idx="597">
                  <c:v>6.8000000000000005E-2</c:v>
                </c:pt>
                <c:pt idx="598">
                  <c:v>1.7000000000000001E-2</c:v>
                </c:pt>
                <c:pt idx="599">
                  <c:v>5.0000000000000001E-3</c:v>
                </c:pt>
                <c:pt idx="600">
                  <c:v>4.9000000000000002E-2</c:v>
                </c:pt>
                <c:pt idx="601">
                  <c:v>4.8000000000000001E-2</c:v>
                </c:pt>
                <c:pt idx="602">
                  <c:v>5.0000000000000001E-3</c:v>
                </c:pt>
                <c:pt idx="603">
                  <c:v>1.7999999999999999E-2</c:v>
                </c:pt>
                <c:pt idx="604">
                  <c:v>4.0000000000000001E-3</c:v>
                </c:pt>
                <c:pt idx="605">
                  <c:v>3.5999999999999997E-2</c:v>
                </c:pt>
                <c:pt idx="606">
                  <c:v>0.03</c:v>
                </c:pt>
                <c:pt idx="607">
                  <c:v>5.7000000000000002E-2</c:v>
                </c:pt>
                <c:pt idx="608">
                  <c:v>5.2999999999999999E-2</c:v>
                </c:pt>
                <c:pt idx="609">
                  <c:v>1.2999999999999999E-2</c:v>
                </c:pt>
                <c:pt idx="610">
                  <c:v>4.0000000000000001E-3</c:v>
                </c:pt>
                <c:pt idx="611">
                  <c:v>0.104</c:v>
                </c:pt>
                <c:pt idx="612">
                  <c:v>2.7E-2</c:v>
                </c:pt>
                <c:pt idx="613">
                  <c:v>2.3E-2</c:v>
                </c:pt>
                <c:pt idx="614">
                  <c:v>5.0000000000000001E-3</c:v>
                </c:pt>
                <c:pt idx="615">
                  <c:v>2.7E-2</c:v>
                </c:pt>
                <c:pt idx="616">
                  <c:v>2E-3</c:v>
                </c:pt>
                <c:pt idx="617">
                  <c:v>2E-3</c:v>
                </c:pt>
                <c:pt idx="618">
                  <c:v>4.0000000000000001E-3</c:v>
                </c:pt>
                <c:pt idx="619">
                  <c:v>4.1000000000000002E-2</c:v>
                </c:pt>
                <c:pt idx="620">
                  <c:v>8.4000000000000005E-2</c:v>
                </c:pt>
                <c:pt idx="621">
                  <c:v>2.1000000000000001E-2</c:v>
                </c:pt>
                <c:pt idx="622">
                  <c:v>1.2E-2</c:v>
                </c:pt>
                <c:pt idx="623">
                  <c:v>4.0000000000000001E-3</c:v>
                </c:pt>
                <c:pt idx="624">
                  <c:v>3.2000000000000001E-2</c:v>
                </c:pt>
                <c:pt idx="625">
                  <c:v>3.5999999999999997E-2</c:v>
                </c:pt>
                <c:pt idx="626">
                  <c:v>7.8E-2</c:v>
                </c:pt>
                <c:pt idx="627">
                  <c:v>1.7000000000000001E-2</c:v>
                </c:pt>
                <c:pt idx="628">
                  <c:v>4.0000000000000001E-3</c:v>
                </c:pt>
                <c:pt idx="629">
                  <c:v>6.3E-2</c:v>
                </c:pt>
                <c:pt idx="630">
                  <c:v>5.7000000000000002E-2</c:v>
                </c:pt>
                <c:pt idx="631">
                  <c:v>1.2999999999999999E-2</c:v>
                </c:pt>
                <c:pt idx="632">
                  <c:v>2E-3</c:v>
                </c:pt>
                <c:pt idx="633">
                  <c:v>8.0000000000000002E-3</c:v>
                </c:pt>
                <c:pt idx="634">
                  <c:v>8.0000000000000002E-3</c:v>
                </c:pt>
                <c:pt idx="635">
                  <c:v>2.3E-2</c:v>
                </c:pt>
                <c:pt idx="636">
                  <c:v>2.7E-2</c:v>
                </c:pt>
                <c:pt idx="637">
                  <c:v>3.1E-2</c:v>
                </c:pt>
                <c:pt idx="638">
                  <c:v>5.0000000000000001E-3</c:v>
                </c:pt>
                <c:pt idx="639">
                  <c:v>8.0000000000000002E-3</c:v>
                </c:pt>
                <c:pt idx="640">
                  <c:v>2E-3</c:v>
                </c:pt>
                <c:pt idx="641">
                  <c:v>2E-3</c:v>
                </c:pt>
                <c:pt idx="642">
                  <c:v>2.3E-2</c:v>
                </c:pt>
                <c:pt idx="643">
                  <c:v>5.0000000000000001E-3</c:v>
                </c:pt>
                <c:pt idx="644">
                  <c:v>8.0000000000000002E-3</c:v>
                </c:pt>
                <c:pt idx="645">
                  <c:v>8.0000000000000002E-3</c:v>
                </c:pt>
                <c:pt idx="646">
                  <c:v>3.5999999999999997E-2</c:v>
                </c:pt>
                <c:pt idx="647">
                  <c:v>1.7999999999999999E-2</c:v>
                </c:pt>
                <c:pt idx="648">
                  <c:v>1.7999999999999999E-2</c:v>
                </c:pt>
                <c:pt idx="649">
                  <c:v>1.7999999999999999E-2</c:v>
                </c:pt>
                <c:pt idx="650">
                  <c:v>3.5000000000000003E-2</c:v>
                </c:pt>
                <c:pt idx="651">
                  <c:v>4.0000000000000001E-3</c:v>
                </c:pt>
                <c:pt idx="652">
                  <c:v>1.7000000000000001E-2</c:v>
                </c:pt>
                <c:pt idx="653">
                  <c:v>4.0000000000000001E-3</c:v>
                </c:pt>
                <c:pt idx="654">
                  <c:v>0.113</c:v>
                </c:pt>
                <c:pt idx="655">
                  <c:v>0.155</c:v>
                </c:pt>
                <c:pt idx="656">
                  <c:v>2.1000000000000001E-2</c:v>
                </c:pt>
                <c:pt idx="657">
                  <c:v>2.7E-2</c:v>
                </c:pt>
                <c:pt idx="658">
                  <c:v>2.4E-2</c:v>
                </c:pt>
                <c:pt idx="659">
                  <c:v>5.0000000000000001E-3</c:v>
                </c:pt>
                <c:pt idx="660">
                  <c:v>2E-3</c:v>
                </c:pt>
                <c:pt idx="661">
                  <c:v>4.0000000000000001E-3</c:v>
                </c:pt>
                <c:pt idx="662">
                  <c:v>6.6000000000000003E-2</c:v>
                </c:pt>
                <c:pt idx="663">
                  <c:v>3.2000000000000001E-2</c:v>
                </c:pt>
                <c:pt idx="664">
                  <c:v>8.9999999999999993E-3</c:v>
                </c:pt>
                <c:pt idx="665">
                  <c:v>2.5999999999999999E-2</c:v>
                </c:pt>
                <c:pt idx="666">
                  <c:v>2.7E-2</c:v>
                </c:pt>
                <c:pt idx="667">
                  <c:v>8.0000000000000002E-3</c:v>
                </c:pt>
                <c:pt idx="668">
                  <c:v>4.0000000000000001E-3</c:v>
                </c:pt>
                <c:pt idx="669">
                  <c:v>2.3E-2</c:v>
                </c:pt>
                <c:pt idx="670">
                  <c:v>2.5000000000000001E-2</c:v>
                </c:pt>
                <c:pt idx="671">
                  <c:v>1.4E-2</c:v>
                </c:pt>
                <c:pt idx="672">
                  <c:v>0.05</c:v>
                </c:pt>
                <c:pt idx="673">
                  <c:v>2.3E-2</c:v>
                </c:pt>
                <c:pt idx="674">
                  <c:v>4.4999999999999998E-2</c:v>
                </c:pt>
                <c:pt idx="675">
                  <c:v>8.0000000000000002E-3</c:v>
                </c:pt>
                <c:pt idx="676">
                  <c:v>2E-3</c:v>
                </c:pt>
                <c:pt idx="677">
                  <c:v>5.0000000000000001E-3</c:v>
                </c:pt>
                <c:pt idx="678">
                  <c:v>8.0000000000000002E-3</c:v>
                </c:pt>
                <c:pt idx="679">
                  <c:v>3.2000000000000001E-2</c:v>
                </c:pt>
                <c:pt idx="680">
                  <c:v>4.0000000000000001E-3</c:v>
                </c:pt>
                <c:pt idx="681">
                  <c:v>5.3999999999999999E-2</c:v>
                </c:pt>
                <c:pt idx="682">
                  <c:v>3.2000000000000001E-2</c:v>
                </c:pt>
                <c:pt idx="683">
                  <c:v>1.6E-2</c:v>
                </c:pt>
                <c:pt idx="684">
                  <c:v>2.3E-2</c:v>
                </c:pt>
                <c:pt idx="685">
                  <c:v>4.0000000000000001E-3</c:v>
                </c:pt>
                <c:pt idx="686">
                  <c:v>8.0000000000000002E-3</c:v>
                </c:pt>
                <c:pt idx="687">
                  <c:v>1.7000000000000001E-2</c:v>
                </c:pt>
                <c:pt idx="688">
                  <c:v>1.2E-2</c:v>
                </c:pt>
                <c:pt idx="689">
                  <c:v>8.0000000000000002E-3</c:v>
                </c:pt>
                <c:pt idx="690">
                  <c:v>5.0000000000000001E-3</c:v>
                </c:pt>
                <c:pt idx="691">
                  <c:v>8.9999999999999993E-3</c:v>
                </c:pt>
                <c:pt idx="692">
                  <c:v>5.6000000000000001E-2</c:v>
                </c:pt>
                <c:pt idx="693">
                  <c:v>0.13900000000000001</c:v>
                </c:pt>
                <c:pt idx="694">
                  <c:v>1.7999999999999999E-2</c:v>
                </c:pt>
                <c:pt idx="695">
                  <c:v>3.2000000000000001E-2</c:v>
                </c:pt>
                <c:pt idx="696">
                  <c:v>4.0000000000000001E-3</c:v>
                </c:pt>
                <c:pt idx="697">
                  <c:v>2.7E-2</c:v>
                </c:pt>
                <c:pt idx="698">
                  <c:v>3.5999999999999997E-2</c:v>
                </c:pt>
                <c:pt idx="699">
                  <c:v>3.2000000000000001E-2</c:v>
                </c:pt>
                <c:pt idx="700">
                  <c:v>0.09</c:v>
                </c:pt>
                <c:pt idx="701">
                  <c:v>1.7000000000000001E-2</c:v>
                </c:pt>
                <c:pt idx="702">
                  <c:v>4.1000000000000002E-2</c:v>
                </c:pt>
                <c:pt idx="703">
                  <c:v>3.2000000000000001E-2</c:v>
                </c:pt>
                <c:pt idx="704">
                  <c:v>1.9E-2</c:v>
                </c:pt>
                <c:pt idx="705">
                  <c:v>2E-3</c:v>
                </c:pt>
                <c:pt idx="706">
                  <c:v>3.5999999999999997E-2</c:v>
                </c:pt>
                <c:pt idx="707">
                  <c:v>4.0000000000000001E-3</c:v>
                </c:pt>
                <c:pt idx="708">
                  <c:v>2.3E-2</c:v>
                </c:pt>
                <c:pt idx="709">
                  <c:v>4.0000000000000001E-3</c:v>
                </c:pt>
                <c:pt idx="710">
                  <c:v>2.7E-2</c:v>
                </c:pt>
                <c:pt idx="711">
                  <c:v>3.2000000000000001E-2</c:v>
                </c:pt>
                <c:pt idx="712">
                  <c:v>2.5999999999999999E-2</c:v>
                </c:pt>
                <c:pt idx="713">
                  <c:v>5.0000000000000001E-3</c:v>
                </c:pt>
                <c:pt idx="714">
                  <c:v>2E-3</c:v>
                </c:pt>
                <c:pt idx="715">
                  <c:v>1.7000000000000001E-2</c:v>
                </c:pt>
                <c:pt idx="716">
                  <c:v>4.8000000000000001E-2</c:v>
                </c:pt>
                <c:pt idx="717">
                  <c:v>4.0000000000000001E-3</c:v>
                </c:pt>
                <c:pt idx="718">
                  <c:v>2.3E-2</c:v>
                </c:pt>
                <c:pt idx="719">
                  <c:v>4.0000000000000001E-3</c:v>
                </c:pt>
                <c:pt idx="720">
                  <c:v>8.9999999999999993E-3</c:v>
                </c:pt>
                <c:pt idx="721">
                  <c:v>1.7000000000000001E-2</c:v>
                </c:pt>
                <c:pt idx="722">
                  <c:v>0.05</c:v>
                </c:pt>
                <c:pt idx="723">
                  <c:v>8.0000000000000002E-3</c:v>
                </c:pt>
                <c:pt idx="724">
                  <c:v>5.0000000000000001E-3</c:v>
                </c:pt>
                <c:pt idx="725">
                  <c:v>4.0000000000000001E-3</c:v>
                </c:pt>
                <c:pt idx="726">
                  <c:v>4.0000000000000001E-3</c:v>
                </c:pt>
                <c:pt idx="727">
                  <c:v>8.0000000000000002E-3</c:v>
                </c:pt>
                <c:pt idx="728">
                  <c:v>3.1E-2</c:v>
                </c:pt>
                <c:pt idx="729">
                  <c:v>5.0000000000000001E-3</c:v>
                </c:pt>
                <c:pt idx="730">
                  <c:v>0.05</c:v>
                </c:pt>
                <c:pt idx="731">
                  <c:v>3.5999999999999997E-2</c:v>
                </c:pt>
                <c:pt idx="732">
                  <c:v>4.0000000000000001E-3</c:v>
                </c:pt>
                <c:pt idx="733">
                  <c:v>5.0000000000000001E-3</c:v>
                </c:pt>
                <c:pt idx="734">
                  <c:v>0.14899999999999999</c:v>
                </c:pt>
                <c:pt idx="735">
                  <c:v>5.0000000000000001E-3</c:v>
                </c:pt>
                <c:pt idx="736">
                  <c:v>5.0000000000000001E-3</c:v>
                </c:pt>
                <c:pt idx="737">
                  <c:v>1.7999999999999999E-2</c:v>
                </c:pt>
                <c:pt idx="738">
                  <c:v>3.2000000000000001E-2</c:v>
                </c:pt>
                <c:pt idx="739">
                  <c:v>1.2999999999999999E-2</c:v>
                </c:pt>
                <c:pt idx="740">
                  <c:v>8.0000000000000002E-3</c:v>
                </c:pt>
                <c:pt idx="741">
                  <c:v>5.0000000000000001E-3</c:v>
                </c:pt>
                <c:pt idx="742">
                  <c:v>7.9000000000000001E-2</c:v>
                </c:pt>
                <c:pt idx="743">
                  <c:v>2.8000000000000001E-2</c:v>
                </c:pt>
                <c:pt idx="744">
                  <c:v>1.6E-2</c:v>
                </c:pt>
                <c:pt idx="745">
                  <c:v>1.2999999999999999E-2</c:v>
                </c:pt>
                <c:pt idx="746">
                  <c:v>1.4E-2</c:v>
                </c:pt>
                <c:pt idx="747">
                  <c:v>5.0000000000000001E-3</c:v>
                </c:pt>
                <c:pt idx="748">
                  <c:v>1.7999999999999999E-2</c:v>
                </c:pt>
                <c:pt idx="749">
                  <c:v>3.2000000000000001E-2</c:v>
                </c:pt>
                <c:pt idx="750">
                  <c:v>8.0000000000000002E-3</c:v>
                </c:pt>
                <c:pt idx="751">
                  <c:v>1.7999999999999999E-2</c:v>
                </c:pt>
                <c:pt idx="752">
                  <c:v>8.0000000000000002E-3</c:v>
                </c:pt>
                <c:pt idx="753">
                  <c:v>8.9999999999999993E-3</c:v>
                </c:pt>
                <c:pt idx="754">
                  <c:v>8.9999999999999993E-3</c:v>
                </c:pt>
                <c:pt idx="755">
                  <c:v>2.3E-2</c:v>
                </c:pt>
                <c:pt idx="756">
                  <c:v>5.8999999999999997E-2</c:v>
                </c:pt>
                <c:pt idx="757">
                  <c:v>0.13500000000000001</c:v>
                </c:pt>
                <c:pt idx="758">
                  <c:v>2.3E-2</c:v>
                </c:pt>
                <c:pt idx="759">
                  <c:v>8.9999999999999993E-3</c:v>
                </c:pt>
                <c:pt idx="760">
                  <c:v>2.7E-2</c:v>
                </c:pt>
                <c:pt idx="761">
                  <c:v>2.7E-2</c:v>
                </c:pt>
                <c:pt idx="762">
                  <c:v>1.7999999999999999E-2</c:v>
                </c:pt>
                <c:pt idx="763">
                  <c:v>4.0000000000000001E-3</c:v>
                </c:pt>
                <c:pt idx="764">
                  <c:v>4.2999999999999997E-2</c:v>
                </c:pt>
                <c:pt idx="765">
                  <c:v>5.8999999999999997E-2</c:v>
                </c:pt>
                <c:pt idx="766">
                  <c:v>5.0000000000000001E-3</c:v>
                </c:pt>
                <c:pt idx="767">
                  <c:v>2.7E-2</c:v>
                </c:pt>
                <c:pt idx="768">
                  <c:v>4.0000000000000001E-3</c:v>
                </c:pt>
                <c:pt idx="769">
                  <c:v>8.9999999999999993E-3</c:v>
                </c:pt>
                <c:pt idx="770">
                  <c:v>4.0000000000000001E-3</c:v>
                </c:pt>
                <c:pt idx="771">
                  <c:v>1.7000000000000001E-2</c:v>
                </c:pt>
                <c:pt idx="772">
                  <c:v>8.9999999999999993E-3</c:v>
                </c:pt>
                <c:pt idx="773">
                  <c:v>5.0000000000000001E-3</c:v>
                </c:pt>
                <c:pt idx="774">
                  <c:v>1.7000000000000001E-2</c:v>
                </c:pt>
                <c:pt idx="775">
                  <c:v>8.9999999999999993E-3</c:v>
                </c:pt>
                <c:pt idx="776">
                  <c:v>3.5999999999999997E-2</c:v>
                </c:pt>
                <c:pt idx="777">
                  <c:v>4.0000000000000001E-3</c:v>
                </c:pt>
                <c:pt idx="778">
                  <c:v>1.4E-2</c:v>
                </c:pt>
                <c:pt idx="779">
                  <c:v>1.4E-2</c:v>
                </c:pt>
                <c:pt idx="780">
                  <c:v>2.7E-2</c:v>
                </c:pt>
                <c:pt idx="781">
                  <c:v>1.4E-2</c:v>
                </c:pt>
                <c:pt idx="782">
                  <c:v>4.0000000000000001E-3</c:v>
                </c:pt>
                <c:pt idx="783">
                  <c:v>5.0000000000000001E-3</c:v>
                </c:pt>
                <c:pt idx="784">
                  <c:v>4.0000000000000001E-3</c:v>
                </c:pt>
                <c:pt idx="785">
                  <c:v>1.2999999999999999E-2</c:v>
                </c:pt>
                <c:pt idx="786">
                  <c:v>4.0000000000000001E-3</c:v>
                </c:pt>
                <c:pt idx="787">
                  <c:v>5.0000000000000001E-3</c:v>
                </c:pt>
                <c:pt idx="788">
                  <c:v>2.5999999999999999E-2</c:v>
                </c:pt>
                <c:pt idx="789">
                  <c:v>8.9999999999999993E-3</c:v>
                </c:pt>
                <c:pt idx="790">
                  <c:v>8.9999999999999993E-3</c:v>
                </c:pt>
                <c:pt idx="791">
                  <c:v>1.7999999999999999E-2</c:v>
                </c:pt>
                <c:pt idx="792">
                  <c:v>8.5999999999999993E-2</c:v>
                </c:pt>
                <c:pt idx="793">
                  <c:v>4.0000000000000001E-3</c:v>
                </c:pt>
                <c:pt idx="794">
                  <c:v>0.13100000000000001</c:v>
                </c:pt>
                <c:pt idx="795">
                  <c:v>2.7E-2</c:v>
                </c:pt>
                <c:pt idx="796">
                  <c:v>2.3E-2</c:v>
                </c:pt>
                <c:pt idx="797">
                  <c:v>4.0000000000000001E-3</c:v>
                </c:pt>
                <c:pt idx="798">
                  <c:v>2.3E-2</c:v>
                </c:pt>
                <c:pt idx="799">
                  <c:v>8.9999999999999993E-3</c:v>
                </c:pt>
                <c:pt idx="800">
                  <c:v>3.5999999999999997E-2</c:v>
                </c:pt>
                <c:pt idx="801">
                  <c:v>1.7999999999999999E-2</c:v>
                </c:pt>
                <c:pt idx="802">
                  <c:v>4.0000000000000001E-3</c:v>
                </c:pt>
                <c:pt idx="803">
                  <c:v>2.1999999999999999E-2</c:v>
                </c:pt>
                <c:pt idx="804">
                  <c:v>8.0000000000000002E-3</c:v>
                </c:pt>
                <c:pt idx="805">
                  <c:v>6.9000000000000006E-2</c:v>
                </c:pt>
                <c:pt idx="806">
                  <c:v>8.9999999999999993E-3</c:v>
                </c:pt>
                <c:pt idx="807">
                  <c:v>4.0000000000000001E-3</c:v>
                </c:pt>
                <c:pt idx="808">
                  <c:v>2.3E-2</c:v>
                </c:pt>
                <c:pt idx="809">
                  <c:v>4.0000000000000001E-3</c:v>
                </c:pt>
                <c:pt idx="810">
                  <c:v>5.0000000000000001E-3</c:v>
                </c:pt>
                <c:pt idx="811">
                  <c:v>8.0000000000000002E-3</c:v>
                </c:pt>
                <c:pt idx="812">
                  <c:v>4.0000000000000001E-3</c:v>
                </c:pt>
                <c:pt idx="813">
                  <c:v>5.0000000000000001E-3</c:v>
                </c:pt>
                <c:pt idx="814">
                  <c:v>1.7999999999999999E-2</c:v>
                </c:pt>
                <c:pt idx="815">
                  <c:v>2.3E-2</c:v>
                </c:pt>
                <c:pt idx="816">
                  <c:v>0.105</c:v>
                </c:pt>
                <c:pt idx="817">
                  <c:v>4.0000000000000001E-3</c:v>
                </c:pt>
                <c:pt idx="818">
                  <c:v>1.2999999999999999E-2</c:v>
                </c:pt>
                <c:pt idx="819">
                  <c:v>0.156</c:v>
                </c:pt>
                <c:pt idx="820">
                  <c:v>3.2000000000000001E-2</c:v>
                </c:pt>
                <c:pt idx="821">
                  <c:v>1.4E-2</c:v>
                </c:pt>
                <c:pt idx="822">
                  <c:v>4.0000000000000001E-3</c:v>
                </c:pt>
                <c:pt idx="823">
                  <c:v>0.104</c:v>
                </c:pt>
                <c:pt idx="824">
                  <c:v>4.0000000000000001E-3</c:v>
                </c:pt>
                <c:pt idx="825">
                  <c:v>1.7999999999999999E-2</c:v>
                </c:pt>
                <c:pt idx="826">
                  <c:v>5.0000000000000001E-3</c:v>
                </c:pt>
                <c:pt idx="827">
                  <c:v>5.0000000000000001E-3</c:v>
                </c:pt>
                <c:pt idx="828">
                  <c:v>0.17799999999999999</c:v>
                </c:pt>
                <c:pt idx="829">
                  <c:v>1.7999999999999999E-2</c:v>
                </c:pt>
                <c:pt idx="830">
                  <c:v>4.0000000000000001E-3</c:v>
                </c:pt>
                <c:pt idx="831">
                  <c:v>1.4E-2</c:v>
                </c:pt>
                <c:pt idx="832">
                  <c:v>5.0000000000000001E-3</c:v>
                </c:pt>
                <c:pt idx="833">
                  <c:v>3.2000000000000001E-2</c:v>
                </c:pt>
                <c:pt idx="834">
                  <c:v>2.7E-2</c:v>
                </c:pt>
                <c:pt idx="835">
                  <c:v>4.0000000000000001E-3</c:v>
                </c:pt>
                <c:pt idx="836">
                  <c:v>5.0000000000000001E-3</c:v>
                </c:pt>
                <c:pt idx="837">
                  <c:v>8.9999999999999993E-3</c:v>
                </c:pt>
                <c:pt idx="838">
                  <c:v>5.0000000000000001E-3</c:v>
                </c:pt>
                <c:pt idx="839">
                  <c:v>4.0000000000000001E-3</c:v>
                </c:pt>
                <c:pt idx="840">
                  <c:v>2.7E-2</c:v>
                </c:pt>
                <c:pt idx="841">
                  <c:v>4.0000000000000001E-3</c:v>
                </c:pt>
                <c:pt idx="842">
                  <c:v>2.3E-2</c:v>
                </c:pt>
                <c:pt idx="843">
                  <c:v>3.2000000000000001E-2</c:v>
                </c:pt>
                <c:pt idx="844">
                  <c:v>5.0000000000000001E-3</c:v>
                </c:pt>
                <c:pt idx="845">
                  <c:v>8.0000000000000002E-3</c:v>
                </c:pt>
                <c:pt idx="846">
                  <c:v>2.3E-2</c:v>
                </c:pt>
                <c:pt idx="847">
                  <c:v>5.0000000000000001E-3</c:v>
                </c:pt>
                <c:pt idx="848">
                  <c:v>2.7E-2</c:v>
                </c:pt>
                <c:pt idx="849">
                  <c:v>1.4E-2</c:v>
                </c:pt>
                <c:pt idx="850">
                  <c:v>2E-3</c:v>
                </c:pt>
                <c:pt idx="851">
                  <c:v>2.3E-2</c:v>
                </c:pt>
                <c:pt idx="852">
                  <c:v>2.7E-2</c:v>
                </c:pt>
                <c:pt idx="853">
                  <c:v>8.9999999999999993E-3</c:v>
                </c:pt>
                <c:pt idx="854">
                  <c:v>1.7999999999999999E-2</c:v>
                </c:pt>
                <c:pt idx="855">
                  <c:v>8.0000000000000002E-3</c:v>
                </c:pt>
                <c:pt idx="856">
                  <c:v>4.3999999999999997E-2</c:v>
                </c:pt>
                <c:pt idx="857">
                  <c:v>1.7000000000000001E-2</c:v>
                </c:pt>
                <c:pt idx="858">
                  <c:v>1.7999999999999999E-2</c:v>
                </c:pt>
                <c:pt idx="859">
                  <c:v>5.0000000000000001E-3</c:v>
                </c:pt>
                <c:pt idx="860">
                  <c:v>1.7999999999999999E-2</c:v>
                </c:pt>
                <c:pt idx="861">
                  <c:v>1.4E-2</c:v>
                </c:pt>
                <c:pt idx="862">
                  <c:v>1.4E-2</c:v>
                </c:pt>
                <c:pt idx="863">
                  <c:v>4.0000000000000001E-3</c:v>
                </c:pt>
                <c:pt idx="864">
                  <c:v>4.0000000000000001E-3</c:v>
                </c:pt>
                <c:pt idx="865">
                  <c:v>8.0000000000000002E-3</c:v>
                </c:pt>
                <c:pt idx="866">
                  <c:v>5.0000000000000001E-3</c:v>
                </c:pt>
                <c:pt idx="867">
                  <c:v>5.0000000000000001E-3</c:v>
                </c:pt>
                <c:pt idx="868">
                  <c:v>5.0000000000000001E-3</c:v>
                </c:pt>
                <c:pt idx="869">
                  <c:v>5.0000000000000001E-3</c:v>
                </c:pt>
                <c:pt idx="870">
                  <c:v>4.0000000000000001E-3</c:v>
                </c:pt>
                <c:pt idx="871">
                  <c:v>5.0000000000000001E-3</c:v>
                </c:pt>
                <c:pt idx="872">
                  <c:v>5.0000000000000001E-3</c:v>
                </c:pt>
                <c:pt idx="873">
                  <c:v>6.3E-2</c:v>
                </c:pt>
                <c:pt idx="874">
                  <c:v>1.7999999999999999E-2</c:v>
                </c:pt>
                <c:pt idx="875">
                  <c:v>4.0000000000000001E-3</c:v>
                </c:pt>
                <c:pt idx="876">
                  <c:v>1.7999999999999999E-2</c:v>
                </c:pt>
                <c:pt idx="877">
                  <c:v>2.3E-2</c:v>
                </c:pt>
                <c:pt idx="878">
                  <c:v>8.9999999999999993E-3</c:v>
                </c:pt>
                <c:pt idx="879">
                  <c:v>4.0000000000000001E-3</c:v>
                </c:pt>
                <c:pt idx="880">
                  <c:v>8.9999999999999993E-3</c:v>
                </c:pt>
                <c:pt idx="881">
                  <c:v>0.113</c:v>
                </c:pt>
                <c:pt idx="882">
                  <c:v>5.0000000000000001E-3</c:v>
                </c:pt>
                <c:pt idx="883">
                  <c:v>5.0000000000000001E-3</c:v>
                </c:pt>
                <c:pt idx="884">
                  <c:v>1.7999999999999999E-2</c:v>
                </c:pt>
                <c:pt idx="885">
                  <c:v>8.9999999999999993E-3</c:v>
                </c:pt>
                <c:pt idx="886">
                  <c:v>5.0000000000000001E-3</c:v>
                </c:pt>
                <c:pt idx="887">
                  <c:v>8.9999999999999993E-3</c:v>
                </c:pt>
                <c:pt idx="888">
                  <c:v>1.2E-2</c:v>
                </c:pt>
                <c:pt idx="889">
                  <c:v>8.0000000000000002E-3</c:v>
                </c:pt>
                <c:pt idx="890">
                  <c:v>8.9999999999999993E-3</c:v>
                </c:pt>
                <c:pt idx="891">
                  <c:v>5.0000000000000001E-3</c:v>
                </c:pt>
                <c:pt idx="892">
                  <c:v>2.1999999999999999E-2</c:v>
                </c:pt>
                <c:pt idx="893">
                  <c:v>5.0000000000000001E-3</c:v>
                </c:pt>
                <c:pt idx="894">
                  <c:v>8.9999999999999993E-3</c:v>
                </c:pt>
                <c:pt idx="895">
                  <c:v>5.0000000000000001E-3</c:v>
                </c:pt>
                <c:pt idx="896">
                  <c:v>8.0000000000000002E-3</c:v>
                </c:pt>
                <c:pt idx="897">
                  <c:v>5.0000000000000001E-3</c:v>
                </c:pt>
                <c:pt idx="898">
                  <c:v>8.9999999999999993E-3</c:v>
                </c:pt>
                <c:pt idx="899">
                  <c:v>2.3E-2</c:v>
                </c:pt>
                <c:pt idx="900">
                  <c:v>5.0000000000000001E-3</c:v>
                </c:pt>
                <c:pt idx="901">
                  <c:v>4.1000000000000002E-2</c:v>
                </c:pt>
                <c:pt idx="902">
                  <c:v>5.0000000000000001E-3</c:v>
                </c:pt>
                <c:pt idx="903">
                  <c:v>1.4E-2</c:v>
                </c:pt>
                <c:pt idx="904">
                  <c:v>5.0000000000000001E-3</c:v>
                </c:pt>
                <c:pt idx="905">
                  <c:v>4.0000000000000001E-3</c:v>
                </c:pt>
                <c:pt idx="906">
                  <c:v>5.0000000000000001E-3</c:v>
                </c:pt>
                <c:pt idx="907">
                  <c:v>1.7999999999999999E-2</c:v>
                </c:pt>
                <c:pt idx="908">
                  <c:v>8.9999999999999993E-3</c:v>
                </c:pt>
                <c:pt idx="909">
                  <c:v>5.0000000000000001E-3</c:v>
                </c:pt>
                <c:pt idx="910">
                  <c:v>6.8000000000000005E-2</c:v>
                </c:pt>
                <c:pt idx="911">
                  <c:v>5.0000000000000001E-3</c:v>
                </c:pt>
                <c:pt idx="912">
                  <c:v>5.0000000000000001E-3</c:v>
                </c:pt>
                <c:pt idx="913">
                  <c:v>1.7999999999999999E-2</c:v>
                </c:pt>
                <c:pt idx="914">
                  <c:v>5.0000000000000001E-3</c:v>
                </c:pt>
                <c:pt idx="915">
                  <c:v>4.0000000000000001E-3</c:v>
                </c:pt>
                <c:pt idx="916">
                  <c:v>5.0000000000000001E-3</c:v>
                </c:pt>
                <c:pt idx="917">
                  <c:v>4.0000000000000001E-3</c:v>
                </c:pt>
                <c:pt idx="918">
                  <c:v>2.3E-2</c:v>
                </c:pt>
                <c:pt idx="919">
                  <c:v>5.0000000000000001E-3</c:v>
                </c:pt>
                <c:pt idx="920">
                  <c:v>4.0000000000000001E-3</c:v>
                </c:pt>
                <c:pt idx="921">
                  <c:v>1.4E-2</c:v>
                </c:pt>
                <c:pt idx="922">
                  <c:v>5.0000000000000001E-3</c:v>
                </c:pt>
                <c:pt idx="923">
                  <c:v>5.0000000000000001E-3</c:v>
                </c:pt>
                <c:pt idx="924">
                  <c:v>5.0000000000000001E-3</c:v>
                </c:pt>
                <c:pt idx="925">
                  <c:v>5.0000000000000001E-3</c:v>
                </c:pt>
                <c:pt idx="926">
                  <c:v>5.0000000000000001E-3</c:v>
                </c:pt>
                <c:pt idx="927">
                  <c:v>4.0000000000000001E-3</c:v>
                </c:pt>
                <c:pt idx="928">
                  <c:v>5.0000000000000001E-3</c:v>
                </c:pt>
                <c:pt idx="929">
                  <c:v>5.0000000000000001E-3</c:v>
                </c:pt>
                <c:pt idx="930">
                  <c:v>8.9999999999999993E-3</c:v>
                </c:pt>
                <c:pt idx="931">
                  <c:v>8.0000000000000002E-3</c:v>
                </c:pt>
                <c:pt idx="932">
                  <c:v>3.6999999999999998E-2</c:v>
                </c:pt>
                <c:pt idx="933">
                  <c:v>1.7999999999999999E-2</c:v>
                </c:pt>
                <c:pt idx="934">
                  <c:v>5.0000000000000001E-3</c:v>
                </c:pt>
                <c:pt idx="935">
                  <c:v>8.0000000000000002E-3</c:v>
                </c:pt>
                <c:pt idx="936">
                  <c:v>4.0000000000000001E-3</c:v>
                </c:pt>
                <c:pt idx="937">
                  <c:v>5.0000000000000001E-3</c:v>
                </c:pt>
                <c:pt idx="938">
                  <c:v>4.0000000000000001E-3</c:v>
                </c:pt>
                <c:pt idx="939">
                  <c:v>8.9999999999999993E-3</c:v>
                </c:pt>
                <c:pt idx="940">
                  <c:v>5.0000000000000001E-3</c:v>
                </c:pt>
                <c:pt idx="941">
                  <c:v>5.0000000000000001E-3</c:v>
                </c:pt>
                <c:pt idx="942">
                  <c:v>1.4E-2</c:v>
                </c:pt>
                <c:pt idx="943">
                  <c:v>8.9999999999999993E-3</c:v>
                </c:pt>
                <c:pt idx="944">
                  <c:v>2.7E-2</c:v>
                </c:pt>
                <c:pt idx="945">
                  <c:v>5.0000000000000001E-3</c:v>
                </c:pt>
                <c:pt idx="946">
                  <c:v>8.9999999999999993E-3</c:v>
                </c:pt>
                <c:pt idx="947">
                  <c:v>5.0000000000000001E-3</c:v>
                </c:pt>
                <c:pt idx="948">
                  <c:v>5.0000000000000001E-3</c:v>
                </c:pt>
                <c:pt idx="949">
                  <c:v>1.4E-2</c:v>
                </c:pt>
                <c:pt idx="950">
                  <c:v>2.3E-2</c:v>
                </c:pt>
                <c:pt idx="951">
                  <c:v>1.7999999999999999E-2</c:v>
                </c:pt>
                <c:pt idx="952">
                  <c:v>1.4E-2</c:v>
                </c:pt>
                <c:pt idx="953">
                  <c:v>5.0000000000000001E-3</c:v>
                </c:pt>
                <c:pt idx="954">
                  <c:v>5.0000000000000001E-3</c:v>
                </c:pt>
                <c:pt idx="955">
                  <c:v>5.0000000000000001E-3</c:v>
                </c:pt>
                <c:pt idx="956">
                  <c:v>5.0000000000000001E-3</c:v>
                </c:pt>
                <c:pt idx="957">
                  <c:v>5.0000000000000001E-3</c:v>
                </c:pt>
                <c:pt idx="958">
                  <c:v>4.0000000000000001E-3</c:v>
                </c:pt>
                <c:pt idx="959">
                  <c:v>1.2999999999999999E-2</c:v>
                </c:pt>
                <c:pt idx="960">
                  <c:v>5.0000000000000001E-3</c:v>
                </c:pt>
                <c:pt idx="961">
                  <c:v>5.0000000000000001E-3</c:v>
                </c:pt>
                <c:pt idx="962">
                  <c:v>1.4E-2</c:v>
                </c:pt>
                <c:pt idx="963">
                  <c:v>5.0000000000000001E-3</c:v>
                </c:pt>
                <c:pt idx="964">
                  <c:v>4.0000000000000001E-3</c:v>
                </c:pt>
                <c:pt idx="965">
                  <c:v>5.0000000000000001E-3</c:v>
                </c:pt>
                <c:pt idx="966">
                  <c:v>5.0000000000000001E-3</c:v>
                </c:pt>
                <c:pt idx="967">
                  <c:v>5.0000000000000001E-3</c:v>
                </c:pt>
                <c:pt idx="968">
                  <c:v>8.9999999999999993E-3</c:v>
                </c:pt>
                <c:pt idx="969">
                  <c:v>6.3E-2</c:v>
                </c:pt>
                <c:pt idx="970">
                  <c:v>8.0000000000000002E-3</c:v>
                </c:pt>
                <c:pt idx="971">
                  <c:v>5.0000000000000001E-3</c:v>
                </c:pt>
                <c:pt idx="972">
                  <c:v>5.0000000000000001E-3</c:v>
                </c:pt>
                <c:pt idx="973">
                  <c:v>1.4E-2</c:v>
                </c:pt>
                <c:pt idx="974">
                  <c:v>2.4E-2</c:v>
                </c:pt>
                <c:pt idx="975">
                  <c:v>8.9999999999999993E-3</c:v>
                </c:pt>
                <c:pt idx="976">
                  <c:v>4.9000000000000002E-2</c:v>
                </c:pt>
                <c:pt idx="977">
                  <c:v>1.4E-2</c:v>
                </c:pt>
                <c:pt idx="978">
                  <c:v>8.9999999999999993E-3</c:v>
                </c:pt>
                <c:pt idx="979">
                  <c:v>8.9999999999999993E-3</c:v>
                </c:pt>
                <c:pt idx="980">
                  <c:v>5.0000000000000001E-3</c:v>
                </c:pt>
                <c:pt idx="981">
                  <c:v>5.0000000000000001E-3</c:v>
                </c:pt>
                <c:pt idx="982">
                  <c:v>5.0000000000000001E-3</c:v>
                </c:pt>
                <c:pt idx="983">
                  <c:v>5.0000000000000001E-3</c:v>
                </c:pt>
                <c:pt idx="984">
                  <c:v>4.0000000000000001E-3</c:v>
                </c:pt>
                <c:pt idx="985">
                  <c:v>4.8000000000000001E-2</c:v>
                </c:pt>
                <c:pt idx="986">
                  <c:v>5.0000000000000001E-3</c:v>
                </c:pt>
                <c:pt idx="987">
                  <c:v>5.0000000000000001E-3</c:v>
                </c:pt>
                <c:pt idx="988">
                  <c:v>5.0000000000000001E-3</c:v>
                </c:pt>
                <c:pt idx="989">
                  <c:v>5.0000000000000001E-3</c:v>
                </c:pt>
                <c:pt idx="990">
                  <c:v>1.4E-2</c:v>
                </c:pt>
                <c:pt idx="991">
                  <c:v>5.0000000000000001E-3</c:v>
                </c:pt>
                <c:pt idx="992">
                  <c:v>5.0000000000000001E-3</c:v>
                </c:pt>
                <c:pt idx="993">
                  <c:v>4.4999999999999998E-2</c:v>
                </c:pt>
                <c:pt idx="994">
                  <c:v>3.2000000000000001E-2</c:v>
                </c:pt>
                <c:pt idx="995">
                  <c:v>0.05</c:v>
                </c:pt>
                <c:pt idx="996">
                  <c:v>1.0999999999999999E-2</c:v>
                </c:pt>
                <c:pt idx="997">
                  <c:v>5.0000000000000001E-3</c:v>
                </c:pt>
                <c:pt idx="998">
                  <c:v>5.0000000000000001E-3</c:v>
                </c:pt>
                <c:pt idx="999">
                  <c:v>5.0000000000000001E-3</c:v>
                </c:pt>
                <c:pt idx="1000">
                  <c:v>5.0000000000000001E-3</c:v>
                </c:pt>
                <c:pt idx="1001">
                  <c:v>1.2999999999999999E-2</c:v>
                </c:pt>
                <c:pt idx="1002">
                  <c:v>5.0000000000000001E-3</c:v>
                </c:pt>
                <c:pt idx="1003">
                  <c:v>8.9999999999999993E-3</c:v>
                </c:pt>
                <c:pt idx="1004">
                  <c:v>5.0000000000000001E-3</c:v>
                </c:pt>
                <c:pt idx="1005">
                  <c:v>5.0000000000000001E-3</c:v>
                </c:pt>
                <c:pt idx="1006">
                  <c:v>3.5999999999999997E-2</c:v>
                </c:pt>
                <c:pt idx="1007">
                  <c:v>5.0000000000000001E-3</c:v>
                </c:pt>
                <c:pt idx="1008">
                  <c:v>8.9999999999999993E-3</c:v>
                </c:pt>
                <c:pt idx="1009">
                  <c:v>5.0000000000000001E-3</c:v>
                </c:pt>
                <c:pt idx="1010">
                  <c:v>5.0000000000000001E-3</c:v>
                </c:pt>
                <c:pt idx="1011">
                  <c:v>5.0000000000000001E-3</c:v>
                </c:pt>
                <c:pt idx="1012">
                  <c:v>5.3999999999999999E-2</c:v>
                </c:pt>
                <c:pt idx="1013">
                  <c:v>8.9999999999999993E-3</c:v>
                </c:pt>
                <c:pt idx="1014">
                  <c:v>8.9999999999999993E-3</c:v>
                </c:pt>
                <c:pt idx="1015">
                  <c:v>5.0000000000000001E-3</c:v>
                </c:pt>
                <c:pt idx="1016">
                  <c:v>5.0000000000000001E-3</c:v>
                </c:pt>
                <c:pt idx="1017">
                  <c:v>5.0000000000000001E-3</c:v>
                </c:pt>
                <c:pt idx="1018">
                  <c:v>5.0000000000000001E-3</c:v>
                </c:pt>
                <c:pt idx="1019">
                  <c:v>5.0000000000000001E-3</c:v>
                </c:pt>
                <c:pt idx="1020">
                  <c:v>8.9999999999999993E-3</c:v>
                </c:pt>
                <c:pt idx="1021">
                  <c:v>5.0000000000000001E-3</c:v>
                </c:pt>
                <c:pt idx="1022">
                  <c:v>5.0000000000000001E-3</c:v>
                </c:pt>
                <c:pt idx="1023">
                  <c:v>5.0000000000000001E-3</c:v>
                </c:pt>
                <c:pt idx="1024">
                  <c:v>5.0000000000000001E-3</c:v>
                </c:pt>
                <c:pt idx="1025">
                  <c:v>5.0000000000000001E-3</c:v>
                </c:pt>
                <c:pt idx="1026">
                  <c:v>5.0000000000000001E-3</c:v>
                </c:pt>
                <c:pt idx="1027">
                  <c:v>5.0000000000000001E-3</c:v>
                </c:pt>
                <c:pt idx="1028">
                  <c:v>5.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63DE-4091-B8DA-DB57396774D4}"/>
              </c:ext>
            </c:extLst>
          </c:dPt>
          <c:dPt>
            <c:idx val="211"/>
            <c:invertIfNegative val="1"/>
            <c:bubble3D val="0"/>
            <c:spPr>
              <a:solidFill>
                <a:srgbClr val="7ECAC4"/>
              </a:solidFill>
            </c:spPr>
            <c:extLst>
              <c:ext xmlns:c16="http://schemas.microsoft.com/office/drawing/2014/chart" uri="{C3380CC4-5D6E-409C-BE32-E72D297353CC}">
                <c16:uniqueId val="{000001A9-63DE-4091-B8DA-DB57396774D4}"/>
              </c:ext>
            </c:extLst>
          </c:dPt>
          <c:dPt>
            <c:idx val="212"/>
            <c:invertIfNegative val="1"/>
            <c:bubble3D val="0"/>
            <c:spPr>
              <a:solidFill>
                <a:srgbClr val="7ECAC4"/>
              </a:solidFill>
            </c:spPr>
            <c:extLst>
              <c:ext xmlns:c16="http://schemas.microsoft.com/office/drawing/2014/chart" uri="{C3380CC4-5D6E-409C-BE32-E72D297353CC}">
                <c16:uniqueId val="{000001AB-63DE-4091-B8DA-DB57396774D4}"/>
              </c:ext>
            </c:extLst>
          </c:dPt>
          <c:dPt>
            <c:idx val="213"/>
            <c:invertIfNegative val="1"/>
            <c:bubble3D val="0"/>
            <c:spPr>
              <a:solidFill>
                <a:srgbClr val="7ECAC4"/>
              </a:solidFill>
            </c:spPr>
            <c:extLst>
              <c:ext xmlns:c16="http://schemas.microsoft.com/office/drawing/2014/chart" uri="{C3380CC4-5D6E-409C-BE32-E72D297353CC}">
                <c16:uniqueId val="{000001AD-63DE-4091-B8DA-DB57396774D4}"/>
              </c:ext>
            </c:extLst>
          </c:dPt>
          <c:dPt>
            <c:idx val="214"/>
            <c:invertIfNegative val="1"/>
            <c:bubble3D val="0"/>
            <c:spPr>
              <a:solidFill>
                <a:srgbClr val="7ECAC4"/>
              </a:solidFill>
            </c:spPr>
            <c:extLst>
              <c:ext xmlns:c16="http://schemas.microsoft.com/office/drawing/2014/chart" uri="{C3380CC4-5D6E-409C-BE32-E72D297353CC}">
                <c16:uniqueId val="{000001AF-63DE-4091-B8DA-DB57396774D4}"/>
              </c:ext>
            </c:extLst>
          </c:dPt>
          <c:dPt>
            <c:idx val="215"/>
            <c:invertIfNegative val="1"/>
            <c:bubble3D val="0"/>
            <c:spPr>
              <a:solidFill>
                <a:srgbClr val="7ECAC4"/>
              </a:solidFill>
            </c:spPr>
            <c:extLst>
              <c:ext xmlns:c16="http://schemas.microsoft.com/office/drawing/2014/chart" uri="{C3380CC4-5D6E-409C-BE32-E72D297353CC}">
                <c16:uniqueId val="{000001B1-63DE-4091-B8DA-DB57396774D4}"/>
              </c:ext>
            </c:extLst>
          </c:dPt>
          <c:dPt>
            <c:idx val="216"/>
            <c:invertIfNegative val="1"/>
            <c:bubble3D val="0"/>
            <c:spPr>
              <a:solidFill>
                <a:srgbClr val="7ECAC4"/>
              </a:solidFill>
            </c:spPr>
            <c:extLst>
              <c:ext xmlns:c16="http://schemas.microsoft.com/office/drawing/2014/chart" uri="{C3380CC4-5D6E-409C-BE32-E72D297353CC}">
                <c16:uniqueId val="{000001B3-63DE-4091-B8DA-DB57396774D4}"/>
              </c:ext>
            </c:extLst>
          </c:dPt>
          <c:dPt>
            <c:idx val="217"/>
            <c:invertIfNegative val="1"/>
            <c:bubble3D val="0"/>
            <c:spPr>
              <a:solidFill>
                <a:srgbClr val="7ECAC4"/>
              </a:solidFill>
            </c:spPr>
            <c:extLst>
              <c:ext xmlns:c16="http://schemas.microsoft.com/office/drawing/2014/chart" uri="{C3380CC4-5D6E-409C-BE32-E72D297353CC}">
                <c16:uniqueId val="{000001B5-63DE-4091-B8DA-DB57396774D4}"/>
              </c:ext>
            </c:extLst>
          </c:dPt>
          <c:dPt>
            <c:idx val="218"/>
            <c:invertIfNegative val="1"/>
            <c:bubble3D val="0"/>
            <c:spPr>
              <a:solidFill>
                <a:srgbClr val="7ECAC4"/>
              </a:solidFill>
            </c:spPr>
            <c:extLst>
              <c:ext xmlns:c16="http://schemas.microsoft.com/office/drawing/2014/chart" uri="{C3380CC4-5D6E-409C-BE32-E72D297353CC}">
                <c16:uniqueId val="{000001B7-63DE-4091-B8DA-DB57396774D4}"/>
              </c:ext>
            </c:extLst>
          </c:dPt>
          <c:dPt>
            <c:idx val="219"/>
            <c:invertIfNegative val="1"/>
            <c:bubble3D val="0"/>
            <c:spPr>
              <a:solidFill>
                <a:srgbClr val="7ECAC4"/>
              </a:solidFill>
            </c:spPr>
            <c:extLst>
              <c:ext xmlns:c16="http://schemas.microsoft.com/office/drawing/2014/chart" uri="{C3380CC4-5D6E-409C-BE32-E72D297353CC}">
                <c16:uniqueId val="{000001B9-63DE-4091-B8DA-DB57396774D4}"/>
              </c:ext>
            </c:extLst>
          </c:dPt>
          <c:dPt>
            <c:idx val="220"/>
            <c:invertIfNegative val="1"/>
            <c:bubble3D val="0"/>
            <c:spPr>
              <a:solidFill>
                <a:srgbClr val="7ECAC4"/>
              </a:solidFill>
            </c:spPr>
            <c:extLst>
              <c:ext xmlns:c16="http://schemas.microsoft.com/office/drawing/2014/chart" uri="{C3380CC4-5D6E-409C-BE32-E72D297353CC}">
                <c16:uniqueId val="{000001BB-63DE-4091-B8DA-DB57396774D4}"/>
              </c:ext>
            </c:extLst>
          </c:dPt>
          <c:dPt>
            <c:idx val="221"/>
            <c:invertIfNegative val="1"/>
            <c:bubble3D val="0"/>
            <c:spPr>
              <a:solidFill>
                <a:srgbClr val="7ECAC4"/>
              </a:solidFill>
            </c:spPr>
            <c:extLst>
              <c:ext xmlns:c16="http://schemas.microsoft.com/office/drawing/2014/chart" uri="{C3380CC4-5D6E-409C-BE32-E72D297353CC}">
                <c16:uniqueId val="{000001BD-63DE-4091-B8DA-DB57396774D4}"/>
              </c:ext>
            </c:extLst>
          </c:dPt>
          <c:dPt>
            <c:idx val="222"/>
            <c:invertIfNegative val="1"/>
            <c:bubble3D val="0"/>
            <c:spPr>
              <a:solidFill>
                <a:srgbClr val="7ECAC4"/>
              </a:solidFill>
            </c:spPr>
            <c:extLst>
              <c:ext xmlns:c16="http://schemas.microsoft.com/office/drawing/2014/chart" uri="{C3380CC4-5D6E-409C-BE32-E72D297353CC}">
                <c16:uniqueId val="{000001BF-63DE-4091-B8DA-DB57396774D4}"/>
              </c:ext>
            </c:extLst>
          </c:dPt>
          <c:dPt>
            <c:idx val="223"/>
            <c:invertIfNegative val="1"/>
            <c:bubble3D val="0"/>
            <c:spPr>
              <a:solidFill>
                <a:srgbClr val="7ECAC4"/>
              </a:solidFill>
            </c:spPr>
            <c:extLst>
              <c:ext xmlns:c16="http://schemas.microsoft.com/office/drawing/2014/chart" uri="{C3380CC4-5D6E-409C-BE32-E72D297353CC}">
                <c16:uniqueId val="{000001C1-63DE-4091-B8DA-DB57396774D4}"/>
              </c:ext>
            </c:extLst>
          </c:dPt>
          <c:dPt>
            <c:idx val="224"/>
            <c:invertIfNegative val="1"/>
            <c:bubble3D val="0"/>
            <c:spPr>
              <a:solidFill>
                <a:srgbClr val="7ECAC4"/>
              </a:solidFill>
            </c:spPr>
            <c:extLst>
              <c:ext xmlns:c16="http://schemas.microsoft.com/office/drawing/2014/chart" uri="{C3380CC4-5D6E-409C-BE32-E72D297353CC}">
                <c16:uniqueId val="{000001C3-63DE-4091-B8DA-DB57396774D4}"/>
              </c:ext>
            </c:extLst>
          </c:dPt>
          <c:dPt>
            <c:idx val="225"/>
            <c:invertIfNegative val="1"/>
            <c:bubble3D val="0"/>
            <c:spPr>
              <a:solidFill>
                <a:srgbClr val="7ECAC4"/>
              </a:solidFill>
            </c:spPr>
            <c:extLst>
              <c:ext xmlns:c16="http://schemas.microsoft.com/office/drawing/2014/chart" uri="{C3380CC4-5D6E-409C-BE32-E72D297353CC}">
                <c16:uniqueId val="{000001C5-63DE-4091-B8DA-DB57396774D4}"/>
              </c:ext>
            </c:extLst>
          </c:dPt>
          <c:dPt>
            <c:idx val="226"/>
            <c:invertIfNegative val="1"/>
            <c:bubble3D val="0"/>
            <c:spPr>
              <a:solidFill>
                <a:srgbClr val="7ECAC4"/>
              </a:solidFill>
            </c:spPr>
            <c:extLst>
              <c:ext xmlns:c16="http://schemas.microsoft.com/office/drawing/2014/chart" uri="{C3380CC4-5D6E-409C-BE32-E72D297353CC}">
                <c16:uniqueId val="{000001C7-63DE-4091-B8DA-DB57396774D4}"/>
              </c:ext>
            </c:extLst>
          </c:dPt>
          <c:dPt>
            <c:idx val="227"/>
            <c:invertIfNegative val="1"/>
            <c:bubble3D val="0"/>
            <c:spPr>
              <a:solidFill>
                <a:srgbClr val="7ECAC4"/>
              </a:solidFill>
            </c:spPr>
            <c:extLst>
              <c:ext xmlns:c16="http://schemas.microsoft.com/office/drawing/2014/chart" uri="{C3380CC4-5D6E-409C-BE32-E72D297353CC}">
                <c16:uniqueId val="{000001C9-63DE-4091-B8DA-DB57396774D4}"/>
              </c:ext>
            </c:extLst>
          </c:dPt>
          <c:dPt>
            <c:idx val="228"/>
            <c:invertIfNegative val="1"/>
            <c:bubble3D val="0"/>
            <c:spPr>
              <a:solidFill>
                <a:srgbClr val="7ECAC4"/>
              </a:solidFill>
            </c:spPr>
            <c:extLst>
              <c:ext xmlns:c16="http://schemas.microsoft.com/office/drawing/2014/chart" uri="{C3380CC4-5D6E-409C-BE32-E72D297353CC}">
                <c16:uniqueId val="{000001CB-63DE-4091-B8DA-DB57396774D4}"/>
              </c:ext>
            </c:extLst>
          </c:dPt>
          <c:dPt>
            <c:idx val="229"/>
            <c:invertIfNegative val="1"/>
            <c:bubble3D val="0"/>
            <c:spPr>
              <a:solidFill>
                <a:srgbClr val="7ECAC4"/>
              </a:solidFill>
            </c:spPr>
            <c:extLst>
              <c:ext xmlns:c16="http://schemas.microsoft.com/office/drawing/2014/chart" uri="{C3380CC4-5D6E-409C-BE32-E72D297353CC}">
                <c16:uniqueId val="{000001CD-63DE-4091-B8DA-DB57396774D4}"/>
              </c:ext>
            </c:extLst>
          </c:dPt>
          <c:dPt>
            <c:idx val="230"/>
            <c:invertIfNegative val="1"/>
            <c:bubble3D val="0"/>
            <c:spPr>
              <a:solidFill>
                <a:srgbClr val="7ECAC4"/>
              </a:solidFill>
            </c:spPr>
            <c:extLst>
              <c:ext xmlns:c16="http://schemas.microsoft.com/office/drawing/2014/chart" uri="{C3380CC4-5D6E-409C-BE32-E72D297353CC}">
                <c16:uniqueId val="{000001CF-63DE-4091-B8DA-DB57396774D4}"/>
              </c:ext>
            </c:extLst>
          </c:dPt>
          <c:dPt>
            <c:idx val="231"/>
            <c:invertIfNegative val="1"/>
            <c:bubble3D val="0"/>
            <c:spPr>
              <a:solidFill>
                <a:srgbClr val="7ECAC4"/>
              </a:solidFill>
            </c:spPr>
            <c:extLst>
              <c:ext xmlns:c16="http://schemas.microsoft.com/office/drawing/2014/chart" uri="{C3380CC4-5D6E-409C-BE32-E72D297353CC}">
                <c16:uniqueId val="{000001D1-63DE-4091-B8DA-DB57396774D4}"/>
              </c:ext>
            </c:extLst>
          </c:dPt>
          <c:dPt>
            <c:idx val="232"/>
            <c:invertIfNegative val="1"/>
            <c:bubble3D val="0"/>
            <c:spPr>
              <a:solidFill>
                <a:srgbClr val="7ECAC4"/>
              </a:solidFill>
            </c:spPr>
            <c:extLst>
              <c:ext xmlns:c16="http://schemas.microsoft.com/office/drawing/2014/chart" uri="{C3380CC4-5D6E-409C-BE32-E72D297353CC}">
                <c16:uniqueId val="{000001D3-63DE-4091-B8DA-DB57396774D4}"/>
              </c:ext>
            </c:extLst>
          </c:dPt>
          <c:dPt>
            <c:idx val="233"/>
            <c:invertIfNegative val="1"/>
            <c:bubble3D val="0"/>
            <c:spPr>
              <a:solidFill>
                <a:srgbClr val="7ECAC4"/>
              </a:solidFill>
            </c:spPr>
            <c:extLst>
              <c:ext xmlns:c16="http://schemas.microsoft.com/office/drawing/2014/chart" uri="{C3380CC4-5D6E-409C-BE32-E72D297353CC}">
                <c16:uniqueId val="{000001D5-63DE-4091-B8DA-DB57396774D4}"/>
              </c:ext>
            </c:extLst>
          </c:dPt>
          <c:dPt>
            <c:idx val="234"/>
            <c:invertIfNegative val="1"/>
            <c:bubble3D val="0"/>
            <c:spPr>
              <a:solidFill>
                <a:srgbClr val="7ECAC4"/>
              </a:solidFill>
            </c:spPr>
            <c:extLst>
              <c:ext xmlns:c16="http://schemas.microsoft.com/office/drawing/2014/chart" uri="{C3380CC4-5D6E-409C-BE32-E72D297353CC}">
                <c16:uniqueId val="{000001D7-63DE-4091-B8DA-DB57396774D4}"/>
              </c:ext>
            </c:extLst>
          </c:dPt>
          <c:dPt>
            <c:idx val="235"/>
            <c:invertIfNegative val="1"/>
            <c:bubble3D val="0"/>
            <c:spPr>
              <a:solidFill>
                <a:srgbClr val="7ECAC4"/>
              </a:solidFill>
            </c:spPr>
            <c:extLst>
              <c:ext xmlns:c16="http://schemas.microsoft.com/office/drawing/2014/chart" uri="{C3380CC4-5D6E-409C-BE32-E72D297353CC}">
                <c16:uniqueId val="{000001D9-63DE-4091-B8DA-DB57396774D4}"/>
              </c:ext>
            </c:extLst>
          </c:dPt>
          <c:dPt>
            <c:idx val="236"/>
            <c:invertIfNegative val="1"/>
            <c:bubble3D val="0"/>
            <c:spPr>
              <a:solidFill>
                <a:srgbClr val="7ECAC4"/>
              </a:solidFill>
            </c:spPr>
            <c:extLst>
              <c:ext xmlns:c16="http://schemas.microsoft.com/office/drawing/2014/chart" uri="{C3380CC4-5D6E-409C-BE32-E72D297353CC}">
                <c16:uniqueId val="{000001DB-63DE-4091-B8DA-DB57396774D4}"/>
              </c:ext>
            </c:extLst>
          </c:dPt>
          <c:dPt>
            <c:idx val="237"/>
            <c:invertIfNegative val="1"/>
            <c:bubble3D val="0"/>
            <c:spPr>
              <a:solidFill>
                <a:srgbClr val="7ECAC4"/>
              </a:solidFill>
            </c:spPr>
            <c:extLst>
              <c:ext xmlns:c16="http://schemas.microsoft.com/office/drawing/2014/chart" uri="{C3380CC4-5D6E-409C-BE32-E72D297353CC}">
                <c16:uniqueId val="{000001DD-63DE-4091-B8DA-DB57396774D4}"/>
              </c:ext>
            </c:extLst>
          </c:dPt>
          <c:dPt>
            <c:idx val="238"/>
            <c:invertIfNegative val="1"/>
            <c:bubble3D val="0"/>
            <c:spPr>
              <a:solidFill>
                <a:srgbClr val="7ECAC4"/>
              </a:solidFill>
            </c:spPr>
            <c:extLst>
              <c:ext xmlns:c16="http://schemas.microsoft.com/office/drawing/2014/chart" uri="{C3380CC4-5D6E-409C-BE32-E72D297353CC}">
                <c16:uniqueId val="{000001DF-63DE-4091-B8DA-DB57396774D4}"/>
              </c:ext>
            </c:extLst>
          </c:dPt>
          <c:dPt>
            <c:idx val="239"/>
            <c:invertIfNegative val="1"/>
            <c:bubble3D val="0"/>
            <c:spPr>
              <a:solidFill>
                <a:srgbClr val="7ECAC4"/>
              </a:solidFill>
            </c:spPr>
            <c:extLst>
              <c:ext xmlns:c16="http://schemas.microsoft.com/office/drawing/2014/chart" uri="{C3380CC4-5D6E-409C-BE32-E72D297353CC}">
                <c16:uniqueId val="{000001E1-63DE-4091-B8DA-DB57396774D4}"/>
              </c:ext>
            </c:extLst>
          </c:dPt>
          <c:dPt>
            <c:idx val="240"/>
            <c:invertIfNegative val="1"/>
            <c:bubble3D val="0"/>
            <c:spPr>
              <a:solidFill>
                <a:srgbClr val="7ECAC4"/>
              </a:solidFill>
            </c:spPr>
            <c:extLst>
              <c:ext xmlns:c16="http://schemas.microsoft.com/office/drawing/2014/chart" uri="{C3380CC4-5D6E-409C-BE32-E72D297353CC}">
                <c16:uniqueId val="{000001E3-63DE-4091-B8DA-DB57396774D4}"/>
              </c:ext>
            </c:extLst>
          </c:dPt>
          <c:dPt>
            <c:idx val="241"/>
            <c:invertIfNegative val="1"/>
            <c:bubble3D val="0"/>
            <c:spPr>
              <a:solidFill>
                <a:srgbClr val="7ECAC4"/>
              </a:solidFill>
            </c:spPr>
            <c:extLst>
              <c:ext xmlns:c16="http://schemas.microsoft.com/office/drawing/2014/chart" uri="{C3380CC4-5D6E-409C-BE32-E72D297353CC}">
                <c16:uniqueId val="{000001E5-63DE-4091-B8DA-DB57396774D4}"/>
              </c:ext>
            </c:extLst>
          </c:dPt>
          <c:dPt>
            <c:idx val="242"/>
            <c:invertIfNegative val="1"/>
            <c:bubble3D val="0"/>
            <c:spPr>
              <a:solidFill>
                <a:srgbClr val="7ECAC4"/>
              </a:solidFill>
            </c:spPr>
            <c:extLst>
              <c:ext xmlns:c16="http://schemas.microsoft.com/office/drawing/2014/chart" uri="{C3380CC4-5D6E-409C-BE32-E72D297353CC}">
                <c16:uniqueId val="{000001E7-63DE-4091-B8DA-DB57396774D4}"/>
              </c:ext>
            </c:extLst>
          </c:dPt>
          <c:dPt>
            <c:idx val="243"/>
            <c:invertIfNegative val="1"/>
            <c:bubble3D val="0"/>
            <c:spPr>
              <a:solidFill>
                <a:srgbClr val="7ECAC4"/>
              </a:solidFill>
            </c:spPr>
            <c:extLst>
              <c:ext xmlns:c16="http://schemas.microsoft.com/office/drawing/2014/chart" uri="{C3380CC4-5D6E-409C-BE32-E72D297353CC}">
                <c16:uniqueId val="{000001E9-63DE-4091-B8DA-DB57396774D4}"/>
              </c:ext>
            </c:extLst>
          </c:dPt>
          <c:dPt>
            <c:idx val="244"/>
            <c:invertIfNegative val="1"/>
            <c:bubble3D val="0"/>
            <c:spPr>
              <a:solidFill>
                <a:srgbClr val="7ECAC4"/>
              </a:solidFill>
            </c:spPr>
            <c:extLst>
              <c:ext xmlns:c16="http://schemas.microsoft.com/office/drawing/2014/chart" uri="{C3380CC4-5D6E-409C-BE32-E72D297353CC}">
                <c16:uniqueId val="{000001EB-63DE-4091-B8DA-DB57396774D4}"/>
              </c:ext>
            </c:extLst>
          </c:dPt>
          <c:dPt>
            <c:idx val="245"/>
            <c:invertIfNegative val="1"/>
            <c:bubble3D val="0"/>
            <c:spPr>
              <a:solidFill>
                <a:srgbClr val="7ECAC4"/>
              </a:solidFill>
            </c:spPr>
            <c:extLst>
              <c:ext xmlns:c16="http://schemas.microsoft.com/office/drawing/2014/chart" uri="{C3380CC4-5D6E-409C-BE32-E72D297353CC}">
                <c16:uniqueId val="{000001ED-63DE-4091-B8DA-DB57396774D4}"/>
              </c:ext>
            </c:extLst>
          </c:dPt>
          <c:dPt>
            <c:idx val="246"/>
            <c:invertIfNegative val="1"/>
            <c:bubble3D val="0"/>
            <c:spPr>
              <a:solidFill>
                <a:srgbClr val="7ECAC4"/>
              </a:solidFill>
            </c:spPr>
            <c:extLst>
              <c:ext xmlns:c16="http://schemas.microsoft.com/office/drawing/2014/chart" uri="{C3380CC4-5D6E-409C-BE32-E72D297353CC}">
                <c16:uniqueId val="{000001EF-63DE-4091-B8DA-DB57396774D4}"/>
              </c:ext>
            </c:extLst>
          </c:dPt>
          <c:dPt>
            <c:idx val="247"/>
            <c:invertIfNegative val="1"/>
            <c:bubble3D val="0"/>
            <c:spPr>
              <a:solidFill>
                <a:srgbClr val="7ECAC4"/>
              </a:solidFill>
            </c:spPr>
            <c:extLst>
              <c:ext xmlns:c16="http://schemas.microsoft.com/office/drawing/2014/chart" uri="{C3380CC4-5D6E-409C-BE32-E72D297353CC}">
                <c16:uniqueId val="{000001F1-63DE-4091-B8DA-DB57396774D4}"/>
              </c:ext>
            </c:extLst>
          </c:dPt>
          <c:dPt>
            <c:idx val="248"/>
            <c:invertIfNegative val="1"/>
            <c:bubble3D val="0"/>
            <c:spPr>
              <a:solidFill>
                <a:srgbClr val="7ECAC4"/>
              </a:solidFill>
            </c:spPr>
            <c:extLst>
              <c:ext xmlns:c16="http://schemas.microsoft.com/office/drawing/2014/chart" uri="{C3380CC4-5D6E-409C-BE32-E72D297353CC}">
                <c16:uniqueId val="{000001F3-63DE-4091-B8DA-DB57396774D4}"/>
              </c:ext>
            </c:extLst>
          </c:dPt>
          <c:dPt>
            <c:idx val="249"/>
            <c:invertIfNegative val="1"/>
            <c:bubble3D val="0"/>
            <c:spPr>
              <a:solidFill>
                <a:srgbClr val="7ECAC4"/>
              </a:solidFill>
            </c:spPr>
            <c:extLst>
              <c:ext xmlns:c16="http://schemas.microsoft.com/office/drawing/2014/chart" uri="{C3380CC4-5D6E-409C-BE32-E72D297353CC}">
                <c16:uniqueId val="{000001F5-63DE-4091-B8DA-DB57396774D4}"/>
              </c:ext>
            </c:extLst>
          </c:dPt>
          <c:dPt>
            <c:idx val="250"/>
            <c:invertIfNegative val="1"/>
            <c:bubble3D val="0"/>
            <c:spPr>
              <a:solidFill>
                <a:srgbClr val="7ECAC4"/>
              </a:solidFill>
            </c:spPr>
            <c:extLst>
              <c:ext xmlns:c16="http://schemas.microsoft.com/office/drawing/2014/chart" uri="{C3380CC4-5D6E-409C-BE32-E72D297353CC}">
                <c16:uniqueId val="{000001F7-63DE-4091-B8DA-DB57396774D4}"/>
              </c:ext>
            </c:extLst>
          </c:dPt>
          <c:dPt>
            <c:idx val="251"/>
            <c:invertIfNegative val="1"/>
            <c:bubble3D val="0"/>
            <c:spPr>
              <a:solidFill>
                <a:srgbClr val="7ECAC4"/>
              </a:solidFill>
            </c:spPr>
            <c:extLst>
              <c:ext xmlns:c16="http://schemas.microsoft.com/office/drawing/2014/chart" uri="{C3380CC4-5D6E-409C-BE32-E72D297353CC}">
                <c16:uniqueId val="{000001F9-63DE-4091-B8DA-DB57396774D4}"/>
              </c:ext>
            </c:extLst>
          </c:dPt>
          <c:dPt>
            <c:idx val="252"/>
            <c:invertIfNegative val="1"/>
            <c:bubble3D val="0"/>
            <c:spPr>
              <a:solidFill>
                <a:srgbClr val="7ECAC4"/>
              </a:solidFill>
            </c:spPr>
            <c:extLst>
              <c:ext xmlns:c16="http://schemas.microsoft.com/office/drawing/2014/chart" uri="{C3380CC4-5D6E-409C-BE32-E72D297353CC}">
                <c16:uniqueId val="{000001FB-63DE-4091-B8DA-DB57396774D4}"/>
              </c:ext>
            </c:extLst>
          </c:dPt>
          <c:dPt>
            <c:idx val="253"/>
            <c:invertIfNegative val="1"/>
            <c:bubble3D val="0"/>
            <c:spPr>
              <a:solidFill>
                <a:srgbClr val="7ECAC4"/>
              </a:solidFill>
            </c:spPr>
            <c:extLst>
              <c:ext xmlns:c16="http://schemas.microsoft.com/office/drawing/2014/chart" uri="{C3380CC4-5D6E-409C-BE32-E72D297353CC}">
                <c16:uniqueId val="{000001FD-63DE-4091-B8DA-DB57396774D4}"/>
              </c:ext>
            </c:extLst>
          </c:dPt>
          <c:dPt>
            <c:idx val="254"/>
            <c:invertIfNegative val="1"/>
            <c:bubble3D val="0"/>
            <c:spPr>
              <a:solidFill>
                <a:srgbClr val="7ECAC4"/>
              </a:solidFill>
            </c:spPr>
            <c:extLst>
              <c:ext xmlns:c16="http://schemas.microsoft.com/office/drawing/2014/chart" uri="{C3380CC4-5D6E-409C-BE32-E72D297353CC}">
                <c16:uniqueId val="{000001FF-63DE-4091-B8DA-DB57396774D4}"/>
              </c:ext>
            </c:extLst>
          </c:dPt>
          <c:dPt>
            <c:idx val="255"/>
            <c:invertIfNegative val="1"/>
            <c:bubble3D val="0"/>
            <c:spPr>
              <a:solidFill>
                <a:srgbClr val="7ECAC4"/>
              </a:solidFill>
            </c:spPr>
            <c:extLst>
              <c:ext xmlns:c16="http://schemas.microsoft.com/office/drawing/2014/chart" uri="{C3380CC4-5D6E-409C-BE32-E72D297353CC}">
                <c16:uniqueId val="{00000201-63DE-4091-B8DA-DB57396774D4}"/>
              </c:ext>
            </c:extLst>
          </c:dPt>
          <c:dPt>
            <c:idx val="256"/>
            <c:invertIfNegative val="1"/>
            <c:bubble3D val="0"/>
            <c:spPr>
              <a:solidFill>
                <a:srgbClr val="7ECAC4"/>
              </a:solidFill>
            </c:spPr>
            <c:extLst>
              <c:ext xmlns:c16="http://schemas.microsoft.com/office/drawing/2014/chart" uri="{C3380CC4-5D6E-409C-BE32-E72D297353CC}">
                <c16:uniqueId val="{00000203-63DE-4091-B8DA-DB57396774D4}"/>
              </c:ext>
            </c:extLst>
          </c:dPt>
          <c:dPt>
            <c:idx val="257"/>
            <c:invertIfNegative val="1"/>
            <c:bubble3D val="0"/>
            <c:spPr>
              <a:solidFill>
                <a:srgbClr val="7ECAC4"/>
              </a:solidFill>
            </c:spPr>
            <c:extLst>
              <c:ext xmlns:c16="http://schemas.microsoft.com/office/drawing/2014/chart" uri="{C3380CC4-5D6E-409C-BE32-E72D297353CC}">
                <c16:uniqueId val="{00000205-63DE-4091-B8DA-DB57396774D4}"/>
              </c:ext>
            </c:extLst>
          </c:dPt>
          <c:dPt>
            <c:idx val="258"/>
            <c:invertIfNegative val="1"/>
            <c:bubble3D val="0"/>
            <c:spPr>
              <a:solidFill>
                <a:srgbClr val="AEABAB"/>
              </a:solidFill>
            </c:spPr>
            <c:extLst>
              <c:ext xmlns:c16="http://schemas.microsoft.com/office/drawing/2014/chart" uri="{C3380CC4-5D6E-409C-BE32-E72D297353CC}">
                <c16:uniqueId val="{00000207-63DE-4091-B8DA-DB57396774D4}"/>
              </c:ext>
            </c:extLst>
          </c:dPt>
          <c:dPt>
            <c:idx val="259"/>
            <c:invertIfNegative val="1"/>
            <c:bubble3D val="0"/>
            <c:spPr>
              <a:solidFill>
                <a:srgbClr val="AEABAB"/>
              </a:solidFill>
            </c:spPr>
            <c:extLst>
              <c:ext xmlns:c16="http://schemas.microsoft.com/office/drawing/2014/chart" uri="{C3380CC4-5D6E-409C-BE32-E72D297353CC}">
                <c16:uniqueId val="{00000209-63DE-4091-B8DA-DB57396774D4}"/>
              </c:ext>
            </c:extLst>
          </c:dPt>
          <c:dPt>
            <c:idx val="260"/>
            <c:invertIfNegative val="1"/>
            <c:bubble3D val="0"/>
            <c:spPr>
              <a:solidFill>
                <a:srgbClr val="AEABAB"/>
              </a:solidFill>
            </c:spPr>
            <c:extLst>
              <c:ext xmlns:c16="http://schemas.microsoft.com/office/drawing/2014/chart" uri="{C3380CC4-5D6E-409C-BE32-E72D297353CC}">
                <c16:uniqueId val="{0000020B-63DE-4091-B8DA-DB57396774D4}"/>
              </c:ext>
            </c:extLst>
          </c:dPt>
          <c:dPt>
            <c:idx val="261"/>
            <c:invertIfNegative val="1"/>
            <c:bubble3D val="0"/>
            <c:spPr>
              <a:solidFill>
                <a:srgbClr val="AEABAB"/>
              </a:solidFill>
            </c:spPr>
            <c:extLst>
              <c:ext xmlns:c16="http://schemas.microsoft.com/office/drawing/2014/chart" uri="{C3380CC4-5D6E-409C-BE32-E72D297353CC}">
                <c16:uniqueId val="{0000020D-63DE-4091-B8DA-DB57396774D4}"/>
              </c:ext>
            </c:extLst>
          </c:dPt>
          <c:dPt>
            <c:idx val="262"/>
            <c:invertIfNegative val="1"/>
            <c:bubble3D val="0"/>
            <c:spPr>
              <a:solidFill>
                <a:srgbClr val="AEABAB"/>
              </a:solidFill>
            </c:spPr>
            <c:extLst>
              <c:ext xmlns:c16="http://schemas.microsoft.com/office/drawing/2014/chart" uri="{C3380CC4-5D6E-409C-BE32-E72D297353CC}">
                <c16:uniqueId val="{0000020F-63DE-4091-B8DA-DB57396774D4}"/>
              </c:ext>
            </c:extLst>
          </c:dPt>
          <c:dPt>
            <c:idx val="263"/>
            <c:invertIfNegative val="1"/>
            <c:bubble3D val="0"/>
            <c:spPr>
              <a:solidFill>
                <a:srgbClr val="AEABAB"/>
              </a:solidFill>
            </c:spPr>
            <c:extLst>
              <c:ext xmlns:c16="http://schemas.microsoft.com/office/drawing/2014/chart" uri="{C3380CC4-5D6E-409C-BE32-E72D297353CC}">
                <c16:uniqueId val="{00000211-63DE-4091-B8DA-DB57396774D4}"/>
              </c:ext>
            </c:extLst>
          </c:dPt>
          <c:dPt>
            <c:idx val="264"/>
            <c:invertIfNegative val="1"/>
            <c:bubble3D val="0"/>
            <c:spPr>
              <a:solidFill>
                <a:srgbClr val="AEABAB"/>
              </a:solidFill>
            </c:spPr>
            <c:extLst>
              <c:ext xmlns:c16="http://schemas.microsoft.com/office/drawing/2014/chart" uri="{C3380CC4-5D6E-409C-BE32-E72D297353CC}">
                <c16:uniqueId val="{00000213-63DE-4091-B8DA-DB57396774D4}"/>
              </c:ext>
            </c:extLst>
          </c:dPt>
          <c:dPt>
            <c:idx val="265"/>
            <c:invertIfNegative val="1"/>
            <c:bubble3D val="0"/>
            <c:spPr>
              <a:solidFill>
                <a:srgbClr val="AEABAB"/>
              </a:solidFill>
            </c:spPr>
            <c:extLst>
              <c:ext xmlns:c16="http://schemas.microsoft.com/office/drawing/2014/chart" uri="{C3380CC4-5D6E-409C-BE32-E72D297353CC}">
                <c16:uniqueId val="{00000215-63DE-4091-B8DA-DB57396774D4}"/>
              </c:ext>
            </c:extLst>
          </c:dPt>
          <c:dPt>
            <c:idx val="266"/>
            <c:invertIfNegative val="1"/>
            <c:bubble3D val="0"/>
            <c:spPr>
              <a:solidFill>
                <a:srgbClr val="AEABAB"/>
              </a:solidFill>
            </c:spPr>
            <c:extLst>
              <c:ext xmlns:c16="http://schemas.microsoft.com/office/drawing/2014/chart" uri="{C3380CC4-5D6E-409C-BE32-E72D297353CC}">
                <c16:uniqueId val="{00000217-63DE-4091-B8DA-DB57396774D4}"/>
              </c:ext>
            </c:extLst>
          </c:dPt>
          <c:dPt>
            <c:idx val="267"/>
            <c:invertIfNegative val="1"/>
            <c:bubble3D val="0"/>
            <c:spPr>
              <a:solidFill>
                <a:srgbClr val="AEABAB"/>
              </a:solidFill>
            </c:spPr>
            <c:extLst>
              <c:ext xmlns:c16="http://schemas.microsoft.com/office/drawing/2014/chart" uri="{C3380CC4-5D6E-409C-BE32-E72D297353CC}">
                <c16:uniqueId val="{00000219-63DE-4091-B8DA-DB57396774D4}"/>
              </c:ext>
            </c:extLst>
          </c:dPt>
          <c:dPt>
            <c:idx val="268"/>
            <c:invertIfNegative val="1"/>
            <c:bubble3D val="0"/>
            <c:spPr>
              <a:solidFill>
                <a:srgbClr val="AEABAB"/>
              </a:solidFill>
            </c:spPr>
            <c:extLst>
              <c:ext xmlns:c16="http://schemas.microsoft.com/office/drawing/2014/chart" uri="{C3380CC4-5D6E-409C-BE32-E72D297353CC}">
                <c16:uniqueId val="{0000021B-63DE-4091-B8DA-DB57396774D4}"/>
              </c:ext>
            </c:extLst>
          </c:dPt>
          <c:dPt>
            <c:idx val="269"/>
            <c:invertIfNegative val="1"/>
            <c:bubble3D val="0"/>
            <c:spPr>
              <a:solidFill>
                <a:srgbClr val="AEABAB"/>
              </a:solidFill>
            </c:spPr>
            <c:extLst>
              <c:ext xmlns:c16="http://schemas.microsoft.com/office/drawing/2014/chart" uri="{C3380CC4-5D6E-409C-BE32-E72D297353CC}">
                <c16:uniqueId val="{0000021D-63DE-4091-B8DA-DB57396774D4}"/>
              </c:ext>
            </c:extLst>
          </c:dPt>
          <c:dPt>
            <c:idx val="270"/>
            <c:invertIfNegative val="1"/>
            <c:bubble3D val="0"/>
            <c:spPr>
              <a:solidFill>
                <a:srgbClr val="AEABAB"/>
              </a:solidFill>
            </c:spPr>
            <c:extLst>
              <c:ext xmlns:c16="http://schemas.microsoft.com/office/drawing/2014/chart" uri="{C3380CC4-5D6E-409C-BE32-E72D297353CC}">
                <c16:uniqueId val="{0000021F-63DE-4091-B8DA-DB57396774D4}"/>
              </c:ext>
            </c:extLst>
          </c:dPt>
          <c:dPt>
            <c:idx val="271"/>
            <c:invertIfNegative val="1"/>
            <c:bubble3D val="0"/>
            <c:spPr>
              <a:solidFill>
                <a:srgbClr val="AEABAB"/>
              </a:solidFill>
            </c:spPr>
            <c:extLst>
              <c:ext xmlns:c16="http://schemas.microsoft.com/office/drawing/2014/chart" uri="{C3380CC4-5D6E-409C-BE32-E72D297353CC}">
                <c16:uniqueId val="{00000221-63DE-4091-B8DA-DB57396774D4}"/>
              </c:ext>
            </c:extLst>
          </c:dPt>
          <c:dPt>
            <c:idx val="272"/>
            <c:invertIfNegative val="1"/>
            <c:bubble3D val="0"/>
            <c:spPr>
              <a:solidFill>
                <a:srgbClr val="AEABAB"/>
              </a:solidFill>
            </c:spPr>
            <c:extLst>
              <c:ext xmlns:c16="http://schemas.microsoft.com/office/drawing/2014/chart" uri="{C3380CC4-5D6E-409C-BE32-E72D297353CC}">
                <c16:uniqueId val="{00000223-63DE-4091-B8DA-DB57396774D4}"/>
              </c:ext>
            </c:extLst>
          </c:dPt>
          <c:dPt>
            <c:idx val="273"/>
            <c:invertIfNegative val="1"/>
            <c:bubble3D val="0"/>
            <c:spPr>
              <a:solidFill>
                <a:srgbClr val="AEABAB"/>
              </a:solidFill>
            </c:spPr>
            <c:extLst>
              <c:ext xmlns:c16="http://schemas.microsoft.com/office/drawing/2014/chart" uri="{C3380CC4-5D6E-409C-BE32-E72D297353CC}">
                <c16:uniqueId val="{00000225-63DE-4091-B8DA-DB57396774D4}"/>
              </c:ext>
            </c:extLst>
          </c:dPt>
          <c:dPt>
            <c:idx val="274"/>
            <c:invertIfNegative val="1"/>
            <c:bubble3D val="0"/>
            <c:spPr>
              <a:solidFill>
                <a:srgbClr val="AEABAB"/>
              </a:solidFill>
            </c:spPr>
            <c:extLst>
              <c:ext xmlns:c16="http://schemas.microsoft.com/office/drawing/2014/chart" uri="{C3380CC4-5D6E-409C-BE32-E72D297353CC}">
                <c16:uniqueId val="{00000227-63DE-4091-B8DA-DB57396774D4}"/>
              </c:ext>
            </c:extLst>
          </c:dPt>
          <c:dPt>
            <c:idx val="275"/>
            <c:invertIfNegative val="1"/>
            <c:bubble3D val="0"/>
            <c:spPr>
              <a:solidFill>
                <a:srgbClr val="AEABAB"/>
              </a:solidFill>
            </c:spPr>
            <c:extLst>
              <c:ext xmlns:c16="http://schemas.microsoft.com/office/drawing/2014/chart" uri="{C3380CC4-5D6E-409C-BE32-E72D297353CC}">
                <c16:uniqueId val="{00000229-63DE-4091-B8DA-DB57396774D4}"/>
              </c:ext>
            </c:extLst>
          </c:dPt>
          <c:dPt>
            <c:idx val="276"/>
            <c:invertIfNegative val="1"/>
            <c:bubble3D val="0"/>
            <c:spPr>
              <a:solidFill>
                <a:srgbClr val="AEABAB"/>
              </a:solidFill>
            </c:spPr>
            <c:extLst>
              <c:ext xmlns:c16="http://schemas.microsoft.com/office/drawing/2014/chart" uri="{C3380CC4-5D6E-409C-BE32-E72D297353CC}">
                <c16:uniqueId val="{0000022B-63DE-4091-B8DA-DB57396774D4}"/>
              </c:ext>
            </c:extLst>
          </c:dPt>
          <c:dPt>
            <c:idx val="277"/>
            <c:invertIfNegative val="1"/>
            <c:bubble3D val="0"/>
            <c:spPr>
              <a:solidFill>
                <a:srgbClr val="AEABAB"/>
              </a:solidFill>
            </c:spPr>
            <c:extLst>
              <c:ext xmlns:c16="http://schemas.microsoft.com/office/drawing/2014/chart" uri="{C3380CC4-5D6E-409C-BE32-E72D297353CC}">
                <c16:uniqueId val="{0000022D-63DE-4091-B8DA-DB57396774D4}"/>
              </c:ext>
            </c:extLst>
          </c:dPt>
          <c:dPt>
            <c:idx val="278"/>
            <c:invertIfNegative val="1"/>
            <c:bubble3D val="0"/>
            <c:spPr>
              <a:solidFill>
                <a:srgbClr val="AEABAB"/>
              </a:solidFill>
            </c:spPr>
            <c:extLst>
              <c:ext xmlns:c16="http://schemas.microsoft.com/office/drawing/2014/chart" uri="{C3380CC4-5D6E-409C-BE32-E72D297353CC}">
                <c16:uniqueId val="{0000022F-63DE-4091-B8DA-DB57396774D4}"/>
              </c:ext>
            </c:extLst>
          </c:dPt>
          <c:dPt>
            <c:idx val="279"/>
            <c:invertIfNegative val="1"/>
            <c:bubble3D val="0"/>
            <c:spPr>
              <a:solidFill>
                <a:srgbClr val="AEABAB"/>
              </a:solidFill>
            </c:spPr>
            <c:extLst>
              <c:ext xmlns:c16="http://schemas.microsoft.com/office/drawing/2014/chart" uri="{C3380CC4-5D6E-409C-BE32-E72D297353CC}">
                <c16:uniqueId val="{00000231-63DE-4091-B8DA-DB57396774D4}"/>
              </c:ext>
            </c:extLst>
          </c:dPt>
          <c:dPt>
            <c:idx val="280"/>
            <c:invertIfNegative val="1"/>
            <c:bubble3D val="0"/>
            <c:spPr>
              <a:solidFill>
                <a:srgbClr val="AEABAB"/>
              </a:solidFill>
            </c:spPr>
            <c:extLst>
              <c:ext xmlns:c16="http://schemas.microsoft.com/office/drawing/2014/chart" uri="{C3380CC4-5D6E-409C-BE32-E72D297353CC}">
                <c16:uniqueId val="{00000233-63DE-4091-B8DA-DB57396774D4}"/>
              </c:ext>
            </c:extLst>
          </c:dPt>
          <c:dPt>
            <c:idx val="281"/>
            <c:invertIfNegative val="1"/>
            <c:bubble3D val="0"/>
            <c:spPr>
              <a:solidFill>
                <a:srgbClr val="AEABAB"/>
              </a:solidFill>
            </c:spPr>
            <c:extLst>
              <c:ext xmlns:c16="http://schemas.microsoft.com/office/drawing/2014/chart" uri="{C3380CC4-5D6E-409C-BE32-E72D297353CC}">
                <c16:uniqueId val="{00000235-63DE-4091-B8DA-DB57396774D4}"/>
              </c:ext>
            </c:extLst>
          </c:dPt>
          <c:dPt>
            <c:idx val="282"/>
            <c:invertIfNegative val="1"/>
            <c:bubble3D val="0"/>
            <c:spPr>
              <a:solidFill>
                <a:srgbClr val="AEABAB"/>
              </a:solidFill>
            </c:spPr>
            <c:extLst>
              <c:ext xmlns:c16="http://schemas.microsoft.com/office/drawing/2014/chart" uri="{C3380CC4-5D6E-409C-BE32-E72D297353CC}">
                <c16:uniqueId val="{00000237-63DE-4091-B8DA-DB57396774D4}"/>
              </c:ext>
            </c:extLst>
          </c:dPt>
          <c:dPt>
            <c:idx val="283"/>
            <c:invertIfNegative val="1"/>
            <c:bubble3D val="0"/>
            <c:spPr>
              <a:solidFill>
                <a:srgbClr val="AEABAB"/>
              </a:solidFill>
            </c:spPr>
            <c:extLst>
              <c:ext xmlns:c16="http://schemas.microsoft.com/office/drawing/2014/chart" uri="{C3380CC4-5D6E-409C-BE32-E72D297353CC}">
                <c16:uniqueId val="{00000239-63DE-4091-B8DA-DB57396774D4}"/>
              </c:ext>
            </c:extLst>
          </c:dPt>
          <c:dPt>
            <c:idx val="284"/>
            <c:invertIfNegative val="1"/>
            <c:bubble3D val="0"/>
            <c:spPr>
              <a:solidFill>
                <a:srgbClr val="AEABAB"/>
              </a:solidFill>
            </c:spPr>
            <c:extLst>
              <c:ext xmlns:c16="http://schemas.microsoft.com/office/drawing/2014/chart" uri="{C3380CC4-5D6E-409C-BE32-E72D297353CC}">
                <c16:uniqueId val="{0000023B-63DE-4091-B8DA-DB57396774D4}"/>
              </c:ext>
            </c:extLst>
          </c:dPt>
          <c:dPt>
            <c:idx val="285"/>
            <c:invertIfNegative val="1"/>
            <c:bubble3D val="0"/>
            <c:spPr>
              <a:solidFill>
                <a:srgbClr val="AEABAB"/>
              </a:solidFill>
            </c:spPr>
            <c:extLst>
              <c:ext xmlns:c16="http://schemas.microsoft.com/office/drawing/2014/chart" uri="{C3380CC4-5D6E-409C-BE32-E72D297353CC}">
                <c16:uniqueId val="{0000023D-63DE-4091-B8DA-DB57396774D4}"/>
              </c:ext>
            </c:extLst>
          </c:dPt>
          <c:dPt>
            <c:idx val="286"/>
            <c:invertIfNegative val="1"/>
            <c:bubble3D val="0"/>
            <c:spPr>
              <a:solidFill>
                <a:srgbClr val="AEABAB"/>
              </a:solidFill>
            </c:spPr>
            <c:extLst>
              <c:ext xmlns:c16="http://schemas.microsoft.com/office/drawing/2014/chart" uri="{C3380CC4-5D6E-409C-BE32-E72D297353CC}">
                <c16:uniqueId val="{0000023F-63DE-4091-B8DA-DB57396774D4}"/>
              </c:ext>
            </c:extLst>
          </c:dPt>
          <c:dPt>
            <c:idx val="287"/>
            <c:invertIfNegative val="1"/>
            <c:bubble3D val="0"/>
            <c:spPr>
              <a:solidFill>
                <a:srgbClr val="AEABAB"/>
              </a:solidFill>
            </c:spPr>
            <c:extLst>
              <c:ext xmlns:c16="http://schemas.microsoft.com/office/drawing/2014/chart" uri="{C3380CC4-5D6E-409C-BE32-E72D297353CC}">
                <c16:uniqueId val="{00000241-63DE-4091-B8DA-DB57396774D4}"/>
              </c:ext>
            </c:extLst>
          </c:dPt>
          <c:dPt>
            <c:idx val="288"/>
            <c:invertIfNegative val="1"/>
            <c:bubble3D val="0"/>
            <c:spPr>
              <a:solidFill>
                <a:srgbClr val="AEABAB"/>
              </a:solidFill>
            </c:spPr>
            <c:extLst>
              <c:ext xmlns:c16="http://schemas.microsoft.com/office/drawing/2014/chart" uri="{C3380CC4-5D6E-409C-BE32-E72D297353CC}">
                <c16:uniqueId val="{00000243-63DE-4091-B8DA-DB57396774D4}"/>
              </c:ext>
            </c:extLst>
          </c:dPt>
          <c:dPt>
            <c:idx val="289"/>
            <c:invertIfNegative val="1"/>
            <c:bubble3D val="0"/>
            <c:spPr>
              <a:solidFill>
                <a:srgbClr val="AEABAB"/>
              </a:solidFill>
            </c:spPr>
            <c:extLst>
              <c:ext xmlns:c16="http://schemas.microsoft.com/office/drawing/2014/chart" uri="{C3380CC4-5D6E-409C-BE32-E72D297353CC}">
                <c16:uniqueId val="{00000245-63DE-4091-B8DA-DB57396774D4}"/>
              </c:ext>
            </c:extLst>
          </c:dPt>
          <c:dPt>
            <c:idx val="290"/>
            <c:invertIfNegative val="1"/>
            <c:bubble3D val="0"/>
            <c:spPr>
              <a:solidFill>
                <a:srgbClr val="AEABAB"/>
              </a:solidFill>
            </c:spPr>
            <c:extLst>
              <c:ext xmlns:c16="http://schemas.microsoft.com/office/drawing/2014/chart" uri="{C3380CC4-5D6E-409C-BE32-E72D297353CC}">
                <c16:uniqueId val="{00000247-63DE-4091-B8DA-DB57396774D4}"/>
              </c:ext>
            </c:extLst>
          </c:dPt>
          <c:dPt>
            <c:idx val="291"/>
            <c:invertIfNegative val="1"/>
            <c:bubble3D val="0"/>
            <c:spPr>
              <a:solidFill>
                <a:srgbClr val="AEABAB"/>
              </a:solidFill>
            </c:spPr>
            <c:extLst>
              <c:ext xmlns:c16="http://schemas.microsoft.com/office/drawing/2014/chart" uri="{C3380CC4-5D6E-409C-BE32-E72D297353CC}">
                <c16:uniqueId val="{00000249-63DE-4091-B8DA-DB57396774D4}"/>
              </c:ext>
            </c:extLst>
          </c:dPt>
          <c:dPt>
            <c:idx val="292"/>
            <c:invertIfNegative val="1"/>
            <c:bubble3D val="0"/>
            <c:spPr>
              <a:solidFill>
                <a:srgbClr val="AEABAB"/>
              </a:solidFill>
            </c:spPr>
            <c:extLst>
              <c:ext xmlns:c16="http://schemas.microsoft.com/office/drawing/2014/chart" uri="{C3380CC4-5D6E-409C-BE32-E72D297353CC}">
                <c16:uniqueId val="{0000024B-63DE-4091-B8DA-DB57396774D4}"/>
              </c:ext>
            </c:extLst>
          </c:dPt>
          <c:dPt>
            <c:idx val="293"/>
            <c:invertIfNegative val="1"/>
            <c:bubble3D val="0"/>
            <c:spPr>
              <a:solidFill>
                <a:srgbClr val="AEABAB"/>
              </a:solidFill>
            </c:spPr>
            <c:extLst>
              <c:ext xmlns:c16="http://schemas.microsoft.com/office/drawing/2014/chart" uri="{C3380CC4-5D6E-409C-BE32-E72D297353CC}">
                <c16:uniqueId val="{0000024D-63DE-4091-B8DA-DB57396774D4}"/>
              </c:ext>
            </c:extLst>
          </c:dPt>
          <c:dPt>
            <c:idx val="294"/>
            <c:invertIfNegative val="1"/>
            <c:bubble3D val="0"/>
            <c:spPr>
              <a:solidFill>
                <a:srgbClr val="AEABAB"/>
              </a:solidFill>
            </c:spPr>
            <c:extLst>
              <c:ext xmlns:c16="http://schemas.microsoft.com/office/drawing/2014/chart" uri="{C3380CC4-5D6E-409C-BE32-E72D297353CC}">
                <c16:uniqueId val="{0000024F-63DE-4091-B8DA-DB57396774D4}"/>
              </c:ext>
            </c:extLst>
          </c:dPt>
          <c:dPt>
            <c:idx val="295"/>
            <c:invertIfNegative val="1"/>
            <c:bubble3D val="0"/>
            <c:spPr>
              <a:solidFill>
                <a:srgbClr val="AEABAB"/>
              </a:solidFill>
            </c:spPr>
            <c:extLst>
              <c:ext xmlns:c16="http://schemas.microsoft.com/office/drawing/2014/chart" uri="{C3380CC4-5D6E-409C-BE32-E72D297353CC}">
                <c16:uniqueId val="{00000251-63DE-4091-B8DA-DB57396774D4}"/>
              </c:ext>
            </c:extLst>
          </c:dPt>
          <c:dPt>
            <c:idx val="296"/>
            <c:invertIfNegative val="1"/>
            <c:bubble3D val="0"/>
            <c:spPr>
              <a:solidFill>
                <a:srgbClr val="AEABAB"/>
              </a:solidFill>
            </c:spPr>
            <c:extLst>
              <c:ext xmlns:c16="http://schemas.microsoft.com/office/drawing/2014/chart" uri="{C3380CC4-5D6E-409C-BE32-E72D297353CC}">
                <c16:uniqueId val="{00000253-63DE-4091-B8DA-DB57396774D4}"/>
              </c:ext>
            </c:extLst>
          </c:dPt>
          <c:dPt>
            <c:idx val="297"/>
            <c:invertIfNegative val="1"/>
            <c:bubble3D val="0"/>
            <c:spPr>
              <a:solidFill>
                <a:srgbClr val="AEABAB"/>
              </a:solidFill>
            </c:spPr>
            <c:extLst>
              <c:ext xmlns:c16="http://schemas.microsoft.com/office/drawing/2014/chart" uri="{C3380CC4-5D6E-409C-BE32-E72D297353CC}">
                <c16:uniqueId val="{00000255-63DE-4091-B8DA-DB57396774D4}"/>
              </c:ext>
            </c:extLst>
          </c:dPt>
          <c:dPt>
            <c:idx val="298"/>
            <c:invertIfNegative val="1"/>
            <c:bubble3D val="0"/>
            <c:spPr>
              <a:solidFill>
                <a:srgbClr val="AEABAB"/>
              </a:solidFill>
            </c:spPr>
            <c:extLst>
              <c:ext xmlns:c16="http://schemas.microsoft.com/office/drawing/2014/chart" uri="{C3380CC4-5D6E-409C-BE32-E72D297353CC}">
                <c16:uniqueId val="{00000257-63DE-4091-B8DA-DB57396774D4}"/>
              </c:ext>
            </c:extLst>
          </c:dPt>
          <c:dPt>
            <c:idx val="299"/>
            <c:invertIfNegative val="1"/>
            <c:bubble3D val="0"/>
            <c:spPr>
              <a:solidFill>
                <a:srgbClr val="AEABAB"/>
              </a:solidFill>
            </c:spPr>
            <c:extLst>
              <c:ext xmlns:c16="http://schemas.microsoft.com/office/drawing/2014/chart" uri="{C3380CC4-5D6E-409C-BE32-E72D297353CC}">
                <c16:uniqueId val="{00000259-63DE-4091-B8DA-DB57396774D4}"/>
              </c:ext>
            </c:extLst>
          </c:dPt>
          <c:dPt>
            <c:idx val="300"/>
            <c:invertIfNegative val="1"/>
            <c:bubble3D val="0"/>
            <c:spPr>
              <a:solidFill>
                <a:srgbClr val="AEABAB"/>
              </a:solidFill>
            </c:spPr>
            <c:extLst>
              <c:ext xmlns:c16="http://schemas.microsoft.com/office/drawing/2014/chart" uri="{C3380CC4-5D6E-409C-BE32-E72D297353CC}">
                <c16:uniqueId val="{0000025B-63DE-4091-B8DA-DB57396774D4}"/>
              </c:ext>
            </c:extLst>
          </c:dPt>
          <c:dPt>
            <c:idx val="301"/>
            <c:invertIfNegative val="1"/>
            <c:bubble3D val="0"/>
            <c:spPr>
              <a:solidFill>
                <a:srgbClr val="AEABAB"/>
              </a:solidFill>
            </c:spPr>
            <c:extLst>
              <c:ext xmlns:c16="http://schemas.microsoft.com/office/drawing/2014/chart" uri="{C3380CC4-5D6E-409C-BE32-E72D297353CC}">
                <c16:uniqueId val="{0000025D-63DE-4091-B8DA-DB57396774D4}"/>
              </c:ext>
            </c:extLst>
          </c:dPt>
          <c:dPt>
            <c:idx val="302"/>
            <c:invertIfNegative val="1"/>
            <c:bubble3D val="0"/>
            <c:spPr>
              <a:solidFill>
                <a:srgbClr val="AEABAB"/>
              </a:solidFill>
            </c:spPr>
            <c:extLst>
              <c:ext xmlns:c16="http://schemas.microsoft.com/office/drawing/2014/chart" uri="{C3380CC4-5D6E-409C-BE32-E72D297353CC}">
                <c16:uniqueId val="{0000025F-63DE-4091-B8DA-DB57396774D4}"/>
              </c:ext>
            </c:extLst>
          </c:dPt>
          <c:dPt>
            <c:idx val="303"/>
            <c:invertIfNegative val="1"/>
            <c:bubble3D val="0"/>
            <c:spPr>
              <a:solidFill>
                <a:srgbClr val="AEABAB"/>
              </a:solidFill>
            </c:spPr>
            <c:extLst>
              <c:ext xmlns:c16="http://schemas.microsoft.com/office/drawing/2014/chart" uri="{C3380CC4-5D6E-409C-BE32-E72D297353CC}">
                <c16:uniqueId val="{00000261-63DE-4091-B8DA-DB57396774D4}"/>
              </c:ext>
            </c:extLst>
          </c:dPt>
          <c:dPt>
            <c:idx val="304"/>
            <c:invertIfNegative val="1"/>
            <c:bubble3D val="0"/>
            <c:spPr>
              <a:solidFill>
                <a:srgbClr val="AEABAB"/>
              </a:solidFill>
            </c:spPr>
            <c:extLst>
              <c:ext xmlns:c16="http://schemas.microsoft.com/office/drawing/2014/chart" uri="{C3380CC4-5D6E-409C-BE32-E72D297353CC}">
                <c16:uniqueId val="{00000263-63DE-4091-B8DA-DB57396774D4}"/>
              </c:ext>
            </c:extLst>
          </c:dPt>
          <c:dPt>
            <c:idx val="305"/>
            <c:invertIfNegative val="1"/>
            <c:bubble3D val="0"/>
            <c:spPr>
              <a:solidFill>
                <a:srgbClr val="AEABAB"/>
              </a:solidFill>
            </c:spPr>
            <c:extLst>
              <c:ext xmlns:c16="http://schemas.microsoft.com/office/drawing/2014/chart" uri="{C3380CC4-5D6E-409C-BE32-E72D297353CC}">
                <c16:uniqueId val="{00000265-63DE-4091-B8DA-DB57396774D4}"/>
              </c:ext>
            </c:extLst>
          </c:dPt>
          <c:dPt>
            <c:idx val="306"/>
            <c:invertIfNegative val="1"/>
            <c:bubble3D val="0"/>
            <c:spPr>
              <a:solidFill>
                <a:srgbClr val="AEABAB"/>
              </a:solidFill>
            </c:spPr>
            <c:extLst>
              <c:ext xmlns:c16="http://schemas.microsoft.com/office/drawing/2014/chart" uri="{C3380CC4-5D6E-409C-BE32-E72D297353CC}">
                <c16:uniqueId val="{00000267-63DE-4091-B8DA-DB57396774D4}"/>
              </c:ext>
            </c:extLst>
          </c:dPt>
          <c:dPt>
            <c:idx val="307"/>
            <c:invertIfNegative val="1"/>
            <c:bubble3D val="0"/>
            <c:spPr>
              <a:solidFill>
                <a:srgbClr val="AEABAB"/>
              </a:solidFill>
            </c:spPr>
            <c:extLst>
              <c:ext xmlns:c16="http://schemas.microsoft.com/office/drawing/2014/chart" uri="{C3380CC4-5D6E-409C-BE32-E72D297353CC}">
                <c16:uniqueId val="{00000269-63DE-4091-B8DA-DB57396774D4}"/>
              </c:ext>
            </c:extLst>
          </c:dPt>
          <c:dPt>
            <c:idx val="308"/>
            <c:invertIfNegative val="1"/>
            <c:bubble3D val="0"/>
            <c:spPr>
              <a:solidFill>
                <a:srgbClr val="AEABAB"/>
              </a:solidFill>
            </c:spPr>
            <c:extLst>
              <c:ext xmlns:c16="http://schemas.microsoft.com/office/drawing/2014/chart" uri="{C3380CC4-5D6E-409C-BE32-E72D297353CC}">
                <c16:uniqueId val="{0000026B-63DE-4091-B8DA-DB57396774D4}"/>
              </c:ext>
            </c:extLst>
          </c:dPt>
          <c:dPt>
            <c:idx val="309"/>
            <c:invertIfNegative val="1"/>
            <c:bubble3D val="0"/>
            <c:spPr>
              <a:solidFill>
                <a:srgbClr val="AEABAB"/>
              </a:solidFill>
            </c:spPr>
            <c:extLst>
              <c:ext xmlns:c16="http://schemas.microsoft.com/office/drawing/2014/chart" uri="{C3380CC4-5D6E-409C-BE32-E72D297353CC}">
                <c16:uniqueId val="{0000026D-63DE-4091-B8DA-DB57396774D4}"/>
              </c:ext>
            </c:extLst>
          </c:dPt>
          <c:dPt>
            <c:idx val="310"/>
            <c:invertIfNegative val="1"/>
            <c:bubble3D val="0"/>
            <c:spPr>
              <a:solidFill>
                <a:srgbClr val="AEABAB"/>
              </a:solidFill>
            </c:spPr>
            <c:extLst>
              <c:ext xmlns:c16="http://schemas.microsoft.com/office/drawing/2014/chart" uri="{C3380CC4-5D6E-409C-BE32-E72D297353CC}">
                <c16:uniqueId val="{0000026F-63DE-4091-B8DA-DB57396774D4}"/>
              </c:ext>
            </c:extLst>
          </c:dPt>
          <c:dPt>
            <c:idx val="311"/>
            <c:invertIfNegative val="1"/>
            <c:bubble3D val="0"/>
            <c:spPr>
              <a:solidFill>
                <a:srgbClr val="AEABAB"/>
              </a:solidFill>
            </c:spPr>
            <c:extLst>
              <c:ext xmlns:c16="http://schemas.microsoft.com/office/drawing/2014/chart" uri="{C3380CC4-5D6E-409C-BE32-E72D297353CC}">
                <c16:uniqueId val="{00000271-63DE-4091-B8DA-DB57396774D4}"/>
              </c:ext>
            </c:extLst>
          </c:dPt>
          <c:dPt>
            <c:idx val="312"/>
            <c:invertIfNegative val="1"/>
            <c:bubble3D val="0"/>
            <c:spPr>
              <a:solidFill>
                <a:srgbClr val="AEABAB"/>
              </a:solidFill>
            </c:spPr>
            <c:extLst>
              <c:ext xmlns:c16="http://schemas.microsoft.com/office/drawing/2014/chart" uri="{C3380CC4-5D6E-409C-BE32-E72D297353CC}">
                <c16:uniqueId val="{00000273-63DE-4091-B8DA-DB57396774D4}"/>
              </c:ext>
            </c:extLst>
          </c:dPt>
          <c:dPt>
            <c:idx val="313"/>
            <c:invertIfNegative val="1"/>
            <c:bubble3D val="0"/>
            <c:spPr>
              <a:solidFill>
                <a:srgbClr val="AEABAB"/>
              </a:solidFill>
            </c:spPr>
            <c:extLst>
              <c:ext xmlns:c16="http://schemas.microsoft.com/office/drawing/2014/chart" uri="{C3380CC4-5D6E-409C-BE32-E72D297353CC}">
                <c16:uniqueId val="{00000275-63DE-4091-B8DA-DB57396774D4}"/>
              </c:ext>
            </c:extLst>
          </c:dPt>
          <c:dPt>
            <c:idx val="314"/>
            <c:invertIfNegative val="1"/>
            <c:bubble3D val="0"/>
            <c:spPr>
              <a:solidFill>
                <a:srgbClr val="AEABAB"/>
              </a:solidFill>
            </c:spPr>
            <c:extLst>
              <c:ext xmlns:c16="http://schemas.microsoft.com/office/drawing/2014/chart" uri="{C3380CC4-5D6E-409C-BE32-E72D297353CC}">
                <c16:uniqueId val="{00000277-63DE-4091-B8DA-DB57396774D4}"/>
              </c:ext>
            </c:extLst>
          </c:dPt>
          <c:dPt>
            <c:idx val="315"/>
            <c:invertIfNegative val="1"/>
            <c:bubble3D val="0"/>
            <c:spPr>
              <a:solidFill>
                <a:srgbClr val="AEABAB"/>
              </a:solidFill>
            </c:spPr>
            <c:extLst>
              <c:ext xmlns:c16="http://schemas.microsoft.com/office/drawing/2014/chart" uri="{C3380CC4-5D6E-409C-BE32-E72D297353CC}">
                <c16:uniqueId val="{00000279-63DE-4091-B8DA-DB57396774D4}"/>
              </c:ext>
            </c:extLst>
          </c:dPt>
          <c:dPt>
            <c:idx val="316"/>
            <c:invertIfNegative val="1"/>
            <c:bubble3D val="0"/>
            <c:spPr>
              <a:solidFill>
                <a:srgbClr val="AEABAB"/>
              </a:solidFill>
            </c:spPr>
            <c:extLst>
              <c:ext xmlns:c16="http://schemas.microsoft.com/office/drawing/2014/chart" uri="{C3380CC4-5D6E-409C-BE32-E72D297353CC}">
                <c16:uniqueId val="{0000027B-63DE-4091-B8DA-DB57396774D4}"/>
              </c:ext>
            </c:extLst>
          </c:dPt>
          <c:dPt>
            <c:idx val="317"/>
            <c:invertIfNegative val="1"/>
            <c:bubble3D val="0"/>
            <c:spPr>
              <a:solidFill>
                <a:srgbClr val="AEABAB"/>
              </a:solidFill>
            </c:spPr>
            <c:extLst>
              <c:ext xmlns:c16="http://schemas.microsoft.com/office/drawing/2014/chart" uri="{C3380CC4-5D6E-409C-BE32-E72D297353CC}">
                <c16:uniqueId val="{0000027D-63DE-4091-B8DA-DB57396774D4}"/>
              </c:ext>
            </c:extLst>
          </c:dPt>
          <c:dPt>
            <c:idx val="318"/>
            <c:invertIfNegative val="1"/>
            <c:bubble3D val="0"/>
            <c:spPr>
              <a:solidFill>
                <a:srgbClr val="AEABAB"/>
              </a:solidFill>
            </c:spPr>
            <c:extLst>
              <c:ext xmlns:c16="http://schemas.microsoft.com/office/drawing/2014/chart" uri="{C3380CC4-5D6E-409C-BE32-E72D297353CC}">
                <c16:uniqueId val="{0000027F-63DE-4091-B8DA-DB57396774D4}"/>
              </c:ext>
            </c:extLst>
          </c:dPt>
          <c:dPt>
            <c:idx val="319"/>
            <c:invertIfNegative val="1"/>
            <c:bubble3D val="0"/>
            <c:spPr>
              <a:solidFill>
                <a:srgbClr val="AEABAB"/>
              </a:solidFill>
            </c:spPr>
            <c:extLst>
              <c:ext xmlns:c16="http://schemas.microsoft.com/office/drawing/2014/chart" uri="{C3380CC4-5D6E-409C-BE32-E72D297353CC}">
                <c16:uniqueId val="{00000281-63DE-4091-B8DA-DB57396774D4}"/>
              </c:ext>
            </c:extLst>
          </c:dPt>
          <c:dPt>
            <c:idx val="320"/>
            <c:invertIfNegative val="1"/>
            <c:bubble3D val="0"/>
            <c:spPr>
              <a:solidFill>
                <a:srgbClr val="AEABAB"/>
              </a:solidFill>
            </c:spPr>
            <c:extLst>
              <c:ext xmlns:c16="http://schemas.microsoft.com/office/drawing/2014/chart" uri="{C3380CC4-5D6E-409C-BE32-E72D297353CC}">
                <c16:uniqueId val="{00000283-63DE-4091-B8DA-DB57396774D4}"/>
              </c:ext>
            </c:extLst>
          </c:dPt>
          <c:dPt>
            <c:idx val="321"/>
            <c:invertIfNegative val="1"/>
            <c:bubble3D val="0"/>
            <c:spPr>
              <a:solidFill>
                <a:srgbClr val="AEABAB"/>
              </a:solidFill>
            </c:spPr>
            <c:extLst>
              <c:ext xmlns:c16="http://schemas.microsoft.com/office/drawing/2014/chart" uri="{C3380CC4-5D6E-409C-BE32-E72D297353CC}">
                <c16:uniqueId val="{00000285-63DE-4091-B8DA-DB57396774D4}"/>
              </c:ext>
            </c:extLst>
          </c:dPt>
          <c:dPt>
            <c:idx val="322"/>
            <c:invertIfNegative val="1"/>
            <c:bubble3D val="0"/>
            <c:spPr>
              <a:solidFill>
                <a:srgbClr val="AEABAB"/>
              </a:solidFill>
            </c:spPr>
            <c:extLst>
              <c:ext xmlns:c16="http://schemas.microsoft.com/office/drawing/2014/chart" uri="{C3380CC4-5D6E-409C-BE32-E72D297353CC}">
                <c16:uniqueId val="{00000287-63DE-4091-B8DA-DB57396774D4}"/>
              </c:ext>
            </c:extLst>
          </c:dPt>
          <c:dPt>
            <c:idx val="323"/>
            <c:invertIfNegative val="1"/>
            <c:bubble3D val="0"/>
            <c:spPr>
              <a:solidFill>
                <a:srgbClr val="AEABAB"/>
              </a:solidFill>
            </c:spPr>
            <c:extLst>
              <c:ext xmlns:c16="http://schemas.microsoft.com/office/drawing/2014/chart" uri="{C3380CC4-5D6E-409C-BE32-E72D297353CC}">
                <c16:uniqueId val="{00000289-63DE-4091-B8DA-DB57396774D4}"/>
              </c:ext>
            </c:extLst>
          </c:dPt>
          <c:dPt>
            <c:idx val="324"/>
            <c:invertIfNegative val="1"/>
            <c:bubble3D val="0"/>
            <c:spPr>
              <a:solidFill>
                <a:srgbClr val="AEABAB"/>
              </a:solidFill>
            </c:spPr>
            <c:extLst>
              <c:ext xmlns:c16="http://schemas.microsoft.com/office/drawing/2014/chart" uri="{C3380CC4-5D6E-409C-BE32-E72D297353CC}">
                <c16:uniqueId val="{0000028B-63DE-4091-B8DA-DB57396774D4}"/>
              </c:ext>
            </c:extLst>
          </c:dPt>
          <c:dPt>
            <c:idx val="325"/>
            <c:invertIfNegative val="1"/>
            <c:bubble3D val="0"/>
            <c:spPr>
              <a:solidFill>
                <a:srgbClr val="AEABAB"/>
              </a:solidFill>
            </c:spPr>
            <c:extLst>
              <c:ext xmlns:c16="http://schemas.microsoft.com/office/drawing/2014/chart" uri="{C3380CC4-5D6E-409C-BE32-E72D297353CC}">
                <c16:uniqueId val="{0000028D-63DE-4091-B8DA-DB57396774D4}"/>
              </c:ext>
            </c:extLst>
          </c:dPt>
          <c:dPt>
            <c:idx val="326"/>
            <c:invertIfNegative val="1"/>
            <c:bubble3D val="0"/>
            <c:spPr>
              <a:solidFill>
                <a:srgbClr val="AEABAB"/>
              </a:solidFill>
            </c:spPr>
            <c:extLst>
              <c:ext xmlns:c16="http://schemas.microsoft.com/office/drawing/2014/chart" uri="{C3380CC4-5D6E-409C-BE32-E72D297353CC}">
                <c16:uniqueId val="{0000028F-63DE-4091-B8DA-DB57396774D4}"/>
              </c:ext>
            </c:extLst>
          </c:dPt>
          <c:dPt>
            <c:idx val="327"/>
            <c:invertIfNegative val="1"/>
            <c:bubble3D val="0"/>
            <c:spPr>
              <a:solidFill>
                <a:srgbClr val="AEABAB"/>
              </a:solidFill>
            </c:spPr>
            <c:extLst>
              <c:ext xmlns:c16="http://schemas.microsoft.com/office/drawing/2014/chart" uri="{C3380CC4-5D6E-409C-BE32-E72D297353CC}">
                <c16:uniqueId val="{00000291-63DE-4091-B8DA-DB57396774D4}"/>
              </c:ext>
            </c:extLst>
          </c:dPt>
          <c:dPt>
            <c:idx val="328"/>
            <c:invertIfNegative val="1"/>
            <c:bubble3D val="0"/>
            <c:spPr>
              <a:solidFill>
                <a:srgbClr val="AEABAB"/>
              </a:solidFill>
            </c:spPr>
            <c:extLst>
              <c:ext xmlns:c16="http://schemas.microsoft.com/office/drawing/2014/chart" uri="{C3380CC4-5D6E-409C-BE32-E72D297353CC}">
                <c16:uniqueId val="{00000293-63DE-4091-B8DA-DB57396774D4}"/>
              </c:ext>
            </c:extLst>
          </c:dPt>
          <c:dPt>
            <c:idx val="329"/>
            <c:invertIfNegative val="1"/>
            <c:bubble3D val="0"/>
            <c:spPr>
              <a:solidFill>
                <a:srgbClr val="AEABAB"/>
              </a:solidFill>
            </c:spPr>
            <c:extLst>
              <c:ext xmlns:c16="http://schemas.microsoft.com/office/drawing/2014/chart" uri="{C3380CC4-5D6E-409C-BE32-E72D297353CC}">
                <c16:uniqueId val="{00000295-63DE-4091-B8DA-DB57396774D4}"/>
              </c:ext>
            </c:extLst>
          </c:dPt>
          <c:dPt>
            <c:idx val="330"/>
            <c:invertIfNegative val="1"/>
            <c:bubble3D val="0"/>
            <c:spPr>
              <a:solidFill>
                <a:srgbClr val="AEABAB"/>
              </a:solidFill>
            </c:spPr>
            <c:extLst>
              <c:ext xmlns:c16="http://schemas.microsoft.com/office/drawing/2014/chart" uri="{C3380CC4-5D6E-409C-BE32-E72D297353CC}">
                <c16:uniqueId val="{00000297-63DE-4091-B8DA-DB57396774D4}"/>
              </c:ext>
            </c:extLst>
          </c:dPt>
          <c:dPt>
            <c:idx val="331"/>
            <c:invertIfNegative val="1"/>
            <c:bubble3D val="0"/>
            <c:spPr>
              <a:solidFill>
                <a:srgbClr val="AEABAB"/>
              </a:solidFill>
            </c:spPr>
            <c:extLst>
              <c:ext xmlns:c16="http://schemas.microsoft.com/office/drawing/2014/chart" uri="{C3380CC4-5D6E-409C-BE32-E72D297353CC}">
                <c16:uniqueId val="{00000299-63DE-4091-B8DA-DB57396774D4}"/>
              </c:ext>
            </c:extLst>
          </c:dPt>
          <c:dPt>
            <c:idx val="332"/>
            <c:invertIfNegative val="1"/>
            <c:bubble3D val="0"/>
            <c:spPr>
              <a:solidFill>
                <a:srgbClr val="AEABAB"/>
              </a:solidFill>
            </c:spPr>
            <c:extLst>
              <c:ext xmlns:c16="http://schemas.microsoft.com/office/drawing/2014/chart" uri="{C3380CC4-5D6E-409C-BE32-E72D297353CC}">
                <c16:uniqueId val="{0000029B-63DE-4091-B8DA-DB57396774D4}"/>
              </c:ext>
            </c:extLst>
          </c:dPt>
          <c:dPt>
            <c:idx val="333"/>
            <c:invertIfNegative val="1"/>
            <c:bubble3D val="0"/>
            <c:spPr>
              <a:solidFill>
                <a:srgbClr val="AEABAB"/>
              </a:solidFill>
            </c:spPr>
            <c:extLst>
              <c:ext xmlns:c16="http://schemas.microsoft.com/office/drawing/2014/chart" uri="{C3380CC4-5D6E-409C-BE32-E72D297353CC}">
                <c16:uniqueId val="{0000029D-63DE-4091-B8DA-DB57396774D4}"/>
              </c:ext>
            </c:extLst>
          </c:dPt>
          <c:dPt>
            <c:idx val="334"/>
            <c:invertIfNegative val="1"/>
            <c:bubble3D val="0"/>
            <c:spPr>
              <a:solidFill>
                <a:srgbClr val="AEABAB"/>
              </a:solidFill>
            </c:spPr>
            <c:extLst>
              <c:ext xmlns:c16="http://schemas.microsoft.com/office/drawing/2014/chart" uri="{C3380CC4-5D6E-409C-BE32-E72D297353CC}">
                <c16:uniqueId val="{0000029F-63DE-4091-B8DA-DB57396774D4}"/>
              </c:ext>
            </c:extLst>
          </c:dPt>
          <c:dPt>
            <c:idx val="335"/>
            <c:invertIfNegative val="1"/>
            <c:bubble3D val="0"/>
            <c:spPr>
              <a:solidFill>
                <a:srgbClr val="AEABAB"/>
              </a:solidFill>
            </c:spPr>
            <c:extLst>
              <c:ext xmlns:c16="http://schemas.microsoft.com/office/drawing/2014/chart" uri="{C3380CC4-5D6E-409C-BE32-E72D297353CC}">
                <c16:uniqueId val="{000002A1-63DE-4091-B8DA-DB57396774D4}"/>
              </c:ext>
            </c:extLst>
          </c:dPt>
          <c:dPt>
            <c:idx val="336"/>
            <c:invertIfNegative val="1"/>
            <c:bubble3D val="0"/>
            <c:spPr>
              <a:solidFill>
                <a:srgbClr val="AEABAB"/>
              </a:solidFill>
            </c:spPr>
            <c:extLst>
              <c:ext xmlns:c16="http://schemas.microsoft.com/office/drawing/2014/chart" uri="{C3380CC4-5D6E-409C-BE32-E72D297353CC}">
                <c16:uniqueId val="{000002A3-63DE-4091-B8DA-DB57396774D4}"/>
              </c:ext>
            </c:extLst>
          </c:dPt>
          <c:dPt>
            <c:idx val="337"/>
            <c:invertIfNegative val="1"/>
            <c:bubble3D val="0"/>
            <c:spPr>
              <a:solidFill>
                <a:srgbClr val="AEABAB"/>
              </a:solidFill>
            </c:spPr>
            <c:extLst>
              <c:ext xmlns:c16="http://schemas.microsoft.com/office/drawing/2014/chart" uri="{C3380CC4-5D6E-409C-BE32-E72D297353CC}">
                <c16:uniqueId val="{000002A5-63DE-4091-B8DA-DB57396774D4}"/>
              </c:ext>
            </c:extLst>
          </c:dPt>
          <c:dPt>
            <c:idx val="338"/>
            <c:invertIfNegative val="1"/>
            <c:bubble3D val="0"/>
            <c:spPr>
              <a:solidFill>
                <a:srgbClr val="AEABAB"/>
              </a:solidFill>
            </c:spPr>
            <c:extLst>
              <c:ext xmlns:c16="http://schemas.microsoft.com/office/drawing/2014/chart" uri="{C3380CC4-5D6E-409C-BE32-E72D297353CC}">
                <c16:uniqueId val="{000002A7-63DE-4091-B8DA-DB57396774D4}"/>
              </c:ext>
            </c:extLst>
          </c:dPt>
          <c:dPt>
            <c:idx val="339"/>
            <c:invertIfNegative val="1"/>
            <c:bubble3D val="0"/>
            <c:spPr>
              <a:solidFill>
                <a:srgbClr val="AEABAB"/>
              </a:solidFill>
            </c:spPr>
            <c:extLst>
              <c:ext xmlns:c16="http://schemas.microsoft.com/office/drawing/2014/chart" uri="{C3380CC4-5D6E-409C-BE32-E72D297353CC}">
                <c16:uniqueId val="{000002A9-63DE-4091-B8DA-DB57396774D4}"/>
              </c:ext>
            </c:extLst>
          </c:dPt>
          <c:dPt>
            <c:idx val="340"/>
            <c:invertIfNegative val="1"/>
            <c:bubble3D val="0"/>
            <c:spPr>
              <a:solidFill>
                <a:srgbClr val="AEABAB"/>
              </a:solidFill>
            </c:spPr>
            <c:extLst>
              <c:ext xmlns:c16="http://schemas.microsoft.com/office/drawing/2014/chart" uri="{C3380CC4-5D6E-409C-BE32-E72D297353CC}">
                <c16:uniqueId val="{000002AB-63DE-4091-B8DA-DB57396774D4}"/>
              </c:ext>
            </c:extLst>
          </c:dPt>
          <c:dPt>
            <c:idx val="341"/>
            <c:invertIfNegative val="1"/>
            <c:bubble3D val="0"/>
            <c:spPr>
              <a:solidFill>
                <a:srgbClr val="AEABAB"/>
              </a:solidFill>
            </c:spPr>
            <c:extLst>
              <c:ext xmlns:c16="http://schemas.microsoft.com/office/drawing/2014/chart" uri="{C3380CC4-5D6E-409C-BE32-E72D297353CC}">
                <c16:uniqueId val="{000002AD-63DE-4091-B8DA-DB57396774D4}"/>
              </c:ext>
            </c:extLst>
          </c:dPt>
          <c:dPt>
            <c:idx val="342"/>
            <c:invertIfNegative val="1"/>
            <c:bubble3D val="0"/>
            <c:spPr>
              <a:solidFill>
                <a:srgbClr val="AEABAB"/>
              </a:solidFill>
            </c:spPr>
            <c:extLst>
              <c:ext xmlns:c16="http://schemas.microsoft.com/office/drawing/2014/chart" uri="{C3380CC4-5D6E-409C-BE32-E72D297353CC}">
                <c16:uniqueId val="{000002AF-63DE-4091-B8DA-DB57396774D4}"/>
              </c:ext>
            </c:extLst>
          </c:dPt>
          <c:dPt>
            <c:idx val="343"/>
            <c:invertIfNegative val="1"/>
            <c:bubble3D val="0"/>
            <c:spPr>
              <a:solidFill>
                <a:srgbClr val="AEABAB"/>
              </a:solidFill>
            </c:spPr>
            <c:extLst>
              <c:ext xmlns:c16="http://schemas.microsoft.com/office/drawing/2014/chart" uri="{C3380CC4-5D6E-409C-BE32-E72D297353CC}">
                <c16:uniqueId val="{000002B1-63DE-4091-B8DA-DB57396774D4}"/>
              </c:ext>
            </c:extLst>
          </c:dPt>
          <c:dPt>
            <c:idx val="344"/>
            <c:invertIfNegative val="1"/>
            <c:bubble3D val="0"/>
            <c:spPr>
              <a:solidFill>
                <a:srgbClr val="AEABAB"/>
              </a:solidFill>
            </c:spPr>
            <c:extLst>
              <c:ext xmlns:c16="http://schemas.microsoft.com/office/drawing/2014/chart" uri="{C3380CC4-5D6E-409C-BE32-E72D297353CC}">
                <c16:uniqueId val="{000002B3-63DE-4091-B8DA-DB57396774D4}"/>
              </c:ext>
            </c:extLst>
          </c:dPt>
          <c:dPt>
            <c:idx val="345"/>
            <c:invertIfNegative val="1"/>
            <c:bubble3D val="0"/>
            <c:spPr>
              <a:solidFill>
                <a:srgbClr val="AEABAB"/>
              </a:solidFill>
            </c:spPr>
            <c:extLst>
              <c:ext xmlns:c16="http://schemas.microsoft.com/office/drawing/2014/chart" uri="{C3380CC4-5D6E-409C-BE32-E72D297353CC}">
                <c16:uniqueId val="{000002B5-63DE-4091-B8DA-DB57396774D4}"/>
              </c:ext>
            </c:extLst>
          </c:dPt>
          <c:dPt>
            <c:idx val="346"/>
            <c:invertIfNegative val="1"/>
            <c:bubble3D val="0"/>
            <c:spPr>
              <a:solidFill>
                <a:srgbClr val="AEABAB"/>
              </a:solidFill>
            </c:spPr>
            <c:extLst>
              <c:ext xmlns:c16="http://schemas.microsoft.com/office/drawing/2014/chart" uri="{C3380CC4-5D6E-409C-BE32-E72D297353CC}">
                <c16:uniqueId val="{000002B7-63DE-4091-B8DA-DB57396774D4}"/>
              </c:ext>
            </c:extLst>
          </c:dPt>
          <c:dPt>
            <c:idx val="347"/>
            <c:invertIfNegative val="1"/>
            <c:bubble3D val="0"/>
            <c:spPr>
              <a:solidFill>
                <a:srgbClr val="AEABAB"/>
              </a:solidFill>
            </c:spPr>
            <c:extLst>
              <c:ext xmlns:c16="http://schemas.microsoft.com/office/drawing/2014/chart" uri="{C3380CC4-5D6E-409C-BE32-E72D297353CC}">
                <c16:uniqueId val="{000002B9-63DE-4091-B8DA-DB57396774D4}"/>
              </c:ext>
            </c:extLst>
          </c:dPt>
          <c:dPt>
            <c:idx val="348"/>
            <c:invertIfNegative val="1"/>
            <c:bubble3D val="0"/>
            <c:spPr>
              <a:solidFill>
                <a:srgbClr val="AEABAB"/>
              </a:solidFill>
            </c:spPr>
            <c:extLst>
              <c:ext xmlns:c16="http://schemas.microsoft.com/office/drawing/2014/chart" uri="{C3380CC4-5D6E-409C-BE32-E72D297353CC}">
                <c16:uniqueId val="{000002BB-63DE-4091-B8DA-DB57396774D4}"/>
              </c:ext>
            </c:extLst>
          </c:dPt>
          <c:dPt>
            <c:idx val="349"/>
            <c:invertIfNegative val="1"/>
            <c:bubble3D val="0"/>
            <c:spPr>
              <a:solidFill>
                <a:srgbClr val="AEABAB"/>
              </a:solidFill>
            </c:spPr>
            <c:extLst>
              <c:ext xmlns:c16="http://schemas.microsoft.com/office/drawing/2014/chart" uri="{C3380CC4-5D6E-409C-BE32-E72D297353CC}">
                <c16:uniqueId val="{000002BD-63DE-4091-B8DA-DB57396774D4}"/>
              </c:ext>
            </c:extLst>
          </c:dPt>
          <c:dPt>
            <c:idx val="350"/>
            <c:invertIfNegative val="1"/>
            <c:bubble3D val="0"/>
            <c:spPr>
              <a:solidFill>
                <a:srgbClr val="AEABAB"/>
              </a:solidFill>
            </c:spPr>
            <c:extLst>
              <c:ext xmlns:c16="http://schemas.microsoft.com/office/drawing/2014/chart" uri="{C3380CC4-5D6E-409C-BE32-E72D297353CC}">
                <c16:uniqueId val="{000002BF-63DE-4091-B8DA-DB57396774D4}"/>
              </c:ext>
            </c:extLst>
          </c:dPt>
          <c:dPt>
            <c:idx val="351"/>
            <c:invertIfNegative val="1"/>
            <c:bubble3D val="0"/>
            <c:spPr>
              <a:solidFill>
                <a:srgbClr val="AEABAB"/>
              </a:solidFill>
            </c:spPr>
            <c:extLst>
              <c:ext xmlns:c16="http://schemas.microsoft.com/office/drawing/2014/chart" uri="{C3380CC4-5D6E-409C-BE32-E72D297353CC}">
                <c16:uniqueId val="{000002C1-63DE-4091-B8DA-DB57396774D4}"/>
              </c:ext>
            </c:extLst>
          </c:dPt>
          <c:dPt>
            <c:idx val="352"/>
            <c:invertIfNegative val="1"/>
            <c:bubble3D val="0"/>
            <c:spPr>
              <a:solidFill>
                <a:srgbClr val="AEABAB"/>
              </a:solidFill>
            </c:spPr>
            <c:extLst>
              <c:ext xmlns:c16="http://schemas.microsoft.com/office/drawing/2014/chart" uri="{C3380CC4-5D6E-409C-BE32-E72D297353CC}">
                <c16:uniqueId val="{000002C3-63DE-4091-B8DA-DB57396774D4}"/>
              </c:ext>
            </c:extLst>
          </c:dPt>
          <c:dPt>
            <c:idx val="353"/>
            <c:invertIfNegative val="1"/>
            <c:bubble3D val="0"/>
            <c:spPr>
              <a:solidFill>
                <a:srgbClr val="AEABAB"/>
              </a:solidFill>
            </c:spPr>
            <c:extLst>
              <c:ext xmlns:c16="http://schemas.microsoft.com/office/drawing/2014/chart" uri="{C3380CC4-5D6E-409C-BE32-E72D297353CC}">
                <c16:uniqueId val="{000002C5-63DE-4091-B8DA-DB57396774D4}"/>
              </c:ext>
            </c:extLst>
          </c:dPt>
          <c:dPt>
            <c:idx val="354"/>
            <c:invertIfNegative val="1"/>
            <c:bubble3D val="0"/>
            <c:spPr>
              <a:solidFill>
                <a:srgbClr val="AEABAB"/>
              </a:solidFill>
            </c:spPr>
            <c:extLst>
              <c:ext xmlns:c16="http://schemas.microsoft.com/office/drawing/2014/chart" uri="{C3380CC4-5D6E-409C-BE32-E72D297353CC}">
                <c16:uniqueId val="{000002C7-63DE-4091-B8DA-DB57396774D4}"/>
              </c:ext>
            </c:extLst>
          </c:dPt>
          <c:dPt>
            <c:idx val="355"/>
            <c:invertIfNegative val="1"/>
            <c:bubble3D val="0"/>
            <c:spPr>
              <a:solidFill>
                <a:srgbClr val="AEABAB"/>
              </a:solidFill>
            </c:spPr>
            <c:extLst>
              <c:ext xmlns:c16="http://schemas.microsoft.com/office/drawing/2014/chart" uri="{C3380CC4-5D6E-409C-BE32-E72D297353CC}">
                <c16:uniqueId val="{000002C9-63DE-4091-B8DA-DB57396774D4}"/>
              </c:ext>
            </c:extLst>
          </c:dPt>
          <c:dPt>
            <c:idx val="356"/>
            <c:invertIfNegative val="1"/>
            <c:bubble3D val="0"/>
            <c:spPr>
              <a:solidFill>
                <a:srgbClr val="AEABAB"/>
              </a:solidFill>
            </c:spPr>
            <c:extLst>
              <c:ext xmlns:c16="http://schemas.microsoft.com/office/drawing/2014/chart" uri="{C3380CC4-5D6E-409C-BE32-E72D297353CC}">
                <c16:uniqueId val="{000002CB-63DE-4091-B8DA-DB57396774D4}"/>
              </c:ext>
            </c:extLst>
          </c:dPt>
          <c:dPt>
            <c:idx val="357"/>
            <c:invertIfNegative val="1"/>
            <c:bubble3D val="0"/>
            <c:spPr>
              <a:solidFill>
                <a:srgbClr val="AEABAB"/>
              </a:solidFill>
            </c:spPr>
            <c:extLst>
              <c:ext xmlns:c16="http://schemas.microsoft.com/office/drawing/2014/chart" uri="{C3380CC4-5D6E-409C-BE32-E72D297353CC}">
                <c16:uniqueId val="{000002CD-63DE-4091-B8DA-DB57396774D4}"/>
              </c:ext>
            </c:extLst>
          </c:dPt>
          <c:dPt>
            <c:idx val="358"/>
            <c:invertIfNegative val="1"/>
            <c:bubble3D val="0"/>
            <c:spPr>
              <a:solidFill>
                <a:srgbClr val="AEABAB"/>
              </a:solidFill>
            </c:spPr>
            <c:extLst>
              <c:ext xmlns:c16="http://schemas.microsoft.com/office/drawing/2014/chart" uri="{C3380CC4-5D6E-409C-BE32-E72D297353CC}">
                <c16:uniqueId val="{000002CF-63DE-4091-B8DA-DB57396774D4}"/>
              </c:ext>
            </c:extLst>
          </c:dPt>
          <c:dPt>
            <c:idx val="359"/>
            <c:invertIfNegative val="1"/>
            <c:bubble3D val="0"/>
            <c:spPr>
              <a:solidFill>
                <a:srgbClr val="AEABAB"/>
              </a:solidFill>
            </c:spPr>
            <c:extLst>
              <c:ext xmlns:c16="http://schemas.microsoft.com/office/drawing/2014/chart" uri="{C3380CC4-5D6E-409C-BE32-E72D297353CC}">
                <c16:uniqueId val="{000002D1-63DE-4091-B8DA-DB57396774D4}"/>
              </c:ext>
            </c:extLst>
          </c:dPt>
          <c:dPt>
            <c:idx val="360"/>
            <c:invertIfNegative val="1"/>
            <c:bubble3D val="0"/>
            <c:spPr>
              <a:solidFill>
                <a:srgbClr val="AEABAB"/>
              </a:solidFill>
            </c:spPr>
            <c:extLst>
              <c:ext xmlns:c16="http://schemas.microsoft.com/office/drawing/2014/chart" uri="{C3380CC4-5D6E-409C-BE32-E72D297353CC}">
                <c16:uniqueId val="{000002D3-63DE-4091-B8DA-DB57396774D4}"/>
              </c:ext>
            </c:extLst>
          </c:dPt>
          <c:dPt>
            <c:idx val="361"/>
            <c:invertIfNegative val="1"/>
            <c:bubble3D val="0"/>
            <c:spPr>
              <a:solidFill>
                <a:srgbClr val="AEABAB"/>
              </a:solidFill>
            </c:spPr>
            <c:extLst>
              <c:ext xmlns:c16="http://schemas.microsoft.com/office/drawing/2014/chart" uri="{C3380CC4-5D6E-409C-BE32-E72D297353CC}">
                <c16:uniqueId val="{000002D5-63DE-4091-B8DA-DB57396774D4}"/>
              </c:ext>
            </c:extLst>
          </c:dPt>
          <c:dPt>
            <c:idx val="362"/>
            <c:invertIfNegative val="1"/>
            <c:bubble3D val="0"/>
            <c:spPr>
              <a:solidFill>
                <a:srgbClr val="AEABAB"/>
              </a:solidFill>
            </c:spPr>
            <c:extLst>
              <c:ext xmlns:c16="http://schemas.microsoft.com/office/drawing/2014/chart" uri="{C3380CC4-5D6E-409C-BE32-E72D297353CC}">
                <c16:uniqueId val="{000002D7-63DE-4091-B8DA-DB57396774D4}"/>
              </c:ext>
            </c:extLst>
          </c:dPt>
          <c:dPt>
            <c:idx val="363"/>
            <c:invertIfNegative val="1"/>
            <c:bubble3D val="0"/>
            <c:spPr>
              <a:solidFill>
                <a:srgbClr val="AEABAB"/>
              </a:solidFill>
            </c:spPr>
            <c:extLst>
              <c:ext xmlns:c16="http://schemas.microsoft.com/office/drawing/2014/chart" uri="{C3380CC4-5D6E-409C-BE32-E72D297353CC}">
                <c16:uniqueId val="{000002D9-63DE-4091-B8DA-DB57396774D4}"/>
              </c:ext>
            </c:extLst>
          </c:dPt>
          <c:dPt>
            <c:idx val="364"/>
            <c:invertIfNegative val="1"/>
            <c:bubble3D val="0"/>
            <c:spPr>
              <a:solidFill>
                <a:srgbClr val="AEABAB"/>
              </a:solidFill>
            </c:spPr>
            <c:extLst>
              <c:ext xmlns:c16="http://schemas.microsoft.com/office/drawing/2014/chart" uri="{C3380CC4-5D6E-409C-BE32-E72D297353CC}">
                <c16:uniqueId val="{000002DB-63DE-4091-B8DA-DB57396774D4}"/>
              </c:ext>
            </c:extLst>
          </c:dPt>
          <c:dPt>
            <c:idx val="365"/>
            <c:invertIfNegative val="1"/>
            <c:bubble3D val="0"/>
            <c:spPr>
              <a:solidFill>
                <a:srgbClr val="AEABAB"/>
              </a:solidFill>
            </c:spPr>
            <c:extLst>
              <c:ext xmlns:c16="http://schemas.microsoft.com/office/drawing/2014/chart" uri="{C3380CC4-5D6E-409C-BE32-E72D297353CC}">
                <c16:uniqueId val="{000002DD-63DE-4091-B8DA-DB57396774D4}"/>
              </c:ext>
            </c:extLst>
          </c:dPt>
          <c:dPt>
            <c:idx val="366"/>
            <c:invertIfNegative val="1"/>
            <c:bubble3D val="0"/>
            <c:spPr>
              <a:solidFill>
                <a:srgbClr val="AEABAB"/>
              </a:solidFill>
            </c:spPr>
            <c:extLst>
              <c:ext xmlns:c16="http://schemas.microsoft.com/office/drawing/2014/chart" uri="{C3380CC4-5D6E-409C-BE32-E72D297353CC}">
                <c16:uniqueId val="{000002DF-63DE-4091-B8DA-DB57396774D4}"/>
              </c:ext>
            </c:extLst>
          </c:dPt>
          <c:dPt>
            <c:idx val="367"/>
            <c:invertIfNegative val="1"/>
            <c:bubble3D val="0"/>
            <c:spPr>
              <a:solidFill>
                <a:srgbClr val="AEABAB"/>
              </a:solidFill>
            </c:spPr>
            <c:extLst>
              <c:ext xmlns:c16="http://schemas.microsoft.com/office/drawing/2014/chart" uri="{C3380CC4-5D6E-409C-BE32-E72D297353CC}">
                <c16:uniqueId val="{000002E1-63DE-4091-B8DA-DB57396774D4}"/>
              </c:ext>
            </c:extLst>
          </c:dPt>
          <c:dPt>
            <c:idx val="368"/>
            <c:invertIfNegative val="1"/>
            <c:bubble3D val="0"/>
            <c:spPr>
              <a:solidFill>
                <a:srgbClr val="AEABAB"/>
              </a:solidFill>
            </c:spPr>
            <c:extLst>
              <c:ext xmlns:c16="http://schemas.microsoft.com/office/drawing/2014/chart" uri="{C3380CC4-5D6E-409C-BE32-E72D297353CC}">
                <c16:uniqueId val="{000002E3-63DE-4091-B8DA-DB57396774D4}"/>
              </c:ext>
            </c:extLst>
          </c:dPt>
          <c:dPt>
            <c:idx val="369"/>
            <c:invertIfNegative val="1"/>
            <c:bubble3D val="0"/>
            <c:spPr>
              <a:solidFill>
                <a:srgbClr val="AEABAB"/>
              </a:solidFill>
            </c:spPr>
            <c:extLst>
              <c:ext xmlns:c16="http://schemas.microsoft.com/office/drawing/2014/chart" uri="{C3380CC4-5D6E-409C-BE32-E72D297353CC}">
                <c16:uniqueId val="{000002E5-63DE-4091-B8DA-DB57396774D4}"/>
              </c:ext>
            </c:extLst>
          </c:dPt>
          <c:dPt>
            <c:idx val="370"/>
            <c:invertIfNegative val="1"/>
            <c:bubble3D val="0"/>
            <c:spPr>
              <a:solidFill>
                <a:srgbClr val="AEABAB"/>
              </a:solidFill>
            </c:spPr>
            <c:extLst>
              <c:ext xmlns:c16="http://schemas.microsoft.com/office/drawing/2014/chart" uri="{C3380CC4-5D6E-409C-BE32-E72D297353CC}">
                <c16:uniqueId val="{000002E7-63DE-4091-B8DA-DB57396774D4}"/>
              </c:ext>
            </c:extLst>
          </c:dPt>
          <c:dPt>
            <c:idx val="371"/>
            <c:invertIfNegative val="1"/>
            <c:bubble3D val="0"/>
            <c:spPr>
              <a:solidFill>
                <a:srgbClr val="AEABAB"/>
              </a:solidFill>
            </c:spPr>
            <c:extLst>
              <c:ext xmlns:c16="http://schemas.microsoft.com/office/drawing/2014/chart" uri="{C3380CC4-5D6E-409C-BE32-E72D297353CC}">
                <c16:uniqueId val="{000002E9-63DE-4091-B8DA-DB57396774D4}"/>
              </c:ext>
            </c:extLst>
          </c:dPt>
          <c:dPt>
            <c:idx val="372"/>
            <c:invertIfNegative val="1"/>
            <c:bubble3D val="0"/>
            <c:spPr>
              <a:solidFill>
                <a:srgbClr val="AEABAB"/>
              </a:solidFill>
            </c:spPr>
            <c:extLst>
              <c:ext xmlns:c16="http://schemas.microsoft.com/office/drawing/2014/chart" uri="{C3380CC4-5D6E-409C-BE32-E72D297353CC}">
                <c16:uniqueId val="{000002EB-63DE-4091-B8DA-DB57396774D4}"/>
              </c:ext>
            </c:extLst>
          </c:dPt>
          <c:dPt>
            <c:idx val="373"/>
            <c:invertIfNegative val="1"/>
            <c:bubble3D val="0"/>
            <c:spPr>
              <a:solidFill>
                <a:srgbClr val="AEABAB"/>
              </a:solidFill>
            </c:spPr>
            <c:extLst>
              <c:ext xmlns:c16="http://schemas.microsoft.com/office/drawing/2014/chart" uri="{C3380CC4-5D6E-409C-BE32-E72D297353CC}">
                <c16:uniqueId val="{000002ED-63DE-4091-B8DA-DB57396774D4}"/>
              </c:ext>
            </c:extLst>
          </c:dPt>
          <c:dPt>
            <c:idx val="374"/>
            <c:invertIfNegative val="1"/>
            <c:bubble3D val="0"/>
            <c:spPr>
              <a:solidFill>
                <a:srgbClr val="AEABAB"/>
              </a:solidFill>
            </c:spPr>
            <c:extLst>
              <c:ext xmlns:c16="http://schemas.microsoft.com/office/drawing/2014/chart" uri="{C3380CC4-5D6E-409C-BE32-E72D297353CC}">
                <c16:uniqueId val="{000002EF-63DE-4091-B8DA-DB57396774D4}"/>
              </c:ext>
            </c:extLst>
          </c:dPt>
          <c:dPt>
            <c:idx val="375"/>
            <c:invertIfNegative val="1"/>
            <c:bubble3D val="0"/>
            <c:spPr>
              <a:solidFill>
                <a:srgbClr val="AEABAB"/>
              </a:solidFill>
            </c:spPr>
            <c:extLst>
              <c:ext xmlns:c16="http://schemas.microsoft.com/office/drawing/2014/chart" uri="{C3380CC4-5D6E-409C-BE32-E72D297353CC}">
                <c16:uniqueId val="{000002F1-63DE-4091-B8DA-DB57396774D4}"/>
              </c:ext>
            </c:extLst>
          </c:dPt>
          <c:dPt>
            <c:idx val="376"/>
            <c:invertIfNegative val="1"/>
            <c:bubble3D val="0"/>
            <c:spPr>
              <a:solidFill>
                <a:srgbClr val="AEABAB"/>
              </a:solidFill>
            </c:spPr>
            <c:extLst>
              <c:ext xmlns:c16="http://schemas.microsoft.com/office/drawing/2014/chart" uri="{C3380CC4-5D6E-409C-BE32-E72D297353CC}">
                <c16:uniqueId val="{000002F3-63DE-4091-B8DA-DB57396774D4}"/>
              </c:ext>
            </c:extLst>
          </c:dPt>
          <c:dPt>
            <c:idx val="377"/>
            <c:invertIfNegative val="1"/>
            <c:bubble3D val="0"/>
            <c:spPr>
              <a:solidFill>
                <a:srgbClr val="AEABAB"/>
              </a:solidFill>
            </c:spPr>
            <c:extLst>
              <c:ext xmlns:c16="http://schemas.microsoft.com/office/drawing/2014/chart" uri="{C3380CC4-5D6E-409C-BE32-E72D297353CC}">
                <c16:uniqueId val="{000002F5-63DE-4091-B8DA-DB57396774D4}"/>
              </c:ext>
            </c:extLst>
          </c:dPt>
          <c:dPt>
            <c:idx val="378"/>
            <c:invertIfNegative val="1"/>
            <c:bubble3D val="0"/>
            <c:spPr>
              <a:solidFill>
                <a:srgbClr val="AEABAB"/>
              </a:solidFill>
            </c:spPr>
            <c:extLst>
              <c:ext xmlns:c16="http://schemas.microsoft.com/office/drawing/2014/chart" uri="{C3380CC4-5D6E-409C-BE32-E72D297353CC}">
                <c16:uniqueId val="{000002F7-63DE-4091-B8DA-DB57396774D4}"/>
              </c:ext>
            </c:extLst>
          </c:dPt>
          <c:dPt>
            <c:idx val="379"/>
            <c:invertIfNegative val="1"/>
            <c:bubble3D val="0"/>
            <c:spPr>
              <a:solidFill>
                <a:srgbClr val="AEABAB"/>
              </a:solidFill>
            </c:spPr>
            <c:extLst>
              <c:ext xmlns:c16="http://schemas.microsoft.com/office/drawing/2014/chart" uri="{C3380CC4-5D6E-409C-BE32-E72D297353CC}">
                <c16:uniqueId val="{000002F9-63DE-4091-B8DA-DB57396774D4}"/>
              </c:ext>
            </c:extLst>
          </c:dPt>
          <c:dPt>
            <c:idx val="380"/>
            <c:invertIfNegative val="1"/>
            <c:bubble3D val="0"/>
            <c:spPr>
              <a:solidFill>
                <a:srgbClr val="AEABAB"/>
              </a:solidFill>
            </c:spPr>
            <c:extLst>
              <c:ext xmlns:c16="http://schemas.microsoft.com/office/drawing/2014/chart" uri="{C3380CC4-5D6E-409C-BE32-E72D297353CC}">
                <c16:uniqueId val="{000002FB-63DE-4091-B8DA-DB57396774D4}"/>
              </c:ext>
            </c:extLst>
          </c:dPt>
          <c:dPt>
            <c:idx val="381"/>
            <c:invertIfNegative val="1"/>
            <c:bubble3D val="0"/>
            <c:spPr>
              <a:solidFill>
                <a:srgbClr val="AEABAB"/>
              </a:solidFill>
            </c:spPr>
            <c:extLst>
              <c:ext xmlns:c16="http://schemas.microsoft.com/office/drawing/2014/chart" uri="{C3380CC4-5D6E-409C-BE32-E72D297353CC}">
                <c16:uniqueId val="{000002FD-63DE-4091-B8DA-DB57396774D4}"/>
              </c:ext>
            </c:extLst>
          </c:dPt>
          <c:dPt>
            <c:idx val="382"/>
            <c:invertIfNegative val="1"/>
            <c:bubble3D val="0"/>
            <c:spPr>
              <a:solidFill>
                <a:srgbClr val="AEABAB"/>
              </a:solidFill>
            </c:spPr>
            <c:extLst>
              <c:ext xmlns:c16="http://schemas.microsoft.com/office/drawing/2014/chart" uri="{C3380CC4-5D6E-409C-BE32-E72D297353CC}">
                <c16:uniqueId val="{000002FF-63DE-4091-B8DA-DB57396774D4}"/>
              </c:ext>
            </c:extLst>
          </c:dPt>
          <c:dPt>
            <c:idx val="383"/>
            <c:invertIfNegative val="1"/>
            <c:bubble3D val="0"/>
            <c:spPr>
              <a:solidFill>
                <a:srgbClr val="AEABAB"/>
              </a:solidFill>
            </c:spPr>
            <c:extLst>
              <c:ext xmlns:c16="http://schemas.microsoft.com/office/drawing/2014/chart" uri="{C3380CC4-5D6E-409C-BE32-E72D297353CC}">
                <c16:uniqueId val="{00000301-63DE-4091-B8DA-DB57396774D4}"/>
              </c:ext>
            </c:extLst>
          </c:dPt>
          <c:dPt>
            <c:idx val="384"/>
            <c:invertIfNegative val="1"/>
            <c:bubble3D val="0"/>
            <c:spPr>
              <a:solidFill>
                <a:srgbClr val="AEABAB"/>
              </a:solidFill>
            </c:spPr>
            <c:extLst>
              <c:ext xmlns:c16="http://schemas.microsoft.com/office/drawing/2014/chart" uri="{C3380CC4-5D6E-409C-BE32-E72D297353CC}">
                <c16:uniqueId val="{00000303-63DE-4091-B8DA-DB57396774D4}"/>
              </c:ext>
            </c:extLst>
          </c:dPt>
          <c:dPt>
            <c:idx val="385"/>
            <c:invertIfNegative val="1"/>
            <c:bubble3D val="0"/>
            <c:spPr>
              <a:solidFill>
                <a:srgbClr val="AEABAB"/>
              </a:solidFill>
            </c:spPr>
            <c:extLst>
              <c:ext xmlns:c16="http://schemas.microsoft.com/office/drawing/2014/chart" uri="{C3380CC4-5D6E-409C-BE32-E72D297353CC}">
                <c16:uniqueId val="{00000305-63DE-4091-B8DA-DB57396774D4}"/>
              </c:ext>
            </c:extLst>
          </c:dPt>
          <c:dPt>
            <c:idx val="386"/>
            <c:invertIfNegative val="1"/>
            <c:bubble3D val="0"/>
            <c:spPr>
              <a:solidFill>
                <a:srgbClr val="AEABAB"/>
              </a:solidFill>
            </c:spPr>
            <c:extLst>
              <c:ext xmlns:c16="http://schemas.microsoft.com/office/drawing/2014/chart" uri="{C3380CC4-5D6E-409C-BE32-E72D297353CC}">
                <c16:uniqueId val="{00000307-63DE-4091-B8DA-DB57396774D4}"/>
              </c:ext>
            </c:extLst>
          </c:dPt>
          <c:dPt>
            <c:idx val="387"/>
            <c:invertIfNegative val="1"/>
            <c:bubble3D val="0"/>
            <c:spPr>
              <a:solidFill>
                <a:srgbClr val="AEABAB"/>
              </a:solidFill>
            </c:spPr>
            <c:extLst>
              <c:ext xmlns:c16="http://schemas.microsoft.com/office/drawing/2014/chart" uri="{C3380CC4-5D6E-409C-BE32-E72D297353CC}">
                <c16:uniqueId val="{00000309-63DE-4091-B8DA-DB57396774D4}"/>
              </c:ext>
            </c:extLst>
          </c:dPt>
          <c:dPt>
            <c:idx val="388"/>
            <c:invertIfNegative val="1"/>
            <c:bubble3D val="0"/>
            <c:spPr>
              <a:solidFill>
                <a:srgbClr val="AEABAB"/>
              </a:solidFill>
            </c:spPr>
            <c:extLst>
              <c:ext xmlns:c16="http://schemas.microsoft.com/office/drawing/2014/chart" uri="{C3380CC4-5D6E-409C-BE32-E72D297353CC}">
                <c16:uniqueId val="{0000030B-63DE-4091-B8DA-DB57396774D4}"/>
              </c:ext>
            </c:extLst>
          </c:dPt>
          <c:dPt>
            <c:idx val="389"/>
            <c:invertIfNegative val="1"/>
            <c:bubble3D val="0"/>
            <c:spPr>
              <a:solidFill>
                <a:srgbClr val="AEABAB"/>
              </a:solidFill>
            </c:spPr>
            <c:extLst>
              <c:ext xmlns:c16="http://schemas.microsoft.com/office/drawing/2014/chart" uri="{C3380CC4-5D6E-409C-BE32-E72D297353CC}">
                <c16:uniqueId val="{0000030D-63DE-4091-B8DA-DB57396774D4}"/>
              </c:ext>
            </c:extLst>
          </c:dPt>
          <c:dPt>
            <c:idx val="390"/>
            <c:invertIfNegative val="1"/>
            <c:bubble3D val="0"/>
            <c:spPr>
              <a:solidFill>
                <a:srgbClr val="AEABAB"/>
              </a:solidFill>
            </c:spPr>
            <c:extLst>
              <c:ext xmlns:c16="http://schemas.microsoft.com/office/drawing/2014/chart" uri="{C3380CC4-5D6E-409C-BE32-E72D297353CC}">
                <c16:uniqueId val="{0000030F-63DE-4091-B8DA-DB57396774D4}"/>
              </c:ext>
            </c:extLst>
          </c:dPt>
          <c:dPt>
            <c:idx val="391"/>
            <c:invertIfNegative val="1"/>
            <c:bubble3D val="0"/>
            <c:spPr>
              <a:solidFill>
                <a:srgbClr val="AEABAB"/>
              </a:solidFill>
            </c:spPr>
            <c:extLst>
              <c:ext xmlns:c16="http://schemas.microsoft.com/office/drawing/2014/chart" uri="{C3380CC4-5D6E-409C-BE32-E72D297353CC}">
                <c16:uniqueId val="{00000311-63DE-4091-B8DA-DB57396774D4}"/>
              </c:ext>
            </c:extLst>
          </c:dPt>
          <c:dPt>
            <c:idx val="392"/>
            <c:invertIfNegative val="1"/>
            <c:bubble3D val="0"/>
            <c:spPr>
              <a:solidFill>
                <a:srgbClr val="AEABAB"/>
              </a:solidFill>
            </c:spPr>
            <c:extLst>
              <c:ext xmlns:c16="http://schemas.microsoft.com/office/drawing/2014/chart" uri="{C3380CC4-5D6E-409C-BE32-E72D297353CC}">
                <c16:uniqueId val="{00000313-63DE-4091-B8DA-DB57396774D4}"/>
              </c:ext>
            </c:extLst>
          </c:dPt>
          <c:dPt>
            <c:idx val="393"/>
            <c:invertIfNegative val="1"/>
            <c:bubble3D val="0"/>
            <c:spPr>
              <a:solidFill>
                <a:srgbClr val="AEABAB"/>
              </a:solidFill>
            </c:spPr>
            <c:extLst>
              <c:ext xmlns:c16="http://schemas.microsoft.com/office/drawing/2014/chart" uri="{C3380CC4-5D6E-409C-BE32-E72D297353CC}">
                <c16:uniqueId val="{00000315-63DE-4091-B8DA-DB57396774D4}"/>
              </c:ext>
            </c:extLst>
          </c:dPt>
          <c:dPt>
            <c:idx val="394"/>
            <c:invertIfNegative val="1"/>
            <c:bubble3D val="0"/>
            <c:spPr>
              <a:solidFill>
                <a:srgbClr val="AEABAB"/>
              </a:solidFill>
            </c:spPr>
            <c:extLst>
              <c:ext xmlns:c16="http://schemas.microsoft.com/office/drawing/2014/chart" uri="{C3380CC4-5D6E-409C-BE32-E72D297353CC}">
                <c16:uniqueId val="{00000317-63DE-4091-B8DA-DB57396774D4}"/>
              </c:ext>
            </c:extLst>
          </c:dPt>
          <c:dPt>
            <c:idx val="395"/>
            <c:invertIfNegative val="1"/>
            <c:bubble3D val="0"/>
            <c:spPr>
              <a:solidFill>
                <a:srgbClr val="AEABAB"/>
              </a:solidFill>
            </c:spPr>
            <c:extLst>
              <c:ext xmlns:c16="http://schemas.microsoft.com/office/drawing/2014/chart" uri="{C3380CC4-5D6E-409C-BE32-E72D297353CC}">
                <c16:uniqueId val="{00000319-63DE-4091-B8DA-DB57396774D4}"/>
              </c:ext>
            </c:extLst>
          </c:dPt>
          <c:dPt>
            <c:idx val="396"/>
            <c:invertIfNegative val="1"/>
            <c:bubble3D val="0"/>
            <c:spPr>
              <a:solidFill>
                <a:srgbClr val="AEABAB"/>
              </a:solidFill>
            </c:spPr>
            <c:extLst>
              <c:ext xmlns:c16="http://schemas.microsoft.com/office/drawing/2014/chart" uri="{C3380CC4-5D6E-409C-BE32-E72D297353CC}">
                <c16:uniqueId val="{0000031B-63DE-4091-B8DA-DB57396774D4}"/>
              </c:ext>
            </c:extLst>
          </c:dPt>
          <c:dPt>
            <c:idx val="397"/>
            <c:invertIfNegative val="1"/>
            <c:bubble3D val="0"/>
            <c:spPr>
              <a:solidFill>
                <a:srgbClr val="AEABAB"/>
              </a:solidFill>
            </c:spPr>
            <c:extLst>
              <c:ext xmlns:c16="http://schemas.microsoft.com/office/drawing/2014/chart" uri="{C3380CC4-5D6E-409C-BE32-E72D297353CC}">
                <c16:uniqueId val="{0000031D-63DE-4091-B8DA-DB57396774D4}"/>
              </c:ext>
            </c:extLst>
          </c:dPt>
          <c:dPt>
            <c:idx val="398"/>
            <c:invertIfNegative val="1"/>
            <c:bubble3D val="0"/>
            <c:spPr>
              <a:solidFill>
                <a:srgbClr val="AEABAB"/>
              </a:solidFill>
            </c:spPr>
            <c:extLst>
              <c:ext xmlns:c16="http://schemas.microsoft.com/office/drawing/2014/chart" uri="{C3380CC4-5D6E-409C-BE32-E72D297353CC}">
                <c16:uniqueId val="{0000031F-63DE-4091-B8DA-DB57396774D4}"/>
              </c:ext>
            </c:extLst>
          </c:dPt>
          <c:dPt>
            <c:idx val="399"/>
            <c:invertIfNegative val="1"/>
            <c:bubble3D val="0"/>
            <c:spPr>
              <a:solidFill>
                <a:srgbClr val="AEABAB"/>
              </a:solidFill>
            </c:spPr>
            <c:extLst>
              <c:ext xmlns:c16="http://schemas.microsoft.com/office/drawing/2014/chart" uri="{C3380CC4-5D6E-409C-BE32-E72D297353CC}">
                <c16:uniqueId val="{00000321-63DE-4091-B8DA-DB57396774D4}"/>
              </c:ext>
            </c:extLst>
          </c:dPt>
          <c:dPt>
            <c:idx val="400"/>
            <c:invertIfNegative val="1"/>
            <c:bubble3D val="0"/>
            <c:spPr>
              <a:solidFill>
                <a:srgbClr val="AEABAB"/>
              </a:solidFill>
            </c:spPr>
            <c:extLst>
              <c:ext xmlns:c16="http://schemas.microsoft.com/office/drawing/2014/chart" uri="{C3380CC4-5D6E-409C-BE32-E72D297353CC}">
                <c16:uniqueId val="{00000323-63DE-4091-B8DA-DB57396774D4}"/>
              </c:ext>
            </c:extLst>
          </c:dPt>
          <c:dPt>
            <c:idx val="401"/>
            <c:invertIfNegative val="1"/>
            <c:bubble3D val="0"/>
            <c:spPr>
              <a:solidFill>
                <a:srgbClr val="AEABAB"/>
              </a:solidFill>
            </c:spPr>
            <c:extLst>
              <c:ext xmlns:c16="http://schemas.microsoft.com/office/drawing/2014/chart" uri="{C3380CC4-5D6E-409C-BE32-E72D297353CC}">
                <c16:uniqueId val="{00000325-63DE-4091-B8DA-DB57396774D4}"/>
              </c:ext>
            </c:extLst>
          </c:dPt>
          <c:dPt>
            <c:idx val="402"/>
            <c:invertIfNegative val="1"/>
            <c:bubble3D val="0"/>
            <c:spPr>
              <a:solidFill>
                <a:srgbClr val="AEABAB"/>
              </a:solidFill>
            </c:spPr>
            <c:extLst>
              <c:ext xmlns:c16="http://schemas.microsoft.com/office/drawing/2014/chart" uri="{C3380CC4-5D6E-409C-BE32-E72D297353CC}">
                <c16:uniqueId val="{00000327-63DE-4091-B8DA-DB57396774D4}"/>
              </c:ext>
            </c:extLst>
          </c:dPt>
          <c:dPt>
            <c:idx val="403"/>
            <c:invertIfNegative val="1"/>
            <c:bubble3D val="0"/>
            <c:spPr>
              <a:solidFill>
                <a:srgbClr val="AEABAB"/>
              </a:solidFill>
            </c:spPr>
            <c:extLst>
              <c:ext xmlns:c16="http://schemas.microsoft.com/office/drawing/2014/chart" uri="{C3380CC4-5D6E-409C-BE32-E72D297353CC}">
                <c16:uniqueId val="{00000329-63DE-4091-B8DA-DB57396774D4}"/>
              </c:ext>
            </c:extLst>
          </c:dPt>
          <c:dPt>
            <c:idx val="404"/>
            <c:invertIfNegative val="1"/>
            <c:bubble3D val="0"/>
            <c:spPr>
              <a:solidFill>
                <a:srgbClr val="AEABAB"/>
              </a:solidFill>
            </c:spPr>
            <c:extLst>
              <c:ext xmlns:c16="http://schemas.microsoft.com/office/drawing/2014/chart" uri="{C3380CC4-5D6E-409C-BE32-E72D297353CC}">
                <c16:uniqueId val="{0000032B-63DE-4091-B8DA-DB57396774D4}"/>
              </c:ext>
            </c:extLst>
          </c:dPt>
          <c:dPt>
            <c:idx val="405"/>
            <c:invertIfNegative val="1"/>
            <c:bubble3D val="0"/>
            <c:spPr>
              <a:solidFill>
                <a:srgbClr val="AEABAB"/>
              </a:solidFill>
            </c:spPr>
            <c:extLst>
              <c:ext xmlns:c16="http://schemas.microsoft.com/office/drawing/2014/chart" uri="{C3380CC4-5D6E-409C-BE32-E72D297353CC}">
                <c16:uniqueId val="{0000032D-63DE-4091-B8DA-DB57396774D4}"/>
              </c:ext>
            </c:extLst>
          </c:dPt>
          <c:dPt>
            <c:idx val="406"/>
            <c:invertIfNegative val="1"/>
            <c:bubble3D val="0"/>
            <c:spPr>
              <a:solidFill>
                <a:srgbClr val="AEABAB"/>
              </a:solidFill>
            </c:spPr>
            <c:extLst>
              <c:ext xmlns:c16="http://schemas.microsoft.com/office/drawing/2014/chart" uri="{C3380CC4-5D6E-409C-BE32-E72D297353CC}">
                <c16:uniqueId val="{0000032F-63DE-4091-B8DA-DB57396774D4}"/>
              </c:ext>
            </c:extLst>
          </c:dPt>
          <c:dPt>
            <c:idx val="407"/>
            <c:invertIfNegative val="1"/>
            <c:bubble3D val="0"/>
            <c:spPr>
              <a:solidFill>
                <a:srgbClr val="AEABAB"/>
              </a:solidFill>
            </c:spPr>
            <c:extLst>
              <c:ext xmlns:c16="http://schemas.microsoft.com/office/drawing/2014/chart" uri="{C3380CC4-5D6E-409C-BE32-E72D297353CC}">
                <c16:uniqueId val="{00000331-63DE-4091-B8DA-DB57396774D4}"/>
              </c:ext>
            </c:extLst>
          </c:dPt>
          <c:dPt>
            <c:idx val="408"/>
            <c:invertIfNegative val="1"/>
            <c:bubble3D val="0"/>
            <c:spPr>
              <a:solidFill>
                <a:srgbClr val="AEABAB"/>
              </a:solidFill>
            </c:spPr>
            <c:extLst>
              <c:ext xmlns:c16="http://schemas.microsoft.com/office/drawing/2014/chart" uri="{C3380CC4-5D6E-409C-BE32-E72D297353CC}">
                <c16:uniqueId val="{00000333-63DE-4091-B8DA-DB57396774D4}"/>
              </c:ext>
            </c:extLst>
          </c:dPt>
          <c:dPt>
            <c:idx val="409"/>
            <c:invertIfNegative val="1"/>
            <c:bubble3D val="0"/>
            <c:spPr>
              <a:solidFill>
                <a:srgbClr val="AEABAB"/>
              </a:solidFill>
            </c:spPr>
            <c:extLst>
              <c:ext xmlns:c16="http://schemas.microsoft.com/office/drawing/2014/chart" uri="{C3380CC4-5D6E-409C-BE32-E72D297353CC}">
                <c16:uniqueId val="{00000335-63DE-4091-B8DA-DB57396774D4}"/>
              </c:ext>
            </c:extLst>
          </c:dPt>
          <c:dPt>
            <c:idx val="410"/>
            <c:invertIfNegative val="1"/>
            <c:bubble3D val="0"/>
            <c:spPr>
              <a:solidFill>
                <a:srgbClr val="AEABAB"/>
              </a:solidFill>
            </c:spPr>
            <c:extLst>
              <c:ext xmlns:c16="http://schemas.microsoft.com/office/drawing/2014/chart" uri="{C3380CC4-5D6E-409C-BE32-E72D297353CC}">
                <c16:uniqueId val="{00000337-63DE-4091-B8DA-DB57396774D4}"/>
              </c:ext>
            </c:extLst>
          </c:dPt>
          <c:dPt>
            <c:idx val="411"/>
            <c:invertIfNegative val="1"/>
            <c:bubble3D val="0"/>
            <c:spPr>
              <a:solidFill>
                <a:srgbClr val="AEABAB"/>
              </a:solidFill>
            </c:spPr>
            <c:extLst>
              <c:ext xmlns:c16="http://schemas.microsoft.com/office/drawing/2014/chart" uri="{C3380CC4-5D6E-409C-BE32-E72D297353CC}">
                <c16:uniqueId val="{00000339-63DE-4091-B8DA-DB57396774D4}"/>
              </c:ext>
            </c:extLst>
          </c:dPt>
          <c:dPt>
            <c:idx val="412"/>
            <c:invertIfNegative val="1"/>
            <c:bubble3D val="0"/>
            <c:spPr>
              <a:solidFill>
                <a:srgbClr val="AEABAB"/>
              </a:solidFill>
            </c:spPr>
            <c:extLst>
              <c:ext xmlns:c16="http://schemas.microsoft.com/office/drawing/2014/chart" uri="{C3380CC4-5D6E-409C-BE32-E72D297353CC}">
                <c16:uniqueId val="{0000033B-63DE-4091-B8DA-DB57396774D4}"/>
              </c:ext>
            </c:extLst>
          </c:dPt>
          <c:dPt>
            <c:idx val="413"/>
            <c:invertIfNegative val="1"/>
            <c:bubble3D val="0"/>
            <c:spPr>
              <a:solidFill>
                <a:srgbClr val="AEABAB"/>
              </a:solidFill>
            </c:spPr>
            <c:extLst>
              <c:ext xmlns:c16="http://schemas.microsoft.com/office/drawing/2014/chart" uri="{C3380CC4-5D6E-409C-BE32-E72D297353CC}">
                <c16:uniqueId val="{0000033D-63DE-4091-B8DA-DB57396774D4}"/>
              </c:ext>
            </c:extLst>
          </c:dPt>
          <c:dPt>
            <c:idx val="414"/>
            <c:invertIfNegative val="1"/>
            <c:bubble3D val="0"/>
            <c:spPr>
              <a:solidFill>
                <a:srgbClr val="AEABAB"/>
              </a:solidFill>
            </c:spPr>
            <c:extLst>
              <c:ext xmlns:c16="http://schemas.microsoft.com/office/drawing/2014/chart" uri="{C3380CC4-5D6E-409C-BE32-E72D297353CC}">
                <c16:uniqueId val="{0000033F-63DE-4091-B8DA-DB57396774D4}"/>
              </c:ext>
            </c:extLst>
          </c:dPt>
          <c:dPt>
            <c:idx val="415"/>
            <c:invertIfNegative val="1"/>
            <c:bubble3D val="0"/>
            <c:spPr>
              <a:solidFill>
                <a:srgbClr val="AEABAB"/>
              </a:solidFill>
            </c:spPr>
            <c:extLst>
              <c:ext xmlns:c16="http://schemas.microsoft.com/office/drawing/2014/chart" uri="{C3380CC4-5D6E-409C-BE32-E72D297353CC}">
                <c16:uniqueId val="{00000341-63DE-4091-B8DA-DB57396774D4}"/>
              </c:ext>
            </c:extLst>
          </c:dPt>
          <c:dPt>
            <c:idx val="416"/>
            <c:invertIfNegative val="1"/>
            <c:bubble3D val="0"/>
            <c:spPr>
              <a:solidFill>
                <a:srgbClr val="AEABAB"/>
              </a:solidFill>
            </c:spPr>
            <c:extLst>
              <c:ext xmlns:c16="http://schemas.microsoft.com/office/drawing/2014/chart" uri="{C3380CC4-5D6E-409C-BE32-E72D297353CC}">
                <c16:uniqueId val="{00000343-63DE-4091-B8DA-DB57396774D4}"/>
              </c:ext>
            </c:extLst>
          </c:dPt>
          <c:dPt>
            <c:idx val="417"/>
            <c:invertIfNegative val="1"/>
            <c:bubble3D val="0"/>
            <c:spPr>
              <a:solidFill>
                <a:srgbClr val="AEABAB"/>
              </a:solidFill>
            </c:spPr>
            <c:extLst>
              <c:ext xmlns:c16="http://schemas.microsoft.com/office/drawing/2014/chart" uri="{C3380CC4-5D6E-409C-BE32-E72D297353CC}">
                <c16:uniqueId val="{00000345-63DE-4091-B8DA-DB57396774D4}"/>
              </c:ext>
            </c:extLst>
          </c:dPt>
          <c:dPt>
            <c:idx val="418"/>
            <c:invertIfNegative val="1"/>
            <c:bubble3D val="0"/>
            <c:spPr>
              <a:solidFill>
                <a:srgbClr val="AEABAB"/>
              </a:solidFill>
            </c:spPr>
            <c:extLst>
              <c:ext xmlns:c16="http://schemas.microsoft.com/office/drawing/2014/chart" uri="{C3380CC4-5D6E-409C-BE32-E72D297353CC}">
                <c16:uniqueId val="{00000347-63DE-4091-B8DA-DB57396774D4}"/>
              </c:ext>
            </c:extLst>
          </c:dPt>
          <c:dPt>
            <c:idx val="419"/>
            <c:invertIfNegative val="1"/>
            <c:bubble3D val="0"/>
            <c:spPr>
              <a:solidFill>
                <a:srgbClr val="AEABAB"/>
              </a:solidFill>
            </c:spPr>
            <c:extLst>
              <c:ext xmlns:c16="http://schemas.microsoft.com/office/drawing/2014/chart" uri="{C3380CC4-5D6E-409C-BE32-E72D297353CC}">
                <c16:uniqueId val="{00000349-63DE-4091-B8DA-DB57396774D4}"/>
              </c:ext>
            </c:extLst>
          </c:dPt>
          <c:dPt>
            <c:idx val="420"/>
            <c:invertIfNegative val="1"/>
            <c:bubble3D val="0"/>
            <c:spPr>
              <a:solidFill>
                <a:srgbClr val="AEABAB"/>
              </a:solidFill>
            </c:spPr>
            <c:extLst>
              <c:ext xmlns:c16="http://schemas.microsoft.com/office/drawing/2014/chart" uri="{C3380CC4-5D6E-409C-BE32-E72D297353CC}">
                <c16:uniqueId val="{0000034B-63DE-4091-B8DA-DB57396774D4}"/>
              </c:ext>
            </c:extLst>
          </c:dPt>
          <c:dPt>
            <c:idx val="421"/>
            <c:invertIfNegative val="1"/>
            <c:bubble3D val="0"/>
            <c:spPr>
              <a:solidFill>
                <a:srgbClr val="AEABAB"/>
              </a:solidFill>
            </c:spPr>
            <c:extLst>
              <c:ext xmlns:c16="http://schemas.microsoft.com/office/drawing/2014/chart" uri="{C3380CC4-5D6E-409C-BE32-E72D297353CC}">
                <c16:uniqueId val="{0000034D-63DE-4091-B8DA-DB57396774D4}"/>
              </c:ext>
            </c:extLst>
          </c:dPt>
          <c:dPt>
            <c:idx val="422"/>
            <c:invertIfNegative val="1"/>
            <c:bubble3D val="0"/>
            <c:spPr>
              <a:solidFill>
                <a:srgbClr val="AEABAB"/>
              </a:solidFill>
            </c:spPr>
            <c:extLst>
              <c:ext xmlns:c16="http://schemas.microsoft.com/office/drawing/2014/chart" uri="{C3380CC4-5D6E-409C-BE32-E72D297353CC}">
                <c16:uniqueId val="{0000034F-63DE-4091-B8DA-DB57396774D4}"/>
              </c:ext>
            </c:extLst>
          </c:dPt>
          <c:dPt>
            <c:idx val="423"/>
            <c:invertIfNegative val="1"/>
            <c:bubble3D val="0"/>
            <c:spPr>
              <a:solidFill>
                <a:srgbClr val="AEABAB"/>
              </a:solidFill>
            </c:spPr>
            <c:extLst>
              <c:ext xmlns:c16="http://schemas.microsoft.com/office/drawing/2014/chart" uri="{C3380CC4-5D6E-409C-BE32-E72D297353CC}">
                <c16:uniqueId val="{00000351-63DE-4091-B8DA-DB57396774D4}"/>
              </c:ext>
            </c:extLst>
          </c:dPt>
          <c:dPt>
            <c:idx val="424"/>
            <c:invertIfNegative val="1"/>
            <c:bubble3D val="0"/>
            <c:spPr>
              <a:solidFill>
                <a:srgbClr val="AEABAB"/>
              </a:solidFill>
            </c:spPr>
            <c:extLst>
              <c:ext xmlns:c16="http://schemas.microsoft.com/office/drawing/2014/chart" uri="{C3380CC4-5D6E-409C-BE32-E72D297353CC}">
                <c16:uniqueId val="{00000353-63DE-4091-B8DA-DB57396774D4}"/>
              </c:ext>
            </c:extLst>
          </c:dPt>
          <c:dPt>
            <c:idx val="425"/>
            <c:invertIfNegative val="1"/>
            <c:bubble3D val="0"/>
            <c:spPr>
              <a:solidFill>
                <a:srgbClr val="AEABAB"/>
              </a:solidFill>
            </c:spPr>
            <c:extLst>
              <c:ext xmlns:c16="http://schemas.microsoft.com/office/drawing/2014/chart" uri="{C3380CC4-5D6E-409C-BE32-E72D297353CC}">
                <c16:uniqueId val="{00000355-63DE-4091-B8DA-DB57396774D4}"/>
              </c:ext>
            </c:extLst>
          </c:dPt>
          <c:dPt>
            <c:idx val="426"/>
            <c:invertIfNegative val="1"/>
            <c:bubble3D val="0"/>
            <c:spPr>
              <a:solidFill>
                <a:srgbClr val="AEABAB"/>
              </a:solidFill>
            </c:spPr>
            <c:extLst>
              <c:ext xmlns:c16="http://schemas.microsoft.com/office/drawing/2014/chart" uri="{C3380CC4-5D6E-409C-BE32-E72D297353CC}">
                <c16:uniqueId val="{00000357-63DE-4091-B8DA-DB57396774D4}"/>
              </c:ext>
            </c:extLst>
          </c:dPt>
          <c:dPt>
            <c:idx val="427"/>
            <c:invertIfNegative val="1"/>
            <c:bubble3D val="0"/>
            <c:spPr>
              <a:solidFill>
                <a:srgbClr val="AEABAB"/>
              </a:solidFill>
            </c:spPr>
            <c:extLst>
              <c:ext xmlns:c16="http://schemas.microsoft.com/office/drawing/2014/chart" uri="{C3380CC4-5D6E-409C-BE32-E72D297353CC}">
                <c16:uniqueId val="{00000359-63DE-4091-B8DA-DB57396774D4}"/>
              </c:ext>
            </c:extLst>
          </c:dPt>
          <c:dPt>
            <c:idx val="428"/>
            <c:invertIfNegative val="1"/>
            <c:bubble3D val="0"/>
            <c:spPr>
              <a:solidFill>
                <a:srgbClr val="AEABAB"/>
              </a:solidFill>
            </c:spPr>
            <c:extLst>
              <c:ext xmlns:c16="http://schemas.microsoft.com/office/drawing/2014/chart" uri="{C3380CC4-5D6E-409C-BE32-E72D297353CC}">
                <c16:uniqueId val="{0000035B-63DE-4091-B8DA-DB57396774D4}"/>
              </c:ext>
            </c:extLst>
          </c:dPt>
          <c:dPt>
            <c:idx val="429"/>
            <c:invertIfNegative val="1"/>
            <c:bubble3D val="0"/>
            <c:spPr>
              <a:solidFill>
                <a:srgbClr val="AEABAB"/>
              </a:solidFill>
            </c:spPr>
            <c:extLst>
              <c:ext xmlns:c16="http://schemas.microsoft.com/office/drawing/2014/chart" uri="{C3380CC4-5D6E-409C-BE32-E72D297353CC}">
                <c16:uniqueId val="{0000035D-63DE-4091-B8DA-DB57396774D4}"/>
              </c:ext>
            </c:extLst>
          </c:dPt>
          <c:dPt>
            <c:idx val="430"/>
            <c:invertIfNegative val="1"/>
            <c:bubble3D val="0"/>
            <c:spPr>
              <a:solidFill>
                <a:srgbClr val="AEABAB"/>
              </a:solidFill>
            </c:spPr>
            <c:extLst>
              <c:ext xmlns:c16="http://schemas.microsoft.com/office/drawing/2014/chart" uri="{C3380CC4-5D6E-409C-BE32-E72D297353CC}">
                <c16:uniqueId val="{0000035F-63DE-4091-B8DA-DB57396774D4}"/>
              </c:ext>
            </c:extLst>
          </c:dPt>
          <c:dPt>
            <c:idx val="431"/>
            <c:invertIfNegative val="1"/>
            <c:bubble3D val="0"/>
            <c:spPr>
              <a:solidFill>
                <a:srgbClr val="AEABAB"/>
              </a:solidFill>
            </c:spPr>
            <c:extLst>
              <c:ext xmlns:c16="http://schemas.microsoft.com/office/drawing/2014/chart" uri="{C3380CC4-5D6E-409C-BE32-E72D297353CC}">
                <c16:uniqueId val="{00000361-63DE-4091-B8DA-DB57396774D4}"/>
              </c:ext>
            </c:extLst>
          </c:dPt>
          <c:dPt>
            <c:idx val="432"/>
            <c:invertIfNegative val="1"/>
            <c:bubble3D val="0"/>
            <c:spPr>
              <a:solidFill>
                <a:srgbClr val="AEABAB"/>
              </a:solidFill>
            </c:spPr>
            <c:extLst>
              <c:ext xmlns:c16="http://schemas.microsoft.com/office/drawing/2014/chart" uri="{C3380CC4-5D6E-409C-BE32-E72D297353CC}">
                <c16:uniqueId val="{00000363-63DE-4091-B8DA-DB57396774D4}"/>
              </c:ext>
            </c:extLst>
          </c:dPt>
          <c:dPt>
            <c:idx val="433"/>
            <c:invertIfNegative val="1"/>
            <c:bubble3D val="0"/>
            <c:spPr>
              <a:solidFill>
                <a:srgbClr val="AEABAB"/>
              </a:solidFill>
            </c:spPr>
            <c:extLst>
              <c:ext xmlns:c16="http://schemas.microsoft.com/office/drawing/2014/chart" uri="{C3380CC4-5D6E-409C-BE32-E72D297353CC}">
                <c16:uniqueId val="{00000365-63DE-4091-B8DA-DB57396774D4}"/>
              </c:ext>
            </c:extLst>
          </c:dPt>
          <c:dPt>
            <c:idx val="434"/>
            <c:invertIfNegative val="1"/>
            <c:bubble3D val="0"/>
            <c:spPr>
              <a:solidFill>
                <a:srgbClr val="AEABAB"/>
              </a:solidFill>
            </c:spPr>
            <c:extLst>
              <c:ext xmlns:c16="http://schemas.microsoft.com/office/drawing/2014/chart" uri="{C3380CC4-5D6E-409C-BE32-E72D297353CC}">
                <c16:uniqueId val="{00000367-63DE-4091-B8DA-DB57396774D4}"/>
              </c:ext>
            </c:extLst>
          </c:dPt>
          <c:dPt>
            <c:idx val="435"/>
            <c:invertIfNegative val="1"/>
            <c:bubble3D val="0"/>
            <c:spPr>
              <a:solidFill>
                <a:srgbClr val="AEABAB"/>
              </a:solidFill>
            </c:spPr>
            <c:extLst>
              <c:ext xmlns:c16="http://schemas.microsoft.com/office/drawing/2014/chart" uri="{C3380CC4-5D6E-409C-BE32-E72D297353CC}">
                <c16:uniqueId val="{00000369-63DE-4091-B8DA-DB57396774D4}"/>
              </c:ext>
            </c:extLst>
          </c:dPt>
          <c:dPt>
            <c:idx val="436"/>
            <c:invertIfNegative val="1"/>
            <c:bubble3D val="0"/>
            <c:spPr>
              <a:solidFill>
                <a:srgbClr val="AEABAB"/>
              </a:solidFill>
            </c:spPr>
            <c:extLst>
              <c:ext xmlns:c16="http://schemas.microsoft.com/office/drawing/2014/chart" uri="{C3380CC4-5D6E-409C-BE32-E72D297353CC}">
                <c16:uniqueId val="{0000036B-63DE-4091-B8DA-DB57396774D4}"/>
              </c:ext>
            </c:extLst>
          </c:dPt>
          <c:dPt>
            <c:idx val="437"/>
            <c:invertIfNegative val="1"/>
            <c:bubble3D val="0"/>
            <c:spPr>
              <a:solidFill>
                <a:srgbClr val="AEABAB"/>
              </a:solidFill>
            </c:spPr>
            <c:extLst>
              <c:ext xmlns:c16="http://schemas.microsoft.com/office/drawing/2014/chart" uri="{C3380CC4-5D6E-409C-BE32-E72D297353CC}">
                <c16:uniqueId val="{0000036D-63DE-4091-B8DA-DB57396774D4}"/>
              </c:ext>
            </c:extLst>
          </c:dPt>
          <c:dPt>
            <c:idx val="438"/>
            <c:invertIfNegative val="1"/>
            <c:bubble3D val="0"/>
            <c:spPr>
              <a:solidFill>
                <a:srgbClr val="AEABAB"/>
              </a:solidFill>
            </c:spPr>
            <c:extLst>
              <c:ext xmlns:c16="http://schemas.microsoft.com/office/drawing/2014/chart" uri="{C3380CC4-5D6E-409C-BE32-E72D297353CC}">
                <c16:uniqueId val="{0000036F-63DE-4091-B8DA-DB57396774D4}"/>
              </c:ext>
            </c:extLst>
          </c:dPt>
          <c:dPt>
            <c:idx val="439"/>
            <c:invertIfNegative val="1"/>
            <c:bubble3D val="0"/>
            <c:spPr>
              <a:solidFill>
                <a:srgbClr val="AEABAB"/>
              </a:solidFill>
            </c:spPr>
            <c:extLst>
              <c:ext xmlns:c16="http://schemas.microsoft.com/office/drawing/2014/chart" uri="{C3380CC4-5D6E-409C-BE32-E72D297353CC}">
                <c16:uniqueId val="{00000371-63DE-4091-B8DA-DB57396774D4}"/>
              </c:ext>
            </c:extLst>
          </c:dPt>
          <c:dPt>
            <c:idx val="440"/>
            <c:invertIfNegative val="1"/>
            <c:bubble3D val="0"/>
            <c:spPr>
              <a:solidFill>
                <a:srgbClr val="AEABAB"/>
              </a:solidFill>
            </c:spPr>
            <c:extLst>
              <c:ext xmlns:c16="http://schemas.microsoft.com/office/drawing/2014/chart" uri="{C3380CC4-5D6E-409C-BE32-E72D297353CC}">
                <c16:uniqueId val="{00000373-63DE-4091-B8DA-DB57396774D4}"/>
              </c:ext>
            </c:extLst>
          </c:dPt>
          <c:dPt>
            <c:idx val="441"/>
            <c:invertIfNegative val="1"/>
            <c:bubble3D val="0"/>
            <c:spPr>
              <a:solidFill>
                <a:srgbClr val="AEABAB"/>
              </a:solidFill>
            </c:spPr>
            <c:extLst>
              <c:ext xmlns:c16="http://schemas.microsoft.com/office/drawing/2014/chart" uri="{C3380CC4-5D6E-409C-BE32-E72D297353CC}">
                <c16:uniqueId val="{00000375-63DE-4091-B8DA-DB57396774D4}"/>
              </c:ext>
            </c:extLst>
          </c:dPt>
          <c:dPt>
            <c:idx val="442"/>
            <c:invertIfNegative val="1"/>
            <c:bubble3D val="0"/>
            <c:spPr>
              <a:solidFill>
                <a:srgbClr val="AEABAB"/>
              </a:solidFill>
            </c:spPr>
            <c:extLst>
              <c:ext xmlns:c16="http://schemas.microsoft.com/office/drawing/2014/chart" uri="{C3380CC4-5D6E-409C-BE32-E72D297353CC}">
                <c16:uniqueId val="{00000377-63DE-4091-B8DA-DB57396774D4}"/>
              </c:ext>
            </c:extLst>
          </c:dPt>
          <c:dPt>
            <c:idx val="443"/>
            <c:invertIfNegative val="1"/>
            <c:bubble3D val="0"/>
            <c:spPr>
              <a:solidFill>
                <a:srgbClr val="AEABAB"/>
              </a:solidFill>
            </c:spPr>
            <c:extLst>
              <c:ext xmlns:c16="http://schemas.microsoft.com/office/drawing/2014/chart" uri="{C3380CC4-5D6E-409C-BE32-E72D297353CC}">
                <c16:uniqueId val="{00000379-63DE-4091-B8DA-DB57396774D4}"/>
              </c:ext>
            </c:extLst>
          </c:dPt>
          <c:dPt>
            <c:idx val="444"/>
            <c:invertIfNegative val="1"/>
            <c:bubble3D val="0"/>
            <c:spPr>
              <a:solidFill>
                <a:srgbClr val="AEABAB"/>
              </a:solidFill>
            </c:spPr>
            <c:extLst>
              <c:ext xmlns:c16="http://schemas.microsoft.com/office/drawing/2014/chart" uri="{C3380CC4-5D6E-409C-BE32-E72D297353CC}">
                <c16:uniqueId val="{0000037B-63DE-4091-B8DA-DB57396774D4}"/>
              </c:ext>
            </c:extLst>
          </c:dPt>
          <c:dPt>
            <c:idx val="445"/>
            <c:invertIfNegative val="1"/>
            <c:bubble3D val="0"/>
            <c:spPr>
              <a:solidFill>
                <a:srgbClr val="AEABAB"/>
              </a:solidFill>
            </c:spPr>
            <c:extLst>
              <c:ext xmlns:c16="http://schemas.microsoft.com/office/drawing/2014/chart" uri="{C3380CC4-5D6E-409C-BE32-E72D297353CC}">
                <c16:uniqueId val="{0000037D-63DE-4091-B8DA-DB57396774D4}"/>
              </c:ext>
            </c:extLst>
          </c:dPt>
          <c:dPt>
            <c:idx val="446"/>
            <c:invertIfNegative val="1"/>
            <c:bubble3D val="0"/>
            <c:spPr>
              <a:solidFill>
                <a:srgbClr val="AEABAB"/>
              </a:solidFill>
            </c:spPr>
            <c:extLst>
              <c:ext xmlns:c16="http://schemas.microsoft.com/office/drawing/2014/chart" uri="{C3380CC4-5D6E-409C-BE32-E72D297353CC}">
                <c16:uniqueId val="{0000037F-63DE-4091-B8DA-DB57396774D4}"/>
              </c:ext>
            </c:extLst>
          </c:dPt>
          <c:dPt>
            <c:idx val="447"/>
            <c:invertIfNegative val="1"/>
            <c:bubble3D val="0"/>
            <c:spPr>
              <a:solidFill>
                <a:srgbClr val="AEABAB"/>
              </a:solidFill>
            </c:spPr>
            <c:extLst>
              <c:ext xmlns:c16="http://schemas.microsoft.com/office/drawing/2014/chart" uri="{C3380CC4-5D6E-409C-BE32-E72D297353CC}">
                <c16:uniqueId val="{00000381-63DE-4091-B8DA-DB57396774D4}"/>
              </c:ext>
            </c:extLst>
          </c:dPt>
          <c:dPt>
            <c:idx val="448"/>
            <c:invertIfNegative val="1"/>
            <c:bubble3D val="0"/>
            <c:spPr>
              <a:solidFill>
                <a:srgbClr val="AEABAB"/>
              </a:solidFill>
            </c:spPr>
            <c:extLst>
              <c:ext xmlns:c16="http://schemas.microsoft.com/office/drawing/2014/chart" uri="{C3380CC4-5D6E-409C-BE32-E72D297353CC}">
                <c16:uniqueId val="{00000383-63DE-4091-B8DA-DB57396774D4}"/>
              </c:ext>
            </c:extLst>
          </c:dPt>
          <c:dPt>
            <c:idx val="449"/>
            <c:invertIfNegative val="1"/>
            <c:bubble3D val="0"/>
            <c:spPr>
              <a:solidFill>
                <a:srgbClr val="AEABAB"/>
              </a:solidFill>
            </c:spPr>
            <c:extLst>
              <c:ext xmlns:c16="http://schemas.microsoft.com/office/drawing/2014/chart" uri="{C3380CC4-5D6E-409C-BE32-E72D297353CC}">
                <c16:uniqueId val="{00000385-63DE-4091-B8DA-DB57396774D4}"/>
              </c:ext>
            </c:extLst>
          </c:dPt>
          <c:dPt>
            <c:idx val="450"/>
            <c:invertIfNegative val="1"/>
            <c:bubble3D val="0"/>
            <c:spPr>
              <a:solidFill>
                <a:srgbClr val="AEABAB"/>
              </a:solidFill>
            </c:spPr>
            <c:extLst>
              <c:ext xmlns:c16="http://schemas.microsoft.com/office/drawing/2014/chart" uri="{C3380CC4-5D6E-409C-BE32-E72D297353CC}">
                <c16:uniqueId val="{00000387-63DE-4091-B8DA-DB57396774D4}"/>
              </c:ext>
            </c:extLst>
          </c:dPt>
          <c:dPt>
            <c:idx val="451"/>
            <c:invertIfNegative val="1"/>
            <c:bubble3D val="0"/>
            <c:spPr>
              <a:solidFill>
                <a:srgbClr val="AEABAB"/>
              </a:solidFill>
            </c:spPr>
            <c:extLst>
              <c:ext xmlns:c16="http://schemas.microsoft.com/office/drawing/2014/chart" uri="{C3380CC4-5D6E-409C-BE32-E72D297353CC}">
                <c16:uniqueId val="{00000389-63DE-4091-B8DA-DB57396774D4}"/>
              </c:ext>
            </c:extLst>
          </c:dPt>
          <c:dPt>
            <c:idx val="452"/>
            <c:invertIfNegative val="1"/>
            <c:bubble3D val="0"/>
            <c:spPr>
              <a:solidFill>
                <a:srgbClr val="AEABAB"/>
              </a:solidFill>
            </c:spPr>
            <c:extLst>
              <c:ext xmlns:c16="http://schemas.microsoft.com/office/drawing/2014/chart" uri="{C3380CC4-5D6E-409C-BE32-E72D297353CC}">
                <c16:uniqueId val="{0000038B-63DE-4091-B8DA-DB57396774D4}"/>
              </c:ext>
            </c:extLst>
          </c:dPt>
          <c:dPt>
            <c:idx val="453"/>
            <c:invertIfNegative val="1"/>
            <c:bubble3D val="0"/>
            <c:spPr>
              <a:solidFill>
                <a:srgbClr val="AEABAB"/>
              </a:solidFill>
            </c:spPr>
            <c:extLst>
              <c:ext xmlns:c16="http://schemas.microsoft.com/office/drawing/2014/chart" uri="{C3380CC4-5D6E-409C-BE32-E72D297353CC}">
                <c16:uniqueId val="{0000038D-63DE-4091-B8DA-DB57396774D4}"/>
              </c:ext>
            </c:extLst>
          </c:dPt>
          <c:dPt>
            <c:idx val="454"/>
            <c:invertIfNegative val="1"/>
            <c:bubble3D val="0"/>
            <c:spPr>
              <a:solidFill>
                <a:srgbClr val="AEABAB"/>
              </a:solidFill>
            </c:spPr>
            <c:extLst>
              <c:ext xmlns:c16="http://schemas.microsoft.com/office/drawing/2014/chart" uri="{C3380CC4-5D6E-409C-BE32-E72D297353CC}">
                <c16:uniqueId val="{0000038F-63DE-4091-B8DA-DB57396774D4}"/>
              </c:ext>
            </c:extLst>
          </c:dPt>
          <c:dPt>
            <c:idx val="455"/>
            <c:invertIfNegative val="1"/>
            <c:bubble3D val="0"/>
            <c:spPr>
              <a:solidFill>
                <a:srgbClr val="AEABAB"/>
              </a:solidFill>
            </c:spPr>
            <c:extLst>
              <c:ext xmlns:c16="http://schemas.microsoft.com/office/drawing/2014/chart" uri="{C3380CC4-5D6E-409C-BE32-E72D297353CC}">
                <c16:uniqueId val="{00000391-63DE-4091-B8DA-DB57396774D4}"/>
              </c:ext>
            </c:extLst>
          </c:dPt>
          <c:dPt>
            <c:idx val="456"/>
            <c:invertIfNegative val="1"/>
            <c:bubble3D val="0"/>
            <c:spPr>
              <a:solidFill>
                <a:srgbClr val="AEABAB"/>
              </a:solidFill>
            </c:spPr>
            <c:extLst>
              <c:ext xmlns:c16="http://schemas.microsoft.com/office/drawing/2014/chart" uri="{C3380CC4-5D6E-409C-BE32-E72D297353CC}">
                <c16:uniqueId val="{00000393-63DE-4091-B8DA-DB57396774D4}"/>
              </c:ext>
            </c:extLst>
          </c:dPt>
          <c:dPt>
            <c:idx val="457"/>
            <c:invertIfNegative val="1"/>
            <c:bubble3D val="0"/>
            <c:spPr>
              <a:solidFill>
                <a:srgbClr val="AEABAB"/>
              </a:solidFill>
            </c:spPr>
            <c:extLst>
              <c:ext xmlns:c16="http://schemas.microsoft.com/office/drawing/2014/chart" uri="{C3380CC4-5D6E-409C-BE32-E72D297353CC}">
                <c16:uniqueId val="{00000395-63DE-4091-B8DA-DB57396774D4}"/>
              </c:ext>
            </c:extLst>
          </c:dPt>
          <c:dPt>
            <c:idx val="458"/>
            <c:invertIfNegative val="1"/>
            <c:bubble3D val="0"/>
            <c:spPr>
              <a:solidFill>
                <a:srgbClr val="AEABAB"/>
              </a:solidFill>
            </c:spPr>
            <c:extLst>
              <c:ext xmlns:c16="http://schemas.microsoft.com/office/drawing/2014/chart" uri="{C3380CC4-5D6E-409C-BE32-E72D297353CC}">
                <c16:uniqueId val="{00000397-63DE-4091-B8DA-DB57396774D4}"/>
              </c:ext>
            </c:extLst>
          </c:dPt>
          <c:dPt>
            <c:idx val="459"/>
            <c:invertIfNegative val="1"/>
            <c:bubble3D val="0"/>
            <c:spPr>
              <a:solidFill>
                <a:srgbClr val="AEABAB"/>
              </a:solidFill>
            </c:spPr>
            <c:extLst>
              <c:ext xmlns:c16="http://schemas.microsoft.com/office/drawing/2014/chart" uri="{C3380CC4-5D6E-409C-BE32-E72D297353CC}">
                <c16:uniqueId val="{00000399-63DE-4091-B8DA-DB57396774D4}"/>
              </c:ext>
            </c:extLst>
          </c:dPt>
          <c:dPt>
            <c:idx val="460"/>
            <c:invertIfNegative val="1"/>
            <c:bubble3D val="0"/>
            <c:spPr>
              <a:solidFill>
                <a:srgbClr val="AEABAB"/>
              </a:solidFill>
            </c:spPr>
            <c:extLst>
              <c:ext xmlns:c16="http://schemas.microsoft.com/office/drawing/2014/chart" uri="{C3380CC4-5D6E-409C-BE32-E72D297353CC}">
                <c16:uniqueId val="{0000039B-63DE-4091-B8DA-DB57396774D4}"/>
              </c:ext>
            </c:extLst>
          </c:dPt>
          <c:dPt>
            <c:idx val="461"/>
            <c:invertIfNegative val="1"/>
            <c:bubble3D val="0"/>
            <c:spPr>
              <a:solidFill>
                <a:srgbClr val="AEABAB"/>
              </a:solidFill>
            </c:spPr>
            <c:extLst>
              <c:ext xmlns:c16="http://schemas.microsoft.com/office/drawing/2014/chart" uri="{C3380CC4-5D6E-409C-BE32-E72D297353CC}">
                <c16:uniqueId val="{0000039D-63DE-4091-B8DA-DB57396774D4}"/>
              </c:ext>
            </c:extLst>
          </c:dPt>
          <c:dPt>
            <c:idx val="462"/>
            <c:invertIfNegative val="1"/>
            <c:bubble3D val="0"/>
            <c:spPr>
              <a:solidFill>
                <a:srgbClr val="AEABAB"/>
              </a:solidFill>
            </c:spPr>
            <c:extLst>
              <c:ext xmlns:c16="http://schemas.microsoft.com/office/drawing/2014/chart" uri="{C3380CC4-5D6E-409C-BE32-E72D297353CC}">
                <c16:uniqueId val="{0000039F-63DE-4091-B8DA-DB57396774D4}"/>
              </c:ext>
            </c:extLst>
          </c:dPt>
          <c:dPt>
            <c:idx val="463"/>
            <c:invertIfNegative val="1"/>
            <c:bubble3D val="0"/>
            <c:spPr>
              <a:solidFill>
                <a:srgbClr val="AEABAB"/>
              </a:solidFill>
            </c:spPr>
            <c:extLst>
              <c:ext xmlns:c16="http://schemas.microsoft.com/office/drawing/2014/chart" uri="{C3380CC4-5D6E-409C-BE32-E72D297353CC}">
                <c16:uniqueId val="{000003A1-63DE-4091-B8DA-DB57396774D4}"/>
              </c:ext>
            </c:extLst>
          </c:dPt>
          <c:dPt>
            <c:idx val="464"/>
            <c:invertIfNegative val="1"/>
            <c:bubble3D val="0"/>
            <c:spPr>
              <a:solidFill>
                <a:srgbClr val="AEABAB"/>
              </a:solidFill>
            </c:spPr>
            <c:extLst>
              <c:ext xmlns:c16="http://schemas.microsoft.com/office/drawing/2014/chart" uri="{C3380CC4-5D6E-409C-BE32-E72D297353CC}">
                <c16:uniqueId val="{000003A3-63DE-4091-B8DA-DB57396774D4}"/>
              </c:ext>
            </c:extLst>
          </c:dPt>
          <c:dPt>
            <c:idx val="465"/>
            <c:invertIfNegative val="1"/>
            <c:bubble3D val="0"/>
            <c:spPr>
              <a:solidFill>
                <a:srgbClr val="AEABAB"/>
              </a:solidFill>
            </c:spPr>
            <c:extLst>
              <c:ext xmlns:c16="http://schemas.microsoft.com/office/drawing/2014/chart" uri="{C3380CC4-5D6E-409C-BE32-E72D297353CC}">
                <c16:uniqueId val="{000003A5-63DE-4091-B8DA-DB57396774D4}"/>
              </c:ext>
            </c:extLst>
          </c:dPt>
          <c:dPt>
            <c:idx val="466"/>
            <c:invertIfNegative val="1"/>
            <c:bubble3D val="0"/>
            <c:spPr>
              <a:solidFill>
                <a:srgbClr val="AEABAB"/>
              </a:solidFill>
            </c:spPr>
            <c:extLst>
              <c:ext xmlns:c16="http://schemas.microsoft.com/office/drawing/2014/chart" uri="{C3380CC4-5D6E-409C-BE32-E72D297353CC}">
                <c16:uniqueId val="{000003A7-63DE-4091-B8DA-DB57396774D4}"/>
              </c:ext>
            </c:extLst>
          </c:dPt>
          <c:dPt>
            <c:idx val="467"/>
            <c:invertIfNegative val="1"/>
            <c:bubble3D val="0"/>
            <c:spPr>
              <a:solidFill>
                <a:srgbClr val="AEABAB"/>
              </a:solidFill>
            </c:spPr>
            <c:extLst>
              <c:ext xmlns:c16="http://schemas.microsoft.com/office/drawing/2014/chart" uri="{C3380CC4-5D6E-409C-BE32-E72D297353CC}">
                <c16:uniqueId val="{000003A9-63DE-4091-B8DA-DB57396774D4}"/>
              </c:ext>
            </c:extLst>
          </c:dPt>
          <c:dPt>
            <c:idx val="468"/>
            <c:invertIfNegative val="1"/>
            <c:bubble3D val="0"/>
            <c:spPr>
              <a:solidFill>
                <a:srgbClr val="AEABAB"/>
              </a:solidFill>
            </c:spPr>
            <c:extLst>
              <c:ext xmlns:c16="http://schemas.microsoft.com/office/drawing/2014/chart" uri="{C3380CC4-5D6E-409C-BE32-E72D297353CC}">
                <c16:uniqueId val="{000003AB-63DE-4091-B8DA-DB57396774D4}"/>
              </c:ext>
            </c:extLst>
          </c:dPt>
          <c:dPt>
            <c:idx val="469"/>
            <c:invertIfNegative val="1"/>
            <c:bubble3D val="0"/>
            <c:spPr>
              <a:solidFill>
                <a:srgbClr val="AEABAB"/>
              </a:solidFill>
            </c:spPr>
            <c:extLst>
              <c:ext xmlns:c16="http://schemas.microsoft.com/office/drawing/2014/chart" uri="{C3380CC4-5D6E-409C-BE32-E72D297353CC}">
                <c16:uniqueId val="{000003AD-63DE-4091-B8DA-DB57396774D4}"/>
              </c:ext>
            </c:extLst>
          </c:dPt>
          <c:dPt>
            <c:idx val="470"/>
            <c:invertIfNegative val="1"/>
            <c:bubble3D val="0"/>
            <c:spPr>
              <a:solidFill>
                <a:srgbClr val="AEABAB"/>
              </a:solidFill>
            </c:spPr>
            <c:extLst>
              <c:ext xmlns:c16="http://schemas.microsoft.com/office/drawing/2014/chart" uri="{C3380CC4-5D6E-409C-BE32-E72D297353CC}">
                <c16:uniqueId val="{000003AF-63DE-4091-B8DA-DB57396774D4}"/>
              </c:ext>
            </c:extLst>
          </c:dPt>
          <c:dPt>
            <c:idx val="471"/>
            <c:invertIfNegative val="1"/>
            <c:bubble3D val="0"/>
            <c:spPr>
              <a:solidFill>
                <a:srgbClr val="AEABAB"/>
              </a:solidFill>
            </c:spPr>
            <c:extLst>
              <c:ext xmlns:c16="http://schemas.microsoft.com/office/drawing/2014/chart" uri="{C3380CC4-5D6E-409C-BE32-E72D297353CC}">
                <c16:uniqueId val="{000003B1-63DE-4091-B8DA-DB57396774D4}"/>
              </c:ext>
            </c:extLst>
          </c:dPt>
          <c:dPt>
            <c:idx val="472"/>
            <c:invertIfNegative val="1"/>
            <c:bubble3D val="0"/>
            <c:spPr>
              <a:solidFill>
                <a:srgbClr val="AEABAB"/>
              </a:solidFill>
            </c:spPr>
            <c:extLst>
              <c:ext xmlns:c16="http://schemas.microsoft.com/office/drawing/2014/chart" uri="{C3380CC4-5D6E-409C-BE32-E72D297353CC}">
                <c16:uniqueId val="{000003B3-63DE-4091-B8DA-DB57396774D4}"/>
              </c:ext>
            </c:extLst>
          </c:dPt>
          <c:dPt>
            <c:idx val="473"/>
            <c:invertIfNegative val="1"/>
            <c:bubble3D val="0"/>
            <c:spPr>
              <a:solidFill>
                <a:srgbClr val="AEABAB"/>
              </a:solidFill>
            </c:spPr>
            <c:extLst>
              <c:ext xmlns:c16="http://schemas.microsoft.com/office/drawing/2014/chart" uri="{C3380CC4-5D6E-409C-BE32-E72D297353CC}">
                <c16:uniqueId val="{000003B5-63DE-4091-B8DA-DB57396774D4}"/>
              </c:ext>
            </c:extLst>
          </c:dPt>
          <c:dPt>
            <c:idx val="474"/>
            <c:invertIfNegative val="1"/>
            <c:bubble3D val="0"/>
            <c:spPr>
              <a:solidFill>
                <a:srgbClr val="AEABAB"/>
              </a:solidFill>
            </c:spPr>
            <c:extLst>
              <c:ext xmlns:c16="http://schemas.microsoft.com/office/drawing/2014/chart" uri="{C3380CC4-5D6E-409C-BE32-E72D297353CC}">
                <c16:uniqueId val="{000003B7-63DE-4091-B8DA-DB57396774D4}"/>
              </c:ext>
            </c:extLst>
          </c:dPt>
          <c:dPt>
            <c:idx val="475"/>
            <c:invertIfNegative val="1"/>
            <c:bubble3D val="0"/>
            <c:spPr>
              <a:solidFill>
                <a:srgbClr val="AEABAB"/>
              </a:solidFill>
            </c:spPr>
            <c:extLst>
              <c:ext xmlns:c16="http://schemas.microsoft.com/office/drawing/2014/chart" uri="{C3380CC4-5D6E-409C-BE32-E72D297353CC}">
                <c16:uniqueId val="{000003B9-63DE-4091-B8DA-DB57396774D4}"/>
              </c:ext>
            </c:extLst>
          </c:dPt>
          <c:dPt>
            <c:idx val="476"/>
            <c:invertIfNegative val="1"/>
            <c:bubble3D val="0"/>
            <c:spPr>
              <a:solidFill>
                <a:srgbClr val="AEABAB"/>
              </a:solidFill>
            </c:spPr>
            <c:extLst>
              <c:ext xmlns:c16="http://schemas.microsoft.com/office/drawing/2014/chart" uri="{C3380CC4-5D6E-409C-BE32-E72D297353CC}">
                <c16:uniqueId val="{000003BB-63DE-4091-B8DA-DB57396774D4}"/>
              </c:ext>
            </c:extLst>
          </c:dPt>
          <c:dPt>
            <c:idx val="477"/>
            <c:invertIfNegative val="1"/>
            <c:bubble3D val="0"/>
            <c:spPr>
              <a:solidFill>
                <a:srgbClr val="AEABAB"/>
              </a:solidFill>
            </c:spPr>
            <c:extLst>
              <c:ext xmlns:c16="http://schemas.microsoft.com/office/drawing/2014/chart" uri="{C3380CC4-5D6E-409C-BE32-E72D297353CC}">
                <c16:uniqueId val="{000003BD-63DE-4091-B8DA-DB57396774D4}"/>
              </c:ext>
            </c:extLst>
          </c:dPt>
          <c:dPt>
            <c:idx val="478"/>
            <c:invertIfNegative val="1"/>
            <c:bubble3D val="0"/>
            <c:spPr>
              <a:solidFill>
                <a:srgbClr val="AEABAB"/>
              </a:solidFill>
            </c:spPr>
            <c:extLst>
              <c:ext xmlns:c16="http://schemas.microsoft.com/office/drawing/2014/chart" uri="{C3380CC4-5D6E-409C-BE32-E72D297353CC}">
                <c16:uniqueId val="{000003BF-63DE-4091-B8DA-DB57396774D4}"/>
              </c:ext>
            </c:extLst>
          </c:dPt>
          <c:dPt>
            <c:idx val="479"/>
            <c:invertIfNegative val="1"/>
            <c:bubble3D val="0"/>
            <c:spPr>
              <a:solidFill>
                <a:srgbClr val="AEABAB"/>
              </a:solidFill>
            </c:spPr>
            <c:extLst>
              <c:ext xmlns:c16="http://schemas.microsoft.com/office/drawing/2014/chart" uri="{C3380CC4-5D6E-409C-BE32-E72D297353CC}">
                <c16:uniqueId val="{000003C1-63DE-4091-B8DA-DB57396774D4}"/>
              </c:ext>
            </c:extLst>
          </c:dPt>
          <c:dPt>
            <c:idx val="480"/>
            <c:invertIfNegative val="1"/>
            <c:bubble3D val="0"/>
            <c:spPr>
              <a:solidFill>
                <a:srgbClr val="AEABAB"/>
              </a:solidFill>
            </c:spPr>
            <c:extLst>
              <c:ext xmlns:c16="http://schemas.microsoft.com/office/drawing/2014/chart" uri="{C3380CC4-5D6E-409C-BE32-E72D297353CC}">
                <c16:uniqueId val="{000003C3-63DE-4091-B8DA-DB57396774D4}"/>
              </c:ext>
            </c:extLst>
          </c:dPt>
          <c:dPt>
            <c:idx val="481"/>
            <c:invertIfNegative val="1"/>
            <c:bubble3D val="0"/>
            <c:spPr>
              <a:solidFill>
                <a:srgbClr val="AEABAB"/>
              </a:solidFill>
            </c:spPr>
            <c:extLst>
              <c:ext xmlns:c16="http://schemas.microsoft.com/office/drawing/2014/chart" uri="{C3380CC4-5D6E-409C-BE32-E72D297353CC}">
                <c16:uniqueId val="{000003C5-63DE-4091-B8DA-DB57396774D4}"/>
              </c:ext>
            </c:extLst>
          </c:dPt>
          <c:dPt>
            <c:idx val="482"/>
            <c:invertIfNegative val="1"/>
            <c:bubble3D val="0"/>
            <c:spPr>
              <a:solidFill>
                <a:srgbClr val="AEABAB"/>
              </a:solidFill>
            </c:spPr>
            <c:extLst>
              <c:ext xmlns:c16="http://schemas.microsoft.com/office/drawing/2014/chart" uri="{C3380CC4-5D6E-409C-BE32-E72D297353CC}">
                <c16:uniqueId val="{000003C7-63DE-4091-B8DA-DB57396774D4}"/>
              </c:ext>
            </c:extLst>
          </c:dPt>
          <c:dPt>
            <c:idx val="483"/>
            <c:invertIfNegative val="1"/>
            <c:bubble3D val="0"/>
            <c:spPr>
              <a:solidFill>
                <a:srgbClr val="AEABAB"/>
              </a:solidFill>
            </c:spPr>
            <c:extLst>
              <c:ext xmlns:c16="http://schemas.microsoft.com/office/drawing/2014/chart" uri="{C3380CC4-5D6E-409C-BE32-E72D297353CC}">
                <c16:uniqueId val="{000003C9-63DE-4091-B8DA-DB57396774D4}"/>
              </c:ext>
            </c:extLst>
          </c:dPt>
          <c:dPt>
            <c:idx val="484"/>
            <c:invertIfNegative val="1"/>
            <c:bubble3D val="0"/>
            <c:spPr>
              <a:solidFill>
                <a:srgbClr val="AEABAB"/>
              </a:solidFill>
            </c:spPr>
            <c:extLst>
              <c:ext xmlns:c16="http://schemas.microsoft.com/office/drawing/2014/chart" uri="{C3380CC4-5D6E-409C-BE32-E72D297353CC}">
                <c16:uniqueId val="{000003CB-63DE-4091-B8DA-DB57396774D4}"/>
              </c:ext>
            </c:extLst>
          </c:dPt>
          <c:dPt>
            <c:idx val="485"/>
            <c:invertIfNegative val="1"/>
            <c:bubble3D val="0"/>
            <c:spPr>
              <a:solidFill>
                <a:srgbClr val="AEABAB"/>
              </a:solidFill>
            </c:spPr>
            <c:extLst>
              <c:ext xmlns:c16="http://schemas.microsoft.com/office/drawing/2014/chart" uri="{C3380CC4-5D6E-409C-BE32-E72D297353CC}">
                <c16:uniqueId val="{000003CD-63DE-4091-B8DA-DB57396774D4}"/>
              </c:ext>
            </c:extLst>
          </c:dPt>
          <c:dPt>
            <c:idx val="486"/>
            <c:invertIfNegative val="1"/>
            <c:bubble3D val="0"/>
            <c:spPr>
              <a:solidFill>
                <a:srgbClr val="AEABAB"/>
              </a:solidFill>
            </c:spPr>
            <c:extLst>
              <c:ext xmlns:c16="http://schemas.microsoft.com/office/drawing/2014/chart" uri="{C3380CC4-5D6E-409C-BE32-E72D297353CC}">
                <c16:uniqueId val="{000003CF-63DE-4091-B8DA-DB57396774D4}"/>
              </c:ext>
            </c:extLst>
          </c:dPt>
          <c:dPt>
            <c:idx val="487"/>
            <c:invertIfNegative val="1"/>
            <c:bubble3D val="0"/>
            <c:spPr>
              <a:solidFill>
                <a:srgbClr val="AEABAB"/>
              </a:solidFill>
            </c:spPr>
            <c:extLst>
              <c:ext xmlns:c16="http://schemas.microsoft.com/office/drawing/2014/chart" uri="{C3380CC4-5D6E-409C-BE32-E72D297353CC}">
                <c16:uniqueId val="{000003D1-63DE-4091-B8DA-DB57396774D4}"/>
              </c:ext>
            </c:extLst>
          </c:dPt>
          <c:dPt>
            <c:idx val="488"/>
            <c:invertIfNegative val="1"/>
            <c:bubble3D val="0"/>
            <c:spPr>
              <a:solidFill>
                <a:srgbClr val="AEABAB"/>
              </a:solidFill>
            </c:spPr>
            <c:extLst>
              <c:ext xmlns:c16="http://schemas.microsoft.com/office/drawing/2014/chart" uri="{C3380CC4-5D6E-409C-BE32-E72D297353CC}">
                <c16:uniqueId val="{000003D3-63DE-4091-B8DA-DB57396774D4}"/>
              </c:ext>
            </c:extLst>
          </c:dPt>
          <c:dPt>
            <c:idx val="489"/>
            <c:invertIfNegative val="1"/>
            <c:bubble3D val="0"/>
            <c:spPr>
              <a:solidFill>
                <a:srgbClr val="AEABAB"/>
              </a:solidFill>
            </c:spPr>
            <c:extLst>
              <c:ext xmlns:c16="http://schemas.microsoft.com/office/drawing/2014/chart" uri="{C3380CC4-5D6E-409C-BE32-E72D297353CC}">
                <c16:uniqueId val="{000003D5-63DE-4091-B8DA-DB57396774D4}"/>
              </c:ext>
            </c:extLst>
          </c:dPt>
          <c:dPt>
            <c:idx val="490"/>
            <c:invertIfNegative val="1"/>
            <c:bubble3D val="0"/>
            <c:spPr>
              <a:solidFill>
                <a:srgbClr val="AEABAB"/>
              </a:solidFill>
            </c:spPr>
            <c:extLst>
              <c:ext xmlns:c16="http://schemas.microsoft.com/office/drawing/2014/chart" uri="{C3380CC4-5D6E-409C-BE32-E72D297353CC}">
                <c16:uniqueId val="{000003D7-63DE-4091-B8DA-DB57396774D4}"/>
              </c:ext>
            </c:extLst>
          </c:dPt>
          <c:dPt>
            <c:idx val="491"/>
            <c:invertIfNegative val="1"/>
            <c:bubble3D val="0"/>
            <c:spPr>
              <a:solidFill>
                <a:srgbClr val="AEABAB"/>
              </a:solidFill>
            </c:spPr>
            <c:extLst>
              <c:ext xmlns:c16="http://schemas.microsoft.com/office/drawing/2014/chart" uri="{C3380CC4-5D6E-409C-BE32-E72D297353CC}">
                <c16:uniqueId val="{000003D9-63DE-4091-B8DA-DB57396774D4}"/>
              </c:ext>
            </c:extLst>
          </c:dPt>
          <c:dPt>
            <c:idx val="492"/>
            <c:invertIfNegative val="1"/>
            <c:bubble3D val="0"/>
            <c:spPr>
              <a:solidFill>
                <a:srgbClr val="AEABAB"/>
              </a:solidFill>
            </c:spPr>
            <c:extLst>
              <c:ext xmlns:c16="http://schemas.microsoft.com/office/drawing/2014/chart" uri="{C3380CC4-5D6E-409C-BE32-E72D297353CC}">
                <c16:uniqueId val="{000003DB-63DE-4091-B8DA-DB57396774D4}"/>
              </c:ext>
            </c:extLst>
          </c:dPt>
          <c:dPt>
            <c:idx val="493"/>
            <c:invertIfNegative val="1"/>
            <c:bubble3D val="0"/>
            <c:spPr>
              <a:solidFill>
                <a:srgbClr val="AEABAB"/>
              </a:solidFill>
            </c:spPr>
            <c:extLst>
              <c:ext xmlns:c16="http://schemas.microsoft.com/office/drawing/2014/chart" uri="{C3380CC4-5D6E-409C-BE32-E72D297353CC}">
                <c16:uniqueId val="{000003DD-63DE-4091-B8DA-DB57396774D4}"/>
              </c:ext>
            </c:extLst>
          </c:dPt>
          <c:dPt>
            <c:idx val="494"/>
            <c:invertIfNegative val="1"/>
            <c:bubble3D val="0"/>
            <c:spPr>
              <a:solidFill>
                <a:srgbClr val="AEABAB"/>
              </a:solidFill>
            </c:spPr>
            <c:extLst>
              <c:ext xmlns:c16="http://schemas.microsoft.com/office/drawing/2014/chart" uri="{C3380CC4-5D6E-409C-BE32-E72D297353CC}">
                <c16:uniqueId val="{000003DF-63DE-4091-B8DA-DB57396774D4}"/>
              </c:ext>
            </c:extLst>
          </c:dPt>
          <c:dPt>
            <c:idx val="495"/>
            <c:invertIfNegative val="1"/>
            <c:bubble3D val="0"/>
            <c:spPr>
              <a:solidFill>
                <a:srgbClr val="AEABAB"/>
              </a:solidFill>
            </c:spPr>
            <c:extLst>
              <c:ext xmlns:c16="http://schemas.microsoft.com/office/drawing/2014/chart" uri="{C3380CC4-5D6E-409C-BE32-E72D297353CC}">
                <c16:uniqueId val="{000003E1-63DE-4091-B8DA-DB57396774D4}"/>
              </c:ext>
            </c:extLst>
          </c:dPt>
          <c:dPt>
            <c:idx val="496"/>
            <c:invertIfNegative val="1"/>
            <c:bubble3D val="0"/>
            <c:spPr>
              <a:solidFill>
                <a:srgbClr val="AEABAB"/>
              </a:solidFill>
            </c:spPr>
            <c:extLst>
              <c:ext xmlns:c16="http://schemas.microsoft.com/office/drawing/2014/chart" uri="{C3380CC4-5D6E-409C-BE32-E72D297353CC}">
                <c16:uniqueId val="{000003E3-63DE-4091-B8DA-DB57396774D4}"/>
              </c:ext>
            </c:extLst>
          </c:dPt>
          <c:dPt>
            <c:idx val="497"/>
            <c:invertIfNegative val="1"/>
            <c:bubble3D val="0"/>
            <c:spPr>
              <a:solidFill>
                <a:srgbClr val="AEABAB"/>
              </a:solidFill>
            </c:spPr>
            <c:extLst>
              <c:ext xmlns:c16="http://schemas.microsoft.com/office/drawing/2014/chart" uri="{C3380CC4-5D6E-409C-BE32-E72D297353CC}">
                <c16:uniqueId val="{000003E5-63DE-4091-B8DA-DB57396774D4}"/>
              </c:ext>
            </c:extLst>
          </c:dPt>
          <c:dPt>
            <c:idx val="498"/>
            <c:invertIfNegative val="1"/>
            <c:bubble3D val="0"/>
            <c:spPr>
              <a:solidFill>
                <a:srgbClr val="AEABAB"/>
              </a:solidFill>
            </c:spPr>
            <c:extLst>
              <c:ext xmlns:c16="http://schemas.microsoft.com/office/drawing/2014/chart" uri="{C3380CC4-5D6E-409C-BE32-E72D297353CC}">
                <c16:uniqueId val="{000003E7-63DE-4091-B8DA-DB57396774D4}"/>
              </c:ext>
            </c:extLst>
          </c:dPt>
          <c:dPt>
            <c:idx val="499"/>
            <c:invertIfNegative val="1"/>
            <c:bubble3D val="0"/>
            <c:spPr>
              <a:solidFill>
                <a:srgbClr val="AEABAB"/>
              </a:solidFill>
            </c:spPr>
            <c:extLst>
              <c:ext xmlns:c16="http://schemas.microsoft.com/office/drawing/2014/chart" uri="{C3380CC4-5D6E-409C-BE32-E72D297353CC}">
                <c16:uniqueId val="{000003E9-63DE-4091-B8DA-DB57396774D4}"/>
              </c:ext>
            </c:extLst>
          </c:dPt>
          <c:dPt>
            <c:idx val="500"/>
            <c:invertIfNegative val="1"/>
            <c:bubble3D val="0"/>
            <c:spPr>
              <a:solidFill>
                <a:srgbClr val="AEABAB"/>
              </a:solidFill>
            </c:spPr>
            <c:extLst>
              <c:ext xmlns:c16="http://schemas.microsoft.com/office/drawing/2014/chart" uri="{C3380CC4-5D6E-409C-BE32-E72D297353CC}">
                <c16:uniqueId val="{000003EB-63DE-4091-B8DA-DB57396774D4}"/>
              </c:ext>
            </c:extLst>
          </c:dPt>
          <c:dPt>
            <c:idx val="501"/>
            <c:invertIfNegative val="1"/>
            <c:bubble3D val="0"/>
            <c:spPr>
              <a:solidFill>
                <a:srgbClr val="AEABAB"/>
              </a:solidFill>
            </c:spPr>
            <c:extLst>
              <c:ext xmlns:c16="http://schemas.microsoft.com/office/drawing/2014/chart" uri="{C3380CC4-5D6E-409C-BE32-E72D297353CC}">
                <c16:uniqueId val="{000003ED-63DE-4091-B8DA-DB57396774D4}"/>
              </c:ext>
            </c:extLst>
          </c:dPt>
          <c:dPt>
            <c:idx val="502"/>
            <c:invertIfNegative val="1"/>
            <c:bubble3D val="0"/>
            <c:spPr>
              <a:solidFill>
                <a:srgbClr val="AEABAB"/>
              </a:solidFill>
            </c:spPr>
            <c:extLst>
              <c:ext xmlns:c16="http://schemas.microsoft.com/office/drawing/2014/chart" uri="{C3380CC4-5D6E-409C-BE32-E72D297353CC}">
                <c16:uniqueId val="{000003EF-63DE-4091-B8DA-DB57396774D4}"/>
              </c:ext>
            </c:extLst>
          </c:dPt>
          <c:dPt>
            <c:idx val="503"/>
            <c:invertIfNegative val="1"/>
            <c:bubble3D val="0"/>
            <c:spPr>
              <a:solidFill>
                <a:srgbClr val="AEABAB"/>
              </a:solidFill>
            </c:spPr>
            <c:extLst>
              <c:ext xmlns:c16="http://schemas.microsoft.com/office/drawing/2014/chart" uri="{C3380CC4-5D6E-409C-BE32-E72D297353CC}">
                <c16:uniqueId val="{000003F1-63DE-4091-B8DA-DB57396774D4}"/>
              </c:ext>
            </c:extLst>
          </c:dPt>
          <c:dPt>
            <c:idx val="504"/>
            <c:invertIfNegative val="1"/>
            <c:bubble3D val="0"/>
            <c:spPr>
              <a:solidFill>
                <a:srgbClr val="AEABAB"/>
              </a:solidFill>
            </c:spPr>
            <c:extLst>
              <c:ext xmlns:c16="http://schemas.microsoft.com/office/drawing/2014/chart" uri="{C3380CC4-5D6E-409C-BE32-E72D297353CC}">
                <c16:uniqueId val="{000003F3-63DE-4091-B8DA-DB57396774D4}"/>
              </c:ext>
            </c:extLst>
          </c:dPt>
          <c:dPt>
            <c:idx val="505"/>
            <c:invertIfNegative val="1"/>
            <c:bubble3D val="0"/>
            <c:spPr>
              <a:solidFill>
                <a:srgbClr val="AEABAB"/>
              </a:solidFill>
            </c:spPr>
            <c:extLst>
              <c:ext xmlns:c16="http://schemas.microsoft.com/office/drawing/2014/chart" uri="{C3380CC4-5D6E-409C-BE32-E72D297353CC}">
                <c16:uniqueId val="{000003F5-63DE-4091-B8DA-DB57396774D4}"/>
              </c:ext>
            </c:extLst>
          </c:dPt>
          <c:dPt>
            <c:idx val="506"/>
            <c:invertIfNegative val="1"/>
            <c:bubble3D val="0"/>
            <c:spPr>
              <a:solidFill>
                <a:srgbClr val="AEABAB"/>
              </a:solidFill>
            </c:spPr>
            <c:extLst>
              <c:ext xmlns:c16="http://schemas.microsoft.com/office/drawing/2014/chart" uri="{C3380CC4-5D6E-409C-BE32-E72D297353CC}">
                <c16:uniqueId val="{000003F7-63DE-4091-B8DA-DB57396774D4}"/>
              </c:ext>
            </c:extLst>
          </c:dPt>
          <c:dPt>
            <c:idx val="507"/>
            <c:invertIfNegative val="1"/>
            <c:bubble3D val="0"/>
            <c:spPr>
              <a:solidFill>
                <a:srgbClr val="AEABAB"/>
              </a:solidFill>
            </c:spPr>
            <c:extLst>
              <c:ext xmlns:c16="http://schemas.microsoft.com/office/drawing/2014/chart" uri="{C3380CC4-5D6E-409C-BE32-E72D297353CC}">
                <c16:uniqueId val="{000003F9-63DE-4091-B8DA-DB57396774D4}"/>
              </c:ext>
            </c:extLst>
          </c:dPt>
          <c:dPt>
            <c:idx val="508"/>
            <c:invertIfNegative val="1"/>
            <c:bubble3D val="0"/>
            <c:spPr>
              <a:solidFill>
                <a:srgbClr val="AEABAB"/>
              </a:solidFill>
            </c:spPr>
            <c:extLst>
              <c:ext xmlns:c16="http://schemas.microsoft.com/office/drawing/2014/chart" uri="{C3380CC4-5D6E-409C-BE32-E72D297353CC}">
                <c16:uniqueId val="{000003FB-63DE-4091-B8DA-DB57396774D4}"/>
              </c:ext>
            </c:extLst>
          </c:dPt>
          <c:dPt>
            <c:idx val="509"/>
            <c:invertIfNegative val="1"/>
            <c:bubble3D val="0"/>
            <c:spPr>
              <a:solidFill>
                <a:srgbClr val="AEABAB"/>
              </a:solidFill>
            </c:spPr>
            <c:extLst>
              <c:ext xmlns:c16="http://schemas.microsoft.com/office/drawing/2014/chart" uri="{C3380CC4-5D6E-409C-BE32-E72D297353CC}">
                <c16:uniqueId val="{000003FD-63DE-4091-B8DA-DB57396774D4}"/>
              </c:ext>
            </c:extLst>
          </c:dPt>
          <c:dPt>
            <c:idx val="510"/>
            <c:invertIfNegative val="1"/>
            <c:bubble3D val="0"/>
            <c:spPr>
              <a:solidFill>
                <a:srgbClr val="AEABAB"/>
              </a:solidFill>
            </c:spPr>
            <c:extLst>
              <c:ext xmlns:c16="http://schemas.microsoft.com/office/drawing/2014/chart" uri="{C3380CC4-5D6E-409C-BE32-E72D297353CC}">
                <c16:uniqueId val="{000003FF-63DE-4091-B8DA-DB57396774D4}"/>
              </c:ext>
            </c:extLst>
          </c:dPt>
          <c:dPt>
            <c:idx val="511"/>
            <c:invertIfNegative val="1"/>
            <c:bubble3D val="0"/>
            <c:spPr>
              <a:solidFill>
                <a:srgbClr val="AEABAB"/>
              </a:solidFill>
            </c:spPr>
            <c:extLst>
              <c:ext xmlns:c16="http://schemas.microsoft.com/office/drawing/2014/chart" uri="{C3380CC4-5D6E-409C-BE32-E72D297353CC}">
                <c16:uniqueId val="{00000401-63DE-4091-B8DA-DB57396774D4}"/>
              </c:ext>
            </c:extLst>
          </c:dPt>
          <c:dPt>
            <c:idx val="512"/>
            <c:invertIfNegative val="1"/>
            <c:bubble3D val="0"/>
            <c:spPr>
              <a:solidFill>
                <a:srgbClr val="AEABAB"/>
              </a:solidFill>
            </c:spPr>
            <c:extLst>
              <c:ext xmlns:c16="http://schemas.microsoft.com/office/drawing/2014/chart" uri="{C3380CC4-5D6E-409C-BE32-E72D297353CC}">
                <c16:uniqueId val="{00000403-63DE-4091-B8DA-DB57396774D4}"/>
              </c:ext>
            </c:extLst>
          </c:dPt>
          <c:dPt>
            <c:idx val="513"/>
            <c:invertIfNegative val="1"/>
            <c:bubble3D val="0"/>
            <c:spPr>
              <a:solidFill>
                <a:srgbClr val="AEABAB"/>
              </a:solidFill>
            </c:spPr>
            <c:extLst>
              <c:ext xmlns:c16="http://schemas.microsoft.com/office/drawing/2014/chart" uri="{C3380CC4-5D6E-409C-BE32-E72D297353CC}">
                <c16:uniqueId val="{00000405-63DE-4091-B8DA-DB57396774D4}"/>
              </c:ext>
            </c:extLst>
          </c:dPt>
          <c:dPt>
            <c:idx val="514"/>
            <c:invertIfNegative val="1"/>
            <c:bubble3D val="0"/>
            <c:spPr>
              <a:solidFill>
                <a:srgbClr val="AEABAB"/>
              </a:solidFill>
            </c:spPr>
            <c:extLst>
              <c:ext xmlns:c16="http://schemas.microsoft.com/office/drawing/2014/chart" uri="{C3380CC4-5D6E-409C-BE32-E72D297353CC}">
                <c16:uniqueId val="{00000407-63DE-4091-B8DA-DB57396774D4}"/>
              </c:ext>
            </c:extLst>
          </c:dPt>
          <c:dPt>
            <c:idx val="515"/>
            <c:invertIfNegative val="1"/>
            <c:bubble3D val="0"/>
            <c:spPr>
              <a:solidFill>
                <a:srgbClr val="AEABAB"/>
              </a:solidFill>
            </c:spPr>
            <c:extLst>
              <c:ext xmlns:c16="http://schemas.microsoft.com/office/drawing/2014/chart" uri="{C3380CC4-5D6E-409C-BE32-E72D297353CC}">
                <c16:uniqueId val="{00000409-63DE-4091-B8DA-DB57396774D4}"/>
              </c:ext>
            </c:extLst>
          </c:dPt>
          <c:dPt>
            <c:idx val="516"/>
            <c:invertIfNegative val="1"/>
            <c:bubble3D val="0"/>
            <c:spPr>
              <a:solidFill>
                <a:srgbClr val="AEABAB"/>
              </a:solidFill>
            </c:spPr>
            <c:extLst>
              <c:ext xmlns:c16="http://schemas.microsoft.com/office/drawing/2014/chart" uri="{C3380CC4-5D6E-409C-BE32-E72D297353CC}">
                <c16:uniqueId val="{0000040B-63DE-4091-B8DA-DB57396774D4}"/>
              </c:ext>
            </c:extLst>
          </c:dPt>
          <c:dPt>
            <c:idx val="517"/>
            <c:invertIfNegative val="1"/>
            <c:bubble3D val="0"/>
            <c:spPr>
              <a:solidFill>
                <a:srgbClr val="AEABAB"/>
              </a:solidFill>
            </c:spPr>
            <c:extLst>
              <c:ext xmlns:c16="http://schemas.microsoft.com/office/drawing/2014/chart" uri="{C3380CC4-5D6E-409C-BE32-E72D297353CC}">
                <c16:uniqueId val="{0000040D-63DE-4091-B8DA-DB57396774D4}"/>
              </c:ext>
            </c:extLst>
          </c:dPt>
          <c:dPt>
            <c:idx val="518"/>
            <c:invertIfNegative val="1"/>
            <c:bubble3D val="0"/>
            <c:spPr>
              <a:solidFill>
                <a:srgbClr val="AEABAB"/>
              </a:solidFill>
            </c:spPr>
            <c:extLst>
              <c:ext xmlns:c16="http://schemas.microsoft.com/office/drawing/2014/chart" uri="{C3380CC4-5D6E-409C-BE32-E72D297353CC}">
                <c16:uniqueId val="{0000040F-63DE-4091-B8DA-DB57396774D4}"/>
              </c:ext>
            </c:extLst>
          </c:dPt>
          <c:dPt>
            <c:idx val="519"/>
            <c:invertIfNegative val="1"/>
            <c:bubble3D val="0"/>
            <c:spPr>
              <a:solidFill>
                <a:srgbClr val="AEABAB"/>
              </a:solidFill>
            </c:spPr>
            <c:extLst>
              <c:ext xmlns:c16="http://schemas.microsoft.com/office/drawing/2014/chart" uri="{C3380CC4-5D6E-409C-BE32-E72D297353CC}">
                <c16:uniqueId val="{00000411-63DE-4091-B8DA-DB57396774D4}"/>
              </c:ext>
            </c:extLst>
          </c:dPt>
          <c:dPt>
            <c:idx val="520"/>
            <c:invertIfNegative val="1"/>
            <c:bubble3D val="0"/>
            <c:spPr>
              <a:solidFill>
                <a:srgbClr val="AEABAB"/>
              </a:solidFill>
            </c:spPr>
            <c:extLst>
              <c:ext xmlns:c16="http://schemas.microsoft.com/office/drawing/2014/chart" uri="{C3380CC4-5D6E-409C-BE32-E72D297353CC}">
                <c16:uniqueId val="{00000413-63DE-4091-B8DA-DB57396774D4}"/>
              </c:ext>
            </c:extLst>
          </c:dPt>
          <c:dPt>
            <c:idx val="521"/>
            <c:invertIfNegative val="1"/>
            <c:bubble3D val="0"/>
            <c:spPr>
              <a:solidFill>
                <a:srgbClr val="AEABAB"/>
              </a:solidFill>
            </c:spPr>
            <c:extLst>
              <c:ext xmlns:c16="http://schemas.microsoft.com/office/drawing/2014/chart" uri="{C3380CC4-5D6E-409C-BE32-E72D297353CC}">
                <c16:uniqueId val="{00000415-63DE-4091-B8DA-DB57396774D4}"/>
              </c:ext>
            </c:extLst>
          </c:dPt>
          <c:dPt>
            <c:idx val="522"/>
            <c:invertIfNegative val="1"/>
            <c:bubble3D val="0"/>
            <c:spPr>
              <a:solidFill>
                <a:srgbClr val="AEABAB"/>
              </a:solidFill>
            </c:spPr>
            <c:extLst>
              <c:ext xmlns:c16="http://schemas.microsoft.com/office/drawing/2014/chart" uri="{C3380CC4-5D6E-409C-BE32-E72D297353CC}">
                <c16:uniqueId val="{00000417-63DE-4091-B8DA-DB57396774D4}"/>
              </c:ext>
            </c:extLst>
          </c:dPt>
          <c:dPt>
            <c:idx val="523"/>
            <c:invertIfNegative val="1"/>
            <c:bubble3D val="0"/>
            <c:spPr>
              <a:solidFill>
                <a:srgbClr val="AEABAB"/>
              </a:solidFill>
            </c:spPr>
            <c:extLst>
              <c:ext xmlns:c16="http://schemas.microsoft.com/office/drawing/2014/chart" uri="{C3380CC4-5D6E-409C-BE32-E72D297353CC}">
                <c16:uniqueId val="{00000419-63DE-4091-B8DA-DB57396774D4}"/>
              </c:ext>
            </c:extLst>
          </c:dPt>
          <c:dPt>
            <c:idx val="524"/>
            <c:invertIfNegative val="1"/>
            <c:bubble3D val="0"/>
            <c:spPr>
              <a:solidFill>
                <a:srgbClr val="AEABAB"/>
              </a:solidFill>
            </c:spPr>
            <c:extLst>
              <c:ext xmlns:c16="http://schemas.microsoft.com/office/drawing/2014/chart" uri="{C3380CC4-5D6E-409C-BE32-E72D297353CC}">
                <c16:uniqueId val="{0000041B-63DE-4091-B8DA-DB57396774D4}"/>
              </c:ext>
            </c:extLst>
          </c:dPt>
          <c:dPt>
            <c:idx val="525"/>
            <c:invertIfNegative val="1"/>
            <c:bubble3D val="0"/>
            <c:spPr>
              <a:solidFill>
                <a:srgbClr val="AEABAB"/>
              </a:solidFill>
            </c:spPr>
            <c:extLst>
              <c:ext xmlns:c16="http://schemas.microsoft.com/office/drawing/2014/chart" uri="{C3380CC4-5D6E-409C-BE32-E72D297353CC}">
                <c16:uniqueId val="{0000041D-63DE-4091-B8DA-DB57396774D4}"/>
              </c:ext>
            </c:extLst>
          </c:dPt>
          <c:dPt>
            <c:idx val="526"/>
            <c:invertIfNegative val="1"/>
            <c:bubble3D val="0"/>
            <c:spPr>
              <a:solidFill>
                <a:srgbClr val="AEABAB"/>
              </a:solidFill>
            </c:spPr>
            <c:extLst>
              <c:ext xmlns:c16="http://schemas.microsoft.com/office/drawing/2014/chart" uri="{C3380CC4-5D6E-409C-BE32-E72D297353CC}">
                <c16:uniqueId val="{0000041F-63DE-4091-B8DA-DB57396774D4}"/>
              </c:ext>
            </c:extLst>
          </c:dPt>
          <c:dPt>
            <c:idx val="527"/>
            <c:invertIfNegative val="1"/>
            <c:bubble3D val="0"/>
            <c:spPr>
              <a:solidFill>
                <a:srgbClr val="AEABAB"/>
              </a:solidFill>
            </c:spPr>
            <c:extLst>
              <c:ext xmlns:c16="http://schemas.microsoft.com/office/drawing/2014/chart" uri="{C3380CC4-5D6E-409C-BE32-E72D297353CC}">
                <c16:uniqueId val="{00000421-63DE-4091-B8DA-DB57396774D4}"/>
              </c:ext>
            </c:extLst>
          </c:dPt>
          <c:dPt>
            <c:idx val="528"/>
            <c:invertIfNegative val="1"/>
            <c:bubble3D val="0"/>
            <c:spPr>
              <a:solidFill>
                <a:srgbClr val="AEABAB"/>
              </a:solidFill>
            </c:spPr>
            <c:extLst>
              <c:ext xmlns:c16="http://schemas.microsoft.com/office/drawing/2014/chart" uri="{C3380CC4-5D6E-409C-BE32-E72D297353CC}">
                <c16:uniqueId val="{00000423-63DE-4091-B8DA-DB57396774D4}"/>
              </c:ext>
            </c:extLst>
          </c:dPt>
          <c:dPt>
            <c:idx val="529"/>
            <c:invertIfNegative val="1"/>
            <c:bubble3D val="0"/>
            <c:spPr>
              <a:solidFill>
                <a:srgbClr val="AEABAB"/>
              </a:solidFill>
            </c:spPr>
            <c:extLst>
              <c:ext xmlns:c16="http://schemas.microsoft.com/office/drawing/2014/chart" uri="{C3380CC4-5D6E-409C-BE32-E72D297353CC}">
                <c16:uniqueId val="{00000425-63DE-4091-B8DA-DB57396774D4}"/>
              </c:ext>
            </c:extLst>
          </c:dPt>
          <c:dPt>
            <c:idx val="530"/>
            <c:invertIfNegative val="1"/>
            <c:bubble3D val="0"/>
            <c:spPr>
              <a:solidFill>
                <a:srgbClr val="AEABAB"/>
              </a:solidFill>
            </c:spPr>
            <c:extLst>
              <c:ext xmlns:c16="http://schemas.microsoft.com/office/drawing/2014/chart" uri="{C3380CC4-5D6E-409C-BE32-E72D297353CC}">
                <c16:uniqueId val="{00000427-63DE-4091-B8DA-DB57396774D4}"/>
              </c:ext>
            </c:extLst>
          </c:dPt>
          <c:dPt>
            <c:idx val="531"/>
            <c:invertIfNegative val="1"/>
            <c:bubble3D val="0"/>
            <c:spPr>
              <a:solidFill>
                <a:srgbClr val="AEABAB"/>
              </a:solidFill>
            </c:spPr>
            <c:extLst>
              <c:ext xmlns:c16="http://schemas.microsoft.com/office/drawing/2014/chart" uri="{C3380CC4-5D6E-409C-BE32-E72D297353CC}">
                <c16:uniqueId val="{00000429-63DE-4091-B8DA-DB57396774D4}"/>
              </c:ext>
            </c:extLst>
          </c:dPt>
          <c:dPt>
            <c:idx val="532"/>
            <c:invertIfNegative val="1"/>
            <c:bubble3D val="0"/>
            <c:spPr>
              <a:solidFill>
                <a:srgbClr val="AEABAB"/>
              </a:solidFill>
            </c:spPr>
            <c:extLst>
              <c:ext xmlns:c16="http://schemas.microsoft.com/office/drawing/2014/chart" uri="{C3380CC4-5D6E-409C-BE32-E72D297353CC}">
                <c16:uniqueId val="{0000042B-63DE-4091-B8DA-DB57396774D4}"/>
              </c:ext>
            </c:extLst>
          </c:dPt>
          <c:dPt>
            <c:idx val="533"/>
            <c:invertIfNegative val="1"/>
            <c:bubble3D val="0"/>
            <c:spPr>
              <a:solidFill>
                <a:srgbClr val="AEABAB"/>
              </a:solidFill>
            </c:spPr>
            <c:extLst>
              <c:ext xmlns:c16="http://schemas.microsoft.com/office/drawing/2014/chart" uri="{C3380CC4-5D6E-409C-BE32-E72D297353CC}">
                <c16:uniqueId val="{0000042D-63DE-4091-B8DA-DB57396774D4}"/>
              </c:ext>
            </c:extLst>
          </c:dPt>
          <c:dPt>
            <c:idx val="534"/>
            <c:invertIfNegative val="1"/>
            <c:bubble3D val="0"/>
            <c:spPr>
              <a:solidFill>
                <a:srgbClr val="AEABAB"/>
              </a:solidFill>
            </c:spPr>
            <c:extLst>
              <c:ext xmlns:c16="http://schemas.microsoft.com/office/drawing/2014/chart" uri="{C3380CC4-5D6E-409C-BE32-E72D297353CC}">
                <c16:uniqueId val="{0000042F-63DE-4091-B8DA-DB57396774D4}"/>
              </c:ext>
            </c:extLst>
          </c:dPt>
          <c:dPt>
            <c:idx val="535"/>
            <c:invertIfNegative val="1"/>
            <c:bubble3D val="0"/>
            <c:spPr>
              <a:solidFill>
                <a:srgbClr val="AEABAB"/>
              </a:solidFill>
            </c:spPr>
            <c:extLst>
              <c:ext xmlns:c16="http://schemas.microsoft.com/office/drawing/2014/chart" uri="{C3380CC4-5D6E-409C-BE32-E72D297353CC}">
                <c16:uniqueId val="{00000431-63DE-4091-B8DA-DB57396774D4}"/>
              </c:ext>
            </c:extLst>
          </c:dPt>
          <c:dPt>
            <c:idx val="536"/>
            <c:invertIfNegative val="1"/>
            <c:bubble3D val="0"/>
            <c:spPr>
              <a:solidFill>
                <a:srgbClr val="AEABAB"/>
              </a:solidFill>
            </c:spPr>
            <c:extLst>
              <c:ext xmlns:c16="http://schemas.microsoft.com/office/drawing/2014/chart" uri="{C3380CC4-5D6E-409C-BE32-E72D297353CC}">
                <c16:uniqueId val="{00000433-63DE-4091-B8DA-DB57396774D4}"/>
              </c:ext>
            </c:extLst>
          </c:dPt>
          <c:dPt>
            <c:idx val="537"/>
            <c:invertIfNegative val="1"/>
            <c:bubble3D val="0"/>
            <c:spPr>
              <a:solidFill>
                <a:srgbClr val="AEABAB"/>
              </a:solidFill>
            </c:spPr>
            <c:extLst>
              <c:ext xmlns:c16="http://schemas.microsoft.com/office/drawing/2014/chart" uri="{C3380CC4-5D6E-409C-BE32-E72D297353CC}">
                <c16:uniqueId val="{00000435-63DE-4091-B8DA-DB57396774D4}"/>
              </c:ext>
            </c:extLst>
          </c:dPt>
          <c:dPt>
            <c:idx val="538"/>
            <c:invertIfNegative val="1"/>
            <c:bubble3D val="0"/>
            <c:spPr>
              <a:solidFill>
                <a:srgbClr val="AEABAB"/>
              </a:solidFill>
            </c:spPr>
            <c:extLst>
              <c:ext xmlns:c16="http://schemas.microsoft.com/office/drawing/2014/chart" uri="{C3380CC4-5D6E-409C-BE32-E72D297353CC}">
                <c16:uniqueId val="{00000437-63DE-4091-B8DA-DB57396774D4}"/>
              </c:ext>
            </c:extLst>
          </c:dPt>
          <c:dPt>
            <c:idx val="539"/>
            <c:invertIfNegative val="1"/>
            <c:bubble3D val="0"/>
            <c:spPr>
              <a:solidFill>
                <a:srgbClr val="AEABAB"/>
              </a:solidFill>
            </c:spPr>
            <c:extLst>
              <c:ext xmlns:c16="http://schemas.microsoft.com/office/drawing/2014/chart" uri="{C3380CC4-5D6E-409C-BE32-E72D297353CC}">
                <c16:uniqueId val="{00000439-63DE-4091-B8DA-DB57396774D4}"/>
              </c:ext>
            </c:extLst>
          </c:dPt>
          <c:dPt>
            <c:idx val="540"/>
            <c:invertIfNegative val="1"/>
            <c:bubble3D val="0"/>
            <c:spPr>
              <a:solidFill>
                <a:srgbClr val="AEABAB"/>
              </a:solidFill>
            </c:spPr>
            <c:extLst>
              <c:ext xmlns:c16="http://schemas.microsoft.com/office/drawing/2014/chart" uri="{C3380CC4-5D6E-409C-BE32-E72D297353CC}">
                <c16:uniqueId val="{0000043B-63DE-4091-B8DA-DB57396774D4}"/>
              </c:ext>
            </c:extLst>
          </c:dPt>
          <c:dPt>
            <c:idx val="541"/>
            <c:invertIfNegative val="1"/>
            <c:bubble3D val="0"/>
            <c:spPr>
              <a:solidFill>
                <a:srgbClr val="AEABAB"/>
              </a:solidFill>
            </c:spPr>
            <c:extLst>
              <c:ext xmlns:c16="http://schemas.microsoft.com/office/drawing/2014/chart" uri="{C3380CC4-5D6E-409C-BE32-E72D297353CC}">
                <c16:uniqueId val="{0000043D-63DE-4091-B8DA-DB57396774D4}"/>
              </c:ext>
            </c:extLst>
          </c:dPt>
          <c:dPt>
            <c:idx val="542"/>
            <c:invertIfNegative val="1"/>
            <c:bubble3D val="0"/>
            <c:spPr>
              <a:solidFill>
                <a:srgbClr val="AEABAB"/>
              </a:solidFill>
            </c:spPr>
            <c:extLst>
              <c:ext xmlns:c16="http://schemas.microsoft.com/office/drawing/2014/chart" uri="{C3380CC4-5D6E-409C-BE32-E72D297353CC}">
                <c16:uniqueId val="{0000043F-63DE-4091-B8DA-DB57396774D4}"/>
              </c:ext>
            </c:extLst>
          </c:dPt>
          <c:dPt>
            <c:idx val="543"/>
            <c:invertIfNegative val="1"/>
            <c:bubble3D val="0"/>
            <c:spPr>
              <a:solidFill>
                <a:srgbClr val="AEABAB"/>
              </a:solidFill>
            </c:spPr>
            <c:extLst>
              <c:ext xmlns:c16="http://schemas.microsoft.com/office/drawing/2014/chart" uri="{C3380CC4-5D6E-409C-BE32-E72D297353CC}">
                <c16:uniqueId val="{00000441-63DE-4091-B8DA-DB57396774D4}"/>
              </c:ext>
            </c:extLst>
          </c:dPt>
          <c:dPt>
            <c:idx val="544"/>
            <c:invertIfNegative val="1"/>
            <c:bubble3D val="0"/>
            <c:spPr>
              <a:solidFill>
                <a:srgbClr val="AEABAB"/>
              </a:solidFill>
            </c:spPr>
            <c:extLst>
              <c:ext xmlns:c16="http://schemas.microsoft.com/office/drawing/2014/chart" uri="{C3380CC4-5D6E-409C-BE32-E72D297353CC}">
                <c16:uniqueId val="{00000443-63DE-4091-B8DA-DB57396774D4}"/>
              </c:ext>
            </c:extLst>
          </c:dPt>
          <c:dPt>
            <c:idx val="545"/>
            <c:invertIfNegative val="1"/>
            <c:bubble3D val="0"/>
            <c:spPr>
              <a:solidFill>
                <a:srgbClr val="AEABAB"/>
              </a:solidFill>
            </c:spPr>
            <c:extLst>
              <c:ext xmlns:c16="http://schemas.microsoft.com/office/drawing/2014/chart" uri="{C3380CC4-5D6E-409C-BE32-E72D297353CC}">
                <c16:uniqueId val="{00000445-63DE-4091-B8DA-DB57396774D4}"/>
              </c:ext>
            </c:extLst>
          </c:dPt>
          <c:dPt>
            <c:idx val="546"/>
            <c:invertIfNegative val="1"/>
            <c:bubble3D val="0"/>
            <c:spPr>
              <a:solidFill>
                <a:srgbClr val="AEABAB"/>
              </a:solidFill>
            </c:spPr>
            <c:extLst>
              <c:ext xmlns:c16="http://schemas.microsoft.com/office/drawing/2014/chart" uri="{C3380CC4-5D6E-409C-BE32-E72D297353CC}">
                <c16:uniqueId val="{00000447-63DE-4091-B8DA-DB57396774D4}"/>
              </c:ext>
            </c:extLst>
          </c:dPt>
          <c:dPt>
            <c:idx val="547"/>
            <c:invertIfNegative val="1"/>
            <c:bubble3D val="0"/>
            <c:spPr>
              <a:solidFill>
                <a:srgbClr val="AEABAB"/>
              </a:solidFill>
            </c:spPr>
            <c:extLst>
              <c:ext xmlns:c16="http://schemas.microsoft.com/office/drawing/2014/chart" uri="{C3380CC4-5D6E-409C-BE32-E72D297353CC}">
                <c16:uniqueId val="{00000449-63DE-4091-B8DA-DB57396774D4}"/>
              </c:ext>
            </c:extLst>
          </c:dPt>
          <c:dPt>
            <c:idx val="548"/>
            <c:invertIfNegative val="1"/>
            <c:bubble3D val="0"/>
            <c:spPr>
              <a:solidFill>
                <a:srgbClr val="AEABAB"/>
              </a:solidFill>
            </c:spPr>
            <c:extLst>
              <c:ext xmlns:c16="http://schemas.microsoft.com/office/drawing/2014/chart" uri="{C3380CC4-5D6E-409C-BE32-E72D297353CC}">
                <c16:uniqueId val="{0000044B-63DE-4091-B8DA-DB57396774D4}"/>
              </c:ext>
            </c:extLst>
          </c:dPt>
          <c:dPt>
            <c:idx val="549"/>
            <c:invertIfNegative val="1"/>
            <c:bubble3D val="0"/>
            <c:spPr>
              <a:solidFill>
                <a:srgbClr val="AEABAB"/>
              </a:solidFill>
            </c:spPr>
            <c:extLst>
              <c:ext xmlns:c16="http://schemas.microsoft.com/office/drawing/2014/chart" uri="{C3380CC4-5D6E-409C-BE32-E72D297353CC}">
                <c16:uniqueId val="{0000044D-63DE-4091-B8DA-DB57396774D4}"/>
              </c:ext>
            </c:extLst>
          </c:dPt>
          <c:dPt>
            <c:idx val="550"/>
            <c:invertIfNegative val="1"/>
            <c:bubble3D val="0"/>
            <c:spPr>
              <a:solidFill>
                <a:srgbClr val="AEABAB"/>
              </a:solidFill>
            </c:spPr>
            <c:extLst>
              <c:ext xmlns:c16="http://schemas.microsoft.com/office/drawing/2014/chart" uri="{C3380CC4-5D6E-409C-BE32-E72D297353CC}">
                <c16:uniqueId val="{0000044F-63DE-4091-B8DA-DB57396774D4}"/>
              </c:ext>
            </c:extLst>
          </c:dPt>
          <c:dPt>
            <c:idx val="551"/>
            <c:invertIfNegative val="1"/>
            <c:bubble3D val="0"/>
            <c:spPr>
              <a:solidFill>
                <a:srgbClr val="AEABAB"/>
              </a:solidFill>
            </c:spPr>
            <c:extLst>
              <c:ext xmlns:c16="http://schemas.microsoft.com/office/drawing/2014/chart" uri="{C3380CC4-5D6E-409C-BE32-E72D297353CC}">
                <c16:uniqueId val="{00000451-63DE-4091-B8DA-DB57396774D4}"/>
              </c:ext>
            </c:extLst>
          </c:dPt>
          <c:dPt>
            <c:idx val="552"/>
            <c:invertIfNegative val="1"/>
            <c:bubble3D val="0"/>
            <c:spPr>
              <a:solidFill>
                <a:srgbClr val="AEABAB"/>
              </a:solidFill>
            </c:spPr>
            <c:extLst>
              <c:ext xmlns:c16="http://schemas.microsoft.com/office/drawing/2014/chart" uri="{C3380CC4-5D6E-409C-BE32-E72D297353CC}">
                <c16:uniqueId val="{00000453-63DE-4091-B8DA-DB57396774D4}"/>
              </c:ext>
            </c:extLst>
          </c:dPt>
          <c:dPt>
            <c:idx val="553"/>
            <c:invertIfNegative val="1"/>
            <c:bubble3D val="0"/>
            <c:spPr>
              <a:solidFill>
                <a:srgbClr val="AEABAB"/>
              </a:solidFill>
            </c:spPr>
            <c:extLst>
              <c:ext xmlns:c16="http://schemas.microsoft.com/office/drawing/2014/chart" uri="{C3380CC4-5D6E-409C-BE32-E72D297353CC}">
                <c16:uniqueId val="{00000455-63DE-4091-B8DA-DB57396774D4}"/>
              </c:ext>
            </c:extLst>
          </c:dPt>
          <c:dPt>
            <c:idx val="554"/>
            <c:invertIfNegative val="1"/>
            <c:bubble3D val="0"/>
            <c:spPr>
              <a:solidFill>
                <a:srgbClr val="AEABAB"/>
              </a:solidFill>
            </c:spPr>
            <c:extLst>
              <c:ext xmlns:c16="http://schemas.microsoft.com/office/drawing/2014/chart" uri="{C3380CC4-5D6E-409C-BE32-E72D297353CC}">
                <c16:uniqueId val="{00000457-63DE-4091-B8DA-DB57396774D4}"/>
              </c:ext>
            </c:extLst>
          </c:dPt>
          <c:dPt>
            <c:idx val="555"/>
            <c:invertIfNegative val="1"/>
            <c:bubble3D val="0"/>
            <c:spPr>
              <a:solidFill>
                <a:srgbClr val="AEABAB"/>
              </a:solidFill>
            </c:spPr>
            <c:extLst>
              <c:ext xmlns:c16="http://schemas.microsoft.com/office/drawing/2014/chart" uri="{C3380CC4-5D6E-409C-BE32-E72D297353CC}">
                <c16:uniqueId val="{00000459-63DE-4091-B8DA-DB57396774D4}"/>
              </c:ext>
            </c:extLst>
          </c:dPt>
          <c:dPt>
            <c:idx val="556"/>
            <c:invertIfNegative val="1"/>
            <c:bubble3D val="0"/>
            <c:spPr>
              <a:solidFill>
                <a:srgbClr val="AEABAB"/>
              </a:solidFill>
            </c:spPr>
            <c:extLst>
              <c:ext xmlns:c16="http://schemas.microsoft.com/office/drawing/2014/chart" uri="{C3380CC4-5D6E-409C-BE32-E72D297353CC}">
                <c16:uniqueId val="{0000045B-63DE-4091-B8DA-DB57396774D4}"/>
              </c:ext>
            </c:extLst>
          </c:dPt>
          <c:dPt>
            <c:idx val="557"/>
            <c:invertIfNegative val="1"/>
            <c:bubble3D val="0"/>
            <c:spPr>
              <a:solidFill>
                <a:srgbClr val="AEABAB"/>
              </a:solidFill>
            </c:spPr>
            <c:extLst>
              <c:ext xmlns:c16="http://schemas.microsoft.com/office/drawing/2014/chart" uri="{C3380CC4-5D6E-409C-BE32-E72D297353CC}">
                <c16:uniqueId val="{0000045D-63DE-4091-B8DA-DB57396774D4}"/>
              </c:ext>
            </c:extLst>
          </c:dPt>
          <c:dPt>
            <c:idx val="558"/>
            <c:invertIfNegative val="1"/>
            <c:bubble3D val="0"/>
            <c:spPr>
              <a:solidFill>
                <a:srgbClr val="AEABAB"/>
              </a:solidFill>
            </c:spPr>
            <c:extLst>
              <c:ext xmlns:c16="http://schemas.microsoft.com/office/drawing/2014/chart" uri="{C3380CC4-5D6E-409C-BE32-E72D297353CC}">
                <c16:uniqueId val="{0000045F-63DE-4091-B8DA-DB57396774D4}"/>
              </c:ext>
            </c:extLst>
          </c:dPt>
          <c:dPt>
            <c:idx val="559"/>
            <c:invertIfNegative val="1"/>
            <c:bubble3D val="0"/>
            <c:spPr>
              <a:solidFill>
                <a:srgbClr val="AEABAB"/>
              </a:solidFill>
            </c:spPr>
            <c:extLst>
              <c:ext xmlns:c16="http://schemas.microsoft.com/office/drawing/2014/chart" uri="{C3380CC4-5D6E-409C-BE32-E72D297353CC}">
                <c16:uniqueId val="{00000461-63DE-4091-B8DA-DB57396774D4}"/>
              </c:ext>
            </c:extLst>
          </c:dPt>
          <c:dPt>
            <c:idx val="560"/>
            <c:invertIfNegative val="1"/>
            <c:bubble3D val="0"/>
            <c:spPr>
              <a:solidFill>
                <a:srgbClr val="AEABAB"/>
              </a:solidFill>
            </c:spPr>
            <c:extLst>
              <c:ext xmlns:c16="http://schemas.microsoft.com/office/drawing/2014/chart" uri="{C3380CC4-5D6E-409C-BE32-E72D297353CC}">
                <c16:uniqueId val="{00000463-63DE-4091-B8DA-DB57396774D4}"/>
              </c:ext>
            </c:extLst>
          </c:dPt>
          <c:dPt>
            <c:idx val="561"/>
            <c:invertIfNegative val="1"/>
            <c:bubble3D val="0"/>
            <c:spPr>
              <a:solidFill>
                <a:srgbClr val="AEABAB"/>
              </a:solidFill>
            </c:spPr>
            <c:extLst>
              <c:ext xmlns:c16="http://schemas.microsoft.com/office/drawing/2014/chart" uri="{C3380CC4-5D6E-409C-BE32-E72D297353CC}">
                <c16:uniqueId val="{00000465-63DE-4091-B8DA-DB57396774D4}"/>
              </c:ext>
            </c:extLst>
          </c:dPt>
          <c:dPt>
            <c:idx val="562"/>
            <c:invertIfNegative val="1"/>
            <c:bubble3D val="0"/>
            <c:spPr>
              <a:solidFill>
                <a:srgbClr val="AEABAB"/>
              </a:solidFill>
            </c:spPr>
            <c:extLst>
              <c:ext xmlns:c16="http://schemas.microsoft.com/office/drawing/2014/chart" uri="{C3380CC4-5D6E-409C-BE32-E72D297353CC}">
                <c16:uniqueId val="{00000467-63DE-4091-B8DA-DB57396774D4}"/>
              </c:ext>
            </c:extLst>
          </c:dPt>
          <c:dPt>
            <c:idx val="563"/>
            <c:invertIfNegative val="1"/>
            <c:bubble3D val="0"/>
            <c:spPr>
              <a:solidFill>
                <a:srgbClr val="AEABAB"/>
              </a:solidFill>
            </c:spPr>
            <c:extLst>
              <c:ext xmlns:c16="http://schemas.microsoft.com/office/drawing/2014/chart" uri="{C3380CC4-5D6E-409C-BE32-E72D297353CC}">
                <c16:uniqueId val="{00000469-63DE-4091-B8DA-DB57396774D4}"/>
              </c:ext>
            </c:extLst>
          </c:dPt>
          <c:dPt>
            <c:idx val="564"/>
            <c:invertIfNegative val="1"/>
            <c:bubble3D val="0"/>
            <c:spPr>
              <a:solidFill>
                <a:srgbClr val="AEABAB"/>
              </a:solidFill>
            </c:spPr>
            <c:extLst>
              <c:ext xmlns:c16="http://schemas.microsoft.com/office/drawing/2014/chart" uri="{C3380CC4-5D6E-409C-BE32-E72D297353CC}">
                <c16:uniqueId val="{0000046B-63DE-4091-B8DA-DB57396774D4}"/>
              </c:ext>
            </c:extLst>
          </c:dPt>
          <c:dPt>
            <c:idx val="565"/>
            <c:invertIfNegative val="1"/>
            <c:bubble3D val="0"/>
            <c:spPr>
              <a:solidFill>
                <a:srgbClr val="AEABAB"/>
              </a:solidFill>
            </c:spPr>
            <c:extLst>
              <c:ext xmlns:c16="http://schemas.microsoft.com/office/drawing/2014/chart" uri="{C3380CC4-5D6E-409C-BE32-E72D297353CC}">
                <c16:uniqueId val="{0000046D-63DE-4091-B8DA-DB57396774D4}"/>
              </c:ext>
            </c:extLst>
          </c:dPt>
          <c:dPt>
            <c:idx val="566"/>
            <c:invertIfNegative val="1"/>
            <c:bubble3D val="0"/>
            <c:spPr>
              <a:solidFill>
                <a:srgbClr val="AEABAB"/>
              </a:solidFill>
            </c:spPr>
            <c:extLst>
              <c:ext xmlns:c16="http://schemas.microsoft.com/office/drawing/2014/chart" uri="{C3380CC4-5D6E-409C-BE32-E72D297353CC}">
                <c16:uniqueId val="{0000046F-63DE-4091-B8DA-DB57396774D4}"/>
              </c:ext>
            </c:extLst>
          </c:dPt>
          <c:dPt>
            <c:idx val="567"/>
            <c:invertIfNegative val="1"/>
            <c:bubble3D val="0"/>
            <c:spPr>
              <a:solidFill>
                <a:srgbClr val="AEABAB"/>
              </a:solidFill>
            </c:spPr>
            <c:extLst>
              <c:ext xmlns:c16="http://schemas.microsoft.com/office/drawing/2014/chart" uri="{C3380CC4-5D6E-409C-BE32-E72D297353CC}">
                <c16:uniqueId val="{00000471-63DE-4091-B8DA-DB57396774D4}"/>
              </c:ext>
            </c:extLst>
          </c:dPt>
          <c:dPt>
            <c:idx val="568"/>
            <c:invertIfNegative val="1"/>
            <c:bubble3D val="0"/>
            <c:spPr>
              <a:solidFill>
                <a:srgbClr val="AEABAB"/>
              </a:solidFill>
            </c:spPr>
            <c:extLst>
              <c:ext xmlns:c16="http://schemas.microsoft.com/office/drawing/2014/chart" uri="{C3380CC4-5D6E-409C-BE32-E72D297353CC}">
                <c16:uniqueId val="{00000473-63DE-4091-B8DA-DB57396774D4}"/>
              </c:ext>
            </c:extLst>
          </c:dPt>
          <c:dPt>
            <c:idx val="569"/>
            <c:invertIfNegative val="1"/>
            <c:bubble3D val="0"/>
            <c:spPr>
              <a:solidFill>
                <a:srgbClr val="AEABAB"/>
              </a:solidFill>
            </c:spPr>
            <c:extLst>
              <c:ext xmlns:c16="http://schemas.microsoft.com/office/drawing/2014/chart" uri="{C3380CC4-5D6E-409C-BE32-E72D297353CC}">
                <c16:uniqueId val="{00000475-63DE-4091-B8DA-DB57396774D4}"/>
              </c:ext>
            </c:extLst>
          </c:dPt>
          <c:dPt>
            <c:idx val="570"/>
            <c:invertIfNegative val="1"/>
            <c:bubble3D val="0"/>
            <c:spPr>
              <a:solidFill>
                <a:srgbClr val="AEABAB"/>
              </a:solidFill>
            </c:spPr>
            <c:extLst>
              <c:ext xmlns:c16="http://schemas.microsoft.com/office/drawing/2014/chart" uri="{C3380CC4-5D6E-409C-BE32-E72D297353CC}">
                <c16:uniqueId val="{00000477-63DE-4091-B8DA-DB57396774D4}"/>
              </c:ext>
            </c:extLst>
          </c:dPt>
          <c:dPt>
            <c:idx val="571"/>
            <c:invertIfNegative val="1"/>
            <c:bubble3D val="0"/>
            <c:spPr>
              <a:solidFill>
                <a:srgbClr val="AEABAB"/>
              </a:solidFill>
            </c:spPr>
            <c:extLst>
              <c:ext xmlns:c16="http://schemas.microsoft.com/office/drawing/2014/chart" uri="{C3380CC4-5D6E-409C-BE32-E72D297353CC}">
                <c16:uniqueId val="{00000479-63DE-4091-B8DA-DB57396774D4}"/>
              </c:ext>
            </c:extLst>
          </c:dPt>
          <c:dPt>
            <c:idx val="572"/>
            <c:invertIfNegative val="1"/>
            <c:bubble3D val="0"/>
            <c:spPr>
              <a:solidFill>
                <a:srgbClr val="AEABAB"/>
              </a:solidFill>
            </c:spPr>
            <c:extLst>
              <c:ext xmlns:c16="http://schemas.microsoft.com/office/drawing/2014/chart" uri="{C3380CC4-5D6E-409C-BE32-E72D297353CC}">
                <c16:uniqueId val="{0000047B-63DE-4091-B8DA-DB57396774D4}"/>
              </c:ext>
            </c:extLst>
          </c:dPt>
          <c:dPt>
            <c:idx val="573"/>
            <c:invertIfNegative val="1"/>
            <c:bubble3D val="0"/>
            <c:spPr>
              <a:solidFill>
                <a:srgbClr val="AEABAB"/>
              </a:solidFill>
            </c:spPr>
            <c:extLst>
              <c:ext xmlns:c16="http://schemas.microsoft.com/office/drawing/2014/chart" uri="{C3380CC4-5D6E-409C-BE32-E72D297353CC}">
                <c16:uniqueId val="{0000047D-63DE-4091-B8DA-DB57396774D4}"/>
              </c:ext>
            </c:extLst>
          </c:dPt>
          <c:dPt>
            <c:idx val="574"/>
            <c:invertIfNegative val="1"/>
            <c:bubble3D val="0"/>
            <c:spPr>
              <a:solidFill>
                <a:srgbClr val="AEABAB"/>
              </a:solidFill>
            </c:spPr>
            <c:extLst>
              <c:ext xmlns:c16="http://schemas.microsoft.com/office/drawing/2014/chart" uri="{C3380CC4-5D6E-409C-BE32-E72D297353CC}">
                <c16:uniqueId val="{0000047F-63DE-4091-B8DA-DB57396774D4}"/>
              </c:ext>
            </c:extLst>
          </c:dPt>
          <c:dPt>
            <c:idx val="575"/>
            <c:invertIfNegative val="1"/>
            <c:bubble3D val="0"/>
            <c:spPr>
              <a:solidFill>
                <a:srgbClr val="AEABAB"/>
              </a:solidFill>
            </c:spPr>
            <c:extLst>
              <c:ext xmlns:c16="http://schemas.microsoft.com/office/drawing/2014/chart" uri="{C3380CC4-5D6E-409C-BE32-E72D297353CC}">
                <c16:uniqueId val="{00000481-63DE-4091-B8DA-DB57396774D4}"/>
              </c:ext>
            </c:extLst>
          </c:dPt>
          <c:dPt>
            <c:idx val="576"/>
            <c:invertIfNegative val="1"/>
            <c:bubble3D val="0"/>
            <c:spPr>
              <a:solidFill>
                <a:srgbClr val="AEABAB"/>
              </a:solidFill>
            </c:spPr>
            <c:extLst>
              <c:ext xmlns:c16="http://schemas.microsoft.com/office/drawing/2014/chart" uri="{C3380CC4-5D6E-409C-BE32-E72D297353CC}">
                <c16:uniqueId val="{00000483-63DE-4091-B8DA-DB57396774D4}"/>
              </c:ext>
            </c:extLst>
          </c:dPt>
          <c:dPt>
            <c:idx val="577"/>
            <c:invertIfNegative val="1"/>
            <c:bubble3D val="0"/>
            <c:spPr>
              <a:solidFill>
                <a:srgbClr val="AEABAB"/>
              </a:solidFill>
            </c:spPr>
            <c:extLst>
              <c:ext xmlns:c16="http://schemas.microsoft.com/office/drawing/2014/chart" uri="{C3380CC4-5D6E-409C-BE32-E72D297353CC}">
                <c16:uniqueId val="{00000485-63DE-4091-B8DA-DB57396774D4}"/>
              </c:ext>
            </c:extLst>
          </c:dPt>
          <c:dPt>
            <c:idx val="578"/>
            <c:invertIfNegative val="1"/>
            <c:bubble3D val="0"/>
            <c:spPr>
              <a:solidFill>
                <a:srgbClr val="AEABAB"/>
              </a:solidFill>
            </c:spPr>
            <c:extLst>
              <c:ext xmlns:c16="http://schemas.microsoft.com/office/drawing/2014/chart" uri="{C3380CC4-5D6E-409C-BE32-E72D297353CC}">
                <c16:uniqueId val="{00000487-63DE-4091-B8DA-DB57396774D4}"/>
              </c:ext>
            </c:extLst>
          </c:dPt>
          <c:dPt>
            <c:idx val="579"/>
            <c:invertIfNegative val="1"/>
            <c:bubble3D val="0"/>
            <c:spPr>
              <a:solidFill>
                <a:srgbClr val="AEABAB"/>
              </a:solidFill>
            </c:spPr>
            <c:extLst>
              <c:ext xmlns:c16="http://schemas.microsoft.com/office/drawing/2014/chart" uri="{C3380CC4-5D6E-409C-BE32-E72D297353CC}">
                <c16:uniqueId val="{00000489-63DE-4091-B8DA-DB57396774D4}"/>
              </c:ext>
            </c:extLst>
          </c:dPt>
          <c:dPt>
            <c:idx val="580"/>
            <c:invertIfNegative val="1"/>
            <c:bubble3D val="0"/>
            <c:spPr>
              <a:solidFill>
                <a:srgbClr val="AEABAB"/>
              </a:solidFill>
            </c:spPr>
            <c:extLst>
              <c:ext xmlns:c16="http://schemas.microsoft.com/office/drawing/2014/chart" uri="{C3380CC4-5D6E-409C-BE32-E72D297353CC}">
                <c16:uniqueId val="{0000048B-63DE-4091-B8DA-DB57396774D4}"/>
              </c:ext>
            </c:extLst>
          </c:dPt>
          <c:dPt>
            <c:idx val="581"/>
            <c:invertIfNegative val="1"/>
            <c:bubble3D val="0"/>
            <c:spPr>
              <a:solidFill>
                <a:srgbClr val="AEABAB"/>
              </a:solidFill>
            </c:spPr>
            <c:extLst>
              <c:ext xmlns:c16="http://schemas.microsoft.com/office/drawing/2014/chart" uri="{C3380CC4-5D6E-409C-BE32-E72D297353CC}">
                <c16:uniqueId val="{0000048D-63DE-4091-B8DA-DB57396774D4}"/>
              </c:ext>
            </c:extLst>
          </c:dPt>
          <c:dPt>
            <c:idx val="582"/>
            <c:invertIfNegative val="1"/>
            <c:bubble3D val="0"/>
            <c:spPr>
              <a:solidFill>
                <a:srgbClr val="AEABAB"/>
              </a:solidFill>
            </c:spPr>
            <c:extLst>
              <c:ext xmlns:c16="http://schemas.microsoft.com/office/drawing/2014/chart" uri="{C3380CC4-5D6E-409C-BE32-E72D297353CC}">
                <c16:uniqueId val="{0000048F-63DE-4091-B8DA-DB57396774D4}"/>
              </c:ext>
            </c:extLst>
          </c:dPt>
          <c:dPt>
            <c:idx val="583"/>
            <c:invertIfNegative val="1"/>
            <c:bubble3D val="0"/>
            <c:spPr>
              <a:solidFill>
                <a:srgbClr val="AEABAB"/>
              </a:solidFill>
            </c:spPr>
            <c:extLst>
              <c:ext xmlns:c16="http://schemas.microsoft.com/office/drawing/2014/chart" uri="{C3380CC4-5D6E-409C-BE32-E72D297353CC}">
                <c16:uniqueId val="{00000491-63DE-4091-B8DA-DB57396774D4}"/>
              </c:ext>
            </c:extLst>
          </c:dPt>
          <c:dPt>
            <c:idx val="584"/>
            <c:invertIfNegative val="1"/>
            <c:bubble3D val="0"/>
            <c:spPr>
              <a:solidFill>
                <a:srgbClr val="AEABAB"/>
              </a:solidFill>
            </c:spPr>
            <c:extLst>
              <c:ext xmlns:c16="http://schemas.microsoft.com/office/drawing/2014/chart" uri="{C3380CC4-5D6E-409C-BE32-E72D297353CC}">
                <c16:uniqueId val="{00000493-63DE-4091-B8DA-DB57396774D4}"/>
              </c:ext>
            </c:extLst>
          </c:dPt>
          <c:dPt>
            <c:idx val="585"/>
            <c:invertIfNegative val="1"/>
            <c:bubble3D val="0"/>
            <c:spPr>
              <a:solidFill>
                <a:srgbClr val="AEABAB"/>
              </a:solidFill>
            </c:spPr>
            <c:extLst>
              <c:ext xmlns:c16="http://schemas.microsoft.com/office/drawing/2014/chart" uri="{C3380CC4-5D6E-409C-BE32-E72D297353CC}">
                <c16:uniqueId val="{00000495-63DE-4091-B8DA-DB57396774D4}"/>
              </c:ext>
            </c:extLst>
          </c:dPt>
          <c:dPt>
            <c:idx val="586"/>
            <c:invertIfNegative val="1"/>
            <c:bubble3D val="0"/>
            <c:spPr>
              <a:solidFill>
                <a:srgbClr val="AEABAB"/>
              </a:solidFill>
            </c:spPr>
            <c:extLst>
              <c:ext xmlns:c16="http://schemas.microsoft.com/office/drawing/2014/chart" uri="{C3380CC4-5D6E-409C-BE32-E72D297353CC}">
                <c16:uniqueId val="{00000497-63DE-4091-B8DA-DB57396774D4}"/>
              </c:ext>
            </c:extLst>
          </c:dPt>
          <c:dPt>
            <c:idx val="587"/>
            <c:invertIfNegative val="1"/>
            <c:bubble3D val="0"/>
            <c:spPr>
              <a:solidFill>
                <a:srgbClr val="AEABAB"/>
              </a:solidFill>
            </c:spPr>
            <c:extLst>
              <c:ext xmlns:c16="http://schemas.microsoft.com/office/drawing/2014/chart" uri="{C3380CC4-5D6E-409C-BE32-E72D297353CC}">
                <c16:uniqueId val="{00000499-63DE-4091-B8DA-DB57396774D4}"/>
              </c:ext>
            </c:extLst>
          </c:dPt>
          <c:dPt>
            <c:idx val="588"/>
            <c:invertIfNegative val="1"/>
            <c:bubble3D val="0"/>
            <c:spPr>
              <a:solidFill>
                <a:srgbClr val="AEABAB"/>
              </a:solidFill>
            </c:spPr>
            <c:extLst>
              <c:ext xmlns:c16="http://schemas.microsoft.com/office/drawing/2014/chart" uri="{C3380CC4-5D6E-409C-BE32-E72D297353CC}">
                <c16:uniqueId val="{0000049B-63DE-4091-B8DA-DB57396774D4}"/>
              </c:ext>
            </c:extLst>
          </c:dPt>
          <c:dPt>
            <c:idx val="589"/>
            <c:invertIfNegative val="1"/>
            <c:bubble3D val="0"/>
            <c:spPr>
              <a:solidFill>
                <a:srgbClr val="AEABAB"/>
              </a:solidFill>
            </c:spPr>
            <c:extLst>
              <c:ext xmlns:c16="http://schemas.microsoft.com/office/drawing/2014/chart" uri="{C3380CC4-5D6E-409C-BE32-E72D297353CC}">
                <c16:uniqueId val="{0000049D-63DE-4091-B8DA-DB57396774D4}"/>
              </c:ext>
            </c:extLst>
          </c:dPt>
          <c:dPt>
            <c:idx val="590"/>
            <c:invertIfNegative val="1"/>
            <c:bubble3D val="0"/>
            <c:spPr>
              <a:solidFill>
                <a:srgbClr val="AEABAB"/>
              </a:solidFill>
            </c:spPr>
            <c:extLst>
              <c:ext xmlns:c16="http://schemas.microsoft.com/office/drawing/2014/chart" uri="{C3380CC4-5D6E-409C-BE32-E72D297353CC}">
                <c16:uniqueId val="{0000049F-63DE-4091-B8DA-DB57396774D4}"/>
              </c:ext>
            </c:extLst>
          </c:dPt>
          <c:dPt>
            <c:idx val="591"/>
            <c:invertIfNegative val="1"/>
            <c:bubble3D val="0"/>
            <c:spPr>
              <a:solidFill>
                <a:srgbClr val="AEABAB"/>
              </a:solidFill>
            </c:spPr>
            <c:extLst>
              <c:ext xmlns:c16="http://schemas.microsoft.com/office/drawing/2014/chart" uri="{C3380CC4-5D6E-409C-BE32-E72D297353CC}">
                <c16:uniqueId val="{000004A1-63DE-4091-B8DA-DB57396774D4}"/>
              </c:ext>
            </c:extLst>
          </c:dPt>
          <c:dPt>
            <c:idx val="592"/>
            <c:invertIfNegative val="1"/>
            <c:bubble3D val="0"/>
            <c:spPr>
              <a:solidFill>
                <a:srgbClr val="AEABAB"/>
              </a:solidFill>
            </c:spPr>
            <c:extLst>
              <c:ext xmlns:c16="http://schemas.microsoft.com/office/drawing/2014/chart" uri="{C3380CC4-5D6E-409C-BE32-E72D297353CC}">
                <c16:uniqueId val="{000004A3-63DE-4091-B8DA-DB57396774D4}"/>
              </c:ext>
            </c:extLst>
          </c:dPt>
          <c:dPt>
            <c:idx val="593"/>
            <c:invertIfNegative val="1"/>
            <c:bubble3D val="0"/>
            <c:spPr>
              <a:solidFill>
                <a:srgbClr val="AEABAB"/>
              </a:solidFill>
            </c:spPr>
            <c:extLst>
              <c:ext xmlns:c16="http://schemas.microsoft.com/office/drawing/2014/chart" uri="{C3380CC4-5D6E-409C-BE32-E72D297353CC}">
                <c16:uniqueId val="{000004A5-63DE-4091-B8DA-DB57396774D4}"/>
              </c:ext>
            </c:extLst>
          </c:dPt>
          <c:dPt>
            <c:idx val="594"/>
            <c:invertIfNegative val="1"/>
            <c:bubble3D val="0"/>
            <c:spPr>
              <a:solidFill>
                <a:srgbClr val="AEABAB"/>
              </a:solidFill>
            </c:spPr>
            <c:extLst>
              <c:ext xmlns:c16="http://schemas.microsoft.com/office/drawing/2014/chart" uri="{C3380CC4-5D6E-409C-BE32-E72D297353CC}">
                <c16:uniqueId val="{000004A7-63DE-4091-B8DA-DB57396774D4}"/>
              </c:ext>
            </c:extLst>
          </c:dPt>
          <c:dPt>
            <c:idx val="595"/>
            <c:invertIfNegative val="1"/>
            <c:bubble3D val="0"/>
            <c:spPr>
              <a:solidFill>
                <a:srgbClr val="AEABAB"/>
              </a:solidFill>
            </c:spPr>
            <c:extLst>
              <c:ext xmlns:c16="http://schemas.microsoft.com/office/drawing/2014/chart" uri="{C3380CC4-5D6E-409C-BE32-E72D297353CC}">
                <c16:uniqueId val="{000004A9-63DE-4091-B8DA-DB57396774D4}"/>
              </c:ext>
            </c:extLst>
          </c:dPt>
          <c:dPt>
            <c:idx val="596"/>
            <c:invertIfNegative val="1"/>
            <c:bubble3D val="0"/>
            <c:spPr>
              <a:solidFill>
                <a:srgbClr val="AEABAB"/>
              </a:solidFill>
            </c:spPr>
            <c:extLst>
              <c:ext xmlns:c16="http://schemas.microsoft.com/office/drawing/2014/chart" uri="{C3380CC4-5D6E-409C-BE32-E72D297353CC}">
                <c16:uniqueId val="{000004AB-63DE-4091-B8DA-DB57396774D4}"/>
              </c:ext>
            </c:extLst>
          </c:dPt>
          <c:dPt>
            <c:idx val="597"/>
            <c:invertIfNegative val="1"/>
            <c:bubble3D val="0"/>
            <c:spPr>
              <a:solidFill>
                <a:srgbClr val="AEABAB"/>
              </a:solidFill>
            </c:spPr>
            <c:extLst>
              <c:ext xmlns:c16="http://schemas.microsoft.com/office/drawing/2014/chart" uri="{C3380CC4-5D6E-409C-BE32-E72D297353CC}">
                <c16:uniqueId val="{000004AD-63DE-4091-B8DA-DB57396774D4}"/>
              </c:ext>
            </c:extLst>
          </c:dPt>
          <c:dPt>
            <c:idx val="598"/>
            <c:invertIfNegative val="1"/>
            <c:bubble3D val="0"/>
            <c:spPr>
              <a:solidFill>
                <a:srgbClr val="AEABAB"/>
              </a:solidFill>
            </c:spPr>
            <c:extLst>
              <c:ext xmlns:c16="http://schemas.microsoft.com/office/drawing/2014/chart" uri="{C3380CC4-5D6E-409C-BE32-E72D297353CC}">
                <c16:uniqueId val="{000004AF-63DE-4091-B8DA-DB57396774D4}"/>
              </c:ext>
            </c:extLst>
          </c:dPt>
          <c:dPt>
            <c:idx val="599"/>
            <c:invertIfNegative val="1"/>
            <c:bubble3D val="0"/>
            <c:spPr>
              <a:solidFill>
                <a:srgbClr val="AEABAB"/>
              </a:solidFill>
            </c:spPr>
            <c:extLst>
              <c:ext xmlns:c16="http://schemas.microsoft.com/office/drawing/2014/chart" uri="{C3380CC4-5D6E-409C-BE32-E72D297353CC}">
                <c16:uniqueId val="{000004B1-63DE-4091-B8DA-DB57396774D4}"/>
              </c:ext>
            </c:extLst>
          </c:dPt>
          <c:dPt>
            <c:idx val="600"/>
            <c:invertIfNegative val="1"/>
            <c:bubble3D val="0"/>
            <c:spPr>
              <a:solidFill>
                <a:srgbClr val="AEABAB"/>
              </a:solidFill>
            </c:spPr>
            <c:extLst>
              <c:ext xmlns:c16="http://schemas.microsoft.com/office/drawing/2014/chart" uri="{C3380CC4-5D6E-409C-BE32-E72D297353CC}">
                <c16:uniqueId val="{000004B3-63DE-4091-B8DA-DB57396774D4}"/>
              </c:ext>
            </c:extLst>
          </c:dPt>
          <c:dPt>
            <c:idx val="601"/>
            <c:invertIfNegative val="1"/>
            <c:bubble3D val="0"/>
            <c:spPr>
              <a:solidFill>
                <a:srgbClr val="AEABAB"/>
              </a:solidFill>
            </c:spPr>
            <c:extLst>
              <c:ext xmlns:c16="http://schemas.microsoft.com/office/drawing/2014/chart" uri="{C3380CC4-5D6E-409C-BE32-E72D297353CC}">
                <c16:uniqueId val="{000004B5-63DE-4091-B8DA-DB57396774D4}"/>
              </c:ext>
            </c:extLst>
          </c:dPt>
          <c:dPt>
            <c:idx val="602"/>
            <c:invertIfNegative val="1"/>
            <c:bubble3D val="0"/>
            <c:spPr>
              <a:solidFill>
                <a:srgbClr val="AEABAB"/>
              </a:solidFill>
            </c:spPr>
            <c:extLst>
              <c:ext xmlns:c16="http://schemas.microsoft.com/office/drawing/2014/chart" uri="{C3380CC4-5D6E-409C-BE32-E72D297353CC}">
                <c16:uniqueId val="{000004B7-63DE-4091-B8DA-DB57396774D4}"/>
              </c:ext>
            </c:extLst>
          </c:dPt>
          <c:dPt>
            <c:idx val="603"/>
            <c:invertIfNegative val="1"/>
            <c:bubble3D val="0"/>
            <c:spPr>
              <a:solidFill>
                <a:srgbClr val="AEABAB"/>
              </a:solidFill>
            </c:spPr>
            <c:extLst>
              <c:ext xmlns:c16="http://schemas.microsoft.com/office/drawing/2014/chart" uri="{C3380CC4-5D6E-409C-BE32-E72D297353CC}">
                <c16:uniqueId val="{000004B9-63DE-4091-B8DA-DB57396774D4}"/>
              </c:ext>
            </c:extLst>
          </c:dPt>
          <c:dPt>
            <c:idx val="604"/>
            <c:invertIfNegative val="1"/>
            <c:bubble3D val="0"/>
            <c:spPr>
              <a:solidFill>
                <a:srgbClr val="AEABAB"/>
              </a:solidFill>
            </c:spPr>
            <c:extLst>
              <c:ext xmlns:c16="http://schemas.microsoft.com/office/drawing/2014/chart" uri="{C3380CC4-5D6E-409C-BE32-E72D297353CC}">
                <c16:uniqueId val="{000004BB-63DE-4091-B8DA-DB57396774D4}"/>
              </c:ext>
            </c:extLst>
          </c:dPt>
          <c:dPt>
            <c:idx val="605"/>
            <c:invertIfNegative val="1"/>
            <c:bubble3D val="0"/>
            <c:spPr>
              <a:solidFill>
                <a:srgbClr val="AEABAB"/>
              </a:solidFill>
            </c:spPr>
            <c:extLst>
              <c:ext xmlns:c16="http://schemas.microsoft.com/office/drawing/2014/chart" uri="{C3380CC4-5D6E-409C-BE32-E72D297353CC}">
                <c16:uniqueId val="{000004BD-63DE-4091-B8DA-DB57396774D4}"/>
              </c:ext>
            </c:extLst>
          </c:dPt>
          <c:dPt>
            <c:idx val="606"/>
            <c:invertIfNegative val="1"/>
            <c:bubble3D val="0"/>
            <c:spPr>
              <a:solidFill>
                <a:srgbClr val="AEABAB"/>
              </a:solidFill>
            </c:spPr>
            <c:extLst>
              <c:ext xmlns:c16="http://schemas.microsoft.com/office/drawing/2014/chart" uri="{C3380CC4-5D6E-409C-BE32-E72D297353CC}">
                <c16:uniqueId val="{000004BF-63DE-4091-B8DA-DB57396774D4}"/>
              </c:ext>
            </c:extLst>
          </c:dPt>
          <c:dPt>
            <c:idx val="607"/>
            <c:invertIfNegative val="1"/>
            <c:bubble3D val="0"/>
            <c:spPr>
              <a:solidFill>
                <a:srgbClr val="AEABAB"/>
              </a:solidFill>
            </c:spPr>
            <c:extLst>
              <c:ext xmlns:c16="http://schemas.microsoft.com/office/drawing/2014/chart" uri="{C3380CC4-5D6E-409C-BE32-E72D297353CC}">
                <c16:uniqueId val="{000004C1-63DE-4091-B8DA-DB57396774D4}"/>
              </c:ext>
            </c:extLst>
          </c:dPt>
          <c:dPt>
            <c:idx val="608"/>
            <c:invertIfNegative val="1"/>
            <c:bubble3D val="0"/>
            <c:spPr>
              <a:solidFill>
                <a:srgbClr val="AEABAB"/>
              </a:solidFill>
            </c:spPr>
            <c:extLst>
              <c:ext xmlns:c16="http://schemas.microsoft.com/office/drawing/2014/chart" uri="{C3380CC4-5D6E-409C-BE32-E72D297353CC}">
                <c16:uniqueId val="{000004C3-63DE-4091-B8DA-DB57396774D4}"/>
              </c:ext>
            </c:extLst>
          </c:dPt>
          <c:dPt>
            <c:idx val="609"/>
            <c:invertIfNegative val="1"/>
            <c:bubble3D val="0"/>
            <c:spPr>
              <a:solidFill>
                <a:srgbClr val="AEABAB"/>
              </a:solidFill>
            </c:spPr>
            <c:extLst>
              <c:ext xmlns:c16="http://schemas.microsoft.com/office/drawing/2014/chart" uri="{C3380CC4-5D6E-409C-BE32-E72D297353CC}">
                <c16:uniqueId val="{000004C5-63DE-4091-B8DA-DB57396774D4}"/>
              </c:ext>
            </c:extLst>
          </c:dPt>
          <c:dPt>
            <c:idx val="610"/>
            <c:invertIfNegative val="1"/>
            <c:bubble3D val="0"/>
            <c:spPr>
              <a:solidFill>
                <a:srgbClr val="AEABAB"/>
              </a:solidFill>
            </c:spPr>
            <c:extLst>
              <c:ext xmlns:c16="http://schemas.microsoft.com/office/drawing/2014/chart" uri="{C3380CC4-5D6E-409C-BE32-E72D297353CC}">
                <c16:uniqueId val="{000004C7-63DE-4091-B8DA-DB57396774D4}"/>
              </c:ext>
            </c:extLst>
          </c:dPt>
          <c:dPt>
            <c:idx val="611"/>
            <c:invertIfNegative val="1"/>
            <c:bubble3D val="0"/>
            <c:spPr>
              <a:solidFill>
                <a:srgbClr val="AEABAB"/>
              </a:solidFill>
            </c:spPr>
            <c:extLst>
              <c:ext xmlns:c16="http://schemas.microsoft.com/office/drawing/2014/chart" uri="{C3380CC4-5D6E-409C-BE32-E72D297353CC}">
                <c16:uniqueId val="{000004C9-63DE-4091-B8DA-DB57396774D4}"/>
              </c:ext>
            </c:extLst>
          </c:dPt>
          <c:dPt>
            <c:idx val="612"/>
            <c:invertIfNegative val="1"/>
            <c:bubble3D val="0"/>
            <c:spPr>
              <a:solidFill>
                <a:srgbClr val="AEABAB"/>
              </a:solidFill>
            </c:spPr>
            <c:extLst>
              <c:ext xmlns:c16="http://schemas.microsoft.com/office/drawing/2014/chart" uri="{C3380CC4-5D6E-409C-BE32-E72D297353CC}">
                <c16:uniqueId val="{000004CB-63DE-4091-B8DA-DB57396774D4}"/>
              </c:ext>
            </c:extLst>
          </c:dPt>
          <c:dPt>
            <c:idx val="613"/>
            <c:invertIfNegative val="1"/>
            <c:bubble3D val="0"/>
            <c:spPr>
              <a:solidFill>
                <a:srgbClr val="AEABAB"/>
              </a:solidFill>
            </c:spPr>
            <c:extLst>
              <c:ext xmlns:c16="http://schemas.microsoft.com/office/drawing/2014/chart" uri="{C3380CC4-5D6E-409C-BE32-E72D297353CC}">
                <c16:uniqueId val="{000004CD-63DE-4091-B8DA-DB57396774D4}"/>
              </c:ext>
            </c:extLst>
          </c:dPt>
          <c:dPt>
            <c:idx val="614"/>
            <c:invertIfNegative val="1"/>
            <c:bubble3D val="0"/>
            <c:spPr>
              <a:solidFill>
                <a:srgbClr val="AEABAB"/>
              </a:solidFill>
            </c:spPr>
            <c:extLst>
              <c:ext xmlns:c16="http://schemas.microsoft.com/office/drawing/2014/chart" uri="{C3380CC4-5D6E-409C-BE32-E72D297353CC}">
                <c16:uniqueId val="{000004CF-63DE-4091-B8DA-DB57396774D4}"/>
              </c:ext>
            </c:extLst>
          </c:dPt>
          <c:dPt>
            <c:idx val="615"/>
            <c:invertIfNegative val="1"/>
            <c:bubble3D val="0"/>
            <c:spPr>
              <a:solidFill>
                <a:srgbClr val="AEABAB"/>
              </a:solidFill>
            </c:spPr>
            <c:extLst>
              <c:ext xmlns:c16="http://schemas.microsoft.com/office/drawing/2014/chart" uri="{C3380CC4-5D6E-409C-BE32-E72D297353CC}">
                <c16:uniqueId val="{000004D1-63DE-4091-B8DA-DB57396774D4}"/>
              </c:ext>
            </c:extLst>
          </c:dPt>
          <c:dPt>
            <c:idx val="616"/>
            <c:invertIfNegative val="1"/>
            <c:bubble3D val="0"/>
            <c:spPr>
              <a:solidFill>
                <a:srgbClr val="AEABAB"/>
              </a:solidFill>
            </c:spPr>
            <c:extLst>
              <c:ext xmlns:c16="http://schemas.microsoft.com/office/drawing/2014/chart" uri="{C3380CC4-5D6E-409C-BE32-E72D297353CC}">
                <c16:uniqueId val="{000004D3-63DE-4091-B8DA-DB57396774D4}"/>
              </c:ext>
            </c:extLst>
          </c:dPt>
          <c:dPt>
            <c:idx val="617"/>
            <c:invertIfNegative val="1"/>
            <c:bubble3D val="0"/>
            <c:spPr>
              <a:solidFill>
                <a:srgbClr val="AEABAB"/>
              </a:solidFill>
            </c:spPr>
            <c:extLst>
              <c:ext xmlns:c16="http://schemas.microsoft.com/office/drawing/2014/chart" uri="{C3380CC4-5D6E-409C-BE32-E72D297353CC}">
                <c16:uniqueId val="{000004D5-63DE-4091-B8DA-DB57396774D4}"/>
              </c:ext>
            </c:extLst>
          </c:dPt>
          <c:dPt>
            <c:idx val="618"/>
            <c:invertIfNegative val="1"/>
            <c:bubble3D val="0"/>
            <c:spPr>
              <a:solidFill>
                <a:srgbClr val="AEABAB"/>
              </a:solidFill>
            </c:spPr>
            <c:extLst>
              <c:ext xmlns:c16="http://schemas.microsoft.com/office/drawing/2014/chart" uri="{C3380CC4-5D6E-409C-BE32-E72D297353CC}">
                <c16:uniqueId val="{000004D7-63DE-4091-B8DA-DB57396774D4}"/>
              </c:ext>
            </c:extLst>
          </c:dPt>
          <c:dPt>
            <c:idx val="619"/>
            <c:invertIfNegative val="1"/>
            <c:bubble3D val="0"/>
            <c:spPr>
              <a:solidFill>
                <a:srgbClr val="AEABAB"/>
              </a:solidFill>
            </c:spPr>
            <c:extLst>
              <c:ext xmlns:c16="http://schemas.microsoft.com/office/drawing/2014/chart" uri="{C3380CC4-5D6E-409C-BE32-E72D297353CC}">
                <c16:uniqueId val="{000004D9-63DE-4091-B8DA-DB57396774D4}"/>
              </c:ext>
            </c:extLst>
          </c:dPt>
          <c:dPt>
            <c:idx val="620"/>
            <c:invertIfNegative val="1"/>
            <c:bubble3D val="0"/>
            <c:spPr>
              <a:solidFill>
                <a:srgbClr val="AEABAB"/>
              </a:solidFill>
            </c:spPr>
            <c:extLst>
              <c:ext xmlns:c16="http://schemas.microsoft.com/office/drawing/2014/chart" uri="{C3380CC4-5D6E-409C-BE32-E72D297353CC}">
                <c16:uniqueId val="{000004DB-63DE-4091-B8DA-DB57396774D4}"/>
              </c:ext>
            </c:extLst>
          </c:dPt>
          <c:dPt>
            <c:idx val="621"/>
            <c:invertIfNegative val="1"/>
            <c:bubble3D val="0"/>
            <c:spPr>
              <a:solidFill>
                <a:srgbClr val="AEABAB"/>
              </a:solidFill>
            </c:spPr>
            <c:extLst>
              <c:ext xmlns:c16="http://schemas.microsoft.com/office/drawing/2014/chart" uri="{C3380CC4-5D6E-409C-BE32-E72D297353CC}">
                <c16:uniqueId val="{000004DD-63DE-4091-B8DA-DB57396774D4}"/>
              </c:ext>
            </c:extLst>
          </c:dPt>
          <c:dPt>
            <c:idx val="622"/>
            <c:invertIfNegative val="1"/>
            <c:bubble3D val="0"/>
            <c:spPr>
              <a:solidFill>
                <a:srgbClr val="AEABAB"/>
              </a:solidFill>
            </c:spPr>
            <c:extLst>
              <c:ext xmlns:c16="http://schemas.microsoft.com/office/drawing/2014/chart" uri="{C3380CC4-5D6E-409C-BE32-E72D297353CC}">
                <c16:uniqueId val="{000004DF-63DE-4091-B8DA-DB57396774D4}"/>
              </c:ext>
            </c:extLst>
          </c:dPt>
          <c:dPt>
            <c:idx val="623"/>
            <c:invertIfNegative val="1"/>
            <c:bubble3D val="0"/>
            <c:spPr>
              <a:solidFill>
                <a:srgbClr val="AEABAB"/>
              </a:solidFill>
            </c:spPr>
            <c:extLst>
              <c:ext xmlns:c16="http://schemas.microsoft.com/office/drawing/2014/chart" uri="{C3380CC4-5D6E-409C-BE32-E72D297353CC}">
                <c16:uniqueId val="{000004E1-63DE-4091-B8DA-DB57396774D4}"/>
              </c:ext>
            </c:extLst>
          </c:dPt>
          <c:dPt>
            <c:idx val="624"/>
            <c:invertIfNegative val="1"/>
            <c:bubble3D val="0"/>
            <c:spPr>
              <a:solidFill>
                <a:srgbClr val="AEABAB"/>
              </a:solidFill>
            </c:spPr>
            <c:extLst>
              <c:ext xmlns:c16="http://schemas.microsoft.com/office/drawing/2014/chart" uri="{C3380CC4-5D6E-409C-BE32-E72D297353CC}">
                <c16:uniqueId val="{000004E3-63DE-4091-B8DA-DB57396774D4}"/>
              </c:ext>
            </c:extLst>
          </c:dPt>
          <c:dPt>
            <c:idx val="625"/>
            <c:invertIfNegative val="1"/>
            <c:bubble3D val="0"/>
            <c:spPr>
              <a:solidFill>
                <a:srgbClr val="AEABAB"/>
              </a:solidFill>
            </c:spPr>
            <c:extLst>
              <c:ext xmlns:c16="http://schemas.microsoft.com/office/drawing/2014/chart" uri="{C3380CC4-5D6E-409C-BE32-E72D297353CC}">
                <c16:uniqueId val="{000004E5-63DE-4091-B8DA-DB57396774D4}"/>
              </c:ext>
            </c:extLst>
          </c:dPt>
          <c:dPt>
            <c:idx val="626"/>
            <c:invertIfNegative val="1"/>
            <c:bubble3D val="0"/>
            <c:spPr>
              <a:solidFill>
                <a:srgbClr val="AEABAB"/>
              </a:solidFill>
            </c:spPr>
            <c:extLst>
              <c:ext xmlns:c16="http://schemas.microsoft.com/office/drawing/2014/chart" uri="{C3380CC4-5D6E-409C-BE32-E72D297353CC}">
                <c16:uniqueId val="{000004E7-63DE-4091-B8DA-DB57396774D4}"/>
              </c:ext>
            </c:extLst>
          </c:dPt>
          <c:dPt>
            <c:idx val="627"/>
            <c:invertIfNegative val="1"/>
            <c:bubble3D val="0"/>
            <c:spPr>
              <a:solidFill>
                <a:srgbClr val="AEABAB"/>
              </a:solidFill>
            </c:spPr>
            <c:extLst>
              <c:ext xmlns:c16="http://schemas.microsoft.com/office/drawing/2014/chart" uri="{C3380CC4-5D6E-409C-BE32-E72D297353CC}">
                <c16:uniqueId val="{000004E9-63DE-4091-B8DA-DB57396774D4}"/>
              </c:ext>
            </c:extLst>
          </c:dPt>
          <c:dPt>
            <c:idx val="628"/>
            <c:invertIfNegative val="1"/>
            <c:bubble3D val="0"/>
            <c:spPr>
              <a:solidFill>
                <a:srgbClr val="AEABAB"/>
              </a:solidFill>
            </c:spPr>
            <c:extLst>
              <c:ext xmlns:c16="http://schemas.microsoft.com/office/drawing/2014/chart" uri="{C3380CC4-5D6E-409C-BE32-E72D297353CC}">
                <c16:uniqueId val="{000004EB-63DE-4091-B8DA-DB57396774D4}"/>
              </c:ext>
            </c:extLst>
          </c:dPt>
          <c:dPt>
            <c:idx val="629"/>
            <c:invertIfNegative val="1"/>
            <c:bubble3D val="0"/>
            <c:spPr>
              <a:solidFill>
                <a:srgbClr val="AEABAB"/>
              </a:solidFill>
            </c:spPr>
            <c:extLst>
              <c:ext xmlns:c16="http://schemas.microsoft.com/office/drawing/2014/chart" uri="{C3380CC4-5D6E-409C-BE32-E72D297353CC}">
                <c16:uniqueId val="{000004ED-63DE-4091-B8DA-DB57396774D4}"/>
              </c:ext>
            </c:extLst>
          </c:dPt>
          <c:dPt>
            <c:idx val="630"/>
            <c:invertIfNegative val="1"/>
            <c:bubble3D val="0"/>
            <c:spPr>
              <a:solidFill>
                <a:srgbClr val="AEABAB"/>
              </a:solidFill>
            </c:spPr>
            <c:extLst>
              <c:ext xmlns:c16="http://schemas.microsoft.com/office/drawing/2014/chart" uri="{C3380CC4-5D6E-409C-BE32-E72D297353CC}">
                <c16:uniqueId val="{000004EF-63DE-4091-B8DA-DB57396774D4}"/>
              </c:ext>
            </c:extLst>
          </c:dPt>
          <c:dPt>
            <c:idx val="631"/>
            <c:invertIfNegative val="1"/>
            <c:bubble3D val="0"/>
            <c:spPr>
              <a:solidFill>
                <a:srgbClr val="AEABAB"/>
              </a:solidFill>
            </c:spPr>
            <c:extLst>
              <c:ext xmlns:c16="http://schemas.microsoft.com/office/drawing/2014/chart" uri="{C3380CC4-5D6E-409C-BE32-E72D297353CC}">
                <c16:uniqueId val="{000004F1-63DE-4091-B8DA-DB57396774D4}"/>
              </c:ext>
            </c:extLst>
          </c:dPt>
          <c:dPt>
            <c:idx val="632"/>
            <c:invertIfNegative val="1"/>
            <c:bubble3D val="0"/>
            <c:spPr>
              <a:solidFill>
                <a:srgbClr val="AEABAB"/>
              </a:solidFill>
            </c:spPr>
            <c:extLst>
              <c:ext xmlns:c16="http://schemas.microsoft.com/office/drawing/2014/chart" uri="{C3380CC4-5D6E-409C-BE32-E72D297353CC}">
                <c16:uniqueId val="{000004F3-63DE-4091-B8DA-DB57396774D4}"/>
              </c:ext>
            </c:extLst>
          </c:dPt>
          <c:dPt>
            <c:idx val="633"/>
            <c:invertIfNegative val="1"/>
            <c:bubble3D val="0"/>
            <c:spPr>
              <a:solidFill>
                <a:srgbClr val="AEABAB"/>
              </a:solidFill>
            </c:spPr>
            <c:extLst>
              <c:ext xmlns:c16="http://schemas.microsoft.com/office/drawing/2014/chart" uri="{C3380CC4-5D6E-409C-BE32-E72D297353CC}">
                <c16:uniqueId val="{000004F5-63DE-4091-B8DA-DB57396774D4}"/>
              </c:ext>
            </c:extLst>
          </c:dPt>
          <c:dPt>
            <c:idx val="634"/>
            <c:invertIfNegative val="1"/>
            <c:bubble3D val="0"/>
            <c:spPr>
              <a:solidFill>
                <a:srgbClr val="AEABAB"/>
              </a:solidFill>
            </c:spPr>
            <c:extLst>
              <c:ext xmlns:c16="http://schemas.microsoft.com/office/drawing/2014/chart" uri="{C3380CC4-5D6E-409C-BE32-E72D297353CC}">
                <c16:uniqueId val="{000004F7-63DE-4091-B8DA-DB57396774D4}"/>
              </c:ext>
            </c:extLst>
          </c:dPt>
          <c:dPt>
            <c:idx val="635"/>
            <c:invertIfNegative val="1"/>
            <c:bubble3D val="0"/>
            <c:spPr>
              <a:solidFill>
                <a:srgbClr val="AEABAB"/>
              </a:solidFill>
            </c:spPr>
            <c:extLst>
              <c:ext xmlns:c16="http://schemas.microsoft.com/office/drawing/2014/chart" uri="{C3380CC4-5D6E-409C-BE32-E72D297353CC}">
                <c16:uniqueId val="{000004F9-63DE-4091-B8DA-DB57396774D4}"/>
              </c:ext>
            </c:extLst>
          </c:dPt>
          <c:dPt>
            <c:idx val="636"/>
            <c:invertIfNegative val="1"/>
            <c:bubble3D val="0"/>
            <c:spPr>
              <a:solidFill>
                <a:srgbClr val="AEABAB"/>
              </a:solidFill>
            </c:spPr>
            <c:extLst>
              <c:ext xmlns:c16="http://schemas.microsoft.com/office/drawing/2014/chart" uri="{C3380CC4-5D6E-409C-BE32-E72D297353CC}">
                <c16:uniqueId val="{000004FB-63DE-4091-B8DA-DB57396774D4}"/>
              </c:ext>
            </c:extLst>
          </c:dPt>
          <c:dPt>
            <c:idx val="637"/>
            <c:invertIfNegative val="1"/>
            <c:bubble3D val="0"/>
            <c:spPr>
              <a:solidFill>
                <a:srgbClr val="AEABAB"/>
              </a:solidFill>
            </c:spPr>
            <c:extLst>
              <c:ext xmlns:c16="http://schemas.microsoft.com/office/drawing/2014/chart" uri="{C3380CC4-5D6E-409C-BE32-E72D297353CC}">
                <c16:uniqueId val="{000004FD-63DE-4091-B8DA-DB57396774D4}"/>
              </c:ext>
            </c:extLst>
          </c:dPt>
          <c:dPt>
            <c:idx val="638"/>
            <c:invertIfNegative val="1"/>
            <c:bubble3D val="0"/>
            <c:spPr>
              <a:solidFill>
                <a:srgbClr val="AEABAB"/>
              </a:solidFill>
            </c:spPr>
            <c:extLst>
              <c:ext xmlns:c16="http://schemas.microsoft.com/office/drawing/2014/chart" uri="{C3380CC4-5D6E-409C-BE32-E72D297353CC}">
                <c16:uniqueId val="{000004FF-63DE-4091-B8DA-DB57396774D4}"/>
              </c:ext>
            </c:extLst>
          </c:dPt>
          <c:dPt>
            <c:idx val="639"/>
            <c:invertIfNegative val="1"/>
            <c:bubble3D val="0"/>
            <c:spPr>
              <a:solidFill>
                <a:srgbClr val="AEABAB"/>
              </a:solidFill>
            </c:spPr>
            <c:extLst>
              <c:ext xmlns:c16="http://schemas.microsoft.com/office/drawing/2014/chart" uri="{C3380CC4-5D6E-409C-BE32-E72D297353CC}">
                <c16:uniqueId val="{00000501-63DE-4091-B8DA-DB57396774D4}"/>
              </c:ext>
            </c:extLst>
          </c:dPt>
          <c:dPt>
            <c:idx val="640"/>
            <c:invertIfNegative val="1"/>
            <c:bubble3D val="0"/>
            <c:spPr>
              <a:solidFill>
                <a:srgbClr val="AEABAB"/>
              </a:solidFill>
            </c:spPr>
            <c:extLst>
              <c:ext xmlns:c16="http://schemas.microsoft.com/office/drawing/2014/chart" uri="{C3380CC4-5D6E-409C-BE32-E72D297353CC}">
                <c16:uniqueId val="{00000503-63DE-4091-B8DA-DB57396774D4}"/>
              </c:ext>
            </c:extLst>
          </c:dPt>
          <c:dPt>
            <c:idx val="641"/>
            <c:invertIfNegative val="1"/>
            <c:bubble3D val="0"/>
            <c:spPr>
              <a:solidFill>
                <a:srgbClr val="AEABAB"/>
              </a:solidFill>
            </c:spPr>
            <c:extLst>
              <c:ext xmlns:c16="http://schemas.microsoft.com/office/drawing/2014/chart" uri="{C3380CC4-5D6E-409C-BE32-E72D297353CC}">
                <c16:uniqueId val="{00000505-63DE-4091-B8DA-DB57396774D4}"/>
              </c:ext>
            </c:extLst>
          </c:dPt>
          <c:dPt>
            <c:idx val="642"/>
            <c:invertIfNegative val="1"/>
            <c:bubble3D val="0"/>
            <c:spPr>
              <a:solidFill>
                <a:srgbClr val="AEABAB"/>
              </a:solidFill>
            </c:spPr>
            <c:extLst>
              <c:ext xmlns:c16="http://schemas.microsoft.com/office/drawing/2014/chart" uri="{C3380CC4-5D6E-409C-BE32-E72D297353CC}">
                <c16:uniqueId val="{00000507-63DE-4091-B8DA-DB57396774D4}"/>
              </c:ext>
            </c:extLst>
          </c:dPt>
          <c:dPt>
            <c:idx val="643"/>
            <c:invertIfNegative val="1"/>
            <c:bubble3D val="0"/>
            <c:spPr>
              <a:solidFill>
                <a:srgbClr val="AEABAB"/>
              </a:solidFill>
            </c:spPr>
            <c:extLst>
              <c:ext xmlns:c16="http://schemas.microsoft.com/office/drawing/2014/chart" uri="{C3380CC4-5D6E-409C-BE32-E72D297353CC}">
                <c16:uniqueId val="{00000509-63DE-4091-B8DA-DB57396774D4}"/>
              </c:ext>
            </c:extLst>
          </c:dPt>
          <c:dPt>
            <c:idx val="644"/>
            <c:invertIfNegative val="1"/>
            <c:bubble3D val="0"/>
            <c:spPr>
              <a:solidFill>
                <a:srgbClr val="AEABAB"/>
              </a:solidFill>
            </c:spPr>
            <c:extLst>
              <c:ext xmlns:c16="http://schemas.microsoft.com/office/drawing/2014/chart" uri="{C3380CC4-5D6E-409C-BE32-E72D297353CC}">
                <c16:uniqueId val="{0000050B-63DE-4091-B8DA-DB57396774D4}"/>
              </c:ext>
            </c:extLst>
          </c:dPt>
          <c:dPt>
            <c:idx val="645"/>
            <c:invertIfNegative val="1"/>
            <c:bubble3D val="0"/>
            <c:spPr>
              <a:solidFill>
                <a:srgbClr val="AEABAB"/>
              </a:solidFill>
            </c:spPr>
            <c:extLst>
              <c:ext xmlns:c16="http://schemas.microsoft.com/office/drawing/2014/chart" uri="{C3380CC4-5D6E-409C-BE32-E72D297353CC}">
                <c16:uniqueId val="{0000050D-63DE-4091-B8DA-DB57396774D4}"/>
              </c:ext>
            </c:extLst>
          </c:dPt>
          <c:dPt>
            <c:idx val="646"/>
            <c:invertIfNegative val="1"/>
            <c:bubble3D val="0"/>
            <c:spPr>
              <a:solidFill>
                <a:srgbClr val="AEABAB"/>
              </a:solidFill>
            </c:spPr>
            <c:extLst>
              <c:ext xmlns:c16="http://schemas.microsoft.com/office/drawing/2014/chart" uri="{C3380CC4-5D6E-409C-BE32-E72D297353CC}">
                <c16:uniqueId val="{0000050F-63DE-4091-B8DA-DB57396774D4}"/>
              </c:ext>
            </c:extLst>
          </c:dPt>
          <c:dPt>
            <c:idx val="647"/>
            <c:invertIfNegative val="1"/>
            <c:bubble3D val="0"/>
            <c:spPr>
              <a:solidFill>
                <a:srgbClr val="AEABAB"/>
              </a:solidFill>
            </c:spPr>
            <c:extLst>
              <c:ext xmlns:c16="http://schemas.microsoft.com/office/drawing/2014/chart" uri="{C3380CC4-5D6E-409C-BE32-E72D297353CC}">
                <c16:uniqueId val="{00000511-63DE-4091-B8DA-DB57396774D4}"/>
              </c:ext>
            </c:extLst>
          </c:dPt>
          <c:dPt>
            <c:idx val="648"/>
            <c:invertIfNegative val="1"/>
            <c:bubble3D val="0"/>
            <c:spPr>
              <a:solidFill>
                <a:srgbClr val="AEABAB"/>
              </a:solidFill>
            </c:spPr>
            <c:extLst>
              <c:ext xmlns:c16="http://schemas.microsoft.com/office/drawing/2014/chart" uri="{C3380CC4-5D6E-409C-BE32-E72D297353CC}">
                <c16:uniqueId val="{00000513-63DE-4091-B8DA-DB57396774D4}"/>
              </c:ext>
            </c:extLst>
          </c:dPt>
          <c:dPt>
            <c:idx val="649"/>
            <c:invertIfNegative val="1"/>
            <c:bubble3D val="0"/>
            <c:spPr>
              <a:solidFill>
                <a:srgbClr val="AEABAB"/>
              </a:solidFill>
            </c:spPr>
            <c:extLst>
              <c:ext xmlns:c16="http://schemas.microsoft.com/office/drawing/2014/chart" uri="{C3380CC4-5D6E-409C-BE32-E72D297353CC}">
                <c16:uniqueId val="{00000515-63DE-4091-B8DA-DB57396774D4}"/>
              </c:ext>
            </c:extLst>
          </c:dPt>
          <c:dPt>
            <c:idx val="650"/>
            <c:invertIfNegative val="1"/>
            <c:bubble3D val="0"/>
            <c:spPr>
              <a:solidFill>
                <a:srgbClr val="AEABAB"/>
              </a:solidFill>
            </c:spPr>
            <c:extLst>
              <c:ext xmlns:c16="http://schemas.microsoft.com/office/drawing/2014/chart" uri="{C3380CC4-5D6E-409C-BE32-E72D297353CC}">
                <c16:uniqueId val="{00000517-63DE-4091-B8DA-DB57396774D4}"/>
              </c:ext>
            </c:extLst>
          </c:dPt>
          <c:dPt>
            <c:idx val="651"/>
            <c:invertIfNegative val="1"/>
            <c:bubble3D val="0"/>
            <c:spPr>
              <a:solidFill>
                <a:srgbClr val="AEABAB"/>
              </a:solidFill>
            </c:spPr>
            <c:extLst>
              <c:ext xmlns:c16="http://schemas.microsoft.com/office/drawing/2014/chart" uri="{C3380CC4-5D6E-409C-BE32-E72D297353CC}">
                <c16:uniqueId val="{00000519-63DE-4091-B8DA-DB57396774D4}"/>
              </c:ext>
            </c:extLst>
          </c:dPt>
          <c:dPt>
            <c:idx val="652"/>
            <c:invertIfNegative val="1"/>
            <c:bubble3D val="0"/>
            <c:spPr>
              <a:solidFill>
                <a:srgbClr val="AEABAB"/>
              </a:solidFill>
            </c:spPr>
            <c:extLst>
              <c:ext xmlns:c16="http://schemas.microsoft.com/office/drawing/2014/chart" uri="{C3380CC4-5D6E-409C-BE32-E72D297353CC}">
                <c16:uniqueId val="{0000051B-63DE-4091-B8DA-DB57396774D4}"/>
              </c:ext>
            </c:extLst>
          </c:dPt>
          <c:dPt>
            <c:idx val="653"/>
            <c:invertIfNegative val="1"/>
            <c:bubble3D val="0"/>
            <c:spPr>
              <a:solidFill>
                <a:srgbClr val="AEABAB"/>
              </a:solidFill>
            </c:spPr>
            <c:extLst>
              <c:ext xmlns:c16="http://schemas.microsoft.com/office/drawing/2014/chart" uri="{C3380CC4-5D6E-409C-BE32-E72D297353CC}">
                <c16:uniqueId val="{0000051D-63DE-4091-B8DA-DB57396774D4}"/>
              </c:ext>
            </c:extLst>
          </c:dPt>
          <c:dPt>
            <c:idx val="654"/>
            <c:invertIfNegative val="1"/>
            <c:bubble3D val="0"/>
            <c:spPr>
              <a:solidFill>
                <a:srgbClr val="AEABAB"/>
              </a:solidFill>
            </c:spPr>
            <c:extLst>
              <c:ext xmlns:c16="http://schemas.microsoft.com/office/drawing/2014/chart" uri="{C3380CC4-5D6E-409C-BE32-E72D297353CC}">
                <c16:uniqueId val="{0000051F-63DE-4091-B8DA-DB57396774D4}"/>
              </c:ext>
            </c:extLst>
          </c:dPt>
          <c:dPt>
            <c:idx val="655"/>
            <c:invertIfNegative val="1"/>
            <c:bubble3D val="0"/>
            <c:spPr>
              <a:solidFill>
                <a:srgbClr val="AEABAB"/>
              </a:solidFill>
            </c:spPr>
            <c:extLst>
              <c:ext xmlns:c16="http://schemas.microsoft.com/office/drawing/2014/chart" uri="{C3380CC4-5D6E-409C-BE32-E72D297353CC}">
                <c16:uniqueId val="{00000521-63DE-4091-B8DA-DB57396774D4}"/>
              </c:ext>
            </c:extLst>
          </c:dPt>
          <c:dPt>
            <c:idx val="656"/>
            <c:invertIfNegative val="1"/>
            <c:bubble3D val="0"/>
            <c:spPr>
              <a:solidFill>
                <a:srgbClr val="AEABAB"/>
              </a:solidFill>
            </c:spPr>
            <c:extLst>
              <c:ext xmlns:c16="http://schemas.microsoft.com/office/drawing/2014/chart" uri="{C3380CC4-5D6E-409C-BE32-E72D297353CC}">
                <c16:uniqueId val="{00000523-63DE-4091-B8DA-DB57396774D4}"/>
              </c:ext>
            </c:extLst>
          </c:dPt>
          <c:dPt>
            <c:idx val="657"/>
            <c:invertIfNegative val="1"/>
            <c:bubble3D val="0"/>
            <c:spPr>
              <a:solidFill>
                <a:srgbClr val="AEABAB"/>
              </a:solidFill>
            </c:spPr>
            <c:extLst>
              <c:ext xmlns:c16="http://schemas.microsoft.com/office/drawing/2014/chart" uri="{C3380CC4-5D6E-409C-BE32-E72D297353CC}">
                <c16:uniqueId val="{00000525-63DE-4091-B8DA-DB57396774D4}"/>
              </c:ext>
            </c:extLst>
          </c:dPt>
          <c:dPt>
            <c:idx val="658"/>
            <c:invertIfNegative val="1"/>
            <c:bubble3D val="0"/>
            <c:spPr>
              <a:solidFill>
                <a:srgbClr val="AEABAB"/>
              </a:solidFill>
            </c:spPr>
            <c:extLst>
              <c:ext xmlns:c16="http://schemas.microsoft.com/office/drawing/2014/chart" uri="{C3380CC4-5D6E-409C-BE32-E72D297353CC}">
                <c16:uniqueId val="{00000527-63DE-4091-B8DA-DB57396774D4}"/>
              </c:ext>
            </c:extLst>
          </c:dPt>
          <c:dPt>
            <c:idx val="659"/>
            <c:invertIfNegative val="1"/>
            <c:bubble3D val="0"/>
            <c:spPr>
              <a:solidFill>
                <a:srgbClr val="AEABAB"/>
              </a:solidFill>
            </c:spPr>
            <c:extLst>
              <c:ext xmlns:c16="http://schemas.microsoft.com/office/drawing/2014/chart" uri="{C3380CC4-5D6E-409C-BE32-E72D297353CC}">
                <c16:uniqueId val="{00000529-63DE-4091-B8DA-DB57396774D4}"/>
              </c:ext>
            </c:extLst>
          </c:dPt>
          <c:dPt>
            <c:idx val="660"/>
            <c:invertIfNegative val="1"/>
            <c:bubble3D val="0"/>
            <c:spPr>
              <a:solidFill>
                <a:srgbClr val="AEABAB"/>
              </a:solidFill>
            </c:spPr>
            <c:extLst>
              <c:ext xmlns:c16="http://schemas.microsoft.com/office/drawing/2014/chart" uri="{C3380CC4-5D6E-409C-BE32-E72D297353CC}">
                <c16:uniqueId val="{0000052B-63DE-4091-B8DA-DB57396774D4}"/>
              </c:ext>
            </c:extLst>
          </c:dPt>
          <c:dPt>
            <c:idx val="661"/>
            <c:invertIfNegative val="1"/>
            <c:bubble3D val="0"/>
            <c:spPr>
              <a:solidFill>
                <a:srgbClr val="AEABAB"/>
              </a:solidFill>
            </c:spPr>
            <c:extLst>
              <c:ext xmlns:c16="http://schemas.microsoft.com/office/drawing/2014/chart" uri="{C3380CC4-5D6E-409C-BE32-E72D297353CC}">
                <c16:uniqueId val="{0000052D-63DE-4091-B8DA-DB57396774D4}"/>
              </c:ext>
            </c:extLst>
          </c:dPt>
          <c:dPt>
            <c:idx val="662"/>
            <c:invertIfNegative val="1"/>
            <c:bubble3D val="0"/>
            <c:spPr>
              <a:solidFill>
                <a:srgbClr val="AEABAB"/>
              </a:solidFill>
            </c:spPr>
            <c:extLst>
              <c:ext xmlns:c16="http://schemas.microsoft.com/office/drawing/2014/chart" uri="{C3380CC4-5D6E-409C-BE32-E72D297353CC}">
                <c16:uniqueId val="{0000052F-63DE-4091-B8DA-DB57396774D4}"/>
              </c:ext>
            </c:extLst>
          </c:dPt>
          <c:dPt>
            <c:idx val="663"/>
            <c:invertIfNegative val="1"/>
            <c:bubble3D val="0"/>
            <c:spPr>
              <a:solidFill>
                <a:srgbClr val="AEABAB"/>
              </a:solidFill>
            </c:spPr>
            <c:extLst>
              <c:ext xmlns:c16="http://schemas.microsoft.com/office/drawing/2014/chart" uri="{C3380CC4-5D6E-409C-BE32-E72D297353CC}">
                <c16:uniqueId val="{00000531-63DE-4091-B8DA-DB57396774D4}"/>
              </c:ext>
            </c:extLst>
          </c:dPt>
          <c:dPt>
            <c:idx val="664"/>
            <c:invertIfNegative val="1"/>
            <c:bubble3D val="0"/>
            <c:spPr>
              <a:solidFill>
                <a:srgbClr val="AEABAB"/>
              </a:solidFill>
            </c:spPr>
            <c:extLst>
              <c:ext xmlns:c16="http://schemas.microsoft.com/office/drawing/2014/chart" uri="{C3380CC4-5D6E-409C-BE32-E72D297353CC}">
                <c16:uniqueId val="{00000533-63DE-4091-B8DA-DB57396774D4}"/>
              </c:ext>
            </c:extLst>
          </c:dPt>
          <c:dPt>
            <c:idx val="665"/>
            <c:invertIfNegative val="1"/>
            <c:bubble3D val="0"/>
            <c:spPr>
              <a:solidFill>
                <a:srgbClr val="AEABAB"/>
              </a:solidFill>
            </c:spPr>
            <c:extLst>
              <c:ext xmlns:c16="http://schemas.microsoft.com/office/drawing/2014/chart" uri="{C3380CC4-5D6E-409C-BE32-E72D297353CC}">
                <c16:uniqueId val="{00000535-63DE-4091-B8DA-DB57396774D4}"/>
              </c:ext>
            </c:extLst>
          </c:dPt>
          <c:dPt>
            <c:idx val="666"/>
            <c:invertIfNegative val="1"/>
            <c:bubble3D val="0"/>
            <c:spPr>
              <a:solidFill>
                <a:srgbClr val="AEABAB"/>
              </a:solidFill>
            </c:spPr>
            <c:extLst>
              <c:ext xmlns:c16="http://schemas.microsoft.com/office/drawing/2014/chart" uri="{C3380CC4-5D6E-409C-BE32-E72D297353CC}">
                <c16:uniqueId val="{00000537-63DE-4091-B8DA-DB57396774D4}"/>
              </c:ext>
            </c:extLst>
          </c:dPt>
          <c:dPt>
            <c:idx val="667"/>
            <c:invertIfNegative val="1"/>
            <c:bubble3D val="0"/>
            <c:spPr>
              <a:solidFill>
                <a:srgbClr val="AEABAB"/>
              </a:solidFill>
            </c:spPr>
            <c:extLst>
              <c:ext xmlns:c16="http://schemas.microsoft.com/office/drawing/2014/chart" uri="{C3380CC4-5D6E-409C-BE32-E72D297353CC}">
                <c16:uniqueId val="{00000539-63DE-4091-B8DA-DB57396774D4}"/>
              </c:ext>
            </c:extLst>
          </c:dPt>
          <c:dPt>
            <c:idx val="668"/>
            <c:invertIfNegative val="1"/>
            <c:bubble3D val="0"/>
            <c:spPr>
              <a:solidFill>
                <a:srgbClr val="AEABAB"/>
              </a:solidFill>
            </c:spPr>
            <c:extLst>
              <c:ext xmlns:c16="http://schemas.microsoft.com/office/drawing/2014/chart" uri="{C3380CC4-5D6E-409C-BE32-E72D297353CC}">
                <c16:uniqueId val="{0000053B-63DE-4091-B8DA-DB57396774D4}"/>
              </c:ext>
            </c:extLst>
          </c:dPt>
          <c:dPt>
            <c:idx val="669"/>
            <c:invertIfNegative val="1"/>
            <c:bubble3D val="0"/>
            <c:spPr>
              <a:solidFill>
                <a:srgbClr val="AEABAB"/>
              </a:solidFill>
            </c:spPr>
            <c:extLst>
              <c:ext xmlns:c16="http://schemas.microsoft.com/office/drawing/2014/chart" uri="{C3380CC4-5D6E-409C-BE32-E72D297353CC}">
                <c16:uniqueId val="{0000053D-63DE-4091-B8DA-DB57396774D4}"/>
              </c:ext>
            </c:extLst>
          </c:dPt>
          <c:dPt>
            <c:idx val="670"/>
            <c:invertIfNegative val="1"/>
            <c:bubble3D val="0"/>
            <c:spPr>
              <a:solidFill>
                <a:srgbClr val="AEABAB"/>
              </a:solidFill>
            </c:spPr>
            <c:extLst>
              <c:ext xmlns:c16="http://schemas.microsoft.com/office/drawing/2014/chart" uri="{C3380CC4-5D6E-409C-BE32-E72D297353CC}">
                <c16:uniqueId val="{0000053F-63DE-4091-B8DA-DB57396774D4}"/>
              </c:ext>
            </c:extLst>
          </c:dPt>
          <c:dPt>
            <c:idx val="671"/>
            <c:invertIfNegative val="1"/>
            <c:bubble3D val="0"/>
            <c:spPr>
              <a:solidFill>
                <a:srgbClr val="AEABAB"/>
              </a:solidFill>
            </c:spPr>
            <c:extLst>
              <c:ext xmlns:c16="http://schemas.microsoft.com/office/drawing/2014/chart" uri="{C3380CC4-5D6E-409C-BE32-E72D297353CC}">
                <c16:uniqueId val="{00000541-63DE-4091-B8DA-DB57396774D4}"/>
              </c:ext>
            </c:extLst>
          </c:dPt>
          <c:dPt>
            <c:idx val="672"/>
            <c:invertIfNegative val="1"/>
            <c:bubble3D val="0"/>
            <c:spPr>
              <a:solidFill>
                <a:srgbClr val="AEABAB"/>
              </a:solidFill>
            </c:spPr>
            <c:extLst>
              <c:ext xmlns:c16="http://schemas.microsoft.com/office/drawing/2014/chart" uri="{C3380CC4-5D6E-409C-BE32-E72D297353CC}">
                <c16:uniqueId val="{00000543-63DE-4091-B8DA-DB57396774D4}"/>
              </c:ext>
            </c:extLst>
          </c:dPt>
          <c:dPt>
            <c:idx val="673"/>
            <c:invertIfNegative val="1"/>
            <c:bubble3D val="0"/>
            <c:spPr>
              <a:solidFill>
                <a:srgbClr val="AEABAB"/>
              </a:solidFill>
            </c:spPr>
            <c:extLst>
              <c:ext xmlns:c16="http://schemas.microsoft.com/office/drawing/2014/chart" uri="{C3380CC4-5D6E-409C-BE32-E72D297353CC}">
                <c16:uniqueId val="{00000545-63DE-4091-B8DA-DB57396774D4}"/>
              </c:ext>
            </c:extLst>
          </c:dPt>
          <c:dPt>
            <c:idx val="674"/>
            <c:invertIfNegative val="1"/>
            <c:bubble3D val="0"/>
            <c:spPr>
              <a:solidFill>
                <a:srgbClr val="AEABAB"/>
              </a:solidFill>
            </c:spPr>
            <c:extLst>
              <c:ext xmlns:c16="http://schemas.microsoft.com/office/drawing/2014/chart" uri="{C3380CC4-5D6E-409C-BE32-E72D297353CC}">
                <c16:uniqueId val="{00000547-63DE-4091-B8DA-DB57396774D4}"/>
              </c:ext>
            </c:extLst>
          </c:dPt>
          <c:dPt>
            <c:idx val="675"/>
            <c:invertIfNegative val="1"/>
            <c:bubble3D val="0"/>
            <c:spPr>
              <a:solidFill>
                <a:srgbClr val="AEABAB"/>
              </a:solidFill>
            </c:spPr>
            <c:extLst>
              <c:ext xmlns:c16="http://schemas.microsoft.com/office/drawing/2014/chart" uri="{C3380CC4-5D6E-409C-BE32-E72D297353CC}">
                <c16:uniqueId val="{00000549-63DE-4091-B8DA-DB57396774D4}"/>
              </c:ext>
            </c:extLst>
          </c:dPt>
          <c:dPt>
            <c:idx val="676"/>
            <c:invertIfNegative val="1"/>
            <c:bubble3D val="0"/>
            <c:spPr>
              <a:solidFill>
                <a:srgbClr val="AEABAB"/>
              </a:solidFill>
            </c:spPr>
            <c:extLst>
              <c:ext xmlns:c16="http://schemas.microsoft.com/office/drawing/2014/chart" uri="{C3380CC4-5D6E-409C-BE32-E72D297353CC}">
                <c16:uniqueId val="{0000054B-63DE-4091-B8DA-DB57396774D4}"/>
              </c:ext>
            </c:extLst>
          </c:dPt>
          <c:dPt>
            <c:idx val="677"/>
            <c:invertIfNegative val="1"/>
            <c:bubble3D val="0"/>
            <c:spPr>
              <a:solidFill>
                <a:srgbClr val="AEABAB"/>
              </a:solidFill>
            </c:spPr>
            <c:extLst>
              <c:ext xmlns:c16="http://schemas.microsoft.com/office/drawing/2014/chart" uri="{C3380CC4-5D6E-409C-BE32-E72D297353CC}">
                <c16:uniqueId val="{0000054D-63DE-4091-B8DA-DB57396774D4}"/>
              </c:ext>
            </c:extLst>
          </c:dPt>
          <c:dPt>
            <c:idx val="678"/>
            <c:invertIfNegative val="1"/>
            <c:bubble3D val="0"/>
            <c:spPr>
              <a:solidFill>
                <a:srgbClr val="AEABAB"/>
              </a:solidFill>
            </c:spPr>
            <c:extLst>
              <c:ext xmlns:c16="http://schemas.microsoft.com/office/drawing/2014/chart" uri="{C3380CC4-5D6E-409C-BE32-E72D297353CC}">
                <c16:uniqueId val="{0000054F-63DE-4091-B8DA-DB57396774D4}"/>
              </c:ext>
            </c:extLst>
          </c:dPt>
          <c:dPt>
            <c:idx val="679"/>
            <c:invertIfNegative val="1"/>
            <c:bubble3D val="0"/>
            <c:spPr>
              <a:solidFill>
                <a:srgbClr val="AEABAB"/>
              </a:solidFill>
            </c:spPr>
            <c:extLst>
              <c:ext xmlns:c16="http://schemas.microsoft.com/office/drawing/2014/chart" uri="{C3380CC4-5D6E-409C-BE32-E72D297353CC}">
                <c16:uniqueId val="{00000551-63DE-4091-B8DA-DB57396774D4}"/>
              </c:ext>
            </c:extLst>
          </c:dPt>
          <c:dPt>
            <c:idx val="680"/>
            <c:invertIfNegative val="1"/>
            <c:bubble3D val="0"/>
            <c:spPr>
              <a:solidFill>
                <a:srgbClr val="AEABAB"/>
              </a:solidFill>
            </c:spPr>
            <c:extLst>
              <c:ext xmlns:c16="http://schemas.microsoft.com/office/drawing/2014/chart" uri="{C3380CC4-5D6E-409C-BE32-E72D297353CC}">
                <c16:uniqueId val="{00000553-63DE-4091-B8DA-DB57396774D4}"/>
              </c:ext>
            </c:extLst>
          </c:dPt>
          <c:dPt>
            <c:idx val="681"/>
            <c:invertIfNegative val="1"/>
            <c:bubble3D val="0"/>
            <c:spPr>
              <a:solidFill>
                <a:srgbClr val="AEABAB"/>
              </a:solidFill>
            </c:spPr>
            <c:extLst>
              <c:ext xmlns:c16="http://schemas.microsoft.com/office/drawing/2014/chart" uri="{C3380CC4-5D6E-409C-BE32-E72D297353CC}">
                <c16:uniqueId val="{00000555-63DE-4091-B8DA-DB57396774D4}"/>
              </c:ext>
            </c:extLst>
          </c:dPt>
          <c:dPt>
            <c:idx val="682"/>
            <c:invertIfNegative val="1"/>
            <c:bubble3D val="0"/>
            <c:spPr>
              <a:solidFill>
                <a:srgbClr val="AEABAB"/>
              </a:solidFill>
            </c:spPr>
            <c:extLst>
              <c:ext xmlns:c16="http://schemas.microsoft.com/office/drawing/2014/chart" uri="{C3380CC4-5D6E-409C-BE32-E72D297353CC}">
                <c16:uniqueId val="{00000557-63DE-4091-B8DA-DB57396774D4}"/>
              </c:ext>
            </c:extLst>
          </c:dPt>
          <c:dPt>
            <c:idx val="683"/>
            <c:invertIfNegative val="1"/>
            <c:bubble3D val="0"/>
            <c:spPr>
              <a:solidFill>
                <a:srgbClr val="AEABAB"/>
              </a:solidFill>
            </c:spPr>
            <c:extLst>
              <c:ext xmlns:c16="http://schemas.microsoft.com/office/drawing/2014/chart" uri="{C3380CC4-5D6E-409C-BE32-E72D297353CC}">
                <c16:uniqueId val="{00000559-63DE-4091-B8DA-DB57396774D4}"/>
              </c:ext>
            </c:extLst>
          </c:dPt>
          <c:dPt>
            <c:idx val="684"/>
            <c:invertIfNegative val="1"/>
            <c:bubble3D val="0"/>
            <c:spPr>
              <a:solidFill>
                <a:srgbClr val="AEABAB"/>
              </a:solidFill>
            </c:spPr>
            <c:extLst>
              <c:ext xmlns:c16="http://schemas.microsoft.com/office/drawing/2014/chart" uri="{C3380CC4-5D6E-409C-BE32-E72D297353CC}">
                <c16:uniqueId val="{0000055B-63DE-4091-B8DA-DB57396774D4}"/>
              </c:ext>
            </c:extLst>
          </c:dPt>
          <c:dPt>
            <c:idx val="685"/>
            <c:invertIfNegative val="1"/>
            <c:bubble3D val="0"/>
            <c:spPr>
              <a:solidFill>
                <a:srgbClr val="AEABAB"/>
              </a:solidFill>
            </c:spPr>
            <c:extLst>
              <c:ext xmlns:c16="http://schemas.microsoft.com/office/drawing/2014/chart" uri="{C3380CC4-5D6E-409C-BE32-E72D297353CC}">
                <c16:uniqueId val="{0000055D-63DE-4091-B8DA-DB57396774D4}"/>
              </c:ext>
            </c:extLst>
          </c:dPt>
          <c:dPt>
            <c:idx val="686"/>
            <c:invertIfNegative val="1"/>
            <c:bubble3D val="0"/>
            <c:spPr>
              <a:solidFill>
                <a:srgbClr val="AEABAB"/>
              </a:solidFill>
            </c:spPr>
            <c:extLst>
              <c:ext xmlns:c16="http://schemas.microsoft.com/office/drawing/2014/chart" uri="{C3380CC4-5D6E-409C-BE32-E72D297353CC}">
                <c16:uniqueId val="{0000055F-63DE-4091-B8DA-DB57396774D4}"/>
              </c:ext>
            </c:extLst>
          </c:dPt>
          <c:dPt>
            <c:idx val="687"/>
            <c:invertIfNegative val="1"/>
            <c:bubble3D val="0"/>
            <c:spPr>
              <a:solidFill>
                <a:srgbClr val="AEABAB"/>
              </a:solidFill>
            </c:spPr>
            <c:extLst>
              <c:ext xmlns:c16="http://schemas.microsoft.com/office/drawing/2014/chart" uri="{C3380CC4-5D6E-409C-BE32-E72D297353CC}">
                <c16:uniqueId val="{00000561-63DE-4091-B8DA-DB57396774D4}"/>
              </c:ext>
            </c:extLst>
          </c:dPt>
          <c:dPt>
            <c:idx val="688"/>
            <c:invertIfNegative val="1"/>
            <c:bubble3D val="0"/>
            <c:spPr>
              <a:solidFill>
                <a:srgbClr val="AEABAB"/>
              </a:solidFill>
            </c:spPr>
            <c:extLst>
              <c:ext xmlns:c16="http://schemas.microsoft.com/office/drawing/2014/chart" uri="{C3380CC4-5D6E-409C-BE32-E72D297353CC}">
                <c16:uniqueId val="{00000563-63DE-4091-B8DA-DB57396774D4}"/>
              </c:ext>
            </c:extLst>
          </c:dPt>
          <c:dPt>
            <c:idx val="689"/>
            <c:invertIfNegative val="1"/>
            <c:bubble3D val="0"/>
            <c:spPr>
              <a:solidFill>
                <a:srgbClr val="AEABAB"/>
              </a:solidFill>
            </c:spPr>
            <c:extLst>
              <c:ext xmlns:c16="http://schemas.microsoft.com/office/drawing/2014/chart" uri="{C3380CC4-5D6E-409C-BE32-E72D297353CC}">
                <c16:uniqueId val="{00000565-63DE-4091-B8DA-DB57396774D4}"/>
              </c:ext>
            </c:extLst>
          </c:dPt>
          <c:dPt>
            <c:idx val="690"/>
            <c:invertIfNegative val="1"/>
            <c:bubble3D val="0"/>
            <c:spPr>
              <a:solidFill>
                <a:srgbClr val="AEABAB"/>
              </a:solidFill>
            </c:spPr>
            <c:extLst>
              <c:ext xmlns:c16="http://schemas.microsoft.com/office/drawing/2014/chart" uri="{C3380CC4-5D6E-409C-BE32-E72D297353CC}">
                <c16:uniqueId val="{00000567-63DE-4091-B8DA-DB57396774D4}"/>
              </c:ext>
            </c:extLst>
          </c:dPt>
          <c:dPt>
            <c:idx val="691"/>
            <c:invertIfNegative val="1"/>
            <c:bubble3D val="0"/>
            <c:spPr>
              <a:solidFill>
                <a:srgbClr val="AEABAB"/>
              </a:solidFill>
            </c:spPr>
            <c:extLst>
              <c:ext xmlns:c16="http://schemas.microsoft.com/office/drawing/2014/chart" uri="{C3380CC4-5D6E-409C-BE32-E72D297353CC}">
                <c16:uniqueId val="{00000569-63DE-4091-B8DA-DB57396774D4}"/>
              </c:ext>
            </c:extLst>
          </c:dPt>
          <c:dPt>
            <c:idx val="692"/>
            <c:invertIfNegative val="1"/>
            <c:bubble3D val="0"/>
            <c:spPr>
              <a:solidFill>
                <a:srgbClr val="AEABAB"/>
              </a:solidFill>
            </c:spPr>
            <c:extLst>
              <c:ext xmlns:c16="http://schemas.microsoft.com/office/drawing/2014/chart" uri="{C3380CC4-5D6E-409C-BE32-E72D297353CC}">
                <c16:uniqueId val="{0000056B-63DE-4091-B8DA-DB57396774D4}"/>
              </c:ext>
            </c:extLst>
          </c:dPt>
          <c:dPt>
            <c:idx val="693"/>
            <c:invertIfNegative val="1"/>
            <c:bubble3D val="0"/>
            <c:spPr>
              <a:solidFill>
                <a:srgbClr val="AEABAB"/>
              </a:solidFill>
            </c:spPr>
            <c:extLst>
              <c:ext xmlns:c16="http://schemas.microsoft.com/office/drawing/2014/chart" uri="{C3380CC4-5D6E-409C-BE32-E72D297353CC}">
                <c16:uniqueId val="{0000056D-63DE-4091-B8DA-DB57396774D4}"/>
              </c:ext>
            </c:extLst>
          </c:dPt>
          <c:dPt>
            <c:idx val="694"/>
            <c:invertIfNegative val="1"/>
            <c:bubble3D val="0"/>
            <c:spPr>
              <a:solidFill>
                <a:srgbClr val="AEABAB"/>
              </a:solidFill>
            </c:spPr>
            <c:extLst>
              <c:ext xmlns:c16="http://schemas.microsoft.com/office/drawing/2014/chart" uri="{C3380CC4-5D6E-409C-BE32-E72D297353CC}">
                <c16:uniqueId val="{0000056F-63DE-4091-B8DA-DB57396774D4}"/>
              </c:ext>
            </c:extLst>
          </c:dPt>
          <c:dPt>
            <c:idx val="695"/>
            <c:invertIfNegative val="1"/>
            <c:bubble3D val="0"/>
            <c:spPr>
              <a:solidFill>
                <a:srgbClr val="AEABAB"/>
              </a:solidFill>
            </c:spPr>
            <c:extLst>
              <c:ext xmlns:c16="http://schemas.microsoft.com/office/drawing/2014/chart" uri="{C3380CC4-5D6E-409C-BE32-E72D297353CC}">
                <c16:uniqueId val="{00000571-63DE-4091-B8DA-DB57396774D4}"/>
              </c:ext>
            </c:extLst>
          </c:dPt>
          <c:dPt>
            <c:idx val="696"/>
            <c:invertIfNegative val="1"/>
            <c:bubble3D val="0"/>
            <c:spPr>
              <a:solidFill>
                <a:srgbClr val="AEABAB"/>
              </a:solidFill>
            </c:spPr>
            <c:extLst>
              <c:ext xmlns:c16="http://schemas.microsoft.com/office/drawing/2014/chart" uri="{C3380CC4-5D6E-409C-BE32-E72D297353CC}">
                <c16:uniqueId val="{00000573-63DE-4091-B8DA-DB57396774D4}"/>
              </c:ext>
            </c:extLst>
          </c:dPt>
          <c:dPt>
            <c:idx val="697"/>
            <c:invertIfNegative val="1"/>
            <c:bubble3D val="0"/>
            <c:spPr>
              <a:solidFill>
                <a:srgbClr val="AEABAB"/>
              </a:solidFill>
            </c:spPr>
            <c:extLst>
              <c:ext xmlns:c16="http://schemas.microsoft.com/office/drawing/2014/chart" uri="{C3380CC4-5D6E-409C-BE32-E72D297353CC}">
                <c16:uniqueId val="{00000575-63DE-4091-B8DA-DB57396774D4}"/>
              </c:ext>
            </c:extLst>
          </c:dPt>
          <c:dPt>
            <c:idx val="698"/>
            <c:invertIfNegative val="1"/>
            <c:bubble3D val="0"/>
            <c:spPr>
              <a:solidFill>
                <a:srgbClr val="AEABAB"/>
              </a:solidFill>
            </c:spPr>
            <c:extLst>
              <c:ext xmlns:c16="http://schemas.microsoft.com/office/drawing/2014/chart" uri="{C3380CC4-5D6E-409C-BE32-E72D297353CC}">
                <c16:uniqueId val="{00000577-63DE-4091-B8DA-DB57396774D4}"/>
              </c:ext>
            </c:extLst>
          </c:dPt>
          <c:dPt>
            <c:idx val="699"/>
            <c:invertIfNegative val="1"/>
            <c:bubble3D val="0"/>
            <c:spPr>
              <a:solidFill>
                <a:srgbClr val="AEABAB"/>
              </a:solidFill>
            </c:spPr>
            <c:extLst>
              <c:ext xmlns:c16="http://schemas.microsoft.com/office/drawing/2014/chart" uri="{C3380CC4-5D6E-409C-BE32-E72D297353CC}">
                <c16:uniqueId val="{00000579-63DE-4091-B8DA-DB57396774D4}"/>
              </c:ext>
            </c:extLst>
          </c:dPt>
          <c:dPt>
            <c:idx val="700"/>
            <c:invertIfNegative val="1"/>
            <c:bubble3D val="0"/>
            <c:spPr>
              <a:solidFill>
                <a:srgbClr val="AEABAB"/>
              </a:solidFill>
            </c:spPr>
            <c:extLst>
              <c:ext xmlns:c16="http://schemas.microsoft.com/office/drawing/2014/chart" uri="{C3380CC4-5D6E-409C-BE32-E72D297353CC}">
                <c16:uniqueId val="{0000057B-63DE-4091-B8DA-DB57396774D4}"/>
              </c:ext>
            </c:extLst>
          </c:dPt>
          <c:dPt>
            <c:idx val="701"/>
            <c:invertIfNegative val="1"/>
            <c:bubble3D val="0"/>
            <c:spPr>
              <a:solidFill>
                <a:srgbClr val="AEABAB"/>
              </a:solidFill>
            </c:spPr>
            <c:extLst>
              <c:ext xmlns:c16="http://schemas.microsoft.com/office/drawing/2014/chart" uri="{C3380CC4-5D6E-409C-BE32-E72D297353CC}">
                <c16:uniqueId val="{0000057D-63DE-4091-B8DA-DB57396774D4}"/>
              </c:ext>
            </c:extLst>
          </c:dPt>
          <c:dPt>
            <c:idx val="702"/>
            <c:invertIfNegative val="1"/>
            <c:bubble3D val="0"/>
            <c:spPr>
              <a:solidFill>
                <a:srgbClr val="AEABAB"/>
              </a:solidFill>
            </c:spPr>
            <c:extLst>
              <c:ext xmlns:c16="http://schemas.microsoft.com/office/drawing/2014/chart" uri="{C3380CC4-5D6E-409C-BE32-E72D297353CC}">
                <c16:uniqueId val="{0000057F-63DE-4091-B8DA-DB57396774D4}"/>
              </c:ext>
            </c:extLst>
          </c:dPt>
          <c:dPt>
            <c:idx val="703"/>
            <c:invertIfNegative val="1"/>
            <c:bubble3D val="0"/>
            <c:spPr>
              <a:solidFill>
                <a:srgbClr val="AEABAB"/>
              </a:solidFill>
            </c:spPr>
            <c:extLst>
              <c:ext xmlns:c16="http://schemas.microsoft.com/office/drawing/2014/chart" uri="{C3380CC4-5D6E-409C-BE32-E72D297353CC}">
                <c16:uniqueId val="{00000581-63DE-4091-B8DA-DB57396774D4}"/>
              </c:ext>
            </c:extLst>
          </c:dPt>
          <c:dPt>
            <c:idx val="704"/>
            <c:invertIfNegative val="1"/>
            <c:bubble3D val="0"/>
            <c:spPr>
              <a:solidFill>
                <a:srgbClr val="AEABAB"/>
              </a:solidFill>
            </c:spPr>
            <c:extLst>
              <c:ext xmlns:c16="http://schemas.microsoft.com/office/drawing/2014/chart" uri="{C3380CC4-5D6E-409C-BE32-E72D297353CC}">
                <c16:uniqueId val="{00000583-63DE-4091-B8DA-DB57396774D4}"/>
              </c:ext>
            </c:extLst>
          </c:dPt>
          <c:dPt>
            <c:idx val="705"/>
            <c:invertIfNegative val="1"/>
            <c:bubble3D val="0"/>
            <c:spPr>
              <a:solidFill>
                <a:srgbClr val="AEABAB"/>
              </a:solidFill>
            </c:spPr>
            <c:extLst>
              <c:ext xmlns:c16="http://schemas.microsoft.com/office/drawing/2014/chart" uri="{C3380CC4-5D6E-409C-BE32-E72D297353CC}">
                <c16:uniqueId val="{00000585-63DE-4091-B8DA-DB57396774D4}"/>
              </c:ext>
            </c:extLst>
          </c:dPt>
          <c:dPt>
            <c:idx val="706"/>
            <c:invertIfNegative val="1"/>
            <c:bubble3D val="0"/>
            <c:spPr>
              <a:solidFill>
                <a:srgbClr val="AEABAB"/>
              </a:solidFill>
            </c:spPr>
            <c:extLst>
              <c:ext xmlns:c16="http://schemas.microsoft.com/office/drawing/2014/chart" uri="{C3380CC4-5D6E-409C-BE32-E72D297353CC}">
                <c16:uniqueId val="{00000587-63DE-4091-B8DA-DB57396774D4}"/>
              </c:ext>
            </c:extLst>
          </c:dPt>
          <c:dPt>
            <c:idx val="707"/>
            <c:invertIfNegative val="1"/>
            <c:bubble3D val="0"/>
            <c:spPr>
              <a:solidFill>
                <a:srgbClr val="AEABAB"/>
              </a:solidFill>
            </c:spPr>
            <c:extLst>
              <c:ext xmlns:c16="http://schemas.microsoft.com/office/drawing/2014/chart" uri="{C3380CC4-5D6E-409C-BE32-E72D297353CC}">
                <c16:uniqueId val="{00000589-63DE-4091-B8DA-DB57396774D4}"/>
              </c:ext>
            </c:extLst>
          </c:dPt>
          <c:dPt>
            <c:idx val="708"/>
            <c:invertIfNegative val="1"/>
            <c:bubble3D val="0"/>
            <c:spPr>
              <a:solidFill>
                <a:srgbClr val="AEABAB"/>
              </a:solidFill>
            </c:spPr>
            <c:extLst>
              <c:ext xmlns:c16="http://schemas.microsoft.com/office/drawing/2014/chart" uri="{C3380CC4-5D6E-409C-BE32-E72D297353CC}">
                <c16:uniqueId val="{0000058B-63DE-4091-B8DA-DB57396774D4}"/>
              </c:ext>
            </c:extLst>
          </c:dPt>
          <c:dPt>
            <c:idx val="709"/>
            <c:invertIfNegative val="1"/>
            <c:bubble3D val="0"/>
            <c:spPr>
              <a:solidFill>
                <a:srgbClr val="AEABAB"/>
              </a:solidFill>
            </c:spPr>
            <c:extLst>
              <c:ext xmlns:c16="http://schemas.microsoft.com/office/drawing/2014/chart" uri="{C3380CC4-5D6E-409C-BE32-E72D297353CC}">
                <c16:uniqueId val="{0000058D-63DE-4091-B8DA-DB57396774D4}"/>
              </c:ext>
            </c:extLst>
          </c:dPt>
          <c:dPt>
            <c:idx val="710"/>
            <c:invertIfNegative val="1"/>
            <c:bubble3D val="0"/>
            <c:spPr>
              <a:solidFill>
                <a:srgbClr val="AEABAB"/>
              </a:solidFill>
            </c:spPr>
            <c:extLst>
              <c:ext xmlns:c16="http://schemas.microsoft.com/office/drawing/2014/chart" uri="{C3380CC4-5D6E-409C-BE32-E72D297353CC}">
                <c16:uniqueId val="{0000058F-63DE-4091-B8DA-DB57396774D4}"/>
              </c:ext>
            </c:extLst>
          </c:dPt>
          <c:dPt>
            <c:idx val="711"/>
            <c:invertIfNegative val="1"/>
            <c:bubble3D val="0"/>
            <c:spPr>
              <a:solidFill>
                <a:srgbClr val="AEABAB"/>
              </a:solidFill>
            </c:spPr>
            <c:extLst>
              <c:ext xmlns:c16="http://schemas.microsoft.com/office/drawing/2014/chart" uri="{C3380CC4-5D6E-409C-BE32-E72D297353CC}">
                <c16:uniqueId val="{00000591-63DE-4091-B8DA-DB57396774D4}"/>
              </c:ext>
            </c:extLst>
          </c:dPt>
          <c:dPt>
            <c:idx val="712"/>
            <c:invertIfNegative val="1"/>
            <c:bubble3D val="0"/>
            <c:spPr>
              <a:solidFill>
                <a:srgbClr val="AEABAB"/>
              </a:solidFill>
            </c:spPr>
            <c:extLst>
              <c:ext xmlns:c16="http://schemas.microsoft.com/office/drawing/2014/chart" uri="{C3380CC4-5D6E-409C-BE32-E72D297353CC}">
                <c16:uniqueId val="{00000593-63DE-4091-B8DA-DB57396774D4}"/>
              </c:ext>
            </c:extLst>
          </c:dPt>
          <c:dPt>
            <c:idx val="713"/>
            <c:invertIfNegative val="1"/>
            <c:bubble3D val="0"/>
            <c:spPr>
              <a:solidFill>
                <a:srgbClr val="AEABAB"/>
              </a:solidFill>
            </c:spPr>
            <c:extLst>
              <c:ext xmlns:c16="http://schemas.microsoft.com/office/drawing/2014/chart" uri="{C3380CC4-5D6E-409C-BE32-E72D297353CC}">
                <c16:uniqueId val="{00000595-63DE-4091-B8DA-DB57396774D4}"/>
              </c:ext>
            </c:extLst>
          </c:dPt>
          <c:dPt>
            <c:idx val="714"/>
            <c:invertIfNegative val="1"/>
            <c:bubble3D val="0"/>
            <c:spPr>
              <a:solidFill>
                <a:srgbClr val="AEABAB"/>
              </a:solidFill>
            </c:spPr>
            <c:extLst>
              <c:ext xmlns:c16="http://schemas.microsoft.com/office/drawing/2014/chart" uri="{C3380CC4-5D6E-409C-BE32-E72D297353CC}">
                <c16:uniqueId val="{00000597-63DE-4091-B8DA-DB57396774D4}"/>
              </c:ext>
            </c:extLst>
          </c:dPt>
          <c:dPt>
            <c:idx val="715"/>
            <c:invertIfNegative val="1"/>
            <c:bubble3D val="0"/>
            <c:spPr>
              <a:solidFill>
                <a:srgbClr val="AEABAB"/>
              </a:solidFill>
            </c:spPr>
            <c:extLst>
              <c:ext xmlns:c16="http://schemas.microsoft.com/office/drawing/2014/chart" uri="{C3380CC4-5D6E-409C-BE32-E72D297353CC}">
                <c16:uniqueId val="{00000599-63DE-4091-B8DA-DB57396774D4}"/>
              </c:ext>
            </c:extLst>
          </c:dPt>
          <c:dPt>
            <c:idx val="716"/>
            <c:invertIfNegative val="1"/>
            <c:bubble3D val="0"/>
            <c:spPr>
              <a:solidFill>
                <a:srgbClr val="AEABAB"/>
              </a:solidFill>
            </c:spPr>
            <c:extLst>
              <c:ext xmlns:c16="http://schemas.microsoft.com/office/drawing/2014/chart" uri="{C3380CC4-5D6E-409C-BE32-E72D297353CC}">
                <c16:uniqueId val="{0000059B-63DE-4091-B8DA-DB57396774D4}"/>
              </c:ext>
            </c:extLst>
          </c:dPt>
          <c:dPt>
            <c:idx val="717"/>
            <c:invertIfNegative val="1"/>
            <c:bubble3D val="0"/>
            <c:spPr>
              <a:solidFill>
                <a:srgbClr val="AEABAB"/>
              </a:solidFill>
            </c:spPr>
            <c:extLst>
              <c:ext xmlns:c16="http://schemas.microsoft.com/office/drawing/2014/chart" uri="{C3380CC4-5D6E-409C-BE32-E72D297353CC}">
                <c16:uniqueId val="{0000059D-63DE-4091-B8DA-DB57396774D4}"/>
              </c:ext>
            </c:extLst>
          </c:dPt>
          <c:dPt>
            <c:idx val="718"/>
            <c:invertIfNegative val="1"/>
            <c:bubble3D val="0"/>
            <c:spPr>
              <a:solidFill>
                <a:srgbClr val="AEABAB"/>
              </a:solidFill>
            </c:spPr>
            <c:extLst>
              <c:ext xmlns:c16="http://schemas.microsoft.com/office/drawing/2014/chart" uri="{C3380CC4-5D6E-409C-BE32-E72D297353CC}">
                <c16:uniqueId val="{0000059F-63DE-4091-B8DA-DB57396774D4}"/>
              </c:ext>
            </c:extLst>
          </c:dPt>
          <c:dPt>
            <c:idx val="719"/>
            <c:invertIfNegative val="1"/>
            <c:bubble3D val="0"/>
            <c:spPr>
              <a:solidFill>
                <a:srgbClr val="AEABAB"/>
              </a:solidFill>
            </c:spPr>
            <c:extLst>
              <c:ext xmlns:c16="http://schemas.microsoft.com/office/drawing/2014/chart" uri="{C3380CC4-5D6E-409C-BE32-E72D297353CC}">
                <c16:uniqueId val="{000005A1-63DE-4091-B8DA-DB57396774D4}"/>
              </c:ext>
            </c:extLst>
          </c:dPt>
          <c:dPt>
            <c:idx val="720"/>
            <c:invertIfNegative val="1"/>
            <c:bubble3D val="0"/>
            <c:spPr>
              <a:solidFill>
                <a:srgbClr val="AEABAB"/>
              </a:solidFill>
            </c:spPr>
            <c:extLst>
              <c:ext xmlns:c16="http://schemas.microsoft.com/office/drawing/2014/chart" uri="{C3380CC4-5D6E-409C-BE32-E72D297353CC}">
                <c16:uniqueId val="{000005A3-63DE-4091-B8DA-DB57396774D4}"/>
              </c:ext>
            </c:extLst>
          </c:dPt>
          <c:dPt>
            <c:idx val="721"/>
            <c:invertIfNegative val="1"/>
            <c:bubble3D val="0"/>
            <c:spPr>
              <a:solidFill>
                <a:srgbClr val="AEABAB"/>
              </a:solidFill>
            </c:spPr>
            <c:extLst>
              <c:ext xmlns:c16="http://schemas.microsoft.com/office/drawing/2014/chart" uri="{C3380CC4-5D6E-409C-BE32-E72D297353CC}">
                <c16:uniqueId val="{000005A5-63DE-4091-B8DA-DB57396774D4}"/>
              </c:ext>
            </c:extLst>
          </c:dPt>
          <c:dPt>
            <c:idx val="722"/>
            <c:invertIfNegative val="1"/>
            <c:bubble3D val="0"/>
            <c:spPr>
              <a:solidFill>
                <a:srgbClr val="AEABAB"/>
              </a:solidFill>
            </c:spPr>
            <c:extLst>
              <c:ext xmlns:c16="http://schemas.microsoft.com/office/drawing/2014/chart" uri="{C3380CC4-5D6E-409C-BE32-E72D297353CC}">
                <c16:uniqueId val="{000005A7-63DE-4091-B8DA-DB57396774D4}"/>
              </c:ext>
            </c:extLst>
          </c:dPt>
          <c:dPt>
            <c:idx val="723"/>
            <c:invertIfNegative val="1"/>
            <c:bubble3D val="0"/>
            <c:spPr>
              <a:solidFill>
                <a:srgbClr val="AEABAB"/>
              </a:solidFill>
            </c:spPr>
            <c:extLst>
              <c:ext xmlns:c16="http://schemas.microsoft.com/office/drawing/2014/chart" uri="{C3380CC4-5D6E-409C-BE32-E72D297353CC}">
                <c16:uniqueId val="{000005A9-63DE-4091-B8DA-DB57396774D4}"/>
              </c:ext>
            </c:extLst>
          </c:dPt>
          <c:dPt>
            <c:idx val="724"/>
            <c:invertIfNegative val="1"/>
            <c:bubble3D val="0"/>
            <c:spPr>
              <a:solidFill>
                <a:srgbClr val="AEABAB"/>
              </a:solidFill>
            </c:spPr>
            <c:extLst>
              <c:ext xmlns:c16="http://schemas.microsoft.com/office/drawing/2014/chart" uri="{C3380CC4-5D6E-409C-BE32-E72D297353CC}">
                <c16:uniqueId val="{000005AB-63DE-4091-B8DA-DB57396774D4}"/>
              </c:ext>
            </c:extLst>
          </c:dPt>
          <c:dPt>
            <c:idx val="725"/>
            <c:invertIfNegative val="1"/>
            <c:bubble3D val="0"/>
            <c:spPr>
              <a:solidFill>
                <a:srgbClr val="AEABAB"/>
              </a:solidFill>
            </c:spPr>
            <c:extLst>
              <c:ext xmlns:c16="http://schemas.microsoft.com/office/drawing/2014/chart" uri="{C3380CC4-5D6E-409C-BE32-E72D297353CC}">
                <c16:uniqueId val="{000005AD-63DE-4091-B8DA-DB57396774D4}"/>
              </c:ext>
            </c:extLst>
          </c:dPt>
          <c:dPt>
            <c:idx val="726"/>
            <c:invertIfNegative val="1"/>
            <c:bubble3D val="0"/>
            <c:spPr>
              <a:solidFill>
                <a:srgbClr val="AEABAB"/>
              </a:solidFill>
            </c:spPr>
            <c:extLst>
              <c:ext xmlns:c16="http://schemas.microsoft.com/office/drawing/2014/chart" uri="{C3380CC4-5D6E-409C-BE32-E72D297353CC}">
                <c16:uniqueId val="{000005AF-63DE-4091-B8DA-DB57396774D4}"/>
              </c:ext>
            </c:extLst>
          </c:dPt>
          <c:dPt>
            <c:idx val="727"/>
            <c:invertIfNegative val="1"/>
            <c:bubble3D val="0"/>
            <c:spPr>
              <a:solidFill>
                <a:srgbClr val="AEABAB"/>
              </a:solidFill>
            </c:spPr>
            <c:extLst>
              <c:ext xmlns:c16="http://schemas.microsoft.com/office/drawing/2014/chart" uri="{C3380CC4-5D6E-409C-BE32-E72D297353CC}">
                <c16:uniqueId val="{000005B1-63DE-4091-B8DA-DB57396774D4}"/>
              </c:ext>
            </c:extLst>
          </c:dPt>
          <c:dPt>
            <c:idx val="728"/>
            <c:invertIfNegative val="1"/>
            <c:bubble3D val="0"/>
            <c:spPr>
              <a:solidFill>
                <a:srgbClr val="AEABAB"/>
              </a:solidFill>
            </c:spPr>
            <c:extLst>
              <c:ext xmlns:c16="http://schemas.microsoft.com/office/drawing/2014/chart" uri="{C3380CC4-5D6E-409C-BE32-E72D297353CC}">
                <c16:uniqueId val="{000005B3-63DE-4091-B8DA-DB57396774D4}"/>
              </c:ext>
            </c:extLst>
          </c:dPt>
          <c:dPt>
            <c:idx val="729"/>
            <c:invertIfNegative val="1"/>
            <c:bubble3D val="0"/>
            <c:spPr>
              <a:solidFill>
                <a:srgbClr val="AEABAB"/>
              </a:solidFill>
            </c:spPr>
            <c:extLst>
              <c:ext xmlns:c16="http://schemas.microsoft.com/office/drawing/2014/chart" uri="{C3380CC4-5D6E-409C-BE32-E72D297353CC}">
                <c16:uniqueId val="{000005B5-63DE-4091-B8DA-DB57396774D4}"/>
              </c:ext>
            </c:extLst>
          </c:dPt>
          <c:dPt>
            <c:idx val="730"/>
            <c:invertIfNegative val="1"/>
            <c:bubble3D val="0"/>
            <c:spPr>
              <a:solidFill>
                <a:srgbClr val="AEABAB"/>
              </a:solidFill>
            </c:spPr>
            <c:extLst>
              <c:ext xmlns:c16="http://schemas.microsoft.com/office/drawing/2014/chart" uri="{C3380CC4-5D6E-409C-BE32-E72D297353CC}">
                <c16:uniqueId val="{000005B7-63DE-4091-B8DA-DB57396774D4}"/>
              </c:ext>
            </c:extLst>
          </c:dPt>
          <c:dPt>
            <c:idx val="731"/>
            <c:invertIfNegative val="1"/>
            <c:bubble3D val="0"/>
            <c:spPr>
              <a:solidFill>
                <a:srgbClr val="AEABAB"/>
              </a:solidFill>
            </c:spPr>
            <c:extLst>
              <c:ext xmlns:c16="http://schemas.microsoft.com/office/drawing/2014/chart" uri="{C3380CC4-5D6E-409C-BE32-E72D297353CC}">
                <c16:uniqueId val="{000005B9-63DE-4091-B8DA-DB57396774D4}"/>
              </c:ext>
            </c:extLst>
          </c:dPt>
          <c:dPt>
            <c:idx val="732"/>
            <c:invertIfNegative val="1"/>
            <c:bubble3D val="0"/>
            <c:spPr>
              <a:solidFill>
                <a:srgbClr val="AEABAB"/>
              </a:solidFill>
            </c:spPr>
            <c:extLst>
              <c:ext xmlns:c16="http://schemas.microsoft.com/office/drawing/2014/chart" uri="{C3380CC4-5D6E-409C-BE32-E72D297353CC}">
                <c16:uniqueId val="{000005BB-63DE-4091-B8DA-DB57396774D4}"/>
              </c:ext>
            </c:extLst>
          </c:dPt>
          <c:dPt>
            <c:idx val="733"/>
            <c:invertIfNegative val="1"/>
            <c:bubble3D val="0"/>
            <c:spPr>
              <a:solidFill>
                <a:srgbClr val="AEABAB"/>
              </a:solidFill>
            </c:spPr>
            <c:extLst>
              <c:ext xmlns:c16="http://schemas.microsoft.com/office/drawing/2014/chart" uri="{C3380CC4-5D6E-409C-BE32-E72D297353CC}">
                <c16:uniqueId val="{000005BD-63DE-4091-B8DA-DB57396774D4}"/>
              </c:ext>
            </c:extLst>
          </c:dPt>
          <c:dPt>
            <c:idx val="734"/>
            <c:invertIfNegative val="1"/>
            <c:bubble3D val="0"/>
            <c:spPr>
              <a:solidFill>
                <a:srgbClr val="AEABAB"/>
              </a:solidFill>
            </c:spPr>
            <c:extLst>
              <c:ext xmlns:c16="http://schemas.microsoft.com/office/drawing/2014/chart" uri="{C3380CC4-5D6E-409C-BE32-E72D297353CC}">
                <c16:uniqueId val="{000005BF-63DE-4091-B8DA-DB57396774D4}"/>
              </c:ext>
            </c:extLst>
          </c:dPt>
          <c:dPt>
            <c:idx val="735"/>
            <c:invertIfNegative val="1"/>
            <c:bubble3D val="0"/>
            <c:spPr>
              <a:solidFill>
                <a:srgbClr val="AEABAB"/>
              </a:solidFill>
            </c:spPr>
            <c:extLst>
              <c:ext xmlns:c16="http://schemas.microsoft.com/office/drawing/2014/chart" uri="{C3380CC4-5D6E-409C-BE32-E72D297353CC}">
                <c16:uniqueId val="{000005C1-63DE-4091-B8DA-DB57396774D4}"/>
              </c:ext>
            </c:extLst>
          </c:dPt>
          <c:dPt>
            <c:idx val="736"/>
            <c:invertIfNegative val="1"/>
            <c:bubble3D val="0"/>
            <c:spPr>
              <a:solidFill>
                <a:srgbClr val="AEABAB"/>
              </a:solidFill>
            </c:spPr>
            <c:extLst>
              <c:ext xmlns:c16="http://schemas.microsoft.com/office/drawing/2014/chart" uri="{C3380CC4-5D6E-409C-BE32-E72D297353CC}">
                <c16:uniqueId val="{000005C3-63DE-4091-B8DA-DB57396774D4}"/>
              </c:ext>
            </c:extLst>
          </c:dPt>
          <c:dPt>
            <c:idx val="737"/>
            <c:invertIfNegative val="1"/>
            <c:bubble3D val="0"/>
            <c:spPr>
              <a:solidFill>
                <a:srgbClr val="AEABAB"/>
              </a:solidFill>
            </c:spPr>
            <c:extLst>
              <c:ext xmlns:c16="http://schemas.microsoft.com/office/drawing/2014/chart" uri="{C3380CC4-5D6E-409C-BE32-E72D297353CC}">
                <c16:uniqueId val="{000005C5-63DE-4091-B8DA-DB57396774D4}"/>
              </c:ext>
            </c:extLst>
          </c:dPt>
          <c:dPt>
            <c:idx val="738"/>
            <c:invertIfNegative val="1"/>
            <c:bubble3D val="0"/>
            <c:spPr>
              <a:solidFill>
                <a:srgbClr val="AEABAB"/>
              </a:solidFill>
            </c:spPr>
            <c:extLst>
              <c:ext xmlns:c16="http://schemas.microsoft.com/office/drawing/2014/chart" uri="{C3380CC4-5D6E-409C-BE32-E72D297353CC}">
                <c16:uniqueId val="{000005C7-63DE-4091-B8DA-DB57396774D4}"/>
              </c:ext>
            </c:extLst>
          </c:dPt>
          <c:dPt>
            <c:idx val="739"/>
            <c:invertIfNegative val="1"/>
            <c:bubble3D val="0"/>
            <c:spPr>
              <a:solidFill>
                <a:srgbClr val="AEABAB"/>
              </a:solidFill>
            </c:spPr>
            <c:extLst>
              <c:ext xmlns:c16="http://schemas.microsoft.com/office/drawing/2014/chart" uri="{C3380CC4-5D6E-409C-BE32-E72D297353CC}">
                <c16:uniqueId val="{000005C9-63DE-4091-B8DA-DB57396774D4}"/>
              </c:ext>
            </c:extLst>
          </c:dPt>
          <c:dPt>
            <c:idx val="740"/>
            <c:invertIfNegative val="1"/>
            <c:bubble3D val="0"/>
            <c:spPr>
              <a:solidFill>
                <a:srgbClr val="AEABAB"/>
              </a:solidFill>
            </c:spPr>
            <c:extLst>
              <c:ext xmlns:c16="http://schemas.microsoft.com/office/drawing/2014/chart" uri="{C3380CC4-5D6E-409C-BE32-E72D297353CC}">
                <c16:uniqueId val="{000005CB-63DE-4091-B8DA-DB57396774D4}"/>
              </c:ext>
            </c:extLst>
          </c:dPt>
          <c:dPt>
            <c:idx val="741"/>
            <c:invertIfNegative val="1"/>
            <c:bubble3D val="0"/>
            <c:spPr>
              <a:solidFill>
                <a:srgbClr val="AEABAB"/>
              </a:solidFill>
            </c:spPr>
            <c:extLst>
              <c:ext xmlns:c16="http://schemas.microsoft.com/office/drawing/2014/chart" uri="{C3380CC4-5D6E-409C-BE32-E72D297353CC}">
                <c16:uniqueId val="{000005CD-63DE-4091-B8DA-DB57396774D4}"/>
              </c:ext>
            </c:extLst>
          </c:dPt>
          <c:dPt>
            <c:idx val="742"/>
            <c:invertIfNegative val="1"/>
            <c:bubble3D val="0"/>
            <c:spPr>
              <a:solidFill>
                <a:srgbClr val="AEABAB"/>
              </a:solidFill>
            </c:spPr>
            <c:extLst>
              <c:ext xmlns:c16="http://schemas.microsoft.com/office/drawing/2014/chart" uri="{C3380CC4-5D6E-409C-BE32-E72D297353CC}">
                <c16:uniqueId val="{000005CF-63DE-4091-B8DA-DB57396774D4}"/>
              </c:ext>
            </c:extLst>
          </c:dPt>
          <c:dPt>
            <c:idx val="743"/>
            <c:invertIfNegative val="1"/>
            <c:bubble3D val="0"/>
            <c:spPr>
              <a:solidFill>
                <a:srgbClr val="AEABAB"/>
              </a:solidFill>
            </c:spPr>
            <c:extLst>
              <c:ext xmlns:c16="http://schemas.microsoft.com/office/drawing/2014/chart" uri="{C3380CC4-5D6E-409C-BE32-E72D297353CC}">
                <c16:uniqueId val="{000005D1-63DE-4091-B8DA-DB57396774D4}"/>
              </c:ext>
            </c:extLst>
          </c:dPt>
          <c:dPt>
            <c:idx val="744"/>
            <c:invertIfNegative val="1"/>
            <c:bubble3D val="0"/>
            <c:spPr>
              <a:solidFill>
                <a:srgbClr val="AEABAB"/>
              </a:solidFill>
            </c:spPr>
            <c:extLst>
              <c:ext xmlns:c16="http://schemas.microsoft.com/office/drawing/2014/chart" uri="{C3380CC4-5D6E-409C-BE32-E72D297353CC}">
                <c16:uniqueId val="{000005D3-63DE-4091-B8DA-DB57396774D4}"/>
              </c:ext>
            </c:extLst>
          </c:dPt>
          <c:dPt>
            <c:idx val="745"/>
            <c:invertIfNegative val="1"/>
            <c:bubble3D val="0"/>
            <c:spPr>
              <a:solidFill>
                <a:srgbClr val="AEABAB"/>
              </a:solidFill>
            </c:spPr>
            <c:extLst>
              <c:ext xmlns:c16="http://schemas.microsoft.com/office/drawing/2014/chart" uri="{C3380CC4-5D6E-409C-BE32-E72D297353CC}">
                <c16:uniqueId val="{000005D5-63DE-4091-B8DA-DB57396774D4}"/>
              </c:ext>
            </c:extLst>
          </c:dPt>
          <c:dPt>
            <c:idx val="746"/>
            <c:invertIfNegative val="1"/>
            <c:bubble3D val="0"/>
            <c:spPr>
              <a:solidFill>
                <a:srgbClr val="AEABAB"/>
              </a:solidFill>
            </c:spPr>
            <c:extLst>
              <c:ext xmlns:c16="http://schemas.microsoft.com/office/drawing/2014/chart" uri="{C3380CC4-5D6E-409C-BE32-E72D297353CC}">
                <c16:uniqueId val="{000005D7-63DE-4091-B8DA-DB57396774D4}"/>
              </c:ext>
            </c:extLst>
          </c:dPt>
          <c:dPt>
            <c:idx val="747"/>
            <c:invertIfNegative val="1"/>
            <c:bubble3D val="0"/>
            <c:spPr>
              <a:solidFill>
                <a:srgbClr val="AEABAB"/>
              </a:solidFill>
            </c:spPr>
            <c:extLst>
              <c:ext xmlns:c16="http://schemas.microsoft.com/office/drawing/2014/chart" uri="{C3380CC4-5D6E-409C-BE32-E72D297353CC}">
                <c16:uniqueId val="{000005D9-63DE-4091-B8DA-DB57396774D4}"/>
              </c:ext>
            </c:extLst>
          </c:dPt>
          <c:dPt>
            <c:idx val="748"/>
            <c:invertIfNegative val="1"/>
            <c:bubble3D val="0"/>
            <c:spPr>
              <a:solidFill>
                <a:srgbClr val="AEABAB"/>
              </a:solidFill>
            </c:spPr>
            <c:extLst>
              <c:ext xmlns:c16="http://schemas.microsoft.com/office/drawing/2014/chart" uri="{C3380CC4-5D6E-409C-BE32-E72D297353CC}">
                <c16:uniqueId val="{000005DB-63DE-4091-B8DA-DB57396774D4}"/>
              </c:ext>
            </c:extLst>
          </c:dPt>
          <c:dPt>
            <c:idx val="749"/>
            <c:invertIfNegative val="1"/>
            <c:bubble3D val="0"/>
            <c:spPr>
              <a:solidFill>
                <a:srgbClr val="AEABAB"/>
              </a:solidFill>
            </c:spPr>
            <c:extLst>
              <c:ext xmlns:c16="http://schemas.microsoft.com/office/drawing/2014/chart" uri="{C3380CC4-5D6E-409C-BE32-E72D297353CC}">
                <c16:uniqueId val="{000005DD-63DE-4091-B8DA-DB57396774D4}"/>
              </c:ext>
            </c:extLst>
          </c:dPt>
          <c:dPt>
            <c:idx val="750"/>
            <c:invertIfNegative val="1"/>
            <c:bubble3D val="0"/>
            <c:spPr>
              <a:solidFill>
                <a:srgbClr val="AEABAB"/>
              </a:solidFill>
            </c:spPr>
            <c:extLst>
              <c:ext xmlns:c16="http://schemas.microsoft.com/office/drawing/2014/chart" uri="{C3380CC4-5D6E-409C-BE32-E72D297353CC}">
                <c16:uniqueId val="{000005DF-63DE-4091-B8DA-DB57396774D4}"/>
              </c:ext>
            </c:extLst>
          </c:dPt>
          <c:dPt>
            <c:idx val="751"/>
            <c:invertIfNegative val="1"/>
            <c:bubble3D val="0"/>
            <c:spPr>
              <a:solidFill>
                <a:srgbClr val="AEABAB"/>
              </a:solidFill>
            </c:spPr>
            <c:extLst>
              <c:ext xmlns:c16="http://schemas.microsoft.com/office/drawing/2014/chart" uri="{C3380CC4-5D6E-409C-BE32-E72D297353CC}">
                <c16:uniqueId val="{000005E1-63DE-4091-B8DA-DB57396774D4}"/>
              </c:ext>
            </c:extLst>
          </c:dPt>
          <c:dPt>
            <c:idx val="752"/>
            <c:invertIfNegative val="1"/>
            <c:bubble3D val="0"/>
            <c:spPr>
              <a:solidFill>
                <a:srgbClr val="AEABAB"/>
              </a:solidFill>
            </c:spPr>
            <c:extLst>
              <c:ext xmlns:c16="http://schemas.microsoft.com/office/drawing/2014/chart" uri="{C3380CC4-5D6E-409C-BE32-E72D297353CC}">
                <c16:uniqueId val="{000005E3-63DE-4091-B8DA-DB57396774D4}"/>
              </c:ext>
            </c:extLst>
          </c:dPt>
          <c:dPt>
            <c:idx val="753"/>
            <c:invertIfNegative val="1"/>
            <c:bubble3D val="0"/>
            <c:spPr>
              <a:solidFill>
                <a:srgbClr val="AEABAB"/>
              </a:solidFill>
            </c:spPr>
            <c:extLst>
              <c:ext xmlns:c16="http://schemas.microsoft.com/office/drawing/2014/chart" uri="{C3380CC4-5D6E-409C-BE32-E72D297353CC}">
                <c16:uniqueId val="{000005E5-63DE-4091-B8DA-DB57396774D4}"/>
              </c:ext>
            </c:extLst>
          </c:dPt>
          <c:dPt>
            <c:idx val="754"/>
            <c:invertIfNegative val="1"/>
            <c:bubble3D val="0"/>
            <c:spPr>
              <a:solidFill>
                <a:srgbClr val="AEABAB"/>
              </a:solidFill>
            </c:spPr>
            <c:extLst>
              <c:ext xmlns:c16="http://schemas.microsoft.com/office/drawing/2014/chart" uri="{C3380CC4-5D6E-409C-BE32-E72D297353CC}">
                <c16:uniqueId val="{000005E7-63DE-4091-B8DA-DB57396774D4}"/>
              </c:ext>
            </c:extLst>
          </c:dPt>
          <c:dPt>
            <c:idx val="755"/>
            <c:invertIfNegative val="1"/>
            <c:bubble3D val="0"/>
            <c:spPr>
              <a:solidFill>
                <a:srgbClr val="AEABAB"/>
              </a:solidFill>
            </c:spPr>
            <c:extLst>
              <c:ext xmlns:c16="http://schemas.microsoft.com/office/drawing/2014/chart" uri="{C3380CC4-5D6E-409C-BE32-E72D297353CC}">
                <c16:uniqueId val="{000005E9-63DE-4091-B8DA-DB57396774D4}"/>
              </c:ext>
            </c:extLst>
          </c:dPt>
          <c:dPt>
            <c:idx val="756"/>
            <c:invertIfNegative val="1"/>
            <c:bubble3D val="0"/>
            <c:spPr>
              <a:solidFill>
                <a:srgbClr val="AEABAB"/>
              </a:solidFill>
            </c:spPr>
            <c:extLst>
              <c:ext xmlns:c16="http://schemas.microsoft.com/office/drawing/2014/chart" uri="{C3380CC4-5D6E-409C-BE32-E72D297353CC}">
                <c16:uniqueId val="{000005EB-63DE-4091-B8DA-DB57396774D4}"/>
              </c:ext>
            </c:extLst>
          </c:dPt>
          <c:dPt>
            <c:idx val="757"/>
            <c:invertIfNegative val="1"/>
            <c:bubble3D val="0"/>
            <c:spPr>
              <a:solidFill>
                <a:srgbClr val="AEABAB"/>
              </a:solidFill>
            </c:spPr>
            <c:extLst>
              <c:ext xmlns:c16="http://schemas.microsoft.com/office/drawing/2014/chart" uri="{C3380CC4-5D6E-409C-BE32-E72D297353CC}">
                <c16:uniqueId val="{000005ED-63DE-4091-B8DA-DB57396774D4}"/>
              </c:ext>
            </c:extLst>
          </c:dPt>
          <c:dPt>
            <c:idx val="758"/>
            <c:invertIfNegative val="1"/>
            <c:bubble3D val="0"/>
            <c:spPr>
              <a:solidFill>
                <a:srgbClr val="AEABAB"/>
              </a:solidFill>
            </c:spPr>
            <c:extLst>
              <c:ext xmlns:c16="http://schemas.microsoft.com/office/drawing/2014/chart" uri="{C3380CC4-5D6E-409C-BE32-E72D297353CC}">
                <c16:uniqueId val="{000005EF-63DE-4091-B8DA-DB57396774D4}"/>
              </c:ext>
            </c:extLst>
          </c:dPt>
          <c:dPt>
            <c:idx val="759"/>
            <c:invertIfNegative val="1"/>
            <c:bubble3D val="0"/>
            <c:spPr>
              <a:solidFill>
                <a:srgbClr val="AEABAB"/>
              </a:solidFill>
            </c:spPr>
            <c:extLst>
              <c:ext xmlns:c16="http://schemas.microsoft.com/office/drawing/2014/chart" uri="{C3380CC4-5D6E-409C-BE32-E72D297353CC}">
                <c16:uniqueId val="{000005F1-63DE-4091-B8DA-DB57396774D4}"/>
              </c:ext>
            </c:extLst>
          </c:dPt>
          <c:dPt>
            <c:idx val="760"/>
            <c:invertIfNegative val="1"/>
            <c:bubble3D val="0"/>
            <c:spPr>
              <a:solidFill>
                <a:srgbClr val="AEABAB"/>
              </a:solidFill>
            </c:spPr>
            <c:extLst>
              <c:ext xmlns:c16="http://schemas.microsoft.com/office/drawing/2014/chart" uri="{C3380CC4-5D6E-409C-BE32-E72D297353CC}">
                <c16:uniqueId val="{000005F3-63DE-4091-B8DA-DB57396774D4}"/>
              </c:ext>
            </c:extLst>
          </c:dPt>
          <c:dPt>
            <c:idx val="761"/>
            <c:invertIfNegative val="1"/>
            <c:bubble3D val="0"/>
            <c:spPr>
              <a:solidFill>
                <a:srgbClr val="AEABAB"/>
              </a:solidFill>
            </c:spPr>
            <c:extLst>
              <c:ext xmlns:c16="http://schemas.microsoft.com/office/drawing/2014/chart" uri="{C3380CC4-5D6E-409C-BE32-E72D297353CC}">
                <c16:uniqueId val="{000005F5-63DE-4091-B8DA-DB57396774D4}"/>
              </c:ext>
            </c:extLst>
          </c:dPt>
          <c:dPt>
            <c:idx val="762"/>
            <c:invertIfNegative val="1"/>
            <c:bubble3D val="0"/>
            <c:spPr>
              <a:solidFill>
                <a:srgbClr val="AEABAB"/>
              </a:solidFill>
            </c:spPr>
            <c:extLst>
              <c:ext xmlns:c16="http://schemas.microsoft.com/office/drawing/2014/chart" uri="{C3380CC4-5D6E-409C-BE32-E72D297353CC}">
                <c16:uniqueId val="{000005F7-63DE-4091-B8DA-DB57396774D4}"/>
              </c:ext>
            </c:extLst>
          </c:dPt>
          <c:dPt>
            <c:idx val="763"/>
            <c:invertIfNegative val="1"/>
            <c:bubble3D val="0"/>
            <c:spPr>
              <a:solidFill>
                <a:srgbClr val="AEABAB"/>
              </a:solidFill>
            </c:spPr>
            <c:extLst>
              <c:ext xmlns:c16="http://schemas.microsoft.com/office/drawing/2014/chart" uri="{C3380CC4-5D6E-409C-BE32-E72D297353CC}">
                <c16:uniqueId val="{000005F9-63DE-4091-B8DA-DB57396774D4}"/>
              </c:ext>
            </c:extLst>
          </c:dPt>
          <c:dPt>
            <c:idx val="764"/>
            <c:invertIfNegative val="1"/>
            <c:bubble3D val="0"/>
            <c:spPr>
              <a:solidFill>
                <a:srgbClr val="AEABAB"/>
              </a:solidFill>
            </c:spPr>
            <c:extLst>
              <c:ext xmlns:c16="http://schemas.microsoft.com/office/drawing/2014/chart" uri="{C3380CC4-5D6E-409C-BE32-E72D297353CC}">
                <c16:uniqueId val="{000005FB-63DE-4091-B8DA-DB57396774D4}"/>
              </c:ext>
            </c:extLst>
          </c:dPt>
          <c:dPt>
            <c:idx val="765"/>
            <c:invertIfNegative val="1"/>
            <c:bubble3D val="0"/>
            <c:spPr>
              <a:solidFill>
                <a:srgbClr val="AEABAB"/>
              </a:solidFill>
            </c:spPr>
            <c:extLst>
              <c:ext xmlns:c16="http://schemas.microsoft.com/office/drawing/2014/chart" uri="{C3380CC4-5D6E-409C-BE32-E72D297353CC}">
                <c16:uniqueId val="{000005FD-63DE-4091-B8DA-DB57396774D4}"/>
              </c:ext>
            </c:extLst>
          </c:dPt>
          <c:dPt>
            <c:idx val="766"/>
            <c:invertIfNegative val="1"/>
            <c:bubble3D val="0"/>
            <c:spPr>
              <a:solidFill>
                <a:srgbClr val="AEABAB"/>
              </a:solidFill>
            </c:spPr>
            <c:extLst>
              <c:ext xmlns:c16="http://schemas.microsoft.com/office/drawing/2014/chart" uri="{C3380CC4-5D6E-409C-BE32-E72D297353CC}">
                <c16:uniqueId val="{000005FF-63DE-4091-B8DA-DB57396774D4}"/>
              </c:ext>
            </c:extLst>
          </c:dPt>
          <c:dPt>
            <c:idx val="767"/>
            <c:invertIfNegative val="1"/>
            <c:bubble3D val="0"/>
            <c:spPr>
              <a:solidFill>
                <a:srgbClr val="AEABAB"/>
              </a:solidFill>
            </c:spPr>
            <c:extLst>
              <c:ext xmlns:c16="http://schemas.microsoft.com/office/drawing/2014/chart" uri="{C3380CC4-5D6E-409C-BE32-E72D297353CC}">
                <c16:uniqueId val="{00000601-63DE-4091-B8DA-DB57396774D4}"/>
              </c:ext>
            </c:extLst>
          </c:dPt>
          <c:dPt>
            <c:idx val="768"/>
            <c:invertIfNegative val="1"/>
            <c:bubble3D val="0"/>
            <c:spPr>
              <a:solidFill>
                <a:srgbClr val="AEABAB"/>
              </a:solidFill>
            </c:spPr>
            <c:extLst>
              <c:ext xmlns:c16="http://schemas.microsoft.com/office/drawing/2014/chart" uri="{C3380CC4-5D6E-409C-BE32-E72D297353CC}">
                <c16:uniqueId val="{00000603-63DE-4091-B8DA-DB57396774D4}"/>
              </c:ext>
            </c:extLst>
          </c:dPt>
          <c:dPt>
            <c:idx val="769"/>
            <c:invertIfNegative val="1"/>
            <c:bubble3D val="0"/>
            <c:spPr>
              <a:solidFill>
                <a:srgbClr val="AEABAB"/>
              </a:solidFill>
            </c:spPr>
            <c:extLst>
              <c:ext xmlns:c16="http://schemas.microsoft.com/office/drawing/2014/chart" uri="{C3380CC4-5D6E-409C-BE32-E72D297353CC}">
                <c16:uniqueId val="{00000605-63DE-4091-B8DA-DB57396774D4}"/>
              </c:ext>
            </c:extLst>
          </c:dPt>
          <c:dPt>
            <c:idx val="770"/>
            <c:invertIfNegative val="1"/>
            <c:bubble3D val="0"/>
            <c:spPr>
              <a:solidFill>
                <a:srgbClr val="AEABAB"/>
              </a:solidFill>
            </c:spPr>
            <c:extLst>
              <c:ext xmlns:c16="http://schemas.microsoft.com/office/drawing/2014/chart" uri="{C3380CC4-5D6E-409C-BE32-E72D297353CC}">
                <c16:uniqueId val="{00000607-63DE-4091-B8DA-DB57396774D4}"/>
              </c:ext>
            </c:extLst>
          </c:dPt>
          <c:dPt>
            <c:idx val="771"/>
            <c:invertIfNegative val="1"/>
            <c:bubble3D val="0"/>
            <c:spPr>
              <a:solidFill>
                <a:srgbClr val="AEABAB"/>
              </a:solidFill>
            </c:spPr>
            <c:extLst>
              <c:ext xmlns:c16="http://schemas.microsoft.com/office/drawing/2014/chart" uri="{C3380CC4-5D6E-409C-BE32-E72D297353CC}">
                <c16:uniqueId val="{00000609-63DE-4091-B8DA-DB57396774D4}"/>
              </c:ext>
            </c:extLst>
          </c:dPt>
          <c:dPt>
            <c:idx val="772"/>
            <c:invertIfNegative val="1"/>
            <c:bubble3D val="0"/>
            <c:spPr>
              <a:solidFill>
                <a:srgbClr val="AEABAB"/>
              </a:solidFill>
            </c:spPr>
            <c:extLst>
              <c:ext xmlns:c16="http://schemas.microsoft.com/office/drawing/2014/chart" uri="{C3380CC4-5D6E-409C-BE32-E72D297353CC}">
                <c16:uniqueId val="{0000060B-63DE-4091-B8DA-DB57396774D4}"/>
              </c:ext>
            </c:extLst>
          </c:dPt>
          <c:dPt>
            <c:idx val="773"/>
            <c:invertIfNegative val="1"/>
            <c:bubble3D val="0"/>
            <c:spPr>
              <a:solidFill>
                <a:srgbClr val="AEABAB"/>
              </a:solidFill>
            </c:spPr>
            <c:extLst>
              <c:ext xmlns:c16="http://schemas.microsoft.com/office/drawing/2014/chart" uri="{C3380CC4-5D6E-409C-BE32-E72D297353CC}">
                <c16:uniqueId val="{0000060D-63DE-4091-B8DA-DB57396774D4}"/>
              </c:ext>
            </c:extLst>
          </c:dPt>
          <c:dPt>
            <c:idx val="774"/>
            <c:invertIfNegative val="1"/>
            <c:bubble3D val="0"/>
            <c:spPr>
              <a:solidFill>
                <a:srgbClr val="AEABAB"/>
              </a:solidFill>
            </c:spPr>
            <c:extLst>
              <c:ext xmlns:c16="http://schemas.microsoft.com/office/drawing/2014/chart" uri="{C3380CC4-5D6E-409C-BE32-E72D297353CC}">
                <c16:uniqueId val="{0000060F-63DE-4091-B8DA-DB57396774D4}"/>
              </c:ext>
            </c:extLst>
          </c:dPt>
          <c:dPt>
            <c:idx val="775"/>
            <c:invertIfNegative val="1"/>
            <c:bubble3D val="0"/>
            <c:spPr>
              <a:solidFill>
                <a:srgbClr val="AEABAB"/>
              </a:solidFill>
            </c:spPr>
            <c:extLst>
              <c:ext xmlns:c16="http://schemas.microsoft.com/office/drawing/2014/chart" uri="{C3380CC4-5D6E-409C-BE32-E72D297353CC}">
                <c16:uniqueId val="{00000611-63DE-4091-B8DA-DB57396774D4}"/>
              </c:ext>
            </c:extLst>
          </c:dPt>
          <c:dPt>
            <c:idx val="776"/>
            <c:invertIfNegative val="1"/>
            <c:bubble3D val="0"/>
            <c:spPr>
              <a:solidFill>
                <a:srgbClr val="AEABAB"/>
              </a:solidFill>
            </c:spPr>
            <c:extLst>
              <c:ext xmlns:c16="http://schemas.microsoft.com/office/drawing/2014/chart" uri="{C3380CC4-5D6E-409C-BE32-E72D297353CC}">
                <c16:uniqueId val="{00000613-63DE-4091-B8DA-DB57396774D4}"/>
              </c:ext>
            </c:extLst>
          </c:dPt>
          <c:dPt>
            <c:idx val="777"/>
            <c:invertIfNegative val="1"/>
            <c:bubble3D val="0"/>
            <c:spPr>
              <a:solidFill>
                <a:srgbClr val="AEABAB"/>
              </a:solidFill>
            </c:spPr>
            <c:extLst>
              <c:ext xmlns:c16="http://schemas.microsoft.com/office/drawing/2014/chart" uri="{C3380CC4-5D6E-409C-BE32-E72D297353CC}">
                <c16:uniqueId val="{00000615-63DE-4091-B8DA-DB57396774D4}"/>
              </c:ext>
            </c:extLst>
          </c:dPt>
          <c:dPt>
            <c:idx val="778"/>
            <c:invertIfNegative val="1"/>
            <c:bubble3D val="0"/>
            <c:spPr>
              <a:solidFill>
                <a:srgbClr val="AEABAB"/>
              </a:solidFill>
            </c:spPr>
            <c:extLst>
              <c:ext xmlns:c16="http://schemas.microsoft.com/office/drawing/2014/chart" uri="{C3380CC4-5D6E-409C-BE32-E72D297353CC}">
                <c16:uniqueId val="{00000617-63DE-4091-B8DA-DB57396774D4}"/>
              </c:ext>
            </c:extLst>
          </c:dPt>
          <c:dPt>
            <c:idx val="779"/>
            <c:invertIfNegative val="1"/>
            <c:bubble3D val="0"/>
            <c:spPr>
              <a:solidFill>
                <a:srgbClr val="AEABAB"/>
              </a:solidFill>
            </c:spPr>
            <c:extLst>
              <c:ext xmlns:c16="http://schemas.microsoft.com/office/drawing/2014/chart" uri="{C3380CC4-5D6E-409C-BE32-E72D297353CC}">
                <c16:uniqueId val="{00000619-63DE-4091-B8DA-DB57396774D4}"/>
              </c:ext>
            </c:extLst>
          </c:dPt>
          <c:dPt>
            <c:idx val="780"/>
            <c:invertIfNegative val="1"/>
            <c:bubble3D val="0"/>
            <c:spPr>
              <a:solidFill>
                <a:srgbClr val="AEABAB"/>
              </a:solidFill>
            </c:spPr>
            <c:extLst>
              <c:ext xmlns:c16="http://schemas.microsoft.com/office/drawing/2014/chart" uri="{C3380CC4-5D6E-409C-BE32-E72D297353CC}">
                <c16:uniqueId val="{0000061B-63DE-4091-B8DA-DB57396774D4}"/>
              </c:ext>
            </c:extLst>
          </c:dPt>
          <c:dPt>
            <c:idx val="781"/>
            <c:invertIfNegative val="1"/>
            <c:bubble3D val="0"/>
            <c:spPr>
              <a:solidFill>
                <a:srgbClr val="AEABAB"/>
              </a:solidFill>
            </c:spPr>
            <c:extLst>
              <c:ext xmlns:c16="http://schemas.microsoft.com/office/drawing/2014/chart" uri="{C3380CC4-5D6E-409C-BE32-E72D297353CC}">
                <c16:uniqueId val="{0000061D-63DE-4091-B8DA-DB57396774D4}"/>
              </c:ext>
            </c:extLst>
          </c:dPt>
          <c:dPt>
            <c:idx val="782"/>
            <c:invertIfNegative val="1"/>
            <c:bubble3D val="0"/>
            <c:spPr>
              <a:solidFill>
                <a:srgbClr val="AEABAB"/>
              </a:solidFill>
            </c:spPr>
            <c:extLst>
              <c:ext xmlns:c16="http://schemas.microsoft.com/office/drawing/2014/chart" uri="{C3380CC4-5D6E-409C-BE32-E72D297353CC}">
                <c16:uniqueId val="{0000061F-63DE-4091-B8DA-DB57396774D4}"/>
              </c:ext>
            </c:extLst>
          </c:dPt>
          <c:dPt>
            <c:idx val="783"/>
            <c:invertIfNegative val="1"/>
            <c:bubble3D val="0"/>
            <c:spPr>
              <a:solidFill>
                <a:srgbClr val="AEABAB"/>
              </a:solidFill>
            </c:spPr>
            <c:extLst>
              <c:ext xmlns:c16="http://schemas.microsoft.com/office/drawing/2014/chart" uri="{C3380CC4-5D6E-409C-BE32-E72D297353CC}">
                <c16:uniqueId val="{00000621-63DE-4091-B8DA-DB57396774D4}"/>
              </c:ext>
            </c:extLst>
          </c:dPt>
          <c:dPt>
            <c:idx val="784"/>
            <c:invertIfNegative val="1"/>
            <c:bubble3D val="0"/>
            <c:spPr>
              <a:solidFill>
                <a:srgbClr val="AEABAB"/>
              </a:solidFill>
            </c:spPr>
            <c:extLst>
              <c:ext xmlns:c16="http://schemas.microsoft.com/office/drawing/2014/chart" uri="{C3380CC4-5D6E-409C-BE32-E72D297353CC}">
                <c16:uniqueId val="{00000623-63DE-4091-B8DA-DB57396774D4}"/>
              </c:ext>
            </c:extLst>
          </c:dPt>
          <c:dPt>
            <c:idx val="785"/>
            <c:invertIfNegative val="1"/>
            <c:bubble3D val="0"/>
            <c:spPr>
              <a:solidFill>
                <a:srgbClr val="AEABAB"/>
              </a:solidFill>
            </c:spPr>
            <c:extLst>
              <c:ext xmlns:c16="http://schemas.microsoft.com/office/drawing/2014/chart" uri="{C3380CC4-5D6E-409C-BE32-E72D297353CC}">
                <c16:uniqueId val="{00000625-63DE-4091-B8DA-DB57396774D4}"/>
              </c:ext>
            </c:extLst>
          </c:dPt>
          <c:dPt>
            <c:idx val="786"/>
            <c:invertIfNegative val="1"/>
            <c:bubble3D val="0"/>
            <c:spPr>
              <a:solidFill>
                <a:srgbClr val="AEABAB"/>
              </a:solidFill>
            </c:spPr>
            <c:extLst>
              <c:ext xmlns:c16="http://schemas.microsoft.com/office/drawing/2014/chart" uri="{C3380CC4-5D6E-409C-BE32-E72D297353CC}">
                <c16:uniqueId val="{00000627-63DE-4091-B8DA-DB57396774D4}"/>
              </c:ext>
            </c:extLst>
          </c:dPt>
          <c:dPt>
            <c:idx val="787"/>
            <c:invertIfNegative val="1"/>
            <c:bubble3D val="0"/>
            <c:spPr>
              <a:solidFill>
                <a:srgbClr val="AEABAB"/>
              </a:solidFill>
            </c:spPr>
            <c:extLst>
              <c:ext xmlns:c16="http://schemas.microsoft.com/office/drawing/2014/chart" uri="{C3380CC4-5D6E-409C-BE32-E72D297353CC}">
                <c16:uniqueId val="{00000629-63DE-4091-B8DA-DB57396774D4}"/>
              </c:ext>
            </c:extLst>
          </c:dPt>
          <c:dPt>
            <c:idx val="788"/>
            <c:invertIfNegative val="1"/>
            <c:bubble3D val="0"/>
            <c:spPr>
              <a:solidFill>
                <a:srgbClr val="AEABAB"/>
              </a:solidFill>
            </c:spPr>
            <c:extLst>
              <c:ext xmlns:c16="http://schemas.microsoft.com/office/drawing/2014/chart" uri="{C3380CC4-5D6E-409C-BE32-E72D297353CC}">
                <c16:uniqueId val="{0000062B-63DE-4091-B8DA-DB57396774D4}"/>
              </c:ext>
            </c:extLst>
          </c:dPt>
          <c:dPt>
            <c:idx val="789"/>
            <c:invertIfNegative val="1"/>
            <c:bubble3D val="0"/>
            <c:spPr>
              <a:solidFill>
                <a:srgbClr val="AEABAB"/>
              </a:solidFill>
            </c:spPr>
            <c:extLst>
              <c:ext xmlns:c16="http://schemas.microsoft.com/office/drawing/2014/chart" uri="{C3380CC4-5D6E-409C-BE32-E72D297353CC}">
                <c16:uniqueId val="{0000062D-63DE-4091-B8DA-DB57396774D4}"/>
              </c:ext>
            </c:extLst>
          </c:dPt>
          <c:dPt>
            <c:idx val="790"/>
            <c:invertIfNegative val="1"/>
            <c:bubble3D val="0"/>
            <c:spPr>
              <a:solidFill>
                <a:srgbClr val="AEABAB"/>
              </a:solidFill>
            </c:spPr>
            <c:extLst>
              <c:ext xmlns:c16="http://schemas.microsoft.com/office/drawing/2014/chart" uri="{C3380CC4-5D6E-409C-BE32-E72D297353CC}">
                <c16:uniqueId val="{0000062F-63DE-4091-B8DA-DB57396774D4}"/>
              </c:ext>
            </c:extLst>
          </c:dPt>
          <c:dPt>
            <c:idx val="791"/>
            <c:invertIfNegative val="1"/>
            <c:bubble3D val="0"/>
            <c:spPr>
              <a:solidFill>
                <a:srgbClr val="AEABAB"/>
              </a:solidFill>
            </c:spPr>
            <c:extLst>
              <c:ext xmlns:c16="http://schemas.microsoft.com/office/drawing/2014/chart" uri="{C3380CC4-5D6E-409C-BE32-E72D297353CC}">
                <c16:uniqueId val="{00000631-63DE-4091-B8DA-DB57396774D4}"/>
              </c:ext>
            </c:extLst>
          </c:dPt>
          <c:dPt>
            <c:idx val="792"/>
            <c:invertIfNegative val="1"/>
            <c:bubble3D val="0"/>
            <c:spPr>
              <a:solidFill>
                <a:srgbClr val="AEABAB"/>
              </a:solidFill>
            </c:spPr>
            <c:extLst>
              <c:ext xmlns:c16="http://schemas.microsoft.com/office/drawing/2014/chart" uri="{C3380CC4-5D6E-409C-BE32-E72D297353CC}">
                <c16:uniqueId val="{00000633-63DE-4091-B8DA-DB57396774D4}"/>
              </c:ext>
            </c:extLst>
          </c:dPt>
          <c:dPt>
            <c:idx val="793"/>
            <c:invertIfNegative val="1"/>
            <c:bubble3D val="0"/>
            <c:spPr>
              <a:solidFill>
                <a:srgbClr val="AEABAB"/>
              </a:solidFill>
            </c:spPr>
            <c:extLst>
              <c:ext xmlns:c16="http://schemas.microsoft.com/office/drawing/2014/chart" uri="{C3380CC4-5D6E-409C-BE32-E72D297353CC}">
                <c16:uniqueId val="{00000635-63DE-4091-B8DA-DB57396774D4}"/>
              </c:ext>
            </c:extLst>
          </c:dPt>
          <c:dPt>
            <c:idx val="794"/>
            <c:invertIfNegative val="1"/>
            <c:bubble3D val="0"/>
            <c:spPr>
              <a:solidFill>
                <a:srgbClr val="AEABAB"/>
              </a:solidFill>
            </c:spPr>
            <c:extLst>
              <c:ext xmlns:c16="http://schemas.microsoft.com/office/drawing/2014/chart" uri="{C3380CC4-5D6E-409C-BE32-E72D297353CC}">
                <c16:uniqueId val="{00000637-63DE-4091-B8DA-DB57396774D4}"/>
              </c:ext>
            </c:extLst>
          </c:dPt>
          <c:dPt>
            <c:idx val="795"/>
            <c:invertIfNegative val="1"/>
            <c:bubble3D val="0"/>
            <c:spPr>
              <a:solidFill>
                <a:srgbClr val="AEABAB"/>
              </a:solidFill>
            </c:spPr>
            <c:extLst>
              <c:ext xmlns:c16="http://schemas.microsoft.com/office/drawing/2014/chart" uri="{C3380CC4-5D6E-409C-BE32-E72D297353CC}">
                <c16:uniqueId val="{00000639-63DE-4091-B8DA-DB57396774D4}"/>
              </c:ext>
            </c:extLst>
          </c:dPt>
          <c:dPt>
            <c:idx val="796"/>
            <c:invertIfNegative val="1"/>
            <c:bubble3D val="0"/>
            <c:spPr>
              <a:solidFill>
                <a:srgbClr val="AEABAB"/>
              </a:solidFill>
            </c:spPr>
            <c:extLst>
              <c:ext xmlns:c16="http://schemas.microsoft.com/office/drawing/2014/chart" uri="{C3380CC4-5D6E-409C-BE32-E72D297353CC}">
                <c16:uniqueId val="{0000063B-63DE-4091-B8DA-DB57396774D4}"/>
              </c:ext>
            </c:extLst>
          </c:dPt>
          <c:dPt>
            <c:idx val="797"/>
            <c:invertIfNegative val="1"/>
            <c:bubble3D val="0"/>
            <c:spPr>
              <a:solidFill>
                <a:srgbClr val="AEABAB"/>
              </a:solidFill>
            </c:spPr>
            <c:extLst>
              <c:ext xmlns:c16="http://schemas.microsoft.com/office/drawing/2014/chart" uri="{C3380CC4-5D6E-409C-BE32-E72D297353CC}">
                <c16:uniqueId val="{0000063D-63DE-4091-B8DA-DB57396774D4}"/>
              </c:ext>
            </c:extLst>
          </c:dPt>
          <c:dPt>
            <c:idx val="798"/>
            <c:invertIfNegative val="1"/>
            <c:bubble3D val="0"/>
            <c:spPr>
              <a:solidFill>
                <a:srgbClr val="AEABAB"/>
              </a:solidFill>
            </c:spPr>
            <c:extLst>
              <c:ext xmlns:c16="http://schemas.microsoft.com/office/drawing/2014/chart" uri="{C3380CC4-5D6E-409C-BE32-E72D297353CC}">
                <c16:uniqueId val="{0000063F-63DE-4091-B8DA-DB57396774D4}"/>
              </c:ext>
            </c:extLst>
          </c:dPt>
          <c:dPt>
            <c:idx val="799"/>
            <c:invertIfNegative val="1"/>
            <c:bubble3D val="0"/>
            <c:spPr>
              <a:solidFill>
                <a:srgbClr val="AEABAB"/>
              </a:solidFill>
            </c:spPr>
            <c:extLst>
              <c:ext xmlns:c16="http://schemas.microsoft.com/office/drawing/2014/chart" uri="{C3380CC4-5D6E-409C-BE32-E72D297353CC}">
                <c16:uniqueId val="{00000641-63DE-4091-B8DA-DB57396774D4}"/>
              </c:ext>
            </c:extLst>
          </c:dPt>
          <c:dPt>
            <c:idx val="800"/>
            <c:invertIfNegative val="1"/>
            <c:bubble3D val="0"/>
            <c:spPr>
              <a:solidFill>
                <a:srgbClr val="AEABAB"/>
              </a:solidFill>
            </c:spPr>
            <c:extLst>
              <c:ext xmlns:c16="http://schemas.microsoft.com/office/drawing/2014/chart" uri="{C3380CC4-5D6E-409C-BE32-E72D297353CC}">
                <c16:uniqueId val="{00000643-63DE-4091-B8DA-DB57396774D4}"/>
              </c:ext>
            </c:extLst>
          </c:dPt>
          <c:dPt>
            <c:idx val="801"/>
            <c:invertIfNegative val="1"/>
            <c:bubble3D val="0"/>
            <c:spPr>
              <a:solidFill>
                <a:srgbClr val="AEABAB"/>
              </a:solidFill>
            </c:spPr>
            <c:extLst>
              <c:ext xmlns:c16="http://schemas.microsoft.com/office/drawing/2014/chart" uri="{C3380CC4-5D6E-409C-BE32-E72D297353CC}">
                <c16:uniqueId val="{00000645-63DE-4091-B8DA-DB57396774D4}"/>
              </c:ext>
            </c:extLst>
          </c:dPt>
          <c:dPt>
            <c:idx val="802"/>
            <c:invertIfNegative val="1"/>
            <c:bubble3D val="0"/>
            <c:spPr>
              <a:solidFill>
                <a:srgbClr val="AEABAB"/>
              </a:solidFill>
            </c:spPr>
            <c:extLst>
              <c:ext xmlns:c16="http://schemas.microsoft.com/office/drawing/2014/chart" uri="{C3380CC4-5D6E-409C-BE32-E72D297353CC}">
                <c16:uniqueId val="{00000647-63DE-4091-B8DA-DB57396774D4}"/>
              </c:ext>
            </c:extLst>
          </c:dPt>
          <c:dPt>
            <c:idx val="803"/>
            <c:invertIfNegative val="1"/>
            <c:bubble3D val="0"/>
            <c:spPr>
              <a:solidFill>
                <a:srgbClr val="AEABAB"/>
              </a:solidFill>
            </c:spPr>
            <c:extLst>
              <c:ext xmlns:c16="http://schemas.microsoft.com/office/drawing/2014/chart" uri="{C3380CC4-5D6E-409C-BE32-E72D297353CC}">
                <c16:uniqueId val="{00000649-63DE-4091-B8DA-DB57396774D4}"/>
              </c:ext>
            </c:extLst>
          </c:dPt>
          <c:dPt>
            <c:idx val="804"/>
            <c:invertIfNegative val="1"/>
            <c:bubble3D val="0"/>
            <c:spPr>
              <a:solidFill>
                <a:srgbClr val="AEABAB"/>
              </a:solidFill>
            </c:spPr>
            <c:extLst>
              <c:ext xmlns:c16="http://schemas.microsoft.com/office/drawing/2014/chart" uri="{C3380CC4-5D6E-409C-BE32-E72D297353CC}">
                <c16:uniqueId val="{0000064B-63DE-4091-B8DA-DB57396774D4}"/>
              </c:ext>
            </c:extLst>
          </c:dPt>
          <c:dPt>
            <c:idx val="805"/>
            <c:invertIfNegative val="1"/>
            <c:bubble3D val="0"/>
            <c:spPr>
              <a:solidFill>
                <a:srgbClr val="AEABAB"/>
              </a:solidFill>
            </c:spPr>
            <c:extLst>
              <c:ext xmlns:c16="http://schemas.microsoft.com/office/drawing/2014/chart" uri="{C3380CC4-5D6E-409C-BE32-E72D297353CC}">
                <c16:uniqueId val="{0000064D-63DE-4091-B8DA-DB57396774D4}"/>
              </c:ext>
            </c:extLst>
          </c:dPt>
          <c:dPt>
            <c:idx val="806"/>
            <c:invertIfNegative val="1"/>
            <c:bubble3D val="0"/>
            <c:spPr>
              <a:solidFill>
                <a:srgbClr val="AEABAB"/>
              </a:solidFill>
            </c:spPr>
            <c:extLst>
              <c:ext xmlns:c16="http://schemas.microsoft.com/office/drawing/2014/chart" uri="{C3380CC4-5D6E-409C-BE32-E72D297353CC}">
                <c16:uniqueId val="{0000064F-63DE-4091-B8DA-DB57396774D4}"/>
              </c:ext>
            </c:extLst>
          </c:dPt>
          <c:dPt>
            <c:idx val="807"/>
            <c:invertIfNegative val="1"/>
            <c:bubble3D val="0"/>
            <c:spPr>
              <a:solidFill>
                <a:srgbClr val="AEABAB"/>
              </a:solidFill>
            </c:spPr>
            <c:extLst>
              <c:ext xmlns:c16="http://schemas.microsoft.com/office/drawing/2014/chart" uri="{C3380CC4-5D6E-409C-BE32-E72D297353CC}">
                <c16:uniqueId val="{00000651-63DE-4091-B8DA-DB57396774D4}"/>
              </c:ext>
            </c:extLst>
          </c:dPt>
          <c:dPt>
            <c:idx val="808"/>
            <c:invertIfNegative val="1"/>
            <c:bubble3D val="0"/>
            <c:spPr>
              <a:solidFill>
                <a:srgbClr val="AEABAB"/>
              </a:solidFill>
            </c:spPr>
            <c:extLst>
              <c:ext xmlns:c16="http://schemas.microsoft.com/office/drawing/2014/chart" uri="{C3380CC4-5D6E-409C-BE32-E72D297353CC}">
                <c16:uniqueId val="{00000653-63DE-4091-B8DA-DB57396774D4}"/>
              </c:ext>
            </c:extLst>
          </c:dPt>
          <c:dPt>
            <c:idx val="809"/>
            <c:invertIfNegative val="1"/>
            <c:bubble3D val="0"/>
            <c:spPr>
              <a:solidFill>
                <a:srgbClr val="AEABAB"/>
              </a:solidFill>
            </c:spPr>
            <c:extLst>
              <c:ext xmlns:c16="http://schemas.microsoft.com/office/drawing/2014/chart" uri="{C3380CC4-5D6E-409C-BE32-E72D297353CC}">
                <c16:uniqueId val="{00000655-63DE-4091-B8DA-DB57396774D4}"/>
              </c:ext>
            </c:extLst>
          </c:dPt>
          <c:dPt>
            <c:idx val="810"/>
            <c:invertIfNegative val="1"/>
            <c:bubble3D val="0"/>
            <c:spPr>
              <a:solidFill>
                <a:srgbClr val="AEABAB"/>
              </a:solidFill>
            </c:spPr>
            <c:extLst>
              <c:ext xmlns:c16="http://schemas.microsoft.com/office/drawing/2014/chart" uri="{C3380CC4-5D6E-409C-BE32-E72D297353CC}">
                <c16:uniqueId val="{00000657-63DE-4091-B8DA-DB57396774D4}"/>
              </c:ext>
            </c:extLst>
          </c:dPt>
          <c:dPt>
            <c:idx val="811"/>
            <c:invertIfNegative val="1"/>
            <c:bubble3D val="0"/>
            <c:spPr>
              <a:solidFill>
                <a:srgbClr val="AEABAB"/>
              </a:solidFill>
            </c:spPr>
            <c:extLst>
              <c:ext xmlns:c16="http://schemas.microsoft.com/office/drawing/2014/chart" uri="{C3380CC4-5D6E-409C-BE32-E72D297353CC}">
                <c16:uniqueId val="{00000659-63DE-4091-B8DA-DB57396774D4}"/>
              </c:ext>
            </c:extLst>
          </c:dPt>
          <c:dPt>
            <c:idx val="812"/>
            <c:invertIfNegative val="1"/>
            <c:bubble3D val="0"/>
            <c:spPr>
              <a:solidFill>
                <a:srgbClr val="AEABAB"/>
              </a:solidFill>
            </c:spPr>
            <c:extLst>
              <c:ext xmlns:c16="http://schemas.microsoft.com/office/drawing/2014/chart" uri="{C3380CC4-5D6E-409C-BE32-E72D297353CC}">
                <c16:uniqueId val="{0000065B-63DE-4091-B8DA-DB57396774D4}"/>
              </c:ext>
            </c:extLst>
          </c:dPt>
          <c:dPt>
            <c:idx val="813"/>
            <c:invertIfNegative val="1"/>
            <c:bubble3D val="0"/>
            <c:spPr>
              <a:solidFill>
                <a:srgbClr val="AEABAB"/>
              </a:solidFill>
            </c:spPr>
            <c:extLst>
              <c:ext xmlns:c16="http://schemas.microsoft.com/office/drawing/2014/chart" uri="{C3380CC4-5D6E-409C-BE32-E72D297353CC}">
                <c16:uniqueId val="{0000065D-63DE-4091-B8DA-DB57396774D4}"/>
              </c:ext>
            </c:extLst>
          </c:dPt>
          <c:dPt>
            <c:idx val="814"/>
            <c:invertIfNegative val="1"/>
            <c:bubble3D val="0"/>
            <c:spPr>
              <a:solidFill>
                <a:srgbClr val="AEABAB"/>
              </a:solidFill>
            </c:spPr>
            <c:extLst>
              <c:ext xmlns:c16="http://schemas.microsoft.com/office/drawing/2014/chart" uri="{C3380CC4-5D6E-409C-BE32-E72D297353CC}">
                <c16:uniqueId val="{0000065F-63DE-4091-B8DA-DB57396774D4}"/>
              </c:ext>
            </c:extLst>
          </c:dPt>
          <c:dPt>
            <c:idx val="815"/>
            <c:invertIfNegative val="1"/>
            <c:bubble3D val="0"/>
            <c:spPr>
              <a:solidFill>
                <a:srgbClr val="AEABAB"/>
              </a:solidFill>
            </c:spPr>
            <c:extLst>
              <c:ext xmlns:c16="http://schemas.microsoft.com/office/drawing/2014/chart" uri="{C3380CC4-5D6E-409C-BE32-E72D297353CC}">
                <c16:uniqueId val="{00000661-63DE-4091-B8DA-DB57396774D4}"/>
              </c:ext>
            </c:extLst>
          </c:dPt>
          <c:dPt>
            <c:idx val="816"/>
            <c:invertIfNegative val="1"/>
            <c:bubble3D val="0"/>
            <c:spPr>
              <a:solidFill>
                <a:srgbClr val="AEABAB"/>
              </a:solidFill>
            </c:spPr>
            <c:extLst>
              <c:ext xmlns:c16="http://schemas.microsoft.com/office/drawing/2014/chart" uri="{C3380CC4-5D6E-409C-BE32-E72D297353CC}">
                <c16:uniqueId val="{00000663-63DE-4091-B8DA-DB57396774D4}"/>
              </c:ext>
            </c:extLst>
          </c:dPt>
          <c:dPt>
            <c:idx val="817"/>
            <c:invertIfNegative val="1"/>
            <c:bubble3D val="0"/>
            <c:spPr>
              <a:solidFill>
                <a:srgbClr val="AEABAB"/>
              </a:solidFill>
            </c:spPr>
            <c:extLst>
              <c:ext xmlns:c16="http://schemas.microsoft.com/office/drawing/2014/chart" uri="{C3380CC4-5D6E-409C-BE32-E72D297353CC}">
                <c16:uniqueId val="{00000665-63DE-4091-B8DA-DB57396774D4}"/>
              </c:ext>
            </c:extLst>
          </c:dPt>
          <c:dPt>
            <c:idx val="818"/>
            <c:invertIfNegative val="1"/>
            <c:bubble3D val="0"/>
            <c:spPr>
              <a:solidFill>
                <a:srgbClr val="AEABAB"/>
              </a:solidFill>
            </c:spPr>
            <c:extLst>
              <c:ext xmlns:c16="http://schemas.microsoft.com/office/drawing/2014/chart" uri="{C3380CC4-5D6E-409C-BE32-E72D297353CC}">
                <c16:uniqueId val="{00000667-63DE-4091-B8DA-DB57396774D4}"/>
              </c:ext>
            </c:extLst>
          </c:dPt>
          <c:dPt>
            <c:idx val="819"/>
            <c:invertIfNegative val="1"/>
            <c:bubble3D val="0"/>
            <c:spPr>
              <a:solidFill>
                <a:srgbClr val="AEABAB"/>
              </a:solidFill>
            </c:spPr>
            <c:extLst>
              <c:ext xmlns:c16="http://schemas.microsoft.com/office/drawing/2014/chart" uri="{C3380CC4-5D6E-409C-BE32-E72D297353CC}">
                <c16:uniqueId val="{00000669-63DE-4091-B8DA-DB57396774D4}"/>
              </c:ext>
            </c:extLst>
          </c:dPt>
          <c:dPt>
            <c:idx val="820"/>
            <c:invertIfNegative val="1"/>
            <c:bubble3D val="0"/>
            <c:spPr>
              <a:solidFill>
                <a:srgbClr val="AEABAB"/>
              </a:solidFill>
            </c:spPr>
            <c:extLst>
              <c:ext xmlns:c16="http://schemas.microsoft.com/office/drawing/2014/chart" uri="{C3380CC4-5D6E-409C-BE32-E72D297353CC}">
                <c16:uniqueId val="{0000066B-63DE-4091-B8DA-DB57396774D4}"/>
              </c:ext>
            </c:extLst>
          </c:dPt>
          <c:dPt>
            <c:idx val="821"/>
            <c:invertIfNegative val="1"/>
            <c:bubble3D val="0"/>
            <c:spPr>
              <a:solidFill>
                <a:srgbClr val="AEABAB"/>
              </a:solidFill>
            </c:spPr>
            <c:extLst>
              <c:ext xmlns:c16="http://schemas.microsoft.com/office/drawing/2014/chart" uri="{C3380CC4-5D6E-409C-BE32-E72D297353CC}">
                <c16:uniqueId val="{0000066D-63DE-4091-B8DA-DB57396774D4}"/>
              </c:ext>
            </c:extLst>
          </c:dPt>
          <c:dPt>
            <c:idx val="822"/>
            <c:invertIfNegative val="1"/>
            <c:bubble3D val="0"/>
            <c:spPr>
              <a:solidFill>
                <a:srgbClr val="AEABAB"/>
              </a:solidFill>
            </c:spPr>
            <c:extLst>
              <c:ext xmlns:c16="http://schemas.microsoft.com/office/drawing/2014/chart" uri="{C3380CC4-5D6E-409C-BE32-E72D297353CC}">
                <c16:uniqueId val="{0000066F-63DE-4091-B8DA-DB57396774D4}"/>
              </c:ext>
            </c:extLst>
          </c:dPt>
          <c:dPt>
            <c:idx val="823"/>
            <c:invertIfNegative val="1"/>
            <c:bubble3D val="0"/>
            <c:spPr>
              <a:solidFill>
                <a:srgbClr val="AEABAB"/>
              </a:solidFill>
            </c:spPr>
            <c:extLst>
              <c:ext xmlns:c16="http://schemas.microsoft.com/office/drawing/2014/chart" uri="{C3380CC4-5D6E-409C-BE32-E72D297353CC}">
                <c16:uniqueId val="{00000671-63DE-4091-B8DA-DB57396774D4}"/>
              </c:ext>
            </c:extLst>
          </c:dPt>
          <c:dPt>
            <c:idx val="824"/>
            <c:invertIfNegative val="1"/>
            <c:bubble3D val="0"/>
            <c:spPr>
              <a:solidFill>
                <a:srgbClr val="AEABAB"/>
              </a:solidFill>
            </c:spPr>
            <c:extLst>
              <c:ext xmlns:c16="http://schemas.microsoft.com/office/drawing/2014/chart" uri="{C3380CC4-5D6E-409C-BE32-E72D297353CC}">
                <c16:uniqueId val="{00000673-63DE-4091-B8DA-DB57396774D4}"/>
              </c:ext>
            </c:extLst>
          </c:dPt>
          <c:dPt>
            <c:idx val="825"/>
            <c:invertIfNegative val="1"/>
            <c:bubble3D val="0"/>
            <c:spPr>
              <a:solidFill>
                <a:srgbClr val="AEABAB"/>
              </a:solidFill>
            </c:spPr>
            <c:extLst>
              <c:ext xmlns:c16="http://schemas.microsoft.com/office/drawing/2014/chart" uri="{C3380CC4-5D6E-409C-BE32-E72D297353CC}">
                <c16:uniqueId val="{00000675-63DE-4091-B8DA-DB57396774D4}"/>
              </c:ext>
            </c:extLst>
          </c:dPt>
          <c:dPt>
            <c:idx val="826"/>
            <c:invertIfNegative val="1"/>
            <c:bubble3D val="0"/>
            <c:spPr>
              <a:solidFill>
                <a:srgbClr val="AEABAB"/>
              </a:solidFill>
            </c:spPr>
            <c:extLst>
              <c:ext xmlns:c16="http://schemas.microsoft.com/office/drawing/2014/chart" uri="{C3380CC4-5D6E-409C-BE32-E72D297353CC}">
                <c16:uniqueId val="{00000677-63DE-4091-B8DA-DB57396774D4}"/>
              </c:ext>
            </c:extLst>
          </c:dPt>
          <c:dPt>
            <c:idx val="827"/>
            <c:invertIfNegative val="1"/>
            <c:bubble3D val="0"/>
            <c:spPr>
              <a:solidFill>
                <a:srgbClr val="AEABAB"/>
              </a:solidFill>
            </c:spPr>
            <c:extLst>
              <c:ext xmlns:c16="http://schemas.microsoft.com/office/drawing/2014/chart" uri="{C3380CC4-5D6E-409C-BE32-E72D297353CC}">
                <c16:uniqueId val="{00000679-63DE-4091-B8DA-DB57396774D4}"/>
              </c:ext>
            </c:extLst>
          </c:dPt>
          <c:dPt>
            <c:idx val="828"/>
            <c:invertIfNegative val="1"/>
            <c:bubble3D val="0"/>
            <c:spPr>
              <a:solidFill>
                <a:srgbClr val="AEABAB"/>
              </a:solidFill>
            </c:spPr>
            <c:extLst>
              <c:ext xmlns:c16="http://schemas.microsoft.com/office/drawing/2014/chart" uri="{C3380CC4-5D6E-409C-BE32-E72D297353CC}">
                <c16:uniqueId val="{0000067B-63DE-4091-B8DA-DB57396774D4}"/>
              </c:ext>
            </c:extLst>
          </c:dPt>
          <c:dPt>
            <c:idx val="829"/>
            <c:invertIfNegative val="1"/>
            <c:bubble3D val="0"/>
            <c:spPr>
              <a:solidFill>
                <a:srgbClr val="AEABAB"/>
              </a:solidFill>
            </c:spPr>
            <c:extLst>
              <c:ext xmlns:c16="http://schemas.microsoft.com/office/drawing/2014/chart" uri="{C3380CC4-5D6E-409C-BE32-E72D297353CC}">
                <c16:uniqueId val="{0000067D-63DE-4091-B8DA-DB57396774D4}"/>
              </c:ext>
            </c:extLst>
          </c:dPt>
          <c:dPt>
            <c:idx val="830"/>
            <c:invertIfNegative val="1"/>
            <c:bubble3D val="0"/>
            <c:spPr>
              <a:solidFill>
                <a:srgbClr val="AEABAB"/>
              </a:solidFill>
            </c:spPr>
            <c:extLst>
              <c:ext xmlns:c16="http://schemas.microsoft.com/office/drawing/2014/chart" uri="{C3380CC4-5D6E-409C-BE32-E72D297353CC}">
                <c16:uniqueId val="{0000067F-63DE-4091-B8DA-DB57396774D4}"/>
              </c:ext>
            </c:extLst>
          </c:dPt>
          <c:dPt>
            <c:idx val="831"/>
            <c:invertIfNegative val="1"/>
            <c:bubble3D val="0"/>
            <c:spPr>
              <a:solidFill>
                <a:srgbClr val="AEABAB"/>
              </a:solidFill>
            </c:spPr>
            <c:extLst>
              <c:ext xmlns:c16="http://schemas.microsoft.com/office/drawing/2014/chart" uri="{C3380CC4-5D6E-409C-BE32-E72D297353CC}">
                <c16:uniqueId val="{00000681-63DE-4091-B8DA-DB57396774D4}"/>
              </c:ext>
            </c:extLst>
          </c:dPt>
          <c:dPt>
            <c:idx val="832"/>
            <c:invertIfNegative val="1"/>
            <c:bubble3D val="0"/>
            <c:spPr>
              <a:solidFill>
                <a:srgbClr val="AEABAB"/>
              </a:solidFill>
            </c:spPr>
            <c:extLst>
              <c:ext xmlns:c16="http://schemas.microsoft.com/office/drawing/2014/chart" uri="{C3380CC4-5D6E-409C-BE32-E72D297353CC}">
                <c16:uniqueId val="{00000683-63DE-4091-B8DA-DB57396774D4}"/>
              </c:ext>
            </c:extLst>
          </c:dPt>
          <c:dPt>
            <c:idx val="833"/>
            <c:invertIfNegative val="1"/>
            <c:bubble3D val="0"/>
            <c:spPr>
              <a:solidFill>
                <a:srgbClr val="AEABAB"/>
              </a:solidFill>
            </c:spPr>
            <c:extLst>
              <c:ext xmlns:c16="http://schemas.microsoft.com/office/drawing/2014/chart" uri="{C3380CC4-5D6E-409C-BE32-E72D297353CC}">
                <c16:uniqueId val="{00000685-63DE-4091-B8DA-DB57396774D4}"/>
              </c:ext>
            </c:extLst>
          </c:dPt>
          <c:dPt>
            <c:idx val="834"/>
            <c:invertIfNegative val="1"/>
            <c:bubble3D val="0"/>
            <c:spPr>
              <a:solidFill>
                <a:srgbClr val="AEABAB"/>
              </a:solidFill>
            </c:spPr>
            <c:extLst>
              <c:ext xmlns:c16="http://schemas.microsoft.com/office/drawing/2014/chart" uri="{C3380CC4-5D6E-409C-BE32-E72D297353CC}">
                <c16:uniqueId val="{00000687-63DE-4091-B8DA-DB57396774D4}"/>
              </c:ext>
            </c:extLst>
          </c:dPt>
          <c:dPt>
            <c:idx val="835"/>
            <c:invertIfNegative val="1"/>
            <c:bubble3D val="0"/>
            <c:spPr>
              <a:solidFill>
                <a:srgbClr val="AEABAB"/>
              </a:solidFill>
            </c:spPr>
            <c:extLst>
              <c:ext xmlns:c16="http://schemas.microsoft.com/office/drawing/2014/chart" uri="{C3380CC4-5D6E-409C-BE32-E72D297353CC}">
                <c16:uniqueId val="{00000689-63DE-4091-B8DA-DB57396774D4}"/>
              </c:ext>
            </c:extLst>
          </c:dPt>
          <c:dPt>
            <c:idx val="836"/>
            <c:invertIfNegative val="1"/>
            <c:bubble3D val="0"/>
            <c:spPr>
              <a:solidFill>
                <a:srgbClr val="AEABAB"/>
              </a:solidFill>
            </c:spPr>
            <c:extLst>
              <c:ext xmlns:c16="http://schemas.microsoft.com/office/drawing/2014/chart" uri="{C3380CC4-5D6E-409C-BE32-E72D297353CC}">
                <c16:uniqueId val="{0000068B-63DE-4091-B8DA-DB57396774D4}"/>
              </c:ext>
            </c:extLst>
          </c:dPt>
          <c:dPt>
            <c:idx val="837"/>
            <c:invertIfNegative val="1"/>
            <c:bubble3D val="0"/>
            <c:spPr>
              <a:solidFill>
                <a:srgbClr val="AEABAB"/>
              </a:solidFill>
            </c:spPr>
            <c:extLst>
              <c:ext xmlns:c16="http://schemas.microsoft.com/office/drawing/2014/chart" uri="{C3380CC4-5D6E-409C-BE32-E72D297353CC}">
                <c16:uniqueId val="{0000068D-63DE-4091-B8DA-DB57396774D4}"/>
              </c:ext>
            </c:extLst>
          </c:dPt>
          <c:dPt>
            <c:idx val="838"/>
            <c:invertIfNegative val="1"/>
            <c:bubble3D val="0"/>
            <c:spPr>
              <a:solidFill>
                <a:srgbClr val="AEABAB"/>
              </a:solidFill>
            </c:spPr>
            <c:extLst>
              <c:ext xmlns:c16="http://schemas.microsoft.com/office/drawing/2014/chart" uri="{C3380CC4-5D6E-409C-BE32-E72D297353CC}">
                <c16:uniqueId val="{0000068F-63DE-4091-B8DA-DB57396774D4}"/>
              </c:ext>
            </c:extLst>
          </c:dPt>
          <c:dPt>
            <c:idx val="839"/>
            <c:invertIfNegative val="1"/>
            <c:bubble3D val="0"/>
            <c:spPr>
              <a:solidFill>
                <a:srgbClr val="AEABAB"/>
              </a:solidFill>
            </c:spPr>
            <c:extLst>
              <c:ext xmlns:c16="http://schemas.microsoft.com/office/drawing/2014/chart" uri="{C3380CC4-5D6E-409C-BE32-E72D297353CC}">
                <c16:uniqueId val="{00000691-63DE-4091-B8DA-DB57396774D4}"/>
              </c:ext>
            </c:extLst>
          </c:dPt>
          <c:dPt>
            <c:idx val="840"/>
            <c:invertIfNegative val="1"/>
            <c:bubble3D val="0"/>
            <c:spPr>
              <a:solidFill>
                <a:srgbClr val="AEABAB"/>
              </a:solidFill>
            </c:spPr>
            <c:extLst>
              <c:ext xmlns:c16="http://schemas.microsoft.com/office/drawing/2014/chart" uri="{C3380CC4-5D6E-409C-BE32-E72D297353CC}">
                <c16:uniqueId val="{00000693-63DE-4091-B8DA-DB57396774D4}"/>
              </c:ext>
            </c:extLst>
          </c:dPt>
          <c:dPt>
            <c:idx val="841"/>
            <c:invertIfNegative val="1"/>
            <c:bubble3D val="0"/>
            <c:spPr>
              <a:solidFill>
                <a:srgbClr val="AEABAB"/>
              </a:solidFill>
            </c:spPr>
            <c:extLst>
              <c:ext xmlns:c16="http://schemas.microsoft.com/office/drawing/2014/chart" uri="{C3380CC4-5D6E-409C-BE32-E72D297353CC}">
                <c16:uniqueId val="{00000695-63DE-4091-B8DA-DB57396774D4}"/>
              </c:ext>
            </c:extLst>
          </c:dPt>
          <c:dPt>
            <c:idx val="842"/>
            <c:invertIfNegative val="1"/>
            <c:bubble3D val="0"/>
            <c:spPr>
              <a:solidFill>
                <a:srgbClr val="AEABAB"/>
              </a:solidFill>
            </c:spPr>
            <c:extLst>
              <c:ext xmlns:c16="http://schemas.microsoft.com/office/drawing/2014/chart" uri="{C3380CC4-5D6E-409C-BE32-E72D297353CC}">
                <c16:uniqueId val="{00000697-63DE-4091-B8DA-DB57396774D4}"/>
              </c:ext>
            </c:extLst>
          </c:dPt>
          <c:dPt>
            <c:idx val="843"/>
            <c:invertIfNegative val="1"/>
            <c:bubble3D val="0"/>
            <c:spPr>
              <a:solidFill>
                <a:srgbClr val="AEABAB"/>
              </a:solidFill>
            </c:spPr>
            <c:extLst>
              <c:ext xmlns:c16="http://schemas.microsoft.com/office/drawing/2014/chart" uri="{C3380CC4-5D6E-409C-BE32-E72D297353CC}">
                <c16:uniqueId val="{00000699-63DE-4091-B8DA-DB57396774D4}"/>
              </c:ext>
            </c:extLst>
          </c:dPt>
          <c:dPt>
            <c:idx val="844"/>
            <c:invertIfNegative val="1"/>
            <c:bubble3D val="0"/>
            <c:spPr>
              <a:solidFill>
                <a:srgbClr val="AEABAB"/>
              </a:solidFill>
            </c:spPr>
            <c:extLst>
              <c:ext xmlns:c16="http://schemas.microsoft.com/office/drawing/2014/chart" uri="{C3380CC4-5D6E-409C-BE32-E72D297353CC}">
                <c16:uniqueId val="{0000069B-63DE-4091-B8DA-DB57396774D4}"/>
              </c:ext>
            </c:extLst>
          </c:dPt>
          <c:dPt>
            <c:idx val="845"/>
            <c:invertIfNegative val="1"/>
            <c:bubble3D val="0"/>
            <c:spPr>
              <a:solidFill>
                <a:srgbClr val="AEABAB"/>
              </a:solidFill>
            </c:spPr>
            <c:extLst>
              <c:ext xmlns:c16="http://schemas.microsoft.com/office/drawing/2014/chart" uri="{C3380CC4-5D6E-409C-BE32-E72D297353CC}">
                <c16:uniqueId val="{0000069D-63DE-4091-B8DA-DB57396774D4}"/>
              </c:ext>
            </c:extLst>
          </c:dPt>
          <c:dPt>
            <c:idx val="846"/>
            <c:invertIfNegative val="1"/>
            <c:bubble3D val="0"/>
            <c:spPr>
              <a:solidFill>
                <a:srgbClr val="AEABAB"/>
              </a:solidFill>
            </c:spPr>
            <c:extLst>
              <c:ext xmlns:c16="http://schemas.microsoft.com/office/drawing/2014/chart" uri="{C3380CC4-5D6E-409C-BE32-E72D297353CC}">
                <c16:uniqueId val="{0000069F-63DE-4091-B8DA-DB57396774D4}"/>
              </c:ext>
            </c:extLst>
          </c:dPt>
          <c:dPt>
            <c:idx val="847"/>
            <c:invertIfNegative val="1"/>
            <c:bubble3D val="0"/>
            <c:spPr>
              <a:solidFill>
                <a:srgbClr val="AEABAB"/>
              </a:solidFill>
            </c:spPr>
            <c:extLst>
              <c:ext xmlns:c16="http://schemas.microsoft.com/office/drawing/2014/chart" uri="{C3380CC4-5D6E-409C-BE32-E72D297353CC}">
                <c16:uniqueId val="{000006A1-63DE-4091-B8DA-DB57396774D4}"/>
              </c:ext>
            </c:extLst>
          </c:dPt>
          <c:dPt>
            <c:idx val="848"/>
            <c:invertIfNegative val="1"/>
            <c:bubble3D val="0"/>
            <c:spPr>
              <a:solidFill>
                <a:srgbClr val="AEABAB"/>
              </a:solidFill>
            </c:spPr>
            <c:extLst>
              <c:ext xmlns:c16="http://schemas.microsoft.com/office/drawing/2014/chart" uri="{C3380CC4-5D6E-409C-BE32-E72D297353CC}">
                <c16:uniqueId val="{000006A3-63DE-4091-B8DA-DB57396774D4}"/>
              </c:ext>
            </c:extLst>
          </c:dPt>
          <c:dPt>
            <c:idx val="849"/>
            <c:invertIfNegative val="1"/>
            <c:bubble3D val="0"/>
            <c:spPr>
              <a:solidFill>
                <a:srgbClr val="AEABAB"/>
              </a:solidFill>
            </c:spPr>
            <c:extLst>
              <c:ext xmlns:c16="http://schemas.microsoft.com/office/drawing/2014/chart" uri="{C3380CC4-5D6E-409C-BE32-E72D297353CC}">
                <c16:uniqueId val="{000006A5-63DE-4091-B8DA-DB57396774D4}"/>
              </c:ext>
            </c:extLst>
          </c:dPt>
          <c:dPt>
            <c:idx val="850"/>
            <c:invertIfNegative val="1"/>
            <c:bubble3D val="0"/>
            <c:spPr>
              <a:solidFill>
                <a:srgbClr val="AEABAB"/>
              </a:solidFill>
            </c:spPr>
            <c:extLst>
              <c:ext xmlns:c16="http://schemas.microsoft.com/office/drawing/2014/chart" uri="{C3380CC4-5D6E-409C-BE32-E72D297353CC}">
                <c16:uniqueId val="{000006A7-63DE-4091-B8DA-DB57396774D4}"/>
              </c:ext>
            </c:extLst>
          </c:dPt>
          <c:dPt>
            <c:idx val="851"/>
            <c:invertIfNegative val="1"/>
            <c:bubble3D val="0"/>
            <c:spPr>
              <a:solidFill>
                <a:srgbClr val="AEABAB"/>
              </a:solidFill>
            </c:spPr>
            <c:extLst>
              <c:ext xmlns:c16="http://schemas.microsoft.com/office/drawing/2014/chart" uri="{C3380CC4-5D6E-409C-BE32-E72D297353CC}">
                <c16:uniqueId val="{000006A9-63DE-4091-B8DA-DB57396774D4}"/>
              </c:ext>
            </c:extLst>
          </c:dPt>
          <c:dPt>
            <c:idx val="852"/>
            <c:invertIfNegative val="1"/>
            <c:bubble3D val="0"/>
            <c:spPr>
              <a:solidFill>
                <a:srgbClr val="AEABAB"/>
              </a:solidFill>
            </c:spPr>
            <c:extLst>
              <c:ext xmlns:c16="http://schemas.microsoft.com/office/drawing/2014/chart" uri="{C3380CC4-5D6E-409C-BE32-E72D297353CC}">
                <c16:uniqueId val="{000006AB-63DE-4091-B8DA-DB57396774D4}"/>
              </c:ext>
            </c:extLst>
          </c:dPt>
          <c:dPt>
            <c:idx val="853"/>
            <c:invertIfNegative val="1"/>
            <c:bubble3D val="0"/>
            <c:spPr>
              <a:solidFill>
                <a:srgbClr val="AEABAB"/>
              </a:solidFill>
            </c:spPr>
            <c:extLst>
              <c:ext xmlns:c16="http://schemas.microsoft.com/office/drawing/2014/chart" uri="{C3380CC4-5D6E-409C-BE32-E72D297353CC}">
                <c16:uniqueId val="{000006AD-63DE-4091-B8DA-DB57396774D4}"/>
              </c:ext>
            </c:extLst>
          </c:dPt>
          <c:dPt>
            <c:idx val="854"/>
            <c:invertIfNegative val="1"/>
            <c:bubble3D val="0"/>
            <c:spPr>
              <a:solidFill>
                <a:srgbClr val="AEABAB"/>
              </a:solidFill>
            </c:spPr>
            <c:extLst>
              <c:ext xmlns:c16="http://schemas.microsoft.com/office/drawing/2014/chart" uri="{C3380CC4-5D6E-409C-BE32-E72D297353CC}">
                <c16:uniqueId val="{000006AF-63DE-4091-B8DA-DB57396774D4}"/>
              </c:ext>
            </c:extLst>
          </c:dPt>
          <c:dPt>
            <c:idx val="855"/>
            <c:invertIfNegative val="1"/>
            <c:bubble3D val="0"/>
            <c:spPr>
              <a:solidFill>
                <a:srgbClr val="AEABAB"/>
              </a:solidFill>
            </c:spPr>
            <c:extLst>
              <c:ext xmlns:c16="http://schemas.microsoft.com/office/drawing/2014/chart" uri="{C3380CC4-5D6E-409C-BE32-E72D297353CC}">
                <c16:uniqueId val="{000006B1-63DE-4091-B8DA-DB57396774D4}"/>
              </c:ext>
            </c:extLst>
          </c:dPt>
          <c:dPt>
            <c:idx val="856"/>
            <c:invertIfNegative val="1"/>
            <c:bubble3D val="0"/>
            <c:spPr>
              <a:solidFill>
                <a:srgbClr val="AEABAB"/>
              </a:solidFill>
            </c:spPr>
            <c:extLst>
              <c:ext xmlns:c16="http://schemas.microsoft.com/office/drawing/2014/chart" uri="{C3380CC4-5D6E-409C-BE32-E72D297353CC}">
                <c16:uniqueId val="{000006B3-63DE-4091-B8DA-DB57396774D4}"/>
              </c:ext>
            </c:extLst>
          </c:dPt>
          <c:dPt>
            <c:idx val="857"/>
            <c:invertIfNegative val="1"/>
            <c:bubble3D val="0"/>
            <c:spPr>
              <a:solidFill>
                <a:srgbClr val="AEABAB"/>
              </a:solidFill>
            </c:spPr>
            <c:extLst>
              <c:ext xmlns:c16="http://schemas.microsoft.com/office/drawing/2014/chart" uri="{C3380CC4-5D6E-409C-BE32-E72D297353CC}">
                <c16:uniqueId val="{000006B5-63DE-4091-B8DA-DB57396774D4}"/>
              </c:ext>
            </c:extLst>
          </c:dPt>
          <c:dPt>
            <c:idx val="858"/>
            <c:invertIfNegative val="1"/>
            <c:bubble3D val="0"/>
            <c:spPr>
              <a:solidFill>
                <a:srgbClr val="AEABAB"/>
              </a:solidFill>
            </c:spPr>
            <c:extLst>
              <c:ext xmlns:c16="http://schemas.microsoft.com/office/drawing/2014/chart" uri="{C3380CC4-5D6E-409C-BE32-E72D297353CC}">
                <c16:uniqueId val="{000006B7-63DE-4091-B8DA-DB57396774D4}"/>
              </c:ext>
            </c:extLst>
          </c:dPt>
          <c:dPt>
            <c:idx val="859"/>
            <c:invertIfNegative val="1"/>
            <c:bubble3D val="0"/>
            <c:spPr>
              <a:solidFill>
                <a:srgbClr val="AEABAB"/>
              </a:solidFill>
            </c:spPr>
            <c:extLst>
              <c:ext xmlns:c16="http://schemas.microsoft.com/office/drawing/2014/chart" uri="{C3380CC4-5D6E-409C-BE32-E72D297353CC}">
                <c16:uniqueId val="{000006B9-63DE-4091-B8DA-DB57396774D4}"/>
              </c:ext>
            </c:extLst>
          </c:dPt>
          <c:dPt>
            <c:idx val="860"/>
            <c:invertIfNegative val="1"/>
            <c:bubble3D val="0"/>
            <c:spPr>
              <a:solidFill>
                <a:srgbClr val="AEABAB"/>
              </a:solidFill>
            </c:spPr>
            <c:extLst>
              <c:ext xmlns:c16="http://schemas.microsoft.com/office/drawing/2014/chart" uri="{C3380CC4-5D6E-409C-BE32-E72D297353CC}">
                <c16:uniqueId val="{000006BB-63DE-4091-B8DA-DB57396774D4}"/>
              </c:ext>
            </c:extLst>
          </c:dPt>
          <c:dPt>
            <c:idx val="861"/>
            <c:invertIfNegative val="1"/>
            <c:bubble3D val="0"/>
            <c:spPr>
              <a:solidFill>
                <a:srgbClr val="AEABAB"/>
              </a:solidFill>
            </c:spPr>
            <c:extLst>
              <c:ext xmlns:c16="http://schemas.microsoft.com/office/drawing/2014/chart" uri="{C3380CC4-5D6E-409C-BE32-E72D297353CC}">
                <c16:uniqueId val="{000006BD-63DE-4091-B8DA-DB57396774D4}"/>
              </c:ext>
            </c:extLst>
          </c:dPt>
          <c:dPt>
            <c:idx val="862"/>
            <c:invertIfNegative val="1"/>
            <c:bubble3D val="0"/>
            <c:spPr>
              <a:solidFill>
                <a:srgbClr val="AEABAB"/>
              </a:solidFill>
            </c:spPr>
            <c:extLst>
              <c:ext xmlns:c16="http://schemas.microsoft.com/office/drawing/2014/chart" uri="{C3380CC4-5D6E-409C-BE32-E72D297353CC}">
                <c16:uniqueId val="{000006BF-63DE-4091-B8DA-DB57396774D4}"/>
              </c:ext>
            </c:extLst>
          </c:dPt>
          <c:dPt>
            <c:idx val="863"/>
            <c:invertIfNegative val="1"/>
            <c:bubble3D val="0"/>
            <c:spPr>
              <a:solidFill>
                <a:srgbClr val="AEABAB"/>
              </a:solidFill>
            </c:spPr>
            <c:extLst>
              <c:ext xmlns:c16="http://schemas.microsoft.com/office/drawing/2014/chart" uri="{C3380CC4-5D6E-409C-BE32-E72D297353CC}">
                <c16:uniqueId val="{000006C1-63DE-4091-B8DA-DB57396774D4}"/>
              </c:ext>
            </c:extLst>
          </c:dPt>
          <c:dPt>
            <c:idx val="864"/>
            <c:invertIfNegative val="1"/>
            <c:bubble3D val="0"/>
            <c:spPr>
              <a:solidFill>
                <a:srgbClr val="AEABAB"/>
              </a:solidFill>
            </c:spPr>
            <c:extLst>
              <c:ext xmlns:c16="http://schemas.microsoft.com/office/drawing/2014/chart" uri="{C3380CC4-5D6E-409C-BE32-E72D297353CC}">
                <c16:uniqueId val="{000006C3-63DE-4091-B8DA-DB57396774D4}"/>
              </c:ext>
            </c:extLst>
          </c:dPt>
          <c:dPt>
            <c:idx val="865"/>
            <c:invertIfNegative val="1"/>
            <c:bubble3D val="0"/>
            <c:spPr>
              <a:solidFill>
                <a:srgbClr val="AEABAB"/>
              </a:solidFill>
            </c:spPr>
            <c:extLst>
              <c:ext xmlns:c16="http://schemas.microsoft.com/office/drawing/2014/chart" uri="{C3380CC4-5D6E-409C-BE32-E72D297353CC}">
                <c16:uniqueId val="{000006C5-63DE-4091-B8DA-DB57396774D4}"/>
              </c:ext>
            </c:extLst>
          </c:dPt>
          <c:dPt>
            <c:idx val="866"/>
            <c:invertIfNegative val="1"/>
            <c:bubble3D val="0"/>
            <c:spPr>
              <a:solidFill>
                <a:srgbClr val="AEABAB"/>
              </a:solidFill>
            </c:spPr>
            <c:extLst>
              <c:ext xmlns:c16="http://schemas.microsoft.com/office/drawing/2014/chart" uri="{C3380CC4-5D6E-409C-BE32-E72D297353CC}">
                <c16:uniqueId val="{000006C7-63DE-4091-B8DA-DB57396774D4}"/>
              </c:ext>
            </c:extLst>
          </c:dPt>
          <c:dPt>
            <c:idx val="867"/>
            <c:invertIfNegative val="1"/>
            <c:bubble3D val="0"/>
            <c:spPr>
              <a:solidFill>
                <a:srgbClr val="AEABAB"/>
              </a:solidFill>
            </c:spPr>
            <c:extLst>
              <c:ext xmlns:c16="http://schemas.microsoft.com/office/drawing/2014/chart" uri="{C3380CC4-5D6E-409C-BE32-E72D297353CC}">
                <c16:uniqueId val="{000006C9-63DE-4091-B8DA-DB57396774D4}"/>
              </c:ext>
            </c:extLst>
          </c:dPt>
          <c:dPt>
            <c:idx val="868"/>
            <c:invertIfNegative val="1"/>
            <c:bubble3D val="0"/>
            <c:spPr>
              <a:solidFill>
                <a:srgbClr val="AEABAB"/>
              </a:solidFill>
            </c:spPr>
            <c:extLst>
              <c:ext xmlns:c16="http://schemas.microsoft.com/office/drawing/2014/chart" uri="{C3380CC4-5D6E-409C-BE32-E72D297353CC}">
                <c16:uniqueId val="{000006CB-63DE-4091-B8DA-DB57396774D4}"/>
              </c:ext>
            </c:extLst>
          </c:dPt>
          <c:dPt>
            <c:idx val="869"/>
            <c:invertIfNegative val="1"/>
            <c:bubble3D val="0"/>
            <c:spPr>
              <a:solidFill>
                <a:srgbClr val="AEABAB"/>
              </a:solidFill>
            </c:spPr>
            <c:extLst>
              <c:ext xmlns:c16="http://schemas.microsoft.com/office/drawing/2014/chart" uri="{C3380CC4-5D6E-409C-BE32-E72D297353CC}">
                <c16:uniqueId val="{000006CD-63DE-4091-B8DA-DB57396774D4}"/>
              </c:ext>
            </c:extLst>
          </c:dPt>
          <c:dPt>
            <c:idx val="870"/>
            <c:invertIfNegative val="1"/>
            <c:bubble3D val="0"/>
            <c:spPr>
              <a:solidFill>
                <a:srgbClr val="AEABAB"/>
              </a:solidFill>
            </c:spPr>
            <c:extLst>
              <c:ext xmlns:c16="http://schemas.microsoft.com/office/drawing/2014/chart" uri="{C3380CC4-5D6E-409C-BE32-E72D297353CC}">
                <c16:uniqueId val="{000006CF-63DE-4091-B8DA-DB57396774D4}"/>
              </c:ext>
            </c:extLst>
          </c:dPt>
          <c:dPt>
            <c:idx val="871"/>
            <c:invertIfNegative val="1"/>
            <c:bubble3D val="0"/>
            <c:spPr>
              <a:solidFill>
                <a:srgbClr val="AEABAB"/>
              </a:solidFill>
            </c:spPr>
            <c:extLst>
              <c:ext xmlns:c16="http://schemas.microsoft.com/office/drawing/2014/chart" uri="{C3380CC4-5D6E-409C-BE32-E72D297353CC}">
                <c16:uniqueId val="{000006D1-63DE-4091-B8DA-DB57396774D4}"/>
              </c:ext>
            </c:extLst>
          </c:dPt>
          <c:dPt>
            <c:idx val="872"/>
            <c:invertIfNegative val="1"/>
            <c:bubble3D val="0"/>
            <c:spPr>
              <a:solidFill>
                <a:srgbClr val="AEABAB"/>
              </a:solidFill>
            </c:spPr>
            <c:extLst>
              <c:ext xmlns:c16="http://schemas.microsoft.com/office/drawing/2014/chart" uri="{C3380CC4-5D6E-409C-BE32-E72D297353CC}">
                <c16:uniqueId val="{000006D3-63DE-4091-B8DA-DB57396774D4}"/>
              </c:ext>
            </c:extLst>
          </c:dPt>
          <c:dPt>
            <c:idx val="873"/>
            <c:invertIfNegative val="1"/>
            <c:bubble3D val="0"/>
            <c:spPr>
              <a:solidFill>
                <a:srgbClr val="AEABAB"/>
              </a:solidFill>
            </c:spPr>
            <c:extLst>
              <c:ext xmlns:c16="http://schemas.microsoft.com/office/drawing/2014/chart" uri="{C3380CC4-5D6E-409C-BE32-E72D297353CC}">
                <c16:uniqueId val="{000006D5-63DE-4091-B8DA-DB57396774D4}"/>
              </c:ext>
            </c:extLst>
          </c:dPt>
          <c:dPt>
            <c:idx val="874"/>
            <c:invertIfNegative val="1"/>
            <c:bubble3D val="0"/>
            <c:spPr>
              <a:solidFill>
                <a:srgbClr val="AEABAB"/>
              </a:solidFill>
            </c:spPr>
            <c:extLst>
              <c:ext xmlns:c16="http://schemas.microsoft.com/office/drawing/2014/chart" uri="{C3380CC4-5D6E-409C-BE32-E72D297353CC}">
                <c16:uniqueId val="{000006D7-63DE-4091-B8DA-DB57396774D4}"/>
              </c:ext>
            </c:extLst>
          </c:dPt>
          <c:dPt>
            <c:idx val="875"/>
            <c:invertIfNegative val="1"/>
            <c:bubble3D val="0"/>
            <c:spPr>
              <a:solidFill>
                <a:srgbClr val="AEABAB"/>
              </a:solidFill>
            </c:spPr>
            <c:extLst>
              <c:ext xmlns:c16="http://schemas.microsoft.com/office/drawing/2014/chart" uri="{C3380CC4-5D6E-409C-BE32-E72D297353CC}">
                <c16:uniqueId val="{000006D9-63DE-4091-B8DA-DB57396774D4}"/>
              </c:ext>
            </c:extLst>
          </c:dPt>
          <c:dPt>
            <c:idx val="876"/>
            <c:invertIfNegative val="1"/>
            <c:bubble3D val="0"/>
            <c:spPr>
              <a:solidFill>
                <a:srgbClr val="AEABAB"/>
              </a:solidFill>
            </c:spPr>
            <c:extLst>
              <c:ext xmlns:c16="http://schemas.microsoft.com/office/drawing/2014/chart" uri="{C3380CC4-5D6E-409C-BE32-E72D297353CC}">
                <c16:uniqueId val="{000006DB-63DE-4091-B8DA-DB57396774D4}"/>
              </c:ext>
            </c:extLst>
          </c:dPt>
          <c:dPt>
            <c:idx val="877"/>
            <c:invertIfNegative val="1"/>
            <c:bubble3D val="0"/>
            <c:spPr>
              <a:solidFill>
                <a:srgbClr val="AEABAB"/>
              </a:solidFill>
            </c:spPr>
            <c:extLst>
              <c:ext xmlns:c16="http://schemas.microsoft.com/office/drawing/2014/chart" uri="{C3380CC4-5D6E-409C-BE32-E72D297353CC}">
                <c16:uniqueId val="{000006DD-63DE-4091-B8DA-DB57396774D4}"/>
              </c:ext>
            </c:extLst>
          </c:dPt>
          <c:dPt>
            <c:idx val="878"/>
            <c:invertIfNegative val="1"/>
            <c:bubble3D val="0"/>
            <c:spPr>
              <a:solidFill>
                <a:srgbClr val="AEABAB"/>
              </a:solidFill>
            </c:spPr>
            <c:extLst>
              <c:ext xmlns:c16="http://schemas.microsoft.com/office/drawing/2014/chart" uri="{C3380CC4-5D6E-409C-BE32-E72D297353CC}">
                <c16:uniqueId val="{000006DF-63DE-4091-B8DA-DB57396774D4}"/>
              </c:ext>
            </c:extLst>
          </c:dPt>
          <c:dPt>
            <c:idx val="879"/>
            <c:invertIfNegative val="1"/>
            <c:bubble3D val="0"/>
            <c:spPr>
              <a:solidFill>
                <a:srgbClr val="AEABAB"/>
              </a:solidFill>
            </c:spPr>
            <c:extLst>
              <c:ext xmlns:c16="http://schemas.microsoft.com/office/drawing/2014/chart" uri="{C3380CC4-5D6E-409C-BE32-E72D297353CC}">
                <c16:uniqueId val="{000006E1-63DE-4091-B8DA-DB57396774D4}"/>
              </c:ext>
            </c:extLst>
          </c:dPt>
          <c:dPt>
            <c:idx val="880"/>
            <c:invertIfNegative val="1"/>
            <c:bubble3D val="0"/>
            <c:spPr>
              <a:solidFill>
                <a:srgbClr val="AEABAB"/>
              </a:solidFill>
            </c:spPr>
            <c:extLst>
              <c:ext xmlns:c16="http://schemas.microsoft.com/office/drawing/2014/chart" uri="{C3380CC4-5D6E-409C-BE32-E72D297353CC}">
                <c16:uniqueId val="{000006E3-63DE-4091-B8DA-DB57396774D4}"/>
              </c:ext>
            </c:extLst>
          </c:dPt>
          <c:dPt>
            <c:idx val="881"/>
            <c:invertIfNegative val="1"/>
            <c:bubble3D val="0"/>
            <c:spPr>
              <a:solidFill>
                <a:srgbClr val="AEABAB"/>
              </a:solidFill>
            </c:spPr>
            <c:extLst>
              <c:ext xmlns:c16="http://schemas.microsoft.com/office/drawing/2014/chart" uri="{C3380CC4-5D6E-409C-BE32-E72D297353CC}">
                <c16:uniqueId val="{000006E5-63DE-4091-B8DA-DB57396774D4}"/>
              </c:ext>
            </c:extLst>
          </c:dPt>
          <c:dPt>
            <c:idx val="882"/>
            <c:invertIfNegative val="1"/>
            <c:bubble3D val="0"/>
            <c:spPr>
              <a:solidFill>
                <a:srgbClr val="AEABAB"/>
              </a:solidFill>
            </c:spPr>
            <c:extLst>
              <c:ext xmlns:c16="http://schemas.microsoft.com/office/drawing/2014/chart" uri="{C3380CC4-5D6E-409C-BE32-E72D297353CC}">
                <c16:uniqueId val="{000006E7-63DE-4091-B8DA-DB57396774D4}"/>
              </c:ext>
            </c:extLst>
          </c:dPt>
          <c:dPt>
            <c:idx val="883"/>
            <c:invertIfNegative val="1"/>
            <c:bubble3D val="0"/>
            <c:spPr>
              <a:solidFill>
                <a:srgbClr val="AEABAB"/>
              </a:solidFill>
            </c:spPr>
            <c:extLst>
              <c:ext xmlns:c16="http://schemas.microsoft.com/office/drawing/2014/chart" uri="{C3380CC4-5D6E-409C-BE32-E72D297353CC}">
                <c16:uniqueId val="{000006E9-63DE-4091-B8DA-DB57396774D4}"/>
              </c:ext>
            </c:extLst>
          </c:dPt>
          <c:dPt>
            <c:idx val="884"/>
            <c:invertIfNegative val="1"/>
            <c:bubble3D val="0"/>
            <c:spPr>
              <a:solidFill>
                <a:srgbClr val="AEABAB"/>
              </a:solidFill>
            </c:spPr>
            <c:extLst>
              <c:ext xmlns:c16="http://schemas.microsoft.com/office/drawing/2014/chart" uri="{C3380CC4-5D6E-409C-BE32-E72D297353CC}">
                <c16:uniqueId val="{000006EB-63DE-4091-B8DA-DB57396774D4}"/>
              </c:ext>
            </c:extLst>
          </c:dPt>
          <c:dPt>
            <c:idx val="885"/>
            <c:invertIfNegative val="1"/>
            <c:bubble3D val="0"/>
            <c:spPr>
              <a:solidFill>
                <a:srgbClr val="AEABAB"/>
              </a:solidFill>
            </c:spPr>
            <c:extLst>
              <c:ext xmlns:c16="http://schemas.microsoft.com/office/drawing/2014/chart" uri="{C3380CC4-5D6E-409C-BE32-E72D297353CC}">
                <c16:uniqueId val="{000006ED-63DE-4091-B8DA-DB57396774D4}"/>
              </c:ext>
            </c:extLst>
          </c:dPt>
          <c:dPt>
            <c:idx val="886"/>
            <c:invertIfNegative val="1"/>
            <c:bubble3D val="0"/>
            <c:spPr>
              <a:solidFill>
                <a:srgbClr val="AEABAB"/>
              </a:solidFill>
            </c:spPr>
            <c:extLst>
              <c:ext xmlns:c16="http://schemas.microsoft.com/office/drawing/2014/chart" uri="{C3380CC4-5D6E-409C-BE32-E72D297353CC}">
                <c16:uniqueId val="{000006EF-63DE-4091-B8DA-DB57396774D4}"/>
              </c:ext>
            </c:extLst>
          </c:dPt>
          <c:dPt>
            <c:idx val="887"/>
            <c:invertIfNegative val="1"/>
            <c:bubble3D val="0"/>
            <c:spPr>
              <a:solidFill>
                <a:srgbClr val="AEABAB"/>
              </a:solidFill>
            </c:spPr>
            <c:extLst>
              <c:ext xmlns:c16="http://schemas.microsoft.com/office/drawing/2014/chart" uri="{C3380CC4-5D6E-409C-BE32-E72D297353CC}">
                <c16:uniqueId val="{000006F1-63DE-4091-B8DA-DB57396774D4}"/>
              </c:ext>
            </c:extLst>
          </c:dPt>
          <c:dPt>
            <c:idx val="888"/>
            <c:invertIfNegative val="1"/>
            <c:bubble3D val="0"/>
            <c:spPr>
              <a:solidFill>
                <a:srgbClr val="AEABAB"/>
              </a:solidFill>
            </c:spPr>
            <c:extLst>
              <c:ext xmlns:c16="http://schemas.microsoft.com/office/drawing/2014/chart" uri="{C3380CC4-5D6E-409C-BE32-E72D297353CC}">
                <c16:uniqueId val="{000006F3-63DE-4091-B8DA-DB57396774D4}"/>
              </c:ext>
            </c:extLst>
          </c:dPt>
          <c:dPt>
            <c:idx val="889"/>
            <c:invertIfNegative val="1"/>
            <c:bubble3D val="0"/>
            <c:spPr>
              <a:solidFill>
                <a:srgbClr val="AEABAB"/>
              </a:solidFill>
            </c:spPr>
            <c:extLst>
              <c:ext xmlns:c16="http://schemas.microsoft.com/office/drawing/2014/chart" uri="{C3380CC4-5D6E-409C-BE32-E72D297353CC}">
                <c16:uniqueId val="{000006F5-63DE-4091-B8DA-DB57396774D4}"/>
              </c:ext>
            </c:extLst>
          </c:dPt>
          <c:dPt>
            <c:idx val="890"/>
            <c:invertIfNegative val="1"/>
            <c:bubble3D val="0"/>
            <c:spPr>
              <a:solidFill>
                <a:srgbClr val="AEABAB"/>
              </a:solidFill>
            </c:spPr>
            <c:extLst>
              <c:ext xmlns:c16="http://schemas.microsoft.com/office/drawing/2014/chart" uri="{C3380CC4-5D6E-409C-BE32-E72D297353CC}">
                <c16:uniqueId val="{000006F7-63DE-4091-B8DA-DB57396774D4}"/>
              </c:ext>
            </c:extLst>
          </c:dPt>
          <c:dPt>
            <c:idx val="891"/>
            <c:invertIfNegative val="1"/>
            <c:bubble3D val="0"/>
            <c:spPr>
              <a:solidFill>
                <a:srgbClr val="AEABAB"/>
              </a:solidFill>
            </c:spPr>
            <c:extLst>
              <c:ext xmlns:c16="http://schemas.microsoft.com/office/drawing/2014/chart" uri="{C3380CC4-5D6E-409C-BE32-E72D297353CC}">
                <c16:uniqueId val="{000006F9-63DE-4091-B8DA-DB57396774D4}"/>
              </c:ext>
            </c:extLst>
          </c:dPt>
          <c:dPt>
            <c:idx val="892"/>
            <c:invertIfNegative val="1"/>
            <c:bubble3D val="0"/>
            <c:spPr>
              <a:solidFill>
                <a:srgbClr val="AEABAB"/>
              </a:solidFill>
            </c:spPr>
            <c:extLst>
              <c:ext xmlns:c16="http://schemas.microsoft.com/office/drawing/2014/chart" uri="{C3380CC4-5D6E-409C-BE32-E72D297353CC}">
                <c16:uniqueId val="{000006FB-63DE-4091-B8DA-DB57396774D4}"/>
              </c:ext>
            </c:extLst>
          </c:dPt>
          <c:dPt>
            <c:idx val="893"/>
            <c:invertIfNegative val="1"/>
            <c:bubble3D val="0"/>
            <c:spPr>
              <a:solidFill>
                <a:srgbClr val="AEABAB"/>
              </a:solidFill>
            </c:spPr>
            <c:extLst>
              <c:ext xmlns:c16="http://schemas.microsoft.com/office/drawing/2014/chart" uri="{C3380CC4-5D6E-409C-BE32-E72D297353CC}">
                <c16:uniqueId val="{000006FD-63DE-4091-B8DA-DB57396774D4}"/>
              </c:ext>
            </c:extLst>
          </c:dPt>
          <c:dPt>
            <c:idx val="894"/>
            <c:invertIfNegative val="1"/>
            <c:bubble3D val="0"/>
            <c:spPr>
              <a:solidFill>
                <a:srgbClr val="AEABAB"/>
              </a:solidFill>
            </c:spPr>
            <c:extLst>
              <c:ext xmlns:c16="http://schemas.microsoft.com/office/drawing/2014/chart" uri="{C3380CC4-5D6E-409C-BE32-E72D297353CC}">
                <c16:uniqueId val="{000006FF-63DE-4091-B8DA-DB57396774D4}"/>
              </c:ext>
            </c:extLst>
          </c:dPt>
          <c:dPt>
            <c:idx val="895"/>
            <c:invertIfNegative val="1"/>
            <c:bubble3D val="0"/>
            <c:spPr>
              <a:solidFill>
                <a:srgbClr val="AEABAB"/>
              </a:solidFill>
            </c:spPr>
            <c:extLst>
              <c:ext xmlns:c16="http://schemas.microsoft.com/office/drawing/2014/chart" uri="{C3380CC4-5D6E-409C-BE32-E72D297353CC}">
                <c16:uniqueId val="{00000701-63DE-4091-B8DA-DB57396774D4}"/>
              </c:ext>
            </c:extLst>
          </c:dPt>
          <c:dPt>
            <c:idx val="896"/>
            <c:invertIfNegative val="1"/>
            <c:bubble3D val="0"/>
            <c:spPr>
              <a:solidFill>
                <a:srgbClr val="AEABAB"/>
              </a:solidFill>
            </c:spPr>
            <c:extLst>
              <c:ext xmlns:c16="http://schemas.microsoft.com/office/drawing/2014/chart" uri="{C3380CC4-5D6E-409C-BE32-E72D297353CC}">
                <c16:uniqueId val="{00000703-63DE-4091-B8DA-DB57396774D4}"/>
              </c:ext>
            </c:extLst>
          </c:dPt>
          <c:dPt>
            <c:idx val="897"/>
            <c:invertIfNegative val="1"/>
            <c:bubble3D val="0"/>
            <c:spPr>
              <a:solidFill>
                <a:srgbClr val="AEABAB"/>
              </a:solidFill>
            </c:spPr>
            <c:extLst>
              <c:ext xmlns:c16="http://schemas.microsoft.com/office/drawing/2014/chart" uri="{C3380CC4-5D6E-409C-BE32-E72D297353CC}">
                <c16:uniqueId val="{00000705-63DE-4091-B8DA-DB57396774D4}"/>
              </c:ext>
            </c:extLst>
          </c:dPt>
          <c:dPt>
            <c:idx val="898"/>
            <c:invertIfNegative val="1"/>
            <c:bubble3D val="0"/>
            <c:spPr>
              <a:solidFill>
                <a:srgbClr val="AEABAB"/>
              </a:solidFill>
            </c:spPr>
            <c:extLst>
              <c:ext xmlns:c16="http://schemas.microsoft.com/office/drawing/2014/chart" uri="{C3380CC4-5D6E-409C-BE32-E72D297353CC}">
                <c16:uniqueId val="{00000707-63DE-4091-B8DA-DB57396774D4}"/>
              </c:ext>
            </c:extLst>
          </c:dPt>
          <c:dPt>
            <c:idx val="899"/>
            <c:invertIfNegative val="1"/>
            <c:bubble3D val="0"/>
            <c:spPr>
              <a:solidFill>
                <a:srgbClr val="AEABAB"/>
              </a:solidFill>
            </c:spPr>
            <c:extLst>
              <c:ext xmlns:c16="http://schemas.microsoft.com/office/drawing/2014/chart" uri="{C3380CC4-5D6E-409C-BE32-E72D297353CC}">
                <c16:uniqueId val="{00000709-63DE-4091-B8DA-DB57396774D4}"/>
              </c:ext>
            </c:extLst>
          </c:dPt>
          <c:dPt>
            <c:idx val="900"/>
            <c:invertIfNegative val="1"/>
            <c:bubble3D val="0"/>
            <c:spPr>
              <a:solidFill>
                <a:srgbClr val="AEABAB"/>
              </a:solidFill>
            </c:spPr>
            <c:extLst>
              <c:ext xmlns:c16="http://schemas.microsoft.com/office/drawing/2014/chart" uri="{C3380CC4-5D6E-409C-BE32-E72D297353CC}">
                <c16:uniqueId val="{0000070B-63DE-4091-B8DA-DB57396774D4}"/>
              </c:ext>
            </c:extLst>
          </c:dPt>
          <c:dPt>
            <c:idx val="901"/>
            <c:invertIfNegative val="1"/>
            <c:bubble3D val="0"/>
            <c:spPr>
              <a:solidFill>
                <a:srgbClr val="AEABAB"/>
              </a:solidFill>
            </c:spPr>
            <c:extLst>
              <c:ext xmlns:c16="http://schemas.microsoft.com/office/drawing/2014/chart" uri="{C3380CC4-5D6E-409C-BE32-E72D297353CC}">
                <c16:uniqueId val="{0000070D-63DE-4091-B8DA-DB57396774D4}"/>
              </c:ext>
            </c:extLst>
          </c:dPt>
          <c:dPt>
            <c:idx val="902"/>
            <c:invertIfNegative val="1"/>
            <c:bubble3D val="0"/>
            <c:spPr>
              <a:solidFill>
                <a:srgbClr val="AEABAB"/>
              </a:solidFill>
            </c:spPr>
            <c:extLst>
              <c:ext xmlns:c16="http://schemas.microsoft.com/office/drawing/2014/chart" uri="{C3380CC4-5D6E-409C-BE32-E72D297353CC}">
                <c16:uniqueId val="{0000070F-63DE-4091-B8DA-DB57396774D4}"/>
              </c:ext>
            </c:extLst>
          </c:dPt>
          <c:dPt>
            <c:idx val="903"/>
            <c:invertIfNegative val="1"/>
            <c:bubble3D val="0"/>
            <c:spPr>
              <a:solidFill>
                <a:srgbClr val="AEABAB"/>
              </a:solidFill>
            </c:spPr>
            <c:extLst>
              <c:ext xmlns:c16="http://schemas.microsoft.com/office/drawing/2014/chart" uri="{C3380CC4-5D6E-409C-BE32-E72D297353CC}">
                <c16:uniqueId val="{00000711-63DE-4091-B8DA-DB57396774D4}"/>
              </c:ext>
            </c:extLst>
          </c:dPt>
          <c:dPt>
            <c:idx val="904"/>
            <c:invertIfNegative val="1"/>
            <c:bubble3D val="0"/>
            <c:spPr>
              <a:solidFill>
                <a:srgbClr val="AEABAB"/>
              </a:solidFill>
            </c:spPr>
            <c:extLst>
              <c:ext xmlns:c16="http://schemas.microsoft.com/office/drawing/2014/chart" uri="{C3380CC4-5D6E-409C-BE32-E72D297353CC}">
                <c16:uniqueId val="{00000713-63DE-4091-B8DA-DB57396774D4}"/>
              </c:ext>
            </c:extLst>
          </c:dPt>
          <c:dPt>
            <c:idx val="905"/>
            <c:invertIfNegative val="1"/>
            <c:bubble3D val="0"/>
            <c:spPr>
              <a:solidFill>
                <a:srgbClr val="AEABAB"/>
              </a:solidFill>
            </c:spPr>
            <c:extLst>
              <c:ext xmlns:c16="http://schemas.microsoft.com/office/drawing/2014/chart" uri="{C3380CC4-5D6E-409C-BE32-E72D297353CC}">
                <c16:uniqueId val="{00000715-63DE-4091-B8DA-DB57396774D4}"/>
              </c:ext>
            </c:extLst>
          </c:dPt>
          <c:dPt>
            <c:idx val="906"/>
            <c:invertIfNegative val="1"/>
            <c:bubble3D val="0"/>
            <c:spPr>
              <a:solidFill>
                <a:srgbClr val="AEABAB"/>
              </a:solidFill>
            </c:spPr>
            <c:extLst>
              <c:ext xmlns:c16="http://schemas.microsoft.com/office/drawing/2014/chart" uri="{C3380CC4-5D6E-409C-BE32-E72D297353CC}">
                <c16:uniqueId val="{00000717-63DE-4091-B8DA-DB57396774D4}"/>
              </c:ext>
            </c:extLst>
          </c:dPt>
          <c:dPt>
            <c:idx val="907"/>
            <c:invertIfNegative val="1"/>
            <c:bubble3D val="0"/>
            <c:spPr>
              <a:solidFill>
                <a:srgbClr val="AEABAB"/>
              </a:solidFill>
            </c:spPr>
            <c:extLst>
              <c:ext xmlns:c16="http://schemas.microsoft.com/office/drawing/2014/chart" uri="{C3380CC4-5D6E-409C-BE32-E72D297353CC}">
                <c16:uniqueId val="{00000719-63DE-4091-B8DA-DB57396774D4}"/>
              </c:ext>
            </c:extLst>
          </c:dPt>
          <c:dPt>
            <c:idx val="908"/>
            <c:invertIfNegative val="1"/>
            <c:bubble3D val="0"/>
            <c:spPr>
              <a:solidFill>
                <a:srgbClr val="AEABAB"/>
              </a:solidFill>
            </c:spPr>
            <c:extLst>
              <c:ext xmlns:c16="http://schemas.microsoft.com/office/drawing/2014/chart" uri="{C3380CC4-5D6E-409C-BE32-E72D297353CC}">
                <c16:uniqueId val="{0000071B-63DE-4091-B8DA-DB57396774D4}"/>
              </c:ext>
            </c:extLst>
          </c:dPt>
          <c:dPt>
            <c:idx val="909"/>
            <c:invertIfNegative val="1"/>
            <c:bubble3D val="0"/>
            <c:spPr>
              <a:solidFill>
                <a:srgbClr val="AEABAB"/>
              </a:solidFill>
            </c:spPr>
            <c:extLst>
              <c:ext xmlns:c16="http://schemas.microsoft.com/office/drawing/2014/chart" uri="{C3380CC4-5D6E-409C-BE32-E72D297353CC}">
                <c16:uniqueId val="{0000071D-63DE-4091-B8DA-DB57396774D4}"/>
              </c:ext>
            </c:extLst>
          </c:dPt>
          <c:dPt>
            <c:idx val="910"/>
            <c:invertIfNegative val="1"/>
            <c:bubble3D val="0"/>
            <c:spPr>
              <a:solidFill>
                <a:srgbClr val="AEABAB"/>
              </a:solidFill>
            </c:spPr>
            <c:extLst>
              <c:ext xmlns:c16="http://schemas.microsoft.com/office/drawing/2014/chart" uri="{C3380CC4-5D6E-409C-BE32-E72D297353CC}">
                <c16:uniqueId val="{0000071F-63DE-4091-B8DA-DB57396774D4}"/>
              </c:ext>
            </c:extLst>
          </c:dPt>
          <c:dPt>
            <c:idx val="911"/>
            <c:invertIfNegative val="1"/>
            <c:bubble3D val="0"/>
            <c:spPr>
              <a:solidFill>
                <a:srgbClr val="AEABAB"/>
              </a:solidFill>
            </c:spPr>
            <c:extLst>
              <c:ext xmlns:c16="http://schemas.microsoft.com/office/drawing/2014/chart" uri="{C3380CC4-5D6E-409C-BE32-E72D297353CC}">
                <c16:uniqueId val="{00000721-63DE-4091-B8DA-DB57396774D4}"/>
              </c:ext>
            </c:extLst>
          </c:dPt>
          <c:dPt>
            <c:idx val="912"/>
            <c:invertIfNegative val="1"/>
            <c:bubble3D val="0"/>
            <c:spPr>
              <a:solidFill>
                <a:srgbClr val="AEABAB"/>
              </a:solidFill>
            </c:spPr>
            <c:extLst>
              <c:ext xmlns:c16="http://schemas.microsoft.com/office/drawing/2014/chart" uri="{C3380CC4-5D6E-409C-BE32-E72D297353CC}">
                <c16:uniqueId val="{00000723-63DE-4091-B8DA-DB57396774D4}"/>
              </c:ext>
            </c:extLst>
          </c:dPt>
          <c:dPt>
            <c:idx val="913"/>
            <c:invertIfNegative val="1"/>
            <c:bubble3D val="0"/>
            <c:spPr>
              <a:solidFill>
                <a:srgbClr val="AEABAB"/>
              </a:solidFill>
            </c:spPr>
            <c:extLst>
              <c:ext xmlns:c16="http://schemas.microsoft.com/office/drawing/2014/chart" uri="{C3380CC4-5D6E-409C-BE32-E72D297353CC}">
                <c16:uniqueId val="{00000725-63DE-4091-B8DA-DB57396774D4}"/>
              </c:ext>
            </c:extLst>
          </c:dPt>
          <c:dPt>
            <c:idx val="914"/>
            <c:invertIfNegative val="1"/>
            <c:bubble3D val="0"/>
            <c:spPr>
              <a:solidFill>
                <a:srgbClr val="AEABAB"/>
              </a:solidFill>
            </c:spPr>
            <c:extLst>
              <c:ext xmlns:c16="http://schemas.microsoft.com/office/drawing/2014/chart" uri="{C3380CC4-5D6E-409C-BE32-E72D297353CC}">
                <c16:uniqueId val="{00000727-63DE-4091-B8DA-DB57396774D4}"/>
              </c:ext>
            </c:extLst>
          </c:dPt>
          <c:dPt>
            <c:idx val="915"/>
            <c:invertIfNegative val="1"/>
            <c:bubble3D val="0"/>
            <c:spPr>
              <a:solidFill>
                <a:srgbClr val="AEABAB"/>
              </a:solidFill>
            </c:spPr>
            <c:extLst>
              <c:ext xmlns:c16="http://schemas.microsoft.com/office/drawing/2014/chart" uri="{C3380CC4-5D6E-409C-BE32-E72D297353CC}">
                <c16:uniqueId val="{00000729-63DE-4091-B8DA-DB57396774D4}"/>
              </c:ext>
            </c:extLst>
          </c:dPt>
          <c:dPt>
            <c:idx val="916"/>
            <c:invertIfNegative val="1"/>
            <c:bubble3D val="0"/>
            <c:spPr>
              <a:solidFill>
                <a:srgbClr val="AEABAB"/>
              </a:solidFill>
            </c:spPr>
            <c:extLst>
              <c:ext xmlns:c16="http://schemas.microsoft.com/office/drawing/2014/chart" uri="{C3380CC4-5D6E-409C-BE32-E72D297353CC}">
                <c16:uniqueId val="{0000072B-63DE-4091-B8DA-DB57396774D4}"/>
              </c:ext>
            </c:extLst>
          </c:dPt>
          <c:dPt>
            <c:idx val="917"/>
            <c:invertIfNegative val="1"/>
            <c:bubble3D val="0"/>
            <c:spPr>
              <a:solidFill>
                <a:srgbClr val="AEABAB"/>
              </a:solidFill>
            </c:spPr>
            <c:extLst>
              <c:ext xmlns:c16="http://schemas.microsoft.com/office/drawing/2014/chart" uri="{C3380CC4-5D6E-409C-BE32-E72D297353CC}">
                <c16:uniqueId val="{0000072D-63DE-4091-B8DA-DB57396774D4}"/>
              </c:ext>
            </c:extLst>
          </c:dPt>
          <c:dPt>
            <c:idx val="918"/>
            <c:invertIfNegative val="1"/>
            <c:bubble3D val="0"/>
            <c:spPr>
              <a:solidFill>
                <a:srgbClr val="AEABAB"/>
              </a:solidFill>
            </c:spPr>
            <c:extLst>
              <c:ext xmlns:c16="http://schemas.microsoft.com/office/drawing/2014/chart" uri="{C3380CC4-5D6E-409C-BE32-E72D297353CC}">
                <c16:uniqueId val="{0000072F-63DE-4091-B8DA-DB57396774D4}"/>
              </c:ext>
            </c:extLst>
          </c:dPt>
          <c:dPt>
            <c:idx val="919"/>
            <c:invertIfNegative val="1"/>
            <c:bubble3D val="0"/>
            <c:spPr>
              <a:solidFill>
                <a:srgbClr val="AEABAB"/>
              </a:solidFill>
            </c:spPr>
            <c:extLst>
              <c:ext xmlns:c16="http://schemas.microsoft.com/office/drawing/2014/chart" uri="{C3380CC4-5D6E-409C-BE32-E72D297353CC}">
                <c16:uniqueId val="{00000731-63DE-4091-B8DA-DB57396774D4}"/>
              </c:ext>
            </c:extLst>
          </c:dPt>
          <c:dPt>
            <c:idx val="920"/>
            <c:invertIfNegative val="1"/>
            <c:bubble3D val="0"/>
            <c:spPr>
              <a:solidFill>
                <a:srgbClr val="AEABAB"/>
              </a:solidFill>
            </c:spPr>
            <c:extLst>
              <c:ext xmlns:c16="http://schemas.microsoft.com/office/drawing/2014/chart" uri="{C3380CC4-5D6E-409C-BE32-E72D297353CC}">
                <c16:uniqueId val="{00000733-63DE-4091-B8DA-DB57396774D4}"/>
              </c:ext>
            </c:extLst>
          </c:dPt>
          <c:dPt>
            <c:idx val="921"/>
            <c:invertIfNegative val="1"/>
            <c:bubble3D val="0"/>
            <c:spPr>
              <a:solidFill>
                <a:srgbClr val="AEABAB"/>
              </a:solidFill>
            </c:spPr>
            <c:extLst>
              <c:ext xmlns:c16="http://schemas.microsoft.com/office/drawing/2014/chart" uri="{C3380CC4-5D6E-409C-BE32-E72D297353CC}">
                <c16:uniqueId val="{00000735-63DE-4091-B8DA-DB57396774D4}"/>
              </c:ext>
            </c:extLst>
          </c:dPt>
          <c:dPt>
            <c:idx val="922"/>
            <c:invertIfNegative val="1"/>
            <c:bubble3D val="0"/>
            <c:spPr>
              <a:solidFill>
                <a:srgbClr val="AEABAB"/>
              </a:solidFill>
            </c:spPr>
            <c:extLst>
              <c:ext xmlns:c16="http://schemas.microsoft.com/office/drawing/2014/chart" uri="{C3380CC4-5D6E-409C-BE32-E72D297353CC}">
                <c16:uniqueId val="{00000737-63DE-4091-B8DA-DB57396774D4}"/>
              </c:ext>
            </c:extLst>
          </c:dPt>
          <c:dPt>
            <c:idx val="923"/>
            <c:invertIfNegative val="1"/>
            <c:bubble3D val="0"/>
            <c:spPr>
              <a:solidFill>
                <a:srgbClr val="AEABAB"/>
              </a:solidFill>
            </c:spPr>
            <c:extLst>
              <c:ext xmlns:c16="http://schemas.microsoft.com/office/drawing/2014/chart" uri="{C3380CC4-5D6E-409C-BE32-E72D297353CC}">
                <c16:uniqueId val="{00000739-63DE-4091-B8DA-DB57396774D4}"/>
              </c:ext>
            </c:extLst>
          </c:dPt>
          <c:dPt>
            <c:idx val="924"/>
            <c:invertIfNegative val="1"/>
            <c:bubble3D val="0"/>
            <c:spPr>
              <a:solidFill>
                <a:srgbClr val="AEABAB"/>
              </a:solidFill>
            </c:spPr>
            <c:extLst>
              <c:ext xmlns:c16="http://schemas.microsoft.com/office/drawing/2014/chart" uri="{C3380CC4-5D6E-409C-BE32-E72D297353CC}">
                <c16:uniqueId val="{0000073B-63DE-4091-B8DA-DB57396774D4}"/>
              </c:ext>
            </c:extLst>
          </c:dPt>
          <c:dPt>
            <c:idx val="925"/>
            <c:invertIfNegative val="1"/>
            <c:bubble3D val="0"/>
            <c:spPr>
              <a:solidFill>
                <a:srgbClr val="AEABAB"/>
              </a:solidFill>
            </c:spPr>
            <c:extLst>
              <c:ext xmlns:c16="http://schemas.microsoft.com/office/drawing/2014/chart" uri="{C3380CC4-5D6E-409C-BE32-E72D297353CC}">
                <c16:uniqueId val="{0000073D-63DE-4091-B8DA-DB57396774D4}"/>
              </c:ext>
            </c:extLst>
          </c:dPt>
          <c:dPt>
            <c:idx val="926"/>
            <c:invertIfNegative val="1"/>
            <c:bubble3D val="0"/>
            <c:spPr>
              <a:solidFill>
                <a:srgbClr val="AEABAB"/>
              </a:solidFill>
            </c:spPr>
            <c:extLst>
              <c:ext xmlns:c16="http://schemas.microsoft.com/office/drawing/2014/chart" uri="{C3380CC4-5D6E-409C-BE32-E72D297353CC}">
                <c16:uniqueId val="{0000073F-63DE-4091-B8DA-DB57396774D4}"/>
              </c:ext>
            </c:extLst>
          </c:dPt>
          <c:dPt>
            <c:idx val="927"/>
            <c:invertIfNegative val="1"/>
            <c:bubble3D val="0"/>
            <c:spPr>
              <a:solidFill>
                <a:srgbClr val="AEABAB"/>
              </a:solidFill>
            </c:spPr>
            <c:extLst>
              <c:ext xmlns:c16="http://schemas.microsoft.com/office/drawing/2014/chart" uri="{C3380CC4-5D6E-409C-BE32-E72D297353CC}">
                <c16:uniqueId val="{00000741-63DE-4091-B8DA-DB57396774D4}"/>
              </c:ext>
            </c:extLst>
          </c:dPt>
          <c:dPt>
            <c:idx val="928"/>
            <c:invertIfNegative val="1"/>
            <c:bubble3D val="0"/>
            <c:spPr>
              <a:solidFill>
                <a:srgbClr val="AEABAB"/>
              </a:solidFill>
            </c:spPr>
            <c:extLst>
              <c:ext xmlns:c16="http://schemas.microsoft.com/office/drawing/2014/chart" uri="{C3380CC4-5D6E-409C-BE32-E72D297353CC}">
                <c16:uniqueId val="{00000743-63DE-4091-B8DA-DB57396774D4}"/>
              </c:ext>
            </c:extLst>
          </c:dPt>
          <c:dPt>
            <c:idx val="929"/>
            <c:invertIfNegative val="1"/>
            <c:bubble3D val="0"/>
            <c:spPr>
              <a:solidFill>
                <a:srgbClr val="AEABAB"/>
              </a:solidFill>
            </c:spPr>
            <c:extLst>
              <c:ext xmlns:c16="http://schemas.microsoft.com/office/drawing/2014/chart" uri="{C3380CC4-5D6E-409C-BE32-E72D297353CC}">
                <c16:uniqueId val="{00000745-63DE-4091-B8DA-DB57396774D4}"/>
              </c:ext>
            </c:extLst>
          </c:dPt>
          <c:dPt>
            <c:idx val="930"/>
            <c:invertIfNegative val="1"/>
            <c:bubble3D val="0"/>
            <c:spPr>
              <a:solidFill>
                <a:srgbClr val="AEABAB"/>
              </a:solidFill>
            </c:spPr>
            <c:extLst>
              <c:ext xmlns:c16="http://schemas.microsoft.com/office/drawing/2014/chart" uri="{C3380CC4-5D6E-409C-BE32-E72D297353CC}">
                <c16:uniqueId val="{00000747-63DE-4091-B8DA-DB57396774D4}"/>
              </c:ext>
            </c:extLst>
          </c:dPt>
          <c:dPt>
            <c:idx val="931"/>
            <c:invertIfNegative val="1"/>
            <c:bubble3D val="0"/>
            <c:spPr>
              <a:solidFill>
                <a:srgbClr val="AEABAB"/>
              </a:solidFill>
            </c:spPr>
            <c:extLst>
              <c:ext xmlns:c16="http://schemas.microsoft.com/office/drawing/2014/chart" uri="{C3380CC4-5D6E-409C-BE32-E72D297353CC}">
                <c16:uniqueId val="{00000749-63DE-4091-B8DA-DB57396774D4}"/>
              </c:ext>
            </c:extLst>
          </c:dPt>
          <c:dPt>
            <c:idx val="932"/>
            <c:invertIfNegative val="1"/>
            <c:bubble3D val="0"/>
            <c:spPr>
              <a:solidFill>
                <a:srgbClr val="AEABAB"/>
              </a:solidFill>
            </c:spPr>
            <c:extLst>
              <c:ext xmlns:c16="http://schemas.microsoft.com/office/drawing/2014/chart" uri="{C3380CC4-5D6E-409C-BE32-E72D297353CC}">
                <c16:uniqueId val="{0000074B-63DE-4091-B8DA-DB57396774D4}"/>
              </c:ext>
            </c:extLst>
          </c:dPt>
          <c:dPt>
            <c:idx val="933"/>
            <c:invertIfNegative val="1"/>
            <c:bubble3D val="0"/>
            <c:spPr>
              <a:solidFill>
                <a:srgbClr val="AEABAB"/>
              </a:solidFill>
            </c:spPr>
            <c:extLst>
              <c:ext xmlns:c16="http://schemas.microsoft.com/office/drawing/2014/chart" uri="{C3380CC4-5D6E-409C-BE32-E72D297353CC}">
                <c16:uniqueId val="{0000074D-63DE-4091-B8DA-DB57396774D4}"/>
              </c:ext>
            </c:extLst>
          </c:dPt>
          <c:dPt>
            <c:idx val="934"/>
            <c:invertIfNegative val="1"/>
            <c:bubble3D val="0"/>
            <c:spPr>
              <a:solidFill>
                <a:srgbClr val="AEABAB"/>
              </a:solidFill>
            </c:spPr>
            <c:extLst>
              <c:ext xmlns:c16="http://schemas.microsoft.com/office/drawing/2014/chart" uri="{C3380CC4-5D6E-409C-BE32-E72D297353CC}">
                <c16:uniqueId val="{0000074F-63DE-4091-B8DA-DB57396774D4}"/>
              </c:ext>
            </c:extLst>
          </c:dPt>
          <c:dPt>
            <c:idx val="935"/>
            <c:invertIfNegative val="1"/>
            <c:bubble3D val="0"/>
            <c:spPr>
              <a:solidFill>
                <a:srgbClr val="AEABAB"/>
              </a:solidFill>
            </c:spPr>
            <c:extLst>
              <c:ext xmlns:c16="http://schemas.microsoft.com/office/drawing/2014/chart" uri="{C3380CC4-5D6E-409C-BE32-E72D297353CC}">
                <c16:uniqueId val="{00000751-63DE-4091-B8DA-DB57396774D4}"/>
              </c:ext>
            </c:extLst>
          </c:dPt>
          <c:dPt>
            <c:idx val="936"/>
            <c:invertIfNegative val="1"/>
            <c:bubble3D val="0"/>
            <c:spPr>
              <a:solidFill>
                <a:srgbClr val="AEABAB"/>
              </a:solidFill>
            </c:spPr>
            <c:extLst>
              <c:ext xmlns:c16="http://schemas.microsoft.com/office/drawing/2014/chart" uri="{C3380CC4-5D6E-409C-BE32-E72D297353CC}">
                <c16:uniqueId val="{00000753-63DE-4091-B8DA-DB57396774D4}"/>
              </c:ext>
            </c:extLst>
          </c:dPt>
          <c:dPt>
            <c:idx val="937"/>
            <c:invertIfNegative val="1"/>
            <c:bubble3D val="0"/>
            <c:spPr>
              <a:solidFill>
                <a:srgbClr val="AEABAB"/>
              </a:solidFill>
            </c:spPr>
            <c:extLst>
              <c:ext xmlns:c16="http://schemas.microsoft.com/office/drawing/2014/chart" uri="{C3380CC4-5D6E-409C-BE32-E72D297353CC}">
                <c16:uniqueId val="{00000755-63DE-4091-B8DA-DB57396774D4}"/>
              </c:ext>
            </c:extLst>
          </c:dPt>
          <c:dPt>
            <c:idx val="938"/>
            <c:invertIfNegative val="1"/>
            <c:bubble3D val="0"/>
            <c:spPr>
              <a:solidFill>
                <a:srgbClr val="AEABAB"/>
              </a:solidFill>
            </c:spPr>
            <c:extLst>
              <c:ext xmlns:c16="http://schemas.microsoft.com/office/drawing/2014/chart" uri="{C3380CC4-5D6E-409C-BE32-E72D297353CC}">
                <c16:uniqueId val="{00000757-63DE-4091-B8DA-DB57396774D4}"/>
              </c:ext>
            </c:extLst>
          </c:dPt>
          <c:dPt>
            <c:idx val="939"/>
            <c:invertIfNegative val="1"/>
            <c:bubble3D val="0"/>
            <c:spPr>
              <a:solidFill>
                <a:srgbClr val="AEABAB"/>
              </a:solidFill>
            </c:spPr>
            <c:extLst>
              <c:ext xmlns:c16="http://schemas.microsoft.com/office/drawing/2014/chart" uri="{C3380CC4-5D6E-409C-BE32-E72D297353CC}">
                <c16:uniqueId val="{00000759-63DE-4091-B8DA-DB57396774D4}"/>
              </c:ext>
            </c:extLst>
          </c:dPt>
          <c:dPt>
            <c:idx val="940"/>
            <c:invertIfNegative val="1"/>
            <c:bubble3D val="0"/>
            <c:spPr>
              <a:solidFill>
                <a:srgbClr val="AEABAB"/>
              </a:solidFill>
            </c:spPr>
            <c:extLst>
              <c:ext xmlns:c16="http://schemas.microsoft.com/office/drawing/2014/chart" uri="{C3380CC4-5D6E-409C-BE32-E72D297353CC}">
                <c16:uniqueId val="{0000075B-63DE-4091-B8DA-DB57396774D4}"/>
              </c:ext>
            </c:extLst>
          </c:dPt>
          <c:dPt>
            <c:idx val="941"/>
            <c:invertIfNegative val="1"/>
            <c:bubble3D val="0"/>
            <c:spPr>
              <a:solidFill>
                <a:srgbClr val="AEABAB"/>
              </a:solidFill>
            </c:spPr>
            <c:extLst>
              <c:ext xmlns:c16="http://schemas.microsoft.com/office/drawing/2014/chart" uri="{C3380CC4-5D6E-409C-BE32-E72D297353CC}">
                <c16:uniqueId val="{0000075D-63DE-4091-B8DA-DB57396774D4}"/>
              </c:ext>
            </c:extLst>
          </c:dPt>
          <c:dPt>
            <c:idx val="942"/>
            <c:invertIfNegative val="1"/>
            <c:bubble3D val="0"/>
            <c:spPr>
              <a:solidFill>
                <a:srgbClr val="AEABAB"/>
              </a:solidFill>
            </c:spPr>
            <c:extLst>
              <c:ext xmlns:c16="http://schemas.microsoft.com/office/drawing/2014/chart" uri="{C3380CC4-5D6E-409C-BE32-E72D297353CC}">
                <c16:uniqueId val="{0000075F-63DE-4091-B8DA-DB57396774D4}"/>
              </c:ext>
            </c:extLst>
          </c:dPt>
          <c:dPt>
            <c:idx val="943"/>
            <c:invertIfNegative val="1"/>
            <c:bubble3D val="0"/>
            <c:spPr>
              <a:solidFill>
                <a:srgbClr val="AEABAB"/>
              </a:solidFill>
            </c:spPr>
            <c:extLst>
              <c:ext xmlns:c16="http://schemas.microsoft.com/office/drawing/2014/chart" uri="{C3380CC4-5D6E-409C-BE32-E72D297353CC}">
                <c16:uniqueId val="{00000761-63DE-4091-B8DA-DB57396774D4}"/>
              </c:ext>
            </c:extLst>
          </c:dPt>
          <c:dPt>
            <c:idx val="944"/>
            <c:invertIfNegative val="1"/>
            <c:bubble3D val="0"/>
            <c:spPr>
              <a:solidFill>
                <a:srgbClr val="AEABAB"/>
              </a:solidFill>
            </c:spPr>
            <c:extLst>
              <c:ext xmlns:c16="http://schemas.microsoft.com/office/drawing/2014/chart" uri="{C3380CC4-5D6E-409C-BE32-E72D297353CC}">
                <c16:uniqueId val="{00000763-63DE-4091-B8DA-DB57396774D4}"/>
              </c:ext>
            </c:extLst>
          </c:dPt>
          <c:dPt>
            <c:idx val="945"/>
            <c:invertIfNegative val="1"/>
            <c:bubble3D val="0"/>
            <c:spPr>
              <a:solidFill>
                <a:srgbClr val="AEABAB"/>
              </a:solidFill>
            </c:spPr>
            <c:extLst>
              <c:ext xmlns:c16="http://schemas.microsoft.com/office/drawing/2014/chart" uri="{C3380CC4-5D6E-409C-BE32-E72D297353CC}">
                <c16:uniqueId val="{00000765-63DE-4091-B8DA-DB57396774D4}"/>
              </c:ext>
            </c:extLst>
          </c:dPt>
          <c:dPt>
            <c:idx val="946"/>
            <c:invertIfNegative val="1"/>
            <c:bubble3D val="0"/>
            <c:spPr>
              <a:solidFill>
                <a:srgbClr val="AEABAB"/>
              </a:solidFill>
            </c:spPr>
            <c:extLst>
              <c:ext xmlns:c16="http://schemas.microsoft.com/office/drawing/2014/chart" uri="{C3380CC4-5D6E-409C-BE32-E72D297353CC}">
                <c16:uniqueId val="{00000767-63DE-4091-B8DA-DB57396774D4}"/>
              </c:ext>
            </c:extLst>
          </c:dPt>
          <c:dPt>
            <c:idx val="947"/>
            <c:invertIfNegative val="1"/>
            <c:bubble3D val="0"/>
            <c:spPr>
              <a:solidFill>
                <a:srgbClr val="AEABAB"/>
              </a:solidFill>
            </c:spPr>
            <c:extLst>
              <c:ext xmlns:c16="http://schemas.microsoft.com/office/drawing/2014/chart" uri="{C3380CC4-5D6E-409C-BE32-E72D297353CC}">
                <c16:uniqueId val="{00000769-63DE-4091-B8DA-DB57396774D4}"/>
              </c:ext>
            </c:extLst>
          </c:dPt>
          <c:dPt>
            <c:idx val="948"/>
            <c:invertIfNegative val="1"/>
            <c:bubble3D val="0"/>
            <c:spPr>
              <a:solidFill>
                <a:srgbClr val="AEABAB"/>
              </a:solidFill>
            </c:spPr>
            <c:extLst>
              <c:ext xmlns:c16="http://schemas.microsoft.com/office/drawing/2014/chart" uri="{C3380CC4-5D6E-409C-BE32-E72D297353CC}">
                <c16:uniqueId val="{0000076B-63DE-4091-B8DA-DB57396774D4}"/>
              </c:ext>
            </c:extLst>
          </c:dPt>
          <c:dPt>
            <c:idx val="949"/>
            <c:invertIfNegative val="1"/>
            <c:bubble3D val="0"/>
            <c:spPr>
              <a:solidFill>
                <a:srgbClr val="AEABAB"/>
              </a:solidFill>
            </c:spPr>
            <c:extLst>
              <c:ext xmlns:c16="http://schemas.microsoft.com/office/drawing/2014/chart" uri="{C3380CC4-5D6E-409C-BE32-E72D297353CC}">
                <c16:uniqueId val="{0000076D-63DE-4091-B8DA-DB57396774D4}"/>
              </c:ext>
            </c:extLst>
          </c:dPt>
          <c:dPt>
            <c:idx val="950"/>
            <c:invertIfNegative val="1"/>
            <c:bubble3D val="0"/>
            <c:spPr>
              <a:solidFill>
                <a:srgbClr val="AEABAB"/>
              </a:solidFill>
            </c:spPr>
            <c:extLst>
              <c:ext xmlns:c16="http://schemas.microsoft.com/office/drawing/2014/chart" uri="{C3380CC4-5D6E-409C-BE32-E72D297353CC}">
                <c16:uniqueId val="{0000076F-63DE-4091-B8DA-DB57396774D4}"/>
              </c:ext>
            </c:extLst>
          </c:dPt>
          <c:dPt>
            <c:idx val="951"/>
            <c:invertIfNegative val="1"/>
            <c:bubble3D val="0"/>
            <c:spPr>
              <a:solidFill>
                <a:srgbClr val="AEABAB"/>
              </a:solidFill>
            </c:spPr>
            <c:extLst>
              <c:ext xmlns:c16="http://schemas.microsoft.com/office/drawing/2014/chart" uri="{C3380CC4-5D6E-409C-BE32-E72D297353CC}">
                <c16:uniqueId val="{00000771-63DE-4091-B8DA-DB57396774D4}"/>
              </c:ext>
            </c:extLst>
          </c:dPt>
          <c:dPt>
            <c:idx val="952"/>
            <c:invertIfNegative val="1"/>
            <c:bubble3D val="0"/>
            <c:spPr>
              <a:solidFill>
                <a:srgbClr val="AEABAB"/>
              </a:solidFill>
            </c:spPr>
            <c:extLst>
              <c:ext xmlns:c16="http://schemas.microsoft.com/office/drawing/2014/chart" uri="{C3380CC4-5D6E-409C-BE32-E72D297353CC}">
                <c16:uniqueId val="{00000773-63DE-4091-B8DA-DB57396774D4}"/>
              </c:ext>
            </c:extLst>
          </c:dPt>
          <c:dPt>
            <c:idx val="953"/>
            <c:invertIfNegative val="1"/>
            <c:bubble3D val="0"/>
            <c:spPr>
              <a:solidFill>
                <a:srgbClr val="AEABAB"/>
              </a:solidFill>
            </c:spPr>
            <c:extLst>
              <c:ext xmlns:c16="http://schemas.microsoft.com/office/drawing/2014/chart" uri="{C3380CC4-5D6E-409C-BE32-E72D297353CC}">
                <c16:uniqueId val="{00000775-63DE-4091-B8DA-DB57396774D4}"/>
              </c:ext>
            </c:extLst>
          </c:dPt>
          <c:dPt>
            <c:idx val="954"/>
            <c:invertIfNegative val="1"/>
            <c:bubble3D val="0"/>
            <c:spPr>
              <a:solidFill>
                <a:srgbClr val="AEABAB"/>
              </a:solidFill>
            </c:spPr>
            <c:extLst>
              <c:ext xmlns:c16="http://schemas.microsoft.com/office/drawing/2014/chart" uri="{C3380CC4-5D6E-409C-BE32-E72D297353CC}">
                <c16:uniqueId val="{00000777-63DE-4091-B8DA-DB57396774D4}"/>
              </c:ext>
            </c:extLst>
          </c:dPt>
          <c:dPt>
            <c:idx val="955"/>
            <c:invertIfNegative val="1"/>
            <c:bubble3D val="0"/>
            <c:spPr>
              <a:solidFill>
                <a:srgbClr val="AEABAB"/>
              </a:solidFill>
            </c:spPr>
            <c:extLst>
              <c:ext xmlns:c16="http://schemas.microsoft.com/office/drawing/2014/chart" uri="{C3380CC4-5D6E-409C-BE32-E72D297353CC}">
                <c16:uniqueId val="{00000779-63DE-4091-B8DA-DB57396774D4}"/>
              </c:ext>
            </c:extLst>
          </c:dPt>
          <c:dPt>
            <c:idx val="956"/>
            <c:invertIfNegative val="1"/>
            <c:bubble3D val="0"/>
            <c:spPr>
              <a:solidFill>
                <a:srgbClr val="AEABAB"/>
              </a:solidFill>
            </c:spPr>
            <c:extLst>
              <c:ext xmlns:c16="http://schemas.microsoft.com/office/drawing/2014/chart" uri="{C3380CC4-5D6E-409C-BE32-E72D297353CC}">
                <c16:uniqueId val="{0000077B-63DE-4091-B8DA-DB57396774D4}"/>
              </c:ext>
            </c:extLst>
          </c:dPt>
          <c:dPt>
            <c:idx val="957"/>
            <c:invertIfNegative val="1"/>
            <c:bubble3D val="0"/>
            <c:spPr>
              <a:solidFill>
                <a:srgbClr val="AEABAB"/>
              </a:solidFill>
            </c:spPr>
            <c:extLst>
              <c:ext xmlns:c16="http://schemas.microsoft.com/office/drawing/2014/chart" uri="{C3380CC4-5D6E-409C-BE32-E72D297353CC}">
                <c16:uniqueId val="{0000077D-63DE-4091-B8DA-DB57396774D4}"/>
              </c:ext>
            </c:extLst>
          </c:dPt>
          <c:dPt>
            <c:idx val="958"/>
            <c:invertIfNegative val="1"/>
            <c:bubble3D val="0"/>
            <c:spPr>
              <a:solidFill>
                <a:srgbClr val="AEABAB"/>
              </a:solidFill>
            </c:spPr>
            <c:extLst>
              <c:ext xmlns:c16="http://schemas.microsoft.com/office/drawing/2014/chart" uri="{C3380CC4-5D6E-409C-BE32-E72D297353CC}">
                <c16:uniqueId val="{0000077F-63DE-4091-B8DA-DB57396774D4}"/>
              </c:ext>
            </c:extLst>
          </c:dPt>
          <c:dPt>
            <c:idx val="959"/>
            <c:invertIfNegative val="1"/>
            <c:bubble3D val="0"/>
            <c:spPr>
              <a:solidFill>
                <a:srgbClr val="AEABAB"/>
              </a:solidFill>
            </c:spPr>
            <c:extLst>
              <c:ext xmlns:c16="http://schemas.microsoft.com/office/drawing/2014/chart" uri="{C3380CC4-5D6E-409C-BE32-E72D297353CC}">
                <c16:uniqueId val="{00000781-63DE-4091-B8DA-DB57396774D4}"/>
              </c:ext>
            </c:extLst>
          </c:dPt>
          <c:dPt>
            <c:idx val="960"/>
            <c:invertIfNegative val="1"/>
            <c:bubble3D val="0"/>
            <c:spPr>
              <a:solidFill>
                <a:srgbClr val="AEABAB"/>
              </a:solidFill>
            </c:spPr>
            <c:extLst>
              <c:ext xmlns:c16="http://schemas.microsoft.com/office/drawing/2014/chart" uri="{C3380CC4-5D6E-409C-BE32-E72D297353CC}">
                <c16:uniqueId val="{00000783-63DE-4091-B8DA-DB57396774D4}"/>
              </c:ext>
            </c:extLst>
          </c:dPt>
          <c:dPt>
            <c:idx val="961"/>
            <c:invertIfNegative val="1"/>
            <c:bubble3D val="0"/>
            <c:spPr>
              <a:solidFill>
                <a:srgbClr val="AEABAB"/>
              </a:solidFill>
            </c:spPr>
            <c:extLst>
              <c:ext xmlns:c16="http://schemas.microsoft.com/office/drawing/2014/chart" uri="{C3380CC4-5D6E-409C-BE32-E72D297353CC}">
                <c16:uniqueId val="{00000785-63DE-4091-B8DA-DB57396774D4}"/>
              </c:ext>
            </c:extLst>
          </c:dPt>
          <c:dPt>
            <c:idx val="962"/>
            <c:invertIfNegative val="1"/>
            <c:bubble3D val="0"/>
            <c:spPr>
              <a:solidFill>
                <a:srgbClr val="AEABAB"/>
              </a:solidFill>
            </c:spPr>
            <c:extLst>
              <c:ext xmlns:c16="http://schemas.microsoft.com/office/drawing/2014/chart" uri="{C3380CC4-5D6E-409C-BE32-E72D297353CC}">
                <c16:uniqueId val="{00000787-63DE-4091-B8DA-DB57396774D4}"/>
              </c:ext>
            </c:extLst>
          </c:dPt>
          <c:dPt>
            <c:idx val="963"/>
            <c:invertIfNegative val="1"/>
            <c:bubble3D val="0"/>
            <c:spPr>
              <a:solidFill>
                <a:srgbClr val="AEABAB"/>
              </a:solidFill>
            </c:spPr>
            <c:extLst>
              <c:ext xmlns:c16="http://schemas.microsoft.com/office/drawing/2014/chart" uri="{C3380CC4-5D6E-409C-BE32-E72D297353CC}">
                <c16:uniqueId val="{00000789-63DE-4091-B8DA-DB57396774D4}"/>
              </c:ext>
            </c:extLst>
          </c:dPt>
          <c:dPt>
            <c:idx val="964"/>
            <c:invertIfNegative val="1"/>
            <c:bubble3D val="0"/>
            <c:spPr>
              <a:solidFill>
                <a:srgbClr val="AEABAB"/>
              </a:solidFill>
            </c:spPr>
            <c:extLst>
              <c:ext xmlns:c16="http://schemas.microsoft.com/office/drawing/2014/chart" uri="{C3380CC4-5D6E-409C-BE32-E72D297353CC}">
                <c16:uniqueId val="{0000078B-63DE-4091-B8DA-DB57396774D4}"/>
              </c:ext>
            </c:extLst>
          </c:dPt>
          <c:dPt>
            <c:idx val="965"/>
            <c:invertIfNegative val="1"/>
            <c:bubble3D val="0"/>
            <c:spPr>
              <a:solidFill>
                <a:srgbClr val="AEABAB"/>
              </a:solidFill>
            </c:spPr>
            <c:extLst>
              <c:ext xmlns:c16="http://schemas.microsoft.com/office/drawing/2014/chart" uri="{C3380CC4-5D6E-409C-BE32-E72D297353CC}">
                <c16:uniqueId val="{0000078D-63DE-4091-B8DA-DB57396774D4}"/>
              </c:ext>
            </c:extLst>
          </c:dPt>
          <c:dPt>
            <c:idx val="966"/>
            <c:invertIfNegative val="1"/>
            <c:bubble3D val="0"/>
            <c:spPr>
              <a:solidFill>
                <a:srgbClr val="AEABAB"/>
              </a:solidFill>
            </c:spPr>
            <c:extLst>
              <c:ext xmlns:c16="http://schemas.microsoft.com/office/drawing/2014/chart" uri="{C3380CC4-5D6E-409C-BE32-E72D297353CC}">
                <c16:uniqueId val="{0000078F-63DE-4091-B8DA-DB57396774D4}"/>
              </c:ext>
            </c:extLst>
          </c:dPt>
          <c:dPt>
            <c:idx val="967"/>
            <c:invertIfNegative val="1"/>
            <c:bubble3D val="0"/>
            <c:spPr>
              <a:solidFill>
                <a:srgbClr val="AEABAB"/>
              </a:solidFill>
            </c:spPr>
            <c:extLst>
              <c:ext xmlns:c16="http://schemas.microsoft.com/office/drawing/2014/chart" uri="{C3380CC4-5D6E-409C-BE32-E72D297353CC}">
                <c16:uniqueId val="{00000791-63DE-4091-B8DA-DB57396774D4}"/>
              </c:ext>
            </c:extLst>
          </c:dPt>
          <c:dPt>
            <c:idx val="968"/>
            <c:invertIfNegative val="1"/>
            <c:bubble3D val="0"/>
            <c:spPr>
              <a:solidFill>
                <a:srgbClr val="AEABAB"/>
              </a:solidFill>
            </c:spPr>
            <c:extLst>
              <c:ext xmlns:c16="http://schemas.microsoft.com/office/drawing/2014/chart" uri="{C3380CC4-5D6E-409C-BE32-E72D297353CC}">
                <c16:uniqueId val="{00000793-63DE-4091-B8DA-DB57396774D4}"/>
              </c:ext>
            </c:extLst>
          </c:dPt>
          <c:dPt>
            <c:idx val="969"/>
            <c:invertIfNegative val="1"/>
            <c:bubble3D val="0"/>
            <c:spPr>
              <a:solidFill>
                <a:srgbClr val="AEABAB"/>
              </a:solidFill>
            </c:spPr>
            <c:extLst>
              <c:ext xmlns:c16="http://schemas.microsoft.com/office/drawing/2014/chart" uri="{C3380CC4-5D6E-409C-BE32-E72D297353CC}">
                <c16:uniqueId val="{00000795-63DE-4091-B8DA-DB57396774D4}"/>
              </c:ext>
            </c:extLst>
          </c:dPt>
          <c:dPt>
            <c:idx val="970"/>
            <c:invertIfNegative val="1"/>
            <c:bubble3D val="0"/>
            <c:spPr>
              <a:solidFill>
                <a:srgbClr val="AEABAB"/>
              </a:solidFill>
            </c:spPr>
            <c:extLst>
              <c:ext xmlns:c16="http://schemas.microsoft.com/office/drawing/2014/chart" uri="{C3380CC4-5D6E-409C-BE32-E72D297353CC}">
                <c16:uniqueId val="{00000797-63DE-4091-B8DA-DB57396774D4}"/>
              </c:ext>
            </c:extLst>
          </c:dPt>
          <c:dPt>
            <c:idx val="971"/>
            <c:invertIfNegative val="1"/>
            <c:bubble3D val="0"/>
            <c:spPr>
              <a:solidFill>
                <a:srgbClr val="AEABAB"/>
              </a:solidFill>
            </c:spPr>
            <c:extLst>
              <c:ext xmlns:c16="http://schemas.microsoft.com/office/drawing/2014/chart" uri="{C3380CC4-5D6E-409C-BE32-E72D297353CC}">
                <c16:uniqueId val="{00000799-63DE-4091-B8DA-DB57396774D4}"/>
              </c:ext>
            </c:extLst>
          </c:dPt>
          <c:dPt>
            <c:idx val="972"/>
            <c:invertIfNegative val="1"/>
            <c:bubble3D val="0"/>
            <c:spPr>
              <a:solidFill>
                <a:srgbClr val="AEABAB"/>
              </a:solidFill>
            </c:spPr>
            <c:extLst>
              <c:ext xmlns:c16="http://schemas.microsoft.com/office/drawing/2014/chart" uri="{C3380CC4-5D6E-409C-BE32-E72D297353CC}">
                <c16:uniqueId val="{0000079B-63DE-4091-B8DA-DB57396774D4}"/>
              </c:ext>
            </c:extLst>
          </c:dPt>
          <c:dPt>
            <c:idx val="973"/>
            <c:invertIfNegative val="1"/>
            <c:bubble3D val="0"/>
            <c:spPr>
              <a:solidFill>
                <a:srgbClr val="AEABAB"/>
              </a:solidFill>
            </c:spPr>
            <c:extLst>
              <c:ext xmlns:c16="http://schemas.microsoft.com/office/drawing/2014/chart" uri="{C3380CC4-5D6E-409C-BE32-E72D297353CC}">
                <c16:uniqueId val="{0000079D-63DE-4091-B8DA-DB57396774D4}"/>
              </c:ext>
            </c:extLst>
          </c:dPt>
          <c:dPt>
            <c:idx val="974"/>
            <c:invertIfNegative val="1"/>
            <c:bubble3D val="0"/>
            <c:spPr>
              <a:solidFill>
                <a:srgbClr val="AEABAB"/>
              </a:solidFill>
            </c:spPr>
            <c:extLst>
              <c:ext xmlns:c16="http://schemas.microsoft.com/office/drawing/2014/chart" uri="{C3380CC4-5D6E-409C-BE32-E72D297353CC}">
                <c16:uniqueId val="{0000079F-63DE-4091-B8DA-DB57396774D4}"/>
              </c:ext>
            </c:extLst>
          </c:dPt>
          <c:dPt>
            <c:idx val="975"/>
            <c:invertIfNegative val="1"/>
            <c:bubble3D val="0"/>
            <c:spPr>
              <a:solidFill>
                <a:srgbClr val="AEABAB"/>
              </a:solidFill>
            </c:spPr>
            <c:extLst>
              <c:ext xmlns:c16="http://schemas.microsoft.com/office/drawing/2014/chart" uri="{C3380CC4-5D6E-409C-BE32-E72D297353CC}">
                <c16:uniqueId val="{000007A1-63DE-4091-B8DA-DB57396774D4}"/>
              </c:ext>
            </c:extLst>
          </c:dPt>
          <c:dPt>
            <c:idx val="976"/>
            <c:invertIfNegative val="1"/>
            <c:bubble3D val="0"/>
            <c:spPr>
              <a:solidFill>
                <a:srgbClr val="AEABAB"/>
              </a:solidFill>
            </c:spPr>
            <c:extLst>
              <c:ext xmlns:c16="http://schemas.microsoft.com/office/drawing/2014/chart" uri="{C3380CC4-5D6E-409C-BE32-E72D297353CC}">
                <c16:uniqueId val="{000007A3-63DE-4091-B8DA-DB57396774D4}"/>
              </c:ext>
            </c:extLst>
          </c:dPt>
          <c:dPt>
            <c:idx val="977"/>
            <c:invertIfNegative val="1"/>
            <c:bubble3D val="0"/>
            <c:spPr>
              <a:solidFill>
                <a:srgbClr val="AEABAB"/>
              </a:solidFill>
            </c:spPr>
            <c:extLst>
              <c:ext xmlns:c16="http://schemas.microsoft.com/office/drawing/2014/chart" uri="{C3380CC4-5D6E-409C-BE32-E72D297353CC}">
                <c16:uniqueId val="{000007A5-63DE-4091-B8DA-DB57396774D4}"/>
              </c:ext>
            </c:extLst>
          </c:dPt>
          <c:dPt>
            <c:idx val="978"/>
            <c:invertIfNegative val="1"/>
            <c:bubble3D val="0"/>
            <c:spPr>
              <a:solidFill>
                <a:srgbClr val="AEABAB"/>
              </a:solidFill>
            </c:spPr>
            <c:extLst>
              <c:ext xmlns:c16="http://schemas.microsoft.com/office/drawing/2014/chart" uri="{C3380CC4-5D6E-409C-BE32-E72D297353CC}">
                <c16:uniqueId val="{000007A7-63DE-4091-B8DA-DB57396774D4}"/>
              </c:ext>
            </c:extLst>
          </c:dPt>
          <c:dPt>
            <c:idx val="979"/>
            <c:invertIfNegative val="1"/>
            <c:bubble3D val="0"/>
            <c:spPr>
              <a:solidFill>
                <a:srgbClr val="AEABAB"/>
              </a:solidFill>
            </c:spPr>
            <c:extLst>
              <c:ext xmlns:c16="http://schemas.microsoft.com/office/drawing/2014/chart" uri="{C3380CC4-5D6E-409C-BE32-E72D297353CC}">
                <c16:uniqueId val="{000007A9-63DE-4091-B8DA-DB57396774D4}"/>
              </c:ext>
            </c:extLst>
          </c:dPt>
          <c:dPt>
            <c:idx val="980"/>
            <c:invertIfNegative val="1"/>
            <c:bubble3D val="0"/>
            <c:spPr>
              <a:solidFill>
                <a:srgbClr val="AEABAB"/>
              </a:solidFill>
            </c:spPr>
            <c:extLst>
              <c:ext xmlns:c16="http://schemas.microsoft.com/office/drawing/2014/chart" uri="{C3380CC4-5D6E-409C-BE32-E72D297353CC}">
                <c16:uniqueId val="{000007AB-63DE-4091-B8DA-DB57396774D4}"/>
              </c:ext>
            </c:extLst>
          </c:dPt>
          <c:dPt>
            <c:idx val="981"/>
            <c:invertIfNegative val="1"/>
            <c:bubble3D val="0"/>
            <c:spPr>
              <a:solidFill>
                <a:srgbClr val="AEABAB"/>
              </a:solidFill>
            </c:spPr>
            <c:extLst>
              <c:ext xmlns:c16="http://schemas.microsoft.com/office/drawing/2014/chart" uri="{C3380CC4-5D6E-409C-BE32-E72D297353CC}">
                <c16:uniqueId val="{000007AD-63DE-4091-B8DA-DB57396774D4}"/>
              </c:ext>
            </c:extLst>
          </c:dPt>
          <c:dPt>
            <c:idx val="982"/>
            <c:invertIfNegative val="1"/>
            <c:bubble3D val="0"/>
            <c:spPr>
              <a:solidFill>
                <a:srgbClr val="AEABAB"/>
              </a:solidFill>
            </c:spPr>
            <c:extLst>
              <c:ext xmlns:c16="http://schemas.microsoft.com/office/drawing/2014/chart" uri="{C3380CC4-5D6E-409C-BE32-E72D297353CC}">
                <c16:uniqueId val="{000007AF-63DE-4091-B8DA-DB57396774D4}"/>
              </c:ext>
            </c:extLst>
          </c:dPt>
          <c:dPt>
            <c:idx val="983"/>
            <c:invertIfNegative val="1"/>
            <c:bubble3D val="0"/>
            <c:spPr>
              <a:solidFill>
                <a:srgbClr val="AEABAB"/>
              </a:solidFill>
            </c:spPr>
            <c:extLst>
              <c:ext xmlns:c16="http://schemas.microsoft.com/office/drawing/2014/chart" uri="{C3380CC4-5D6E-409C-BE32-E72D297353CC}">
                <c16:uniqueId val="{000007B1-63DE-4091-B8DA-DB57396774D4}"/>
              </c:ext>
            </c:extLst>
          </c:dPt>
          <c:dPt>
            <c:idx val="984"/>
            <c:invertIfNegative val="1"/>
            <c:bubble3D val="0"/>
            <c:spPr>
              <a:solidFill>
                <a:srgbClr val="AEABAB"/>
              </a:solidFill>
            </c:spPr>
            <c:extLst>
              <c:ext xmlns:c16="http://schemas.microsoft.com/office/drawing/2014/chart" uri="{C3380CC4-5D6E-409C-BE32-E72D297353CC}">
                <c16:uniqueId val="{000007B3-63DE-4091-B8DA-DB57396774D4}"/>
              </c:ext>
            </c:extLst>
          </c:dPt>
          <c:dPt>
            <c:idx val="985"/>
            <c:invertIfNegative val="1"/>
            <c:bubble3D val="0"/>
            <c:spPr>
              <a:solidFill>
                <a:srgbClr val="AEABAB"/>
              </a:solidFill>
            </c:spPr>
            <c:extLst>
              <c:ext xmlns:c16="http://schemas.microsoft.com/office/drawing/2014/chart" uri="{C3380CC4-5D6E-409C-BE32-E72D297353CC}">
                <c16:uniqueId val="{000007B5-63DE-4091-B8DA-DB57396774D4}"/>
              </c:ext>
            </c:extLst>
          </c:dPt>
          <c:dPt>
            <c:idx val="986"/>
            <c:invertIfNegative val="1"/>
            <c:bubble3D val="0"/>
            <c:spPr>
              <a:solidFill>
                <a:srgbClr val="AEABAB"/>
              </a:solidFill>
            </c:spPr>
            <c:extLst>
              <c:ext xmlns:c16="http://schemas.microsoft.com/office/drawing/2014/chart" uri="{C3380CC4-5D6E-409C-BE32-E72D297353CC}">
                <c16:uniqueId val="{000007B7-63DE-4091-B8DA-DB57396774D4}"/>
              </c:ext>
            </c:extLst>
          </c:dPt>
          <c:dPt>
            <c:idx val="987"/>
            <c:invertIfNegative val="1"/>
            <c:bubble3D val="0"/>
            <c:spPr>
              <a:solidFill>
                <a:srgbClr val="AEABAB"/>
              </a:solidFill>
            </c:spPr>
            <c:extLst>
              <c:ext xmlns:c16="http://schemas.microsoft.com/office/drawing/2014/chart" uri="{C3380CC4-5D6E-409C-BE32-E72D297353CC}">
                <c16:uniqueId val="{000007B9-63DE-4091-B8DA-DB57396774D4}"/>
              </c:ext>
            </c:extLst>
          </c:dPt>
          <c:dPt>
            <c:idx val="988"/>
            <c:invertIfNegative val="1"/>
            <c:bubble3D val="0"/>
            <c:spPr>
              <a:solidFill>
                <a:srgbClr val="AEABAB"/>
              </a:solidFill>
            </c:spPr>
            <c:extLst>
              <c:ext xmlns:c16="http://schemas.microsoft.com/office/drawing/2014/chart" uri="{C3380CC4-5D6E-409C-BE32-E72D297353CC}">
                <c16:uniqueId val="{000007BB-63DE-4091-B8DA-DB57396774D4}"/>
              </c:ext>
            </c:extLst>
          </c:dPt>
          <c:dPt>
            <c:idx val="989"/>
            <c:invertIfNegative val="1"/>
            <c:bubble3D val="0"/>
            <c:spPr>
              <a:solidFill>
                <a:srgbClr val="AEABAB"/>
              </a:solidFill>
            </c:spPr>
            <c:extLst>
              <c:ext xmlns:c16="http://schemas.microsoft.com/office/drawing/2014/chart" uri="{C3380CC4-5D6E-409C-BE32-E72D297353CC}">
                <c16:uniqueId val="{000007BD-63DE-4091-B8DA-DB57396774D4}"/>
              </c:ext>
            </c:extLst>
          </c:dPt>
          <c:dPt>
            <c:idx val="990"/>
            <c:invertIfNegative val="1"/>
            <c:bubble3D val="0"/>
            <c:spPr>
              <a:solidFill>
                <a:srgbClr val="AEABAB"/>
              </a:solidFill>
            </c:spPr>
            <c:extLst>
              <c:ext xmlns:c16="http://schemas.microsoft.com/office/drawing/2014/chart" uri="{C3380CC4-5D6E-409C-BE32-E72D297353CC}">
                <c16:uniqueId val="{000007BF-63DE-4091-B8DA-DB57396774D4}"/>
              </c:ext>
            </c:extLst>
          </c:dPt>
          <c:dPt>
            <c:idx val="991"/>
            <c:invertIfNegative val="1"/>
            <c:bubble3D val="0"/>
            <c:spPr>
              <a:solidFill>
                <a:srgbClr val="AEABAB"/>
              </a:solidFill>
            </c:spPr>
            <c:extLst>
              <c:ext xmlns:c16="http://schemas.microsoft.com/office/drawing/2014/chart" uri="{C3380CC4-5D6E-409C-BE32-E72D297353CC}">
                <c16:uniqueId val="{000007C1-63DE-4091-B8DA-DB57396774D4}"/>
              </c:ext>
            </c:extLst>
          </c:dPt>
          <c:dPt>
            <c:idx val="992"/>
            <c:invertIfNegative val="1"/>
            <c:bubble3D val="0"/>
            <c:spPr>
              <a:solidFill>
                <a:srgbClr val="AEABAB"/>
              </a:solidFill>
            </c:spPr>
            <c:extLst>
              <c:ext xmlns:c16="http://schemas.microsoft.com/office/drawing/2014/chart" uri="{C3380CC4-5D6E-409C-BE32-E72D297353CC}">
                <c16:uniqueId val="{000007C3-63DE-4091-B8DA-DB57396774D4}"/>
              </c:ext>
            </c:extLst>
          </c:dPt>
          <c:dPt>
            <c:idx val="993"/>
            <c:invertIfNegative val="1"/>
            <c:bubble3D val="0"/>
            <c:spPr>
              <a:solidFill>
                <a:srgbClr val="AEABAB"/>
              </a:solidFill>
            </c:spPr>
            <c:extLst>
              <c:ext xmlns:c16="http://schemas.microsoft.com/office/drawing/2014/chart" uri="{C3380CC4-5D6E-409C-BE32-E72D297353CC}">
                <c16:uniqueId val="{000007C5-63DE-4091-B8DA-DB57396774D4}"/>
              </c:ext>
            </c:extLst>
          </c:dPt>
          <c:dPt>
            <c:idx val="994"/>
            <c:invertIfNegative val="1"/>
            <c:bubble3D val="0"/>
            <c:spPr>
              <a:solidFill>
                <a:srgbClr val="AEABAB"/>
              </a:solidFill>
            </c:spPr>
            <c:extLst>
              <c:ext xmlns:c16="http://schemas.microsoft.com/office/drawing/2014/chart" uri="{C3380CC4-5D6E-409C-BE32-E72D297353CC}">
                <c16:uniqueId val="{000007C7-63DE-4091-B8DA-DB57396774D4}"/>
              </c:ext>
            </c:extLst>
          </c:dPt>
          <c:dPt>
            <c:idx val="995"/>
            <c:invertIfNegative val="1"/>
            <c:bubble3D val="0"/>
            <c:spPr>
              <a:solidFill>
                <a:srgbClr val="AEABAB"/>
              </a:solidFill>
            </c:spPr>
            <c:extLst>
              <c:ext xmlns:c16="http://schemas.microsoft.com/office/drawing/2014/chart" uri="{C3380CC4-5D6E-409C-BE32-E72D297353CC}">
                <c16:uniqueId val="{000007C9-63DE-4091-B8DA-DB57396774D4}"/>
              </c:ext>
            </c:extLst>
          </c:dPt>
          <c:dPt>
            <c:idx val="996"/>
            <c:invertIfNegative val="1"/>
            <c:bubble3D val="0"/>
            <c:spPr>
              <a:solidFill>
                <a:srgbClr val="AEABAB"/>
              </a:solidFill>
            </c:spPr>
            <c:extLst>
              <c:ext xmlns:c16="http://schemas.microsoft.com/office/drawing/2014/chart" uri="{C3380CC4-5D6E-409C-BE32-E72D297353CC}">
                <c16:uniqueId val="{000007CB-63DE-4091-B8DA-DB57396774D4}"/>
              </c:ext>
            </c:extLst>
          </c:dPt>
          <c:dPt>
            <c:idx val="997"/>
            <c:invertIfNegative val="1"/>
            <c:bubble3D val="0"/>
            <c:spPr>
              <a:solidFill>
                <a:srgbClr val="AEABAB"/>
              </a:solidFill>
            </c:spPr>
            <c:extLst>
              <c:ext xmlns:c16="http://schemas.microsoft.com/office/drawing/2014/chart" uri="{C3380CC4-5D6E-409C-BE32-E72D297353CC}">
                <c16:uniqueId val="{000007CD-63DE-4091-B8DA-DB57396774D4}"/>
              </c:ext>
            </c:extLst>
          </c:dPt>
          <c:dPt>
            <c:idx val="998"/>
            <c:invertIfNegative val="1"/>
            <c:bubble3D val="0"/>
            <c:spPr>
              <a:solidFill>
                <a:srgbClr val="AEABAB"/>
              </a:solidFill>
            </c:spPr>
            <c:extLst>
              <c:ext xmlns:c16="http://schemas.microsoft.com/office/drawing/2014/chart" uri="{C3380CC4-5D6E-409C-BE32-E72D297353CC}">
                <c16:uniqueId val="{000007CF-63DE-4091-B8DA-DB57396774D4}"/>
              </c:ext>
            </c:extLst>
          </c:dPt>
          <c:dPt>
            <c:idx val="999"/>
            <c:invertIfNegative val="1"/>
            <c:bubble3D val="0"/>
            <c:spPr>
              <a:solidFill>
                <a:srgbClr val="AEABAB"/>
              </a:solidFill>
            </c:spPr>
            <c:extLst>
              <c:ext xmlns:c16="http://schemas.microsoft.com/office/drawing/2014/chart" uri="{C3380CC4-5D6E-409C-BE32-E72D297353CC}">
                <c16:uniqueId val="{000007D1-63DE-4091-B8DA-DB57396774D4}"/>
              </c:ext>
            </c:extLst>
          </c:dPt>
          <c:dPt>
            <c:idx val="1000"/>
            <c:invertIfNegative val="1"/>
            <c:bubble3D val="0"/>
            <c:spPr>
              <a:solidFill>
                <a:srgbClr val="AEABAB"/>
              </a:solidFill>
            </c:spPr>
            <c:extLst>
              <c:ext xmlns:c16="http://schemas.microsoft.com/office/drawing/2014/chart" uri="{C3380CC4-5D6E-409C-BE32-E72D297353CC}">
                <c16:uniqueId val="{000007D3-63DE-4091-B8DA-DB57396774D4}"/>
              </c:ext>
            </c:extLst>
          </c:dPt>
          <c:dPt>
            <c:idx val="1001"/>
            <c:invertIfNegative val="1"/>
            <c:bubble3D val="0"/>
            <c:spPr>
              <a:solidFill>
                <a:srgbClr val="AEABAB"/>
              </a:solidFill>
            </c:spPr>
            <c:extLst>
              <c:ext xmlns:c16="http://schemas.microsoft.com/office/drawing/2014/chart" uri="{C3380CC4-5D6E-409C-BE32-E72D297353CC}">
                <c16:uniqueId val="{000007D5-63DE-4091-B8DA-DB57396774D4}"/>
              </c:ext>
            </c:extLst>
          </c:dPt>
          <c:dPt>
            <c:idx val="1002"/>
            <c:invertIfNegative val="1"/>
            <c:bubble3D val="0"/>
            <c:spPr>
              <a:solidFill>
                <a:srgbClr val="AEABAB"/>
              </a:solidFill>
            </c:spPr>
            <c:extLst>
              <c:ext xmlns:c16="http://schemas.microsoft.com/office/drawing/2014/chart" uri="{C3380CC4-5D6E-409C-BE32-E72D297353CC}">
                <c16:uniqueId val="{000007D7-63DE-4091-B8DA-DB57396774D4}"/>
              </c:ext>
            </c:extLst>
          </c:dPt>
          <c:dPt>
            <c:idx val="1003"/>
            <c:invertIfNegative val="1"/>
            <c:bubble3D val="0"/>
            <c:spPr>
              <a:solidFill>
                <a:srgbClr val="AEABAB"/>
              </a:solidFill>
            </c:spPr>
            <c:extLst>
              <c:ext xmlns:c16="http://schemas.microsoft.com/office/drawing/2014/chart" uri="{C3380CC4-5D6E-409C-BE32-E72D297353CC}">
                <c16:uniqueId val="{000007D9-63DE-4091-B8DA-DB57396774D4}"/>
              </c:ext>
            </c:extLst>
          </c:dPt>
          <c:dPt>
            <c:idx val="1004"/>
            <c:invertIfNegative val="1"/>
            <c:bubble3D val="0"/>
            <c:spPr>
              <a:solidFill>
                <a:srgbClr val="AEABAB"/>
              </a:solidFill>
            </c:spPr>
            <c:extLst>
              <c:ext xmlns:c16="http://schemas.microsoft.com/office/drawing/2014/chart" uri="{C3380CC4-5D6E-409C-BE32-E72D297353CC}">
                <c16:uniqueId val="{000007DB-63DE-4091-B8DA-DB57396774D4}"/>
              </c:ext>
            </c:extLst>
          </c:dPt>
          <c:dPt>
            <c:idx val="1005"/>
            <c:invertIfNegative val="1"/>
            <c:bubble3D val="0"/>
            <c:spPr>
              <a:solidFill>
                <a:srgbClr val="AEABAB"/>
              </a:solidFill>
            </c:spPr>
            <c:extLst>
              <c:ext xmlns:c16="http://schemas.microsoft.com/office/drawing/2014/chart" uri="{C3380CC4-5D6E-409C-BE32-E72D297353CC}">
                <c16:uniqueId val="{000007DD-63DE-4091-B8DA-DB57396774D4}"/>
              </c:ext>
            </c:extLst>
          </c:dPt>
          <c:dPt>
            <c:idx val="1006"/>
            <c:invertIfNegative val="1"/>
            <c:bubble3D val="0"/>
            <c:spPr>
              <a:solidFill>
                <a:srgbClr val="AEABAB"/>
              </a:solidFill>
            </c:spPr>
            <c:extLst>
              <c:ext xmlns:c16="http://schemas.microsoft.com/office/drawing/2014/chart" uri="{C3380CC4-5D6E-409C-BE32-E72D297353CC}">
                <c16:uniqueId val="{000007DF-63DE-4091-B8DA-DB57396774D4}"/>
              </c:ext>
            </c:extLst>
          </c:dPt>
          <c:dPt>
            <c:idx val="1007"/>
            <c:invertIfNegative val="1"/>
            <c:bubble3D val="0"/>
            <c:spPr>
              <a:solidFill>
                <a:srgbClr val="AEABAB"/>
              </a:solidFill>
            </c:spPr>
            <c:extLst>
              <c:ext xmlns:c16="http://schemas.microsoft.com/office/drawing/2014/chart" uri="{C3380CC4-5D6E-409C-BE32-E72D297353CC}">
                <c16:uniqueId val="{000007E1-63DE-4091-B8DA-DB57396774D4}"/>
              </c:ext>
            </c:extLst>
          </c:dPt>
          <c:dPt>
            <c:idx val="1008"/>
            <c:invertIfNegative val="1"/>
            <c:bubble3D val="0"/>
            <c:spPr>
              <a:solidFill>
                <a:srgbClr val="AEABAB"/>
              </a:solidFill>
            </c:spPr>
            <c:extLst>
              <c:ext xmlns:c16="http://schemas.microsoft.com/office/drawing/2014/chart" uri="{C3380CC4-5D6E-409C-BE32-E72D297353CC}">
                <c16:uniqueId val="{000007E3-63DE-4091-B8DA-DB57396774D4}"/>
              </c:ext>
            </c:extLst>
          </c:dPt>
          <c:dPt>
            <c:idx val="1009"/>
            <c:invertIfNegative val="1"/>
            <c:bubble3D val="0"/>
            <c:spPr>
              <a:solidFill>
                <a:srgbClr val="AEABAB"/>
              </a:solidFill>
            </c:spPr>
            <c:extLst>
              <c:ext xmlns:c16="http://schemas.microsoft.com/office/drawing/2014/chart" uri="{C3380CC4-5D6E-409C-BE32-E72D297353CC}">
                <c16:uniqueId val="{000007E5-63DE-4091-B8DA-DB57396774D4}"/>
              </c:ext>
            </c:extLst>
          </c:dPt>
          <c:dPt>
            <c:idx val="1010"/>
            <c:invertIfNegative val="1"/>
            <c:bubble3D val="0"/>
            <c:spPr>
              <a:solidFill>
                <a:srgbClr val="AEABAB"/>
              </a:solidFill>
            </c:spPr>
            <c:extLst>
              <c:ext xmlns:c16="http://schemas.microsoft.com/office/drawing/2014/chart" uri="{C3380CC4-5D6E-409C-BE32-E72D297353CC}">
                <c16:uniqueId val="{000007E7-63DE-4091-B8DA-DB57396774D4}"/>
              </c:ext>
            </c:extLst>
          </c:dPt>
          <c:dPt>
            <c:idx val="1011"/>
            <c:invertIfNegative val="1"/>
            <c:bubble3D val="0"/>
            <c:spPr>
              <a:solidFill>
                <a:srgbClr val="AEABAB"/>
              </a:solidFill>
            </c:spPr>
            <c:extLst>
              <c:ext xmlns:c16="http://schemas.microsoft.com/office/drawing/2014/chart" uri="{C3380CC4-5D6E-409C-BE32-E72D297353CC}">
                <c16:uniqueId val="{000007E9-63DE-4091-B8DA-DB57396774D4}"/>
              </c:ext>
            </c:extLst>
          </c:dPt>
          <c:dPt>
            <c:idx val="1012"/>
            <c:invertIfNegative val="1"/>
            <c:bubble3D val="0"/>
            <c:spPr>
              <a:solidFill>
                <a:srgbClr val="AEABAB"/>
              </a:solidFill>
            </c:spPr>
            <c:extLst>
              <c:ext xmlns:c16="http://schemas.microsoft.com/office/drawing/2014/chart" uri="{C3380CC4-5D6E-409C-BE32-E72D297353CC}">
                <c16:uniqueId val="{000007EB-63DE-4091-B8DA-DB57396774D4}"/>
              </c:ext>
            </c:extLst>
          </c:dPt>
          <c:dPt>
            <c:idx val="1013"/>
            <c:invertIfNegative val="1"/>
            <c:bubble3D val="0"/>
            <c:spPr>
              <a:solidFill>
                <a:srgbClr val="AEABAB"/>
              </a:solidFill>
            </c:spPr>
            <c:extLst>
              <c:ext xmlns:c16="http://schemas.microsoft.com/office/drawing/2014/chart" uri="{C3380CC4-5D6E-409C-BE32-E72D297353CC}">
                <c16:uniqueId val="{000007ED-63DE-4091-B8DA-DB57396774D4}"/>
              </c:ext>
            </c:extLst>
          </c:dPt>
          <c:dPt>
            <c:idx val="1014"/>
            <c:invertIfNegative val="1"/>
            <c:bubble3D val="0"/>
            <c:spPr>
              <a:solidFill>
                <a:srgbClr val="AEABAB"/>
              </a:solidFill>
            </c:spPr>
            <c:extLst>
              <c:ext xmlns:c16="http://schemas.microsoft.com/office/drawing/2014/chart" uri="{C3380CC4-5D6E-409C-BE32-E72D297353CC}">
                <c16:uniqueId val="{000007EF-63DE-4091-B8DA-DB57396774D4}"/>
              </c:ext>
            </c:extLst>
          </c:dPt>
          <c:dPt>
            <c:idx val="1015"/>
            <c:invertIfNegative val="1"/>
            <c:bubble3D val="0"/>
            <c:spPr>
              <a:solidFill>
                <a:srgbClr val="AEABAB"/>
              </a:solidFill>
            </c:spPr>
            <c:extLst>
              <c:ext xmlns:c16="http://schemas.microsoft.com/office/drawing/2014/chart" uri="{C3380CC4-5D6E-409C-BE32-E72D297353CC}">
                <c16:uniqueId val="{000007F1-63DE-4091-B8DA-DB57396774D4}"/>
              </c:ext>
            </c:extLst>
          </c:dPt>
          <c:dPt>
            <c:idx val="1016"/>
            <c:invertIfNegative val="1"/>
            <c:bubble3D val="0"/>
            <c:spPr>
              <a:solidFill>
                <a:srgbClr val="AEABAB"/>
              </a:solidFill>
            </c:spPr>
            <c:extLst>
              <c:ext xmlns:c16="http://schemas.microsoft.com/office/drawing/2014/chart" uri="{C3380CC4-5D6E-409C-BE32-E72D297353CC}">
                <c16:uniqueId val="{000007F3-63DE-4091-B8DA-DB57396774D4}"/>
              </c:ext>
            </c:extLst>
          </c:dPt>
          <c:dPt>
            <c:idx val="1017"/>
            <c:invertIfNegative val="1"/>
            <c:bubble3D val="0"/>
            <c:spPr>
              <a:solidFill>
                <a:srgbClr val="AEABAB"/>
              </a:solidFill>
            </c:spPr>
            <c:extLst>
              <c:ext xmlns:c16="http://schemas.microsoft.com/office/drawing/2014/chart" uri="{C3380CC4-5D6E-409C-BE32-E72D297353CC}">
                <c16:uniqueId val="{000007F5-63DE-4091-B8DA-DB57396774D4}"/>
              </c:ext>
            </c:extLst>
          </c:dPt>
          <c:dPt>
            <c:idx val="1018"/>
            <c:invertIfNegative val="1"/>
            <c:bubble3D val="0"/>
            <c:spPr>
              <a:solidFill>
                <a:srgbClr val="AEABAB"/>
              </a:solidFill>
            </c:spPr>
            <c:extLst>
              <c:ext xmlns:c16="http://schemas.microsoft.com/office/drawing/2014/chart" uri="{C3380CC4-5D6E-409C-BE32-E72D297353CC}">
                <c16:uniqueId val="{000007F7-63DE-4091-B8DA-DB57396774D4}"/>
              </c:ext>
            </c:extLst>
          </c:dPt>
          <c:dPt>
            <c:idx val="1019"/>
            <c:invertIfNegative val="1"/>
            <c:bubble3D val="0"/>
            <c:spPr>
              <a:solidFill>
                <a:srgbClr val="AEABAB"/>
              </a:solidFill>
            </c:spPr>
            <c:extLst>
              <c:ext xmlns:c16="http://schemas.microsoft.com/office/drawing/2014/chart" uri="{C3380CC4-5D6E-409C-BE32-E72D297353CC}">
                <c16:uniqueId val="{000007F9-63DE-4091-B8DA-DB57396774D4}"/>
              </c:ext>
            </c:extLst>
          </c:dPt>
          <c:dPt>
            <c:idx val="1020"/>
            <c:invertIfNegative val="1"/>
            <c:bubble3D val="0"/>
            <c:spPr>
              <a:solidFill>
                <a:srgbClr val="AEABAB"/>
              </a:solidFill>
            </c:spPr>
            <c:extLst>
              <c:ext xmlns:c16="http://schemas.microsoft.com/office/drawing/2014/chart" uri="{C3380CC4-5D6E-409C-BE32-E72D297353CC}">
                <c16:uniqueId val="{000007FB-63DE-4091-B8DA-DB57396774D4}"/>
              </c:ext>
            </c:extLst>
          </c:dPt>
          <c:dPt>
            <c:idx val="1021"/>
            <c:invertIfNegative val="1"/>
            <c:bubble3D val="0"/>
            <c:spPr>
              <a:solidFill>
                <a:srgbClr val="AEABAB"/>
              </a:solidFill>
            </c:spPr>
            <c:extLst>
              <c:ext xmlns:c16="http://schemas.microsoft.com/office/drawing/2014/chart" uri="{C3380CC4-5D6E-409C-BE32-E72D297353CC}">
                <c16:uniqueId val="{000007FD-63DE-4091-B8DA-DB57396774D4}"/>
              </c:ext>
            </c:extLst>
          </c:dPt>
          <c:dPt>
            <c:idx val="1022"/>
            <c:invertIfNegative val="1"/>
            <c:bubble3D val="0"/>
            <c:spPr>
              <a:solidFill>
                <a:srgbClr val="AEABAB"/>
              </a:solidFill>
            </c:spPr>
            <c:extLst>
              <c:ext xmlns:c16="http://schemas.microsoft.com/office/drawing/2014/chart" uri="{C3380CC4-5D6E-409C-BE32-E72D297353CC}">
                <c16:uniqueId val="{000007FF-63DE-4091-B8DA-DB57396774D4}"/>
              </c:ext>
            </c:extLst>
          </c:dPt>
          <c:dPt>
            <c:idx val="1023"/>
            <c:invertIfNegative val="1"/>
            <c:bubble3D val="0"/>
            <c:spPr>
              <a:solidFill>
                <a:srgbClr val="AEABAB"/>
              </a:solidFill>
            </c:spPr>
            <c:extLst>
              <c:ext xmlns:c16="http://schemas.microsoft.com/office/drawing/2014/chart" uri="{C3380CC4-5D6E-409C-BE32-E72D297353CC}">
                <c16:uniqueId val="{00000801-63DE-4091-B8DA-DB57396774D4}"/>
              </c:ext>
            </c:extLst>
          </c:dPt>
          <c:dPt>
            <c:idx val="1024"/>
            <c:invertIfNegative val="1"/>
            <c:bubble3D val="0"/>
            <c:spPr>
              <a:solidFill>
                <a:srgbClr val="AEABAB"/>
              </a:solidFill>
            </c:spPr>
            <c:extLst>
              <c:ext xmlns:c16="http://schemas.microsoft.com/office/drawing/2014/chart" uri="{C3380CC4-5D6E-409C-BE32-E72D297353CC}">
                <c16:uniqueId val="{00000803-63DE-4091-B8DA-DB57396774D4}"/>
              </c:ext>
            </c:extLst>
          </c:dPt>
          <c:dPt>
            <c:idx val="1025"/>
            <c:invertIfNegative val="1"/>
            <c:bubble3D val="0"/>
            <c:spPr>
              <a:solidFill>
                <a:srgbClr val="AEABAB"/>
              </a:solidFill>
            </c:spPr>
            <c:extLst>
              <c:ext xmlns:c16="http://schemas.microsoft.com/office/drawing/2014/chart" uri="{C3380CC4-5D6E-409C-BE32-E72D297353CC}">
                <c16:uniqueId val="{00000805-63DE-4091-B8DA-DB57396774D4}"/>
              </c:ext>
            </c:extLst>
          </c:dPt>
          <c:dPt>
            <c:idx val="1026"/>
            <c:invertIfNegative val="1"/>
            <c:bubble3D val="0"/>
            <c:spPr>
              <a:solidFill>
                <a:srgbClr val="AEABAB"/>
              </a:solidFill>
            </c:spPr>
            <c:extLst>
              <c:ext xmlns:c16="http://schemas.microsoft.com/office/drawing/2014/chart" uri="{C3380CC4-5D6E-409C-BE32-E72D297353CC}">
                <c16:uniqueId val="{00000807-63DE-4091-B8DA-DB57396774D4}"/>
              </c:ext>
            </c:extLst>
          </c:dPt>
          <c:dPt>
            <c:idx val="1027"/>
            <c:invertIfNegative val="1"/>
            <c:bubble3D val="0"/>
            <c:spPr>
              <a:solidFill>
                <a:srgbClr val="AEABAB"/>
              </a:solidFill>
            </c:spPr>
            <c:extLst>
              <c:ext xmlns:c16="http://schemas.microsoft.com/office/drawing/2014/chart" uri="{C3380CC4-5D6E-409C-BE32-E72D297353CC}">
                <c16:uniqueId val="{00000809-63DE-4091-B8DA-DB57396774D4}"/>
              </c:ext>
            </c:extLst>
          </c:dPt>
          <c:dPt>
            <c:idx val="1028"/>
            <c:invertIfNegative val="1"/>
            <c:bubble3D val="0"/>
            <c:spPr>
              <a:solidFill>
                <a:srgbClr val="AEABAB"/>
              </a:solidFill>
            </c:spPr>
            <c:extLst>
              <c:ext xmlns:c16="http://schemas.microsoft.com/office/drawing/2014/chart" uri="{C3380CC4-5D6E-409C-BE32-E72D297353CC}">
                <c16:uniqueId val="{0000080B-63DE-4091-B8DA-DB57396774D4}"/>
              </c:ext>
            </c:extLst>
          </c:dPt>
          <c:cat>
            <c:strRef>
              <c:f>Sheet1!$A$2:$A$1030</c:f>
              <c:strCache>
                <c:ptCount val="1029"/>
                <c:pt idx="0">
                  <c:v>Caprice Des</c:v>
                </c:pt>
                <c:pt idx="1">
                  <c:v>Galbani</c:v>
                </c:pt>
                <c:pt idx="2">
                  <c:v>Caprice Des</c:v>
                </c:pt>
                <c:pt idx="3">
                  <c:v>Coeur De Li</c:v>
                </c:pt>
                <c:pt idx="4">
                  <c:v>President</c:v>
                </c:pt>
                <c:pt idx="5">
                  <c:v>Soignon</c:v>
                </c:pt>
                <c:pt idx="6">
                  <c:v>Salakis</c:v>
                </c:pt>
                <c:pt idx="7">
                  <c:v>Le Rustique</c:v>
                </c:pt>
                <c:pt idx="8">
                  <c:v>Coeur De Li</c:v>
                </c:pt>
                <c:pt idx="9">
                  <c:v>Mini Babybe</c:v>
                </c:pt>
                <c:pt idx="10">
                  <c:v>Mini Babybe</c:v>
                </c:pt>
                <c:pt idx="11">
                  <c:v>La Vache Qu</c:v>
                </c:pt>
                <c:pt idx="12">
                  <c:v>St Moret</c:v>
                </c:pt>
                <c:pt idx="13">
                  <c:v>Soignon</c:v>
                </c:pt>
                <c:pt idx="14">
                  <c:v>La Vache Qu</c:v>
                </c:pt>
                <c:pt idx="15">
                  <c:v>Islos</c:v>
                </c:pt>
                <c:pt idx="16">
                  <c:v>La Vache Qu</c:v>
                </c:pt>
                <c:pt idx="17">
                  <c:v>Kiri</c:v>
                </c:pt>
                <c:pt idx="18">
                  <c:v>St Moret</c:v>
                </c:pt>
                <c:pt idx="19">
                  <c:v>Paysan Bret</c:v>
                </c:pt>
                <c:pt idx="20">
                  <c:v>Tartare</c:v>
                </c:pt>
                <c:pt idx="21">
                  <c:v>Salakis</c:v>
                </c:pt>
                <c:pt idx="22">
                  <c:v>Soignon</c:v>
                </c:pt>
                <c:pt idx="23">
                  <c:v>St Moret</c:v>
                </c:pt>
                <c:pt idx="24">
                  <c:v>All Others</c:v>
                </c:pt>
                <c:pt idx="25">
                  <c:v>President</c:v>
                </c:pt>
                <c:pt idx="26">
                  <c:v>Ficello</c:v>
                </c:pt>
                <c:pt idx="27">
                  <c:v>Kiri</c:v>
                </c:pt>
                <c:pt idx="28">
                  <c:v>Kiri</c:v>
                </c:pt>
                <c:pt idx="29">
                  <c:v>Mini Babybe</c:v>
                </c:pt>
                <c:pt idx="30">
                  <c:v>Galbani</c:v>
                </c:pt>
                <c:pt idx="31">
                  <c:v>Galbani</c:v>
                </c:pt>
                <c:pt idx="32">
                  <c:v>Carre Frais</c:v>
                </c:pt>
                <c:pt idx="33">
                  <c:v>Carre Frais</c:v>
                </c:pt>
                <c:pt idx="34">
                  <c:v>Paysan Bret</c:v>
                </c:pt>
                <c:pt idx="35">
                  <c:v>All Others</c:v>
                </c:pt>
                <c:pt idx="36">
                  <c:v>Casa Azzurr</c:v>
                </c:pt>
                <c:pt idx="37">
                  <c:v>Casa Azzurr</c:v>
                </c:pt>
                <c:pt idx="38">
                  <c:v>Philadelphi</c:v>
                </c:pt>
                <c:pt idx="39">
                  <c:v>Petit Billy</c:v>
                </c:pt>
                <c:pt idx="40">
                  <c:v>All Others</c:v>
                </c:pt>
                <c:pt idx="41">
                  <c:v>President</c:v>
                </c:pt>
                <c:pt idx="42">
                  <c:v>Coeur De Li</c:v>
                </c:pt>
                <c:pt idx="43">
                  <c:v>Ficello</c:v>
                </c:pt>
                <c:pt idx="44">
                  <c:v>Mini Babybe</c:v>
                </c:pt>
                <c:pt idx="45">
                  <c:v>Galbani</c:v>
                </c:pt>
                <c:pt idx="46">
                  <c:v>Boursin</c:v>
                </c:pt>
                <c:pt idx="47">
                  <c:v>St Moret</c:v>
                </c:pt>
                <c:pt idx="48">
                  <c:v>Kiri</c:v>
                </c:pt>
                <c:pt idx="49">
                  <c:v>Casa Azzurr</c:v>
                </c:pt>
                <c:pt idx="50">
                  <c:v>St Moret</c:v>
                </c:pt>
                <c:pt idx="51">
                  <c:v>Boursin</c:v>
                </c:pt>
                <c:pt idx="52">
                  <c:v>Casa Azzurr</c:v>
                </c:pt>
                <c:pt idx="53">
                  <c:v>Caprice Des</c:v>
                </c:pt>
                <c:pt idx="54">
                  <c:v>President</c:v>
                </c:pt>
                <c:pt idx="55">
                  <c:v>St Moret</c:v>
                </c:pt>
                <c:pt idx="56">
                  <c:v>Lepetit</c:v>
                </c:pt>
                <c:pt idx="57">
                  <c:v>Boursin</c:v>
                </c:pt>
                <c:pt idx="58">
                  <c:v>Casa Azzurr</c:v>
                </c:pt>
                <c:pt idx="59">
                  <c:v>Salakis</c:v>
                </c:pt>
                <c:pt idx="60">
                  <c:v>All Others</c:v>
                </c:pt>
                <c:pt idx="61">
                  <c:v>Casa Azzurr</c:v>
                </c:pt>
                <c:pt idx="62">
                  <c:v>Soignon</c:v>
                </c:pt>
                <c:pt idx="63">
                  <c:v>Galbani</c:v>
                </c:pt>
                <c:pt idx="64">
                  <c:v>Philadelphi</c:v>
                </c:pt>
                <c:pt idx="65">
                  <c:v>Istara</c:v>
                </c:pt>
                <c:pt idx="66">
                  <c:v>Salakis</c:v>
                </c:pt>
                <c:pt idx="67">
                  <c:v>St Moret</c:v>
                </c:pt>
                <c:pt idx="68">
                  <c:v>Tartare</c:v>
                </c:pt>
                <c:pt idx="69">
                  <c:v>La Vache Qu</c:v>
                </c:pt>
                <c:pt idx="70">
                  <c:v>Lou Perac</c:v>
                </c:pt>
                <c:pt idx="71">
                  <c:v>All Others</c:v>
                </c:pt>
                <c:pt idx="72">
                  <c:v>Le Brebiou</c:v>
                </c:pt>
                <c:pt idx="73">
                  <c:v>Etorki</c:v>
                </c:pt>
                <c:pt idx="74">
                  <c:v>Paysan Bret</c:v>
                </c:pt>
                <c:pt idx="75">
                  <c:v>All Others</c:v>
                </c:pt>
                <c:pt idx="76">
                  <c:v>Coeur De Li</c:v>
                </c:pt>
                <c:pt idx="77">
                  <c:v>Soignon</c:v>
                </c:pt>
                <c:pt idx="78">
                  <c:v>President</c:v>
                </c:pt>
                <c:pt idx="79">
                  <c:v>All Others</c:v>
                </c:pt>
                <c:pt idx="80">
                  <c:v>Tartare</c:v>
                </c:pt>
                <c:pt idx="81">
                  <c:v>Casa Azzurr</c:v>
                </c:pt>
                <c:pt idx="82">
                  <c:v>Galbani</c:v>
                </c:pt>
                <c:pt idx="83">
                  <c:v>Paysan Bret</c:v>
                </c:pt>
                <c:pt idx="84">
                  <c:v>St Moret</c:v>
                </c:pt>
                <c:pt idx="85">
                  <c:v>La Vache Qu</c:v>
                </c:pt>
                <c:pt idx="86">
                  <c:v>St Moret</c:v>
                </c:pt>
                <c:pt idx="87">
                  <c:v>President</c:v>
                </c:pt>
                <c:pt idx="88">
                  <c:v>President</c:v>
                </c:pt>
                <c:pt idx="89">
                  <c:v>President</c:v>
                </c:pt>
                <c:pt idx="90">
                  <c:v>Chavroux</c:v>
                </c:pt>
                <c:pt idx="91">
                  <c:v>Boursin</c:v>
                </c:pt>
                <c:pt idx="92">
                  <c:v>Galbani</c:v>
                </c:pt>
                <c:pt idx="93">
                  <c:v>All Others</c:v>
                </c:pt>
                <c:pt idx="94">
                  <c:v>President</c:v>
                </c:pt>
                <c:pt idx="95">
                  <c:v>Kiri</c:v>
                </c:pt>
                <c:pt idx="96">
                  <c:v>Kiri</c:v>
                </c:pt>
                <c:pt idx="97">
                  <c:v>All Others</c:v>
                </c:pt>
                <c:pt idx="98">
                  <c:v>Le Rustique</c:v>
                </c:pt>
                <c:pt idx="99">
                  <c:v>Casa Azzurr</c:v>
                </c:pt>
                <c:pt idx="100">
                  <c:v>Salakis</c:v>
                </c:pt>
                <c:pt idx="101">
                  <c:v>All Others</c:v>
                </c:pt>
                <c:pt idx="102">
                  <c:v>Coeur De Li</c:v>
                </c:pt>
                <c:pt idx="103">
                  <c:v>Soignon</c:v>
                </c:pt>
                <c:pt idx="104">
                  <c:v>Casa Azzurr</c:v>
                </c:pt>
                <c:pt idx="105">
                  <c:v>President</c:v>
                </c:pt>
                <c:pt idx="106">
                  <c:v>All Others</c:v>
                </c:pt>
                <c:pt idx="107">
                  <c:v>All Others</c:v>
                </c:pt>
                <c:pt idx="108">
                  <c:v>Lactalis: A</c:v>
                </c:pt>
                <c:pt idx="109">
                  <c:v>Caprice Des</c:v>
                </c:pt>
                <c:pt idx="110">
                  <c:v>Salakis</c:v>
                </c:pt>
                <c:pt idx="111">
                  <c:v>La Vache Qu</c:v>
                </c:pt>
                <c:pt idx="112">
                  <c:v>Philadelphi</c:v>
                </c:pt>
                <c:pt idx="113">
                  <c:v>Casa Azzurr</c:v>
                </c:pt>
                <c:pt idx="114">
                  <c:v>Istara</c:v>
                </c:pt>
                <c:pt idx="115">
                  <c:v>President</c:v>
                </c:pt>
                <c:pt idx="116">
                  <c:v>Lactalis: A</c:v>
                </c:pt>
                <c:pt idx="117">
                  <c:v>All Others</c:v>
                </c:pt>
                <c:pt idx="118">
                  <c:v>Le Rustique</c:v>
                </c:pt>
                <c:pt idx="119">
                  <c:v>Soignon</c:v>
                </c:pt>
                <c:pt idx="120">
                  <c:v>All Others</c:v>
                </c:pt>
                <c:pt idx="121">
                  <c:v>Paysan Bret</c:v>
                </c:pt>
                <c:pt idx="122">
                  <c:v>Tartare</c:v>
                </c:pt>
                <c:pt idx="123">
                  <c:v>Paysan Bret</c:v>
                </c:pt>
                <c:pt idx="124">
                  <c:v>Lou Perac</c:v>
                </c:pt>
                <c:pt idx="125">
                  <c:v>All Others</c:v>
                </c:pt>
                <c:pt idx="126">
                  <c:v>Galbani</c:v>
                </c:pt>
                <c:pt idx="127">
                  <c:v>Galbani</c:v>
                </c:pt>
                <c:pt idx="128">
                  <c:v>Rondele</c:v>
                </c:pt>
                <c:pt idx="129">
                  <c:v>All Others</c:v>
                </c:pt>
                <c:pt idx="130">
                  <c:v>All Others</c:v>
                </c:pt>
                <c:pt idx="131">
                  <c:v>Carre Frais</c:v>
                </c:pt>
                <c:pt idx="132">
                  <c:v>P'Tit Louis</c:v>
                </c:pt>
                <c:pt idx="133">
                  <c:v>Galbani</c:v>
                </c:pt>
                <c:pt idx="134">
                  <c:v>Chavroux</c:v>
                </c:pt>
                <c:pt idx="135">
                  <c:v>All Others</c:v>
                </c:pt>
                <c:pt idx="136">
                  <c:v>Boursin</c:v>
                </c:pt>
                <c:pt idx="137">
                  <c:v>Le Rustique</c:v>
                </c:pt>
                <c:pt idx="138">
                  <c:v>Lactalis: A</c:v>
                </c:pt>
                <c:pt idx="139">
                  <c:v>All Others</c:v>
                </c:pt>
                <c:pt idx="140">
                  <c:v>All Others</c:v>
                </c:pt>
                <c:pt idx="141">
                  <c:v>Soignon</c:v>
                </c:pt>
                <c:pt idx="142">
                  <c:v>Mini Babybe</c:v>
                </c:pt>
                <c:pt idx="143">
                  <c:v>Savencia: A</c:v>
                </c:pt>
                <c:pt idx="144">
                  <c:v>All Others</c:v>
                </c:pt>
                <c:pt idx="145">
                  <c:v>Soignon</c:v>
                </c:pt>
                <c:pt idx="146">
                  <c:v>President</c:v>
                </c:pt>
                <c:pt idx="147">
                  <c:v>All Others</c:v>
                </c:pt>
                <c:pt idx="148">
                  <c:v>All Others</c:v>
                </c:pt>
                <c:pt idx="149">
                  <c:v>Salakis</c:v>
                </c:pt>
                <c:pt idx="150">
                  <c:v>All Others</c:v>
                </c:pt>
                <c:pt idx="151">
                  <c:v>Soignon</c:v>
                </c:pt>
                <c:pt idx="152">
                  <c:v>Casa Azzurr</c:v>
                </c:pt>
                <c:pt idx="153">
                  <c:v>Paysan Bret</c:v>
                </c:pt>
                <c:pt idx="154">
                  <c:v>All Others</c:v>
                </c:pt>
                <c:pt idx="155">
                  <c:v>All Others</c:v>
                </c:pt>
                <c:pt idx="156">
                  <c:v>All Others</c:v>
                </c:pt>
                <c:pt idx="157">
                  <c:v>Mini Babybe</c:v>
                </c:pt>
                <c:pt idx="158">
                  <c:v>All Others</c:v>
                </c:pt>
                <c:pt idx="159">
                  <c:v>All Others</c:v>
                </c:pt>
                <c:pt idx="160">
                  <c:v>All Others</c:v>
                </c:pt>
                <c:pt idx="161">
                  <c:v>All Others</c:v>
                </c:pt>
                <c:pt idx="162">
                  <c:v>Lactalis: A</c:v>
                </c:pt>
                <c:pt idx="163">
                  <c:v>All Others</c:v>
                </c:pt>
                <c:pt idx="164">
                  <c:v>Caprice Des</c:v>
                </c:pt>
                <c:pt idx="165">
                  <c:v>President</c:v>
                </c:pt>
                <c:pt idx="166">
                  <c:v>All Others</c:v>
                </c:pt>
                <c:pt idx="167">
                  <c:v>Islos</c:v>
                </c:pt>
                <c:pt idx="168">
                  <c:v>All Others</c:v>
                </c:pt>
                <c:pt idx="169">
                  <c:v>Boursin</c:v>
                </c:pt>
                <c:pt idx="170">
                  <c:v>All Others</c:v>
                </c:pt>
                <c:pt idx="171">
                  <c:v>All Others</c:v>
                </c:pt>
                <c:pt idx="172">
                  <c:v>Chavroux</c:v>
                </c:pt>
                <c:pt idx="173">
                  <c:v>All Others</c:v>
                </c:pt>
                <c:pt idx="174">
                  <c:v>Boursin</c:v>
                </c:pt>
                <c:pt idx="175">
                  <c:v>All Others</c:v>
                </c:pt>
                <c:pt idx="176">
                  <c:v>Casa Azzurr</c:v>
                </c:pt>
                <c:pt idx="177">
                  <c:v>All Others</c:v>
                </c:pt>
                <c:pt idx="178">
                  <c:v>Caprice Des</c:v>
                </c:pt>
                <c:pt idx="179">
                  <c:v>All Others</c:v>
                </c:pt>
                <c:pt idx="180">
                  <c:v>Ficello</c:v>
                </c:pt>
                <c:pt idx="181">
                  <c:v>All Others</c:v>
                </c:pt>
                <c:pt idx="182">
                  <c:v>All Others</c:v>
                </c:pt>
                <c:pt idx="183">
                  <c:v>Casa Azzurr</c:v>
                </c:pt>
                <c:pt idx="184">
                  <c:v>All Others</c:v>
                </c:pt>
                <c:pt idx="185">
                  <c:v>Boursin</c:v>
                </c:pt>
                <c:pt idx="186">
                  <c:v>Paysan Bret</c:v>
                </c:pt>
                <c:pt idx="187">
                  <c:v>Casa Azzurr</c:v>
                </c:pt>
                <c:pt idx="188">
                  <c:v>Boursin</c:v>
                </c:pt>
                <c:pt idx="189">
                  <c:v>Kiri</c:v>
                </c:pt>
                <c:pt idx="190">
                  <c:v>All Others</c:v>
                </c:pt>
                <c:pt idx="191">
                  <c:v>All Others</c:v>
                </c:pt>
                <c:pt idx="192">
                  <c:v>Rondele</c:v>
                </c:pt>
                <c:pt idx="193">
                  <c:v>Galbani</c:v>
                </c:pt>
                <c:pt idx="194">
                  <c:v>Lou Perac</c:v>
                </c:pt>
                <c:pt idx="195">
                  <c:v>Galbani</c:v>
                </c:pt>
                <c:pt idx="196">
                  <c:v>Savencia: A</c:v>
                </c:pt>
                <c:pt idx="197">
                  <c:v>All Others</c:v>
                </c:pt>
                <c:pt idx="198">
                  <c:v>All Others</c:v>
                </c:pt>
                <c:pt idx="199">
                  <c:v>All Others</c:v>
                </c:pt>
                <c:pt idx="200">
                  <c:v>St Moret</c:v>
                </c:pt>
                <c:pt idx="201">
                  <c:v>Lactalis: A</c:v>
                </c:pt>
                <c:pt idx="202">
                  <c:v>Soignon</c:v>
                </c:pt>
                <c:pt idx="203">
                  <c:v>Laita: All </c:v>
                </c:pt>
                <c:pt idx="204">
                  <c:v>All Others</c:v>
                </c:pt>
                <c:pt idx="205">
                  <c:v>All Others</c:v>
                </c:pt>
                <c:pt idx="206">
                  <c:v>Soignon</c:v>
                </c:pt>
                <c:pt idx="207">
                  <c:v>Mini Babybe</c:v>
                </c:pt>
                <c:pt idx="208">
                  <c:v>Boursin</c:v>
                </c:pt>
                <c:pt idx="209">
                  <c:v>All Others</c:v>
                </c:pt>
                <c:pt idx="210">
                  <c:v>Kiri</c:v>
                </c:pt>
                <c:pt idx="211">
                  <c:v>All Others</c:v>
                </c:pt>
                <c:pt idx="212">
                  <c:v>Pave D'Affi</c:v>
                </c:pt>
                <c:pt idx="213">
                  <c:v>Lou Perac</c:v>
                </c:pt>
                <c:pt idx="214">
                  <c:v>All Others</c:v>
                </c:pt>
                <c:pt idx="215">
                  <c:v>Caprice Des</c:v>
                </c:pt>
                <c:pt idx="216">
                  <c:v>Coeur De Li</c:v>
                </c:pt>
                <c:pt idx="217">
                  <c:v>All Others</c:v>
                </c:pt>
                <c:pt idx="218">
                  <c:v>Islos</c:v>
                </c:pt>
                <c:pt idx="219">
                  <c:v>Mini Babybe</c:v>
                </c:pt>
                <c:pt idx="220">
                  <c:v>Paysan Bret</c:v>
                </c:pt>
                <c:pt idx="221">
                  <c:v>All Others</c:v>
                </c:pt>
                <c:pt idx="222">
                  <c:v>All Others</c:v>
                </c:pt>
                <c:pt idx="223">
                  <c:v>All Others</c:v>
                </c:pt>
                <c:pt idx="224">
                  <c:v>All Others</c:v>
                </c:pt>
                <c:pt idx="225">
                  <c:v>All Others</c:v>
                </c:pt>
                <c:pt idx="226">
                  <c:v>Philadelphi</c:v>
                </c:pt>
                <c:pt idx="227">
                  <c:v>All Others</c:v>
                </c:pt>
                <c:pt idx="228">
                  <c:v>All Others</c:v>
                </c:pt>
                <c:pt idx="229">
                  <c:v>All Others</c:v>
                </c:pt>
                <c:pt idx="230">
                  <c:v>La Vache Qu</c:v>
                </c:pt>
                <c:pt idx="231">
                  <c:v>Triballat N</c:v>
                </c:pt>
                <c:pt idx="232">
                  <c:v>All Others</c:v>
                </c:pt>
                <c:pt idx="233">
                  <c:v>All Others</c:v>
                </c:pt>
                <c:pt idx="234">
                  <c:v>All Others</c:v>
                </c:pt>
                <c:pt idx="235">
                  <c:v>Etorki</c:v>
                </c:pt>
                <c:pt idx="236">
                  <c:v>All Others</c:v>
                </c:pt>
                <c:pt idx="237">
                  <c:v>All Others</c:v>
                </c:pt>
                <c:pt idx="238">
                  <c:v>All Others</c:v>
                </c:pt>
                <c:pt idx="239">
                  <c:v>Soignon</c:v>
                </c:pt>
                <c:pt idx="240">
                  <c:v>Boursin</c:v>
                </c:pt>
                <c:pt idx="241">
                  <c:v>All Others</c:v>
                </c:pt>
                <c:pt idx="242">
                  <c:v>Tartare</c:v>
                </c:pt>
                <c:pt idx="243">
                  <c:v>Boursin</c:v>
                </c:pt>
                <c:pt idx="244">
                  <c:v>All Others</c:v>
                </c:pt>
                <c:pt idx="245">
                  <c:v>All Others</c:v>
                </c:pt>
                <c:pt idx="246">
                  <c:v>Paysan Bret</c:v>
                </c:pt>
                <c:pt idx="247">
                  <c:v>P'Tit Louis</c:v>
                </c:pt>
                <c:pt idx="248">
                  <c:v>La Vache Qu</c:v>
                </c:pt>
                <c:pt idx="249">
                  <c:v>All Others</c:v>
                </c:pt>
                <c:pt idx="250">
                  <c:v>All Others</c:v>
                </c:pt>
                <c:pt idx="251">
                  <c:v>All Others</c:v>
                </c:pt>
                <c:pt idx="252">
                  <c:v>Casa Azzurr</c:v>
                </c:pt>
                <c:pt idx="253">
                  <c:v>All Others</c:v>
                </c:pt>
                <c:pt idx="254">
                  <c:v>All Others</c:v>
                </c:pt>
                <c:pt idx="255">
                  <c:v>Etoile Du Q</c:v>
                </c:pt>
                <c:pt idx="256">
                  <c:v>Lactalis: A</c:v>
                </c:pt>
                <c:pt idx="257">
                  <c:v>All Others</c:v>
                </c:pt>
                <c:pt idx="258">
                  <c:v>Corsica</c:v>
                </c:pt>
                <c:pt idx="259">
                  <c:v>Tartare</c:v>
                </c:pt>
                <c:pt idx="260">
                  <c:v>All Others</c:v>
                </c:pt>
                <c:pt idx="261">
                  <c:v>All Others</c:v>
                </c:pt>
                <c:pt idx="262">
                  <c:v>All Others</c:v>
                </c:pt>
                <c:pt idx="263">
                  <c:v>Salakis</c:v>
                </c:pt>
                <c:pt idx="264">
                  <c:v>Caprice Des</c:v>
                </c:pt>
                <c:pt idx="265">
                  <c:v>P'Tit Louis</c:v>
                </c:pt>
                <c:pt idx="266">
                  <c:v>All Others</c:v>
                </c:pt>
                <c:pt idx="267">
                  <c:v>All Others</c:v>
                </c:pt>
                <c:pt idx="268">
                  <c:v>All Others</c:v>
                </c:pt>
                <c:pt idx="269">
                  <c:v>Chavroux</c:v>
                </c:pt>
                <c:pt idx="270">
                  <c:v>Savencia: A</c:v>
                </c:pt>
                <c:pt idx="271">
                  <c:v>President</c:v>
                </c:pt>
                <c:pt idx="272">
                  <c:v>Kiri</c:v>
                </c:pt>
                <c:pt idx="273">
                  <c:v>All Others</c:v>
                </c:pt>
                <c:pt idx="274">
                  <c:v>Triballat R</c:v>
                </c:pt>
                <c:pt idx="275">
                  <c:v>Savencia: A</c:v>
                </c:pt>
                <c:pt idx="276">
                  <c:v>Lou Perac</c:v>
                </c:pt>
                <c:pt idx="277">
                  <c:v>Galbani</c:v>
                </c:pt>
                <c:pt idx="278">
                  <c:v>All Others</c:v>
                </c:pt>
                <c:pt idx="279">
                  <c:v>Lactalis: A</c:v>
                </c:pt>
                <c:pt idx="280">
                  <c:v>All Others</c:v>
                </c:pt>
                <c:pt idx="281">
                  <c:v>All Others</c:v>
                </c:pt>
                <c:pt idx="282">
                  <c:v>Ficello</c:v>
                </c:pt>
                <c:pt idx="283">
                  <c:v>All Others</c:v>
                </c:pt>
                <c:pt idx="284">
                  <c:v>Saint Agur</c:v>
                </c:pt>
                <c:pt idx="285">
                  <c:v>All Others</c:v>
                </c:pt>
                <c:pt idx="286">
                  <c:v>All Others</c:v>
                </c:pt>
                <c:pt idx="287">
                  <c:v>Eurial Autr</c:v>
                </c:pt>
                <c:pt idx="288">
                  <c:v>Triballat N</c:v>
                </c:pt>
                <c:pt idx="289">
                  <c:v>Corsica</c:v>
                </c:pt>
                <c:pt idx="290">
                  <c:v>All Others</c:v>
                </c:pt>
                <c:pt idx="291">
                  <c:v>Etoile Du V</c:v>
                </c:pt>
                <c:pt idx="292">
                  <c:v>All Others</c:v>
                </c:pt>
                <c:pt idx="293">
                  <c:v>Boursin</c:v>
                </c:pt>
                <c:pt idx="294">
                  <c:v>All Others</c:v>
                </c:pt>
                <c:pt idx="295">
                  <c:v>All Others</c:v>
                </c:pt>
                <c:pt idx="296">
                  <c:v>All Others</c:v>
                </c:pt>
                <c:pt idx="297">
                  <c:v>All Others</c:v>
                </c:pt>
                <c:pt idx="298">
                  <c:v>President</c:v>
                </c:pt>
                <c:pt idx="299">
                  <c:v>Milleret: A</c:v>
                </c:pt>
                <c:pt idx="300">
                  <c:v>Salakis</c:v>
                </c:pt>
                <c:pt idx="301">
                  <c:v>All Others</c:v>
                </c:pt>
                <c:pt idx="302">
                  <c:v>All Others</c:v>
                </c:pt>
                <c:pt idx="303">
                  <c:v>Tartare</c:v>
                </c:pt>
                <c:pt idx="304">
                  <c:v>All Others</c:v>
                </c:pt>
                <c:pt idx="305">
                  <c:v>All Others</c:v>
                </c:pt>
                <c:pt idx="306">
                  <c:v>All Others</c:v>
                </c:pt>
                <c:pt idx="307">
                  <c:v>All Others</c:v>
                </c:pt>
                <c:pt idx="308">
                  <c:v>All Others</c:v>
                </c:pt>
                <c:pt idx="309">
                  <c:v>All Others</c:v>
                </c:pt>
                <c:pt idx="310">
                  <c:v>All Others</c:v>
                </c:pt>
                <c:pt idx="311">
                  <c:v>All Others</c:v>
                </c:pt>
                <c:pt idx="312">
                  <c:v>Etoile Du Q</c:v>
                </c:pt>
                <c:pt idx="313">
                  <c:v>Lactalis: A</c:v>
                </c:pt>
                <c:pt idx="314">
                  <c:v>All Others</c:v>
                </c:pt>
                <c:pt idx="315">
                  <c:v>All Others</c:v>
                </c:pt>
                <c:pt idx="316">
                  <c:v>All Others</c:v>
                </c:pt>
                <c:pt idx="317">
                  <c:v>All Others</c:v>
                </c:pt>
                <c:pt idx="318">
                  <c:v>Lactalis: A</c:v>
                </c:pt>
                <c:pt idx="319">
                  <c:v>All Others</c:v>
                </c:pt>
                <c:pt idx="320">
                  <c:v>All Others</c:v>
                </c:pt>
                <c:pt idx="321">
                  <c:v>All Others</c:v>
                </c:pt>
                <c:pt idx="322">
                  <c:v>All Others</c:v>
                </c:pt>
                <c:pt idx="323">
                  <c:v>Savencia: A</c:v>
                </c:pt>
                <c:pt idx="324">
                  <c:v>All Others</c:v>
                </c:pt>
                <c:pt idx="325">
                  <c:v>Coeur De Li</c:v>
                </c:pt>
                <c:pt idx="326">
                  <c:v>All Others</c:v>
                </c:pt>
                <c:pt idx="327">
                  <c:v>All Others</c:v>
                </c:pt>
                <c:pt idx="328">
                  <c:v>All Others</c:v>
                </c:pt>
                <c:pt idx="329">
                  <c:v>All Others</c:v>
                </c:pt>
                <c:pt idx="330">
                  <c:v>Lactalis: A</c:v>
                </c:pt>
                <c:pt idx="331">
                  <c:v>Paysan Bret</c:v>
                </c:pt>
                <c:pt idx="332">
                  <c:v>All Others</c:v>
                </c:pt>
                <c:pt idx="333">
                  <c:v>All Others</c:v>
                </c:pt>
                <c:pt idx="334">
                  <c:v>All Others</c:v>
                </c:pt>
                <c:pt idx="335">
                  <c:v>All Others</c:v>
                </c:pt>
                <c:pt idx="336">
                  <c:v>All Others</c:v>
                </c:pt>
                <c:pt idx="337">
                  <c:v>St Moret</c:v>
                </c:pt>
                <c:pt idx="338">
                  <c:v>All Others</c:v>
                </c:pt>
                <c:pt idx="339">
                  <c:v>All Others</c:v>
                </c:pt>
                <c:pt idx="340">
                  <c:v>All Others</c:v>
                </c:pt>
                <c:pt idx="341">
                  <c:v>Etoile Du Q</c:v>
                </c:pt>
                <c:pt idx="342">
                  <c:v>President</c:v>
                </c:pt>
                <c:pt idx="343">
                  <c:v>All Others</c:v>
                </c:pt>
                <c:pt idx="344">
                  <c:v>All Others</c:v>
                </c:pt>
                <c:pt idx="345">
                  <c:v>All Others</c:v>
                </c:pt>
                <c:pt idx="346">
                  <c:v>Istara</c:v>
                </c:pt>
                <c:pt idx="347">
                  <c:v>All Others</c:v>
                </c:pt>
                <c:pt idx="348">
                  <c:v>Boursin</c:v>
                </c:pt>
                <c:pt idx="349">
                  <c:v>All Others</c:v>
                </c:pt>
                <c:pt idx="350">
                  <c:v>All Others</c:v>
                </c:pt>
                <c:pt idx="351">
                  <c:v>All Others</c:v>
                </c:pt>
                <c:pt idx="352">
                  <c:v>All Others</c:v>
                </c:pt>
                <c:pt idx="353">
                  <c:v>All Others</c:v>
                </c:pt>
                <c:pt idx="354">
                  <c:v>Casa Azzurr</c:v>
                </c:pt>
                <c:pt idx="355">
                  <c:v>All Others</c:v>
                </c:pt>
                <c:pt idx="356">
                  <c:v>All Others</c:v>
                </c:pt>
                <c:pt idx="357">
                  <c:v>All Others</c:v>
                </c:pt>
                <c:pt idx="358">
                  <c:v>All Others</c:v>
                </c:pt>
                <c:pt idx="359">
                  <c:v>All Others</c:v>
                </c:pt>
                <c:pt idx="360">
                  <c:v>All Others</c:v>
                </c:pt>
                <c:pt idx="361">
                  <c:v>All Others</c:v>
                </c:pt>
                <c:pt idx="362">
                  <c:v>Philadelphi</c:v>
                </c:pt>
                <c:pt idx="363">
                  <c:v>All Others</c:v>
                </c:pt>
                <c:pt idx="364">
                  <c:v>Salakis</c:v>
                </c:pt>
                <c:pt idx="365">
                  <c:v>Triballat R</c:v>
                </c:pt>
                <c:pt idx="366">
                  <c:v>Paysan Bret</c:v>
                </c:pt>
                <c:pt idx="367">
                  <c:v>All Others</c:v>
                </c:pt>
                <c:pt idx="368">
                  <c:v>All Others</c:v>
                </c:pt>
                <c:pt idx="369">
                  <c:v>All Others</c:v>
                </c:pt>
                <c:pt idx="370">
                  <c:v>All Others</c:v>
                </c:pt>
                <c:pt idx="371">
                  <c:v>All Others</c:v>
                </c:pt>
                <c:pt idx="372">
                  <c:v>All Others</c:v>
                </c:pt>
                <c:pt idx="373">
                  <c:v>All Others</c:v>
                </c:pt>
                <c:pt idx="374">
                  <c:v>Boursin</c:v>
                </c:pt>
                <c:pt idx="375">
                  <c:v>All Others</c:v>
                </c:pt>
                <c:pt idx="376">
                  <c:v>All Others</c:v>
                </c:pt>
                <c:pt idx="377">
                  <c:v>Lactalis: A</c:v>
                </c:pt>
                <c:pt idx="378">
                  <c:v>Savencia: A</c:v>
                </c:pt>
                <c:pt idx="379">
                  <c:v>All Others</c:v>
                </c:pt>
                <c:pt idx="380">
                  <c:v>All Others</c:v>
                </c:pt>
                <c:pt idx="381">
                  <c:v>All Others</c:v>
                </c:pt>
                <c:pt idx="382">
                  <c:v>Boursin</c:v>
                </c:pt>
                <c:pt idx="383">
                  <c:v>All Others</c:v>
                </c:pt>
                <c:pt idx="384">
                  <c:v>All Others</c:v>
                </c:pt>
                <c:pt idx="385">
                  <c:v>Triballat R</c:v>
                </c:pt>
                <c:pt idx="386">
                  <c:v>All Others</c:v>
                </c:pt>
                <c:pt idx="387">
                  <c:v>St Moret</c:v>
                </c:pt>
                <c:pt idx="388">
                  <c:v>All Others</c:v>
                </c:pt>
                <c:pt idx="389">
                  <c:v>Triballat R</c:v>
                </c:pt>
                <c:pt idx="390">
                  <c:v>All Others</c:v>
                </c:pt>
                <c:pt idx="391">
                  <c:v>All Others</c:v>
                </c:pt>
                <c:pt idx="392">
                  <c:v>Lactalis: A</c:v>
                </c:pt>
                <c:pt idx="393">
                  <c:v>All Others</c:v>
                </c:pt>
                <c:pt idx="394">
                  <c:v>All Others</c:v>
                </c:pt>
                <c:pt idx="395">
                  <c:v>All Others</c:v>
                </c:pt>
                <c:pt idx="396">
                  <c:v>Mini Babybe</c:v>
                </c:pt>
                <c:pt idx="397">
                  <c:v>All Others</c:v>
                </c:pt>
                <c:pt idx="398">
                  <c:v>All Others</c:v>
                </c:pt>
                <c:pt idx="399">
                  <c:v>All Others</c:v>
                </c:pt>
                <c:pt idx="400">
                  <c:v>All Others</c:v>
                </c:pt>
                <c:pt idx="401">
                  <c:v>All Others</c:v>
                </c:pt>
                <c:pt idx="402">
                  <c:v>Milleret: A</c:v>
                </c:pt>
                <c:pt idx="403">
                  <c:v>All Others</c:v>
                </c:pt>
                <c:pt idx="404">
                  <c:v>Eurial Autr</c:v>
                </c:pt>
                <c:pt idx="405">
                  <c:v>All Others</c:v>
                </c:pt>
                <c:pt idx="406">
                  <c:v>All Others</c:v>
                </c:pt>
                <c:pt idx="407">
                  <c:v>Tartare</c:v>
                </c:pt>
                <c:pt idx="408">
                  <c:v>Saint Agur</c:v>
                </c:pt>
                <c:pt idx="409">
                  <c:v>All Others</c:v>
                </c:pt>
                <c:pt idx="410">
                  <c:v>All Others</c:v>
                </c:pt>
                <c:pt idx="411">
                  <c:v>All Others</c:v>
                </c:pt>
                <c:pt idx="412">
                  <c:v>All Others</c:v>
                </c:pt>
                <c:pt idx="413">
                  <c:v>All Others</c:v>
                </c:pt>
                <c:pt idx="414">
                  <c:v>Triballat N</c:v>
                </c:pt>
                <c:pt idx="415">
                  <c:v>All Others</c:v>
                </c:pt>
                <c:pt idx="416">
                  <c:v>All Others</c:v>
                </c:pt>
                <c:pt idx="417">
                  <c:v>Etoile Du V</c:v>
                </c:pt>
                <c:pt idx="418">
                  <c:v>All Others</c:v>
                </c:pt>
                <c:pt idx="419">
                  <c:v>All Others</c:v>
                </c:pt>
                <c:pt idx="420">
                  <c:v>All Others</c:v>
                </c:pt>
                <c:pt idx="421">
                  <c:v>All Others</c:v>
                </c:pt>
                <c:pt idx="422">
                  <c:v>Savencia: A</c:v>
                </c:pt>
                <c:pt idx="423">
                  <c:v>All Others</c:v>
                </c:pt>
                <c:pt idx="424">
                  <c:v>Tartare</c:v>
                </c:pt>
                <c:pt idx="425">
                  <c:v>All Others</c:v>
                </c:pt>
                <c:pt idx="426">
                  <c:v>All Others</c:v>
                </c:pt>
                <c:pt idx="427">
                  <c:v>All Others</c:v>
                </c:pt>
                <c:pt idx="428">
                  <c:v>Etoile Du V</c:v>
                </c:pt>
                <c:pt idx="429">
                  <c:v>All Others</c:v>
                </c:pt>
                <c:pt idx="430">
                  <c:v>All Others</c:v>
                </c:pt>
                <c:pt idx="431">
                  <c:v>All Others</c:v>
                </c:pt>
                <c:pt idx="432">
                  <c:v>All Others</c:v>
                </c:pt>
                <c:pt idx="433">
                  <c:v>All Others</c:v>
                </c:pt>
                <c:pt idx="434">
                  <c:v>All Others</c:v>
                </c:pt>
                <c:pt idx="435">
                  <c:v>Lactalis: A</c:v>
                </c:pt>
                <c:pt idx="436">
                  <c:v>Soignon</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Boursin</c:v>
                </c:pt>
                <c:pt idx="454">
                  <c:v>All Others</c:v>
                </c:pt>
                <c:pt idx="455">
                  <c:v>All Others</c:v>
                </c:pt>
                <c:pt idx="456">
                  <c:v>All Others</c:v>
                </c:pt>
                <c:pt idx="457">
                  <c:v>Casa Azzurr</c:v>
                </c:pt>
                <c:pt idx="458">
                  <c:v>All Others</c:v>
                </c:pt>
                <c:pt idx="459">
                  <c:v>All Others</c:v>
                </c:pt>
                <c:pt idx="460">
                  <c:v>All Others</c:v>
                </c:pt>
                <c:pt idx="461">
                  <c:v>All Others</c:v>
                </c:pt>
                <c:pt idx="462">
                  <c:v>All Others</c:v>
                </c:pt>
                <c:pt idx="463">
                  <c:v>Istara</c:v>
                </c:pt>
                <c:pt idx="464">
                  <c:v>All Others</c:v>
                </c:pt>
                <c:pt idx="465">
                  <c:v>Eurial Autr</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Boursin</c:v>
                </c:pt>
                <c:pt idx="479">
                  <c:v>Private Lab</c:v>
                </c:pt>
                <c:pt idx="480">
                  <c:v>All Others</c:v>
                </c:pt>
                <c:pt idx="481">
                  <c:v>All Others</c:v>
                </c:pt>
                <c:pt idx="482">
                  <c:v>Mini Babybe</c:v>
                </c:pt>
                <c:pt idx="483">
                  <c:v>All Others</c:v>
                </c:pt>
                <c:pt idx="484">
                  <c:v>All Others</c:v>
                </c:pt>
                <c:pt idx="485">
                  <c:v>All Others</c:v>
                </c:pt>
                <c:pt idx="486">
                  <c:v>Soignon</c:v>
                </c:pt>
                <c:pt idx="487">
                  <c:v>All Others</c:v>
                </c:pt>
                <c:pt idx="488">
                  <c:v>All Others</c:v>
                </c:pt>
                <c:pt idx="489">
                  <c:v>All Others</c:v>
                </c:pt>
                <c:pt idx="490">
                  <c:v>All Others</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Tartare</c:v>
                </c:pt>
                <c:pt idx="502">
                  <c:v>All Others</c:v>
                </c:pt>
                <c:pt idx="503">
                  <c:v>Etoile Du V</c:v>
                </c:pt>
                <c:pt idx="504">
                  <c:v>All Others</c:v>
                </c:pt>
                <c:pt idx="505">
                  <c:v>Lactalis: A</c:v>
                </c:pt>
                <c:pt idx="506">
                  <c:v>All Others</c:v>
                </c:pt>
                <c:pt idx="507">
                  <c:v>All Others</c:v>
                </c:pt>
                <c:pt idx="508">
                  <c:v>All Others</c:v>
                </c:pt>
                <c:pt idx="509">
                  <c:v>All Others</c:v>
                </c:pt>
                <c:pt idx="510">
                  <c:v>All Others</c:v>
                </c:pt>
                <c:pt idx="511">
                  <c:v>All Others</c:v>
                </c:pt>
                <c:pt idx="512">
                  <c:v>Etoile Du V</c:v>
                </c:pt>
                <c:pt idx="513">
                  <c:v>All Others</c:v>
                </c:pt>
                <c:pt idx="514">
                  <c:v>All Others</c:v>
                </c:pt>
                <c:pt idx="515">
                  <c:v>All Others</c:v>
                </c:pt>
                <c:pt idx="516">
                  <c:v>All Others</c:v>
                </c:pt>
                <c:pt idx="517">
                  <c:v>All Others</c:v>
                </c:pt>
                <c:pt idx="518">
                  <c:v>Boursin</c:v>
                </c:pt>
                <c:pt idx="519">
                  <c:v>Salakis</c:v>
                </c:pt>
                <c:pt idx="520">
                  <c:v>All Others</c:v>
                </c:pt>
                <c:pt idx="521">
                  <c:v>All Others</c:v>
                </c:pt>
                <c:pt idx="522">
                  <c:v>Eurial Autr</c:v>
                </c:pt>
                <c:pt idx="523">
                  <c:v>All Others</c:v>
                </c:pt>
                <c:pt idx="524">
                  <c:v>All Others</c:v>
                </c:pt>
                <c:pt idx="525">
                  <c:v>All Others</c:v>
                </c:pt>
                <c:pt idx="526">
                  <c:v>All Others</c:v>
                </c:pt>
                <c:pt idx="527">
                  <c:v>All Others</c:v>
                </c:pt>
                <c:pt idx="528">
                  <c:v>All Others</c:v>
                </c:pt>
                <c:pt idx="529">
                  <c:v>All Others</c:v>
                </c:pt>
                <c:pt idx="530">
                  <c:v>All Others</c:v>
                </c:pt>
                <c:pt idx="531">
                  <c:v>All Others</c:v>
                </c:pt>
                <c:pt idx="532">
                  <c:v>Lactalis: A</c:v>
                </c:pt>
                <c:pt idx="533">
                  <c:v>Etoile Du V</c:v>
                </c:pt>
                <c:pt idx="534">
                  <c:v>All Others</c:v>
                </c:pt>
                <c:pt idx="535">
                  <c:v>All Others</c:v>
                </c:pt>
                <c:pt idx="536">
                  <c:v>All Others</c:v>
                </c:pt>
                <c:pt idx="537">
                  <c:v>Etoile Du Q</c:v>
                </c:pt>
                <c:pt idx="538">
                  <c:v>All Others</c:v>
                </c:pt>
                <c:pt idx="539">
                  <c:v>All Others</c:v>
                </c:pt>
                <c:pt idx="540">
                  <c:v>All Others</c:v>
                </c:pt>
                <c:pt idx="541">
                  <c:v>All Others</c:v>
                </c:pt>
                <c:pt idx="542">
                  <c:v>All Others</c:v>
                </c:pt>
                <c:pt idx="543">
                  <c:v>All Others</c:v>
                </c:pt>
                <c:pt idx="544">
                  <c:v>All Others</c:v>
                </c:pt>
                <c:pt idx="545">
                  <c:v>All Others</c:v>
                </c:pt>
                <c:pt idx="546">
                  <c:v>All Others</c:v>
                </c:pt>
                <c:pt idx="547">
                  <c:v>All Others</c:v>
                </c:pt>
                <c:pt idx="548">
                  <c:v>Kiri</c:v>
                </c:pt>
                <c:pt idx="549">
                  <c:v>All Others</c:v>
                </c:pt>
                <c:pt idx="550">
                  <c:v>All Others</c:v>
                </c:pt>
                <c:pt idx="551">
                  <c:v>All Others</c:v>
                </c:pt>
                <c:pt idx="552">
                  <c:v>Salakis</c:v>
                </c:pt>
                <c:pt idx="553">
                  <c:v>All Others</c:v>
                </c:pt>
                <c:pt idx="554">
                  <c:v>All Others</c:v>
                </c:pt>
                <c:pt idx="555">
                  <c:v>All Others</c:v>
                </c:pt>
                <c:pt idx="556">
                  <c:v>All Others</c:v>
                </c:pt>
                <c:pt idx="557">
                  <c:v>All Others</c:v>
                </c:pt>
                <c:pt idx="558">
                  <c:v>Triballat N</c:v>
                </c:pt>
                <c:pt idx="559">
                  <c:v>All Others</c:v>
                </c:pt>
                <c:pt idx="560">
                  <c:v>All Others</c:v>
                </c:pt>
                <c:pt idx="561">
                  <c:v>All Others</c:v>
                </c:pt>
                <c:pt idx="562">
                  <c:v>All Others</c:v>
                </c:pt>
                <c:pt idx="563">
                  <c:v>All Others</c:v>
                </c:pt>
                <c:pt idx="564">
                  <c:v>All Others</c:v>
                </c:pt>
                <c:pt idx="565">
                  <c:v>All Others</c:v>
                </c:pt>
                <c:pt idx="566">
                  <c:v>All Others</c:v>
                </c:pt>
                <c:pt idx="567">
                  <c:v>All Others</c:v>
                </c:pt>
                <c:pt idx="568">
                  <c:v>La Vache Qu</c:v>
                </c:pt>
                <c:pt idx="569">
                  <c:v>All Others</c:v>
                </c:pt>
                <c:pt idx="570">
                  <c:v>All Others</c:v>
                </c:pt>
                <c:pt idx="571">
                  <c:v>Islos</c:v>
                </c:pt>
                <c:pt idx="572">
                  <c:v>La Vache Qu</c:v>
                </c:pt>
                <c:pt idx="573">
                  <c:v>All Others</c:v>
                </c:pt>
                <c:pt idx="574">
                  <c:v>All Others</c:v>
                </c:pt>
                <c:pt idx="575">
                  <c:v>All Others</c:v>
                </c:pt>
                <c:pt idx="576">
                  <c:v>All Others</c:v>
                </c:pt>
                <c:pt idx="577">
                  <c:v>All Others</c:v>
                </c:pt>
                <c:pt idx="578">
                  <c:v>All Others</c:v>
                </c:pt>
                <c:pt idx="579">
                  <c:v>Lactalis: A</c:v>
                </c:pt>
                <c:pt idx="580">
                  <c:v>Tartare</c:v>
                </c:pt>
                <c:pt idx="581">
                  <c:v>All Others</c:v>
                </c:pt>
                <c:pt idx="582">
                  <c:v>All Others</c:v>
                </c:pt>
                <c:pt idx="583">
                  <c:v>All Others</c:v>
                </c:pt>
                <c:pt idx="584">
                  <c:v>Triballat R</c:v>
                </c:pt>
                <c:pt idx="585">
                  <c:v>All Others</c:v>
                </c:pt>
                <c:pt idx="586">
                  <c:v>Triballat N</c:v>
                </c:pt>
                <c:pt idx="587">
                  <c:v>All Others</c:v>
                </c:pt>
                <c:pt idx="588">
                  <c:v>All Others</c:v>
                </c:pt>
                <c:pt idx="589">
                  <c:v>All Others</c:v>
                </c:pt>
                <c:pt idx="590">
                  <c:v>All Others</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All Others</c:v>
                </c:pt>
                <c:pt idx="601">
                  <c:v>All Others</c:v>
                </c:pt>
                <c:pt idx="602">
                  <c:v>All Others</c:v>
                </c:pt>
                <c:pt idx="603">
                  <c:v>All Others</c:v>
                </c:pt>
                <c:pt idx="604">
                  <c:v>All Others</c:v>
                </c:pt>
                <c:pt idx="605">
                  <c:v>All Others</c:v>
                </c:pt>
                <c:pt idx="606">
                  <c:v>All Others</c:v>
                </c:pt>
                <c:pt idx="607">
                  <c:v>All Others</c:v>
                </c:pt>
                <c:pt idx="608">
                  <c:v>All Others</c:v>
                </c:pt>
                <c:pt idx="609">
                  <c:v>All Others</c:v>
                </c:pt>
                <c:pt idx="610">
                  <c:v>All Others</c:v>
                </c:pt>
                <c:pt idx="611">
                  <c:v>Casa Azzurr</c:v>
                </c:pt>
                <c:pt idx="612">
                  <c:v>All Others</c:v>
                </c:pt>
                <c:pt idx="613">
                  <c:v>All Others</c:v>
                </c:pt>
                <c:pt idx="614">
                  <c:v>All Others</c:v>
                </c:pt>
                <c:pt idx="615">
                  <c:v>All Others</c:v>
                </c:pt>
                <c:pt idx="616">
                  <c:v>All Others</c:v>
                </c:pt>
                <c:pt idx="617">
                  <c:v>All Others</c:v>
                </c:pt>
                <c:pt idx="618">
                  <c:v>All Others</c:v>
                </c:pt>
                <c:pt idx="619">
                  <c:v>All Others</c:v>
                </c:pt>
                <c:pt idx="620">
                  <c:v>All Others</c:v>
                </c:pt>
                <c:pt idx="621">
                  <c:v>All Others</c:v>
                </c:pt>
                <c:pt idx="622">
                  <c:v>All Others</c:v>
                </c:pt>
                <c:pt idx="623">
                  <c:v>All Others</c:v>
                </c:pt>
                <c:pt idx="624">
                  <c:v>All Others</c:v>
                </c:pt>
                <c:pt idx="625">
                  <c:v>All Others</c:v>
                </c:pt>
                <c:pt idx="626">
                  <c:v>All Others</c:v>
                </c:pt>
                <c:pt idx="627">
                  <c:v>All Others</c:v>
                </c:pt>
                <c:pt idx="628">
                  <c:v>All Others</c:v>
                </c:pt>
                <c:pt idx="629">
                  <c:v>All Others</c:v>
                </c:pt>
                <c:pt idx="630">
                  <c:v>Lactalis: A</c:v>
                </c:pt>
                <c:pt idx="631">
                  <c:v>All Others</c:v>
                </c:pt>
                <c:pt idx="632">
                  <c:v>All Others</c:v>
                </c:pt>
                <c:pt idx="633">
                  <c:v>All Others</c:v>
                </c:pt>
                <c:pt idx="634">
                  <c:v>All Others</c:v>
                </c:pt>
                <c:pt idx="635">
                  <c:v>All Others</c:v>
                </c:pt>
                <c:pt idx="636">
                  <c:v>All Others</c:v>
                </c:pt>
                <c:pt idx="637">
                  <c:v>All Others</c:v>
                </c:pt>
                <c:pt idx="638">
                  <c:v>All Others</c:v>
                </c:pt>
                <c:pt idx="639">
                  <c:v>All Others</c:v>
                </c:pt>
                <c:pt idx="640">
                  <c:v>All Others</c:v>
                </c:pt>
                <c:pt idx="641">
                  <c:v>All Others</c:v>
                </c:pt>
                <c:pt idx="642">
                  <c:v>All Others</c:v>
                </c:pt>
                <c:pt idx="643">
                  <c:v>All Others</c:v>
                </c:pt>
                <c:pt idx="644">
                  <c:v>All Others</c:v>
                </c:pt>
                <c:pt idx="645">
                  <c:v>All Others</c:v>
                </c:pt>
                <c:pt idx="646">
                  <c:v>All Others</c:v>
                </c:pt>
                <c:pt idx="647">
                  <c:v>All Others</c:v>
                </c:pt>
                <c:pt idx="648">
                  <c:v>All Others</c:v>
                </c:pt>
                <c:pt idx="649">
                  <c:v>All Others</c:v>
                </c:pt>
                <c:pt idx="650">
                  <c:v>All Others</c:v>
                </c:pt>
                <c:pt idx="651">
                  <c:v>All Others</c:v>
                </c:pt>
                <c:pt idx="652">
                  <c:v>All Others</c:v>
                </c:pt>
                <c:pt idx="653">
                  <c:v>All Others</c:v>
                </c:pt>
                <c:pt idx="654">
                  <c:v>All Others</c:v>
                </c:pt>
                <c:pt idx="655">
                  <c:v>La Vache Qu</c:v>
                </c:pt>
                <c:pt idx="656">
                  <c:v>All Others</c:v>
                </c:pt>
                <c:pt idx="657">
                  <c:v>All Others</c:v>
                </c:pt>
                <c:pt idx="658">
                  <c:v>All Others</c:v>
                </c:pt>
                <c:pt idx="659">
                  <c:v>All Others</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Soignon</c:v>
                </c:pt>
                <c:pt idx="672">
                  <c:v>All Others</c:v>
                </c:pt>
                <c:pt idx="673">
                  <c:v>All Others</c:v>
                </c:pt>
                <c:pt idx="674">
                  <c:v>All Others</c:v>
                </c:pt>
                <c:pt idx="675">
                  <c:v>All Others</c:v>
                </c:pt>
                <c:pt idx="676">
                  <c:v>All Others</c:v>
                </c:pt>
                <c:pt idx="677">
                  <c:v>All Others</c:v>
                </c:pt>
                <c:pt idx="678">
                  <c:v>All Others</c:v>
                </c:pt>
                <c:pt idx="679">
                  <c:v>All Others</c:v>
                </c:pt>
                <c:pt idx="680">
                  <c:v>All Others</c:v>
                </c:pt>
                <c:pt idx="681">
                  <c:v>All Others</c:v>
                </c:pt>
                <c:pt idx="682">
                  <c:v>All Others</c:v>
                </c:pt>
                <c:pt idx="683">
                  <c:v>All Others</c:v>
                </c:pt>
                <c:pt idx="684">
                  <c:v>All Others</c:v>
                </c:pt>
                <c:pt idx="685">
                  <c:v>All Others</c:v>
                </c:pt>
                <c:pt idx="686">
                  <c:v>All Others</c:v>
                </c:pt>
                <c:pt idx="687">
                  <c:v>All Others</c:v>
                </c:pt>
                <c:pt idx="688">
                  <c:v>All Others</c:v>
                </c:pt>
                <c:pt idx="689">
                  <c:v>All Others</c:v>
                </c:pt>
                <c:pt idx="690">
                  <c:v>All Others</c:v>
                </c:pt>
                <c:pt idx="691">
                  <c:v>All Others</c:v>
                </c:pt>
                <c:pt idx="692">
                  <c:v>All Others</c:v>
                </c:pt>
                <c:pt idx="693">
                  <c:v>All Others</c:v>
                </c:pt>
                <c:pt idx="694">
                  <c:v>All Others</c:v>
                </c:pt>
                <c:pt idx="695">
                  <c:v>All Others</c:v>
                </c:pt>
                <c:pt idx="696">
                  <c:v>All Others</c:v>
                </c:pt>
                <c:pt idx="697">
                  <c:v>All Others</c:v>
                </c:pt>
                <c:pt idx="698">
                  <c:v>All Others</c:v>
                </c:pt>
                <c:pt idx="699">
                  <c:v>All Others</c:v>
                </c:pt>
                <c:pt idx="700">
                  <c:v>Triballat N</c:v>
                </c:pt>
                <c:pt idx="701">
                  <c:v>All Others</c:v>
                </c:pt>
                <c:pt idx="702">
                  <c:v>All Others</c:v>
                </c:pt>
                <c:pt idx="703">
                  <c:v>All Others</c:v>
                </c:pt>
                <c:pt idx="704">
                  <c:v>All Others</c:v>
                </c:pt>
                <c:pt idx="705">
                  <c:v>All Others</c:v>
                </c:pt>
                <c:pt idx="706">
                  <c:v>All Others</c:v>
                </c:pt>
                <c:pt idx="707">
                  <c:v>All Others</c:v>
                </c:pt>
                <c:pt idx="708">
                  <c:v>All Others</c:v>
                </c:pt>
                <c:pt idx="709">
                  <c:v>All Others</c:v>
                </c:pt>
                <c:pt idx="710">
                  <c:v>Triballat R</c:v>
                </c:pt>
                <c:pt idx="711">
                  <c:v>Lactalis: A</c:v>
                </c:pt>
                <c:pt idx="712">
                  <c:v>All Others</c:v>
                </c:pt>
                <c:pt idx="713">
                  <c:v>All Others</c:v>
                </c:pt>
                <c:pt idx="714">
                  <c:v>All Others</c:v>
                </c:pt>
                <c:pt idx="715">
                  <c:v>All Others</c:v>
                </c:pt>
                <c:pt idx="716">
                  <c:v>Lactalis: A</c:v>
                </c:pt>
                <c:pt idx="717">
                  <c:v>All Others</c:v>
                </c:pt>
                <c:pt idx="718">
                  <c:v>All Others</c:v>
                </c:pt>
                <c:pt idx="719">
                  <c:v>Eurial Autr</c:v>
                </c:pt>
                <c:pt idx="720">
                  <c:v>All Others</c:v>
                </c:pt>
                <c:pt idx="721">
                  <c:v>All Others</c:v>
                </c:pt>
                <c:pt idx="722">
                  <c:v>All Others</c:v>
                </c:pt>
                <c:pt idx="723">
                  <c:v>All Others</c:v>
                </c:pt>
                <c:pt idx="724">
                  <c:v>All Others</c:v>
                </c:pt>
                <c:pt idx="725">
                  <c:v>All Others</c:v>
                </c:pt>
                <c:pt idx="726">
                  <c:v>All Others</c:v>
                </c:pt>
                <c:pt idx="727">
                  <c:v>All Others</c:v>
                </c:pt>
                <c:pt idx="728">
                  <c:v>All Others</c:v>
                </c:pt>
                <c:pt idx="729">
                  <c:v>All Others</c:v>
                </c:pt>
                <c:pt idx="730">
                  <c:v>All Others</c:v>
                </c:pt>
                <c:pt idx="731">
                  <c:v>Eurial Autr</c:v>
                </c:pt>
                <c:pt idx="732">
                  <c:v>Eurial Autr</c:v>
                </c:pt>
                <c:pt idx="733">
                  <c:v>All Others</c:v>
                </c:pt>
                <c:pt idx="734">
                  <c:v>All Others</c:v>
                </c:pt>
                <c:pt idx="735">
                  <c:v>All Others</c:v>
                </c:pt>
                <c:pt idx="736">
                  <c:v>All Others</c:v>
                </c:pt>
                <c:pt idx="737">
                  <c:v>All Others</c:v>
                </c:pt>
                <c:pt idx="738">
                  <c:v>All Others</c:v>
                </c:pt>
                <c:pt idx="739">
                  <c:v>All Others</c:v>
                </c:pt>
                <c:pt idx="740">
                  <c:v>All Others</c:v>
                </c:pt>
                <c:pt idx="741">
                  <c:v>All Others</c:v>
                </c:pt>
                <c:pt idx="742">
                  <c:v>Kiri</c:v>
                </c:pt>
                <c:pt idx="743">
                  <c:v>All Others</c:v>
                </c:pt>
                <c:pt idx="744">
                  <c:v>All Others</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Savencia: A</c:v>
                </c:pt>
                <c:pt idx="756">
                  <c:v>All Others</c:v>
                </c:pt>
                <c:pt idx="757">
                  <c:v>President</c:v>
                </c:pt>
                <c:pt idx="758">
                  <c:v>All Others</c:v>
                </c:pt>
                <c:pt idx="759">
                  <c:v>All Others</c:v>
                </c:pt>
                <c:pt idx="760">
                  <c:v>All Others</c:v>
                </c:pt>
                <c:pt idx="761">
                  <c:v>All Others</c:v>
                </c:pt>
                <c:pt idx="762">
                  <c:v>Lou Perac</c:v>
                </c:pt>
                <c:pt idx="763">
                  <c:v>All Others</c:v>
                </c:pt>
                <c:pt idx="764">
                  <c:v>All Others</c:v>
                </c:pt>
                <c:pt idx="765">
                  <c:v>All Others</c:v>
                </c:pt>
                <c:pt idx="766">
                  <c:v>All Other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All Others</c:v>
                </c:pt>
                <c:pt idx="777">
                  <c:v>All Others</c:v>
                </c:pt>
                <c:pt idx="778">
                  <c:v>Eurial Autr</c:v>
                </c:pt>
                <c:pt idx="779">
                  <c:v>All Others</c:v>
                </c:pt>
                <c:pt idx="780">
                  <c:v>All Others</c:v>
                </c:pt>
                <c:pt idx="781">
                  <c:v>Eurial Autr</c:v>
                </c:pt>
                <c:pt idx="782">
                  <c:v>All Others</c:v>
                </c:pt>
                <c:pt idx="783">
                  <c:v>All Others</c:v>
                </c:pt>
                <c:pt idx="784">
                  <c:v>All Others</c:v>
                </c:pt>
                <c:pt idx="785">
                  <c:v>All Others</c:v>
                </c:pt>
                <c:pt idx="786">
                  <c:v>All Others</c:v>
                </c:pt>
                <c:pt idx="787">
                  <c:v>All Others</c:v>
                </c:pt>
                <c:pt idx="788">
                  <c:v>All Others</c:v>
                </c:pt>
                <c:pt idx="789">
                  <c:v>All Others</c:v>
                </c:pt>
                <c:pt idx="790">
                  <c:v>All Others</c:v>
                </c:pt>
                <c:pt idx="791">
                  <c:v>All Others</c:v>
                </c:pt>
                <c:pt idx="792">
                  <c:v>Petit Billy</c:v>
                </c:pt>
                <c:pt idx="793">
                  <c:v>All Others</c:v>
                </c:pt>
                <c:pt idx="794">
                  <c:v>Milleret: A</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Triballat R</c:v>
                </c:pt>
                <c:pt idx="806">
                  <c:v>All Others</c:v>
                </c:pt>
                <c:pt idx="807">
                  <c:v>Eurial Autr</c:v>
                </c:pt>
                <c:pt idx="808">
                  <c:v>All Others</c:v>
                </c:pt>
                <c:pt idx="809">
                  <c:v>All Others</c:v>
                </c:pt>
                <c:pt idx="810">
                  <c:v>All Others</c:v>
                </c:pt>
                <c:pt idx="811">
                  <c:v>All Others</c:v>
                </c:pt>
                <c:pt idx="812">
                  <c:v>All Others</c:v>
                </c:pt>
                <c:pt idx="813">
                  <c:v>All Others</c:v>
                </c:pt>
                <c:pt idx="814">
                  <c:v>All Others</c:v>
                </c:pt>
                <c:pt idx="815">
                  <c:v>All Others</c:v>
                </c:pt>
                <c:pt idx="816">
                  <c:v>Etorki</c:v>
                </c:pt>
                <c:pt idx="817">
                  <c:v>All Others</c:v>
                </c:pt>
                <c:pt idx="818">
                  <c:v>Lactalis: A</c:v>
                </c:pt>
                <c:pt idx="819">
                  <c:v>Caprice Des</c:v>
                </c:pt>
                <c:pt idx="820">
                  <c:v>All Others</c:v>
                </c:pt>
                <c:pt idx="821">
                  <c:v>All Others</c:v>
                </c:pt>
                <c:pt idx="822">
                  <c:v>All Others</c:v>
                </c:pt>
                <c:pt idx="823">
                  <c:v>Corsica</c:v>
                </c:pt>
                <c:pt idx="824">
                  <c:v>All Others</c:v>
                </c:pt>
                <c:pt idx="825">
                  <c:v>All Others</c:v>
                </c:pt>
                <c:pt idx="826">
                  <c:v>All Others</c:v>
                </c:pt>
                <c:pt idx="827">
                  <c:v>All Others</c:v>
                </c:pt>
                <c:pt idx="828">
                  <c:v>Mini Babybe</c:v>
                </c:pt>
                <c:pt idx="829">
                  <c:v>All Others</c:v>
                </c:pt>
                <c:pt idx="830">
                  <c:v>All Others</c:v>
                </c:pt>
                <c:pt idx="831">
                  <c:v>All Others</c:v>
                </c:pt>
                <c:pt idx="832">
                  <c:v>All Others</c:v>
                </c:pt>
                <c:pt idx="833">
                  <c:v>Savencia: A</c:v>
                </c:pt>
                <c:pt idx="834">
                  <c:v>All Others</c:v>
                </c:pt>
                <c:pt idx="835">
                  <c:v>All Others</c:v>
                </c:pt>
                <c:pt idx="836">
                  <c:v>All Others</c:v>
                </c:pt>
                <c:pt idx="837">
                  <c:v>All Others</c:v>
                </c:pt>
                <c:pt idx="838">
                  <c:v>All Others</c:v>
                </c:pt>
                <c:pt idx="839">
                  <c:v>All Others</c:v>
                </c:pt>
                <c:pt idx="840">
                  <c:v>All Others</c:v>
                </c:pt>
                <c:pt idx="841">
                  <c:v>All Others</c:v>
                </c:pt>
                <c:pt idx="842">
                  <c:v>All Others</c:v>
                </c:pt>
                <c:pt idx="843">
                  <c:v>Savencia: A</c:v>
                </c:pt>
                <c:pt idx="844">
                  <c:v>All Others</c:v>
                </c:pt>
                <c:pt idx="845">
                  <c:v>All Others</c:v>
                </c:pt>
                <c:pt idx="846">
                  <c:v>All Others</c:v>
                </c:pt>
                <c:pt idx="847">
                  <c:v>Lactalis: A</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Triballat R</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All Others</c:v>
                </c:pt>
                <c:pt idx="868">
                  <c:v>All Others</c:v>
                </c:pt>
                <c:pt idx="869">
                  <c:v>All Others</c:v>
                </c:pt>
                <c:pt idx="870">
                  <c:v>All Others</c:v>
                </c:pt>
                <c:pt idx="871">
                  <c:v>All Others</c:v>
                </c:pt>
                <c:pt idx="872">
                  <c:v>All Others</c:v>
                </c:pt>
                <c:pt idx="873">
                  <c:v>All Others</c:v>
                </c:pt>
                <c:pt idx="874">
                  <c:v>All Others</c:v>
                </c:pt>
                <c:pt idx="875">
                  <c:v>All Others</c:v>
                </c:pt>
                <c:pt idx="876">
                  <c:v>All Others</c:v>
                </c:pt>
                <c:pt idx="877">
                  <c:v>All Others</c:v>
                </c:pt>
                <c:pt idx="878">
                  <c:v>All Others</c:v>
                </c:pt>
                <c:pt idx="879">
                  <c:v>All Others</c:v>
                </c:pt>
                <c:pt idx="880">
                  <c:v>Soignon</c:v>
                </c:pt>
                <c:pt idx="881">
                  <c:v>Soignon</c:v>
                </c:pt>
                <c:pt idx="882">
                  <c:v>All Others</c:v>
                </c:pt>
                <c:pt idx="883">
                  <c:v>All Others</c:v>
                </c:pt>
                <c:pt idx="884">
                  <c:v>Mini Babybe</c:v>
                </c:pt>
                <c:pt idx="885">
                  <c:v>All Others</c:v>
                </c:pt>
                <c:pt idx="886">
                  <c:v>All Others</c:v>
                </c:pt>
                <c:pt idx="887">
                  <c:v>All Others</c:v>
                </c:pt>
                <c:pt idx="888">
                  <c:v>All Others</c:v>
                </c:pt>
                <c:pt idx="889">
                  <c:v>All Others</c:v>
                </c:pt>
                <c:pt idx="890">
                  <c:v>All Others</c:v>
                </c:pt>
                <c:pt idx="891">
                  <c:v>All Others</c:v>
                </c:pt>
                <c:pt idx="892">
                  <c:v>All Others</c:v>
                </c:pt>
                <c:pt idx="893">
                  <c:v>All Others</c:v>
                </c:pt>
                <c:pt idx="894">
                  <c:v>Soignon</c:v>
                </c:pt>
                <c:pt idx="895">
                  <c:v>All Others</c:v>
                </c:pt>
                <c:pt idx="896">
                  <c:v>All Others</c:v>
                </c:pt>
                <c:pt idx="897">
                  <c:v>All Others</c:v>
                </c:pt>
                <c:pt idx="898">
                  <c:v>Eurial Autr</c:v>
                </c:pt>
                <c:pt idx="899">
                  <c:v>All Others</c:v>
                </c:pt>
                <c:pt idx="900">
                  <c:v>All Others</c:v>
                </c:pt>
                <c:pt idx="901">
                  <c:v>All Others</c:v>
                </c:pt>
                <c:pt idx="902">
                  <c:v>All Others</c:v>
                </c:pt>
                <c:pt idx="903">
                  <c:v>All Others</c:v>
                </c:pt>
                <c:pt idx="904">
                  <c:v>All Others</c:v>
                </c:pt>
                <c:pt idx="905">
                  <c:v>All Others</c:v>
                </c:pt>
                <c:pt idx="906">
                  <c:v>All Others</c:v>
                </c:pt>
                <c:pt idx="907">
                  <c:v>All Others</c:v>
                </c:pt>
                <c:pt idx="908">
                  <c:v>All Others</c:v>
                </c:pt>
                <c:pt idx="909">
                  <c:v>All Others</c:v>
                </c:pt>
                <c:pt idx="910">
                  <c:v>President</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Eurial Autr</c:v>
                </c:pt>
                <c:pt idx="922">
                  <c:v>All Others</c:v>
                </c:pt>
                <c:pt idx="923">
                  <c:v>All Others</c:v>
                </c:pt>
                <c:pt idx="924">
                  <c:v>All Others</c:v>
                </c:pt>
                <c:pt idx="925">
                  <c:v>All Others</c:v>
                </c:pt>
                <c:pt idx="926">
                  <c:v>All Others</c:v>
                </c:pt>
                <c:pt idx="927">
                  <c:v>All Others</c:v>
                </c:pt>
                <c:pt idx="928">
                  <c:v>All Others</c:v>
                </c:pt>
                <c:pt idx="929">
                  <c:v>All Others</c:v>
                </c:pt>
                <c:pt idx="930">
                  <c:v>Lactalis: A</c:v>
                </c:pt>
                <c:pt idx="931">
                  <c:v>All Others</c:v>
                </c:pt>
                <c:pt idx="932">
                  <c:v>Mini Babybe</c:v>
                </c:pt>
                <c:pt idx="933">
                  <c:v>All Others</c:v>
                </c:pt>
                <c:pt idx="934">
                  <c:v>All Others</c:v>
                </c:pt>
                <c:pt idx="935">
                  <c:v>All Others</c:v>
                </c:pt>
                <c:pt idx="936">
                  <c:v>All Others</c:v>
                </c:pt>
                <c:pt idx="937">
                  <c:v>Lactalis: A</c:v>
                </c:pt>
                <c:pt idx="938">
                  <c:v>All Others</c:v>
                </c:pt>
                <c:pt idx="939">
                  <c:v>All Others</c:v>
                </c:pt>
                <c:pt idx="940">
                  <c:v>Salakis</c:v>
                </c:pt>
                <c:pt idx="941">
                  <c:v>Societe</c:v>
                </c:pt>
                <c:pt idx="942">
                  <c:v>All Others</c:v>
                </c:pt>
                <c:pt idx="943">
                  <c:v>All Others</c:v>
                </c:pt>
                <c:pt idx="944">
                  <c:v>All Others</c:v>
                </c:pt>
                <c:pt idx="945">
                  <c:v>All Others</c:v>
                </c:pt>
                <c:pt idx="946">
                  <c:v>All Others</c:v>
                </c:pt>
                <c:pt idx="947">
                  <c:v>All Others</c:v>
                </c:pt>
                <c:pt idx="948">
                  <c:v>All Others</c:v>
                </c:pt>
                <c:pt idx="949">
                  <c:v>All Others</c:v>
                </c:pt>
                <c:pt idx="950">
                  <c:v>All Others</c:v>
                </c:pt>
                <c:pt idx="951">
                  <c:v>All Others</c:v>
                </c:pt>
                <c:pt idx="952">
                  <c:v>All Others</c:v>
                </c:pt>
                <c:pt idx="953">
                  <c:v>All Others</c:v>
                </c:pt>
                <c:pt idx="954">
                  <c:v>All Others</c:v>
                </c:pt>
                <c:pt idx="955">
                  <c:v>All Others</c:v>
                </c:pt>
                <c:pt idx="956">
                  <c:v>All Others</c:v>
                </c:pt>
                <c:pt idx="957">
                  <c:v>All Others</c:v>
                </c:pt>
                <c:pt idx="958">
                  <c:v>All Others</c:v>
                </c:pt>
                <c:pt idx="959">
                  <c:v>All Others</c:v>
                </c:pt>
                <c:pt idx="960">
                  <c:v>All Others</c:v>
                </c:pt>
                <c:pt idx="961">
                  <c:v>All Others</c:v>
                </c:pt>
                <c:pt idx="962">
                  <c:v>All Others</c:v>
                </c:pt>
                <c:pt idx="963">
                  <c:v>All Others</c:v>
                </c:pt>
                <c:pt idx="964">
                  <c:v>Eurial Autr</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Le Brebiou</c:v>
                </c:pt>
                <c:pt idx="977">
                  <c:v>All Others</c:v>
                </c:pt>
                <c:pt idx="978">
                  <c:v>All Others</c:v>
                </c:pt>
                <c:pt idx="979">
                  <c:v>All Others</c:v>
                </c:pt>
                <c:pt idx="980">
                  <c:v>All Others</c:v>
                </c:pt>
                <c:pt idx="981">
                  <c:v>All Others</c:v>
                </c:pt>
                <c:pt idx="982">
                  <c:v>All Others</c:v>
                </c:pt>
                <c:pt idx="983">
                  <c:v>All Others</c:v>
                </c:pt>
                <c:pt idx="984">
                  <c:v>All Others</c:v>
                </c:pt>
                <c:pt idx="985">
                  <c:v>Petit Billy</c:v>
                </c:pt>
                <c:pt idx="986">
                  <c:v>All Others</c:v>
                </c:pt>
                <c:pt idx="987">
                  <c:v>Lactalis: A</c:v>
                </c:pt>
                <c:pt idx="988">
                  <c:v>All Others</c:v>
                </c:pt>
                <c:pt idx="989">
                  <c:v>All Others</c:v>
                </c:pt>
                <c:pt idx="990">
                  <c:v>All Others</c:v>
                </c:pt>
                <c:pt idx="991">
                  <c:v>All Others</c:v>
                </c:pt>
                <c:pt idx="992">
                  <c:v>Limiano</c:v>
                </c:pt>
                <c:pt idx="993">
                  <c:v>Petit Billy</c:v>
                </c:pt>
                <c:pt idx="994">
                  <c:v>Mini Babybe</c:v>
                </c:pt>
                <c:pt idx="995">
                  <c:v>All Others</c:v>
                </c:pt>
                <c:pt idx="996">
                  <c:v>Boursin</c:v>
                </c:pt>
                <c:pt idx="997">
                  <c:v>Savencia: A</c:v>
                </c:pt>
                <c:pt idx="998">
                  <c:v>All Others</c:v>
                </c:pt>
                <c:pt idx="999">
                  <c:v>All Others</c:v>
                </c:pt>
                <c:pt idx="1000">
                  <c:v>All Others</c:v>
                </c:pt>
                <c:pt idx="1001">
                  <c:v>All Others</c:v>
                </c:pt>
                <c:pt idx="1002">
                  <c:v>All Others</c:v>
                </c:pt>
                <c:pt idx="1003">
                  <c:v>All Others</c:v>
                </c:pt>
                <c:pt idx="1004">
                  <c:v>All Others</c:v>
                </c:pt>
                <c:pt idx="1005">
                  <c:v>All Others</c:v>
                </c:pt>
                <c:pt idx="1006">
                  <c:v>All Others</c:v>
                </c:pt>
                <c:pt idx="1007">
                  <c:v>All Others</c:v>
                </c:pt>
                <c:pt idx="1008">
                  <c:v>All Others</c:v>
                </c:pt>
                <c:pt idx="1009">
                  <c:v>All Others</c:v>
                </c:pt>
                <c:pt idx="1010">
                  <c:v>All Others</c:v>
                </c:pt>
                <c:pt idx="1011">
                  <c:v>All Others</c:v>
                </c:pt>
                <c:pt idx="1012">
                  <c:v>President</c:v>
                </c:pt>
                <c:pt idx="1013">
                  <c:v>All Others</c:v>
                </c:pt>
                <c:pt idx="1014">
                  <c:v>All Others</c:v>
                </c:pt>
                <c:pt idx="1015">
                  <c:v>All Others</c:v>
                </c:pt>
                <c:pt idx="1016">
                  <c:v>All Others</c:v>
                </c:pt>
                <c:pt idx="1017">
                  <c:v>All Others</c:v>
                </c:pt>
                <c:pt idx="1018">
                  <c:v>All Others</c:v>
                </c:pt>
                <c:pt idx="1019">
                  <c:v>All Others</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strCache>
            </c:strRef>
          </c:cat>
          <c:val>
            <c:numRef>
              <c:f>Sheet1!$C$2:$C$1030</c:f>
              <c:numCache>
                <c:formatCode>General</c:formatCode>
                <c:ptCount val="1029"/>
                <c:pt idx="0">
                  <c:v>0.15449246737755828</c:v>
                </c:pt>
                <c:pt idx="1">
                  <c:v>0.21422810366143727</c:v>
                </c:pt>
                <c:pt idx="2">
                  <c:v>0.22685139859317308</c:v>
                </c:pt>
                <c:pt idx="3">
                  <c:v>0.23908799034567929</c:v>
                </c:pt>
                <c:pt idx="4">
                  <c:v>0.25073212034320475</c:v>
                </c:pt>
                <c:pt idx="5">
                  <c:v>0.26216205970138978</c:v>
                </c:pt>
                <c:pt idx="6">
                  <c:v>0.28194206747781647</c:v>
                </c:pt>
                <c:pt idx="7">
                  <c:v>0.29116912008320334</c:v>
                </c:pt>
                <c:pt idx="8">
                  <c:v>0.30934775234534401</c:v>
                </c:pt>
                <c:pt idx="9">
                  <c:v>0.31829697949691688</c:v>
                </c:pt>
                <c:pt idx="10">
                  <c:v>0.32710246046984598</c:v>
                </c:pt>
                <c:pt idx="11">
                  <c:v>0.33558170035072521</c:v>
                </c:pt>
                <c:pt idx="12">
                  <c:v>0.3440177749162342</c:v>
                </c:pt>
                <c:pt idx="13">
                  <c:v>0.37574253310799527</c:v>
                </c:pt>
                <c:pt idx="14">
                  <c:v>0.39830710482343074</c:v>
                </c:pt>
                <c:pt idx="15">
                  <c:v>0.41280918610549522</c:v>
                </c:pt>
                <c:pt idx="16">
                  <c:v>0.43369756182577418</c:v>
                </c:pt>
                <c:pt idx="17">
                  <c:v>0.44019712803643762</c:v>
                </c:pt>
                <c:pt idx="18">
                  <c:v>0.4466875906829908</c:v>
                </c:pt>
                <c:pt idx="19">
                  <c:v>0.45313819143619988</c:v>
                </c:pt>
                <c:pt idx="20">
                  <c:v>0.46571124551016285</c:v>
                </c:pt>
                <c:pt idx="21">
                  <c:v>0.47745411763128009</c:v>
                </c:pt>
                <c:pt idx="22">
                  <c:v>0.48304736995418968</c:v>
                </c:pt>
                <c:pt idx="23">
                  <c:v>0.48856165111180033</c:v>
                </c:pt>
                <c:pt idx="24">
                  <c:v>0.49391679565936303</c:v>
                </c:pt>
                <c:pt idx="25">
                  <c:v>0.49925725732976178</c:v>
                </c:pt>
                <c:pt idx="26">
                  <c:v>0.50457197213790217</c:v>
                </c:pt>
                <c:pt idx="27">
                  <c:v>0.50986057053316192</c:v>
                </c:pt>
                <c:pt idx="28">
                  <c:v>0.51987490567220374</c:v>
                </c:pt>
                <c:pt idx="29">
                  <c:v>0.52482027716693269</c:v>
                </c:pt>
                <c:pt idx="30">
                  <c:v>0.5344464354309707</c:v>
                </c:pt>
                <c:pt idx="31">
                  <c:v>0.55266859805238899</c:v>
                </c:pt>
                <c:pt idx="32">
                  <c:v>0.55704824613167492</c:v>
                </c:pt>
                <c:pt idx="33">
                  <c:v>0.56141764594126442</c:v>
                </c:pt>
                <c:pt idx="34">
                  <c:v>0.5657623895136028</c:v>
                </c:pt>
                <c:pt idx="35">
                  <c:v>0.57004732897913779</c:v>
                </c:pt>
                <c:pt idx="36">
                  <c:v>0.57429787319650971</c:v>
                </c:pt>
                <c:pt idx="37">
                  <c:v>0.58269414896268334</c:v>
                </c:pt>
                <c:pt idx="38">
                  <c:v>0.58688298273284656</c:v>
                </c:pt>
                <c:pt idx="39">
                  <c:v>0.59106894572561464</c:v>
                </c:pt>
                <c:pt idx="40">
                  <c:v>0.59524781064240562</c:v>
                </c:pt>
                <c:pt idx="41">
                  <c:v>0.59934830378698023</c:v>
                </c:pt>
                <c:pt idx="42">
                  <c:v>0.6034081148160978</c:v>
                </c:pt>
                <c:pt idx="43">
                  <c:v>0.6074662673741299</c:v>
                </c:pt>
                <c:pt idx="44">
                  <c:v>0.61147591866634299</c:v>
                </c:pt>
                <c:pt idx="45">
                  <c:v>0.61538464207823484</c:v>
                </c:pt>
                <c:pt idx="46">
                  <c:v>0.61920650306702718</c:v>
                </c:pt>
                <c:pt idx="47">
                  <c:v>0.62680559054018226</c:v>
                </c:pt>
                <c:pt idx="48">
                  <c:v>0.63054469021643966</c:v>
                </c:pt>
                <c:pt idx="49">
                  <c:v>0.63428210438132226</c:v>
                </c:pt>
                <c:pt idx="50">
                  <c:v>0.64146829114149873</c:v>
                </c:pt>
                <c:pt idx="51">
                  <c:v>0.64502623439867712</c:v>
                </c:pt>
                <c:pt idx="52">
                  <c:v>0.64856458245944404</c:v>
                </c:pt>
                <c:pt idx="53">
                  <c:v>0.65199103780252321</c:v>
                </c:pt>
                <c:pt idx="54">
                  <c:v>0.65537493623674448</c:v>
                </c:pt>
                <c:pt idx="55">
                  <c:v>0.65875324634448218</c:v>
                </c:pt>
                <c:pt idx="56">
                  <c:v>0.66208670111875989</c:v>
                </c:pt>
                <c:pt idx="57">
                  <c:v>0.66540694220493302</c:v>
                </c:pt>
                <c:pt idx="58">
                  <c:v>0.66870481646502733</c:v>
                </c:pt>
                <c:pt idx="59">
                  <c:v>0.67521099853317279</c:v>
                </c:pt>
                <c:pt idx="60">
                  <c:v>0.67836932687291573</c:v>
                </c:pt>
                <c:pt idx="61">
                  <c:v>0.68150778059992301</c:v>
                </c:pt>
                <c:pt idx="62">
                  <c:v>0.68462468321624947</c:v>
                </c:pt>
                <c:pt idx="63">
                  <c:v>0.69081174480189678</c:v>
                </c:pt>
                <c:pt idx="64">
                  <c:v>0.69388137648557358</c:v>
                </c:pt>
                <c:pt idx="65">
                  <c:v>0.69692140806574732</c:v>
                </c:pt>
                <c:pt idx="66">
                  <c:v>0.69982477802310961</c:v>
                </c:pt>
                <c:pt idx="67">
                  <c:v>0.70264865403624388</c:v>
                </c:pt>
                <c:pt idx="68">
                  <c:v>0.70545557578790152</c:v>
                </c:pt>
                <c:pt idx="69">
                  <c:v>0.70821314450462292</c:v>
                </c:pt>
                <c:pt idx="70">
                  <c:v>0.71368343561803549</c:v>
                </c:pt>
                <c:pt idx="71">
                  <c:v>0.71639211549145598</c:v>
                </c:pt>
                <c:pt idx="72">
                  <c:v>0.71908381856982528</c:v>
                </c:pt>
                <c:pt idx="73">
                  <c:v>0.72177497633569099</c:v>
                </c:pt>
                <c:pt idx="74">
                  <c:v>0.72443866116748934</c:v>
                </c:pt>
                <c:pt idx="75">
                  <c:v>0.72975376805982661</c:v>
                </c:pt>
                <c:pt idx="76">
                  <c:v>0.73239737998343335</c:v>
                </c:pt>
                <c:pt idx="77">
                  <c:v>0.73499140902964355</c:v>
                </c:pt>
                <c:pt idx="78">
                  <c:v>0.73752950523715466</c:v>
                </c:pt>
                <c:pt idx="79">
                  <c:v>0.74006095404017924</c:v>
                </c:pt>
                <c:pt idx="80">
                  <c:v>0.74257255527075761</c:v>
                </c:pt>
                <c:pt idx="81">
                  <c:v>0.7450358490242579</c:v>
                </c:pt>
                <c:pt idx="82">
                  <c:v>0.74747495073214243</c:v>
                </c:pt>
                <c:pt idx="83">
                  <c:v>0.74988525002506234</c:v>
                </c:pt>
                <c:pt idx="84">
                  <c:v>0.75227951442634644</c:v>
                </c:pt>
                <c:pt idx="85">
                  <c:v>0.75467344983744244</c:v>
                </c:pt>
                <c:pt idx="86">
                  <c:v>0.75704441001594724</c:v>
                </c:pt>
                <c:pt idx="87">
                  <c:v>0.75940116953578307</c:v>
                </c:pt>
                <c:pt idx="88">
                  <c:v>0.76864708724976671</c:v>
                </c:pt>
                <c:pt idx="89">
                  <c:v>0.77093937370615639</c:v>
                </c:pt>
                <c:pt idx="90">
                  <c:v>0.77316958016471515</c:v>
                </c:pt>
                <c:pt idx="91">
                  <c:v>0.77536684704402548</c:v>
                </c:pt>
                <c:pt idx="92">
                  <c:v>0.7775172395815978</c:v>
                </c:pt>
                <c:pt idx="93">
                  <c:v>0.77961835119167233</c:v>
                </c:pt>
                <c:pt idx="94">
                  <c:v>0.78171930506672516</c:v>
                </c:pt>
                <c:pt idx="95">
                  <c:v>0.78377723333456983</c:v>
                </c:pt>
                <c:pt idx="96">
                  <c:v>0.78581258296073508</c:v>
                </c:pt>
                <c:pt idx="97">
                  <c:v>0.78783114056716042</c:v>
                </c:pt>
                <c:pt idx="98">
                  <c:v>0.78983101784030008</c:v>
                </c:pt>
                <c:pt idx="99">
                  <c:v>0.79382439989170228</c:v>
                </c:pt>
                <c:pt idx="100">
                  <c:v>0.79577504130449328</c:v>
                </c:pt>
                <c:pt idx="101">
                  <c:v>0.79770804794185679</c:v>
                </c:pt>
                <c:pt idx="102">
                  <c:v>0.79958185887892919</c:v>
                </c:pt>
                <c:pt idx="103">
                  <c:v>0.80330154813408627</c:v>
                </c:pt>
                <c:pt idx="104">
                  <c:v>0.80683190578932473</c:v>
                </c:pt>
                <c:pt idx="105">
                  <c:v>0.80857583770951935</c:v>
                </c:pt>
                <c:pt idx="106">
                  <c:v>0.8102997823491056</c:v>
                </c:pt>
                <c:pt idx="107">
                  <c:v>0.81202167192669461</c:v>
                </c:pt>
                <c:pt idx="108">
                  <c:v>0.81373752250630949</c:v>
                </c:pt>
                <c:pt idx="109">
                  <c:v>0.81876031936312454</c:v>
                </c:pt>
                <c:pt idx="110">
                  <c:v>0.82035978403029042</c:v>
                </c:pt>
                <c:pt idx="111">
                  <c:v>0.82195123125163838</c:v>
                </c:pt>
                <c:pt idx="112">
                  <c:v>0.82347975121275296</c:v>
                </c:pt>
                <c:pt idx="113">
                  <c:v>0.82499926675748525</c:v>
                </c:pt>
                <c:pt idx="114">
                  <c:v>0.82651632163587885</c:v>
                </c:pt>
                <c:pt idx="115">
                  <c:v>0.82802249730448918</c:v>
                </c:pt>
                <c:pt idx="116">
                  <c:v>0.82952802400615311</c:v>
                </c:pt>
                <c:pt idx="117">
                  <c:v>0.83098239949363317</c:v>
                </c:pt>
                <c:pt idx="118">
                  <c:v>0.83243028531164853</c:v>
                </c:pt>
                <c:pt idx="119">
                  <c:v>0.83387201946381706</c:v>
                </c:pt>
                <c:pt idx="120">
                  <c:v>0.83530720535922709</c:v>
                </c:pt>
                <c:pt idx="121">
                  <c:v>0.83669901863038121</c:v>
                </c:pt>
                <c:pt idx="122">
                  <c:v>0.83937886003511775</c:v>
                </c:pt>
                <c:pt idx="123">
                  <c:v>0.8407129783420445</c:v>
                </c:pt>
                <c:pt idx="124">
                  <c:v>0.84201476096952022</c:v>
                </c:pt>
                <c:pt idx="125">
                  <c:v>0.8433155746532911</c:v>
                </c:pt>
                <c:pt idx="126">
                  <c:v>0.84457725653153271</c:v>
                </c:pt>
                <c:pt idx="127">
                  <c:v>0.84581229471124963</c:v>
                </c:pt>
                <c:pt idx="128">
                  <c:v>0.84704668843073505</c:v>
                </c:pt>
                <c:pt idx="129">
                  <c:v>0.84827438517187004</c:v>
                </c:pt>
                <c:pt idx="130">
                  <c:v>0.85068216070444247</c:v>
                </c:pt>
                <c:pt idx="131">
                  <c:v>0.85185697565286966</c:v>
                </c:pt>
                <c:pt idx="132">
                  <c:v>0.85418429731093903</c:v>
                </c:pt>
                <c:pt idx="133">
                  <c:v>0.85533881401542933</c:v>
                </c:pt>
                <c:pt idx="134">
                  <c:v>0.8564831365308021</c:v>
                </c:pt>
                <c:pt idx="135">
                  <c:v>0.85761504755332363</c:v>
                </c:pt>
                <c:pt idx="136">
                  <c:v>0.85873360968629342</c:v>
                </c:pt>
                <c:pt idx="137">
                  <c:v>0.85983461816470408</c:v>
                </c:pt>
                <c:pt idx="138">
                  <c:v>0.86093468023298447</c:v>
                </c:pt>
                <c:pt idx="139">
                  <c:v>0.86200566948340585</c:v>
                </c:pt>
                <c:pt idx="140">
                  <c:v>0.86307180500187342</c:v>
                </c:pt>
                <c:pt idx="141">
                  <c:v>0.86412815193556503</c:v>
                </c:pt>
                <c:pt idx="142">
                  <c:v>0.86516316858760622</c:v>
                </c:pt>
                <c:pt idx="143">
                  <c:v>0.8661843361047411</c:v>
                </c:pt>
                <c:pt idx="144">
                  <c:v>0.86719797740798288</c:v>
                </c:pt>
                <c:pt idx="145">
                  <c:v>0.8682034570505297</c:v>
                </c:pt>
                <c:pt idx="146">
                  <c:v>0.86920811647096363</c:v>
                </c:pt>
                <c:pt idx="147">
                  <c:v>0.87020754810210654</c:v>
                </c:pt>
                <c:pt idx="148">
                  <c:v>0.87119499637831421</c:v>
                </c:pt>
                <c:pt idx="149">
                  <c:v>0.87217350783886316</c:v>
                </c:pt>
                <c:pt idx="150">
                  <c:v>0.87412797545260945</c:v>
                </c:pt>
                <c:pt idx="151">
                  <c:v>0.87510189006395422</c:v>
                </c:pt>
                <c:pt idx="152">
                  <c:v>0.87607139710812088</c:v>
                </c:pt>
                <c:pt idx="153">
                  <c:v>0.87703316612279381</c:v>
                </c:pt>
                <c:pt idx="154">
                  <c:v>0.87799078445303824</c:v>
                </c:pt>
                <c:pt idx="155">
                  <c:v>0.87894471629048954</c:v>
                </c:pt>
                <c:pt idx="156">
                  <c:v>0.87989813436244158</c:v>
                </c:pt>
                <c:pt idx="157">
                  <c:v>0.88083861365589833</c:v>
                </c:pt>
                <c:pt idx="158">
                  <c:v>0.88177802035120734</c:v>
                </c:pt>
                <c:pt idx="159">
                  <c:v>0.88270516427525703</c:v>
                </c:pt>
                <c:pt idx="160">
                  <c:v>0.88361913957835114</c:v>
                </c:pt>
                <c:pt idx="161">
                  <c:v>0.88453285349198074</c:v>
                </c:pt>
                <c:pt idx="162">
                  <c:v>0.8854463736168694</c:v>
                </c:pt>
                <c:pt idx="163">
                  <c:v>0.88635087129851609</c:v>
                </c:pt>
                <c:pt idx="164">
                  <c:v>0.88724643216450405</c:v>
                </c:pt>
                <c:pt idx="165">
                  <c:v>0.88813564306918935</c:v>
                </c:pt>
                <c:pt idx="166">
                  <c:v>0.88901694468921455</c:v>
                </c:pt>
                <c:pt idx="167">
                  <c:v>0.88988777270379804</c:v>
                </c:pt>
                <c:pt idx="168">
                  <c:v>0.89074728886396737</c:v>
                </c:pt>
                <c:pt idx="169">
                  <c:v>0.89241833368398615</c:v>
                </c:pt>
                <c:pt idx="170">
                  <c:v>0.8932263786532133</c:v>
                </c:pt>
                <c:pt idx="171">
                  <c:v>0.89403415321954605</c:v>
                </c:pt>
                <c:pt idx="172">
                  <c:v>0.89484177455757208</c:v>
                </c:pt>
                <c:pt idx="173">
                  <c:v>0.89564482608668328</c:v>
                </c:pt>
                <c:pt idx="174">
                  <c:v>0.89644278953466561</c:v>
                </c:pt>
                <c:pt idx="175">
                  <c:v>0.89724059975434112</c:v>
                </c:pt>
                <c:pt idx="176">
                  <c:v>0.89803799986296018</c:v>
                </c:pt>
                <c:pt idx="177">
                  <c:v>0.89883366037962553</c:v>
                </c:pt>
                <c:pt idx="178">
                  <c:v>0.90041038416337538</c:v>
                </c:pt>
                <c:pt idx="179">
                  <c:v>0.90119082550380292</c:v>
                </c:pt>
                <c:pt idx="180">
                  <c:v>0.90196732797540258</c:v>
                </c:pt>
                <c:pt idx="181">
                  <c:v>0.90273937781267499</c:v>
                </c:pt>
                <c:pt idx="182">
                  <c:v>0.90350447829556224</c:v>
                </c:pt>
                <c:pt idx="183">
                  <c:v>0.90426292236053329</c:v>
                </c:pt>
                <c:pt idx="184">
                  <c:v>0.90501516067907872</c:v>
                </c:pt>
                <c:pt idx="185">
                  <c:v>0.90576626781218272</c:v>
                </c:pt>
                <c:pt idx="186">
                  <c:v>0.90651392280166865</c:v>
                </c:pt>
                <c:pt idx="187">
                  <c:v>0.90726036999155979</c:v>
                </c:pt>
                <c:pt idx="188">
                  <c:v>0.90800637552339014</c:v>
                </c:pt>
                <c:pt idx="189">
                  <c:v>0.90874974462700042</c:v>
                </c:pt>
                <c:pt idx="190">
                  <c:v>0.90947736726872885</c:v>
                </c:pt>
                <c:pt idx="191">
                  <c:v>0.91020155579369888</c:v>
                </c:pt>
                <c:pt idx="192">
                  <c:v>0.91092539730162114</c:v>
                </c:pt>
                <c:pt idx="193">
                  <c:v>0.91164805805023807</c:v>
                </c:pt>
                <c:pt idx="194">
                  <c:v>0.91236946142539621</c:v>
                </c:pt>
                <c:pt idx="195">
                  <c:v>0.91308384333873072</c:v>
                </c:pt>
                <c:pt idx="196">
                  <c:v>0.91379331743953252</c:v>
                </c:pt>
                <c:pt idx="197">
                  <c:v>0.91449207907900254</c:v>
                </c:pt>
                <c:pt idx="198">
                  <c:v>0.91517029460521582</c:v>
                </c:pt>
                <c:pt idx="199">
                  <c:v>0.91583921277857794</c:v>
                </c:pt>
                <c:pt idx="200">
                  <c:v>0.9164993248310136</c:v>
                </c:pt>
                <c:pt idx="201">
                  <c:v>0.91713707456408533</c:v>
                </c:pt>
                <c:pt idx="202">
                  <c:v>0.91777368860500075</c:v>
                </c:pt>
                <c:pt idx="203">
                  <c:v>0.91840808534218243</c:v>
                </c:pt>
                <c:pt idx="204">
                  <c:v>0.91903504149305415</c:v>
                </c:pt>
                <c:pt idx="205">
                  <c:v>0.91966041128027898</c:v>
                </c:pt>
                <c:pt idx="206">
                  <c:v>0.92027057991812566</c:v>
                </c:pt>
                <c:pt idx="207">
                  <c:v>0.92087528191079127</c:v>
                </c:pt>
                <c:pt idx="208">
                  <c:v>0.92147968646027312</c:v>
                </c:pt>
                <c:pt idx="209">
                  <c:v>0.92208212157534097</c:v>
                </c:pt>
                <c:pt idx="210">
                  <c:v>0.92268314608864321</c:v>
                </c:pt>
                <c:pt idx="211">
                  <c:v>0.92328023623983246</c:v>
                </c:pt>
                <c:pt idx="212">
                  <c:v>0.92387682163895224</c:v>
                </c:pt>
                <c:pt idx="213">
                  <c:v>0.9244695943572615</c:v>
                </c:pt>
                <c:pt idx="214">
                  <c:v>0.9256428274487567</c:v>
                </c:pt>
                <c:pt idx="215">
                  <c:v>0.92622315712721037</c:v>
                </c:pt>
                <c:pt idx="216">
                  <c:v>0.92679920542650329</c:v>
                </c:pt>
                <c:pt idx="217">
                  <c:v>0.92737154469942851</c:v>
                </c:pt>
                <c:pt idx="218">
                  <c:v>0.92794339724714381</c:v>
                </c:pt>
                <c:pt idx="219">
                  <c:v>0.9285146549084915</c:v>
                </c:pt>
                <c:pt idx="220">
                  <c:v>0.92908447943449912</c:v>
                </c:pt>
                <c:pt idx="221">
                  <c:v>0.92965204609633878</c:v>
                </c:pt>
                <c:pt idx="222">
                  <c:v>0.9302157595169338</c:v>
                </c:pt>
                <c:pt idx="223">
                  <c:v>0.93077479046074141</c:v>
                </c:pt>
                <c:pt idx="224">
                  <c:v>0.93188016594589607</c:v>
                </c:pt>
                <c:pt idx="225">
                  <c:v>0.93242126917780732</c:v>
                </c:pt>
                <c:pt idx="226">
                  <c:v>0.93296236790300369</c:v>
                </c:pt>
                <c:pt idx="227">
                  <c:v>0.93348775622003755</c:v>
                </c:pt>
                <c:pt idx="228">
                  <c:v>0.93400967887330866</c:v>
                </c:pt>
                <c:pt idx="229">
                  <c:v>0.93452853245372869</c:v>
                </c:pt>
                <c:pt idx="230">
                  <c:v>0.93504597993909799</c:v>
                </c:pt>
                <c:pt idx="231">
                  <c:v>0.9355536613732659</c:v>
                </c:pt>
                <c:pt idx="232">
                  <c:v>0.93605909395669573</c:v>
                </c:pt>
                <c:pt idx="233">
                  <c:v>0.93656257062585624</c:v>
                </c:pt>
                <c:pt idx="234">
                  <c:v>0.93706559662352618</c:v>
                </c:pt>
                <c:pt idx="235">
                  <c:v>0.9375660087265506</c:v>
                </c:pt>
                <c:pt idx="236">
                  <c:v>0.93806358159918424</c:v>
                </c:pt>
                <c:pt idx="237">
                  <c:v>0.93855875239277298</c:v>
                </c:pt>
                <c:pt idx="238">
                  <c:v>0.93904215164702698</c:v>
                </c:pt>
                <c:pt idx="239">
                  <c:v>0.93952514980365442</c:v>
                </c:pt>
                <c:pt idx="240">
                  <c:v>0.93999807094575194</c:v>
                </c:pt>
                <c:pt idx="241">
                  <c:v>0.94093307007388294</c:v>
                </c:pt>
                <c:pt idx="242">
                  <c:v>0.94184726620600745</c:v>
                </c:pt>
                <c:pt idx="243">
                  <c:v>0.94274988909425317</c:v>
                </c:pt>
                <c:pt idx="244">
                  <c:v>0.94319616653782601</c:v>
                </c:pt>
                <c:pt idx="245">
                  <c:v>0.94363222725870677</c:v>
                </c:pt>
                <c:pt idx="246">
                  <c:v>0.94406624193102018</c:v>
                </c:pt>
                <c:pt idx="247">
                  <c:v>0.94449173891216109</c:v>
                </c:pt>
                <c:pt idx="248">
                  <c:v>0.94575912178475874</c:v>
                </c:pt>
                <c:pt idx="249">
                  <c:v>0.94616857936754906</c:v>
                </c:pt>
                <c:pt idx="250">
                  <c:v>0.94657802343019459</c:v>
                </c:pt>
                <c:pt idx="251">
                  <c:v>0.94698653910956954</c:v>
                </c:pt>
                <c:pt idx="252">
                  <c:v>0.94739307183438581</c:v>
                </c:pt>
                <c:pt idx="253">
                  <c:v>0.94779792355454207</c:v>
                </c:pt>
                <c:pt idx="254">
                  <c:v>0.94819514540636241</c:v>
                </c:pt>
                <c:pt idx="255">
                  <c:v>0.94857624673896379</c:v>
                </c:pt>
                <c:pt idx="256">
                  <c:v>0.94895560397289647</c:v>
                </c:pt>
                <c:pt idx="257">
                  <c:v>0.94970643168967617</c:v>
                </c:pt>
                <c:pt idx="258">
                  <c:v>0.95007727573915135</c:v>
                </c:pt>
                <c:pt idx="259">
                  <c:v>0.95044616387435732</c:v>
                </c:pt>
                <c:pt idx="260">
                  <c:v>0.9508137856226746</c:v>
                </c:pt>
                <c:pt idx="261">
                  <c:v>0.95117005946285849</c:v>
                </c:pt>
                <c:pt idx="262">
                  <c:v>0.95151961379111738</c:v>
                </c:pt>
                <c:pt idx="263">
                  <c:v>0.9518688796896223</c:v>
                </c:pt>
                <c:pt idx="264">
                  <c:v>0.95221249867434998</c:v>
                </c:pt>
                <c:pt idx="265">
                  <c:v>0.95255405358365064</c:v>
                </c:pt>
                <c:pt idx="266">
                  <c:v>0.95289224197691647</c:v>
                </c:pt>
                <c:pt idx="267">
                  <c:v>0.95322182254471166</c:v>
                </c:pt>
                <c:pt idx="268">
                  <c:v>0.95355065499783254</c:v>
                </c:pt>
                <c:pt idx="269">
                  <c:v>0.95387608938791424</c:v>
                </c:pt>
                <c:pt idx="270">
                  <c:v>0.9541976119494574</c:v>
                </c:pt>
                <c:pt idx="271">
                  <c:v>0.9545162817604651</c:v>
                </c:pt>
                <c:pt idx="272">
                  <c:v>0.95483044485656665</c:v>
                </c:pt>
                <c:pt idx="273">
                  <c:v>0.95513785238702409</c:v>
                </c:pt>
                <c:pt idx="274">
                  <c:v>0.95544516978318339</c:v>
                </c:pt>
                <c:pt idx="275">
                  <c:v>0.95575230691074642</c:v>
                </c:pt>
                <c:pt idx="276">
                  <c:v>0.95605878155121826</c:v>
                </c:pt>
                <c:pt idx="277">
                  <c:v>0.95636107396025727</c:v>
                </c:pt>
                <c:pt idx="278">
                  <c:v>0.95665373551954203</c:v>
                </c:pt>
                <c:pt idx="279">
                  <c:v>0.95694516674565744</c:v>
                </c:pt>
                <c:pt idx="280">
                  <c:v>0.95723131159518804</c:v>
                </c:pt>
                <c:pt idx="281">
                  <c:v>0.95751614499068094</c:v>
                </c:pt>
                <c:pt idx="282">
                  <c:v>0.9577995858112679</c:v>
                </c:pt>
                <c:pt idx="283">
                  <c:v>0.95808231907761465</c:v>
                </c:pt>
                <c:pt idx="284">
                  <c:v>0.95836406086668202</c:v>
                </c:pt>
                <c:pt idx="285">
                  <c:v>0.95864326086854235</c:v>
                </c:pt>
                <c:pt idx="286">
                  <c:v>0.95892035623454164</c:v>
                </c:pt>
                <c:pt idx="287">
                  <c:v>0.95919661785828325</c:v>
                </c:pt>
                <c:pt idx="288">
                  <c:v>0.95947057655070789</c:v>
                </c:pt>
                <c:pt idx="289">
                  <c:v>0.959736310488429</c:v>
                </c:pt>
                <c:pt idx="290">
                  <c:v>0.96000189119784329</c:v>
                </c:pt>
                <c:pt idx="291">
                  <c:v>0.96052241226277857</c:v>
                </c:pt>
                <c:pt idx="292">
                  <c:v>0.96077943472058625</c:v>
                </c:pt>
                <c:pt idx="293">
                  <c:v>0.96103400101877012</c:v>
                </c:pt>
                <c:pt idx="294">
                  <c:v>0.96128788680300314</c:v>
                </c:pt>
                <c:pt idx="295">
                  <c:v>0.96153832044361809</c:v>
                </c:pt>
                <c:pt idx="296">
                  <c:v>0.96178672606252535</c:v>
                </c:pt>
                <c:pt idx="297">
                  <c:v>0.96203177868554246</c:v>
                </c:pt>
                <c:pt idx="298">
                  <c:v>0.96227289243973169</c:v>
                </c:pt>
                <c:pt idx="299">
                  <c:v>0.96251384395218431</c:v>
                </c:pt>
                <c:pt idx="300">
                  <c:v>0.96275477293106237</c:v>
                </c:pt>
                <c:pt idx="301">
                  <c:v>0.96299512955714739</c:v>
                </c:pt>
                <c:pt idx="302">
                  <c:v>0.9632322683887895</c:v>
                </c:pt>
                <c:pt idx="303">
                  <c:v>0.96346733863828971</c:v>
                </c:pt>
                <c:pt idx="304">
                  <c:v>0.96369897026431661</c:v>
                </c:pt>
                <c:pt idx="305">
                  <c:v>0.96392674864909877</c:v>
                </c:pt>
                <c:pt idx="306">
                  <c:v>0.96460788001985631</c:v>
                </c:pt>
                <c:pt idx="307">
                  <c:v>0.96483048018921147</c:v>
                </c:pt>
                <c:pt idx="308">
                  <c:v>0.96505178242467371</c:v>
                </c:pt>
                <c:pt idx="309">
                  <c:v>0.96526972265081601</c:v>
                </c:pt>
                <c:pt idx="310">
                  <c:v>0.96548530135834754</c:v>
                </c:pt>
                <c:pt idx="311">
                  <c:v>0.96569988858859968</c:v>
                </c:pt>
                <c:pt idx="312">
                  <c:v>0.96590977982191972</c:v>
                </c:pt>
                <c:pt idx="313">
                  <c:v>0.96611720588218619</c:v>
                </c:pt>
                <c:pt idx="314">
                  <c:v>0.96632449223429051</c:v>
                </c:pt>
                <c:pt idx="315">
                  <c:v>0.96653067444124285</c:v>
                </c:pt>
                <c:pt idx="316">
                  <c:v>0.96673006052211685</c:v>
                </c:pt>
                <c:pt idx="317">
                  <c:v>0.96712288832690374</c:v>
                </c:pt>
                <c:pt idx="318">
                  <c:v>0.96731305366907994</c:v>
                </c:pt>
                <c:pt idx="319">
                  <c:v>0.96750270524575688</c:v>
                </c:pt>
                <c:pt idx="320">
                  <c:v>0.96769086509979985</c:v>
                </c:pt>
                <c:pt idx="321">
                  <c:v>0.96787800643627409</c:v>
                </c:pt>
                <c:pt idx="322">
                  <c:v>0.96806406165445591</c:v>
                </c:pt>
                <c:pt idx="323">
                  <c:v>0.96824920200951181</c:v>
                </c:pt>
                <c:pt idx="324">
                  <c:v>0.96843366635733186</c:v>
                </c:pt>
                <c:pt idx="325">
                  <c:v>0.96861670207652673</c:v>
                </c:pt>
                <c:pt idx="326">
                  <c:v>0.96879922853693712</c:v>
                </c:pt>
                <c:pt idx="327">
                  <c:v>0.96898174147720284</c:v>
                </c:pt>
                <c:pt idx="328">
                  <c:v>0.96916362798409661</c:v>
                </c:pt>
                <c:pt idx="329">
                  <c:v>0.96933970984219142</c:v>
                </c:pt>
                <c:pt idx="330">
                  <c:v>0.96951516977362917</c:v>
                </c:pt>
                <c:pt idx="331">
                  <c:v>0.96969017452686135</c:v>
                </c:pt>
                <c:pt idx="332">
                  <c:v>0.96986396697378385</c:v>
                </c:pt>
                <c:pt idx="333">
                  <c:v>0.97003561422441109</c:v>
                </c:pt>
                <c:pt idx="334">
                  <c:v>0.97020640970592109</c:v>
                </c:pt>
                <c:pt idx="335">
                  <c:v>0.97037570895808223</c:v>
                </c:pt>
                <c:pt idx="336">
                  <c:v>0.97054444937759499</c:v>
                </c:pt>
                <c:pt idx="337">
                  <c:v>0.97071154484616706</c:v>
                </c:pt>
                <c:pt idx="338">
                  <c:v>0.97087543153372602</c:v>
                </c:pt>
                <c:pt idx="339">
                  <c:v>0.97103791663294914</c:v>
                </c:pt>
                <c:pt idx="340">
                  <c:v>0.97119791402554412</c:v>
                </c:pt>
                <c:pt idx="341">
                  <c:v>0.97135662700439096</c:v>
                </c:pt>
                <c:pt idx="342">
                  <c:v>0.9715117391180278</c:v>
                </c:pt>
                <c:pt idx="343">
                  <c:v>0.97166570201936364</c:v>
                </c:pt>
                <c:pt idx="344">
                  <c:v>0.97181947563867344</c:v>
                </c:pt>
                <c:pt idx="345">
                  <c:v>0.97197268591861996</c:v>
                </c:pt>
                <c:pt idx="346">
                  <c:v>0.97212530581891377</c:v>
                </c:pt>
                <c:pt idx="347">
                  <c:v>0.97227772291703685</c:v>
                </c:pt>
                <c:pt idx="348">
                  <c:v>0.97242876096039865</c:v>
                </c:pt>
                <c:pt idx="349">
                  <c:v>0.97257952409415116</c:v>
                </c:pt>
                <c:pt idx="350">
                  <c:v>0.97287782806049838</c:v>
                </c:pt>
                <c:pt idx="351">
                  <c:v>0.97302537790652288</c:v>
                </c:pt>
                <c:pt idx="352">
                  <c:v>0.9731728060712449</c:v>
                </c:pt>
                <c:pt idx="353">
                  <c:v>0.97331945908100304</c:v>
                </c:pt>
                <c:pt idx="354">
                  <c:v>0.97346526482835882</c:v>
                </c:pt>
                <c:pt idx="355">
                  <c:v>0.97361074158552652</c:v>
                </c:pt>
                <c:pt idx="356">
                  <c:v>0.97375517729155092</c:v>
                </c:pt>
                <c:pt idx="357">
                  <c:v>0.97389956342371131</c:v>
                </c:pt>
                <c:pt idx="358">
                  <c:v>0.97404342227022778</c:v>
                </c:pt>
                <c:pt idx="359">
                  <c:v>0.97418590206198297</c:v>
                </c:pt>
                <c:pt idx="360">
                  <c:v>0.97432806187697985</c:v>
                </c:pt>
                <c:pt idx="361">
                  <c:v>0.97446749512945852</c:v>
                </c:pt>
                <c:pt idx="362">
                  <c:v>0.97460668501933223</c:v>
                </c:pt>
                <c:pt idx="363">
                  <c:v>0.97488239231714047</c:v>
                </c:pt>
                <c:pt idx="364">
                  <c:v>0.97501974797404745</c:v>
                </c:pt>
                <c:pt idx="365">
                  <c:v>0.97515661690574451</c:v>
                </c:pt>
                <c:pt idx="366">
                  <c:v>0.9752932019144025</c:v>
                </c:pt>
                <c:pt idx="367">
                  <c:v>0.97542873235177252</c:v>
                </c:pt>
                <c:pt idx="368">
                  <c:v>0.97556386169151588</c:v>
                </c:pt>
                <c:pt idx="369">
                  <c:v>0.9756982429165848</c:v>
                </c:pt>
                <c:pt idx="370">
                  <c:v>0.97583048345207335</c:v>
                </c:pt>
                <c:pt idx="371">
                  <c:v>0.97596210206090495</c:v>
                </c:pt>
                <c:pt idx="372">
                  <c:v>0.97609295903491733</c:v>
                </c:pt>
                <c:pt idx="373">
                  <c:v>0.97622266679662872</c:v>
                </c:pt>
                <c:pt idx="374">
                  <c:v>0.97635076115440378</c:v>
                </c:pt>
                <c:pt idx="375">
                  <c:v>0.97647872031073157</c:v>
                </c:pt>
                <c:pt idx="376">
                  <c:v>0.9766027901720955</c:v>
                </c:pt>
                <c:pt idx="377">
                  <c:v>0.9767268239797402</c:v>
                </c:pt>
                <c:pt idx="378">
                  <c:v>0.97685078117323143</c:v>
                </c:pt>
                <c:pt idx="379">
                  <c:v>0.97697467527271398</c:v>
                </c:pt>
                <c:pt idx="380">
                  <c:v>0.97709824939543821</c:v>
                </c:pt>
                <c:pt idx="381">
                  <c:v>0.97722159818241716</c:v>
                </c:pt>
                <c:pt idx="382">
                  <c:v>0.97734372114294166</c:v>
                </c:pt>
                <c:pt idx="383">
                  <c:v>0.97746434787411729</c:v>
                </c:pt>
                <c:pt idx="384">
                  <c:v>0.97758456900095136</c:v>
                </c:pt>
                <c:pt idx="385">
                  <c:v>0.97770465943305318</c:v>
                </c:pt>
                <c:pt idx="386">
                  <c:v>0.97782438482124767</c:v>
                </c:pt>
                <c:pt idx="387">
                  <c:v>0.97794374967224962</c:v>
                </c:pt>
                <c:pt idx="388">
                  <c:v>0.9780621681131213</c:v>
                </c:pt>
                <c:pt idx="389">
                  <c:v>0.9780621681131213</c:v>
                </c:pt>
                <c:pt idx="390">
                  <c:v>0.97817947339541123</c:v>
                </c:pt>
                <c:pt idx="391">
                  <c:v>0.97829561143854049</c:v>
                </c:pt>
                <c:pt idx="392">
                  <c:v>0.97841169990780574</c:v>
                </c:pt>
                <c:pt idx="393">
                  <c:v>0.97852730165186119</c:v>
                </c:pt>
                <c:pt idx="394">
                  <c:v>0.97864170911646653</c:v>
                </c:pt>
                <c:pt idx="395">
                  <c:v>0.97875610306092709</c:v>
                </c:pt>
                <c:pt idx="396">
                  <c:v>0.97886958664897661</c:v>
                </c:pt>
                <c:pt idx="397">
                  <c:v>0.97898270068640392</c:v>
                </c:pt>
                <c:pt idx="398">
                  <c:v>0.97909386782299179</c:v>
                </c:pt>
                <c:pt idx="399">
                  <c:v>0.97920486821112807</c:v>
                </c:pt>
                <c:pt idx="400">
                  <c:v>0.97931531427333096</c:v>
                </c:pt>
                <c:pt idx="401">
                  <c:v>0.97942571526838473</c:v>
                </c:pt>
                <c:pt idx="402">
                  <c:v>0.97953576924639074</c:v>
                </c:pt>
                <c:pt idx="403">
                  <c:v>0.97985541250781816</c:v>
                </c:pt>
                <c:pt idx="404">
                  <c:v>0.97996036939126541</c:v>
                </c:pt>
                <c:pt idx="405">
                  <c:v>0.97996036939126541</c:v>
                </c:pt>
                <c:pt idx="406">
                  <c:v>0.98006499728452456</c:v>
                </c:pt>
                <c:pt idx="407">
                  <c:v>0.98016957560391971</c:v>
                </c:pt>
                <c:pt idx="408">
                  <c:v>0.98027374831897329</c:v>
                </c:pt>
                <c:pt idx="409">
                  <c:v>0.98037723150664624</c:v>
                </c:pt>
                <c:pt idx="410">
                  <c:v>0.98048066512045529</c:v>
                </c:pt>
                <c:pt idx="411">
                  <c:v>0.9805824763168981</c:v>
                </c:pt>
                <c:pt idx="412">
                  <c:v>0.98068361601281995</c:v>
                </c:pt>
                <c:pt idx="413">
                  <c:v>0.98078444474541326</c:v>
                </c:pt>
                <c:pt idx="414">
                  <c:v>0.98088453437676204</c:v>
                </c:pt>
                <c:pt idx="415">
                  <c:v>0.98098445725965921</c:v>
                </c:pt>
                <c:pt idx="416">
                  <c:v>0.98108397003149994</c:v>
                </c:pt>
                <c:pt idx="417">
                  <c:v>0.98118177025167641</c:v>
                </c:pt>
                <c:pt idx="418">
                  <c:v>0.98127901614591939</c:v>
                </c:pt>
                <c:pt idx="419">
                  <c:v>0.98137564462022031</c:v>
                </c:pt>
                <c:pt idx="420">
                  <c:v>0.98147220098708265</c:v>
                </c:pt>
                <c:pt idx="421">
                  <c:v>0.98156825260187552</c:v>
                </c:pt>
                <c:pt idx="422">
                  <c:v>0.98166391213247162</c:v>
                </c:pt>
                <c:pt idx="423">
                  <c:v>0.98175917957887082</c:v>
                </c:pt>
                <c:pt idx="424">
                  <c:v>0.9819486418735216</c:v>
                </c:pt>
                <c:pt idx="425">
                  <c:v>0.98204278714790927</c:v>
                </c:pt>
                <c:pt idx="426">
                  <c:v>0.98213626542849086</c:v>
                </c:pt>
                <c:pt idx="427">
                  <c:v>0.98222902263468748</c:v>
                </c:pt>
                <c:pt idx="428">
                  <c:v>0.98231874231503735</c:v>
                </c:pt>
                <c:pt idx="429">
                  <c:v>0.9824069477391788</c:v>
                </c:pt>
                <c:pt idx="430">
                  <c:v>0.98249488726714085</c:v>
                </c:pt>
                <c:pt idx="431">
                  <c:v>0.98258113677701309</c:v>
                </c:pt>
                <c:pt idx="432">
                  <c:v>0.98266634072902714</c:v>
                </c:pt>
                <c:pt idx="433">
                  <c:v>0.98275150862732186</c:v>
                </c:pt>
                <c:pt idx="434">
                  <c:v>0.98283515325597837</c:v>
                </c:pt>
                <c:pt idx="435">
                  <c:v>0.98291873479062619</c:v>
                </c:pt>
                <c:pt idx="436">
                  <c:v>0.98300129780770529</c:v>
                </c:pt>
                <c:pt idx="437">
                  <c:v>0.98308364900918377</c:v>
                </c:pt>
                <c:pt idx="438">
                  <c:v>0.98316534223028595</c:v>
                </c:pt>
                <c:pt idx="439">
                  <c:v>0.98324683715593231</c:v>
                </c:pt>
                <c:pt idx="440">
                  <c:v>0.98332793098395199</c:v>
                </c:pt>
                <c:pt idx="441">
                  <c:v>0.98340886257023508</c:v>
                </c:pt>
                <c:pt idx="442">
                  <c:v>0.98348897844112015</c:v>
                </c:pt>
                <c:pt idx="443">
                  <c:v>0.9835688915098344</c:v>
                </c:pt>
                <c:pt idx="444">
                  <c:v>0.98364707400002471</c:v>
                </c:pt>
                <c:pt idx="445">
                  <c:v>0.98372348535125698</c:v>
                </c:pt>
                <c:pt idx="446">
                  <c:v>0.98379934237655586</c:v>
                </c:pt>
                <c:pt idx="447">
                  <c:v>0.98387506420040749</c:v>
                </c:pt>
                <c:pt idx="448">
                  <c:v>0.98394943851650218</c:v>
                </c:pt>
                <c:pt idx="449">
                  <c:v>0.98402358749685159</c:v>
                </c:pt>
                <c:pt idx="450">
                  <c:v>0.98409765986304765</c:v>
                </c:pt>
                <c:pt idx="451">
                  <c:v>0.98417112382273142</c:v>
                </c:pt>
                <c:pt idx="452">
                  <c:v>0.98424385769460032</c:v>
                </c:pt>
                <c:pt idx="453">
                  <c:v>0.9843164428448774</c:v>
                </c:pt>
                <c:pt idx="454">
                  <c:v>0.98438833846777385</c:v>
                </c:pt>
                <c:pt idx="455">
                  <c:v>0.98446007184893369</c:v>
                </c:pt>
                <c:pt idx="456">
                  <c:v>0.98453162496149726</c:v>
                </c:pt>
                <c:pt idx="457">
                  <c:v>0.98460284007044285</c:v>
                </c:pt>
                <c:pt idx="458">
                  <c:v>0.98467377125634936</c:v>
                </c:pt>
                <c:pt idx="459">
                  <c:v>0.9848132225356877</c:v>
                </c:pt>
                <c:pt idx="460">
                  <c:v>0.98488253130422798</c:v>
                </c:pt>
                <c:pt idx="461">
                  <c:v>0.98495072240747161</c:v>
                </c:pt>
                <c:pt idx="462">
                  <c:v>0.98501843129222033</c:v>
                </c:pt>
                <c:pt idx="463">
                  <c:v>0.98508593286808332</c:v>
                </c:pt>
                <c:pt idx="464">
                  <c:v>0.9851532316417756</c:v>
                </c:pt>
                <c:pt idx="465">
                  <c:v>0.98522043126773984</c:v>
                </c:pt>
                <c:pt idx="466">
                  <c:v>0.98528726584979676</c:v>
                </c:pt>
                <c:pt idx="467">
                  <c:v>0.98535358666635442</c:v>
                </c:pt>
                <c:pt idx="468">
                  <c:v>0.98541976326803504</c:v>
                </c:pt>
                <c:pt idx="469">
                  <c:v>0.98548571002725549</c:v>
                </c:pt>
                <c:pt idx="470">
                  <c:v>0.98555144497087532</c:v>
                </c:pt>
                <c:pt idx="471">
                  <c:v>0.98561710780705669</c:v>
                </c:pt>
                <c:pt idx="472">
                  <c:v>0.98568261741493124</c:v>
                </c:pt>
                <c:pt idx="473">
                  <c:v>0.98574785661991138</c:v>
                </c:pt>
                <c:pt idx="474">
                  <c:v>0.98581282992871211</c:v>
                </c:pt>
                <c:pt idx="475">
                  <c:v>0.98587764550249113</c:v>
                </c:pt>
                <c:pt idx="476">
                  <c:v>0.98600535678949908</c:v>
                </c:pt>
                <c:pt idx="477">
                  <c:v>0.98606886541595529</c:v>
                </c:pt>
                <c:pt idx="478">
                  <c:v>0.98613214419995132</c:v>
                </c:pt>
                <c:pt idx="479">
                  <c:v>0.98619520666163185</c:v>
                </c:pt>
                <c:pt idx="480">
                  <c:v>0.9862579852002733</c:v>
                </c:pt>
                <c:pt idx="481">
                  <c:v>0.98632072317848063</c:v>
                </c:pt>
                <c:pt idx="482">
                  <c:v>0.98638328539480657</c:v>
                </c:pt>
                <c:pt idx="483">
                  <c:v>0.98644551411422954</c:v>
                </c:pt>
                <c:pt idx="484">
                  <c:v>0.98656918738468169</c:v>
                </c:pt>
                <c:pt idx="485">
                  <c:v>0.98669050364323796</c:v>
                </c:pt>
                <c:pt idx="486">
                  <c:v>0.98674951006150302</c:v>
                </c:pt>
                <c:pt idx="487">
                  <c:v>0.98686545882260623</c:v>
                </c:pt>
                <c:pt idx="488">
                  <c:v>0.98692256340718099</c:v>
                </c:pt>
                <c:pt idx="489">
                  <c:v>0.9869795778574576</c:v>
                </c:pt>
                <c:pt idx="490">
                  <c:v>0.98703626331754601</c:v>
                </c:pt>
                <c:pt idx="491">
                  <c:v>0.98709211052866197</c:v>
                </c:pt>
                <c:pt idx="492">
                  <c:v>0.98714748904142768</c:v>
                </c:pt>
                <c:pt idx="493">
                  <c:v>0.98720278643332504</c:v>
                </c:pt>
                <c:pt idx="494">
                  <c:v>0.98725716896209648</c:v>
                </c:pt>
                <c:pt idx="495">
                  <c:v>0.987310686201606</c:v>
                </c:pt>
                <c:pt idx="496">
                  <c:v>0.98736277030577535</c:v>
                </c:pt>
                <c:pt idx="497">
                  <c:v>0.98741438571159446</c:v>
                </c:pt>
                <c:pt idx="498">
                  <c:v>0.98746550087205898</c:v>
                </c:pt>
                <c:pt idx="499">
                  <c:v>0.98751562004852933</c:v>
                </c:pt>
                <c:pt idx="500">
                  <c:v>0.98756513532520218</c:v>
                </c:pt>
                <c:pt idx="501">
                  <c:v>0.98761426753110804</c:v>
                </c:pt>
                <c:pt idx="502">
                  <c:v>0.98766318792141339</c:v>
                </c:pt>
                <c:pt idx="503">
                  <c:v>0.98771210380500374</c:v>
                </c:pt>
                <c:pt idx="504">
                  <c:v>0.98776096110130041</c:v>
                </c:pt>
                <c:pt idx="505">
                  <c:v>0.98780969671629459</c:v>
                </c:pt>
                <c:pt idx="506">
                  <c:v>0.98785840979771422</c:v>
                </c:pt>
                <c:pt idx="507">
                  <c:v>0.98790709133212951</c:v>
                </c:pt>
                <c:pt idx="508">
                  <c:v>0.98795570075910633</c:v>
                </c:pt>
                <c:pt idx="509">
                  <c:v>0.98800418399806578</c:v>
                </c:pt>
                <c:pt idx="510">
                  <c:v>0.98805255907586742</c:v>
                </c:pt>
                <c:pt idx="511">
                  <c:v>0.98810071783135356</c:v>
                </c:pt>
                <c:pt idx="512">
                  <c:v>0.9881488225062609</c:v>
                </c:pt>
                <c:pt idx="513">
                  <c:v>0.98819657115069059</c:v>
                </c:pt>
                <c:pt idx="514">
                  <c:v>0.98824423416753715</c:v>
                </c:pt>
                <c:pt idx="515">
                  <c:v>0.98829175296950666</c:v>
                </c:pt>
                <c:pt idx="516">
                  <c:v>0.98833926726476129</c:v>
                </c:pt>
                <c:pt idx="517">
                  <c:v>0.988386294834806</c:v>
                </c:pt>
                <c:pt idx="518">
                  <c:v>0.98843253823645716</c:v>
                </c:pt>
                <c:pt idx="519">
                  <c:v>0.98847864643666106</c:v>
                </c:pt>
                <c:pt idx="520">
                  <c:v>0.98852470055628616</c:v>
                </c:pt>
                <c:pt idx="521">
                  <c:v>0.98857058342074478</c:v>
                </c:pt>
                <c:pt idx="522">
                  <c:v>0.98861643924491394</c:v>
                </c:pt>
                <c:pt idx="523">
                  <c:v>0.98870730363084991</c:v>
                </c:pt>
                <c:pt idx="524">
                  <c:v>0.98875254203507701</c:v>
                </c:pt>
                <c:pt idx="525">
                  <c:v>0.98879760467742273</c:v>
                </c:pt>
                <c:pt idx="526">
                  <c:v>0.98884254563846596</c:v>
                </c:pt>
                <c:pt idx="527">
                  <c:v>0.98893177859360604</c:v>
                </c:pt>
                <c:pt idx="528">
                  <c:v>0.98897602101383886</c:v>
                </c:pt>
                <c:pt idx="529">
                  <c:v>0.98902011471247975</c:v>
                </c:pt>
                <c:pt idx="530">
                  <c:v>0.989063901954507</c:v>
                </c:pt>
                <c:pt idx="531">
                  <c:v>0.98915111590136917</c:v>
                </c:pt>
                <c:pt idx="532">
                  <c:v>0.98928034595130043</c:v>
                </c:pt>
                <c:pt idx="533">
                  <c:v>0.98932310566232917</c:v>
                </c:pt>
                <c:pt idx="534">
                  <c:v>0.98936558145031883</c:v>
                </c:pt>
                <c:pt idx="535">
                  <c:v>0.98940764262053715</c:v>
                </c:pt>
                <c:pt idx="536">
                  <c:v>0.9894492486125499</c:v>
                </c:pt>
                <c:pt idx="537">
                  <c:v>0.98949085009784776</c:v>
                </c:pt>
                <c:pt idx="538">
                  <c:v>0.98953175754905009</c:v>
                </c:pt>
                <c:pt idx="539">
                  <c:v>0.98957250726523072</c:v>
                </c:pt>
                <c:pt idx="540">
                  <c:v>0.98961286039049956</c:v>
                </c:pt>
                <c:pt idx="541">
                  <c:v>0.98965292508601443</c:v>
                </c:pt>
                <c:pt idx="542">
                  <c:v>0.98969282753979271</c:v>
                </c:pt>
                <c:pt idx="543">
                  <c:v>0.98973272548685609</c:v>
                </c:pt>
                <c:pt idx="544">
                  <c:v>0.98977246119218287</c:v>
                </c:pt>
                <c:pt idx="545">
                  <c:v>0.98981192198790036</c:v>
                </c:pt>
                <c:pt idx="546">
                  <c:v>0.9898511889948769</c:v>
                </c:pt>
                <c:pt idx="547">
                  <c:v>0.98989022165267826</c:v>
                </c:pt>
                <c:pt idx="548">
                  <c:v>0.98992878561212938</c:v>
                </c:pt>
                <c:pt idx="549">
                  <c:v>0.98996729549100171</c:v>
                </c:pt>
                <c:pt idx="550">
                  <c:v>0.99004289563355086</c:v>
                </c:pt>
                <c:pt idx="551">
                  <c:v>0.99007987322935509</c:v>
                </c:pt>
                <c:pt idx="552">
                  <c:v>0.99011675167743141</c:v>
                </c:pt>
                <c:pt idx="553">
                  <c:v>0.99015359857850338</c:v>
                </c:pt>
                <c:pt idx="554">
                  <c:v>0.99019032379827288</c:v>
                </c:pt>
                <c:pt idx="555">
                  <c:v>0.99022685973601632</c:v>
                </c:pt>
                <c:pt idx="556">
                  <c:v>0.99026338666032998</c:v>
                </c:pt>
                <c:pt idx="557">
                  <c:v>0.99037159739193936</c:v>
                </c:pt>
                <c:pt idx="558">
                  <c:v>0.99040735366800403</c:v>
                </c:pt>
                <c:pt idx="559">
                  <c:v>0.9904427268733017</c:v>
                </c:pt>
                <c:pt idx="560">
                  <c:v>0.99047805501145036</c:v>
                </c:pt>
                <c:pt idx="561">
                  <c:v>0.99054828314983157</c:v>
                </c:pt>
                <c:pt idx="562">
                  <c:v>0.99058254770326237</c:v>
                </c:pt>
                <c:pt idx="563">
                  <c:v>0.99061681225669318</c:v>
                </c:pt>
                <c:pt idx="564">
                  <c:v>0.99065106328997921</c:v>
                </c:pt>
                <c:pt idx="565">
                  <c:v>0.99068530080312056</c:v>
                </c:pt>
                <c:pt idx="566">
                  <c:v>0.99081937106486107</c:v>
                </c:pt>
                <c:pt idx="567">
                  <c:v>0.99085271624845106</c:v>
                </c:pt>
                <c:pt idx="568">
                  <c:v>0.99088583158958077</c:v>
                </c:pt>
                <c:pt idx="569">
                  <c:v>0.99091830247047896</c:v>
                </c:pt>
                <c:pt idx="570">
                  <c:v>0.99095072377751314</c:v>
                </c:pt>
                <c:pt idx="571">
                  <c:v>0.99098311804425787</c:v>
                </c:pt>
                <c:pt idx="572">
                  <c:v>0.99101532753569155</c:v>
                </c:pt>
                <c:pt idx="573">
                  <c:v>0.99104734774509917</c:v>
                </c:pt>
                <c:pt idx="574">
                  <c:v>0.99111100509314731</c:v>
                </c:pt>
                <c:pt idx="575">
                  <c:v>0.99117404952796817</c:v>
                </c:pt>
                <c:pt idx="576">
                  <c:v>0.99120543879728884</c:v>
                </c:pt>
                <c:pt idx="577">
                  <c:v>0.99123639542197861</c:v>
                </c:pt>
                <c:pt idx="578">
                  <c:v>0.99126734303323849</c:v>
                </c:pt>
                <c:pt idx="579">
                  <c:v>0.991298168963196</c:v>
                </c:pt>
                <c:pt idx="580">
                  <c:v>0.99132899038643851</c:v>
                </c:pt>
                <c:pt idx="581">
                  <c:v>0.99135954591350162</c:v>
                </c:pt>
                <c:pt idx="582">
                  <c:v>0.9913897859705213</c:v>
                </c:pt>
                <c:pt idx="583">
                  <c:v>0.99145000018838125</c:v>
                </c:pt>
                <c:pt idx="584">
                  <c:v>0.99148009603052389</c:v>
                </c:pt>
                <c:pt idx="585">
                  <c:v>0.99153962072100321</c:v>
                </c:pt>
                <c:pt idx="586">
                  <c:v>0.99156925237151061</c:v>
                </c:pt>
                <c:pt idx="587">
                  <c:v>0.99159874431385586</c:v>
                </c:pt>
                <c:pt idx="588">
                  <c:v>0.99162806049431984</c:v>
                </c:pt>
                <c:pt idx="589">
                  <c:v>0.9917151752934541</c:v>
                </c:pt>
                <c:pt idx="590">
                  <c:v>0.99174396869498893</c:v>
                </c:pt>
                <c:pt idx="591">
                  <c:v>0.99180109130642324</c:v>
                </c:pt>
                <c:pt idx="592">
                  <c:v>0.99182955121105498</c:v>
                </c:pt>
                <c:pt idx="593">
                  <c:v>0.99185790295452902</c:v>
                </c:pt>
                <c:pt idx="594">
                  <c:v>0.99194219655013205</c:v>
                </c:pt>
                <c:pt idx="595">
                  <c:v>0.99196997143409815</c:v>
                </c:pt>
                <c:pt idx="596">
                  <c:v>0.99202535896029365</c:v>
                </c:pt>
                <c:pt idx="597">
                  <c:v>0.99207966938162651</c:v>
                </c:pt>
                <c:pt idx="598">
                  <c:v>0.99210670967106285</c:v>
                </c:pt>
                <c:pt idx="599">
                  <c:v>0.9921336372926266</c:v>
                </c:pt>
                <c:pt idx="600">
                  <c:v>0.99216050632689656</c:v>
                </c:pt>
                <c:pt idx="601">
                  <c:v>0.99218729424029817</c:v>
                </c:pt>
                <c:pt idx="602">
                  <c:v>0.99221403708655076</c:v>
                </c:pt>
                <c:pt idx="603">
                  <c:v>0.99224062670449653</c:v>
                </c:pt>
                <c:pt idx="604">
                  <c:v>0.99229365721879614</c:v>
                </c:pt>
                <c:pt idx="605">
                  <c:v>0.99231989080626437</c:v>
                </c:pt>
                <c:pt idx="606">
                  <c:v>0.9923461243937326</c:v>
                </c:pt>
                <c:pt idx="607">
                  <c:v>0.9923722633401878</c:v>
                </c:pt>
                <c:pt idx="608">
                  <c:v>0.99247635944108803</c:v>
                </c:pt>
                <c:pt idx="609">
                  <c:v>0.99250173675272402</c:v>
                </c:pt>
                <c:pt idx="610">
                  <c:v>0.99257760279145268</c:v>
                </c:pt>
                <c:pt idx="611">
                  <c:v>0.9926028043412074</c:v>
                </c:pt>
                <c:pt idx="612">
                  <c:v>0.99262796533052799</c:v>
                </c:pt>
                <c:pt idx="613">
                  <c:v>0.99265294605125232</c:v>
                </c:pt>
                <c:pt idx="614">
                  <c:v>0.99272721220618942</c:v>
                </c:pt>
                <c:pt idx="615">
                  <c:v>0.99275158452040146</c:v>
                </c:pt>
                <c:pt idx="616">
                  <c:v>0.99277591176746438</c:v>
                </c:pt>
                <c:pt idx="617">
                  <c:v>0.99280017141380372</c:v>
                </c:pt>
                <c:pt idx="618">
                  <c:v>0.99282437697956416</c:v>
                </c:pt>
                <c:pt idx="619">
                  <c:v>0.99284856001175004</c:v>
                </c:pt>
                <c:pt idx="620">
                  <c:v>0.99287273853722102</c:v>
                </c:pt>
                <c:pt idx="621">
                  <c:v>0.99289689002240256</c:v>
                </c:pt>
                <c:pt idx="622">
                  <c:v>0.99292095137328606</c:v>
                </c:pt>
                <c:pt idx="623">
                  <c:v>0.99294489104286709</c:v>
                </c:pt>
                <c:pt idx="624">
                  <c:v>0.99299261715372222</c:v>
                </c:pt>
                <c:pt idx="625">
                  <c:v>0.99301620980625549</c:v>
                </c:pt>
                <c:pt idx="626">
                  <c:v>0.99303971232449062</c:v>
                </c:pt>
                <c:pt idx="627">
                  <c:v>0.99308604135372502</c:v>
                </c:pt>
                <c:pt idx="628">
                  <c:v>0.99310907066689502</c:v>
                </c:pt>
                <c:pt idx="629">
                  <c:v>0.99315444877928416</c:v>
                </c:pt>
                <c:pt idx="630">
                  <c:v>0.99317704995453804</c:v>
                </c:pt>
                <c:pt idx="631">
                  <c:v>0.99319957451563856</c:v>
                </c:pt>
                <c:pt idx="632">
                  <c:v>0.99324458307740537</c:v>
                </c:pt>
                <c:pt idx="633">
                  <c:v>0.99326703102435243</c:v>
                </c:pt>
                <c:pt idx="634">
                  <c:v>0.99328942038400569</c:v>
                </c:pt>
                <c:pt idx="635">
                  <c:v>0.99333393771384781</c:v>
                </c:pt>
                <c:pt idx="636">
                  <c:v>0.99335609272432601</c:v>
                </c:pt>
                <c:pt idx="637">
                  <c:v>0.99337805394606327</c:v>
                </c:pt>
                <c:pt idx="638">
                  <c:v>0.99339998362079618</c:v>
                </c:pt>
                <c:pt idx="639">
                  <c:v>0.99342182766794584</c:v>
                </c:pt>
                <c:pt idx="640">
                  <c:v>0.99344366720838062</c:v>
                </c:pt>
                <c:pt idx="641">
                  <c:v>0.99346540760108748</c:v>
                </c:pt>
                <c:pt idx="642">
                  <c:v>0.99350859995674712</c:v>
                </c:pt>
                <c:pt idx="643">
                  <c:v>0.99353012853385336</c:v>
                </c:pt>
                <c:pt idx="644">
                  <c:v>0.99359458357043984</c:v>
                </c:pt>
                <c:pt idx="645">
                  <c:v>0.99361593638566481</c:v>
                </c:pt>
                <c:pt idx="646">
                  <c:v>0.9936585068146675</c:v>
                </c:pt>
                <c:pt idx="647">
                  <c:v>0.9937008519079249</c:v>
                </c:pt>
                <c:pt idx="648">
                  <c:v>0.99374266070210848</c:v>
                </c:pt>
                <c:pt idx="649">
                  <c:v>0.99376339609739128</c:v>
                </c:pt>
                <c:pt idx="650">
                  <c:v>0.99380458747163269</c:v>
                </c:pt>
                <c:pt idx="651">
                  <c:v>0.99382514259831922</c:v>
                </c:pt>
                <c:pt idx="652">
                  <c:v>0.99384569321829086</c:v>
                </c:pt>
                <c:pt idx="653">
                  <c:v>0.99386614018381969</c:v>
                </c:pt>
                <c:pt idx="654">
                  <c:v>0.99388619957186652</c:v>
                </c:pt>
                <c:pt idx="655">
                  <c:v>0.99392553417956664</c:v>
                </c:pt>
                <c:pt idx="656">
                  <c:v>0.99396447670306998</c:v>
                </c:pt>
                <c:pt idx="657">
                  <c:v>0.99402189675768804</c:v>
                </c:pt>
                <c:pt idx="658">
                  <c:v>0.99404076637299976</c:v>
                </c:pt>
                <c:pt idx="659">
                  <c:v>0.99405940163913631</c:v>
                </c:pt>
                <c:pt idx="660">
                  <c:v>0.99407799634483873</c:v>
                </c:pt>
                <c:pt idx="661">
                  <c:v>0.99411514970252424</c:v>
                </c:pt>
                <c:pt idx="662">
                  <c:v>0.99413366779407319</c:v>
                </c:pt>
                <c:pt idx="663">
                  <c:v>0.99415215433861781</c:v>
                </c:pt>
                <c:pt idx="664">
                  <c:v>0.99417055525557929</c:v>
                </c:pt>
                <c:pt idx="665">
                  <c:v>0.99418878041065939</c:v>
                </c:pt>
                <c:pt idx="666">
                  <c:v>0.99420699655230971</c:v>
                </c:pt>
                <c:pt idx="667">
                  <c:v>0.99422490623734638</c:v>
                </c:pt>
                <c:pt idx="668">
                  <c:v>0.99424278888209361</c:v>
                </c:pt>
                <c:pt idx="669">
                  <c:v>0.99426046872467011</c:v>
                </c:pt>
                <c:pt idx="670">
                  <c:v>0.99431329193008411</c:v>
                </c:pt>
                <c:pt idx="671">
                  <c:v>0.99436584473260381</c:v>
                </c:pt>
                <c:pt idx="672">
                  <c:v>0.99438327670586046</c:v>
                </c:pt>
                <c:pt idx="673">
                  <c:v>0.99443527518244668</c:v>
                </c:pt>
                <c:pt idx="674">
                  <c:v>0.99445234661851079</c:v>
                </c:pt>
                <c:pt idx="675">
                  <c:v>0.99446940453443022</c:v>
                </c:pt>
                <c:pt idx="676">
                  <c:v>0.99448642188991554</c:v>
                </c:pt>
                <c:pt idx="677">
                  <c:v>0.99452042054716683</c:v>
                </c:pt>
                <c:pt idx="678">
                  <c:v>0.99453726214077076</c:v>
                </c:pt>
                <c:pt idx="679">
                  <c:v>0.99457089124739984</c:v>
                </c:pt>
                <c:pt idx="680">
                  <c:v>0.99463762668172873</c:v>
                </c:pt>
                <c:pt idx="681">
                  <c:v>0.99465414829857435</c:v>
                </c:pt>
                <c:pt idx="682">
                  <c:v>0.99468689408908184</c:v>
                </c:pt>
                <c:pt idx="683">
                  <c:v>0.99473551252948855</c:v>
                </c:pt>
                <c:pt idx="684">
                  <c:v>0.99476764090005387</c:v>
                </c:pt>
                <c:pt idx="685">
                  <c:v>0.99478360368425112</c:v>
                </c:pt>
                <c:pt idx="686">
                  <c:v>0.99479944028043099</c:v>
                </c:pt>
                <c:pt idx="687">
                  <c:v>0.99484646785047581</c:v>
                </c:pt>
                <c:pt idx="688">
                  <c:v>0.99486193940274836</c:v>
                </c:pt>
                <c:pt idx="689">
                  <c:v>0.99487740644830602</c:v>
                </c:pt>
                <c:pt idx="690">
                  <c:v>0.99493876537175208</c:v>
                </c:pt>
                <c:pt idx="691">
                  <c:v>0.99495398905470478</c:v>
                </c:pt>
                <c:pt idx="692">
                  <c:v>0.9949691992175127</c:v>
                </c:pt>
                <c:pt idx="693">
                  <c:v>0.99498435529974183</c:v>
                </c:pt>
                <c:pt idx="694">
                  <c:v>0.9950294990629559</c:v>
                </c:pt>
                <c:pt idx="695">
                  <c:v>0.99504437122214595</c:v>
                </c:pt>
                <c:pt idx="696">
                  <c:v>0.99507389921821043</c:v>
                </c:pt>
                <c:pt idx="697">
                  <c:v>0.99508856857522965</c:v>
                </c:pt>
                <c:pt idx="698">
                  <c:v>0.99510323342553397</c:v>
                </c:pt>
                <c:pt idx="699">
                  <c:v>0.99511787574226374</c:v>
                </c:pt>
                <c:pt idx="700">
                  <c:v>0.99513238285754635</c:v>
                </c:pt>
                <c:pt idx="701">
                  <c:v>0.99514682687882028</c:v>
                </c:pt>
                <c:pt idx="702">
                  <c:v>0.99516127090009421</c:v>
                </c:pt>
                <c:pt idx="703">
                  <c:v>0.99521837097795407</c:v>
                </c:pt>
                <c:pt idx="704">
                  <c:v>0.99523253558290381</c:v>
                </c:pt>
                <c:pt idx="705">
                  <c:v>0.99524668666770888</c:v>
                </c:pt>
                <c:pt idx="706">
                  <c:v>0.99527491222316555</c:v>
                </c:pt>
                <c:pt idx="707">
                  <c:v>0.99530266908027198</c:v>
                </c:pt>
                <c:pt idx="708">
                  <c:v>0.99533034030979528</c:v>
                </c:pt>
                <c:pt idx="709">
                  <c:v>0.9953441398708377</c:v>
                </c:pt>
                <c:pt idx="710">
                  <c:v>0.99535784028415208</c:v>
                </c:pt>
                <c:pt idx="711">
                  <c:v>0.9953715271773218</c:v>
                </c:pt>
                <c:pt idx="712">
                  <c:v>0.99542572042406718</c:v>
                </c:pt>
                <c:pt idx="713">
                  <c:v>0.99543915494120216</c:v>
                </c:pt>
                <c:pt idx="714">
                  <c:v>0.99545254439118802</c:v>
                </c:pt>
                <c:pt idx="715">
                  <c:v>0.99550561546592176</c:v>
                </c:pt>
                <c:pt idx="716">
                  <c:v>0.99551874803315799</c:v>
                </c:pt>
                <c:pt idx="717">
                  <c:v>0.99553187609367932</c:v>
                </c:pt>
                <c:pt idx="718">
                  <c:v>0.9955837799292524</c:v>
                </c:pt>
                <c:pt idx="719">
                  <c:v>0.99562212305967324</c:v>
                </c:pt>
                <c:pt idx="720">
                  <c:v>0.99564723898184471</c:v>
                </c:pt>
                <c:pt idx="721">
                  <c:v>0.99565977215599843</c:v>
                </c:pt>
                <c:pt idx="722">
                  <c:v>0.99568478893044199</c:v>
                </c:pt>
                <c:pt idx="723">
                  <c:v>0.9956972770374467</c:v>
                </c:pt>
                <c:pt idx="724">
                  <c:v>0.9957220549560003</c:v>
                </c:pt>
                <c:pt idx="725">
                  <c:v>0.99575912719281745</c:v>
                </c:pt>
                <c:pt idx="726">
                  <c:v>0.995796041694613</c:v>
                </c:pt>
                <c:pt idx="727">
                  <c:v>0.99580828643901276</c:v>
                </c:pt>
                <c:pt idx="728">
                  <c:v>0.99583248299134342</c:v>
                </c:pt>
                <c:pt idx="729">
                  <c:v>0.99584457450743635</c:v>
                </c:pt>
                <c:pt idx="730">
                  <c:v>0.99586873049933289</c:v>
                </c:pt>
                <c:pt idx="731">
                  <c:v>0.99588078596170659</c:v>
                </c:pt>
                <c:pt idx="732">
                  <c:v>0.9958928414240803</c:v>
                </c:pt>
                <c:pt idx="733">
                  <c:v>0.99590488787302422</c:v>
                </c:pt>
                <c:pt idx="734">
                  <c:v>0.9959528618531992</c:v>
                </c:pt>
                <c:pt idx="735">
                  <c:v>0.99596480915441521</c:v>
                </c:pt>
                <c:pt idx="736">
                  <c:v>0.99597675194891633</c:v>
                </c:pt>
                <c:pt idx="737">
                  <c:v>0.99598865418298321</c:v>
                </c:pt>
                <c:pt idx="738">
                  <c:v>0.9960004978297563</c:v>
                </c:pt>
                <c:pt idx="739">
                  <c:v>0.99604776876240597</c:v>
                </c:pt>
                <c:pt idx="740">
                  <c:v>0.99605954931517038</c:v>
                </c:pt>
                <c:pt idx="741">
                  <c:v>0.99607131634779011</c:v>
                </c:pt>
                <c:pt idx="742">
                  <c:v>0.9960830563401204</c:v>
                </c:pt>
                <c:pt idx="743">
                  <c:v>0.99615304111589664</c:v>
                </c:pt>
                <c:pt idx="744">
                  <c:v>0.99618764817966021</c:v>
                </c:pt>
                <c:pt idx="745">
                  <c:v>0.99621066397268543</c:v>
                </c:pt>
                <c:pt idx="746">
                  <c:v>0.9962335355508336</c:v>
                </c:pt>
                <c:pt idx="747">
                  <c:v>0.9962676919431066</c:v>
                </c:pt>
                <c:pt idx="748">
                  <c:v>0.99627903083781022</c:v>
                </c:pt>
                <c:pt idx="749">
                  <c:v>0.99630165454663866</c:v>
                </c:pt>
                <c:pt idx="750">
                  <c:v>0.99631288528018458</c:v>
                </c:pt>
                <c:pt idx="751">
                  <c:v>0.99634638819879628</c:v>
                </c:pt>
                <c:pt idx="752">
                  <c:v>0.99636863334357251</c:v>
                </c:pt>
                <c:pt idx="753">
                  <c:v>0.9964233673961066</c:v>
                </c:pt>
                <c:pt idx="754">
                  <c:v>0.99643421956560041</c:v>
                </c:pt>
                <c:pt idx="755">
                  <c:v>0.99644507173509422</c:v>
                </c:pt>
                <c:pt idx="756">
                  <c:v>0.99645591038444326</c:v>
                </c:pt>
                <c:pt idx="757">
                  <c:v>0.99651004504389484</c:v>
                </c:pt>
                <c:pt idx="758">
                  <c:v>0.99653155108742653</c:v>
                </c:pt>
                <c:pt idx="759">
                  <c:v>0.99656343609538689</c:v>
                </c:pt>
                <c:pt idx="760">
                  <c:v>0.99657400434184162</c:v>
                </c:pt>
                <c:pt idx="761">
                  <c:v>0.99658450949428767</c:v>
                </c:pt>
                <c:pt idx="762">
                  <c:v>0.99660526742314504</c:v>
                </c:pt>
                <c:pt idx="763">
                  <c:v>0.99663580492334858</c:v>
                </c:pt>
                <c:pt idx="764">
                  <c:v>0.99664587292444873</c:v>
                </c:pt>
                <c:pt idx="765">
                  <c:v>0.99671529436086159</c:v>
                </c:pt>
                <c:pt idx="766">
                  <c:v>0.99679250340063219</c:v>
                </c:pt>
                <c:pt idx="767">
                  <c:v>0.99683980588028609</c:v>
                </c:pt>
                <c:pt idx="768">
                  <c:v>0.99685845015985253</c:v>
                </c:pt>
                <c:pt idx="769">
                  <c:v>0.99687697275811649</c:v>
                </c:pt>
                <c:pt idx="770">
                  <c:v>0.99689540071536742</c:v>
                </c:pt>
                <c:pt idx="771">
                  <c:v>0.99690459892049066</c:v>
                </c:pt>
                <c:pt idx="772">
                  <c:v>0.99691377909875434</c:v>
                </c:pt>
                <c:pt idx="773">
                  <c:v>0.99692290519643911</c:v>
                </c:pt>
                <c:pt idx="774">
                  <c:v>0.99695924734544161</c:v>
                </c:pt>
                <c:pt idx="775">
                  <c:v>0.99696828330882825</c:v>
                </c:pt>
                <c:pt idx="776">
                  <c:v>0.99697730575207022</c:v>
                </c:pt>
                <c:pt idx="777">
                  <c:v>0.99698630115502274</c:v>
                </c:pt>
                <c:pt idx="778">
                  <c:v>0.99699529205126036</c:v>
                </c:pt>
                <c:pt idx="779">
                  <c:v>0.9970042784407831</c:v>
                </c:pt>
                <c:pt idx="780">
                  <c:v>0.99702218812581977</c:v>
                </c:pt>
                <c:pt idx="781">
                  <c:v>0.99703110691461883</c:v>
                </c:pt>
                <c:pt idx="782">
                  <c:v>0.99703999866312853</c:v>
                </c:pt>
                <c:pt idx="783">
                  <c:v>0.99704888590492324</c:v>
                </c:pt>
                <c:pt idx="784">
                  <c:v>0.99705776413328817</c:v>
                </c:pt>
                <c:pt idx="785">
                  <c:v>0.99706659729450409</c:v>
                </c:pt>
                <c:pt idx="786">
                  <c:v>0.99707539890871566</c:v>
                </c:pt>
                <c:pt idx="787">
                  <c:v>0.99710161897603911</c:v>
                </c:pt>
                <c:pt idx="788">
                  <c:v>0.99715333352958624</c:v>
                </c:pt>
                <c:pt idx="789">
                  <c:v>0.9971785666263453</c:v>
                </c:pt>
                <c:pt idx="790">
                  <c:v>0.99720343017248214</c:v>
                </c:pt>
                <c:pt idx="791">
                  <c:v>0.99721992024232342</c:v>
                </c:pt>
                <c:pt idx="792">
                  <c:v>0.9972443241035398</c:v>
                </c:pt>
                <c:pt idx="793">
                  <c:v>0.99726043560932898</c:v>
                </c:pt>
                <c:pt idx="794">
                  <c:v>0.99726836292084875</c:v>
                </c:pt>
                <c:pt idx="795">
                  <c:v>0.9972761955913555</c:v>
                </c:pt>
                <c:pt idx="796">
                  <c:v>0.99728402375514735</c:v>
                </c:pt>
                <c:pt idx="797">
                  <c:v>0.99729181135850498</c:v>
                </c:pt>
                <c:pt idx="798">
                  <c:v>0.99732280403691398</c:v>
                </c:pt>
                <c:pt idx="799">
                  <c:v>0.99734580630979452</c:v>
                </c:pt>
                <c:pt idx="800">
                  <c:v>0.99736106604646646</c:v>
                </c:pt>
                <c:pt idx="801">
                  <c:v>0.99736867788794281</c:v>
                </c:pt>
                <c:pt idx="802">
                  <c:v>0.99737627620927438</c:v>
                </c:pt>
                <c:pt idx="803">
                  <c:v>0.99738385650374639</c:v>
                </c:pt>
                <c:pt idx="804">
                  <c:v>0.99739899455911585</c:v>
                </c:pt>
                <c:pt idx="805">
                  <c:v>0.99740654330658352</c:v>
                </c:pt>
                <c:pt idx="806">
                  <c:v>0.9974140830406214</c:v>
                </c:pt>
                <c:pt idx="807">
                  <c:v>0.99742160474779962</c:v>
                </c:pt>
                <c:pt idx="808">
                  <c:v>0.99743653098756846</c:v>
                </c:pt>
                <c:pt idx="809">
                  <c:v>0.99745138061318395</c:v>
                </c:pt>
                <c:pt idx="810">
                  <c:v>0.99747343647593412</c:v>
                </c:pt>
                <c:pt idx="811">
                  <c:v>0.9974807598876565</c:v>
                </c:pt>
                <c:pt idx="812">
                  <c:v>0.9974880697792341</c:v>
                </c:pt>
                <c:pt idx="813">
                  <c:v>0.99752418659249131</c:v>
                </c:pt>
                <c:pt idx="814">
                  <c:v>0.99754571066288256</c:v>
                </c:pt>
                <c:pt idx="815">
                  <c:v>0.99756700489081374</c:v>
                </c:pt>
                <c:pt idx="816">
                  <c:v>0.99758108386818023</c:v>
                </c:pt>
                <c:pt idx="817">
                  <c:v>0.9975951222851126</c:v>
                </c:pt>
                <c:pt idx="818">
                  <c:v>0.99760209417307233</c:v>
                </c:pt>
                <c:pt idx="819">
                  <c:v>0.99761593429454887</c:v>
                </c:pt>
                <c:pt idx="820">
                  <c:v>0.9976503565830015</c:v>
                </c:pt>
                <c:pt idx="821">
                  <c:v>0.99767079904181544</c:v>
                </c:pt>
                <c:pt idx="822">
                  <c:v>0.997684346226823</c:v>
                </c:pt>
                <c:pt idx="823">
                  <c:v>0.9976978798916859</c:v>
                </c:pt>
                <c:pt idx="824">
                  <c:v>0.99771138651625946</c:v>
                </c:pt>
                <c:pt idx="825">
                  <c:v>0.99772482554010933</c:v>
                </c:pt>
                <c:pt idx="826">
                  <c:v>0.99774489844830105</c:v>
                </c:pt>
                <c:pt idx="827">
                  <c:v>0.99775821579084845</c:v>
                </c:pt>
                <c:pt idx="828">
                  <c:v>0.99777143849238281</c:v>
                </c:pt>
                <c:pt idx="829">
                  <c:v>0.99779110128951798</c:v>
                </c:pt>
                <c:pt idx="830">
                  <c:v>0.9977976405328467</c:v>
                </c:pt>
                <c:pt idx="831">
                  <c:v>0.99780417977617542</c:v>
                </c:pt>
                <c:pt idx="832">
                  <c:v>0.99781067395235501</c:v>
                </c:pt>
                <c:pt idx="833">
                  <c:v>0.9978236172375653</c:v>
                </c:pt>
                <c:pt idx="834">
                  <c:v>0.99783655601606069</c:v>
                </c:pt>
                <c:pt idx="835">
                  <c:v>0.99785577715513507</c:v>
                </c:pt>
                <c:pt idx="836">
                  <c:v>0.99786832835614847</c:v>
                </c:pt>
                <c:pt idx="837">
                  <c:v>0.99790556283470244</c:v>
                </c:pt>
                <c:pt idx="838">
                  <c:v>0.99791171450054916</c:v>
                </c:pt>
                <c:pt idx="839">
                  <c:v>0.9979178571529661</c:v>
                </c:pt>
                <c:pt idx="840">
                  <c:v>0.99792399079195326</c:v>
                </c:pt>
                <c:pt idx="841">
                  <c:v>0.99796643953965325</c:v>
                </c:pt>
                <c:pt idx="842">
                  <c:v>0.99797241995033359</c:v>
                </c:pt>
                <c:pt idx="843">
                  <c:v>0.99799613879088411</c:v>
                </c:pt>
                <c:pt idx="844">
                  <c:v>0.99800202456055143</c:v>
                </c:pt>
                <c:pt idx="845">
                  <c:v>0.99800790582350385</c:v>
                </c:pt>
                <c:pt idx="846">
                  <c:v>0.99801378708645627</c:v>
                </c:pt>
                <c:pt idx="847">
                  <c:v>0.99802551806535678</c:v>
                </c:pt>
                <c:pt idx="848">
                  <c:v>0.99805464045707981</c:v>
                </c:pt>
                <c:pt idx="849">
                  <c:v>0.99806041806558943</c:v>
                </c:pt>
                <c:pt idx="850">
                  <c:v>0.99808339780489541</c:v>
                </c:pt>
                <c:pt idx="851">
                  <c:v>0.99810057740211733</c:v>
                </c:pt>
                <c:pt idx="852">
                  <c:v>0.99813455803250917</c:v>
                </c:pt>
                <c:pt idx="853">
                  <c:v>0.99815130949181496</c:v>
                </c:pt>
                <c:pt idx="854">
                  <c:v>0.99815686176457918</c:v>
                </c:pt>
                <c:pt idx="855">
                  <c:v>0.99817894466761892</c:v>
                </c:pt>
                <c:pt idx="856">
                  <c:v>0.9982008878624965</c:v>
                </c:pt>
                <c:pt idx="857">
                  <c:v>0.99821177608570955</c:v>
                </c:pt>
                <c:pt idx="858">
                  <c:v>0.99822805884666521</c:v>
                </c:pt>
                <c:pt idx="859">
                  <c:v>0.99823345789112272</c:v>
                </c:pt>
                <c:pt idx="860">
                  <c:v>0.99825498646822897</c:v>
                </c:pt>
                <c:pt idx="861">
                  <c:v>0.99827103037329457</c:v>
                </c:pt>
                <c:pt idx="862">
                  <c:v>0.99828166622047287</c:v>
                </c:pt>
                <c:pt idx="863">
                  <c:v>0.99830287031410581</c:v>
                </c:pt>
                <c:pt idx="864">
                  <c:v>0.99830814317054595</c:v>
                </c:pt>
                <c:pt idx="865">
                  <c:v>0.99834477825601742</c:v>
                </c:pt>
                <c:pt idx="866">
                  <c:v>0.99837564925312383</c:v>
                </c:pt>
                <c:pt idx="867">
                  <c:v>0.99838072381410803</c:v>
                </c:pt>
                <c:pt idx="868">
                  <c:v>0.99839085490921686</c:v>
                </c:pt>
                <c:pt idx="869">
                  <c:v>0.99839583482918803</c:v>
                </c:pt>
                <c:pt idx="870">
                  <c:v>0.99842061274774163</c:v>
                </c:pt>
                <c:pt idx="871">
                  <c:v>0.99842552957370412</c:v>
                </c:pt>
                <c:pt idx="872">
                  <c:v>0.99845477815344463</c:v>
                </c:pt>
                <c:pt idx="873">
                  <c:v>0.99846916358742477</c:v>
                </c:pt>
                <c:pt idx="874">
                  <c:v>0.99847393169179544</c:v>
                </c:pt>
                <c:pt idx="875">
                  <c:v>0.99849753335775848</c:v>
                </c:pt>
                <c:pt idx="876">
                  <c:v>0.99852086912754212</c:v>
                </c:pt>
                <c:pt idx="877">
                  <c:v>0.99852547048346119</c:v>
                </c:pt>
                <c:pt idx="878">
                  <c:v>0.99853006282595047</c:v>
                </c:pt>
                <c:pt idx="879">
                  <c:v>0.99853924300421415</c:v>
                </c:pt>
                <c:pt idx="880">
                  <c:v>0.99854840064890327</c:v>
                </c:pt>
                <c:pt idx="881">
                  <c:v>0.99855297045781799</c:v>
                </c:pt>
                <c:pt idx="882">
                  <c:v>0.99855753576001782</c:v>
                </c:pt>
                <c:pt idx="883">
                  <c:v>0.99857567528751479</c:v>
                </c:pt>
                <c:pt idx="884">
                  <c:v>0.99859366158670493</c:v>
                </c:pt>
                <c:pt idx="885">
                  <c:v>0.99861141804343478</c:v>
                </c:pt>
                <c:pt idx="886">
                  <c:v>0.998620143043493</c:v>
                </c:pt>
                <c:pt idx="887">
                  <c:v>0.99864187442277008</c:v>
                </c:pt>
                <c:pt idx="888">
                  <c:v>0.99865053182210461</c:v>
                </c:pt>
                <c:pt idx="889">
                  <c:v>0.99866778352676489</c:v>
                </c:pt>
                <c:pt idx="890">
                  <c:v>0.99867635980523106</c:v>
                </c:pt>
                <c:pt idx="891">
                  <c:v>0.99868491355012279</c:v>
                </c:pt>
                <c:pt idx="892">
                  <c:v>0.99869343124129528</c:v>
                </c:pt>
                <c:pt idx="893">
                  <c:v>0.99870189034517398</c:v>
                </c:pt>
                <c:pt idx="894">
                  <c:v>0.99871868236491401</c:v>
                </c:pt>
                <c:pt idx="895">
                  <c:v>0.99874347831032706</c:v>
                </c:pt>
                <c:pt idx="896">
                  <c:v>0.99874756139403198</c:v>
                </c:pt>
                <c:pt idx="897">
                  <c:v>0.99878397114375794</c:v>
                </c:pt>
                <c:pt idx="898">
                  <c:v>0.99878796409316473</c:v>
                </c:pt>
                <c:pt idx="899">
                  <c:v>0.99879593647183362</c:v>
                </c:pt>
                <c:pt idx="900">
                  <c:v>0.9988276457179126</c:v>
                </c:pt>
                <c:pt idx="901">
                  <c:v>0.99883155303973614</c:v>
                </c:pt>
                <c:pt idx="902">
                  <c:v>0.99885860684931704</c:v>
                </c:pt>
                <c:pt idx="903">
                  <c:v>0.9988624510771319</c:v>
                </c:pt>
                <c:pt idx="904">
                  <c:v>0.9988777874279573</c:v>
                </c:pt>
                <c:pt idx="905">
                  <c:v>0.99889299308405033</c:v>
                </c:pt>
                <c:pt idx="906">
                  <c:v>0.99890805001855154</c:v>
                </c:pt>
                <c:pt idx="907">
                  <c:v>0.99892675288541166</c:v>
                </c:pt>
                <c:pt idx="908">
                  <c:v>0.99893418445829174</c:v>
                </c:pt>
                <c:pt idx="909">
                  <c:v>0.99893786644436999</c:v>
                </c:pt>
                <c:pt idx="910">
                  <c:v>0.99894154392373335</c:v>
                </c:pt>
                <c:pt idx="911">
                  <c:v>0.99894522140309672</c:v>
                </c:pt>
                <c:pt idx="912">
                  <c:v>0.99894889888246008</c:v>
                </c:pt>
                <c:pt idx="913">
                  <c:v>0.99895989076011593</c:v>
                </c:pt>
                <c:pt idx="914">
                  <c:v>0.99898519145759845</c:v>
                </c:pt>
                <c:pt idx="915">
                  <c:v>0.99899955435800403</c:v>
                </c:pt>
                <c:pt idx="916">
                  <c:v>0.99901713955956739</c:v>
                </c:pt>
                <c:pt idx="917">
                  <c:v>0.99903087151988623</c:v>
                </c:pt>
                <c:pt idx="918">
                  <c:v>0.99903763609896024</c:v>
                </c:pt>
                <c:pt idx="919">
                  <c:v>0.99905775407430097</c:v>
                </c:pt>
                <c:pt idx="920">
                  <c:v>0.99906108904333146</c:v>
                </c:pt>
                <c:pt idx="921">
                  <c:v>0.99907103986984414</c:v>
                </c:pt>
                <c:pt idx="922">
                  <c:v>0.99907432977172561</c:v>
                </c:pt>
                <c:pt idx="923">
                  <c:v>0.99908089154862878</c:v>
                </c:pt>
                <c:pt idx="924">
                  <c:v>0.99909069365354952</c:v>
                </c:pt>
                <c:pt idx="925">
                  <c:v>0.99909395200842666</c:v>
                </c:pt>
                <c:pt idx="926">
                  <c:v>0.99913510732894883</c:v>
                </c:pt>
                <c:pt idx="927">
                  <c:v>0.99914433708107642</c:v>
                </c:pt>
                <c:pt idx="928">
                  <c:v>0.99915343613847174</c:v>
                </c:pt>
                <c:pt idx="929">
                  <c:v>0.9991564601441737</c:v>
                </c:pt>
                <c:pt idx="930">
                  <c:v>0.99916550962770512</c:v>
                </c:pt>
                <c:pt idx="931">
                  <c:v>0.9991775200229297</c:v>
                </c:pt>
                <c:pt idx="932">
                  <c:v>0.99920717871372655</c:v>
                </c:pt>
                <c:pt idx="933">
                  <c:v>0.99922164076186004</c:v>
                </c:pt>
                <c:pt idx="934">
                  <c:v>0.99924703610035581</c:v>
                </c:pt>
                <c:pt idx="935">
                  <c:v>0.9992498257568827</c:v>
                </c:pt>
                <c:pt idx="936">
                  <c:v>0.99927458564857674</c:v>
                </c:pt>
                <c:pt idx="937">
                  <c:v>0.99930938199436625</c:v>
                </c:pt>
                <c:pt idx="938">
                  <c:v>0.99934027101833223</c:v>
                </c:pt>
                <c:pt idx="939">
                  <c:v>0.99935018128441055</c:v>
                </c:pt>
                <c:pt idx="940">
                  <c:v>0.99935507557679859</c:v>
                </c:pt>
                <c:pt idx="941">
                  <c:v>0.99935995634904184</c:v>
                </c:pt>
                <c:pt idx="942">
                  <c:v>0.99936239448180597</c:v>
                </c:pt>
                <c:pt idx="943">
                  <c:v>0.99937450402475858</c:v>
                </c:pt>
                <c:pt idx="944">
                  <c:v>0.99938655047370251</c:v>
                </c:pt>
                <c:pt idx="945">
                  <c:v>0.99938895705946229</c:v>
                </c:pt>
                <c:pt idx="946">
                  <c:v>0.99941685362473065</c:v>
                </c:pt>
                <c:pt idx="947">
                  <c:v>0.99942796267697409</c:v>
                </c:pt>
                <c:pt idx="948">
                  <c:v>0.99943017547399293</c:v>
                </c:pt>
                <c:pt idx="949">
                  <c:v>0.9994453135293625</c:v>
                </c:pt>
                <c:pt idx="950">
                  <c:v>0.99944955434808902</c:v>
                </c:pt>
                <c:pt idx="951">
                  <c:v>0.99945588628253201</c:v>
                </c:pt>
                <c:pt idx="952">
                  <c:v>0.99946010006096919</c:v>
                </c:pt>
                <c:pt idx="953">
                  <c:v>0.99949326497596269</c:v>
                </c:pt>
                <c:pt idx="954">
                  <c:v>0.99949733453952294</c:v>
                </c:pt>
                <c:pt idx="955">
                  <c:v>0.99950138607622352</c:v>
                </c:pt>
                <c:pt idx="956">
                  <c:v>0.99950340508450142</c:v>
                </c:pt>
                <c:pt idx="957">
                  <c:v>0.9995094215489011</c:v>
                </c:pt>
                <c:pt idx="958">
                  <c:v>0.99952723208620964</c:v>
                </c:pt>
                <c:pt idx="959">
                  <c:v>0.99953299617457447</c:v>
                </c:pt>
                <c:pt idx="960">
                  <c:v>0.99953490702169467</c:v>
                </c:pt>
                <c:pt idx="961">
                  <c:v>0.99954977016745494</c:v>
                </c:pt>
                <c:pt idx="962">
                  <c:v>0.99955517371862734</c:v>
                </c:pt>
                <c:pt idx="963">
                  <c:v>0.99955696288444507</c:v>
                </c:pt>
                <c:pt idx="964">
                  <c:v>0.99955874303683301</c:v>
                </c:pt>
                <c:pt idx="965">
                  <c:v>0.99956229883489389</c:v>
                </c:pt>
                <c:pt idx="966">
                  <c:v>0.99956759873162337</c:v>
                </c:pt>
                <c:pt idx="967">
                  <c:v>0.99958837018062541</c:v>
                </c:pt>
                <c:pt idx="968">
                  <c:v>0.99959007822557477</c:v>
                </c:pt>
                <c:pt idx="969">
                  <c:v>0.99959177725709436</c:v>
                </c:pt>
                <c:pt idx="970">
                  <c:v>0.99960194440592254</c:v>
                </c:pt>
                <c:pt idx="971">
                  <c:v>0.9996170283807132</c:v>
                </c:pt>
                <c:pt idx="972">
                  <c:v>0.99962853402386831</c:v>
                </c:pt>
                <c:pt idx="973">
                  <c:v>0.99963015193451954</c:v>
                </c:pt>
                <c:pt idx="974">
                  <c:v>0.99964136914792079</c:v>
                </c:pt>
                <c:pt idx="975">
                  <c:v>0.99965399245637265</c:v>
                </c:pt>
                <c:pt idx="976">
                  <c:v>0.99965866141301529</c:v>
                </c:pt>
                <c:pt idx="977">
                  <c:v>0.99967073490224856</c:v>
                </c:pt>
                <c:pt idx="978">
                  <c:v>0.99967658011148164</c:v>
                </c:pt>
                <c:pt idx="979">
                  <c:v>0.99969773913796567</c:v>
                </c:pt>
                <c:pt idx="980">
                  <c:v>0.99971647805854513</c:v>
                </c:pt>
                <c:pt idx="981">
                  <c:v>0.99972168782097659</c:v>
                </c:pt>
                <c:pt idx="982">
                  <c:v>0.99972298124815462</c:v>
                </c:pt>
                <c:pt idx="983">
                  <c:v>0.99972811890314761</c:v>
                </c:pt>
                <c:pt idx="984">
                  <c:v>0.9997319541175328</c:v>
                </c:pt>
                <c:pt idx="985">
                  <c:v>0.99974197254476915</c:v>
                </c:pt>
                <c:pt idx="986">
                  <c:v>0.9997444512379674</c:v>
                </c:pt>
                <c:pt idx="987">
                  <c:v>0.99975181521012391</c:v>
                </c:pt>
                <c:pt idx="988">
                  <c:v>0.99975424883617325</c:v>
                </c:pt>
                <c:pt idx="989">
                  <c:v>0.99976726873553678</c:v>
                </c:pt>
                <c:pt idx="990">
                  <c:v>0.99977637680636189</c:v>
                </c:pt>
                <c:pt idx="991">
                  <c:v>0.99978197414627523</c:v>
                </c:pt>
                <c:pt idx="992">
                  <c:v>0.99978525503472693</c:v>
                </c:pt>
                <c:pt idx="993">
                  <c:v>0.99980009564691252</c:v>
                </c:pt>
                <c:pt idx="994">
                  <c:v>0.99980112768462603</c:v>
                </c:pt>
                <c:pt idx="995">
                  <c:v>0.99982390462176129</c:v>
                </c:pt>
                <c:pt idx="996">
                  <c:v>0.99982669427828819</c:v>
                </c:pt>
                <c:pt idx="997">
                  <c:v>0.99983899310326685</c:v>
                </c:pt>
                <c:pt idx="998">
                  <c:v>0.99984639763585748</c:v>
                </c:pt>
                <c:pt idx="999">
                  <c:v>0.99984797498607458</c:v>
                </c:pt>
                <c:pt idx="1000">
                  <c:v>0.99985109363278968</c:v>
                </c:pt>
                <c:pt idx="1001">
                  <c:v>0.9998666192656408</c:v>
                </c:pt>
                <c:pt idx="1002">
                  <c:v>0.99986867883435293</c:v>
                </c:pt>
                <c:pt idx="1003">
                  <c:v>0.99986935934830379</c:v>
                </c:pt>
                <c:pt idx="1004">
                  <c:v>0.99987931017481635</c:v>
                </c:pt>
                <c:pt idx="1005">
                  <c:v>0.99988319045635032</c:v>
                </c:pt>
                <c:pt idx="1006">
                  <c:v>0.99988883286341279</c:v>
                </c:pt>
                <c:pt idx="1007">
                  <c:v>0.99990646313212495</c:v>
                </c:pt>
                <c:pt idx="1008">
                  <c:v>0.99990866691571401</c:v>
                </c:pt>
                <c:pt idx="1009">
                  <c:v>0.99991237594208182</c:v>
                </c:pt>
                <c:pt idx="1010">
                  <c:v>0.99991444452422362</c:v>
                </c:pt>
                <c:pt idx="1011">
                  <c:v>0.99992137585174912</c:v>
                </c:pt>
                <c:pt idx="1012">
                  <c:v>0.99992476039464329</c:v>
                </c:pt>
                <c:pt idx="1013">
                  <c:v>0.99992571581820333</c:v>
                </c:pt>
                <c:pt idx="1014">
                  <c:v>0.99993824899235706</c:v>
                </c:pt>
                <c:pt idx="1015">
                  <c:v>0.99993866811684329</c:v>
                </c:pt>
                <c:pt idx="1016">
                  <c:v>0.99994156142781287</c:v>
                </c:pt>
                <c:pt idx="1017">
                  <c:v>0.99994515778630799</c:v>
                </c:pt>
                <c:pt idx="1018">
                  <c:v>0.99995117875742245</c:v>
                </c:pt>
                <c:pt idx="1019">
                  <c:v>0.99995189983180732</c:v>
                </c:pt>
                <c:pt idx="1020">
                  <c:v>0.99995474807562768</c:v>
                </c:pt>
                <c:pt idx="1021">
                  <c:v>0.9999645456738333</c:v>
                </c:pt>
                <c:pt idx="1022">
                  <c:v>0.99997729967701721</c:v>
                </c:pt>
                <c:pt idx="1023">
                  <c:v>0.9999775205060476</c:v>
                </c:pt>
                <c:pt idx="1024">
                  <c:v>0.99997922855099719</c:v>
                </c:pt>
                <c:pt idx="1025">
                  <c:v>0.99998642577470254</c:v>
                </c:pt>
                <c:pt idx="1026">
                  <c:v>0.99999103614405138</c:v>
                </c:pt>
                <c:pt idx="1027">
                  <c:v>0.99999175721843658</c:v>
                </c:pt>
                <c:pt idx="1028">
                  <c:v>0.999997760162690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40</c:f>
              <c:strCache>
                <c:ptCount val="539"/>
                <c:pt idx="0">
                  <c:v>Private Lab</c:v>
                </c:pt>
                <c:pt idx="1">
                  <c:v>Private Lab</c:v>
                </c:pt>
                <c:pt idx="2">
                  <c:v>Caprice Des</c:v>
                </c:pt>
                <c:pt idx="3">
                  <c:v>Private Lab</c:v>
                </c:pt>
                <c:pt idx="4">
                  <c:v>Private Lab</c:v>
                </c:pt>
                <c:pt idx="5">
                  <c:v>Mini Babybe</c:v>
                </c:pt>
                <c:pt idx="6">
                  <c:v>Coeur De Li</c:v>
                </c:pt>
                <c:pt idx="7">
                  <c:v>Private Lab</c:v>
                </c:pt>
                <c:pt idx="8">
                  <c:v>President</c:v>
                </c:pt>
                <c:pt idx="9">
                  <c:v>Soignon</c:v>
                </c:pt>
                <c:pt idx="10">
                  <c:v>Private Lab</c:v>
                </c:pt>
                <c:pt idx="11">
                  <c:v>Private Lab</c:v>
                </c:pt>
                <c:pt idx="12">
                  <c:v>Galbani</c:v>
                </c:pt>
                <c:pt idx="13">
                  <c:v>Soignon</c:v>
                </c:pt>
                <c:pt idx="14">
                  <c:v>Salakis</c:v>
                </c:pt>
                <c:pt idx="15">
                  <c:v>Galbani</c:v>
                </c:pt>
                <c:pt idx="16">
                  <c:v>Galbani</c:v>
                </c:pt>
                <c:pt idx="17">
                  <c:v>Private Lab</c:v>
                </c:pt>
                <c:pt idx="18">
                  <c:v>St Moret</c:v>
                </c:pt>
                <c:pt idx="19">
                  <c:v>Caprice Des</c:v>
                </c:pt>
                <c:pt idx="20">
                  <c:v>Private Lab</c:v>
                </c:pt>
                <c:pt idx="21">
                  <c:v>St Moret</c:v>
                </c:pt>
                <c:pt idx="22">
                  <c:v>Private Lab</c:v>
                </c:pt>
                <c:pt idx="23">
                  <c:v>Private Lab</c:v>
                </c:pt>
                <c:pt idx="24">
                  <c:v>President</c:v>
                </c:pt>
                <c:pt idx="25">
                  <c:v>La Vache Qu</c:v>
                </c:pt>
                <c:pt idx="26">
                  <c:v>St Moret</c:v>
                </c:pt>
                <c:pt idx="27">
                  <c:v>President</c:v>
                </c:pt>
                <c:pt idx="28">
                  <c:v>Coeur De Li</c:v>
                </c:pt>
                <c:pt idx="29">
                  <c:v>Private Lab</c:v>
                </c:pt>
                <c:pt idx="30">
                  <c:v>La Vache Qu</c:v>
                </c:pt>
                <c:pt idx="31">
                  <c:v>Le Rustique</c:v>
                </c:pt>
                <c:pt idx="32">
                  <c:v>La Vache Qu</c:v>
                </c:pt>
                <c:pt idx="33">
                  <c:v>Mini Babybe</c:v>
                </c:pt>
                <c:pt idx="34">
                  <c:v>Tartare</c:v>
                </c:pt>
                <c:pt idx="35">
                  <c:v>Private Lab</c:v>
                </c:pt>
                <c:pt idx="36">
                  <c:v>Private Lab</c:v>
                </c:pt>
                <c:pt idx="37">
                  <c:v>Private Lab</c:v>
                </c:pt>
                <c:pt idx="38">
                  <c:v>Salakis</c:v>
                </c:pt>
                <c:pt idx="39">
                  <c:v>Galbani</c:v>
                </c:pt>
                <c:pt idx="40">
                  <c:v>Galbani</c:v>
                </c:pt>
                <c:pt idx="41">
                  <c:v>St Moret</c:v>
                </c:pt>
                <c:pt idx="42">
                  <c:v>Islos</c:v>
                </c:pt>
                <c:pt idx="43">
                  <c:v>Soignon</c:v>
                </c:pt>
                <c:pt idx="44">
                  <c:v>Private Lab</c:v>
                </c:pt>
                <c:pt idx="45">
                  <c:v>Kiri</c:v>
                </c:pt>
                <c:pt idx="46">
                  <c:v>All Others</c:v>
                </c:pt>
                <c:pt idx="47">
                  <c:v>Private Lab</c:v>
                </c:pt>
                <c:pt idx="48">
                  <c:v>Private Lab</c:v>
                </c:pt>
                <c:pt idx="49">
                  <c:v>Private Lab</c:v>
                </c:pt>
                <c:pt idx="50">
                  <c:v>Private Lab</c:v>
                </c:pt>
                <c:pt idx="51">
                  <c:v>Private Lab</c:v>
                </c:pt>
                <c:pt idx="52">
                  <c:v>All Others</c:v>
                </c:pt>
                <c:pt idx="53">
                  <c:v>Private Lab</c:v>
                </c:pt>
                <c:pt idx="54">
                  <c:v>Paysan Bret</c:v>
                </c:pt>
                <c:pt idx="55">
                  <c:v>Private Lab</c:v>
                </c:pt>
                <c:pt idx="56">
                  <c:v>Paysan Bret</c:v>
                </c:pt>
                <c:pt idx="57">
                  <c:v>Galbani</c:v>
                </c:pt>
                <c:pt idx="58">
                  <c:v>Kiri</c:v>
                </c:pt>
                <c:pt idx="59">
                  <c:v>Private Lab</c:v>
                </c:pt>
                <c:pt idx="60">
                  <c:v>Private Lab</c:v>
                </c:pt>
                <c:pt idx="61">
                  <c:v>Ficello</c:v>
                </c:pt>
                <c:pt idx="62">
                  <c:v>Istara</c:v>
                </c:pt>
                <c:pt idx="63">
                  <c:v>Private Lab</c:v>
                </c:pt>
                <c:pt idx="64">
                  <c:v>Casa Azzurr</c:v>
                </c:pt>
                <c:pt idx="65">
                  <c:v>Kiri</c:v>
                </c:pt>
                <c:pt idx="66">
                  <c:v>Carre Frais</c:v>
                </c:pt>
                <c:pt idx="67">
                  <c:v>Les Mousque</c:v>
                </c:pt>
                <c:pt idx="68">
                  <c:v>St Moret</c:v>
                </c:pt>
                <c:pt idx="69">
                  <c:v>Carre Frais</c:v>
                </c:pt>
                <c:pt idx="70">
                  <c:v>Boursin</c:v>
                </c:pt>
                <c:pt idx="71">
                  <c:v>Boursin</c:v>
                </c:pt>
                <c:pt idx="72">
                  <c:v>President</c:v>
                </c:pt>
                <c:pt idx="73">
                  <c:v>Coeur De Li</c:v>
                </c:pt>
                <c:pt idx="74">
                  <c:v>Kiri</c:v>
                </c:pt>
                <c:pt idx="75">
                  <c:v>Tartare</c:v>
                </c:pt>
                <c:pt idx="76">
                  <c:v>Private Lab</c:v>
                </c:pt>
                <c:pt idx="77">
                  <c:v>All Others</c:v>
                </c:pt>
                <c:pt idx="78">
                  <c:v>Kiri</c:v>
                </c:pt>
                <c:pt idx="79">
                  <c:v>Lou Perac</c:v>
                </c:pt>
                <c:pt idx="80">
                  <c:v>Lepetit</c:v>
                </c:pt>
                <c:pt idx="81">
                  <c:v>Salakis</c:v>
                </c:pt>
                <c:pt idx="82">
                  <c:v>Coeur De Li</c:v>
                </c:pt>
                <c:pt idx="83">
                  <c:v>Salakis</c:v>
                </c:pt>
                <c:pt idx="84">
                  <c:v>Boursin</c:v>
                </c:pt>
                <c:pt idx="85">
                  <c:v>Casa Azzurr</c:v>
                </c:pt>
                <c:pt idx="86">
                  <c:v>Private Lab</c:v>
                </c:pt>
                <c:pt idx="87">
                  <c:v>Private Lab</c:v>
                </c:pt>
                <c:pt idx="88">
                  <c:v>Coeur De Li</c:v>
                </c:pt>
                <c:pt idx="89">
                  <c:v>President</c:v>
                </c:pt>
                <c:pt idx="90">
                  <c:v>Private Lab</c:v>
                </c:pt>
                <c:pt idx="91">
                  <c:v>St Moret</c:v>
                </c:pt>
                <c:pt idx="92">
                  <c:v>Casa Azzurr</c:v>
                </c:pt>
                <c:pt idx="93">
                  <c:v>Petit Billy</c:v>
                </c:pt>
                <c:pt idx="94">
                  <c:v>Philadelphi</c:v>
                </c:pt>
                <c:pt idx="95">
                  <c:v>Private Lab</c:v>
                </c:pt>
                <c:pt idx="96">
                  <c:v>Caprice Des</c:v>
                </c:pt>
                <c:pt idx="97">
                  <c:v>Private Lab</c:v>
                </c:pt>
                <c:pt idx="98">
                  <c:v>Private Lab</c:v>
                </c:pt>
                <c:pt idx="99">
                  <c:v>President</c:v>
                </c:pt>
                <c:pt idx="100">
                  <c:v>President</c:v>
                </c:pt>
                <c:pt idx="101">
                  <c:v>Ficello</c:v>
                </c:pt>
                <c:pt idx="102">
                  <c:v>All Others</c:v>
                </c:pt>
                <c:pt idx="103">
                  <c:v>Galbani</c:v>
                </c:pt>
                <c:pt idx="104">
                  <c:v>Soignon</c:v>
                </c:pt>
                <c:pt idx="105">
                  <c:v>Private Lab</c:v>
                </c:pt>
                <c:pt idx="106">
                  <c:v>St Moret</c:v>
                </c:pt>
                <c:pt idx="107">
                  <c:v>Casa Azzurr</c:v>
                </c:pt>
                <c:pt idx="108">
                  <c:v>Le Rustique</c:v>
                </c:pt>
                <c:pt idx="109">
                  <c:v>Istara</c:v>
                </c:pt>
                <c:pt idx="110">
                  <c:v>President</c:v>
                </c:pt>
                <c:pt idx="111">
                  <c:v>Private Lab</c:v>
                </c:pt>
                <c:pt idx="112">
                  <c:v>Private Lab</c:v>
                </c:pt>
                <c:pt idx="113">
                  <c:v>Private Lab</c:v>
                </c:pt>
                <c:pt idx="114">
                  <c:v>Private Lab</c:v>
                </c:pt>
                <c:pt idx="115">
                  <c:v>All Others</c:v>
                </c:pt>
                <c:pt idx="116">
                  <c:v>Casa Azzurr</c:v>
                </c:pt>
                <c:pt idx="117">
                  <c:v>Boursin</c:v>
                </c:pt>
                <c:pt idx="118">
                  <c:v>President</c:v>
                </c:pt>
                <c:pt idx="119">
                  <c:v>Private Lab</c:v>
                </c:pt>
                <c:pt idx="120">
                  <c:v>Galbani</c:v>
                </c:pt>
                <c:pt idx="121">
                  <c:v>Les Mousque</c:v>
                </c:pt>
                <c:pt idx="122">
                  <c:v>All Others</c:v>
                </c:pt>
                <c:pt idx="123">
                  <c:v>Coeur De Li</c:v>
                </c:pt>
                <c:pt idx="124">
                  <c:v>Chavroux</c:v>
                </c:pt>
                <c:pt idx="125">
                  <c:v>Philadelphi</c:v>
                </c:pt>
                <c:pt idx="126">
                  <c:v>Soignon</c:v>
                </c:pt>
                <c:pt idx="127">
                  <c:v>Private Lab</c:v>
                </c:pt>
                <c:pt idx="128">
                  <c:v>Etorki</c:v>
                </c:pt>
                <c:pt idx="129">
                  <c:v>Caprice Des</c:v>
                </c:pt>
                <c:pt idx="130">
                  <c:v>Private Lab</c:v>
                </c:pt>
                <c:pt idx="131">
                  <c:v>Private Lab</c:v>
                </c:pt>
                <c:pt idx="132">
                  <c:v>Soignon</c:v>
                </c:pt>
                <c:pt idx="133">
                  <c:v>Salakis</c:v>
                </c:pt>
                <c:pt idx="134">
                  <c:v>La Vache Qu</c:v>
                </c:pt>
                <c:pt idx="135">
                  <c:v>P'Tit Louis</c:v>
                </c:pt>
                <c:pt idx="136">
                  <c:v>Private Lab</c:v>
                </c:pt>
                <c:pt idx="137">
                  <c:v>Lactalis: A</c:v>
                </c:pt>
                <c:pt idx="138">
                  <c:v>Galbani</c:v>
                </c:pt>
                <c:pt idx="139">
                  <c:v>Soignon</c:v>
                </c:pt>
                <c:pt idx="140">
                  <c:v>Casa Azzurr</c:v>
                </c:pt>
                <c:pt idx="141">
                  <c:v>Ficello</c:v>
                </c:pt>
                <c:pt idx="142">
                  <c:v>La Vache Qu</c:v>
                </c:pt>
                <c:pt idx="143">
                  <c:v>Paysan Bret</c:v>
                </c:pt>
                <c:pt idx="144">
                  <c:v>Soignon</c:v>
                </c:pt>
                <c:pt idx="145">
                  <c:v>Le Brebiou</c:v>
                </c:pt>
                <c:pt idx="146">
                  <c:v>Private Lab</c:v>
                </c:pt>
                <c:pt idx="147">
                  <c:v>Casa Azzurr</c:v>
                </c:pt>
                <c:pt idx="148">
                  <c:v>Boursin</c:v>
                </c:pt>
                <c:pt idx="149">
                  <c:v>Tartare</c:v>
                </c:pt>
                <c:pt idx="150">
                  <c:v>Private Lab</c:v>
                </c:pt>
                <c:pt idx="151">
                  <c:v>Private Lab</c:v>
                </c:pt>
                <c:pt idx="152">
                  <c:v>Private Lab</c:v>
                </c:pt>
                <c:pt idx="153">
                  <c:v>Salakis</c:v>
                </c:pt>
                <c:pt idx="154">
                  <c:v>All Others</c:v>
                </c:pt>
                <c:pt idx="155">
                  <c:v>Lactalis: A</c:v>
                </c:pt>
                <c:pt idx="156">
                  <c:v>Private Lab</c:v>
                </c:pt>
                <c:pt idx="157">
                  <c:v>Carre Frais</c:v>
                </c:pt>
                <c:pt idx="158">
                  <c:v>President</c:v>
                </c:pt>
                <c:pt idx="159">
                  <c:v>Private Lab</c:v>
                </c:pt>
                <c:pt idx="160">
                  <c:v>Paysan Bret</c:v>
                </c:pt>
                <c:pt idx="161">
                  <c:v>Paysan Bret</c:v>
                </c:pt>
                <c:pt idx="162">
                  <c:v>Private Lab</c:v>
                </c:pt>
                <c:pt idx="163">
                  <c:v>President</c:v>
                </c:pt>
                <c:pt idx="164">
                  <c:v>All Others</c:v>
                </c:pt>
                <c:pt idx="165">
                  <c:v>Private Lab</c:v>
                </c:pt>
                <c:pt idx="166">
                  <c:v>Paysan Bret</c:v>
                </c:pt>
                <c:pt idx="167">
                  <c:v>Galbani</c:v>
                </c:pt>
                <c:pt idx="168">
                  <c:v>Le Rustique</c:v>
                </c:pt>
                <c:pt idx="169">
                  <c:v>Soignon</c:v>
                </c:pt>
                <c:pt idx="170">
                  <c:v>Caprice Des</c:v>
                </c:pt>
                <c:pt idx="171">
                  <c:v>President</c:v>
                </c:pt>
                <c:pt idx="172">
                  <c:v>St Moret</c:v>
                </c:pt>
                <c:pt idx="173">
                  <c:v>Les Mousque</c:v>
                </c:pt>
                <c:pt idx="174">
                  <c:v>Kiri</c:v>
                </c:pt>
                <c:pt idx="175">
                  <c:v>Boursin</c:v>
                </c:pt>
                <c:pt idx="176">
                  <c:v>Boursin</c:v>
                </c:pt>
                <c:pt idx="177">
                  <c:v>Chavroux</c:v>
                </c:pt>
                <c:pt idx="178">
                  <c:v>All Others</c:v>
                </c:pt>
                <c:pt idx="179">
                  <c:v>All Others</c:v>
                </c:pt>
                <c:pt idx="180">
                  <c:v>Mini Babybe</c:v>
                </c:pt>
                <c:pt idx="181">
                  <c:v>La Vache Qu</c:v>
                </c:pt>
                <c:pt idx="182">
                  <c:v>Lou Perac</c:v>
                </c:pt>
                <c:pt idx="183">
                  <c:v>Private Lab</c:v>
                </c:pt>
                <c:pt idx="184">
                  <c:v>Lactalis: A</c:v>
                </c:pt>
                <c:pt idx="185">
                  <c:v>All Others</c:v>
                </c:pt>
                <c:pt idx="186">
                  <c:v>Private Lab</c:v>
                </c:pt>
                <c:pt idx="187">
                  <c:v>Paysan Bret</c:v>
                </c:pt>
                <c:pt idx="188">
                  <c:v>Boursin</c:v>
                </c:pt>
                <c:pt idx="189">
                  <c:v>Galbani</c:v>
                </c:pt>
                <c:pt idx="190">
                  <c:v>All Others</c:v>
                </c:pt>
                <c:pt idx="191">
                  <c:v>Tartare</c:v>
                </c:pt>
                <c:pt idx="192">
                  <c:v>Soignon</c:v>
                </c:pt>
                <c:pt idx="193">
                  <c:v>Pave D'Affi</c:v>
                </c:pt>
                <c:pt idx="194">
                  <c:v>Le Rustique</c:v>
                </c:pt>
                <c:pt idx="195">
                  <c:v>Casa Azzurr</c:v>
                </c:pt>
                <c:pt idx="196">
                  <c:v>All Others</c:v>
                </c:pt>
                <c:pt idx="197">
                  <c:v>Galbani</c:v>
                </c:pt>
                <c:pt idx="198">
                  <c:v>All Others</c:v>
                </c:pt>
                <c:pt idx="199">
                  <c:v>All Others</c:v>
                </c:pt>
                <c:pt idx="200">
                  <c:v>All Others</c:v>
                </c:pt>
                <c:pt idx="201">
                  <c:v>Kiri</c:v>
                </c:pt>
                <c:pt idx="202">
                  <c:v>Private Lab</c:v>
                </c:pt>
                <c:pt idx="203">
                  <c:v>Tartare</c:v>
                </c:pt>
                <c:pt idx="204">
                  <c:v>Salakis</c:v>
                </c:pt>
                <c:pt idx="205">
                  <c:v>Etorki</c:v>
                </c:pt>
                <c:pt idx="206">
                  <c:v>Boursin</c:v>
                </c:pt>
                <c:pt idx="207">
                  <c:v>Boursin</c:v>
                </c:pt>
                <c:pt idx="208">
                  <c:v>Mini Babybe</c:v>
                </c:pt>
                <c:pt idx="209">
                  <c:v>Private Lab</c:v>
                </c:pt>
                <c:pt idx="210">
                  <c:v>Soignon</c:v>
                </c:pt>
                <c:pt idx="211">
                  <c:v>Islos</c:v>
                </c:pt>
                <c:pt idx="212">
                  <c:v>St Moret</c:v>
                </c:pt>
                <c:pt idx="213">
                  <c:v>Boursin</c:v>
                </c:pt>
                <c:pt idx="214">
                  <c:v>All Others</c:v>
                </c:pt>
                <c:pt idx="215">
                  <c:v>Galbani</c:v>
                </c:pt>
                <c:pt idx="216">
                  <c:v>Savencia: A</c:v>
                </c:pt>
                <c:pt idx="217">
                  <c:v>All Others</c:v>
                </c:pt>
                <c:pt idx="218">
                  <c:v>Casa Azzurr</c:v>
                </c:pt>
                <c:pt idx="219">
                  <c:v>Caprice Des</c:v>
                </c:pt>
                <c:pt idx="220">
                  <c:v>Caprice Des</c:v>
                </c:pt>
                <c:pt idx="221">
                  <c:v>Boursin</c:v>
                </c:pt>
                <c:pt idx="222">
                  <c:v>Islos</c:v>
                </c:pt>
                <c:pt idx="223">
                  <c:v>Private Lab</c:v>
                </c:pt>
                <c:pt idx="224">
                  <c:v>Saint Agur</c:v>
                </c:pt>
                <c:pt idx="225">
                  <c:v>Lou Perac</c:v>
                </c:pt>
                <c:pt idx="226">
                  <c:v>Lactalis: A</c:v>
                </c:pt>
                <c:pt idx="227">
                  <c:v>Private Lab</c:v>
                </c:pt>
                <c:pt idx="228">
                  <c:v>Kiri</c:v>
                </c:pt>
                <c:pt idx="229">
                  <c:v>Paysan Bret</c:v>
                </c:pt>
                <c:pt idx="230">
                  <c:v>Private Lab</c:v>
                </c:pt>
                <c:pt idx="231">
                  <c:v>La Vache Qu</c:v>
                </c:pt>
                <c:pt idx="232">
                  <c:v>Tartare</c:v>
                </c:pt>
                <c:pt idx="233">
                  <c:v>Private Lab</c:v>
                </c:pt>
                <c:pt idx="234">
                  <c:v>Salakis</c:v>
                </c:pt>
                <c:pt idx="235">
                  <c:v>All Others</c:v>
                </c:pt>
                <c:pt idx="236">
                  <c:v>Tartare</c:v>
                </c:pt>
                <c:pt idx="237">
                  <c:v>Istara</c:v>
                </c:pt>
                <c:pt idx="238">
                  <c:v>Paysan Bret</c:v>
                </c:pt>
                <c:pt idx="239">
                  <c:v>All Others</c:v>
                </c:pt>
                <c:pt idx="240">
                  <c:v>All Others</c:v>
                </c:pt>
                <c:pt idx="241">
                  <c:v>All Others</c:v>
                </c:pt>
                <c:pt idx="242">
                  <c:v>Soignon</c:v>
                </c:pt>
                <c:pt idx="243">
                  <c:v>Corsica</c:v>
                </c:pt>
                <c:pt idx="244">
                  <c:v>Mini Babybe</c:v>
                </c:pt>
                <c:pt idx="245">
                  <c:v>All Others</c:v>
                </c:pt>
                <c:pt idx="246">
                  <c:v>Paysan Bret</c:v>
                </c:pt>
                <c:pt idx="247">
                  <c:v>Galbani</c:v>
                </c:pt>
                <c:pt idx="248">
                  <c:v>Les Mousque</c:v>
                </c:pt>
                <c:pt idx="249">
                  <c:v>Boursin</c:v>
                </c:pt>
                <c:pt idx="250">
                  <c:v>P'Tit Louis</c:v>
                </c:pt>
                <c:pt idx="251">
                  <c:v>Triballat N</c:v>
                </c:pt>
                <c:pt idx="252">
                  <c:v>Soignon</c:v>
                </c:pt>
                <c:pt idx="253">
                  <c:v>All Others</c:v>
                </c:pt>
                <c:pt idx="254">
                  <c:v>All Others</c:v>
                </c:pt>
                <c:pt idx="255">
                  <c:v>All Others</c:v>
                </c:pt>
                <c:pt idx="256">
                  <c:v>Milleret: A</c:v>
                </c:pt>
                <c:pt idx="257">
                  <c:v>All Others</c:v>
                </c:pt>
                <c:pt idx="258">
                  <c:v>Caprice Des</c:v>
                </c:pt>
                <c:pt idx="259">
                  <c:v>Etoile Du Q</c:v>
                </c:pt>
                <c:pt idx="260">
                  <c:v>Kiri</c:v>
                </c:pt>
                <c:pt idx="261">
                  <c:v>All Others</c:v>
                </c:pt>
                <c:pt idx="262">
                  <c:v>All Others</c:v>
                </c:pt>
                <c:pt idx="263">
                  <c:v>All Others</c:v>
                </c:pt>
                <c:pt idx="264">
                  <c:v>All Others</c:v>
                </c:pt>
                <c:pt idx="265">
                  <c:v>Boursin</c:v>
                </c:pt>
                <c:pt idx="266">
                  <c:v>All Others</c:v>
                </c:pt>
                <c:pt idx="267">
                  <c:v>Triballat N</c:v>
                </c:pt>
                <c:pt idx="268">
                  <c:v>Private Lab</c:v>
                </c:pt>
                <c:pt idx="269">
                  <c:v>All Others</c:v>
                </c:pt>
                <c:pt idx="270">
                  <c:v>All Others</c:v>
                </c:pt>
                <c:pt idx="271">
                  <c:v>All Others</c:v>
                </c:pt>
                <c:pt idx="272">
                  <c:v>All Others</c:v>
                </c:pt>
                <c:pt idx="273">
                  <c:v>Soignon</c:v>
                </c:pt>
                <c:pt idx="274">
                  <c:v>Triballat N</c:v>
                </c:pt>
                <c:pt idx="275">
                  <c:v>Carre Frais</c:v>
                </c:pt>
                <c:pt idx="276">
                  <c:v>Chavroux</c:v>
                </c:pt>
                <c:pt idx="277">
                  <c:v>Paysan Bret</c:v>
                </c:pt>
                <c:pt idx="278">
                  <c:v>Chavroux</c:v>
                </c:pt>
                <c:pt idx="279">
                  <c:v>Boursin</c:v>
                </c:pt>
                <c:pt idx="280">
                  <c:v>All Others</c:v>
                </c:pt>
                <c:pt idx="281">
                  <c:v>All Others</c:v>
                </c:pt>
                <c:pt idx="282">
                  <c:v>Etorki</c:v>
                </c:pt>
                <c:pt idx="283">
                  <c:v>Salakis</c:v>
                </c:pt>
                <c:pt idx="284">
                  <c:v>Le Brebiou</c:v>
                </c:pt>
                <c:pt idx="285">
                  <c:v>All Others</c:v>
                </c:pt>
                <c:pt idx="286">
                  <c:v>All Others</c:v>
                </c:pt>
                <c:pt idx="287">
                  <c:v>All Others</c:v>
                </c:pt>
                <c:pt idx="288">
                  <c:v>All Others</c:v>
                </c:pt>
                <c:pt idx="289">
                  <c:v>All Others</c:v>
                </c:pt>
                <c:pt idx="290">
                  <c:v>Milleret: A</c:v>
                </c:pt>
                <c:pt idx="291">
                  <c:v>Salakis</c:v>
                </c:pt>
                <c:pt idx="292">
                  <c:v>All Others</c:v>
                </c:pt>
                <c:pt idx="293">
                  <c:v>All Others</c:v>
                </c:pt>
                <c:pt idx="294">
                  <c:v>All Others</c:v>
                </c:pt>
                <c:pt idx="295">
                  <c:v>Lactalis: A</c:v>
                </c:pt>
                <c:pt idx="296">
                  <c:v>All Others</c:v>
                </c:pt>
                <c:pt idx="297">
                  <c:v>Istara</c:v>
                </c:pt>
                <c:pt idx="298">
                  <c:v>All Others</c:v>
                </c:pt>
                <c:pt idx="299">
                  <c:v>All Others</c:v>
                </c:pt>
                <c:pt idx="300">
                  <c:v>Lactalis: A</c:v>
                </c:pt>
                <c:pt idx="301">
                  <c:v>All Others</c:v>
                </c:pt>
                <c:pt idx="302">
                  <c:v>All Others</c:v>
                </c:pt>
                <c:pt idx="303">
                  <c:v>All Others</c:v>
                </c:pt>
                <c:pt idx="304">
                  <c:v>All Others</c:v>
                </c:pt>
                <c:pt idx="305">
                  <c:v>All Others</c:v>
                </c:pt>
                <c:pt idx="306">
                  <c:v>All Others</c:v>
                </c:pt>
                <c:pt idx="307">
                  <c:v>All Others</c:v>
                </c:pt>
                <c:pt idx="308">
                  <c:v>All Others</c:v>
                </c:pt>
                <c:pt idx="309">
                  <c:v>Triballat N</c:v>
                </c:pt>
                <c:pt idx="310">
                  <c:v>All Others</c:v>
                </c:pt>
                <c:pt idx="311">
                  <c:v>All Others</c:v>
                </c:pt>
                <c:pt idx="312">
                  <c:v>All Others</c:v>
                </c:pt>
                <c:pt idx="313">
                  <c:v>All Others</c:v>
                </c:pt>
                <c:pt idx="314">
                  <c:v>Casa Azzurr</c:v>
                </c:pt>
                <c:pt idx="315">
                  <c:v>All Others</c:v>
                </c:pt>
                <c:pt idx="316">
                  <c:v>All Others</c:v>
                </c:pt>
                <c:pt idx="317">
                  <c:v>All Others</c:v>
                </c:pt>
                <c:pt idx="318">
                  <c:v>All Others</c:v>
                </c:pt>
                <c:pt idx="319">
                  <c:v>Private Lab</c:v>
                </c:pt>
                <c:pt idx="320">
                  <c:v>All Others</c:v>
                </c:pt>
                <c:pt idx="321">
                  <c:v>All Others</c:v>
                </c:pt>
                <c:pt idx="322">
                  <c:v>All Others</c:v>
                </c:pt>
                <c:pt idx="323">
                  <c:v>All Others</c:v>
                </c:pt>
                <c:pt idx="324">
                  <c:v>All Others</c:v>
                </c:pt>
                <c:pt idx="325">
                  <c:v>All Others</c:v>
                </c:pt>
                <c:pt idx="326">
                  <c:v>La Table M</c:v>
                </c:pt>
                <c:pt idx="327">
                  <c:v>All Others</c:v>
                </c:pt>
                <c:pt idx="328">
                  <c:v>All Others</c:v>
                </c:pt>
                <c:pt idx="329">
                  <c:v>All Others</c:v>
                </c:pt>
                <c:pt idx="330">
                  <c:v>All Others</c:v>
                </c:pt>
                <c:pt idx="331">
                  <c:v>Etoile Du V</c:v>
                </c:pt>
                <c:pt idx="332">
                  <c:v>All Others</c:v>
                </c:pt>
                <c:pt idx="333">
                  <c:v>Soignon</c:v>
                </c:pt>
                <c:pt idx="334">
                  <c:v>All Others</c:v>
                </c:pt>
                <c:pt idx="335">
                  <c:v>All Others</c:v>
                </c:pt>
                <c:pt idx="336">
                  <c:v>All Others</c:v>
                </c:pt>
                <c:pt idx="337">
                  <c:v>All Others</c:v>
                </c:pt>
                <c:pt idx="338">
                  <c:v>All Others</c:v>
                </c:pt>
                <c:pt idx="339">
                  <c:v>All Others</c:v>
                </c:pt>
                <c:pt idx="340">
                  <c:v>All Others</c:v>
                </c:pt>
                <c:pt idx="341">
                  <c:v>All Others</c:v>
                </c:pt>
                <c:pt idx="342">
                  <c:v>All Others</c:v>
                </c:pt>
                <c:pt idx="343">
                  <c:v>Tartare</c:v>
                </c:pt>
                <c:pt idx="344">
                  <c:v>All Others</c:v>
                </c:pt>
                <c:pt idx="345">
                  <c:v>All Others</c:v>
                </c:pt>
                <c:pt idx="346">
                  <c:v>All Others</c:v>
                </c:pt>
                <c:pt idx="347">
                  <c:v>All Others</c:v>
                </c:pt>
                <c:pt idx="348">
                  <c:v>All Others</c:v>
                </c:pt>
                <c:pt idx="349">
                  <c:v>All Others</c:v>
                </c:pt>
                <c:pt idx="350">
                  <c:v>All Others</c:v>
                </c:pt>
                <c:pt idx="351">
                  <c:v>All Others</c:v>
                </c:pt>
                <c:pt idx="352">
                  <c:v>All Others</c:v>
                </c:pt>
                <c:pt idx="353">
                  <c:v>All Others</c:v>
                </c:pt>
                <c:pt idx="354">
                  <c:v>All Others</c:v>
                </c:pt>
                <c:pt idx="355">
                  <c:v>All Others</c:v>
                </c:pt>
                <c:pt idx="356">
                  <c:v>All Others</c:v>
                </c:pt>
                <c:pt idx="357">
                  <c:v>All Others</c:v>
                </c:pt>
                <c:pt idx="358">
                  <c:v>All Others</c:v>
                </c:pt>
                <c:pt idx="359">
                  <c:v>Petit Billy</c:v>
                </c:pt>
                <c:pt idx="360">
                  <c:v>Paysan Bret</c:v>
                </c:pt>
                <c:pt idx="361">
                  <c:v>All Others</c:v>
                </c:pt>
                <c:pt idx="362">
                  <c:v>All Others</c:v>
                </c:pt>
                <c:pt idx="363">
                  <c:v>All Others</c:v>
                </c:pt>
                <c:pt idx="364">
                  <c:v>All Others</c:v>
                </c:pt>
                <c:pt idx="365">
                  <c:v>All Others</c:v>
                </c:pt>
                <c:pt idx="366">
                  <c:v>All Others</c:v>
                </c:pt>
                <c:pt idx="367">
                  <c:v>All Others</c:v>
                </c:pt>
                <c:pt idx="368">
                  <c:v>All Others</c:v>
                </c:pt>
                <c:pt idx="369">
                  <c:v>All Others</c:v>
                </c:pt>
                <c:pt idx="370">
                  <c:v>All Others</c:v>
                </c:pt>
                <c:pt idx="371">
                  <c:v>All Others</c:v>
                </c:pt>
                <c:pt idx="372">
                  <c:v>All Others</c:v>
                </c:pt>
                <c:pt idx="373">
                  <c:v>All Others</c:v>
                </c:pt>
                <c:pt idx="374">
                  <c:v>Corsica</c:v>
                </c:pt>
                <c:pt idx="375">
                  <c:v>All Others</c:v>
                </c:pt>
                <c:pt idx="376">
                  <c:v>All Others</c:v>
                </c:pt>
                <c:pt idx="377">
                  <c:v>Mini Babybe</c:v>
                </c:pt>
                <c:pt idx="378">
                  <c:v>Lactalis: A</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All Others</c:v>
                </c:pt>
                <c:pt idx="397">
                  <c:v>All Others</c:v>
                </c:pt>
                <c:pt idx="398">
                  <c:v>All Others</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Lactalis: A</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All Others</c:v>
                </c:pt>
                <c:pt idx="457">
                  <c:v>All Others</c:v>
                </c:pt>
                <c:pt idx="458">
                  <c:v>Etoile Du V</c:v>
                </c:pt>
                <c:pt idx="459">
                  <c:v>All Others</c:v>
                </c:pt>
                <c:pt idx="460">
                  <c:v>All Others</c:v>
                </c:pt>
                <c:pt idx="461">
                  <c:v>Other Suppl</c:v>
                </c:pt>
                <c:pt idx="462">
                  <c:v>All Others</c:v>
                </c:pt>
                <c:pt idx="463">
                  <c:v>All Others</c:v>
                </c:pt>
                <c:pt idx="464">
                  <c:v>All Others</c:v>
                </c:pt>
                <c:pt idx="465">
                  <c:v>All Others</c:v>
                </c:pt>
                <c:pt idx="466">
                  <c:v>All Others</c:v>
                </c:pt>
                <c:pt idx="467">
                  <c:v>All Others</c:v>
                </c:pt>
                <c:pt idx="468">
                  <c:v>All Others</c:v>
                </c:pt>
                <c:pt idx="469">
                  <c:v>All Others</c:v>
                </c:pt>
                <c:pt idx="470">
                  <c:v>All Others</c:v>
                </c:pt>
                <c:pt idx="471">
                  <c:v>Other Suppl</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All Others</c:v>
                </c:pt>
                <c:pt idx="484">
                  <c:v>All Others</c:v>
                </c:pt>
                <c:pt idx="485">
                  <c:v>All Others</c:v>
                </c:pt>
                <c:pt idx="486">
                  <c:v>All Others</c:v>
                </c:pt>
                <c:pt idx="487">
                  <c:v>All Others</c:v>
                </c:pt>
                <c:pt idx="488">
                  <c:v>All Others</c:v>
                </c:pt>
                <c:pt idx="489">
                  <c:v>All Others</c:v>
                </c:pt>
                <c:pt idx="490">
                  <c:v>All Others</c:v>
                </c:pt>
                <c:pt idx="491">
                  <c:v>Mini Babybe</c:v>
                </c:pt>
                <c:pt idx="492">
                  <c:v>All Others</c:v>
                </c:pt>
                <c:pt idx="493">
                  <c:v>All Others</c:v>
                </c:pt>
                <c:pt idx="494">
                  <c:v>All Others</c:v>
                </c:pt>
                <c:pt idx="495">
                  <c:v>All Others</c:v>
                </c:pt>
                <c:pt idx="496">
                  <c:v>La Vache Qu</c:v>
                </c:pt>
                <c:pt idx="497">
                  <c:v>All Others</c:v>
                </c:pt>
                <c:pt idx="498">
                  <c:v>Lactalis: A</c:v>
                </c:pt>
                <c:pt idx="499">
                  <c:v>All Others</c:v>
                </c:pt>
                <c:pt idx="500">
                  <c:v>All Others</c:v>
                </c:pt>
                <c:pt idx="501">
                  <c:v>Kiri</c:v>
                </c:pt>
                <c:pt idx="502">
                  <c:v>All Others</c:v>
                </c:pt>
                <c:pt idx="503">
                  <c:v>All Others</c:v>
                </c:pt>
                <c:pt idx="504">
                  <c:v>All Others</c:v>
                </c:pt>
                <c:pt idx="505">
                  <c:v>All Others</c:v>
                </c:pt>
                <c:pt idx="506">
                  <c:v>All Others</c:v>
                </c:pt>
                <c:pt idx="507">
                  <c:v>All Others</c:v>
                </c:pt>
                <c:pt idx="508">
                  <c:v>All Others</c:v>
                </c:pt>
                <c:pt idx="509">
                  <c:v>All Others</c:v>
                </c:pt>
                <c:pt idx="510">
                  <c:v>All Others</c:v>
                </c:pt>
                <c:pt idx="511">
                  <c:v>Caprice Des</c:v>
                </c:pt>
                <c:pt idx="512">
                  <c:v>All Others</c:v>
                </c:pt>
                <c:pt idx="513">
                  <c:v>All Others</c:v>
                </c:pt>
                <c:pt idx="514">
                  <c:v>Boursin</c:v>
                </c:pt>
                <c:pt idx="515">
                  <c:v>All Others</c:v>
                </c:pt>
                <c:pt idx="516">
                  <c:v>All Others</c:v>
                </c:pt>
                <c:pt idx="517">
                  <c:v>All Others</c:v>
                </c:pt>
                <c:pt idx="518">
                  <c:v>Netto</c:v>
                </c:pt>
                <c:pt idx="519">
                  <c:v>Mini Babybe</c:v>
                </c:pt>
                <c:pt idx="520">
                  <c:v>All Others</c:v>
                </c:pt>
                <c:pt idx="521">
                  <c:v>All Others</c:v>
                </c:pt>
                <c:pt idx="522">
                  <c:v>All Others</c:v>
                </c:pt>
                <c:pt idx="523">
                  <c:v>All Others</c:v>
                </c:pt>
                <c:pt idx="524">
                  <c:v>Private Lab</c:v>
                </c:pt>
                <c:pt idx="525">
                  <c:v>All Others</c:v>
                </c:pt>
                <c:pt idx="526">
                  <c:v>Gillot</c:v>
                </c:pt>
                <c:pt idx="527">
                  <c:v>Mini Babybe</c:v>
                </c:pt>
                <c:pt idx="528">
                  <c:v>Lactalis: A</c:v>
                </c:pt>
                <c:pt idx="529">
                  <c:v>All Others</c:v>
                </c:pt>
                <c:pt idx="530">
                  <c:v>All Others</c:v>
                </c:pt>
                <c:pt idx="531">
                  <c:v>All Others</c:v>
                </c:pt>
                <c:pt idx="532">
                  <c:v>All Others</c:v>
                </c:pt>
                <c:pt idx="533">
                  <c:v>Lactalis: A</c:v>
                </c:pt>
                <c:pt idx="534">
                  <c:v>All Others</c:v>
                </c:pt>
                <c:pt idx="535">
                  <c:v>Private Lab</c:v>
                </c:pt>
                <c:pt idx="536">
                  <c:v>All Others</c:v>
                </c:pt>
                <c:pt idx="537">
                  <c:v>Saint Agur</c:v>
                </c:pt>
                <c:pt idx="538">
                  <c:v>Private Lab</c:v>
                </c:pt>
              </c:strCache>
            </c:strRef>
          </c:cat>
          <c:val>
            <c:numRef>
              <c:f>Sheet1!$B$2:$B$540</c:f>
              <c:numCache>
                <c:formatCode>General</c:formatCode>
                <c:ptCount val="539"/>
                <c:pt idx="0">
                  <c:v>0.998</c:v>
                </c:pt>
                <c:pt idx="1">
                  <c:v>0.98899999999999999</c:v>
                </c:pt>
                <c:pt idx="2">
                  <c:v>0.98</c:v>
                </c:pt>
                <c:pt idx="3">
                  <c:v>0.97499999999999998</c:v>
                </c:pt>
                <c:pt idx="4">
                  <c:v>0.999</c:v>
                </c:pt>
                <c:pt idx="5">
                  <c:v>0.97699999999999998</c:v>
                </c:pt>
                <c:pt idx="6">
                  <c:v>0.995</c:v>
                </c:pt>
                <c:pt idx="7">
                  <c:v>0.996</c:v>
                </c:pt>
                <c:pt idx="8">
                  <c:v>0.996</c:v>
                </c:pt>
                <c:pt idx="9">
                  <c:v>0.998</c:v>
                </c:pt>
                <c:pt idx="10">
                  <c:v>0.96799999999999997</c:v>
                </c:pt>
                <c:pt idx="11">
                  <c:v>0.999</c:v>
                </c:pt>
                <c:pt idx="12">
                  <c:v>0.98499999999999999</c:v>
                </c:pt>
                <c:pt idx="13">
                  <c:v>0.98499999999999999</c:v>
                </c:pt>
                <c:pt idx="14">
                  <c:v>0.97499999999999998</c:v>
                </c:pt>
                <c:pt idx="15">
                  <c:v>0.93100000000000005</c:v>
                </c:pt>
                <c:pt idx="16">
                  <c:v>0.94399999999999995</c:v>
                </c:pt>
                <c:pt idx="17">
                  <c:v>0.98499999999999999</c:v>
                </c:pt>
                <c:pt idx="18">
                  <c:v>0.95399999999999996</c:v>
                </c:pt>
                <c:pt idx="19">
                  <c:v>0.98</c:v>
                </c:pt>
                <c:pt idx="20">
                  <c:v>0.98</c:v>
                </c:pt>
                <c:pt idx="21">
                  <c:v>0.97699999999999998</c:v>
                </c:pt>
                <c:pt idx="22">
                  <c:v>0.998</c:v>
                </c:pt>
                <c:pt idx="23">
                  <c:v>0.98799999999999999</c:v>
                </c:pt>
                <c:pt idx="24">
                  <c:v>0.996</c:v>
                </c:pt>
                <c:pt idx="25">
                  <c:v>0.94199999999999995</c:v>
                </c:pt>
                <c:pt idx="26">
                  <c:v>0.998</c:v>
                </c:pt>
                <c:pt idx="27">
                  <c:v>0.99199999999999999</c:v>
                </c:pt>
                <c:pt idx="28">
                  <c:v>0.97799999999999998</c:v>
                </c:pt>
                <c:pt idx="29">
                  <c:v>0.98299999999999998</c:v>
                </c:pt>
                <c:pt idx="30">
                  <c:v>0.996</c:v>
                </c:pt>
                <c:pt idx="31">
                  <c:v>0.98799999999999999</c:v>
                </c:pt>
                <c:pt idx="32">
                  <c:v>0.93799999999999994</c:v>
                </c:pt>
                <c:pt idx="33">
                  <c:v>0.98899999999999999</c:v>
                </c:pt>
                <c:pt idx="34">
                  <c:v>0.98299999999999998</c:v>
                </c:pt>
                <c:pt idx="35">
                  <c:v>0.92900000000000005</c:v>
                </c:pt>
                <c:pt idx="36">
                  <c:v>0.98599999999999999</c:v>
                </c:pt>
                <c:pt idx="37">
                  <c:v>0.93400000000000005</c:v>
                </c:pt>
                <c:pt idx="38">
                  <c:v>0.99399999999999999</c:v>
                </c:pt>
                <c:pt idx="39">
                  <c:v>0.96599999999999997</c:v>
                </c:pt>
                <c:pt idx="40">
                  <c:v>0.90900000000000003</c:v>
                </c:pt>
                <c:pt idx="41">
                  <c:v>0.995</c:v>
                </c:pt>
                <c:pt idx="42">
                  <c:v>0.871</c:v>
                </c:pt>
                <c:pt idx="43">
                  <c:v>0.90400000000000003</c:v>
                </c:pt>
                <c:pt idx="44">
                  <c:v>0.97299999999999998</c:v>
                </c:pt>
                <c:pt idx="45">
                  <c:v>0.97299999999999998</c:v>
                </c:pt>
                <c:pt idx="46">
                  <c:v>0.434</c:v>
                </c:pt>
                <c:pt idx="47">
                  <c:v>0.98899999999999999</c:v>
                </c:pt>
                <c:pt idx="48">
                  <c:v>0.998</c:v>
                </c:pt>
                <c:pt idx="49">
                  <c:v>0.99099999999999999</c:v>
                </c:pt>
                <c:pt idx="50">
                  <c:v>0.98499999999999999</c:v>
                </c:pt>
                <c:pt idx="51">
                  <c:v>0.97699999999999998</c:v>
                </c:pt>
                <c:pt idx="52">
                  <c:v>0.92200000000000004</c:v>
                </c:pt>
                <c:pt idx="53">
                  <c:v>0.98799999999999999</c:v>
                </c:pt>
                <c:pt idx="54">
                  <c:v>0.98299999999999998</c:v>
                </c:pt>
                <c:pt idx="55">
                  <c:v>0.98499999999999999</c:v>
                </c:pt>
                <c:pt idx="56">
                  <c:v>0.84599999999999997</c:v>
                </c:pt>
                <c:pt idx="57">
                  <c:v>0.92600000000000005</c:v>
                </c:pt>
                <c:pt idx="58">
                  <c:v>0.85299999999999998</c:v>
                </c:pt>
                <c:pt idx="59">
                  <c:v>0.72299999999999998</c:v>
                </c:pt>
                <c:pt idx="60">
                  <c:v>0.98399999999999999</c:v>
                </c:pt>
                <c:pt idx="61">
                  <c:v>0.70599999999999996</c:v>
                </c:pt>
                <c:pt idx="62">
                  <c:v>0.96</c:v>
                </c:pt>
                <c:pt idx="63">
                  <c:v>0.98499999999999999</c:v>
                </c:pt>
                <c:pt idx="64">
                  <c:v>0.90600000000000003</c:v>
                </c:pt>
                <c:pt idx="65">
                  <c:v>0.92900000000000005</c:v>
                </c:pt>
                <c:pt idx="66">
                  <c:v>0.98</c:v>
                </c:pt>
                <c:pt idx="67">
                  <c:v>0.91200000000000003</c:v>
                </c:pt>
                <c:pt idx="68">
                  <c:v>0.85199999999999998</c:v>
                </c:pt>
                <c:pt idx="69">
                  <c:v>0.94499999999999995</c:v>
                </c:pt>
                <c:pt idx="70">
                  <c:v>0.96099999999999997</c:v>
                </c:pt>
                <c:pt idx="71">
                  <c:v>0.97899999999999998</c:v>
                </c:pt>
                <c:pt idx="72">
                  <c:v>0.88300000000000001</c:v>
                </c:pt>
                <c:pt idx="73">
                  <c:v>0.88600000000000001</c:v>
                </c:pt>
                <c:pt idx="74">
                  <c:v>0.98199999999999998</c:v>
                </c:pt>
                <c:pt idx="75">
                  <c:v>0.94899999999999995</c:v>
                </c:pt>
                <c:pt idx="76">
                  <c:v>0.98799999999999999</c:v>
                </c:pt>
                <c:pt idx="77">
                  <c:v>0.66900000000000004</c:v>
                </c:pt>
                <c:pt idx="78">
                  <c:v>0.97799999999999998</c:v>
                </c:pt>
                <c:pt idx="79">
                  <c:v>0.94799999999999995</c:v>
                </c:pt>
                <c:pt idx="80">
                  <c:v>0.94</c:v>
                </c:pt>
                <c:pt idx="81">
                  <c:v>0.85</c:v>
                </c:pt>
                <c:pt idx="82">
                  <c:v>0.95099999999999996</c:v>
                </c:pt>
                <c:pt idx="83">
                  <c:v>0.94599999999999995</c:v>
                </c:pt>
                <c:pt idx="84">
                  <c:v>0.99399999999999999</c:v>
                </c:pt>
                <c:pt idx="85">
                  <c:v>0.65700000000000003</c:v>
                </c:pt>
                <c:pt idx="86">
                  <c:v>0.88100000000000001</c:v>
                </c:pt>
                <c:pt idx="87">
                  <c:v>0.86699999999999999</c:v>
                </c:pt>
                <c:pt idx="88">
                  <c:v>0.95299999999999996</c:v>
                </c:pt>
                <c:pt idx="89">
                  <c:v>0.85</c:v>
                </c:pt>
                <c:pt idx="90">
                  <c:v>0.93500000000000005</c:v>
                </c:pt>
                <c:pt idx="91">
                  <c:v>0.94599999999999995</c:v>
                </c:pt>
                <c:pt idx="92">
                  <c:v>0.48599999999999999</c:v>
                </c:pt>
                <c:pt idx="93">
                  <c:v>0.93</c:v>
                </c:pt>
                <c:pt idx="94">
                  <c:v>0.69299999999999995</c:v>
                </c:pt>
                <c:pt idx="95">
                  <c:v>0.79200000000000004</c:v>
                </c:pt>
                <c:pt idx="96">
                  <c:v>0.81699999999999995</c:v>
                </c:pt>
                <c:pt idx="97">
                  <c:v>0.92300000000000004</c:v>
                </c:pt>
                <c:pt idx="98">
                  <c:v>0.56999999999999995</c:v>
                </c:pt>
                <c:pt idx="99">
                  <c:v>0.95799999999999996</c:v>
                </c:pt>
                <c:pt idx="100">
                  <c:v>0.77500000000000002</c:v>
                </c:pt>
                <c:pt idx="101">
                  <c:v>0.84499999999999997</c:v>
                </c:pt>
                <c:pt idx="102">
                  <c:v>0.84499999999999997</c:v>
                </c:pt>
                <c:pt idx="103">
                  <c:v>0.85899999999999999</c:v>
                </c:pt>
                <c:pt idx="104">
                  <c:v>0.90800000000000003</c:v>
                </c:pt>
                <c:pt idx="105">
                  <c:v>0.93799999999999994</c:v>
                </c:pt>
                <c:pt idx="106">
                  <c:v>0.876</c:v>
                </c:pt>
                <c:pt idx="107">
                  <c:v>0.58299999999999996</c:v>
                </c:pt>
                <c:pt idx="108">
                  <c:v>0.91300000000000003</c:v>
                </c:pt>
                <c:pt idx="109">
                  <c:v>0.76900000000000002</c:v>
                </c:pt>
                <c:pt idx="110">
                  <c:v>0.93300000000000005</c:v>
                </c:pt>
                <c:pt idx="111">
                  <c:v>0.96199999999999997</c:v>
                </c:pt>
                <c:pt idx="112">
                  <c:v>0.93</c:v>
                </c:pt>
                <c:pt idx="113">
                  <c:v>0.95799999999999996</c:v>
                </c:pt>
                <c:pt idx="114">
                  <c:v>0.93500000000000005</c:v>
                </c:pt>
                <c:pt idx="115">
                  <c:v>0.85799999999999998</c:v>
                </c:pt>
                <c:pt idx="116">
                  <c:v>0.64200000000000002</c:v>
                </c:pt>
                <c:pt idx="117">
                  <c:v>0.96499999999999997</c:v>
                </c:pt>
                <c:pt idx="118">
                  <c:v>0.96699999999999997</c:v>
                </c:pt>
                <c:pt idx="119">
                  <c:v>0.83799999999999997</c:v>
                </c:pt>
                <c:pt idx="120">
                  <c:v>0.83699999999999997</c:v>
                </c:pt>
                <c:pt idx="121">
                  <c:v>0.60499999999999998</c:v>
                </c:pt>
                <c:pt idx="122">
                  <c:v>0.68700000000000006</c:v>
                </c:pt>
                <c:pt idx="123">
                  <c:v>0.88200000000000001</c:v>
                </c:pt>
                <c:pt idx="124">
                  <c:v>0.98199999999999998</c:v>
                </c:pt>
                <c:pt idx="125">
                  <c:v>0.752</c:v>
                </c:pt>
                <c:pt idx="126">
                  <c:v>0.871</c:v>
                </c:pt>
                <c:pt idx="127">
                  <c:v>0.89600000000000002</c:v>
                </c:pt>
                <c:pt idx="128">
                  <c:v>0.88200000000000001</c:v>
                </c:pt>
                <c:pt idx="129">
                  <c:v>0.753</c:v>
                </c:pt>
                <c:pt idx="130">
                  <c:v>0.97</c:v>
                </c:pt>
                <c:pt idx="131">
                  <c:v>0.95699999999999996</c:v>
                </c:pt>
                <c:pt idx="132">
                  <c:v>0.92800000000000005</c:v>
                </c:pt>
                <c:pt idx="133">
                  <c:v>0.92300000000000004</c:v>
                </c:pt>
                <c:pt idx="134">
                  <c:v>0.93400000000000005</c:v>
                </c:pt>
                <c:pt idx="135">
                  <c:v>0.89600000000000002</c:v>
                </c:pt>
                <c:pt idx="136">
                  <c:v>0.747</c:v>
                </c:pt>
                <c:pt idx="137">
                  <c:v>0.81799999999999995</c:v>
                </c:pt>
                <c:pt idx="138">
                  <c:v>0.44800000000000001</c:v>
                </c:pt>
                <c:pt idx="139">
                  <c:v>0.91400000000000003</c:v>
                </c:pt>
                <c:pt idx="140">
                  <c:v>0.41599999999999998</c:v>
                </c:pt>
                <c:pt idx="141">
                  <c:v>0.88800000000000001</c:v>
                </c:pt>
                <c:pt idx="142">
                  <c:v>0.81100000000000005</c:v>
                </c:pt>
                <c:pt idx="143">
                  <c:v>0.69199999999999995</c:v>
                </c:pt>
                <c:pt idx="144">
                  <c:v>0.85199999999999998</c:v>
                </c:pt>
                <c:pt idx="145">
                  <c:v>0.85299999999999998</c:v>
                </c:pt>
                <c:pt idx="146">
                  <c:v>0.86299999999999999</c:v>
                </c:pt>
                <c:pt idx="147">
                  <c:v>0.33</c:v>
                </c:pt>
                <c:pt idx="148">
                  <c:v>0.95399999999999996</c:v>
                </c:pt>
                <c:pt idx="149">
                  <c:v>0.80300000000000005</c:v>
                </c:pt>
                <c:pt idx="150">
                  <c:v>0.91200000000000003</c:v>
                </c:pt>
                <c:pt idx="151">
                  <c:v>0.90100000000000002</c:v>
                </c:pt>
                <c:pt idx="152">
                  <c:v>0.86</c:v>
                </c:pt>
                <c:pt idx="153">
                  <c:v>0.51200000000000001</c:v>
                </c:pt>
                <c:pt idx="154">
                  <c:v>0.85299999999999998</c:v>
                </c:pt>
                <c:pt idx="155">
                  <c:v>0.61799999999999999</c:v>
                </c:pt>
                <c:pt idx="156">
                  <c:v>0.45</c:v>
                </c:pt>
                <c:pt idx="157">
                  <c:v>0.752</c:v>
                </c:pt>
                <c:pt idx="158">
                  <c:v>0.93700000000000006</c:v>
                </c:pt>
                <c:pt idx="159">
                  <c:v>0.71599999999999997</c:v>
                </c:pt>
                <c:pt idx="160">
                  <c:v>0.65</c:v>
                </c:pt>
                <c:pt idx="161">
                  <c:v>0.42</c:v>
                </c:pt>
                <c:pt idx="162">
                  <c:v>0.83699999999999997</c:v>
                </c:pt>
                <c:pt idx="163">
                  <c:v>0.88300000000000001</c:v>
                </c:pt>
                <c:pt idx="164">
                  <c:v>0.84099999999999997</c:v>
                </c:pt>
                <c:pt idx="165">
                  <c:v>0.78200000000000003</c:v>
                </c:pt>
                <c:pt idx="166">
                  <c:v>0.51300000000000001</c:v>
                </c:pt>
                <c:pt idx="167">
                  <c:v>0.35599999999999998</c:v>
                </c:pt>
                <c:pt idx="168">
                  <c:v>0.68700000000000006</c:v>
                </c:pt>
                <c:pt idx="169">
                  <c:v>0.82199999999999995</c:v>
                </c:pt>
                <c:pt idx="170">
                  <c:v>0.82899999999999996</c:v>
                </c:pt>
                <c:pt idx="171">
                  <c:v>0.83199999999999996</c:v>
                </c:pt>
                <c:pt idx="172">
                  <c:v>0.25600000000000001</c:v>
                </c:pt>
                <c:pt idx="173">
                  <c:v>0.874</c:v>
                </c:pt>
                <c:pt idx="174">
                  <c:v>0.81599999999999995</c:v>
                </c:pt>
                <c:pt idx="175">
                  <c:v>0.88200000000000001</c:v>
                </c:pt>
                <c:pt idx="176">
                  <c:v>0.93899999999999995</c:v>
                </c:pt>
                <c:pt idx="177">
                  <c:v>0.82399999999999995</c:v>
                </c:pt>
                <c:pt idx="178">
                  <c:v>0.71399999999999997</c:v>
                </c:pt>
                <c:pt idx="179">
                  <c:v>0.24399999999999999</c:v>
                </c:pt>
                <c:pt idx="180">
                  <c:v>0.70799999999999996</c:v>
                </c:pt>
                <c:pt idx="181">
                  <c:v>0.80600000000000005</c:v>
                </c:pt>
                <c:pt idx="182">
                  <c:v>0.73099999999999998</c:v>
                </c:pt>
                <c:pt idx="183">
                  <c:v>0.91200000000000003</c:v>
                </c:pt>
                <c:pt idx="184">
                  <c:v>0.55800000000000005</c:v>
                </c:pt>
                <c:pt idx="185">
                  <c:v>0.74399999999999999</c:v>
                </c:pt>
                <c:pt idx="186">
                  <c:v>0.65</c:v>
                </c:pt>
                <c:pt idx="187">
                  <c:v>0.55100000000000005</c:v>
                </c:pt>
                <c:pt idx="188">
                  <c:v>0.94499999999999995</c:v>
                </c:pt>
                <c:pt idx="189">
                  <c:v>0.52</c:v>
                </c:pt>
                <c:pt idx="190">
                  <c:v>0.57799999999999996</c:v>
                </c:pt>
                <c:pt idx="191">
                  <c:v>0.77</c:v>
                </c:pt>
                <c:pt idx="192">
                  <c:v>0.76900000000000002</c:v>
                </c:pt>
                <c:pt idx="193">
                  <c:v>0.753</c:v>
                </c:pt>
                <c:pt idx="194">
                  <c:v>0.59599999999999997</c:v>
                </c:pt>
                <c:pt idx="195">
                  <c:v>0.33800000000000002</c:v>
                </c:pt>
                <c:pt idx="196">
                  <c:v>0.13600000000000001</c:v>
                </c:pt>
                <c:pt idx="197">
                  <c:v>0.3</c:v>
                </c:pt>
                <c:pt idx="198">
                  <c:v>0.41599999999999998</c:v>
                </c:pt>
                <c:pt idx="199">
                  <c:v>0.22800000000000001</c:v>
                </c:pt>
                <c:pt idx="200">
                  <c:v>0.497</c:v>
                </c:pt>
                <c:pt idx="201">
                  <c:v>0.83499999999999996</c:v>
                </c:pt>
                <c:pt idx="202">
                  <c:v>0.61299999999999999</c:v>
                </c:pt>
                <c:pt idx="203">
                  <c:v>0.75800000000000001</c:v>
                </c:pt>
                <c:pt idx="204">
                  <c:v>0.435</c:v>
                </c:pt>
                <c:pt idx="205">
                  <c:v>0.46600000000000003</c:v>
                </c:pt>
                <c:pt idx="206">
                  <c:v>0.84199999999999997</c:v>
                </c:pt>
                <c:pt idx="207">
                  <c:v>0.79500000000000004</c:v>
                </c:pt>
                <c:pt idx="208">
                  <c:v>0.73399999999999999</c:v>
                </c:pt>
                <c:pt idx="209">
                  <c:v>0.84</c:v>
                </c:pt>
                <c:pt idx="210">
                  <c:v>0.75800000000000001</c:v>
                </c:pt>
                <c:pt idx="211">
                  <c:v>0.47599999999999998</c:v>
                </c:pt>
                <c:pt idx="212">
                  <c:v>0.65700000000000003</c:v>
                </c:pt>
                <c:pt idx="213">
                  <c:v>0.82099999999999995</c:v>
                </c:pt>
                <c:pt idx="214">
                  <c:v>0.35899999999999999</c:v>
                </c:pt>
                <c:pt idx="215">
                  <c:v>0.39600000000000002</c:v>
                </c:pt>
                <c:pt idx="216">
                  <c:v>0.47599999999999998</c:v>
                </c:pt>
                <c:pt idx="217">
                  <c:v>0.20699999999999999</c:v>
                </c:pt>
                <c:pt idx="218">
                  <c:v>0.49299999999999999</c:v>
                </c:pt>
                <c:pt idx="219">
                  <c:v>0.61199999999999999</c:v>
                </c:pt>
                <c:pt idx="220">
                  <c:v>0.60499999999999998</c:v>
                </c:pt>
                <c:pt idx="221">
                  <c:v>0.80200000000000005</c:v>
                </c:pt>
                <c:pt idx="222">
                  <c:v>0.54200000000000004</c:v>
                </c:pt>
                <c:pt idx="223">
                  <c:v>0.55200000000000005</c:v>
                </c:pt>
                <c:pt idx="224">
                  <c:v>0.67100000000000004</c:v>
                </c:pt>
                <c:pt idx="225">
                  <c:v>0.70499999999999996</c:v>
                </c:pt>
                <c:pt idx="226">
                  <c:v>0.27700000000000002</c:v>
                </c:pt>
                <c:pt idx="227">
                  <c:v>0.71299999999999997</c:v>
                </c:pt>
                <c:pt idx="228">
                  <c:v>0.6</c:v>
                </c:pt>
                <c:pt idx="229">
                  <c:v>0.50700000000000001</c:v>
                </c:pt>
                <c:pt idx="230">
                  <c:v>0.69799999999999995</c:v>
                </c:pt>
                <c:pt idx="231">
                  <c:v>0.625</c:v>
                </c:pt>
                <c:pt idx="232">
                  <c:v>0.53300000000000003</c:v>
                </c:pt>
                <c:pt idx="233">
                  <c:v>0.41599999999999998</c:v>
                </c:pt>
                <c:pt idx="234">
                  <c:v>0.32200000000000001</c:v>
                </c:pt>
                <c:pt idx="235">
                  <c:v>0.253</c:v>
                </c:pt>
                <c:pt idx="236">
                  <c:v>0.56200000000000006</c:v>
                </c:pt>
                <c:pt idx="237">
                  <c:v>0.36199999999999999</c:v>
                </c:pt>
                <c:pt idx="238">
                  <c:v>0.47299999999999998</c:v>
                </c:pt>
                <c:pt idx="239">
                  <c:v>0.30599999999999999</c:v>
                </c:pt>
                <c:pt idx="240">
                  <c:v>0.06</c:v>
                </c:pt>
                <c:pt idx="241">
                  <c:v>0.314</c:v>
                </c:pt>
                <c:pt idx="242">
                  <c:v>0.68899999999999995</c:v>
                </c:pt>
                <c:pt idx="243">
                  <c:v>0.246</c:v>
                </c:pt>
                <c:pt idx="244">
                  <c:v>0.58299999999999996</c:v>
                </c:pt>
                <c:pt idx="245">
                  <c:v>0.14599999999999999</c:v>
                </c:pt>
                <c:pt idx="246">
                  <c:v>0.185</c:v>
                </c:pt>
                <c:pt idx="247">
                  <c:v>0.56499999999999995</c:v>
                </c:pt>
                <c:pt idx="248">
                  <c:v>0.56399999999999995</c:v>
                </c:pt>
                <c:pt idx="249">
                  <c:v>0.51300000000000001</c:v>
                </c:pt>
                <c:pt idx="250">
                  <c:v>0.373</c:v>
                </c:pt>
                <c:pt idx="251">
                  <c:v>0.60599999999999998</c:v>
                </c:pt>
                <c:pt idx="252">
                  <c:v>0.57699999999999996</c:v>
                </c:pt>
                <c:pt idx="253">
                  <c:v>0.14699999999999999</c:v>
                </c:pt>
                <c:pt idx="254">
                  <c:v>0.52400000000000002</c:v>
                </c:pt>
                <c:pt idx="255">
                  <c:v>8.2000000000000003E-2</c:v>
                </c:pt>
                <c:pt idx="256">
                  <c:v>0.13700000000000001</c:v>
                </c:pt>
                <c:pt idx="257">
                  <c:v>0.17100000000000001</c:v>
                </c:pt>
                <c:pt idx="258">
                  <c:v>0.14499999999999999</c:v>
                </c:pt>
                <c:pt idx="259">
                  <c:v>0.20200000000000001</c:v>
                </c:pt>
                <c:pt idx="260">
                  <c:v>0.54300000000000004</c:v>
                </c:pt>
                <c:pt idx="261">
                  <c:v>0.39400000000000002</c:v>
                </c:pt>
                <c:pt idx="262">
                  <c:v>0.21199999999999999</c:v>
                </c:pt>
                <c:pt idx="263">
                  <c:v>7.8E-2</c:v>
                </c:pt>
                <c:pt idx="264">
                  <c:v>0.10100000000000001</c:v>
                </c:pt>
                <c:pt idx="265">
                  <c:v>0.65</c:v>
                </c:pt>
                <c:pt idx="266">
                  <c:v>7.1999999999999995E-2</c:v>
                </c:pt>
                <c:pt idx="267">
                  <c:v>0.218</c:v>
                </c:pt>
                <c:pt idx="268">
                  <c:v>0.67200000000000004</c:v>
                </c:pt>
                <c:pt idx="269">
                  <c:v>0.17299999999999999</c:v>
                </c:pt>
                <c:pt idx="270">
                  <c:v>0.25700000000000001</c:v>
                </c:pt>
                <c:pt idx="271">
                  <c:v>0.21099999999999999</c:v>
                </c:pt>
                <c:pt idx="272">
                  <c:v>0.14099999999999999</c:v>
                </c:pt>
                <c:pt idx="273">
                  <c:v>0.6</c:v>
                </c:pt>
                <c:pt idx="274">
                  <c:v>0.53200000000000003</c:v>
                </c:pt>
                <c:pt idx="275">
                  <c:v>0.28399999999999997</c:v>
                </c:pt>
                <c:pt idx="276">
                  <c:v>0.69199999999999995</c:v>
                </c:pt>
                <c:pt idx="277">
                  <c:v>5.6000000000000001E-2</c:v>
                </c:pt>
                <c:pt idx="278">
                  <c:v>0.308</c:v>
                </c:pt>
                <c:pt idx="279">
                  <c:v>0.41199999999999998</c:v>
                </c:pt>
                <c:pt idx="280">
                  <c:v>0.21199999999999999</c:v>
                </c:pt>
                <c:pt idx="281">
                  <c:v>0.154</c:v>
                </c:pt>
                <c:pt idx="282">
                  <c:v>0.40300000000000002</c:v>
                </c:pt>
                <c:pt idx="283">
                  <c:v>0.248</c:v>
                </c:pt>
                <c:pt idx="284">
                  <c:v>0.435</c:v>
                </c:pt>
                <c:pt idx="285">
                  <c:v>0.12</c:v>
                </c:pt>
                <c:pt idx="286">
                  <c:v>0.42599999999999999</c:v>
                </c:pt>
                <c:pt idx="287">
                  <c:v>0.09</c:v>
                </c:pt>
                <c:pt idx="288">
                  <c:v>5.8000000000000003E-2</c:v>
                </c:pt>
                <c:pt idx="289">
                  <c:v>0.155</c:v>
                </c:pt>
                <c:pt idx="290">
                  <c:v>0.10199999999999999</c:v>
                </c:pt>
                <c:pt idx="291">
                  <c:v>0.23400000000000001</c:v>
                </c:pt>
                <c:pt idx="292">
                  <c:v>0.06</c:v>
                </c:pt>
                <c:pt idx="293">
                  <c:v>0.17100000000000001</c:v>
                </c:pt>
                <c:pt idx="294">
                  <c:v>0.16500000000000001</c:v>
                </c:pt>
                <c:pt idx="295">
                  <c:v>8.3000000000000004E-2</c:v>
                </c:pt>
                <c:pt idx="296">
                  <c:v>9.7000000000000003E-2</c:v>
                </c:pt>
                <c:pt idx="297">
                  <c:v>0.13200000000000001</c:v>
                </c:pt>
                <c:pt idx="298">
                  <c:v>8.6999999999999994E-2</c:v>
                </c:pt>
                <c:pt idx="299">
                  <c:v>4.5999999999999999E-2</c:v>
                </c:pt>
                <c:pt idx="300">
                  <c:v>0.32</c:v>
                </c:pt>
                <c:pt idx="301">
                  <c:v>2.8000000000000001E-2</c:v>
                </c:pt>
                <c:pt idx="302">
                  <c:v>0.11799999999999999</c:v>
                </c:pt>
                <c:pt idx="303">
                  <c:v>6.7000000000000004E-2</c:v>
                </c:pt>
                <c:pt idx="304">
                  <c:v>4.9000000000000002E-2</c:v>
                </c:pt>
                <c:pt idx="305">
                  <c:v>6.7000000000000004E-2</c:v>
                </c:pt>
                <c:pt idx="306">
                  <c:v>0.35599999999999998</c:v>
                </c:pt>
                <c:pt idx="307">
                  <c:v>5.1999999999999998E-2</c:v>
                </c:pt>
                <c:pt idx="308">
                  <c:v>4.9000000000000002E-2</c:v>
                </c:pt>
                <c:pt idx="309">
                  <c:v>0.19</c:v>
                </c:pt>
                <c:pt idx="310">
                  <c:v>0.13900000000000001</c:v>
                </c:pt>
                <c:pt idx="311">
                  <c:v>8.7999999999999995E-2</c:v>
                </c:pt>
                <c:pt idx="312">
                  <c:v>4.5999999999999999E-2</c:v>
                </c:pt>
                <c:pt idx="313">
                  <c:v>4.8000000000000001E-2</c:v>
                </c:pt>
                <c:pt idx="314">
                  <c:v>8.2000000000000003E-2</c:v>
                </c:pt>
                <c:pt idx="315">
                  <c:v>3.5000000000000003E-2</c:v>
                </c:pt>
                <c:pt idx="316">
                  <c:v>3.6999999999999998E-2</c:v>
                </c:pt>
                <c:pt idx="317">
                  <c:v>1.4E-2</c:v>
                </c:pt>
                <c:pt idx="318">
                  <c:v>7.6999999999999999E-2</c:v>
                </c:pt>
                <c:pt idx="319">
                  <c:v>0.19800000000000001</c:v>
                </c:pt>
                <c:pt idx="320">
                  <c:v>2.1000000000000001E-2</c:v>
                </c:pt>
                <c:pt idx="321">
                  <c:v>6.4000000000000001E-2</c:v>
                </c:pt>
                <c:pt idx="322">
                  <c:v>0.13600000000000001</c:v>
                </c:pt>
                <c:pt idx="323">
                  <c:v>0.10299999999999999</c:v>
                </c:pt>
                <c:pt idx="324">
                  <c:v>0.11899999999999999</c:v>
                </c:pt>
                <c:pt idx="325">
                  <c:v>5.2999999999999999E-2</c:v>
                </c:pt>
                <c:pt idx="326">
                  <c:v>3.3000000000000002E-2</c:v>
                </c:pt>
                <c:pt idx="327">
                  <c:v>6.9000000000000006E-2</c:v>
                </c:pt>
                <c:pt idx="328">
                  <c:v>0.13500000000000001</c:v>
                </c:pt>
                <c:pt idx="329">
                  <c:v>2.8000000000000001E-2</c:v>
                </c:pt>
                <c:pt idx="330">
                  <c:v>8.7999999999999995E-2</c:v>
                </c:pt>
                <c:pt idx="331">
                  <c:v>8.1000000000000003E-2</c:v>
                </c:pt>
                <c:pt idx="332">
                  <c:v>8.2000000000000003E-2</c:v>
                </c:pt>
                <c:pt idx="333">
                  <c:v>0.51500000000000001</c:v>
                </c:pt>
                <c:pt idx="334">
                  <c:v>0.104</c:v>
                </c:pt>
                <c:pt idx="335">
                  <c:v>7.4999999999999997E-2</c:v>
                </c:pt>
                <c:pt idx="336">
                  <c:v>0.123</c:v>
                </c:pt>
                <c:pt idx="337">
                  <c:v>0.111</c:v>
                </c:pt>
                <c:pt idx="338">
                  <c:v>1.4999999999999999E-2</c:v>
                </c:pt>
                <c:pt idx="339">
                  <c:v>7.2999999999999995E-2</c:v>
                </c:pt>
                <c:pt idx="340">
                  <c:v>3.9E-2</c:v>
                </c:pt>
                <c:pt idx="341">
                  <c:v>3.4000000000000002E-2</c:v>
                </c:pt>
                <c:pt idx="342">
                  <c:v>0.06</c:v>
                </c:pt>
                <c:pt idx="343">
                  <c:v>0.157</c:v>
                </c:pt>
                <c:pt idx="344">
                  <c:v>3.2000000000000001E-2</c:v>
                </c:pt>
                <c:pt idx="345">
                  <c:v>2.3E-2</c:v>
                </c:pt>
                <c:pt idx="346">
                  <c:v>6.8000000000000005E-2</c:v>
                </c:pt>
                <c:pt idx="347">
                  <c:v>0.10299999999999999</c:v>
                </c:pt>
                <c:pt idx="348">
                  <c:v>9.4E-2</c:v>
                </c:pt>
                <c:pt idx="349">
                  <c:v>0.188</c:v>
                </c:pt>
                <c:pt idx="350">
                  <c:v>4.4999999999999998E-2</c:v>
                </c:pt>
                <c:pt idx="351">
                  <c:v>1.7999999999999999E-2</c:v>
                </c:pt>
                <c:pt idx="352">
                  <c:v>3.5999999999999997E-2</c:v>
                </c:pt>
                <c:pt idx="353">
                  <c:v>1.2E-2</c:v>
                </c:pt>
                <c:pt idx="354">
                  <c:v>8.0000000000000002E-3</c:v>
                </c:pt>
                <c:pt idx="355">
                  <c:v>0.122</c:v>
                </c:pt>
                <c:pt idx="356">
                  <c:v>2.3E-2</c:v>
                </c:pt>
                <c:pt idx="357">
                  <c:v>2.1000000000000001E-2</c:v>
                </c:pt>
                <c:pt idx="358">
                  <c:v>4.4999999999999998E-2</c:v>
                </c:pt>
                <c:pt idx="359">
                  <c:v>0.14299999999999999</c:v>
                </c:pt>
                <c:pt idx="360">
                  <c:v>0.13200000000000001</c:v>
                </c:pt>
                <c:pt idx="361">
                  <c:v>0.12</c:v>
                </c:pt>
                <c:pt idx="362">
                  <c:v>4.2999999999999997E-2</c:v>
                </c:pt>
                <c:pt idx="363">
                  <c:v>3.4000000000000002E-2</c:v>
                </c:pt>
                <c:pt idx="364">
                  <c:v>6.7000000000000004E-2</c:v>
                </c:pt>
                <c:pt idx="365">
                  <c:v>1E-3</c:v>
                </c:pt>
                <c:pt idx="366">
                  <c:v>1.4999999999999999E-2</c:v>
                </c:pt>
                <c:pt idx="367">
                  <c:v>7.1999999999999995E-2</c:v>
                </c:pt>
                <c:pt idx="368">
                  <c:v>3.5000000000000003E-2</c:v>
                </c:pt>
                <c:pt idx="369">
                  <c:v>0.10199999999999999</c:v>
                </c:pt>
                <c:pt idx="370">
                  <c:v>8.9999999999999993E-3</c:v>
                </c:pt>
                <c:pt idx="371">
                  <c:v>3.7999999999999999E-2</c:v>
                </c:pt>
                <c:pt idx="372">
                  <c:v>0.12</c:v>
                </c:pt>
                <c:pt idx="373">
                  <c:v>3.3000000000000002E-2</c:v>
                </c:pt>
                <c:pt idx="374">
                  <c:v>7.0000000000000007E-2</c:v>
                </c:pt>
                <c:pt idx="375">
                  <c:v>3.5000000000000003E-2</c:v>
                </c:pt>
                <c:pt idx="376">
                  <c:v>3.5000000000000003E-2</c:v>
                </c:pt>
                <c:pt idx="377">
                  <c:v>0.11</c:v>
                </c:pt>
                <c:pt idx="378">
                  <c:v>3.5999999999999997E-2</c:v>
                </c:pt>
                <c:pt idx="379">
                  <c:v>1.9E-2</c:v>
                </c:pt>
                <c:pt idx="380">
                  <c:v>1.0999999999999999E-2</c:v>
                </c:pt>
                <c:pt idx="381">
                  <c:v>4.4999999999999998E-2</c:v>
                </c:pt>
                <c:pt idx="382">
                  <c:v>3.5999999999999997E-2</c:v>
                </c:pt>
                <c:pt idx="383">
                  <c:v>0.03</c:v>
                </c:pt>
                <c:pt idx="384">
                  <c:v>3.0000000000000001E-3</c:v>
                </c:pt>
                <c:pt idx="385">
                  <c:v>3.7999999999999999E-2</c:v>
                </c:pt>
                <c:pt idx="386">
                  <c:v>3.7999999999999999E-2</c:v>
                </c:pt>
                <c:pt idx="387">
                  <c:v>1.2999999999999999E-2</c:v>
                </c:pt>
                <c:pt idx="388">
                  <c:v>8.9999999999999993E-3</c:v>
                </c:pt>
                <c:pt idx="389">
                  <c:v>0.03</c:v>
                </c:pt>
                <c:pt idx="390">
                  <c:v>0.01</c:v>
                </c:pt>
                <c:pt idx="391">
                  <c:v>1.2999999999999999E-2</c:v>
                </c:pt>
                <c:pt idx="392">
                  <c:v>0.04</c:v>
                </c:pt>
                <c:pt idx="393">
                  <c:v>1.4E-2</c:v>
                </c:pt>
                <c:pt idx="394">
                  <c:v>2.5999999999999999E-2</c:v>
                </c:pt>
                <c:pt idx="395">
                  <c:v>2.8000000000000001E-2</c:v>
                </c:pt>
                <c:pt idx="396">
                  <c:v>3.6999999999999998E-2</c:v>
                </c:pt>
                <c:pt idx="397">
                  <c:v>3.5000000000000003E-2</c:v>
                </c:pt>
                <c:pt idx="398">
                  <c:v>3.0000000000000001E-3</c:v>
                </c:pt>
                <c:pt idx="399">
                  <c:v>0.03</c:v>
                </c:pt>
                <c:pt idx="400">
                  <c:v>0.01</c:v>
                </c:pt>
                <c:pt idx="401">
                  <c:v>0.01</c:v>
                </c:pt>
                <c:pt idx="402">
                  <c:v>1.0999999999999999E-2</c:v>
                </c:pt>
                <c:pt idx="403">
                  <c:v>1.7999999999999999E-2</c:v>
                </c:pt>
                <c:pt idx="404">
                  <c:v>1.6E-2</c:v>
                </c:pt>
                <c:pt idx="405">
                  <c:v>2.1000000000000001E-2</c:v>
                </c:pt>
                <c:pt idx="406">
                  <c:v>1.9E-2</c:v>
                </c:pt>
                <c:pt idx="407">
                  <c:v>7.0000000000000007E-2</c:v>
                </c:pt>
                <c:pt idx="408">
                  <c:v>6.0999999999999999E-2</c:v>
                </c:pt>
                <c:pt idx="409">
                  <c:v>0.01</c:v>
                </c:pt>
                <c:pt idx="410">
                  <c:v>0.03</c:v>
                </c:pt>
                <c:pt idx="411">
                  <c:v>0.02</c:v>
                </c:pt>
                <c:pt idx="412">
                  <c:v>2.1000000000000001E-2</c:v>
                </c:pt>
                <c:pt idx="413">
                  <c:v>1.0999999999999999E-2</c:v>
                </c:pt>
                <c:pt idx="414">
                  <c:v>1.4E-2</c:v>
                </c:pt>
                <c:pt idx="415">
                  <c:v>8.9999999999999993E-3</c:v>
                </c:pt>
                <c:pt idx="416">
                  <c:v>0.01</c:v>
                </c:pt>
                <c:pt idx="417">
                  <c:v>2.3E-2</c:v>
                </c:pt>
                <c:pt idx="418">
                  <c:v>3.0000000000000001E-3</c:v>
                </c:pt>
                <c:pt idx="419">
                  <c:v>0.01</c:v>
                </c:pt>
                <c:pt idx="420">
                  <c:v>1.2999999999999999E-2</c:v>
                </c:pt>
                <c:pt idx="421">
                  <c:v>2.5000000000000001E-2</c:v>
                </c:pt>
                <c:pt idx="422">
                  <c:v>0.01</c:v>
                </c:pt>
                <c:pt idx="423">
                  <c:v>8.0000000000000002E-3</c:v>
                </c:pt>
                <c:pt idx="424">
                  <c:v>5.5E-2</c:v>
                </c:pt>
                <c:pt idx="425">
                  <c:v>1E-3</c:v>
                </c:pt>
                <c:pt idx="426">
                  <c:v>0.02</c:v>
                </c:pt>
                <c:pt idx="427">
                  <c:v>8.0000000000000002E-3</c:v>
                </c:pt>
                <c:pt idx="428">
                  <c:v>1.0999999999999999E-2</c:v>
                </c:pt>
                <c:pt idx="429">
                  <c:v>0.01</c:v>
                </c:pt>
                <c:pt idx="430">
                  <c:v>8.0000000000000002E-3</c:v>
                </c:pt>
                <c:pt idx="431">
                  <c:v>8.0000000000000002E-3</c:v>
                </c:pt>
                <c:pt idx="432">
                  <c:v>8.9999999999999993E-3</c:v>
                </c:pt>
                <c:pt idx="433">
                  <c:v>8.9999999999999993E-3</c:v>
                </c:pt>
                <c:pt idx="434">
                  <c:v>0.05</c:v>
                </c:pt>
                <c:pt idx="435">
                  <c:v>2.4E-2</c:v>
                </c:pt>
                <c:pt idx="436">
                  <c:v>2.4E-2</c:v>
                </c:pt>
                <c:pt idx="437">
                  <c:v>1.4E-2</c:v>
                </c:pt>
                <c:pt idx="438">
                  <c:v>1.4999999999999999E-2</c:v>
                </c:pt>
                <c:pt idx="439">
                  <c:v>2.5000000000000001E-2</c:v>
                </c:pt>
                <c:pt idx="440">
                  <c:v>2.1000000000000001E-2</c:v>
                </c:pt>
                <c:pt idx="441">
                  <c:v>1.7000000000000001E-2</c:v>
                </c:pt>
                <c:pt idx="442">
                  <c:v>0.02</c:v>
                </c:pt>
                <c:pt idx="443">
                  <c:v>2.9000000000000001E-2</c:v>
                </c:pt>
                <c:pt idx="444">
                  <c:v>0.01</c:v>
                </c:pt>
                <c:pt idx="445">
                  <c:v>8.9999999999999993E-3</c:v>
                </c:pt>
                <c:pt idx="446">
                  <c:v>1.9E-2</c:v>
                </c:pt>
                <c:pt idx="447">
                  <c:v>2.3E-2</c:v>
                </c:pt>
                <c:pt idx="448">
                  <c:v>0.01</c:v>
                </c:pt>
                <c:pt idx="449">
                  <c:v>8.9999999999999993E-3</c:v>
                </c:pt>
                <c:pt idx="450">
                  <c:v>1.4999999999999999E-2</c:v>
                </c:pt>
                <c:pt idx="451">
                  <c:v>2.1000000000000001E-2</c:v>
                </c:pt>
                <c:pt idx="452">
                  <c:v>0.01</c:v>
                </c:pt>
                <c:pt idx="453">
                  <c:v>1.6E-2</c:v>
                </c:pt>
                <c:pt idx="454">
                  <c:v>1E-3</c:v>
                </c:pt>
                <c:pt idx="455">
                  <c:v>2.1999999999999999E-2</c:v>
                </c:pt>
                <c:pt idx="456">
                  <c:v>1.4999999999999999E-2</c:v>
                </c:pt>
                <c:pt idx="457">
                  <c:v>2.3E-2</c:v>
                </c:pt>
                <c:pt idx="458">
                  <c:v>1E-3</c:v>
                </c:pt>
                <c:pt idx="459">
                  <c:v>1.4999999999999999E-2</c:v>
                </c:pt>
                <c:pt idx="460">
                  <c:v>0.02</c:v>
                </c:pt>
                <c:pt idx="461">
                  <c:v>4.5999999999999999E-2</c:v>
                </c:pt>
                <c:pt idx="462">
                  <c:v>1.9E-2</c:v>
                </c:pt>
                <c:pt idx="463">
                  <c:v>1E-3</c:v>
                </c:pt>
                <c:pt idx="464">
                  <c:v>4.0000000000000001E-3</c:v>
                </c:pt>
                <c:pt idx="465">
                  <c:v>1.9E-2</c:v>
                </c:pt>
                <c:pt idx="466">
                  <c:v>3.2000000000000001E-2</c:v>
                </c:pt>
                <c:pt idx="467">
                  <c:v>8.9999999999999993E-3</c:v>
                </c:pt>
                <c:pt idx="468">
                  <c:v>0.01</c:v>
                </c:pt>
                <c:pt idx="469">
                  <c:v>4.0000000000000001E-3</c:v>
                </c:pt>
                <c:pt idx="470">
                  <c:v>8.9999999999999993E-3</c:v>
                </c:pt>
                <c:pt idx="471">
                  <c:v>2.8000000000000001E-2</c:v>
                </c:pt>
                <c:pt idx="472">
                  <c:v>0.01</c:v>
                </c:pt>
                <c:pt idx="473">
                  <c:v>8.0000000000000002E-3</c:v>
                </c:pt>
                <c:pt idx="474">
                  <c:v>1.4999999999999999E-2</c:v>
                </c:pt>
                <c:pt idx="475">
                  <c:v>8.9999999999999993E-3</c:v>
                </c:pt>
                <c:pt idx="476">
                  <c:v>2.1000000000000001E-2</c:v>
                </c:pt>
                <c:pt idx="477">
                  <c:v>0.03</c:v>
                </c:pt>
                <c:pt idx="478">
                  <c:v>8.9999999999999993E-3</c:v>
                </c:pt>
                <c:pt idx="479">
                  <c:v>1.2999999999999999E-2</c:v>
                </c:pt>
                <c:pt idx="480">
                  <c:v>2.5000000000000001E-2</c:v>
                </c:pt>
                <c:pt idx="481">
                  <c:v>0.04</c:v>
                </c:pt>
                <c:pt idx="482">
                  <c:v>1.4E-2</c:v>
                </c:pt>
                <c:pt idx="483">
                  <c:v>1E-3</c:v>
                </c:pt>
                <c:pt idx="484">
                  <c:v>1.0999999999999999E-2</c:v>
                </c:pt>
                <c:pt idx="485">
                  <c:v>3.5000000000000003E-2</c:v>
                </c:pt>
                <c:pt idx="486">
                  <c:v>1.2999999999999999E-2</c:v>
                </c:pt>
                <c:pt idx="487">
                  <c:v>1E-3</c:v>
                </c:pt>
                <c:pt idx="488">
                  <c:v>3.0000000000000001E-3</c:v>
                </c:pt>
                <c:pt idx="489">
                  <c:v>3.3000000000000002E-2</c:v>
                </c:pt>
                <c:pt idx="490">
                  <c:v>0.01</c:v>
                </c:pt>
                <c:pt idx="491">
                  <c:v>0.113</c:v>
                </c:pt>
                <c:pt idx="492">
                  <c:v>1.2999999999999999E-2</c:v>
                </c:pt>
                <c:pt idx="493">
                  <c:v>8.0000000000000002E-3</c:v>
                </c:pt>
                <c:pt idx="494">
                  <c:v>8.0000000000000002E-3</c:v>
                </c:pt>
                <c:pt idx="495">
                  <c:v>3.4000000000000002E-2</c:v>
                </c:pt>
                <c:pt idx="496">
                  <c:v>1E-3</c:v>
                </c:pt>
                <c:pt idx="497">
                  <c:v>3.0000000000000001E-3</c:v>
                </c:pt>
                <c:pt idx="498">
                  <c:v>8.9999999999999993E-3</c:v>
                </c:pt>
                <c:pt idx="499">
                  <c:v>1.0999999999999999E-2</c:v>
                </c:pt>
                <c:pt idx="500">
                  <c:v>1.4E-2</c:v>
                </c:pt>
                <c:pt idx="501">
                  <c:v>9.4E-2</c:v>
                </c:pt>
                <c:pt idx="502">
                  <c:v>1E-3</c:v>
                </c:pt>
                <c:pt idx="503">
                  <c:v>8.0000000000000002E-3</c:v>
                </c:pt>
                <c:pt idx="504">
                  <c:v>8.9999999999999993E-3</c:v>
                </c:pt>
                <c:pt idx="505">
                  <c:v>3.0000000000000001E-3</c:v>
                </c:pt>
                <c:pt idx="506">
                  <c:v>1.0999999999999999E-2</c:v>
                </c:pt>
                <c:pt idx="507">
                  <c:v>1.0999999999999999E-2</c:v>
                </c:pt>
                <c:pt idx="508">
                  <c:v>1E-3</c:v>
                </c:pt>
                <c:pt idx="509">
                  <c:v>5.0000000000000001E-3</c:v>
                </c:pt>
                <c:pt idx="510">
                  <c:v>4.0000000000000001E-3</c:v>
                </c:pt>
                <c:pt idx="511">
                  <c:v>0.03</c:v>
                </c:pt>
                <c:pt idx="512">
                  <c:v>8.9999999999999993E-3</c:v>
                </c:pt>
                <c:pt idx="513">
                  <c:v>4.0000000000000001E-3</c:v>
                </c:pt>
                <c:pt idx="514">
                  <c:v>6.5000000000000002E-2</c:v>
                </c:pt>
                <c:pt idx="515">
                  <c:v>3.0000000000000001E-3</c:v>
                </c:pt>
                <c:pt idx="516">
                  <c:v>1E-3</c:v>
                </c:pt>
                <c:pt idx="517">
                  <c:v>8.0000000000000002E-3</c:v>
                </c:pt>
                <c:pt idx="518">
                  <c:v>1E-3</c:v>
                </c:pt>
                <c:pt idx="519">
                  <c:v>1.9E-2</c:v>
                </c:pt>
                <c:pt idx="520">
                  <c:v>4.0000000000000001E-3</c:v>
                </c:pt>
                <c:pt idx="521">
                  <c:v>0.01</c:v>
                </c:pt>
                <c:pt idx="522">
                  <c:v>1.4999999999999999E-2</c:v>
                </c:pt>
                <c:pt idx="523">
                  <c:v>0.01</c:v>
                </c:pt>
                <c:pt idx="524">
                  <c:v>1E-3</c:v>
                </c:pt>
                <c:pt idx="525">
                  <c:v>8.0000000000000002E-3</c:v>
                </c:pt>
                <c:pt idx="526">
                  <c:v>1E-3</c:v>
                </c:pt>
                <c:pt idx="527">
                  <c:v>1E-3</c:v>
                </c:pt>
                <c:pt idx="528">
                  <c:v>1E-3</c:v>
                </c:pt>
                <c:pt idx="529">
                  <c:v>0.01</c:v>
                </c:pt>
                <c:pt idx="530">
                  <c:v>8.0000000000000002E-3</c:v>
                </c:pt>
                <c:pt idx="531">
                  <c:v>8.0000000000000002E-3</c:v>
                </c:pt>
                <c:pt idx="532">
                  <c:v>1E-3</c:v>
                </c:pt>
                <c:pt idx="533">
                  <c:v>3.0000000000000001E-3</c:v>
                </c:pt>
                <c:pt idx="534">
                  <c:v>8.0000000000000002E-3</c:v>
                </c:pt>
                <c:pt idx="535">
                  <c:v>1E-3</c:v>
                </c:pt>
                <c:pt idx="536">
                  <c:v>1E-3</c:v>
                </c:pt>
                <c:pt idx="537">
                  <c:v>8.0000000000000002E-3</c:v>
                </c:pt>
                <c:pt idx="538">
                  <c:v>8.0000000000000002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2E72-45B7-B22B-F12DE6506C9C}"/>
              </c:ext>
            </c:extLst>
          </c:dPt>
          <c:dPt>
            <c:idx val="211"/>
            <c:invertIfNegative val="1"/>
            <c:bubble3D val="0"/>
            <c:spPr>
              <a:solidFill>
                <a:srgbClr val="AEABAB"/>
              </a:solidFill>
            </c:spPr>
            <c:extLst>
              <c:ext xmlns:c16="http://schemas.microsoft.com/office/drawing/2014/chart" uri="{C3380CC4-5D6E-409C-BE32-E72D297353CC}">
                <c16:uniqueId val="{000001A9-2E72-45B7-B22B-F12DE6506C9C}"/>
              </c:ext>
            </c:extLst>
          </c:dPt>
          <c:dPt>
            <c:idx val="212"/>
            <c:invertIfNegative val="1"/>
            <c:bubble3D val="0"/>
            <c:spPr>
              <a:solidFill>
                <a:srgbClr val="AEABAB"/>
              </a:solidFill>
            </c:spPr>
            <c:extLst>
              <c:ext xmlns:c16="http://schemas.microsoft.com/office/drawing/2014/chart" uri="{C3380CC4-5D6E-409C-BE32-E72D297353CC}">
                <c16:uniqueId val="{000001AB-2E72-45B7-B22B-F12DE6506C9C}"/>
              </c:ext>
            </c:extLst>
          </c:dPt>
          <c:dPt>
            <c:idx val="213"/>
            <c:invertIfNegative val="1"/>
            <c:bubble3D val="0"/>
            <c:spPr>
              <a:solidFill>
                <a:srgbClr val="AEABAB"/>
              </a:solidFill>
            </c:spPr>
            <c:extLst>
              <c:ext xmlns:c16="http://schemas.microsoft.com/office/drawing/2014/chart" uri="{C3380CC4-5D6E-409C-BE32-E72D297353CC}">
                <c16:uniqueId val="{000001AD-2E72-45B7-B22B-F12DE6506C9C}"/>
              </c:ext>
            </c:extLst>
          </c:dPt>
          <c:dPt>
            <c:idx val="214"/>
            <c:invertIfNegative val="1"/>
            <c:bubble3D val="0"/>
            <c:spPr>
              <a:solidFill>
                <a:srgbClr val="AEABAB"/>
              </a:solidFill>
            </c:spPr>
            <c:extLst>
              <c:ext xmlns:c16="http://schemas.microsoft.com/office/drawing/2014/chart" uri="{C3380CC4-5D6E-409C-BE32-E72D297353CC}">
                <c16:uniqueId val="{000001AF-2E72-45B7-B22B-F12DE6506C9C}"/>
              </c:ext>
            </c:extLst>
          </c:dPt>
          <c:dPt>
            <c:idx val="215"/>
            <c:invertIfNegative val="1"/>
            <c:bubble3D val="0"/>
            <c:spPr>
              <a:solidFill>
                <a:srgbClr val="AEABAB"/>
              </a:solidFill>
            </c:spPr>
            <c:extLst>
              <c:ext xmlns:c16="http://schemas.microsoft.com/office/drawing/2014/chart" uri="{C3380CC4-5D6E-409C-BE32-E72D297353CC}">
                <c16:uniqueId val="{000001B1-2E72-45B7-B22B-F12DE6506C9C}"/>
              </c:ext>
            </c:extLst>
          </c:dPt>
          <c:dPt>
            <c:idx val="216"/>
            <c:invertIfNegative val="1"/>
            <c:bubble3D val="0"/>
            <c:spPr>
              <a:solidFill>
                <a:srgbClr val="AEABAB"/>
              </a:solidFill>
            </c:spPr>
            <c:extLst>
              <c:ext xmlns:c16="http://schemas.microsoft.com/office/drawing/2014/chart" uri="{C3380CC4-5D6E-409C-BE32-E72D297353CC}">
                <c16:uniqueId val="{000001B3-2E72-45B7-B22B-F12DE6506C9C}"/>
              </c:ext>
            </c:extLst>
          </c:dPt>
          <c:dPt>
            <c:idx val="217"/>
            <c:invertIfNegative val="1"/>
            <c:bubble3D val="0"/>
            <c:spPr>
              <a:solidFill>
                <a:srgbClr val="AEABAB"/>
              </a:solidFill>
            </c:spPr>
            <c:extLst>
              <c:ext xmlns:c16="http://schemas.microsoft.com/office/drawing/2014/chart" uri="{C3380CC4-5D6E-409C-BE32-E72D297353CC}">
                <c16:uniqueId val="{000001B5-2E72-45B7-B22B-F12DE6506C9C}"/>
              </c:ext>
            </c:extLst>
          </c:dPt>
          <c:dPt>
            <c:idx val="218"/>
            <c:invertIfNegative val="1"/>
            <c:bubble3D val="0"/>
            <c:spPr>
              <a:solidFill>
                <a:srgbClr val="AEABAB"/>
              </a:solidFill>
            </c:spPr>
            <c:extLst>
              <c:ext xmlns:c16="http://schemas.microsoft.com/office/drawing/2014/chart" uri="{C3380CC4-5D6E-409C-BE32-E72D297353CC}">
                <c16:uniqueId val="{000001B7-2E72-45B7-B22B-F12DE6506C9C}"/>
              </c:ext>
            </c:extLst>
          </c:dPt>
          <c:dPt>
            <c:idx val="219"/>
            <c:invertIfNegative val="1"/>
            <c:bubble3D val="0"/>
            <c:spPr>
              <a:solidFill>
                <a:srgbClr val="AEABAB"/>
              </a:solidFill>
            </c:spPr>
            <c:extLst>
              <c:ext xmlns:c16="http://schemas.microsoft.com/office/drawing/2014/chart" uri="{C3380CC4-5D6E-409C-BE32-E72D297353CC}">
                <c16:uniqueId val="{000001B9-2E72-45B7-B22B-F12DE6506C9C}"/>
              </c:ext>
            </c:extLst>
          </c:dPt>
          <c:dPt>
            <c:idx val="220"/>
            <c:invertIfNegative val="1"/>
            <c:bubble3D val="0"/>
            <c:spPr>
              <a:solidFill>
                <a:srgbClr val="AEABAB"/>
              </a:solidFill>
            </c:spPr>
            <c:extLst>
              <c:ext xmlns:c16="http://schemas.microsoft.com/office/drawing/2014/chart" uri="{C3380CC4-5D6E-409C-BE32-E72D297353CC}">
                <c16:uniqueId val="{000001BB-2E72-45B7-B22B-F12DE6506C9C}"/>
              </c:ext>
            </c:extLst>
          </c:dPt>
          <c:dPt>
            <c:idx val="221"/>
            <c:invertIfNegative val="1"/>
            <c:bubble3D val="0"/>
            <c:spPr>
              <a:solidFill>
                <a:srgbClr val="AEABAB"/>
              </a:solidFill>
            </c:spPr>
            <c:extLst>
              <c:ext xmlns:c16="http://schemas.microsoft.com/office/drawing/2014/chart" uri="{C3380CC4-5D6E-409C-BE32-E72D297353CC}">
                <c16:uniqueId val="{000001BD-2E72-45B7-B22B-F12DE6506C9C}"/>
              </c:ext>
            </c:extLst>
          </c:dPt>
          <c:dPt>
            <c:idx val="222"/>
            <c:invertIfNegative val="1"/>
            <c:bubble3D val="0"/>
            <c:spPr>
              <a:solidFill>
                <a:srgbClr val="AEABAB"/>
              </a:solidFill>
            </c:spPr>
            <c:extLst>
              <c:ext xmlns:c16="http://schemas.microsoft.com/office/drawing/2014/chart" uri="{C3380CC4-5D6E-409C-BE32-E72D297353CC}">
                <c16:uniqueId val="{000001BF-2E72-45B7-B22B-F12DE6506C9C}"/>
              </c:ext>
            </c:extLst>
          </c:dPt>
          <c:dPt>
            <c:idx val="223"/>
            <c:invertIfNegative val="1"/>
            <c:bubble3D val="0"/>
            <c:spPr>
              <a:solidFill>
                <a:srgbClr val="AEABAB"/>
              </a:solidFill>
            </c:spPr>
            <c:extLst>
              <c:ext xmlns:c16="http://schemas.microsoft.com/office/drawing/2014/chart" uri="{C3380CC4-5D6E-409C-BE32-E72D297353CC}">
                <c16:uniqueId val="{000001C1-2E72-45B7-B22B-F12DE6506C9C}"/>
              </c:ext>
            </c:extLst>
          </c:dPt>
          <c:dPt>
            <c:idx val="224"/>
            <c:invertIfNegative val="1"/>
            <c:bubble3D val="0"/>
            <c:spPr>
              <a:solidFill>
                <a:srgbClr val="AEABAB"/>
              </a:solidFill>
            </c:spPr>
            <c:extLst>
              <c:ext xmlns:c16="http://schemas.microsoft.com/office/drawing/2014/chart" uri="{C3380CC4-5D6E-409C-BE32-E72D297353CC}">
                <c16:uniqueId val="{000001C3-2E72-45B7-B22B-F12DE6506C9C}"/>
              </c:ext>
            </c:extLst>
          </c:dPt>
          <c:dPt>
            <c:idx val="225"/>
            <c:invertIfNegative val="1"/>
            <c:bubble3D val="0"/>
            <c:spPr>
              <a:solidFill>
                <a:srgbClr val="AEABAB"/>
              </a:solidFill>
            </c:spPr>
            <c:extLst>
              <c:ext xmlns:c16="http://schemas.microsoft.com/office/drawing/2014/chart" uri="{C3380CC4-5D6E-409C-BE32-E72D297353CC}">
                <c16:uniqueId val="{000001C5-2E72-45B7-B22B-F12DE6506C9C}"/>
              </c:ext>
            </c:extLst>
          </c:dPt>
          <c:dPt>
            <c:idx val="226"/>
            <c:invertIfNegative val="1"/>
            <c:bubble3D val="0"/>
            <c:spPr>
              <a:solidFill>
                <a:srgbClr val="AEABAB"/>
              </a:solidFill>
            </c:spPr>
            <c:extLst>
              <c:ext xmlns:c16="http://schemas.microsoft.com/office/drawing/2014/chart" uri="{C3380CC4-5D6E-409C-BE32-E72D297353CC}">
                <c16:uniqueId val="{000001C7-2E72-45B7-B22B-F12DE6506C9C}"/>
              </c:ext>
            </c:extLst>
          </c:dPt>
          <c:dPt>
            <c:idx val="227"/>
            <c:invertIfNegative val="1"/>
            <c:bubble3D val="0"/>
            <c:spPr>
              <a:solidFill>
                <a:srgbClr val="AEABAB"/>
              </a:solidFill>
            </c:spPr>
            <c:extLst>
              <c:ext xmlns:c16="http://schemas.microsoft.com/office/drawing/2014/chart" uri="{C3380CC4-5D6E-409C-BE32-E72D297353CC}">
                <c16:uniqueId val="{000001C9-2E72-45B7-B22B-F12DE6506C9C}"/>
              </c:ext>
            </c:extLst>
          </c:dPt>
          <c:dPt>
            <c:idx val="228"/>
            <c:invertIfNegative val="1"/>
            <c:bubble3D val="0"/>
            <c:spPr>
              <a:solidFill>
                <a:srgbClr val="AEABAB"/>
              </a:solidFill>
            </c:spPr>
            <c:extLst>
              <c:ext xmlns:c16="http://schemas.microsoft.com/office/drawing/2014/chart" uri="{C3380CC4-5D6E-409C-BE32-E72D297353CC}">
                <c16:uniqueId val="{000001CB-2E72-45B7-B22B-F12DE6506C9C}"/>
              </c:ext>
            </c:extLst>
          </c:dPt>
          <c:dPt>
            <c:idx val="229"/>
            <c:invertIfNegative val="1"/>
            <c:bubble3D val="0"/>
            <c:spPr>
              <a:solidFill>
                <a:srgbClr val="AEABAB"/>
              </a:solidFill>
            </c:spPr>
            <c:extLst>
              <c:ext xmlns:c16="http://schemas.microsoft.com/office/drawing/2014/chart" uri="{C3380CC4-5D6E-409C-BE32-E72D297353CC}">
                <c16:uniqueId val="{000001CD-2E72-45B7-B22B-F12DE6506C9C}"/>
              </c:ext>
            </c:extLst>
          </c:dPt>
          <c:dPt>
            <c:idx val="230"/>
            <c:invertIfNegative val="1"/>
            <c:bubble3D val="0"/>
            <c:spPr>
              <a:solidFill>
                <a:srgbClr val="AEABAB"/>
              </a:solidFill>
            </c:spPr>
            <c:extLst>
              <c:ext xmlns:c16="http://schemas.microsoft.com/office/drawing/2014/chart" uri="{C3380CC4-5D6E-409C-BE32-E72D297353CC}">
                <c16:uniqueId val="{000001CF-2E72-45B7-B22B-F12DE6506C9C}"/>
              </c:ext>
            </c:extLst>
          </c:dPt>
          <c:dPt>
            <c:idx val="231"/>
            <c:invertIfNegative val="1"/>
            <c:bubble3D val="0"/>
            <c:spPr>
              <a:solidFill>
                <a:srgbClr val="AEABAB"/>
              </a:solidFill>
            </c:spPr>
            <c:extLst>
              <c:ext xmlns:c16="http://schemas.microsoft.com/office/drawing/2014/chart" uri="{C3380CC4-5D6E-409C-BE32-E72D297353CC}">
                <c16:uniqueId val="{000001D1-2E72-45B7-B22B-F12DE6506C9C}"/>
              </c:ext>
            </c:extLst>
          </c:dPt>
          <c:dPt>
            <c:idx val="232"/>
            <c:invertIfNegative val="1"/>
            <c:bubble3D val="0"/>
            <c:spPr>
              <a:solidFill>
                <a:srgbClr val="AEABAB"/>
              </a:solidFill>
            </c:spPr>
            <c:extLst>
              <c:ext xmlns:c16="http://schemas.microsoft.com/office/drawing/2014/chart" uri="{C3380CC4-5D6E-409C-BE32-E72D297353CC}">
                <c16:uniqueId val="{000001D3-2E72-45B7-B22B-F12DE6506C9C}"/>
              </c:ext>
            </c:extLst>
          </c:dPt>
          <c:dPt>
            <c:idx val="233"/>
            <c:invertIfNegative val="1"/>
            <c:bubble3D val="0"/>
            <c:spPr>
              <a:solidFill>
                <a:srgbClr val="AEABAB"/>
              </a:solidFill>
            </c:spPr>
            <c:extLst>
              <c:ext xmlns:c16="http://schemas.microsoft.com/office/drawing/2014/chart" uri="{C3380CC4-5D6E-409C-BE32-E72D297353CC}">
                <c16:uniqueId val="{000001D5-2E72-45B7-B22B-F12DE6506C9C}"/>
              </c:ext>
            </c:extLst>
          </c:dPt>
          <c:dPt>
            <c:idx val="234"/>
            <c:invertIfNegative val="1"/>
            <c:bubble3D val="0"/>
            <c:spPr>
              <a:solidFill>
                <a:srgbClr val="AEABAB"/>
              </a:solidFill>
            </c:spPr>
            <c:extLst>
              <c:ext xmlns:c16="http://schemas.microsoft.com/office/drawing/2014/chart" uri="{C3380CC4-5D6E-409C-BE32-E72D297353CC}">
                <c16:uniqueId val="{000001D7-2E72-45B7-B22B-F12DE6506C9C}"/>
              </c:ext>
            </c:extLst>
          </c:dPt>
          <c:dPt>
            <c:idx val="235"/>
            <c:invertIfNegative val="1"/>
            <c:bubble3D val="0"/>
            <c:spPr>
              <a:solidFill>
                <a:srgbClr val="AEABAB"/>
              </a:solidFill>
            </c:spPr>
            <c:extLst>
              <c:ext xmlns:c16="http://schemas.microsoft.com/office/drawing/2014/chart" uri="{C3380CC4-5D6E-409C-BE32-E72D297353CC}">
                <c16:uniqueId val="{000001D9-2E72-45B7-B22B-F12DE6506C9C}"/>
              </c:ext>
            </c:extLst>
          </c:dPt>
          <c:dPt>
            <c:idx val="236"/>
            <c:invertIfNegative val="1"/>
            <c:bubble3D val="0"/>
            <c:spPr>
              <a:solidFill>
                <a:srgbClr val="AEABAB"/>
              </a:solidFill>
            </c:spPr>
            <c:extLst>
              <c:ext xmlns:c16="http://schemas.microsoft.com/office/drawing/2014/chart" uri="{C3380CC4-5D6E-409C-BE32-E72D297353CC}">
                <c16:uniqueId val="{000001DB-2E72-45B7-B22B-F12DE6506C9C}"/>
              </c:ext>
            </c:extLst>
          </c:dPt>
          <c:dPt>
            <c:idx val="237"/>
            <c:invertIfNegative val="1"/>
            <c:bubble3D val="0"/>
            <c:spPr>
              <a:solidFill>
                <a:srgbClr val="AEABAB"/>
              </a:solidFill>
            </c:spPr>
            <c:extLst>
              <c:ext xmlns:c16="http://schemas.microsoft.com/office/drawing/2014/chart" uri="{C3380CC4-5D6E-409C-BE32-E72D297353CC}">
                <c16:uniqueId val="{000001DD-2E72-45B7-B22B-F12DE6506C9C}"/>
              </c:ext>
            </c:extLst>
          </c:dPt>
          <c:dPt>
            <c:idx val="238"/>
            <c:invertIfNegative val="1"/>
            <c:bubble3D val="0"/>
            <c:spPr>
              <a:solidFill>
                <a:srgbClr val="AEABAB"/>
              </a:solidFill>
            </c:spPr>
            <c:extLst>
              <c:ext xmlns:c16="http://schemas.microsoft.com/office/drawing/2014/chart" uri="{C3380CC4-5D6E-409C-BE32-E72D297353CC}">
                <c16:uniqueId val="{000001DF-2E72-45B7-B22B-F12DE6506C9C}"/>
              </c:ext>
            </c:extLst>
          </c:dPt>
          <c:dPt>
            <c:idx val="239"/>
            <c:invertIfNegative val="1"/>
            <c:bubble3D val="0"/>
            <c:spPr>
              <a:solidFill>
                <a:srgbClr val="AEABAB"/>
              </a:solidFill>
            </c:spPr>
            <c:extLst>
              <c:ext xmlns:c16="http://schemas.microsoft.com/office/drawing/2014/chart" uri="{C3380CC4-5D6E-409C-BE32-E72D297353CC}">
                <c16:uniqueId val="{000001E1-2E72-45B7-B22B-F12DE6506C9C}"/>
              </c:ext>
            </c:extLst>
          </c:dPt>
          <c:dPt>
            <c:idx val="240"/>
            <c:invertIfNegative val="1"/>
            <c:bubble3D val="0"/>
            <c:spPr>
              <a:solidFill>
                <a:srgbClr val="AEABAB"/>
              </a:solidFill>
            </c:spPr>
            <c:extLst>
              <c:ext xmlns:c16="http://schemas.microsoft.com/office/drawing/2014/chart" uri="{C3380CC4-5D6E-409C-BE32-E72D297353CC}">
                <c16:uniqueId val="{000001E3-2E72-45B7-B22B-F12DE6506C9C}"/>
              </c:ext>
            </c:extLst>
          </c:dPt>
          <c:dPt>
            <c:idx val="241"/>
            <c:invertIfNegative val="1"/>
            <c:bubble3D val="0"/>
            <c:spPr>
              <a:solidFill>
                <a:srgbClr val="AEABAB"/>
              </a:solidFill>
            </c:spPr>
            <c:extLst>
              <c:ext xmlns:c16="http://schemas.microsoft.com/office/drawing/2014/chart" uri="{C3380CC4-5D6E-409C-BE32-E72D297353CC}">
                <c16:uniqueId val="{000001E5-2E72-45B7-B22B-F12DE6506C9C}"/>
              </c:ext>
            </c:extLst>
          </c:dPt>
          <c:dPt>
            <c:idx val="242"/>
            <c:invertIfNegative val="1"/>
            <c:bubble3D val="0"/>
            <c:spPr>
              <a:solidFill>
                <a:srgbClr val="AEABAB"/>
              </a:solidFill>
            </c:spPr>
            <c:extLst>
              <c:ext xmlns:c16="http://schemas.microsoft.com/office/drawing/2014/chart" uri="{C3380CC4-5D6E-409C-BE32-E72D297353CC}">
                <c16:uniqueId val="{000001E7-2E72-45B7-B22B-F12DE6506C9C}"/>
              </c:ext>
            </c:extLst>
          </c:dPt>
          <c:dPt>
            <c:idx val="243"/>
            <c:invertIfNegative val="1"/>
            <c:bubble3D val="0"/>
            <c:spPr>
              <a:solidFill>
                <a:srgbClr val="AEABAB"/>
              </a:solidFill>
            </c:spPr>
            <c:extLst>
              <c:ext xmlns:c16="http://schemas.microsoft.com/office/drawing/2014/chart" uri="{C3380CC4-5D6E-409C-BE32-E72D297353CC}">
                <c16:uniqueId val="{000001E9-2E72-45B7-B22B-F12DE6506C9C}"/>
              </c:ext>
            </c:extLst>
          </c:dPt>
          <c:dPt>
            <c:idx val="244"/>
            <c:invertIfNegative val="1"/>
            <c:bubble3D val="0"/>
            <c:spPr>
              <a:solidFill>
                <a:srgbClr val="AEABAB"/>
              </a:solidFill>
            </c:spPr>
            <c:extLst>
              <c:ext xmlns:c16="http://schemas.microsoft.com/office/drawing/2014/chart" uri="{C3380CC4-5D6E-409C-BE32-E72D297353CC}">
                <c16:uniqueId val="{000001EB-2E72-45B7-B22B-F12DE6506C9C}"/>
              </c:ext>
            </c:extLst>
          </c:dPt>
          <c:dPt>
            <c:idx val="245"/>
            <c:invertIfNegative val="1"/>
            <c:bubble3D val="0"/>
            <c:spPr>
              <a:solidFill>
                <a:srgbClr val="AEABAB"/>
              </a:solidFill>
            </c:spPr>
            <c:extLst>
              <c:ext xmlns:c16="http://schemas.microsoft.com/office/drawing/2014/chart" uri="{C3380CC4-5D6E-409C-BE32-E72D297353CC}">
                <c16:uniqueId val="{000001ED-2E72-45B7-B22B-F12DE6506C9C}"/>
              </c:ext>
            </c:extLst>
          </c:dPt>
          <c:dPt>
            <c:idx val="246"/>
            <c:invertIfNegative val="1"/>
            <c:bubble3D val="0"/>
            <c:spPr>
              <a:solidFill>
                <a:srgbClr val="AEABAB"/>
              </a:solidFill>
            </c:spPr>
            <c:extLst>
              <c:ext xmlns:c16="http://schemas.microsoft.com/office/drawing/2014/chart" uri="{C3380CC4-5D6E-409C-BE32-E72D297353CC}">
                <c16:uniqueId val="{000001EF-2E72-45B7-B22B-F12DE6506C9C}"/>
              </c:ext>
            </c:extLst>
          </c:dPt>
          <c:dPt>
            <c:idx val="247"/>
            <c:invertIfNegative val="1"/>
            <c:bubble3D val="0"/>
            <c:spPr>
              <a:solidFill>
                <a:srgbClr val="AEABAB"/>
              </a:solidFill>
            </c:spPr>
            <c:extLst>
              <c:ext xmlns:c16="http://schemas.microsoft.com/office/drawing/2014/chart" uri="{C3380CC4-5D6E-409C-BE32-E72D297353CC}">
                <c16:uniqueId val="{000001F1-2E72-45B7-B22B-F12DE6506C9C}"/>
              </c:ext>
            </c:extLst>
          </c:dPt>
          <c:dPt>
            <c:idx val="248"/>
            <c:invertIfNegative val="1"/>
            <c:bubble3D val="0"/>
            <c:spPr>
              <a:solidFill>
                <a:srgbClr val="AEABAB"/>
              </a:solidFill>
            </c:spPr>
            <c:extLst>
              <c:ext xmlns:c16="http://schemas.microsoft.com/office/drawing/2014/chart" uri="{C3380CC4-5D6E-409C-BE32-E72D297353CC}">
                <c16:uniqueId val="{000001F3-2E72-45B7-B22B-F12DE6506C9C}"/>
              </c:ext>
            </c:extLst>
          </c:dPt>
          <c:dPt>
            <c:idx val="249"/>
            <c:invertIfNegative val="1"/>
            <c:bubble3D val="0"/>
            <c:spPr>
              <a:solidFill>
                <a:srgbClr val="AEABAB"/>
              </a:solidFill>
            </c:spPr>
            <c:extLst>
              <c:ext xmlns:c16="http://schemas.microsoft.com/office/drawing/2014/chart" uri="{C3380CC4-5D6E-409C-BE32-E72D297353CC}">
                <c16:uniqueId val="{000001F5-2E72-45B7-B22B-F12DE6506C9C}"/>
              </c:ext>
            </c:extLst>
          </c:dPt>
          <c:dPt>
            <c:idx val="250"/>
            <c:invertIfNegative val="1"/>
            <c:bubble3D val="0"/>
            <c:spPr>
              <a:solidFill>
                <a:srgbClr val="AEABAB"/>
              </a:solidFill>
            </c:spPr>
            <c:extLst>
              <c:ext xmlns:c16="http://schemas.microsoft.com/office/drawing/2014/chart" uri="{C3380CC4-5D6E-409C-BE32-E72D297353CC}">
                <c16:uniqueId val="{000001F7-2E72-45B7-B22B-F12DE6506C9C}"/>
              </c:ext>
            </c:extLst>
          </c:dPt>
          <c:dPt>
            <c:idx val="251"/>
            <c:invertIfNegative val="1"/>
            <c:bubble3D val="0"/>
            <c:spPr>
              <a:solidFill>
                <a:srgbClr val="AEABAB"/>
              </a:solidFill>
            </c:spPr>
            <c:extLst>
              <c:ext xmlns:c16="http://schemas.microsoft.com/office/drawing/2014/chart" uri="{C3380CC4-5D6E-409C-BE32-E72D297353CC}">
                <c16:uniqueId val="{000001F9-2E72-45B7-B22B-F12DE6506C9C}"/>
              </c:ext>
            </c:extLst>
          </c:dPt>
          <c:dPt>
            <c:idx val="252"/>
            <c:invertIfNegative val="1"/>
            <c:bubble3D val="0"/>
            <c:spPr>
              <a:solidFill>
                <a:srgbClr val="AEABAB"/>
              </a:solidFill>
            </c:spPr>
            <c:extLst>
              <c:ext xmlns:c16="http://schemas.microsoft.com/office/drawing/2014/chart" uri="{C3380CC4-5D6E-409C-BE32-E72D297353CC}">
                <c16:uniqueId val="{000001FB-2E72-45B7-B22B-F12DE6506C9C}"/>
              </c:ext>
            </c:extLst>
          </c:dPt>
          <c:dPt>
            <c:idx val="253"/>
            <c:invertIfNegative val="1"/>
            <c:bubble3D val="0"/>
            <c:spPr>
              <a:solidFill>
                <a:srgbClr val="AEABAB"/>
              </a:solidFill>
            </c:spPr>
            <c:extLst>
              <c:ext xmlns:c16="http://schemas.microsoft.com/office/drawing/2014/chart" uri="{C3380CC4-5D6E-409C-BE32-E72D297353CC}">
                <c16:uniqueId val="{000001FD-2E72-45B7-B22B-F12DE6506C9C}"/>
              </c:ext>
            </c:extLst>
          </c:dPt>
          <c:dPt>
            <c:idx val="254"/>
            <c:invertIfNegative val="1"/>
            <c:bubble3D val="0"/>
            <c:spPr>
              <a:solidFill>
                <a:srgbClr val="AEABAB"/>
              </a:solidFill>
            </c:spPr>
            <c:extLst>
              <c:ext xmlns:c16="http://schemas.microsoft.com/office/drawing/2014/chart" uri="{C3380CC4-5D6E-409C-BE32-E72D297353CC}">
                <c16:uniqueId val="{000001FF-2E72-45B7-B22B-F12DE6506C9C}"/>
              </c:ext>
            </c:extLst>
          </c:dPt>
          <c:dPt>
            <c:idx val="255"/>
            <c:invertIfNegative val="1"/>
            <c:bubble3D val="0"/>
            <c:spPr>
              <a:solidFill>
                <a:srgbClr val="AEABAB"/>
              </a:solidFill>
            </c:spPr>
            <c:extLst>
              <c:ext xmlns:c16="http://schemas.microsoft.com/office/drawing/2014/chart" uri="{C3380CC4-5D6E-409C-BE32-E72D297353CC}">
                <c16:uniqueId val="{00000201-2E72-45B7-B22B-F12DE6506C9C}"/>
              </c:ext>
            </c:extLst>
          </c:dPt>
          <c:dPt>
            <c:idx val="256"/>
            <c:invertIfNegative val="1"/>
            <c:bubble3D val="0"/>
            <c:spPr>
              <a:solidFill>
                <a:srgbClr val="AEABAB"/>
              </a:solidFill>
            </c:spPr>
            <c:extLst>
              <c:ext xmlns:c16="http://schemas.microsoft.com/office/drawing/2014/chart" uri="{C3380CC4-5D6E-409C-BE32-E72D297353CC}">
                <c16:uniqueId val="{00000203-2E72-45B7-B22B-F12DE6506C9C}"/>
              </c:ext>
            </c:extLst>
          </c:dPt>
          <c:dPt>
            <c:idx val="257"/>
            <c:invertIfNegative val="1"/>
            <c:bubble3D val="0"/>
            <c:spPr>
              <a:solidFill>
                <a:srgbClr val="AEABAB"/>
              </a:solidFill>
            </c:spPr>
            <c:extLst>
              <c:ext xmlns:c16="http://schemas.microsoft.com/office/drawing/2014/chart" uri="{C3380CC4-5D6E-409C-BE32-E72D297353CC}">
                <c16:uniqueId val="{00000205-2E72-45B7-B22B-F12DE6506C9C}"/>
              </c:ext>
            </c:extLst>
          </c:dPt>
          <c:dPt>
            <c:idx val="258"/>
            <c:invertIfNegative val="1"/>
            <c:bubble3D val="0"/>
            <c:spPr>
              <a:solidFill>
                <a:srgbClr val="AEABAB"/>
              </a:solidFill>
            </c:spPr>
            <c:extLst>
              <c:ext xmlns:c16="http://schemas.microsoft.com/office/drawing/2014/chart" uri="{C3380CC4-5D6E-409C-BE32-E72D297353CC}">
                <c16:uniqueId val="{00000207-2E72-45B7-B22B-F12DE6506C9C}"/>
              </c:ext>
            </c:extLst>
          </c:dPt>
          <c:dPt>
            <c:idx val="259"/>
            <c:invertIfNegative val="1"/>
            <c:bubble3D val="0"/>
            <c:spPr>
              <a:solidFill>
                <a:srgbClr val="AEABAB"/>
              </a:solidFill>
            </c:spPr>
            <c:extLst>
              <c:ext xmlns:c16="http://schemas.microsoft.com/office/drawing/2014/chart" uri="{C3380CC4-5D6E-409C-BE32-E72D297353CC}">
                <c16:uniqueId val="{00000209-2E72-45B7-B22B-F12DE6506C9C}"/>
              </c:ext>
            </c:extLst>
          </c:dPt>
          <c:dPt>
            <c:idx val="260"/>
            <c:invertIfNegative val="1"/>
            <c:bubble3D val="0"/>
            <c:spPr>
              <a:solidFill>
                <a:srgbClr val="AEABAB"/>
              </a:solidFill>
            </c:spPr>
            <c:extLst>
              <c:ext xmlns:c16="http://schemas.microsoft.com/office/drawing/2014/chart" uri="{C3380CC4-5D6E-409C-BE32-E72D297353CC}">
                <c16:uniqueId val="{0000020B-2E72-45B7-B22B-F12DE6506C9C}"/>
              </c:ext>
            </c:extLst>
          </c:dPt>
          <c:dPt>
            <c:idx val="261"/>
            <c:invertIfNegative val="1"/>
            <c:bubble3D val="0"/>
            <c:spPr>
              <a:solidFill>
                <a:srgbClr val="AEABAB"/>
              </a:solidFill>
            </c:spPr>
            <c:extLst>
              <c:ext xmlns:c16="http://schemas.microsoft.com/office/drawing/2014/chart" uri="{C3380CC4-5D6E-409C-BE32-E72D297353CC}">
                <c16:uniqueId val="{0000020D-2E72-45B7-B22B-F12DE6506C9C}"/>
              </c:ext>
            </c:extLst>
          </c:dPt>
          <c:dPt>
            <c:idx val="262"/>
            <c:invertIfNegative val="1"/>
            <c:bubble3D val="0"/>
            <c:spPr>
              <a:solidFill>
                <a:srgbClr val="AEABAB"/>
              </a:solidFill>
            </c:spPr>
            <c:extLst>
              <c:ext xmlns:c16="http://schemas.microsoft.com/office/drawing/2014/chart" uri="{C3380CC4-5D6E-409C-BE32-E72D297353CC}">
                <c16:uniqueId val="{0000020F-2E72-45B7-B22B-F12DE6506C9C}"/>
              </c:ext>
            </c:extLst>
          </c:dPt>
          <c:dPt>
            <c:idx val="263"/>
            <c:invertIfNegative val="1"/>
            <c:bubble3D val="0"/>
            <c:spPr>
              <a:solidFill>
                <a:srgbClr val="AEABAB"/>
              </a:solidFill>
            </c:spPr>
            <c:extLst>
              <c:ext xmlns:c16="http://schemas.microsoft.com/office/drawing/2014/chart" uri="{C3380CC4-5D6E-409C-BE32-E72D297353CC}">
                <c16:uniqueId val="{00000211-2E72-45B7-B22B-F12DE6506C9C}"/>
              </c:ext>
            </c:extLst>
          </c:dPt>
          <c:dPt>
            <c:idx val="264"/>
            <c:invertIfNegative val="1"/>
            <c:bubble3D val="0"/>
            <c:spPr>
              <a:solidFill>
                <a:srgbClr val="AEABAB"/>
              </a:solidFill>
            </c:spPr>
            <c:extLst>
              <c:ext xmlns:c16="http://schemas.microsoft.com/office/drawing/2014/chart" uri="{C3380CC4-5D6E-409C-BE32-E72D297353CC}">
                <c16:uniqueId val="{00000213-2E72-45B7-B22B-F12DE6506C9C}"/>
              </c:ext>
            </c:extLst>
          </c:dPt>
          <c:dPt>
            <c:idx val="265"/>
            <c:invertIfNegative val="1"/>
            <c:bubble3D val="0"/>
            <c:spPr>
              <a:solidFill>
                <a:srgbClr val="AEABAB"/>
              </a:solidFill>
            </c:spPr>
            <c:extLst>
              <c:ext xmlns:c16="http://schemas.microsoft.com/office/drawing/2014/chart" uri="{C3380CC4-5D6E-409C-BE32-E72D297353CC}">
                <c16:uniqueId val="{00000215-2E72-45B7-B22B-F12DE6506C9C}"/>
              </c:ext>
            </c:extLst>
          </c:dPt>
          <c:dPt>
            <c:idx val="266"/>
            <c:invertIfNegative val="1"/>
            <c:bubble3D val="0"/>
            <c:spPr>
              <a:solidFill>
                <a:srgbClr val="AEABAB"/>
              </a:solidFill>
            </c:spPr>
            <c:extLst>
              <c:ext xmlns:c16="http://schemas.microsoft.com/office/drawing/2014/chart" uri="{C3380CC4-5D6E-409C-BE32-E72D297353CC}">
                <c16:uniqueId val="{00000217-2E72-45B7-B22B-F12DE6506C9C}"/>
              </c:ext>
            </c:extLst>
          </c:dPt>
          <c:dPt>
            <c:idx val="267"/>
            <c:invertIfNegative val="1"/>
            <c:bubble3D val="0"/>
            <c:spPr>
              <a:solidFill>
                <a:srgbClr val="AEABAB"/>
              </a:solidFill>
            </c:spPr>
            <c:extLst>
              <c:ext xmlns:c16="http://schemas.microsoft.com/office/drawing/2014/chart" uri="{C3380CC4-5D6E-409C-BE32-E72D297353CC}">
                <c16:uniqueId val="{00000219-2E72-45B7-B22B-F12DE6506C9C}"/>
              </c:ext>
            </c:extLst>
          </c:dPt>
          <c:dPt>
            <c:idx val="268"/>
            <c:invertIfNegative val="1"/>
            <c:bubble3D val="0"/>
            <c:spPr>
              <a:solidFill>
                <a:srgbClr val="AEABAB"/>
              </a:solidFill>
            </c:spPr>
            <c:extLst>
              <c:ext xmlns:c16="http://schemas.microsoft.com/office/drawing/2014/chart" uri="{C3380CC4-5D6E-409C-BE32-E72D297353CC}">
                <c16:uniqueId val="{0000021B-2E72-45B7-B22B-F12DE6506C9C}"/>
              </c:ext>
            </c:extLst>
          </c:dPt>
          <c:dPt>
            <c:idx val="269"/>
            <c:invertIfNegative val="1"/>
            <c:bubble3D val="0"/>
            <c:spPr>
              <a:solidFill>
                <a:srgbClr val="AEABAB"/>
              </a:solidFill>
            </c:spPr>
            <c:extLst>
              <c:ext xmlns:c16="http://schemas.microsoft.com/office/drawing/2014/chart" uri="{C3380CC4-5D6E-409C-BE32-E72D297353CC}">
                <c16:uniqueId val="{0000021D-2E72-45B7-B22B-F12DE6506C9C}"/>
              </c:ext>
            </c:extLst>
          </c:dPt>
          <c:dPt>
            <c:idx val="270"/>
            <c:invertIfNegative val="1"/>
            <c:bubble3D val="0"/>
            <c:spPr>
              <a:solidFill>
                <a:srgbClr val="AEABAB"/>
              </a:solidFill>
            </c:spPr>
            <c:extLst>
              <c:ext xmlns:c16="http://schemas.microsoft.com/office/drawing/2014/chart" uri="{C3380CC4-5D6E-409C-BE32-E72D297353CC}">
                <c16:uniqueId val="{0000021F-2E72-45B7-B22B-F12DE6506C9C}"/>
              </c:ext>
            </c:extLst>
          </c:dPt>
          <c:dPt>
            <c:idx val="271"/>
            <c:invertIfNegative val="1"/>
            <c:bubble3D val="0"/>
            <c:spPr>
              <a:solidFill>
                <a:srgbClr val="AEABAB"/>
              </a:solidFill>
            </c:spPr>
            <c:extLst>
              <c:ext xmlns:c16="http://schemas.microsoft.com/office/drawing/2014/chart" uri="{C3380CC4-5D6E-409C-BE32-E72D297353CC}">
                <c16:uniqueId val="{00000221-2E72-45B7-B22B-F12DE6506C9C}"/>
              </c:ext>
            </c:extLst>
          </c:dPt>
          <c:dPt>
            <c:idx val="272"/>
            <c:invertIfNegative val="1"/>
            <c:bubble3D val="0"/>
            <c:spPr>
              <a:solidFill>
                <a:srgbClr val="AEABAB"/>
              </a:solidFill>
            </c:spPr>
            <c:extLst>
              <c:ext xmlns:c16="http://schemas.microsoft.com/office/drawing/2014/chart" uri="{C3380CC4-5D6E-409C-BE32-E72D297353CC}">
                <c16:uniqueId val="{00000223-2E72-45B7-B22B-F12DE6506C9C}"/>
              </c:ext>
            </c:extLst>
          </c:dPt>
          <c:dPt>
            <c:idx val="273"/>
            <c:invertIfNegative val="1"/>
            <c:bubble3D val="0"/>
            <c:spPr>
              <a:solidFill>
                <a:srgbClr val="AEABAB"/>
              </a:solidFill>
            </c:spPr>
            <c:extLst>
              <c:ext xmlns:c16="http://schemas.microsoft.com/office/drawing/2014/chart" uri="{C3380CC4-5D6E-409C-BE32-E72D297353CC}">
                <c16:uniqueId val="{00000225-2E72-45B7-B22B-F12DE6506C9C}"/>
              </c:ext>
            </c:extLst>
          </c:dPt>
          <c:dPt>
            <c:idx val="274"/>
            <c:invertIfNegative val="1"/>
            <c:bubble3D val="0"/>
            <c:spPr>
              <a:solidFill>
                <a:srgbClr val="AEABAB"/>
              </a:solidFill>
            </c:spPr>
            <c:extLst>
              <c:ext xmlns:c16="http://schemas.microsoft.com/office/drawing/2014/chart" uri="{C3380CC4-5D6E-409C-BE32-E72D297353CC}">
                <c16:uniqueId val="{00000227-2E72-45B7-B22B-F12DE6506C9C}"/>
              </c:ext>
            </c:extLst>
          </c:dPt>
          <c:dPt>
            <c:idx val="275"/>
            <c:invertIfNegative val="1"/>
            <c:bubble3D val="0"/>
            <c:spPr>
              <a:solidFill>
                <a:srgbClr val="AEABAB"/>
              </a:solidFill>
            </c:spPr>
            <c:extLst>
              <c:ext xmlns:c16="http://schemas.microsoft.com/office/drawing/2014/chart" uri="{C3380CC4-5D6E-409C-BE32-E72D297353CC}">
                <c16:uniqueId val="{00000229-2E72-45B7-B22B-F12DE6506C9C}"/>
              </c:ext>
            </c:extLst>
          </c:dPt>
          <c:dPt>
            <c:idx val="276"/>
            <c:invertIfNegative val="1"/>
            <c:bubble3D val="0"/>
            <c:spPr>
              <a:solidFill>
                <a:srgbClr val="AEABAB"/>
              </a:solidFill>
            </c:spPr>
            <c:extLst>
              <c:ext xmlns:c16="http://schemas.microsoft.com/office/drawing/2014/chart" uri="{C3380CC4-5D6E-409C-BE32-E72D297353CC}">
                <c16:uniqueId val="{0000022B-2E72-45B7-B22B-F12DE6506C9C}"/>
              </c:ext>
            </c:extLst>
          </c:dPt>
          <c:dPt>
            <c:idx val="277"/>
            <c:invertIfNegative val="1"/>
            <c:bubble3D val="0"/>
            <c:spPr>
              <a:solidFill>
                <a:srgbClr val="AEABAB"/>
              </a:solidFill>
            </c:spPr>
            <c:extLst>
              <c:ext xmlns:c16="http://schemas.microsoft.com/office/drawing/2014/chart" uri="{C3380CC4-5D6E-409C-BE32-E72D297353CC}">
                <c16:uniqueId val="{0000022D-2E72-45B7-B22B-F12DE6506C9C}"/>
              </c:ext>
            </c:extLst>
          </c:dPt>
          <c:dPt>
            <c:idx val="278"/>
            <c:invertIfNegative val="1"/>
            <c:bubble3D val="0"/>
            <c:spPr>
              <a:solidFill>
                <a:srgbClr val="AEABAB"/>
              </a:solidFill>
            </c:spPr>
            <c:extLst>
              <c:ext xmlns:c16="http://schemas.microsoft.com/office/drawing/2014/chart" uri="{C3380CC4-5D6E-409C-BE32-E72D297353CC}">
                <c16:uniqueId val="{0000022F-2E72-45B7-B22B-F12DE6506C9C}"/>
              </c:ext>
            </c:extLst>
          </c:dPt>
          <c:dPt>
            <c:idx val="279"/>
            <c:invertIfNegative val="1"/>
            <c:bubble3D val="0"/>
            <c:spPr>
              <a:solidFill>
                <a:srgbClr val="AEABAB"/>
              </a:solidFill>
            </c:spPr>
            <c:extLst>
              <c:ext xmlns:c16="http://schemas.microsoft.com/office/drawing/2014/chart" uri="{C3380CC4-5D6E-409C-BE32-E72D297353CC}">
                <c16:uniqueId val="{00000231-2E72-45B7-B22B-F12DE6506C9C}"/>
              </c:ext>
            </c:extLst>
          </c:dPt>
          <c:dPt>
            <c:idx val="280"/>
            <c:invertIfNegative val="1"/>
            <c:bubble3D val="0"/>
            <c:spPr>
              <a:solidFill>
                <a:srgbClr val="AEABAB"/>
              </a:solidFill>
            </c:spPr>
            <c:extLst>
              <c:ext xmlns:c16="http://schemas.microsoft.com/office/drawing/2014/chart" uri="{C3380CC4-5D6E-409C-BE32-E72D297353CC}">
                <c16:uniqueId val="{00000233-2E72-45B7-B22B-F12DE6506C9C}"/>
              </c:ext>
            </c:extLst>
          </c:dPt>
          <c:dPt>
            <c:idx val="281"/>
            <c:invertIfNegative val="1"/>
            <c:bubble3D val="0"/>
            <c:spPr>
              <a:solidFill>
                <a:srgbClr val="AEABAB"/>
              </a:solidFill>
            </c:spPr>
            <c:extLst>
              <c:ext xmlns:c16="http://schemas.microsoft.com/office/drawing/2014/chart" uri="{C3380CC4-5D6E-409C-BE32-E72D297353CC}">
                <c16:uniqueId val="{00000235-2E72-45B7-B22B-F12DE6506C9C}"/>
              </c:ext>
            </c:extLst>
          </c:dPt>
          <c:dPt>
            <c:idx val="282"/>
            <c:invertIfNegative val="1"/>
            <c:bubble3D val="0"/>
            <c:spPr>
              <a:solidFill>
                <a:srgbClr val="AEABAB"/>
              </a:solidFill>
            </c:spPr>
            <c:extLst>
              <c:ext xmlns:c16="http://schemas.microsoft.com/office/drawing/2014/chart" uri="{C3380CC4-5D6E-409C-BE32-E72D297353CC}">
                <c16:uniqueId val="{00000237-2E72-45B7-B22B-F12DE6506C9C}"/>
              </c:ext>
            </c:extLst>
          </c:dPt>
          <c:dPt>
            <c:idx val="283"/>
            <c:invertIfNegative val="1"/>
            <c:bubble3D val="0"/>
            <c:spPr>
              <a:solidFill>
                <a:srgbClr val="AEABAB"/>
              </a:solidFill>
            </c:spPr>
            <c:extLst>
              <c:ext xmlns:c16="http://schemas.microsoft.com/office/drawing/2014/chart" uri="{C3380CC4-5D6E-409C-BE32-E72D297353CC}">
                <c16:uniqueId val="{00000239-2E72-45B7-B22B-F12DE6506C9C}"/>
              </c:ext>
            </c:extLst>
          </c:dPt>
          <c:dPt>
            <c:idx val="284"/>
            <c:invertIfNegative val="1"/>
            <c:bubble3D val="0"/>
            <c:spPr>
              <a:solidFill>
                <a:srgbClr val="AEABAB"/>
              </a:solidFill>
            </c:spPr>
            <c:extLst>
              <c:ext xmlns:c16="http://schemas.microsoft.com/office/drawing/2014/chart" uri="{C3380CC4-5D6E-409C-BE32-E72D297353CC}">
                <c16:uniqueId val="{0000023B-2E72-45B7-B22B-F12DE6506C9C}"/>
              </c:ext>
            </c:extLst>
          </c:dPt>
          <c:dPt>
            <c:idx val="285"/>
            <c:invertIfNegative val="1"/>
            <c:bubble3D val="0"/>
            <c:spPr>
              <a:solidFill>
                <a:srgbClr val="AEABAB"/>
              </a:solidFill>
            </c:spPr>
            <c:extLst>
              <c:ext xmlns:c16="http://schemas.microsoft.com/office/drawing/2014/chart" uri="{C3380CC4-5D6E-409C-BE32-E72D297353CC}">
                <c16:uniqueId val="{0000023D-2E72-45B7-B22B-F12DE6506C9C}"/>
              </c:ext>
            </c:extLst>
          </c:dPt>
          <c:dPt>
            <c:idx val="286"/>
            <c:invertIfNegative val="1"/>
            <c:bubble3D val="0"/>
            <c:spPr>
              <a:solidFill>
                <a:srgbClr val="AEABAB"/>
              </a:solidFill>
            </c:spPr>
            <c:extLst>
              <c:ext xmlns:c16="http://schemas.microsoft.com/office/drawing/2014/chart" uri="{C3380CC4-5D6E-409C-BE32-E72D297353CC}">
                <c16:uniqueId val="{0000023F-2E72-45B7-B22B-F12DE6506C9C}"/>
              </c:ext>
            </c:extLst>
          </c:dPt>
          <c:dPt>
            <c:idx val="287"/>
            <c:invertIfNegative val="1"/>
            <c:bubble3D val="0"/>
            <c:spPr>
              <a:solidFill>
                <a:srgbClr val="AEABAB"/>
              </a:solidFill>
            </c:spPr>
            <c:extLst>
              <c:ext xmlns:c16="http://schemas.microsoft.com/office/drawing/2014/chart" uri="{C3380CC4-5D6E-409C-BE32-E72D297353CC}">
                <c16:uniqueId val="{00000241-2E72-45B7-B22B-F12DE6506C9C}"/>
              </c:ext>
            </c:extLst>
          </c:dPt>
          <c:dPt>
            <c:idx val="288"/>
            <c:invertIfNegative val="1"/>
            <c:bubble3D val="0"/>
            <c:spPr>
              <a:solidFill>
                <a:srgbClr val="AEABAB"/>
              </a:solidFill>
            </c:spPr>
            <c:extLst>
              <c:ext xmlns:c16="http://schemas.microsoft.com/office/drawing/2014/chart" uri="{C3380CC4-5D6E-409C-BE32-E72D297353CC}">
                <c16:uniqueId val="{00000243-2E72-45B7-B22B-F12DE6506C9C}"/>
              </c:ext>
            </c:extLst>
          </c:dPt>
          <c:dPt>
            <c:idx val="289"/>
            <c:invertIfNegative val="1"/>
            <c:bubble3D val="0"/>
            <c:spPr>
              <a:solidFill>
                <a:srgbClr val="AEABAB"/>
              </a:solidFill>
            </c:spPr>
            <c:extLst>
              <c:ext xmlns:c16="http://schemas.microsoft.com/office/drawing/2014/chart" uri="{C3380CC4-5D6E-409C-BE32-E72D297353CC}">
                <c16:uniqueId val="{00000245-2E72-45B7-B22B-F12DE6506C9C}"/>
              </c:ext>
            </c:extLst>
          </c:dPt>
          <c:dPt>
            <c:idx val="290"/>
            <c:invertIfNegative val="1"/>
            <c:bubble3D val="0"/>
            <c:spPr>
              <a:solidFill>
                <a:srgbClr val="AEABAB"/>
              </a:solidFill>
            </c:spPr>
            <c:extLst>
              <c:ext xmlns:c16="http://schemas.microsoft.com/office/drawing/2014/chart" uri="{C3380CC4-5D6E-409C-BE32-E72D297353CC}">
                <c16:uniqueId val="{00000247-2E72-45B7-B22B-F12DE6506C9C}"/>
              </c:ext>
            </c:extLst>
          </c:dPt>
          <c:dPt>
            <c:idx val="291"/>
            <c:invertIfNegative val="1"/>
            <c:bubble3D val="0"/>
            <c:spPr>
              <a:solidFill>
                <a:srgbClr val="AEABAB"/>
              </a:solidFill>
            </c:spPr>
            <c:extLst>
              <c:ext xmlns:c16="http://schemas.microsoft.com/office/drawing/2014/chart" uri="{C3380CC4-5D6E-409C-BE32-E72D297353CC}">
                <c16:uniqueId val="{00000249-2E72-45B7-B22B-F12DE6506C9C}"/>
              </c:ext>
            </c:extLst>
          </c:dPt>
          <c:dPt>
            <c:idx val="292"/>
            <c:invertIfNegative val="1"/>
            <c:bubble3D val="0"/>
            <c:spPr>
              <a:solidFill>
                <a:srgbClr val="AEABAB"/>
              </a:solidFill>
            </c:spPr>
            <c:extLst>
              <c:ext xmlns:c16="http://schemas.microsoft.com/office/drawing/2014/chart" uri="{C3380CC4-5D6E-409C-BE32-E72D297353CC}">
                <c16:uniqueId val="{0000024B-2E72-45B7-B22B-F12DE6506C9C}"/>
              </c:ext>
            </c:extLst>
          </c:dPt>
          <c:dPt>
            <c:idx val="293"/>
            <c:invertIfNegative val="1"/>
            <c:bubble3D val="0"/>
            <c:spPr>
              <a:solidFill>
                <a:srgbClr val="AEABAB"/>
              </a:solidFill>
            </c:spPr>
            <c:extLst>
              <c:ext xmlns:c16="http://schemas.microsoft.com/office/drawing/2014/chart" uri="{C3380CC4-5D6E-409C-BE32-E72D297353CC}">
                <c16:uniqueId val="{0000024D-2E72-45B7-B22B-F12DE6506C9C}"/>
              </c:ext>
            </c:extLst>
          </c:dPt>
          <c:dPt>
            <c:idx val="294"/>
            <c:invertIfNegative val="1"/>
            <c:bubble3D val="0"/>
            <c:spPr>
              <a:solidFill>
                <a:srgbClr val="AEABAB"/>
              </a:solidFill>
            </c:spPr>
            <c:extLst>
              <c:ext xmlns:c16="http://schemas.microsoft.com/office/drawing/2014/chart" uri="{C3380CC4-5D6E-409C-BE32-E72D297353CC}">
                <c16:uniqueId val="{0000024F-2E72-45B7-B22B-F12DE6506C9C}"/>
              </c:ext>
            </c:extLst>
          </c:dPt>
          <c:dPt>
            <c:idx val="295"/>
            <c:invertIfNegative val="1"/>
            <c:bubble3D val="0"/>
            <c:spPr>
              <a:solidFill>
                <a:srgbClr val="AEABAB"/>
              </a:solidFill>
            </c:spPr>
            <c:extLst>
              <c:ext xmlns:c16="http://schemas.microsoft.com/office/drawing/2014/chart" uri="{C3380CC4-5D6E-409C-BE32-E72D297353CC}">
                <c16:uniqueId val="{00000251-2E72-45B7-B22B-F12DE6506C9C}"/>
              </c:ext>
            </c:extLst>
          </c:dPt>
          <c:dPt>
            <c:idx val="296"/>
            <c:invertIfNegative val="1"/>
            <c:bubble3D val="0"/>
            <c:spPr>
              <a:solidFill>
                <a:srgbClr val="AEABAB"/>
              </a:solidFill>
            </c:spPr>
            <c:extLst>
              <c:ext xmlns:c16="http://schemas.microsoft.com/office/drawing/2014/chart" uri="{C3380CC4-5D6E-409C-BE32-E72D297353CC}">
                <c16:uniqueId val="{00000253-2E72-45B7-B22B-F12DE6506C9C}"/>
              </c:ext>
            </c:extLst>
          </c:dPt>
          <c:dPt>
            <c:idx val="297"/>
            <c:invertIfNegative val="1"/>
            <c:bubble3D val="0"/>
            <c:spPr>
              <a:solidFill>
                <a:srgbClr val="AEABAB"/>
              </a:solidFill>
            </c:spPr>
            <c:extLst>
              <c:ext xmlns:c16="http://schemas.microsoft.com/office/drawing/2014/chart" uri="{C3380CC4-5D6E-409C-BE32-E72D297353CC}">
                <c16:uniqueId val="{00000255-2E72-45B7-B22B-F12DE6506C9C}"/>
              </c:ext>
            </c:extLst>
          </c:dPt>
          <c:dPt>
            <c:idx val="298"/>
            <c:invertIfNegative val="1"/>
            <c:bubble3D val="0"/>
            <c:spPr>
              <a:solidFill>
                <a:srgbClr val="AEABAB"/>
              </a:solidFill>
            </c:spPr>
            <c:extLst>
              <c:ext xmlns:c16="http://schemas.microsoft.com/office/drawing/2014/chart" uri="{C3380CC4-5D6E-409C-BE32-E72D297353CC}">
                <c16:uniqueId val="{00000257-2E72-45B7-B22B-F12DE6506C9C}"/>
              </c:ext>
            </c:extLst>
          </c:dPt>
          <c:dPt>
            <c:idx val="299"/>
            <c:invertIfNegative val="1"/>
            <c:bubble3D val="0"/>
            <c:spPr>
              <a:solidFill>
                <a:srgbClr val="AEABAB"/>
              </a:solidFill>
            </c:spPr>
            <c:extLst>
              <c:ext xmlns:c16="http://schemas.microsoft.com/office/drawing/2014/chart" uri="{C3380CC4-5D6E-409C-BE32-E72D297353CC}">
                <c16:uniqueId val="{00000259-2E72-45B7-B22B-F12DE6506C9C}"/>
              </c:ext>
            </c:extLst>
          </c:dPt>
          <c:dPt>
            <c:idx val="300"/>
            <c:invertIfNegative val="1"/>
            <c:bubble3D val="0"/>
            <c:spPr>
              <a:solidFill>
                <a:srgbClr val="AEABAB"/>
              </a:solidFill>
            </c:spPr>
            <c:extLst>
              <c:ext xmlns:c16="http://schemas.microsoft.com/office/drawing/2014/chart" uri="{C3380CC4-5D6E-409C-BE32-E72D297353CC}">
                <c16:uniqueId val="{0000025B-2E72-45B7-B22B-F12DE6506C9C}"/>
              </c:ext>
            </c:extLst>
          </c:dPt>
          <c:dPt>
            <c:idx val="301"/>
            <c:invertIfNegative val="1"/>
            <c:bubble3D val="0"/>
            <c:spPr>
              <a:solidFill>
                <a:srgbClr val="AEABAB"/>
              </a:solidFill>
            </c:spPr>
            <c:extLst>
              <c:ext xmlns:c16="http://schemas.microsoft.com/office/drawing/2014/chart" uri="{C3380CC4-5D6E-409C-BE32-E72D297353CC}">
                <c16:uniqueId val="{0000025D-2E72-45B7-B22B-F12DE6506C9C}"/>
              </c:ext>
            </c:extLst>
          </c:dPt>
          <c:dPt>
            <c:idx val="302"/>
            <c:invertIfNegative val="1"/>
            <c:bubble3D val="0"/>
            <c:spPr>
              <a:solidFill>
                <a:srgbClr val="AEABAB"/>
              </a:solidFill>
            </c:spPr>
            <c:extLst>
              <c:ext xmlns:c16="http://schemas.microsoft.com/office/drawing/2014/chart" uri="{C3380CC4-5D6E-409C-BE32-E72D297353CC}">
                <c16:uniqueId val="{0000025F-2E72-45B7-B22B-F12DE6506C9C}"/>
              </c:ext>
            </c:extLst>
          </c:dPt>
          <c:dPt>
            <c:idx val="303"/>
            <c:invertIfNegative val="1"/>
            <c:bubble3D val="0"/>
            <c:spPr>
              <a:solidFill>
                <a:srgbClr val="AEABAB"/>
              </a:solidFill>
            </c:spPr>
            <c:extLst>
              <c:ext xmlns:c16="http://schemas.microsoft.com/office/drawing/2014/chart" uri="{C3380CC4-5D6E-409C-BE32-E72D297353CC}">
                <c16:uniqueId val="{00000261-2E72-45B7-B22B-F12DE6506C9C}"/>
              </c:ext>
            </c:extLst>
          </c:dPt>
          <c:dPt>
            <c:idx val="304"/>
            <c:invertIfNegative val="1"/>
            <c:bubble3D val="0"/>
            <c:spPr>
              <a:solidFill>
                <a:srgbClr val="AEABAB"/>
              </a:solidFill>
            </c:spPr>
            <c:extLst>
              <c:ext xmlns:c16="http://schemas.microsoft.com/office/drawing/2014/chart" uri="{C3380CC4-5D6E-409C-BE32-E72D297353CC}">
                <c16:uniqueId val="{00000263-2E72-45B7-B22B-F12DE6506C9C}"/>
              </c:ext>
            </c:extLst>
          </c:dPt>
          <c:dPt>
            <c:idx val="305"/>
            <c:invertIfNegative val="1"/>
            <c:bubble3D val="0"/>
            <c:spPr>
              <a:solidFill>
                <a:srgbClr val="AEABAB"/>
              </a:solidFill>
            </c:spPr>
            <c:extLst>
              <c:ext xmlns:c16="http://schemas.microsoft.com/office/drawing/2014/chart" uri="{C3380CC4-5D6E-409C-BE32-E72D297353CC}">
                <c16:uniqueId val="{00000265-2E72-45B7-B22B-F12DE6506C9C}"/>
              </c:ext>
            </c:extLst>
          </c:dPt>
          <c:dPt>
            <c:idx val="306"/>
            <c:invertIfNegative val="1"/>
            <c:bubble3D val="0"/>
            <c:spPr>
              <a:solidFill>
                <a:srgbClr val="AEABAB"/>
              </a:solidFill>
            </c:spPr>
            <c:extLst>
              <c:ext xmlns:c16="http://schemas.microsoft.com/office/drawing/2014/chart" uri="{C3380CC4-5D6E-409C-BE32-E72D297353CC}">
                <c16:uniqueId val="{00000267-2E72-45B7-B22B-F12DE6506C9C}"/>
              </c:ext>
            </c:extLst>
          </c:dPt>
          <c:dPt>
            <c:idx val="307"/>
            <c:invertIfNegative val="1"/>
            <c:bubble3D val="0"/>
            <c:spPr>
              <a:solidFill>
                <a:srgbClr val="AEABAB"/>
              </a:solidFill>
            </c:spPr>
            <c:extLst>
              <c:ext xmlns:c16="http://schemas.microsoft.com/office/drawing/2014/chart" uri="{C3380CC4-5D6E-409C-BE32-E72D297353CC}">
                <c16:uniqueId val="{00000269-2E72-45B7-B22B-F12DE6506C9C}"/>
              </c:ext>
            </c:extLst>
          </c:dPt>
          <c:dPt>
            <c:idx val="308"/>
            <c:invertIfNegative val="1"/>
            <c:bubble3D val="0"/>
            <c:spPr>
              <a:solidFill>
                <a:srgbClr val="AEABAB"/>
              </a:solidFill>
            </c:spPr>
            <c:extLst>
              <c:ext xmlns:c16="http://schemas.microsoft.com/office/drawing/2014/chart" uri="{C3380CC4-5D6E-409C-BE32-E72D297353CC}">
                <c16:uniqueId val="{0000026B-2E72-45B7-B22B-F12DE6506C9C}"/>
              </c:ext>
            </c:extLst>
          </c:dPt>
          <c:dPt>
            <c:idx val="309"/>
            <c:invertIfNegative val="1"/>
            <c:bubble3D val="0"/>
            <c:spPr>
              <a:solidFill>
                <a:srgbClr val="AEABAB"/>
              </a:solidFill>
            </c:spPr>
            <c:extLst>
              <c:ext xmlns:c16="http://schemas.microsoft.com/office/drawing/2014/chart" uri="{C3380CC4-5D6E-409C-BE32-E72D297353CC}">
                <c16:uniqueId val="{0000026D-2E72-45B7-B22B-F12DE6506C9C}"/>
              </c:ext>
            </c:extLst>
          </c:dPt>
          <c:dPt>
            <c:idx val="310"/>
            <c:invertIfNegative val="1"/>
            <c:bubble3D val="0"/>
            <c:spPr>
              <a:solidFill>
                <a:srgbClr val="AEABAB"/>
              </a:solidFill>
            </c:spPr>
            <c:extLst>
              <c:ext xmlns:c16="http://schemas.microsoft.com/office/drawing/2014/chart" uri="{C3380CC4-5D6E-409C-BE32-E72D297353CC}">
                <c16:uniqueId val="{0000026F-2E72-45B7-B22B-F12DE6506C9C}"/>
              </c:ext>
            </c:extLst>
          </c:dPt>
          <c:dPt>
            <c:idx val="311"/>
            <c:invertIfNegative val="1"/>
            <c:bubble3D val="0"/>
            <c:spPr>
              <a:solidFill>
                <a:srgbClr val="AEABAB"/>
              </a:solidFill>
            </c:spPr>
            <c:extLst>
              <c:ext xmlns:c16="http://schemas.microsoft.com/office/drawing/2014/chart" uri="{C3380CC4-5D6E-409C-BE32-E72D297353CC}">
                <c16:uniqueId val="{00000271-2E72-45B7-B22B-F12DE6506C9C}"/>
              </c:ext>
            </c:extLst>
          </c:dPt>
          <c:dPt>
            <c:idx val="312"/>
            <c:invertIfNegative val="1"/>
            <c:bubble3D val="0"/>
            <c:spPr>
              <a:solidFill>
                <a:srgbClr val="AEABAB"/>
              </a:solidFill>
            </c:spPr>
            <c:extLst>
              <c:ext xmlns:c16="http://schemas.microsoft.com/office/drawing/2014/chart" uri="{C3380CC4-5D6E-409C-BE32-E72D297353CC}">
                <c16:uniqueId val="{00000273-2E72-45B7-B22B-F12DE6506C9C}"/>
              </c:ext>
            </c:extLst>
          </c:dPt>
          <c:dPt>
            <c:idx val="313"/>
            <c:invertIfNegative val="1"/>
            <c:bubble3D val="0"/>
            <c:spPr>
              <a:solidFill>
                <a:srgbClr val="AEABAB"/>
              </a:solidFill>
            </c:spPr>
            <c:extLst>
              <c:ext xmlns:c16="http://schemas.microsoft.com/office/drawing/2014/chart" uri="{C3380CC4-5D6E-409C-BE32-E72D297353CC}">
                <c16:uniqueId val="{00000275-2E72-45B7-B22B-F12DE6506C9C}"/>
              </c:ext>
            </c:extLst>
          </c:dPt>
          <c:dPt>
            <c:idx val="314"/>
            <c:invertIfNegative val="1"/>
            <c:bubble3D val="0"/>
            <c:spPr>
              <a:solidFill>
                <a:srgbClr val="AEABAB"/>
              </a:solidFill>
            </c:spPr>
            <c:extLst>
              <c:ext xmlns:c16="http://schemas.microsoft.com/office/drawing/2014/chart" uri="{C3380CC4-5D6E-409C-BE32-E72D297353CC}">
                <c16:uniqueId val="{00000277-2E72-45B7-B22B-F12DE6506C9C}"/>
              </c:ext>
            </c:extLst>
          </c:dPt>
          <c:dPt>
            <c:idx val="315"/>
            <c:invertIfNegative val="1"/>
            <c:bubble3D val="0"/>
            <c:spPr>
              <a:solidFill>
                <a:srgbClr val="AEABAB"/>
              </a:solidFill>
            </c:spPr>
            <c:extLst>
              <c:ext xmlns:c16="http://schemas.microsoft.com/office/drawing/2014/chart" uri="{C3380CC4-5D6E-409C-BE32-E72D297353CC}">
                <c16:uniqueId val="{00000279-2E72-45B7-B22B-F12DE6506C9C}"/>
              </c:ext>
            </c:extLst>
          </c:dPt>
          <c:dPt>
            <c:idx val="316"/>
            <c:invertIfNegative val="1"/>
            <c:bubble3D val="0"/>
            <c:spPr>
              <a:solidFill>
                <a:srgbClr val="AEABAB"/>
              </a:solidFill>
            </c:spPr>
            <c:extLst>
              <c:ext xmlns:c16="http://schemas.microsoft.com/office/drawing/2014/chart" uri="{C3380CC4-5D6E-409C-BE32-E72D297353CC}">
                <c16:uniqueId val="{0000027B-2E72-45B7-B22B-F12DE6506C9C}"/>
              </c:ext>
            </c:extLst>
          </c:dPt>
          <c:dPt>
            <c:idx val="317"/>
            <c:invertIfNegative val="1"/>
            <c:bubble3D val="0"/>
            <c:spPr>
              <a:solidFill>
                <a:srgbClr val="AEABAB"/>
              </a:solidFill>
            </c:spPr>
            <c:extLst>
              <c:ext xmlns:c16="http://schemas.microsoft.com/office/drawing/2014/chart" uri="{C3380CC4-5D6E-409C-BE32-E72D297353CC}">
                <c16:uniqueId val="{0000027D-2E72-45B7-B22B-F12DE6506C9C}"/>
              </c:ext>
            </c:extLst>
          </c:dPt>
          <c:dPt>
            <c:idx val="318"/>
            <c:invertIfNegative val="1"/>
            <c:bubble3D val="0"/>
            <c:spPr>
              <a:solidFill>
                <a:srgbClr val="AEABAB"/>
              </a:solidFill>
            </c:spPr>
            <c:extLst>
              <c:ext xmlns:c16="http://schemas.microsoft.com/office/drawing/2014/chart" uri="{C3380CC4-5D6E-409C-BE32-E72D297353CC}">
                <c16:uniqueId val="{0000027F-2E72-45B7-B22B-F12DE6506C9C}"/>
              </c:ext>
            </c:extLst>
          </c:dPt>
          <c:dPt>
            <c:idx val="319"/>
            <c:invertIfNegative val="1"/>
            <c:bubble3D val="0"/>
            <c:spPr>
              <a:solidFill>
                <a:srgbClr val="AEABAB"/>
              </a:solidFill>
            </c:spPr>
            <c:extLst>
              <c:ext xmlns:c16="http://schemas.microsoft.com/office/drawing/2014/chart" uri="{C3380CC4-5D6E-409C-BE32-E72D297353CC}">
                <c16:uniqueId val="{00000281-2E72-45B7-B22B-F12DE6506C9C}"/>
              </c:ext>
            </c:extLst>
          </c:dPt>
          <c:dPt>
            <c:idx val="320"/>
            <c:invertIfNegative val="1"/>
            <c:bubble3D val="0"/>
            <c:spPr>
              <a:solidFill>
                <a:srgbClr val="AEABAB"/>
              </a:solidFill>
            </c:spPr>
            <c:extLst>
              <c:ext xmlns:c16="http://schemas.microsoft.com/office/drawing/2014/chart" uri="{C3380CC4-5D6E-409C-BE32-E72D297353CC}">
                <c16:uniqueId val="{00000283-2E72-45B7-B22B-F12DE6506C9C}"/>
              </c:ext>
            </c:extLst>
          </c:dPt>
          <c:dPt>
            <c:idx val="321"/>
            <c:invertIfNegative val="1"/>
            <c:bubble3D val="0"/>
            <c:spPr>
              <a:solidFill>
                <a:srgbClr val="AEABAB"/>
              </a:solidFill>
            </c:spPr>
            <c:extLst>
              <c:ext xmlns:c16="http://schemas.microsoft.com/office/drawing/2014/chart" uri="{C3380CC4-5D6E-409C-BE32-E72D297353CC}">
                <c16:uniqueId val="{00000285-2E72-45B7-B22B-F12DE6506C9C}"/>
              </c:ext>
            </c:extLst>
          </c:dPt>
          <c:dPt>
            <c:idx val="322"/>
            <c:invertIfNegative val="1"/>
            <c:bubble3D val="0"/>
            <c:spPr>
              <a:solidFill>
                <a:srgbClr val="AEABAB"/>
              </a:solidFill>
            </c:spPr>
            <c:extLst>
              <c:ext xmlns:c16="http://schemas.microsoft.com/office/drawing/2014/chart" uri="{C3380CC4-5D6E-409C-BE32-E72D297353CC}">
                <c16:uniqueId val="{00000287-2E72-45B7-B22B-F12DE6506C9C}"/>
              </c:ext>
            </c:extLst>
          </c:dPt>
          <c:dPt>
            <c:idx val="323"/>
            <c:invertIfNegative val="1"/>
            <c:bubble3D val="0"/>
            <c:spPr>
              <a:solidFill>
                <a:srgbClr val="AEABAB"/>
              </a:solidFill>
            </c:spPr>
            <c:extLst>
              <c:ext xmlns:c16="http://schemas.microsoft.com/office/drawing/2014/chart" uri="{C3380CC4-5D6E-409C-BE32-E72D297353CC}">
                <c16:uniqueId val="{00000289-2E72-45B7-B22B-F12DE6506C9C}"/>
              </c:ext>
            </c:extLst>
          </c:dPt>
          <c:dPt>
            <c:idx val="324"/>
            <c:invertIfNegative val="1"/>
            <c:bubble3D val="0"/>
            <c:spPr>
              <a:solidFill>
                <a:srgbClr val="AEABAB"/>
              </a:solidFill>
            </c:spPr>
            <c:extLst>
              <c:ext xmlns:c16="http://schemas.microsoft.com/office/drawing/2014/chart" uri="{C3380CC4-5D6E-409C-BE32-E72D297353CC}">
                <c16:uniqueId val="{0000028B-2E72-45B7-B22B-F12DE6506C9C}"/>
              </c:ext>
            </c:extLst>
          </c:dPt>
          <c:dPt>
            <c:idx val="325"/>
            <c:invertIfNegative val="1"/>
            <c:bubble3D val="0"/>
            <c:spPr>
              <a:solidFill>
                <a:srgbClr val="AEABAB"/>
              </a:solidFill>
            </c:spPr>
            <c:extLst>
              <c:ext xmlns:c16="http://schemas.microsoft.com/office/drawing/2014/chart" uri="{C3380CC4-5D6E-409C-BE32-E72D297353CC}">
                <c16:uniqueId val="{0000028D-2E72-45B7-B22B-F12DE6506C9C}"/>
              </c:ext>
            </c:extLst>
          </c:dPt>
          <c:dPt>
            <c:idx val="326"/>
            <c:invertIfNegative val="1"/>
            <c:bubble3D val="0"/>
            <c:spPr>
              <a:solidFill>
                <a:srgbClr val="AEABAB"/>
              </a:solidFill>
            </c:spPr>
            <c:extLst>
              <c:ext xmlns:c16="http://schemas.microsoft.com/office/drawing/2014/chart" uri="{C3380CC4-5D6E-409C-BE32-E72D297353CC}">
                <c16:uniqueId val="{0000028F-2E72-45B7-B22B-F12DE6506C9C}"/>
              </c:ext>
            </c:extLst>
          </c:dPt>
          <c:dPt>
            <c:idx val="327"/>
            <c:invertIfNegative val="1"/>
            <c:bubble3D val="0"/>
            <c:spPr>
              <a:solidFill>
                <a:srgbClr val="AEABAB"/>
              </a:solidFill>
            </c:spPr>
            <c:extLst>
              <c:ext xmlns:c16="http://schemas.microsoft.com/office/drawing/2014/chart" uri="{C3380CC4-5D6E-409C-BE32-E72D297353CC}">
                <c16:uniqueId val="{00000291-2E72-45B7-B22B-F12DE6506C9C}"/>
              </c:ext>
            </c:extLst>
          </c:dPt>
          <c:dPt>
            <c:idx val="328"/>
            <c:invertIfNegative val="1"/>
            <c:bubble3D val="0"/>
            <c:spPr>
              <a:solidFill>
                <a:srgbClr val="AEABAB"/>
              </a:solidFill>
            </c:spPr>
            <c:extLst>
              <c:ext xmlns:c16="http://schemas.microsoft.com/office/drawing/2014/chart" uri="{C3380CC4-5D6E-409C-BE32-E72D297353CC}">
                <c16:uniqueId val="{00000293-2E72-45B7-B22B-F12DE6506C9C}"/>
              </c:ext>
            </c:extLst>
          </c:dPt>
          <c:dPt>
            <c:idx val="329"/>
            <c:invertIfNegative val="1"/>
            <c:bubble3D val="0"/>
            <c:spPr>
              <a:solidFill>
                <a:srgbClr val="AEABAB"/>
              </a:solidFill>
            </c:spPr>
            <c:extLst>
              <c:ext xmlns:c16="http://schemas.microsoft.com/office/drawing/2014/chart" uri="{C3380CC4-5D6E-409C-BE32-E72D297353CC}">
                <c16:uniqueId val="{00000295-2E72-45B7-B22B-F12DE6506C9C}"/>
              </c:ext>
            </c:extLst>
          </c:dPt>
          <c:dPt>
            <c:idx val="330"/>
            <c:invertIfNegative val="1"/>
            <c:bubble3D val="0"/>
            <c:spPr>
              <a:solidFill>
                <a:srgbClr val="AEABAB"/>
              </a:solidFill>
            </c:spPr>
            <c:extLst>
              <c:ext xmlns:c16="http://schemas.microsoft.com/office/drawing/2014/chart" uri="{C3380CC4-5D6E-409C-BE32-E72D297353CC}">
                <c16:uniqueId val="{00000297-2E72-45B7-B22B-F12DE6506C9C}"/>
              </c:ext>
            </c:extLst>
          </c:dPt>
          <c:dPt>
            <c:idx val="331"/>
            <c:invertIfNegative val="1"/>
            <c:bubble3D val="0"/>
            <c:spPr>
              <a:solidFill>
                <a:srgbClr val="AEABAB"/>
              </a:solidFill>
            </c:spPr>
            <c:extLst>
              <c:ext xmlns:c16="http://schemas.microsoft.com/office/drawing/2014/chart" uri="{C3380CC4-5D6E-409C-BE32-E72D297353CC}">
                <c16:uniqueId val="{00000299-2E72-45B7-B22B-F12DE6506C9C}"/>
              </c:ext>
            </c:extLst>
          </c:dPt>
          <c:dPt>
            <c:idx val="332"/>
            <c:invertIfNegative val="1"/>
            <c:bubble3D val="0"/>
            <c:spPr>
              <a:solidFill>
                <a:srgbClr val="AEABAB"/>
              </a:solidFill>
            </c:spPr>
            <c:extLst>
              <c:ext xmlns:c16="http://schemas.microsoft.com/office/drawing/2014/chart" uri="{C3380CC4-5D6E-409C-BE32-E72D297353CC}">
                <c16:uniqueId val="{0000029B-2E72-45B7-B22B-F12DE6506C9C}"/>
              </c:ext>
            </c:extLst>
          </c:dPt>
          <c:dPt>
            <c:idx val="333"/>
            <c:invertIfNegative val="1"/>
            <c:bubble3D val="0"/>
            <c:spPr>
              <a:solidFill>
                <a:srgbClr val="AEABAB"/>
              </a:solidFill>
            </c:spPr>
            <c:extLst>
              <c:ext xmlns:c16="http://schemas.microsoft.com/office/drawing/2014/chart" uri="{C3380CC4-5D6E-409C-BE32-E72D297353CC}">
                <c16:uniqueId val="{0000029D-2E72-45B7-B22B-F12DE6506C9C}"/>
              </c:ext>
            </c:extLst>
          </c:dPt>
          <c:dPt>
            <c:idx val="334"/>
            <c:invertIfNegative val="1"/>
            <c:bubble3D val="0"/>
            <c:spPr>
              <a:solidFill>
                <a:srgbClr val="AEABAB"/>
              </a:solidFill>
            </c:spPr>
            <c:extLst>
              <c:ext xmlns:c16="http://schemas.microsoft.com/office/drawing/2014/chart" uri="{C3380CC4-5D6E-409C-BE32-E72D297353CC}">
                <c16:uniqueId val="{0000029F-2E72-45B7-B22B-F12DE6506C9C}"/>
              </c:ext>
            </c:extLst>
          </c:dPt>
          <c:dPt>
            <c:idx val="335"/>
            <c:invertIfNegative val="1"/>
            <c:bubble3D val="0"/>
            <c:spPr>
              <a:solidFill>
                <a:srgbClr val="AEABAB"/>
              </a:solidFill>
            </c:spPr>
            <c:extLst>
              <c:ext xmlns:c16="http://schemas.microsoft.com/office/drawing/2014/chart" uri="{C3380CC4-5D6E-409C-BE32-E72D297353CC}">
                <c16:uniqueId val="{000002A1-2E72-45B7-B22B-F12DE6506C9C}"/>
              </c:ext>
            </c:extLst>
          </c:dPt>
          <c:dPt>
            <c:idx val="336"/>
            <c:invertIfNegative val="1"/>
            <c:bubble3D val="0"/>
            <c:spPr>
              <a:solidFill>
                <a:srgbClr val="AEABAB"/>
              </a:solidFill>
            </c:spPr>
            <c:extLst>
              <c:ext xmlns:c16="http://schemas.microsoft.com/office/drawing/2014/chart" uri="{C3380CC4-5D6E-409C-BE32-E72D297353CC}">
                <c16:uniqueId val="{000002A3-2E72-45B7-B22B-F12DE6506C9C}"/>
              </c:ext>
            </c:extLst>
          </c:dPt>
          <c:dPt>
            <c:idx val="337"/>
            <c:invertIfNegative val="1"/>
            <c:bubble3D val="0"/>
            <c:spPr>
              <a:solidFill>
                <a:srgbClr val="AEABAB"/>
              </a:solidFill>
            </c:spPr>
            <c:extLst>
              <c:ext xmlns:c16="http://schemas.microsoft.com/office/drawing/2014/chart" uri="{C3380CC4-5D6E-409C-BE32-E72D297353CC}">
                <c16:uniqueId val="{000002A5-2E72-45B7-B22B-F12DE6506C9C}"/>
              </c:ext>
            </c:extLst>
          </c:dPt>
          <c:dPt>
            <c:idx val="338"/>
            <c:invertIfNegative val="1"/>
            <c:bubble3D val="0"/>
            <c:spPr>
              <a:solidFill>
                <a:srgbClr val="AEABAB"/>
              </a:solidFill>
            </c:spPr>
            <c:extLst>
              <c:ext xmlns:c16="http://schemas.microsoft.com/office/drawing/2014/chart" uri="{C3380CC4-5D6E-409C-BE32-E72D297353CC}">
                <c16:uniqueId val="{000002A7-2E72-45B7-B22B-F12DE6506C9C}"/>
              </c:ext>
            </c:extLst>
          </c:dPt>
          <c:dPt>
            <c:idx val="339"/>
            <c:invertIfNegative val="1"/>
            <c:bubble3D val="0"/>
            <c:spPr>
              <a:solidFill>
                <a:srgbClr val="AEABAB"/>
              </a:solidFill>
            </c:spPr>
            <c:extLst>
              <c:ext xmlns:c16="http://schemas.microsoft.com/office/drawing/2014/chart" uri="{C3380CC4-5D6E-409C-BE32-E72D297353CC}">
                <c16:uniqueId val="{000002A9-2E72-45B7-B22B-F12DE6506C9C}"/>
              </c:ext>
            </c:extLst>
          </c:dPt>
          <c:dPt>
            <c:idx val="340"/>
            <c:invertIfNegative val="1"/>
            <c:bubble3D val="0"/>
            <c:spPr>
              <a:solidFill>
                <a:srgbClr val="AEABAB"/>
              </a:solidFill>
            </c:spPr>
            <c:extLst>
              <c:ext xmlns:c16="http://schemas.microsoft.com/office/drawing/2014/chart" uri="{C3380CC4-5D6E-409C-BE32-E72D297353CC}">
                <c16:uniqueId val="{000002AB-2E72-45B7-B22B-F12DE6506C9C}"/>
              </c:ext>
            </c:extLst>
          </c:dPt>
          <c:dPt>
            <c:idx val="341"/>
            <c:invertIfNegative val="1"/>
            <c:bubble3D val="0"/>
            <c:spPr>
              <a:solidFill>
                <a:srgbClr val="AEABAB"/>
              </a:solidFill>
            </c:spPr>
            <c:extLst>
              <c:ext xmlns:c16="http://schemas.microsoft.com/office/drawing/2014/chart" uri="{C3380CC4-5D6E-409C-BE32-E72D297353CC}">
                <c16:uniqueId val="{000002AD-2E72-45B7-B22B-F12DE6506C9C}"/>
              </c:ext>
            </c:extLst>
          </c:dPt>
          <c:dPt>
            <c:idx val="342"/>
            <c:invertIfNegative val="1"/>
            <c:bubble3D val="0"/>
            <c:spPr>
              <a:solidFill>
                <a:srgbClr val="AEABAB"/>
              </a:solidFill>
            </c:spPr>
            <c:extLst>
              <c:ext xmlns:c16="http://schemas.microsoft.com/office/drawing/2014/chart" uri="{C3380CC4-5D6E-409C-BE32-E72D297353CC}">
                <c16:uniqueId val="{000002AF-2E72-45B7-B22B-F12DE6506C9C}"/>
              </c:ext>
            </c:extLst>
          </c:dPt>
          <c:dPt>
            <c:idx val="343"/>
            <c:invertIfNegative val="1"/>
            <c:bubble3D val="0"/>
            <c:spPr>
              <a:solidFill>
                <a:srgbClr val="AEABAB"/>
              </a:solidFill>
            </c:spPr>
            <c:extLst>
              <c:ext xmlns:c16="http://schemas.microsoft.com/office/drawing/2014/chart" uri="{C3380CC4-5D6E-409C-BE32-E72D297353CC}">
                <c16:uniqueId val="{000002B1-2E72-45B7-B22B-F12DE6506C9C}"/>
              </c:ext>
            </c:extLst>
          </c:dPt>
          <c:dPt>
            <c:idx val="344"/>
            <c:invertIfNegative val="1"/>
            <c:bubble3D val="0"/>
            <c:spPr>
              <a:solidFill>
                <a:srgbClr val="AEABAB"/>
              </a:solidFill>
            </c:spPr>
            <c:extLst>
              <c:ext xmlns:c16="http://schemas.microsoft.com/office/drawing/2014/chart" uri="{C3380CC4-5D6E-409C-BE32-E72D297353CC}">
                <c16:uniqueId val="{000002B3-2E72-45B7-B22B-F12DE6506C9C}"/>
              </c:ext>
            </c:extLst>
          </c:dPt>
          <c:dPt>
            <c:idx val="345"/>
            <c:invertIfNegative val="1"/>
            <c:bubble3D val="0"/>
            <c:spPr>
              <a:solidFill>
                <a:srgbClr val="AEABAB"/>
              </a:solidFill>
            </c:spPr>
            <c:extLst>
              <c:ext xmlns:c16="http://schemas.microsoft.com/office/drawing/2014/chart" uri="{C3380CC4-5D6E-409C-BE32-E72D297353CC}">
                <c16:uniqueId val="{000002B5-2E72-45B7-B22B-F12DE6506C9C}"/>
              </c:ext>
            </c:extLst>
          </c:dPt>
          <c:dPt>
            <c:idx val="346"/>
            <c:invertIfNegative val="1"/>
            <c:bubble3D val="0"/>
            <c:spPr>
              <a:solidFill>
                <a:srgbClr val="AEABAB"/>
              </a:solidFill>
            </c:spPr>
            <c:extLst>
              <c:ext xmlns:c16="http://schemas.microsoft.com/office/drawing/2014/chart" uri="{C3380CC4-5D6E-409C-BE32-E72D297353CC}">
                <c16:uniqueId val="{000002B7-2E72-45B7-B22B-F12DE6506C9C}"/>
              </c:ext>
            </c:extLst>
          </c:dPt>
          <c:dPt>
            <c:idx val="347"/>
            <c:invertIfNegative val="1"/>
            <c:bubble3D val="0"/>
            <c:spPr>
              <a:solidFill>
                <a:srgbClr val="AEABAB"/>
              </a:solidFill>
            </c:spPr>
            <c:extLst>
              <c:ext xmlns:c16="http://schemas.microsoft.com/office/drawing/2014/chart" uri="{C3380CC4-5D6E-409C-BE32-E72D297353CC}">
                <c16:uniqueId val="{000002B9-2E72-45B7-B22B-F12DE6506C9C}"/>
              </c:ext>
            </c:extLst>
          </c:dPt>
          <c:dPt>
            <c:idx val="348"/>
            <c:invertIfNegative val="1"/>
            <c:bubble3D val="0"/>
            <c:spPr>
              <a:solidFill>
                <a:srgbClr val="AEABAB"/>
              </a:solidFill>
            </c:spPr>
            <c:extLst>
              <c:ext xmlns:c16="http://schemas.microsoft.com/office/drawing/2014/chart" uri="{C3380CC4-5D6E-409C-BE32-E72D297353CC}">
                <c16:uniqueId val="{000002BB-2E72-45B7-B22B-F12DE6506C9C}"/>
              </c:ext>
            </c:extLst>
          </c:dPt>
          <c:dPt>
            <c:idx val="349"/>
            <c:invertIfNegative val="1"/>
            <c:bubble3D val="0"/>
            <c:spPr>
              <a:solidFill>
                <a:srgbClr val="AEABAB"/>
              </a:solidFill>
            </c:spPr>
            <c:extLst>
              <c:ext xmlns:c16="http://schemas.microsoft.com/office/drawing/2014/chart" uri="{C3380CC4-5D6E-409C-BE32-E72D297353CC}">
                <c16:uniqueId val="{000002BD-2E72-45B7-B22B-F12DE6506C9C}"/>
              </c:ext>
            </c:extLst>
          </c:dPt>
          <c:dPt>
            <c:idx val="350"/>
            <c:invertIfNegative val="1"/>
            <c:bubble3D val="0"/>
            <c:spPr>
              <a:solidFill>
                <a:srgbClr val="AEABAB"/>
              </a:solidFill>
            </c:spPr>
            <c:extLst>
              <c:ext xmlns:c16="http://schemas.microsoft.com/office/drawing/2014/chart" uri="{C3380CC4-5D6E-409C-BE32-E72D297353CC}">
                <c16:uniqueId val="{000002BF-2E72-45B7-B22B-F12DE6506C9C}"/>
              </c:ext>
            </c:extLst>
          </c:dPt>
          <c:dPt>
            <c:idx val="351"/>
            <c:invertIfNegative val="1"/>
            <c:bubble3D val="0"/>
            <c:spPr>
              <a:solidFill>
                <a:srgbClr val="AEABAB"/>
              </a:solidFill>
            </c:spPr>
            <c:extLst>
              <c:ext xmlns:c16="http://schemas.microsoft.com/office/drawing/2014/chart" uri="{C3380CC4-5D6E-409C-BE32-E72D297353CC}">
                <c16:uniqueId val="{000002C1-2E72-45B7-B22B-F12DE6506C9C}"/>
              </c:ext>
            </c:extLst>
          </c:dPt>
          <c:dPt>
            <c:idx val="352"/>
            <c:invertIfNegative val="1"/>
            <c:bubble3D val="0"/>
            <c:spPr>
              <a:solidFill>
                <a:srgbClr val="AEABAB"/>
              </a:solidFill>
            </c:spPr>
            <c:extLst>
              <c:ext xmlns:c16="http://schemas.microsoft.com/office/drawing/2014/chart" uri="{C3380CC4-5D6E-409C-BE32-E72D297353CC}">
                <c16:uniqueId val="{000002C3-2E72-45B7-B22B-F12DE6506C9C}"/>
              </c:ext>
            </c:extLst>
          </c:dPt>
          <c:dPt>
            <c:idx val="353"/>
            <c:invertIfNegative val="1"/>
            <c:bubble3D val="0"/>
            <c:spPr>
              <a:solidFill>
                <a:srgbClr val="AEABAB"/>
              </a:solidFill>
            </c:spPr>
            <c:extLst>
              <c:ext xmlns:c16="http://schemas.microsoft.com/office/drawing/2014/chart" uri="{C3380CC4-5D6E-409C-BE32-E72D297353CC}">
                <c16:uniqueId val="{000002C5-2E72-45B7-B22B-F12DE6506C9C}"/>
              </c:ext>
            </c:extLst>
          </c:dPt>
          <c:dPt>
            <c:idx val="354"/>
            <c:invertIfNegative val="1"/>
            <c:bubble3D val="0"/>
            <c:spPr>
              <a:solidFill>
                <a:srgbClr val="AEABAB"/>
              </a:solidFill>
            </c:spPr>
            <c:extLst>
              <c:ext xmlns:c16="http://schemas.microsoft.com/office/drawing/2014/chart" uri="{C3380CC4-5D6E-409C-BE32-E72D297353CC}">
                <c16:uniqueId val="{000002C7-2E72-45B7-B22B-F12DE6506C9C}"/>
              </c:ext>
            </c:extLst>
          </c:dPt>
          <c:dPt>
            <c:idx val="355"/>
            <c:invertIfNegative val="1"/>
            <c:bubble3D val="0"/>
            <c:spPr>
              <a:solidFill>
                <a:srgbClr val="AEABAB"/>
              </a:solidFill>
            </c:spPr>
            <c:extLst>
              <c:ext xmlns:c16="http://schemas.microsoft.com/office/drawing/2014/chart" uri="{C3380CC4-5D6E-409C-BE32-E72D297353CC}">
                <c16:uniqueId val="{000002C9-2E72-45B7-B22B-F12DE6506C9C}"/>
              </c:ext>
            </c:extLst>
          </c:dPt>
          <c:dPt>
            <c:idx val="356"/>
            <c:invertIfNegative val="1"/>
            <c:bubble3D val="0"/>
            <c:spPr>
              <a:solidFill>
                <a:srgbClr val="AEABAB"/>
              </a:solidFill>
            </c:spPr>
            <c:extLst>
              <c:ext xmlns:c16="http://schemas.microsoft.com/office/drawing/2014/chart" uri="{C3380CC4-5D6E-409C-BE32-E72D297353CC}">
                <c16:uniqueId val="{000002CB-2E72-45B7-B22B-F12DE6506C9C}"/>
              </c:ext>
            </c:extLst>
          </c:dPt>
          <c:dPt>
            <c:idx val="357"/>
            <c:invertIfNegative val="1"/>
            <c:bubble3D val="0"/>
            <c:spPr>
              <a:solidFill>
                <a:srgbClr val="AEABAB"/>
              </a:solidFill>
            </c:spPr>
            <c:extLst>
              <c:ext xmlns:c16="http://schemas.microsoft.com/office/drawing/2014/chart" uri="{C3380CC4-5D6E-409C-BE32-E72D297353CC}">
                <c16:uniqueId val="{000002CD-2E72-45B7-B22B-F12DE6506C9C}"/>
              </c:ext>
            </c:extLst>
          </c:dPt>
          <c:dPt>
            <c:idx val="358"/>
            <c:invertIfNegative val="1"/>
            <c:bubble3D val="0"/>
            <c:spPr>
              <a:solidFill>
                <a:srgbClr val="AEABAB"/>
              </a:solidFill>
            </c:spPr>
            <c:extLst>
              <c:ext xmlns:c16="http://schemas.microsoft.com/office/drawing/2014/chart" uri="{C3380CC4-5D6E-409C-BE32-E72D297353CC}">
                <c16:uniqueId val="{000002CF-2E72-45B7-B22B-F12DE6506C9C}"/>
              </c:ext>
            </c:extLst>
          </c:dPt>
          <c:dPt>
            <c:idx val="359"/>
            <c:invertIfNegative val="1"/>
            <c:bubble3D val="0"/>
            <c:spPr>
              <a:solidFill>
                <a:srgbClr val="AEABAB"/>
              </a:solidFill>
            </c:spPr>
            <c:extLst>
              <c:ext xmlns:c16="http://schemas.microsoft.com/office/drawing/2014/chart" uri="{C3380CC4-5D6E-409C-BE32-E72D297353CC}">
                <c16:uniqueId val="{000002D1-2E72-45B7-B22B-F12DE6506C9C}"/>
              </c:ext>
            </c:extLst>
          </c:dPt>
          <c:dPt>
            <c:idx val="360"/>
            <c:invertIfNegative val="1"/>
            <c:bubble3D val="0"/>
            <c:spPr>
              <a:solidFill>
                <a:srgbClr val="AEABAB"/>
              </a:solidFill>
            </c:spPr>
            <c:extLst>
              <c:ext xmlns:c16="http://schemas.microsoft.com/office/drawing/2014/chart" uri="{C3380CC4-5D6E-409C-BE32-E72D297353CC}">
                <c16:uniqueId val="{000002D3-2E72-45B7-B22B-F12DE6506C9C}"/>
              </c:ext>
            </c:extLst>
          </c:dPt>
          <c:dPt>
            <c:idx val="361"/>
            <c:invertIfNegative val="1"/>
            <c:bubble3D val="0"/>
            <c:spPr>
              <a:solidFill>
                <a:srgbClr val="AEABAB"/>
              </a:solidFill>
            </c:spPr>
            <c:extLst>
              <c:ext xmlns:c16="http://schemas.microsoft.com/office/drawing/2014/chart" uri="{C3380CC4-5D6E-409C-BE32-E72D297353CC}">
                <c16:uniqueId val="{000002D5-2E72-45B7-B22B-F12DE6506C9C}"/>
              </c:ext>
            </c:extLst>
          </c:dPt>
          <c:dPt>
            <c:idx val="362"/>
            <c:invertIfNegative val="1"/>
            <c:bubble3D val="0"/>
            <c:spPr>
              <a:solidFill>
                <a:srgbClr val="AEABAB"/>
              </a:solidFill>
            </c:spPr>
            <c:extLst>
              <c:ext xmlns:c16="http://schemas.microsoft.com/office/drawing/2014/chart" uri="{C3380CC4-5D6E-409C-BE32-E72D297353CC}">
                <c16:uniqueId val="{000002D7-2E72-45B7-B22B-F12DE6506C9C}"/>
              </c:ext>
            </c:extLst>
          </c:dPt>
          <c:dPt>
            <c:idx val="363"/>
            <c:invertIfNegative val="1"/>
            <c:bubble3D val="0"/>
            <c:spPr>
              <a:solidFill>
                <a:srgbClr val="AEABAB"/>
              </a:solidFill>
            </c:spPr>
            <c:extLst>
              <c:ext xmlns:c16="http://schemas.microsoft.com/office/drawing/2014/chart" uri="{C3380CC4-5D6E-409C-BE32-E72D297353CC}">
                <c16:uniqueId val="{000002D9-2E72-45B7-B22B-F12DE6506C9C}"/>
              </c:ext>
            </c:extLst>
          </c:dPt>
          <c:dPt>
            <c:idx val="364"/>
            <c:invertIfNegative val="1"/>
            <c:bubble3D val="0"/>
            <c:spPr>
              <a:solidFill>
                <a:srgbClr val="AEABAB"/>
              </a:solidFill>
            </c:spPr>
            <c:extLst>
              <c:ext xmlns:c16="http://schemas.microsoft.com/office/drawing/2014/chart" uri="{C3380CC4-5D6E-409C-BE32-E72D297353CC}">
                <c16:uniqueId val="{000002DB-2E72-45B7-B22B-F12DE6506C9C}"/>
              </c:ext>
            </c:extLst>
          </c:dPt>
          <c:dPt>
            <c:idx val="365"/>
            <c:invertIfNegative val="1"/>
            <c:bubble3D val="0"/>
            <c:spPr>
              <a:solidFill>
                <a:srgbClr val="AEABAB"/>
              </a:solidFill>
            </c:spPr>
            <c:extLst>
              <c:ext xmlns:c16="http://schemas.microsoft.com/office/drawing/2014/chart" uri="{C3380CC4-5D6E-409C-BE32-E72D297353CC}">
                <c16:uniqueId val="{000002DD-2E72-45B7-B22B-F12DE6506C9C}"/>
              </c:ext>
            </c:extLst>
          </c:dPt>
          <c:dPt>
            <c:idx val="366"/>
            <c:invertIfNegative val="1"/>
            <c:bubble3D val="0"/>
            <c:spPr>
              <a:solidFill>
                <a:srgbClr val="AEABAB"/>
              </a:solidFill>
            </c:spPr>
            <c:extLst>
              <c:ext xmlns:c16="http://schemas.microsoft.com/office/drawing/2014/chart" uri="{C3380CC4-5D6E-409C-BE32-E72D297353CC}">
                <c16:uniqueId val="{000002DF-2E72-45B7-B22B-F12DE6506C9C}"/>
              </c:ext>
            </c:extLst>
          </c:dPt>
          <c:dPt>
            <c:idx val="367"/>
            <c:invertIfNegative val="1"/>
            <c:bubble3D val="0"/>
            <c:spPr>
              <a:solidFill>
                <a:srgbClr val="AEABAB"/>
              </a:solidFill>
            </c:spPr>
            <c:extLst>
              <c:ext xmlns:c16="http://schemas.microsoft.com/office/drawing/2014/chart" uri="{C3380CC4-5D6E-409C-BE32-E72D297353CC}">
                <c16:uniqueId val="{000002E1-2E72-45B7-B22B-F12DE6506C9C}"/>
              </c:ext>
            </c:extLst>
          </c:dPt>
          <c:dPt>
            <c:idx val="368"/>
            <c:invertIfNegative val="1"/>
            <c:bubble3D val="0"/>
            <c:spPr>
              <a:solidFill>
                <a:srgbClr val="AEABAB"/>
              </a:solidFill>
            </c:spPr>
            <c:extLst>
              <c:ext xmlns:c16="http://schemas.microsoft.com/office/drawing/2014/chart" uri="{C3380CC4-5D6E-409C-BE32-E72D297353CC}">
                <c16:uniqueId val="{000002E3-2E72-45B7-B22B-F12DE6506C9C}"/>
              </c:ext>
            </c:extLst>
          </c:dPt>
          <c:dPt>
            <c:idx val="369"/>
            <c:invertIfNegative val="1"/>
            <c:bubble3D val="0"/>
            <c:spPr>
              <a:solidFill>
                <a:srgbClr val="AEABAB"/>
              </a:solidFill>
            </c:spPr>
            <c:extLst>
              <c:ext xmlns:c16="http://schemas.microsoft.com/office/drawing/2014/chart" uri="{C3380CC4-5D6E-409C-BE32-E72D297353CC}">
                <c16:uniqueId val="{000002E5-2E72-45B7-B22B-F12DE6506C9C}"/>
              </c:ext>
            </c:extLst>
          </c:dPt>
          <c:dPt>
            <c:idx val="370"/>
            <c:invertIfNegative val="1"/>
            <c:bubble3D val="0"/>
            <c:spPr>
              <a:solidFill>
                <a:srgbClr val="AEABAB"/>
              </a:solidFill>
            </c:spPr>
            <c:extLst>
              <c:ext xmlns:c16="http://schemas.microsoft.com/office/drawing/2014/chart" uri="{C3380CC4-5D6E-409C-BE32-E72D297353CC}">
                <c16:uniqueId val="{000002E7-2E72-45B7-B22B-F12DE6506C9C}"/>
              </c:ext>
            </c:extLst>
          </c:dPt>
          <c:dPt>
            <c:idx val="371"/>
            <c:invertIfNegative val="1"/>
            <c:bubble3D val="0"/>
            <c:spPr>
              <a:solidFill>
                <a:srgbClr val="AEABAB"/>
              </a:solidFill>
            </c:spPr>
            <c:extLst>
              <c:ext xmlns:c16="http://schemas.microsoft.com/office/drawing/2014/chart" uri="{C3380CC4-5D6E-409C-BE32-E72D297353CC}">
                <c16:uniqueId val="{000002E9-2E72-45B7-B22B-F12DE6506C9C}"/>
              </c:ext>
            </c:extLst>
          </c:dPt>
          <c:dPt>
            <c:idx val="372"/>
            <c:invertIfNegative val="1"/>
            <c:bubble3D val="0"/>
            <c:spPr>
              <a:solidFill>
                <a:srgbClr val="AEABAB"/>
              </a:solidFill>
            </c:spPr>
            <c:extLst>
              <c:ext xmlns:c16="http://schemas.microsoft.com/office/drawing/2014/chart" uri="{C3380CC4-5D6E-409C-BE32-E72D297353CC}">
                <c16:uniqueId val="{000002EB-2E72-45B7-B22B-F12DE6506C9C}"/>
              </c:ext>
            </c:extLst>
          </c:dPt>
          <c:dPt>
            <c:idx val="373"/>
            <c:invertIfNegative val="1"/>
            <c:bubble3D val="0"/>
            <c:spPr>
              <a:solidFill>
                <a:srgbClr val="AEABAB"/>
              </a:solidFill>
            </c:spPr>
            <c:extLst>
              <c:ext xmlns:c16="http://schemas.microsoft.com/office/drawing/2014/chart" uri="{C3380CC4-5D6E-409C-BE32-E72D297353CC}">
                <c16:uniqueId val="{000002ED-2E72-45B7-B22B-F12DE6506C9C}"/>
              </c:ext>
            </c:extLst>
          </c:dPt>
          <c:dPt>
            <c:idx val="374"/>
            <c:invertIfNegative val="1"/>
            <c:bubble3D val="0"/>
            <c:spPr>
              <a:solidFill>
                <a:srgbClr val="AEABAB"/>
              </a:solidFill>
            </c:spPr>
            <c:extLst>
              <c:ext xmlns:c16="http://schemas.microsoft.com/office/drawing/2014/chart" uri="{C3380CC4-5D6E-409C-BE32-E72D297353CC}">
                <c16:uniqueId val="{000002EF-2E72-45B7-B22B-F12DE6506C9C}"/>
              </c:ext>
            </c:extLst>
          </c:dPt>
          <c:dPt>
            <c:idx val="375"/>
            <c:invertIfNegative val="1"/>
            <c:bubble3D val="0"/>
            <c:spPr>
              <a:solidFill>
                <a:srgbClr val="AEABAB"/>
              </a:solidFill>
            </c:spPr>
            <c:extLst>
              <c:ext xmlns:c16="http://schemas.microsoft.com/office/drawing/2014/chart" uri="{C3380CC4-5D6E-409C-BE32-E72D297353CC}">
                <c16:uniqueId val="{000002F1-2E72-45B7-B22B-F12DE6506C9C}"/>
              </c:ext>
            </c:extLst>
          </c:dPt>
          <c:dPt>
            <c:idx val="376"/>
            <c:invertIfNegative val="1"/>
            <c:bubble3D val="0"/>
            <c:spPr>
              <a:solidFill>
                <a:srgbClr val="AEABAB"/>
              </a:solidFill>
            </c:spPr>
            <c:extLst>
              <c:ext xmlns:c16="http://schemas.microsoft.com/office/drawing/2014/chart" uri="{C3380CC4-5D6E-409C-BE32-E72D297353CC}">
                <c16:uniqueId val="{000002F3-2E72-45B7-B22B-F12DE6506C9C}"/>
              </c:ext>
            </c:extLst>
          </c:dPt>
          <c:dPt>
            <c:idx val="377"/>
            <c:invertIfNegative val="1"/>
            <c:bubble3D val="0"/>
            <c:spPr>
              <a:solidFill>
                <a:srgbClr val="AEABAB"/>
              </a:solidFill>
            </c:spPr>
            <c:extLst>
              <c:ext xmlns:c16="http://schemas.microsoft.com/office/drawing/2014/chart" uri="{C3380CC4-5D6E-409C-BE32-E72D297353CC}">
                <c16:uniqueId val="{000002F5-2E72-45B7-B22B-F12DE6506C9C}"/>
              </c:ext>
            </c:extLst>
          </c:dPt>
          <c:dPt>
            <c:idx val="378"/>
            <c:invertIfNegative val="1"/>
            <c:bubble3D val="0"/>
            <c:spPr>
              <a:solidFill>
                <a:srgbClr val="AEABAB"/>
              </a:solidFill>
            </c:spPr>
            <c:extLst>
              <c:ext xmlns:c16="http://schemas.microsoft.com/office/drawing/2014/chart" uri="{C3380CC4-5D6E-409C-BE32-E72D297353CC}">
                <c16:uniqueId val="{000002F7-2E72-45B7-B22B-F12DE6506C9C}"/>
              </c:ext>
            </c:extLst>
          </c:dPt>
          <c:dPt>
            <c:idx val="379"/>
            <c:invertIfNegative val="1"/>
            <c:bubble3D val="0"/>
            <c:spPr>
              <a:solidFill>
                <a:srgbClr val="AEABAB"/>
              </a:solidFill>
            </c:spPr>
            <c:extLst>
              <c:ext xmlns:c16="http://schemas.microsoft.com/office/drawing/2014/chart" uri="{C3380CC4-5D6E-409C-BE32-E72D297353CC}">
                <c16:uniqueId val="{000002F9-2E72-45B7-B22B-F12DE6506C9C}"/>
              </c:ext>
            </c:extLst>
          </c:dPt>
          <c:dPt>
            <c:idx val="380"/>
            <c:invertIfNegative val="1"/>
            <c:bubble3D val="0"/>
            <c:spPr>
              <a:solidFill>
                <a:srgbClr val="AEABAB"/>
              </a:solidFill>
            </c:spPr>
            <c:extLst>
              <c:ext xmlns:c16="http://schemas.microsoft.com/office/drawing/2014/chart" uri="{C3380CC4-5D6E-409C-BE32-E72D297353CC}">
                <c16:uniqueId val="{000002FB-2E72-45B7-B22B-F12DE6506C9C}"/>
              </c:ext>
            </c:extLst>
          </c:dPt>
          <c:dPt>
            <c:idx val="381"/>
            <c:invertIfNegative val="1"/>
            <c:bubble3D val="0"/>
            <c:spPr>
              <a:solidFill>
                <a:srgbClr val="AEABAB"/>
              </a:solidFill>
            </c:spPr>
            <c:extLst>
              <c:ext xmlns:c16="http://schemas.microsoft.com/office/drawing/2014/chart" uri="{C3380CC4-5D6E-409C-BE32-E72D297353CC}">
                <c16:uniqueId val="{000002FD-2E72-45B7-B22B-F12DE6506C9C}"/>
              </c:ext>
            </c:extLst>
          </c:dPt>
          <c:dPt>
            <c:idx val="382"/>
            <c:invertIfNegative val="1"/>
            <c:bubble3D val="0"/>
            <c:spPr>
              <a:solidFill>
                <a:srgbClr val="AEABAB"/>
              </a:solidFill>
            </c:spPr>
            <c:extLst>
              <c:ext xmlns:c16="http://schemas.microsoft.com/office/drawing/2014/chart" uri="{C3380CC4-5D6E-409C-BE32-E72D297353CC}">
                <c16:uniqueId val="{000002FF-2E72-45B7-B22B-F12DE6506C9C}"/>
              </c:ext>
            </c:extLst>
          </c:dPt>
          <c:dPt>
            <c:idx val="383"/>
            <c:invertIfNegative val="1"/>
            <c:bubble3D val="0"/>
            <c:spPr>
              <a:solidFill>
                <a:srgbClr val="AEABAB"/>
              </a:solidFill>
            </c:spPr>
            <c:extLst>
              <c:ext xmlns:c16="http://schemas.microsoft.com/office/drawing/2014/chart" uri="{C3380CC4-5D6E-409C-BE32-E72D297353CC}">
                <c16:uniqueId val="{00000301-2E72-45B7-B22B-F12DE6506C9C}"/>
              </c:ext>
            </c:extLst>
          </c:dPt>
          <c:dPt>
            <c:idx val="384"/>
            <c:invertIfNegative val="1"/>
            <c:bubble3D val="0"/>
            <c:spPr>
              <a:solidFill>
                <a:srgbClr val="AEABAB"/>
              </a:solidFill>
            </c:spPr>
            <c:extLst>
              <c:ext xmlns:c16="http://schemas.microsoft.com/office/drawing/2014/chart" uri="{C3380CC4-5D6E-409C-BE32-E72D297353CC}">
                <c16:uniqueId val="{00000303-2E72-45B7-B22B-F12DE6506C9C}"/>
              </c:ext>
            </c:extLst>
          </c:dPt>
          <c:dPt>
            <c:idx val="385"/>
            <c:invertIfNegative val="1"/>
            <c:bubble3D val="0"/>
            <c:spPr>
              <a:solidFill>
                <a:srgbClr val="AEABAB"/>
              </a:solidFill>
            </c:spPr>
            <c:extLst>
              <c:ext xmlns:c16="http://schemas.microsoft.com/office/drawing/2014/chart" uri="{C3380CC4-5D6E-409C-BE32-E72D297353CC}">
                <c16:uniqueId val="{00000305-2E72-45B7-B22B-F12DE6506C9C}"/>
              </c:ext>
            </c:extLst>
          </c:dPt>
          <c:dPt>
            <c:idx val="386"/>
            <c:invertIfNegative val="1"/>
            <c:bubble3D val="0"/>
            <c:spPr>
              <a:solidFill>
                <a:srgbClr val="AEABAB"/>
              </a:solidFill>
            </c:spPr>
            <c:extLst>
              <c:ext xmlns:c16="http://schemas.microsoft.com/office/drawing/2014/chart" uri="{C3380CC4-5D6E-409C-BE32-E72D297353CC}">
                <c16:uniqueId val="{00000307-2E72-45B7-B22B-F12DE6506C9C}"/>
              </c:ext>
            </c:extLst>
          </c:dPt>
          <c:dPt>
            <c:idx val="387"/>
            <c:invertIfNegative val="1"/>
            <c:bubble3D val="0"/>
            <c:spPr>
              <a:solidFill>
                <a:srgbClr val="AEABAB"/>
              </a:solidFill>
            </c:spPr>
            <c:extLst>
              <c:ext xmlns:c16="http://schemas.microsoft.com/office/drawing/2014/chart" uri="{C3380CC4-5D6E-409C-BE32-E72D297353CC}">
                <c16:uniqueId val="{00000309-2E72-45B7-B22B-F12DE6506C9C}"/>
              </c:ext>
            </c:extLst>
          </c:dPt>
          <c:dPt>
            <c:idx val="388"/>
            <c:invertIfNegative val="1"/>
            <c:bubble3D val="0"/>
            <c:spPr>
              <a:solidFill>
                <a:srgbClr val="AEABAB"/>
              </a:solidFill>
            </c:spPr>
            <c:extLst>
              <c:ext xmlns:c16="http://schemas.microsoft.com/office/drawing/2014/chart" uri="{C3380CC4-5D6E-409C-BE32-E72D297353CC}">
                <c16:uniqueId val="{0000030B-2E72-45B7-B22B-F12DE6506C9C}"/>
              </c:ext>
            </c:extLst>
          </c:dPt>
          <c:dPt>
            <c:idx val="389"/>
            <c:invertIfNegative val="1"/>
            <c:bubble3D val="0"/>
            <c:spPr>
              <a:solidFill>
                <a:srgbClr val="AEABAB"/>
              </a:solidFill>
            </c:spPr>
            <c:extLst>
              <c:ext xmlns:c16="http://schemas.microsoft.com/office/drawing/2014/chart" uri="{C3380CC4-5D6E-409C-BE32-E72D297353CC}">
                <c16:uniqueId val="{0000030D-2E72-45B7-B22B-F12DE6506C9C}"/>
              </c:ext>
            </c:extLst>
          </c:dPt>
          <c:dPt>
            <c:idx val="390"/>
            <c:invertIfNegative val="1"/>
            <c:bubble3D val="0"/>
            <c:spPr>
              <a:solidFill>
                <a:srgbClr val="AEABAB"/>
              </a:solidFill>
            </c:spPr>
            <c:extLst>
              <c:ext xmlns:c16="http://schemas.microsoft.com/office/drawing/2014/chart" uri="{C3380CC4-5D6E-409C-BE32-E72D297353CC}">
                <c16:uniqueId val="{0000030F-2E72-45B7-B22B-F12DE6506C9C}"/>
              </c:ext>
            </c:extLst>
          </c:dPt>
          <c:dPt>
            <c:idx val="391"/>
            <c:invertIfNegative val="1"/>
            <c:bubble3D val="0"/>
            <c:spPr>
              <a:solidFill>
                <a:srgbClr val="AEABAB"/>
              </a:solidFill>
            </c:spPr>
            <c:extLst>
              <c:ext xmlns:c16="http://schemas.microsoft.com/office/drawing/2014/chart" uri="{C3380CC4-5D6E-409C-BE32-E72D297353CC}">
                <c16:uniqueId val="{00000311-2E72-45B7-B22B-F12DE6506C9C}"/>
              </c:ext>
            </c:extLst>
          </c:dPt>
          <c:dPt>
            <c:idx val="392"/>
            <c:invertIfNegative val="1"/>
            <c:bubble3D val="0"/>
            <c:spPr>
              <a:solidFill>
                <a:srgbClr val="AEABAB"/>
              </a:solidFill>
            </c:spPr>
            <c:extLst>
              <c:ext xmlns:c16="http://schemas.microsoft.com/office/drawing/2014/chart" uri="{C3380CC4-5D6E-409C-BE32-E72D297353CC}">
                <c16:uniqueId val="{00000313-2E72-45B7-B22B-F12DE6506C9C}"/>
              </c:ext>
            </c:extLst>
          </c:dPt>
          <c:dPt>
            <c:idx val="393"/>
            <c:invertIfNegative val="1"/>
            <c:bubble3D val="0"/>
            <c:spPr>
              <a:solidFill>
                <a:srgbClr val="AEABAB"/>
              </a:solidFill>
            </c:spPr>
            <c:extLst>
              <c:ext xmlns:c16="http://schemas.microsoft.com/office/drawing/2014/chart" uri="{C3380CC4-5D6E-409C-BE32-E72D297353CC}">
                <c16:uniqueId val="{00000315-2E72-45B7-B22B-F12DE6506C9C}"/>
              </c:ext>
            </c:extLst>
          </c:dPt>
          <c:dPt>
            <c:idx val="394"/>
            <c:invertIfNegative val="1"/>
            <c:bubble3D val="0"/>
            <c:spPr>
              <a:solidFill>
                <a:srgbClr val="AEABAB"/>
              </a:solidFill>
            </c:spPr>
            <c:extLst>
              <c:ext xmlns:c16="http://schemas.microsoft.com/office/drawing/2014/chart" uri="{C3380CC4-5D6E-409C-BE32-E72D297353CC}">
                <c16:uniqueId val="{00000317-2E72-45B7-B22B-F12DE6506C9C}"/>
              </c:ext>
            </c:extLst>
          </c:dPt>
          <c:dPt>
            <c:idx val="395"/>
            <c:invertIfNegative val="1"/>
            <c:bubble3D val="0"/>
            <c:spPr>
              <a:solidFill>
                <a:srgbClr val="AEABAB"/>
              </a:solidFill>
            </c:spPr>
            <c:extLst>
              <c:ext xmlns:c16="http://schemas.microsoft.com/office/drawing/2014/chart" uri="{C3380CC4-5D6E-409C-BE32-E72D297353CC}">
                <c16:uniqueId val="{00000319-2E72-45B7-B22B-F12DE6506C9C}"/>
              </c:ext>
            </c:extLst>
          </c:dPt>
          <c:dPt>
            <c:idx val="396"/>
            <c:invertIfNegative val="1"/>
            <c:bubble3D val="0"/>
            <c:spPr>
              <a:solidFill>
                <a:srgbClr val="AEABAB"/>
              </a:solidFill>
            </c:spPr>
            <c:extLst>
              <c:ext xmlns:c16="http://schemas.microsoft.com/office/drawing/2014/chart" uri="{C3380CC4-5D6E-409C-BE32-E72D297353CC}">
                <c16:uniqueId val="{0000031B-2E72-45B7-B22B-F12DE6506C9C}"/>
              </c:ext>
            </c:extLst>
          </c:dPt>
          <c:dPt>
            <c:idx val="397"/>
            <c:invertIfNegative val="1"/>
            <c:bubble3D val="0"/>
            <c:spPr>
              <a:solidFill>
                <a:srgbClr val="AEABAB"/>
              </a:solidFill>
            </c:spPr>
            <c:extLst>
              <c:ext xmlns:c16="http://schemas.microsoft.com/office/drawing/2014/chart" uri="{C3380CC4-5D6E-409C-BE32-E72D297353CC}">
                <c16:uniqueId val="{0000031D-2E72-45B7-B22B-F12DE6506C9C}"/>
              </c:ext>
            </c:extLst>
          </c:dPt>
          <c:dPt>
            <c:idx val="398"/>
            <c:invertIfNegative val="1"/>
            <c:bubble3D val="0"/>
            <c:spPr>
              <a:solidFill>
                <a:srgbClr val="AEABAB"/>
              </a:solidFill>
            </c:spPr>
            <c:extLst>
              <c:ext xmlns:c16="http://schemas.microsoft.com/office/drawing/2014/chart" uri="{C3380CC4-5D6E-409C-BE32-E72D297353CC}">
                <c16:uniqueId val="{0000031F-2E72-45B7-B22B-F12DE6506C9C}"/>
              </c:ext>
            </c:extLst>
          </c:dPt>
          <c:dPt>
            <c:idx val="399"/>
            <c:invertIfNegative val="1"/>
            <c:bubble3D val="0"/>
            <c:spPr>
              <a:solidFill>
                <a:srgbClr val="AEABAB"/>
              </a:solidFill>
            </c:spPr>
            <c:extLst>
              <c:ext xmlns:c16="http://schemas.microsoft.com/office/drawing/2014/chart" uri="{C3380CC4-5D6E-409C-BE32-E72D297353CC}">
                <c16:uniqueId val="{00000321-2E72-45B7-B22B-F12DE6506C9C}"/>
              </c:ext>
            </c:extLst>
          </c:dPt>
          <c:dPt>
            <c:idx val="400"/>
            <c:invertIfNegative val="1"/>
            <c:bubble3D val="0"/>
            <c:spPr>
              <a:solidFill>
                <a:srgbClr val="AEABAB"/>
              </a:solidFill>
            </c:spPr>
            <c:extLst>
              <c:ext xmlns:c16="http://schemas.microsoft.com/office/drawing/2014/chart" uri="{C3380CC4-5D6E-409C-BE32-E72D297353CC}">
                <c16:uniqueId val="{00000323-2E72-45B7-B22B-F12DE6506C9C}"/>
              </c:ext>
            </c:extLst>
          </c:dPt>
          <c:dPt>
            <c:idx val="401"/>
            <c:invertIfNegative val="1"/>
            <c:bubble3D val="0"/>
            <c:spPr>
              <a:solidFill>
                <a:srgbClr val="AEABAB"/>
              </a:solidFill>
            </c:spPr>
            <c:extLst>
              <c:ext xmlns:c16="http://schemas.microsoft.com/office/drawing/2014/chart" uri="{C3380CC4-5D6E-409C-BE32-E72D297353CC}">
                <c16:uniqueId val="{00000325-2E72-45B7-B22B-F12DE6506C9C}"/>
              </c:ext>
            </c:extLst>
          </c:dPt>
          <c:dPt>
            <c:idx val="402"/>
            <c:invertIfNegative val="1"/>
            <c:bubble3D val="0"/>
            <c:spPr>
              <a:solidFill>
                <a:srgbClr val="AEABAB"/>
              </a:solidFill>
            </c:spPr>
            <c:extLst>
              <c:ext xmlns:c16="http://schemas.microsoft.com/office/drawing/2014/chart" uri="{C3380CC4-5D6E-409C-BE32-E72D297353CC}">
                <c16:uniqueId val="{00000327-2E72-45B7-B22B-F12DE6506C9C}"/>
              </c:ext>
            </c:extLst>
          </c:dPt>
          <c:dPt>
            <c:idx val="403"/>
            <c:invertIfNegative val="1"/>
            <c:bubble3D val="0"/>
            <c:spPr>
              <a:solidFill>
                <a:srgbClr val="AEABAB"/>
              </a:solidFill>
            </c:spPr>
            <c:extLst>
              <c:ext xmlns:c16="http://schemas.microsoft.com/office/drawing/2014/chart" uri="{C3380CC4-5D6E-409C-BE32-E72D297353CC}">
                <c16:uniqueId val="{00000329-2E72-45B7-B22B-F12DE6506C9C}"/>
              </c:ext>
            </c:extLst>
          </c:dPt>
          <c:dPt>
            <c:idx val="404"/>
            <c:invertIfNegative val="1"/>
            <c:bubble3D val="0"/>
            <c:spPr>
              <a:solidFill>
                <a:srgbClr val="AEABAB"/>
              </a:solidFill>
            </c:spPr>
            <c:extLst>
              <c:ext xmlns:c16="http://schemas.microsoft.com/office/drawing/2014/chart" uri="{C3380CC4-5D6E-409C-BE32-E72D297353CC}">
                <c16:uniqueId val="{0000032B-2E72-45B7-B22B-F12DE6506C9C}"/>
              </c:ext>
            </c:extLst>
          </c:dPt>
          <c:dPt>
            <c:idx val="405"/>
            <c:invertIfNegative val="1"/>
            <c:bubble3D val="0"/>
            <c:spPr>
              <a:solidFill>
                <a:srgbClr val="AEABAB"/>
              </a:solidFill>
            </c:spPr>
            <c:extLst>
              <c:ext xmlns:c16="http://schemas.microsoft.com/office/drawing/2014/chart" uri="{C3380CC4-5D6E-409C-BE32-E72D297353CC}">
                <c16:uniqueId val="{0000032D-2E72-45B7-B22B-F12DE6506C9C}"/>
              </c:ext>
            </c:extLst>
          </c:dPt>
          <c:dPt>
            <c:idx val="406"/>
            <c:invertIfNegative val="1"/>
            <c:bubble3D val="0"/>
            <c:spPr>
              <a:solidFill>
                <a:srgbClr val="AEABAB"/>
              </a:solidFill>
            </c:spPr>
            <c:extLst>
              <c:ext xmlns:c16="http://schemas.microsoft.com/office/drawing/2014/chart" uri="{C3380CC4-5D6E-409C-BE32-E72D297353CC}">
                <c16:uniqueId val="{0000032F-2E72-45B7-B22B-F12DE6506C9C}"/>
              </c:ext>
            </c:extLst>
          </c:dPt>
          <c:dPt>
            <c:idx val="407"/>
            <c:invertIfNegative val="1"/>
            <c:bubble3D val="0"/>
            <c:spPr>
              <a:solidFill>
                <a:srgbClr val="AEABAB"/>
              </a:solidFill>
            </c:spPr>
            <c:extLst>
              <c:ext xmlns:c16="http://schemas.microsoft.com/office/drawing/2014/chart" uri="{C3380CC4-5D6E-409C-BE32-E72D297353CC}">
                <c16:uniqueId val="{00000331-2E72-45B7-B22B-F12DE6506C9C}"/>
              </c:ext>
            </c:extLst>
          </c:dPt>
          <c:dPt>
            <c:idx val="408"/>
            <c:invertIfNegative val="1"/>
            <c:bubble3D val="0"/>
            <c:spPr>
              <a:solidFill>
                <a:srgbClr val="AEABAB"/>
              </a:solidFill>
            </c:spPr>
            <c:extLst>
              <c:ext xmlns:c16="http://schemas.microsoft.com/office/drawing/2014/chart" uri="{C3380CC4-5D6E-409C-BE32-E72D297353CC}">
                <c16:uniqueId val="{00000333-2E72-45B7-B22B-F12DE6506C9C}"/>
              </c:ext>
            </c:extLst>
          </c:dPt>
          <c:dPt>
            <c:idx val="409"/>
            <c:invertIfNegative val="1"/>
            <c:bubble3D val="0"/>
            <c:spPr>
              <a:solidFill>
                <a:srgbClr val="AEABAB"/>
              </a:solidFill>
            </c:spPr>
            <c:extLst>
              <c:ext xmlns:c16="http://schemas.microsoft.com/office/drawing/2014/chart" uri="{C3380CC4-5D6E-409C-BE32-E72D297353CC}">
                <c16:uniqueId val="{00000335-2E72-45B7-B22B-F12DE6506C9C}"/>
              </c:ext>
            </c:extLst>
          </c:dPt>
          <c:dPt>
            <c:idx val="410"/>
            <c:invertIfNegative val="1"/>
            <c:bubble3D val="0"/>
            <c:spPr>
              <a:solidFill>
                <a:srgbClr val="AEABAB"/>
              </a:solidFill>
            </c:spPr>
            <c:extLst>
              <c:ext xmlns:c16="http://schemas.microsoft.com/office/drawing/2014/chart" uri="{C3380CC4-5D6E-409C-BE32-E72D297353CC}">
                <c16:uniqueId val="{00000337-2E72-45B7-B22B-F12DE6506C9C}"/>
              </c:ext>
            </c:extLst>
          </c:dPt>
          <c:dPt>
            <c:idx val="411"/>
            <c:invertIfNegative val="1"/>
            <c:bubble3D val="0"/>
            <c:spPr>
              <a:solidFill>
                <a:srgbClr val="AEABAB"/>
              </a:solidFill>
            </c:spPr>
            <c:extLst>
              <c:ext xmlns:c16="http://schemas.microsoft.com/office/drawing/2014/chart" uri="{C3380CC4-5D6E-409C-BE32-E72D297353CC}">
                <c16:uniqueId val="{00000339-2E72-45B7-B22B-F12DE6506C9C}"/>
              </c:ext>
            </c:extLst>
          </c:dPt>
          <c:dPt>
            <c:idx val="412"/>
            <c:invertIfNegative val="1"/>
            <c:bubble3D val="0"/>
            <c:spPr>
              <a:solidFill>
                <a:srgbClr val="AEABAB"/>
              </a:solidFill>
            </c:spPr>
            <c:extLst>
              <c:ext xmlns:c16="http://schemas.microsoft.com/office/drawing/2014/chart" uri="{C3380CC4-5D6E-409C-BE32-E72D297353CC}">
                <c16:uniqueId val="{0000033B-2E72-45B7-B22B-F12DE6506C9C}"/>
              </c:ext>
            </c:extLst>
          </c:dPt>
          <c:dPt>
            <c:idx val="413"/>
            <c:invertIfNegative val="1"/>
            <c:bubble3D val="0"/>
            <c:spPr>
              <a:solidFill>
                <a:srgbClr val="AEABAB"/>
              </a:solidFill>
            </c:spPr>
            <c:extLst>
              <c:ext xmlns:c16="http://schemas.microsoft.com/office/drawing/2014/chart" uri="{C3380CC4-5D6E-409C-BE32-E72D297353CC}">
                <c16:uniqueId val="{0000033D-2E72-45B7-B22B-F12DE6506C9C}"/>
              </c:ext>
            </c:extLst>
          </c:dPt>
          <c:dPt>
            <c:idx val="414"/>
            <c:invertIfNegative val="1"/>
            <c:bubble3D val="0"/>
            <c:spPr>
              <a:solidFill>
                <a:srgbClr val="AEABAB"/>
              </a:solidFill>
            </c:spPr>
            <c:extLst>
              <c:ext xmlns:c16="http://schemas.microsoft.com/office/drawing/2014/chart" uri="{C3380CC4-5D6E-409C-BE32-E72D297353CC}">
                <c16:uniqueId val="{0000033F-2E72-45B7-B22B-F12DE6506C9C}"/>
              </c:ext>
            </c:extLst>
          </c:dPt>
          <c:dPt>
            <c:idx val="415"/>
            <c:invertIfNegative val="1"/>
            <c:bubble3D val="0"/>
            <c:spPr>
              <a:solidFill>
                <a:srgbClr val="AEABAB"/>
              </a:solidFill>
            </c:spPr>
            <c:extLst>
              <c:ext xmlns:c16="http://schemas.microsoft.com/office/drawing/2014/chart" uri="{C3380CC4-5D6E-409C-BE32-E72D297353CC}">
                <c16:uniqueId val="{00000341-2E72-45B7-B22B-F12DE6506C9C}"/>
              </c:ext>
            </c:extLst>
          </c:dPt>
          <c:dPt>
            <c:idx val="416"/>
            <c:invertIfNegative val="1"/>
            <c:bubble3D val="0"/>
            <c:spPr>
              <a:solidFill>
                <a:srgbClr val="AEABAB"/>
              </a:solidFill>
            </c:spPr>
            <c:extLst>
              <c:ext xmlns:c16="http://schemas.microsoft.com/office/drawing/2014/chart" uri="{C3380CC4-5D6E-409C-BE32-E72D297353CC}">
                <c16:uniqueId val="{00000343-2E72-45B7-B22B-F12DE6506C9C}"/>
              </c:ext>
            </c:extLst>
          </c:dPt>
          <c:dPt>
            <c:idx val="417"/>
            <c:invertIfNegative val="1"/>
            <c:bubble3D val="0"/>
            <c:spPr>
              <a:solidFill>
                <a:srgbClr val="AEABAB"/>
              </a:solidFill>
            </c:spPr>
            <c:extLst>
              <c:ext xmlns:c16="http://schemas.microsoft.com/office/drawing/2014/chart" uri="{C3380CC4-5D6E-409C-BE32-E72D297353CC}">
                <c16:uniqueId val="{00000345-2E72-45B7-B22B-F12DE6506C9C}"/>
              </c:ext>
            </c:extLst>
          </c:dPt>
          <c:dPt>
            <c:idx val="418"/>
            <c:invertIfNegative val="1"/>
            <c:bubble3D val="0"/>
            <c:spPr>
              <a:solidFill>
                <a:srgbClr val="AEABAB"/>
              </a:solidFill>
            </c:spPr>
            <c:extLst>
              <c:ext xmlns:c16="http://schemas.microsoft.com/office/drawing/2014/chart" uri="{C3380CC4-5D6E-409C-BE32-E72D297353CC}">
                <c16:uniqueId val="{00000347-2E72-45B7-B22B-F12DE6506C9C}"/>
              </c:ext>
            </c:extLst>
          </c:dPt>
          <c:dPt>
            <c:idx val="419"/>
            <c:invertIfNegative val="1"/>
            <c:bubble3D val="0"/>
            <c:spPr>
              <a:solidFill>
                <a:srgbClr val="AEABAB"/>
              </a:solidFill>
            </c:spPr>
            <c:extLst>
              <c:ext xmlns:c16="http://schemas.microsoft.com/office/drawing/2014/chart" uri="{C3380CC4-5D6E-409C-BE32-E72D297353CC}">
                <c16:uniqueId val="{00000349-2E72-45B7-B22B-F12DE6506C9C}"/>
              </c:ext>
            </c:extLst>
          </c:dPt>
          <c:dPt>
            <c:idx val="420"/>
            <c:invertIfNegative val="1"/>
            <c:bubble3D val="0"/>
            <c:spPr>
              <a:solidFill>
                <a:srgbClr val="AEABAB"/>
              </a:solidFill>
            </c:spPr>
            <c:extLst>
              <c:ext xmlns:c16="http://schemas.microsoft.com/office/drawing/2014/chart" uri="{C3380CC4-5D6E-409C-BE32-E72D297353CC}">
                <c16:uniqueId val="{0000034B-2E72-45B7-B22B-F12DE6506C9C}"/>
              </c:ext>
            </c:extLst>
          </c:dPt>
          <c:dPt>
            <c:idx val="421"/>
            <c:invertIfNegative val="1"/>
            <c:bubble3D val="0"/>
            <c:spPr>
              <a:solidFill>
                <a:srgbClr val="AEABAB"/>
              </a:solidFill>
            </c:spPr>
            <c:extLst>
              <c:ext xmlns:c16="http://schemas.microsoft.com/office/drawing/2014/chart" uri="{C3380CC4-5D6E-409C-BE32-E72D297353CC}">
                <c16:uniqueId val="{0000034D-2E72-45B7-B22B-F12DE6506C9C}"/>
              </c:ext>
            </c:extLst>
          </c:dPt>
          <c:dPt>
            <c:idx val="422"/>
            <c:invertIfNegative val="1"/>
            <c:bubble3D val="0"/>
            <c:spPr>
              <a:solidFill>
                <a:srgbClr val="AEABAB"/>
              </a:solidFill>
            </c:spPr>
            <c:extLst>
              <c:ext xmlns:c16="http://schemas.microsoft.com/office/drawing/2014/chart" uri="{C3380CC4-5D6E-409C-BE32-E72D297353CC}">
                <c16:uniqueId val="{0000034F-2E72-45B7-B22B-F12DE6506C9C}"/>
              </c:ext>
            </c:extLst>
          </c:dPt>
          <c:dPt>
            <c:idx val="423"/>
            <c:invertIfNegative val="1"/>
            <c:bubble3D val="0"/>
            <c:spPr>
              <a:solidFill>
                <a:srgbClr val="AEABAB"/>
              </a:solidFill>
            </c:spPr>
            <c:extLst>
              <c:ext xmlns:c16="http://schemas.microsoft.com/office/drawing/2014/chart" uri="{C3380CC4-5D6E-409C-BE32-E72D297353CC}">
                <c16:uniqueId val="{00000351-2E72-45B7-B22B-F12DE6506C9C}"/>
              </c:ext>
            </c:extLst>
          </c:dPt>
          <c:dPt>
            <c:idx val="424"/>
            <c:invertIfNegative val="1"/>
            <c:bubble3D val="0"/>
            <c:spPr>
              <a:solidFill>
                <a:srgbClr val="AEABAB"/>
              </a:solidFill>
            </c:spPr>
            <c:extLst>
              <c:ext xmlns:c16="http://schemas.microsoft.com/office/drawing/2014/chart" uri="{C3380CC4-5D6E-409C-BE32-E72D297353CC}">
                <c16:uniqueId val="{00000353-2E72-45B7-B22B-F12DE6506C9C}"/>
              </c:ext>
            </c:extLst>
          </c:dPt>
          <c:dPt>
            <c:idx val="425"/>
            <c:invertIfNegative val="1"/>
            <c:bubble3D val="0"/>
            <c:spPr>
              <a:solidFill>
                <a:srgbClr val="AEABAB"/>
              </a:solidFill>
            </c:spPr>
            <c:extLst>
              <c:ext xmlns:c16="http://schemas.microsoft.com/office/drawing/2014/chart" uri="{C3380CC4-5D6E-409C-BE32-E72D297353CC}">
                <c16:uniqueId val="{00000355-2E72-45B7-B22B-F12DE6506C9C}"/>
              </c:ext>
            </c:extLst>
          </c:dPt>
          <c:dPt>
            <c:idx val="426"/>
            <c:invertIfNegative val="1"/>
            <c:bubble3D val="0"/>
            <c:spPr>
              <a:solidFill>
                <a:srgbClr val="AEABAB"/>
              </a:solidFill>
            </c:spPr>
            <c:extLst>
              <c:ext xmlns:c16="http://schemas.microsoft.com/office/drawing/2014/chart" uri="{C3380CC4-5D6E-409C-BE32-E72D297353CC}">
                <c16:uniqueId val="{00000357-2E72-45B7-B22B-F12DE6506C9C}"/>
              </c:ext>
            </c:extLst>
          </c:dPt>
          <c:dPt>
            <c:idx val="427"/>
            <c:invertIfNegative val="1"/>
            <c:bubble3D val="0"/>
            <c:spPr>
              <a:solidFill>
                <a:srgbClr val="AEABAB"/>
              </a:solidFill>
            </c:spPr>
            <c:extLst>
              <c:ext xmlns:c16="http://schemas.microsoft.com/office/drawing/2014/chart" uri="{C3380CC4-5D6E-409C-BE32-E72D297353CC}">
                <c16:uniqueId val="{00000359-2E72-45B7-B22B-F12DE6506C9C}"/>
              </c:ext>
            </c:extLst>
          </c:dPt>
          <c:dPt>
            <c:idx val="428"/>
            <c:invertIfNegative val="1"/>
            <c:bubble3D val="0"/>
            <c:spPr>
              <a:solidFill>
                <a:srgbClr val="AEABAB"/>
              </a:solidFill>
            </c:spPr>
            <c:extLst>
              <c:ext xmlns:c16="http://schemas.microsoft.com/office/drawing/2014/chart" uri="{C3380CC4-5D6E-409C-BE32-E72D297353CC}">
                <c16:uniqueId val="{0000035B-2E72-45B7-B22B-F12DE6506C9C}"/>
              </c:ext>
            </c:extLst>
          </c:dPt>
          <c:dPt>
            <c:idx val="429"/>
            <c:invertIfNegative val="1"/>
            <c:bubble3D val="0"/>
            <c:spPr>
              <a:solidFill>
                <a:srgbClr val="AEABAB"/>
              </a:solidFill>
            </c:spPr>
            <c:extLst>
              <c:ext xmlns:c16="http://schemas.microsoft.com/office/drawing/2014/chart" uri="{C3380CC4-5D6E-409C-BE32-E72D297353CC}">
                <c16:uniqueId val="{0000035D-2E72-45B7-B22B-F12DE6506C9C}"/>
              </c:ext>
            </c:extLst>
          </c:dPt>
          <c:dPt>
            <c:idx val="430"/>
            <c:invertIfNegative val="1"/>
            <c:bubble3D val="0"/>
            <c:spPr>
              <a:solidFill>
                <a:srgbClr val="AEABAB"/>
              </a:solidFill>
            </c:spPr>
            <c:extLst>
              <c:ext xmlns:c16="http://schemas.microsoft.com/office/drawing/2014/chart" uri="{C3380CC4-5D6E-409C-BE32-E72D297353CC}">
                <c16:uniqueId val="{0000035F-2E72-45B7-B22B-F12DE6506C9C}"/>
              </c:ext>
            </c:extLst>
          </c:dPt>
          <c:dPt>
            <c:idx val="431"/>
            <c:invertIfNegative val="1"/>
            <c:bubble3D val="0"/>
            <c:spPr>
              <a:solidFill>
                <a:srgbClr val="AEABAB"/>
              </a:solidFill>
            </c:spPr>
            <c:extLst>
              <c:ext xmlns:c16="http://schemas.microsoft.com/office/drawing/2014/chart" uri="{C3380CC4-5D6E-409C-BE32-E72D297353CC}">
                <c16:uniqueId val="{00000361-2E72-45B7-B22B-F12DE6506C9C}"/>
              </c:ext>
            </c:extLst>
          </c:dPt>
          <c:dPt>
            <c:idx val="432"/>
            <c:invertIfNegative val="1"/>
            <c:bubble3D val="0"/>
            <c:spPr>
              <a:solidFill>
                <a:srgbClr val="AEABAB"/>
              </a:solidFill>
            </c:spPr>
            <c:extLst>
              <c:ext xmlns:c16="http://schemas.microsoft.com/office/drawing/2014/chart" uri="{C3380CC4-5D6E-409C-BE32-E72D297353CC}">
                <c16:uniqueId val="{00000363-2E72-45B7-B22B-F12DE6506C9C}"/>
              </c:ext>
            </c:extLst>
          </c:dPt>
          <c:dPt>
            <c:idx val="433"/>
            <c:invertIfNegative val="1"/>
            <c:bubble3D val="0"/>
            <c:spPr>
              <a:solidFill>
                <a:srgbClr val="AEABAB"/>
              </a:solidFill>
            </c:spPr>
            <c:extLst>
              <c:ext xmlns:c16="http://schemas.microsoft.com/office/drawing/2014/chart" uri="{C3380CC4-5D6E-409C-BE32-E72D297353CC}">
                <c16:uniqueId val="{00000365-2E72-45B7-B22B-F12DE6506C9C}"/>
              </c:ext>
            </c:extLst>
          </c:dPt>
          <c:dPt>
            <c:idx val="434"/>
            <c:invertIfNegative val="1"/>
            <c:bubble3D val="0"/>
            <c:spPr>
              <a:solidFill>
                <a:srgbClr val="AEABAB"/>
              </a:solidFill>
            </c:spPr>
            <c:extLst>
              <c:ext xmlns:c16="http://schemas.microsoft.com/office/drawing/2014/chart" uri="{C3380CC4-5D6E-409C-BE32-E72D297353CC}">
                <c16:uniqueId val="{00000367-2E72-45B7-B22B-F12DE6506C9C}"/>
              </c:ext>
            </c:extLst>
          </c:dPt>
          <c:dPt>
            <c:idx val="435"/>
            <c:invertIfNegative val="1"/>
            <c:bubble3D val="0"/>
            <c:spPr>
              <a:solidFill>
                <a:srgbClr val="AEABAB"/>
              </a:solidFill>
            </c:spPr>
            <c:extLst>
              <c:ext xmlns:c16="http://schemas.microsoft.com/office/drawing/2014/chart" uri="{C3380CC4-5D6E-409C-BE32-E72D297353CC}">
                <c16:uniqueId val="{00000369-2E72-45B7-B22B-F12DE6506C9C}"/>
              </c:ext>
            </c:extLst>
          </c:dPt>
          <c:dPt>
            <c:idx val="436"/>
            <c:invertIfNegative val="1"/>
            <c:bubble3D val="0"/>
            <c:spPr>
              <a:solidFill>
                <a:srgbClr val="AEABAB"/>
              </a:solidFill>
            </c:spPr>
            <c:extLst>
              <c:ext xmlns:c16="http://schemas.microsoft.com/office/drawing/2014/chart" uri="{C3380CC4-5D6E-409C-BE32-E72D297353CC}">
                <c16:uniqueId val="{0000036B-2E72-45B7-B22B-F12DE6506C9C}"/>
              </c:ext>
            </c:extLst>
          </c:dPt>
          <c:dPt>
            <c:idx val="437"/>
            <c:invertIfNegative val="1"/>
            <c:bubble3D val="0"/>
            <c:spPr>
              <a:solidFill>
                <a:srgbClr val="AEABAB"/>
              </a:solidFill>
            </c:spPr>
            <c:extLst>
              <c:ext xmlns:c16="http://schemas.microsoft.com/office/drawing/2014/chart" uri="{C3380CC4-5D6E-409C-BE32-E72D297353CC}">
                <c16:uniqueId val="{0000036D-2E72-45B7-B22B-F12DE6506C9C}"/>
              </c:ext>
            </c:extLst>
          </c:dPt>
          <c:dPt>
            <c:idx val="438"/>
            <c:invertIfNegative val="1"/>
            <c:bubble3D val="0"/>
            <c:spPr>
              <a:solidFill>
                <a:srgbClr val="AEABAB"/>
              </a:solidFill>
            </c:spPr>
            <c:extLst>
              <c:ext xmlns:c16="http://schemas.microsoft.com/office/drawing/2014/chart" uri="{C3380CC4-5D6E-409C-BE32-E72D297353CC}">
                <c16:uniqueId val="{0000036F-2E72-45B7-B22B-F12DE6506C9C}"/>
              </c:ext>
            </c:extLst>
          </c:dPt>
          <c:dPt>
            <c:idx val="439"/>
            <c:invertIfNegative val="1"/>
            <c:bubble3D val="0"/>
            <c:spPr>
              <a:solidFill>
                <a:srgbClr val="AEABAB"/>
              </a:solidFill>
            </c:spPr>
            <c:extLst>
              <c:ext xmlns:c16="http://schemas.microsoft.com/office/drawing/2014/chart" uri="{C3380CC4-5D6E-409C-BE32-E72D297353CC}">
                <c16:uniqueId val="{00000371-2E72-45B7-B22B-F12DE6506C9C}"/>
              </c:ext>
            </c:extLst>
          </c:dPt>
          <c:dPt>
            <c:idx val="440"/>
            <c:invertIfNegative val="1"/>
            <c:bubble3D val="0"/>
            <c:spPr>
              <a:solidFill>
                <a:srgbClr val="AEABAB"/>
              </a:solidFill>
            </c:spPr>
            <c:extLst>
              <c:ext xmlns:c16="http://schemas.microsoft.com/office/drawing/2014/chart" uri="{C3380CC4-5D6E-409C-BE32-E72D297353CC}">
                <c16:uniqueId val="{00000373-2E72-45B7-B22B-F12DE6506C9C}"/>
              </c:ext>
            </c:extLst>
          </c:dPt>
          <c:dPt>
            <c:idx val="441"/>
            <c:invertIfNegative val="1"/>
            <c:bubble3D val="0"/>
            <c:spPr>
              <a:solidFill>
                <a:srgbClr val="AEABAB"/>
              </a:solidFill>
            </c:spPr>
            <c:extLst>
              <c:ext xmlns:c16="http://schemas.microsoft.com/office/drawing/2014/chart" uri="{C3380CC4-5D6E-409C-BE32-E72D297353CC}">
                <c16:uniqueId val="{00000375-2E72-45B7-B22B-F12DE6506C9C}"/>
              </c:ext>
            </c:extLst>
          </c:dPt>
          <c:dPt>
            <c:idx val="442"/>
            <c:invertIfNegative val="1"/>
            <c:bubble3D val="0"/>
            <c:spPr>
              <a:solidFill>
                <a:srgbClr val="AEABAB"/>
              </a:solidFill>
            </c:spPr>
            <c:extLst>
              <c:ext xmlns:c16="http://schemas.microsoft.com/office/drawing/2014/chart" uri="{C3380CC4-5D6E-409C-BE32-E72D297353CC}">
                <c16:uniqueId val="{00000377-2E72-45B7-B22B-F12DE6506C9C}"/>
              </c:ext>
            </c:extLst>
          </c:dPt>
          <c:dPt>
            <c:idx val="443"/>
            <c:invertIfNegative val="1"/>
            <c:bubble3D val="0"/>
            <c:spPr>
              <a:solidFill>
                <a:srgbClr val="AEABAB"/>
              </a:solidFill>
            </c:spPr>
            <c:extLst>
              <c:ext xmlns:c16="http://schemas.microsoft.com/office/drawing/2014/chart" uri="{C3380CC4-5D6E-409C-BE32-E72D297353CC}">
                <c16:uniqueId val="{00000379-2E72-45B7-B22B-F12DE6506C9C}"/>
              </c:ext>
            </c:extLst>
          </c:dPt>
          <c:dPt>
            <c:idx val="444"/>
            <c:invertIfNegative val="1"/>
            <c:bubble3D val="0"/>
            <c:spPr>
              <a:solidFill>
                <a:srgbClr val="AEABAB"/>
              </a:solidFill>
            </c:spPr>
            <c:extLst>
              <c:ext xmlns:c16="http://schemas.microsoft.com/office/drawing/2014/chart" uri="{C3380CC4-5D6E-409C-BE32-E72D297353CC}">
                <c16:uniqueId val="{0000037B-2E72-45B7-B22B-F12DE6506C9C}"/>
              </c:ext>
            </c:extLst>
          </c:dPt>
          <c:dPt>
            <c:idx val="445"/>
            <c:invertIfNegative val="1"/>
            <c:bubble3D val="0"/>
            <c:spPr>
              <a:solidFill>
                <a:srgbClr val="AEABAB"/>
              </a:solidFill>
            </c:spPr>
            <c:extLst>
              <c:ext xmlns:c16="http://schemas.microsoft.com/office/drawing/2014/chart" uri="{C3380CC4-5D6E-409C-BE32-E72D297353CC}">
                <c16:uniqueId val="{0000037D-2E72-45B7-B22B-F12DE6506C9C}"/>
              </c:ext>
            </c:extLst>
          </c:dPt>
          <c:dPt>
            <c:idx val="446"/>
            <c:invertIfNegative val="1"/>
            <c:bubble3D val="0"/>
            <c:spPr>
              <a:solidFill>
                <a:srgbClr val="AEABAB"/>
              </a:solidFill>
            </c:spPr>
            <c:extLst>
              <c:ext xmlns:c16="http://schemas.microsoft.com/office/drawing/2014/chart" uri="{C3380CC4-5D6E-409C-BE32-E72D297353CC}">
                <c16:uniqueId val="{0000037F-2E72-45B7-B22B-F12DE6506C9C}"/>
              </c:ext>
            </c:extLst>
          </c:dPt>
          <c:dPt>
            <c:idx val="447"/>
            <c:invertIfNegative val="1"/>
            <c:bubble3D val="0"/>
            <c:spPr>
              <a:solidFill>
                <a:srgbClr val="AEABAB"/>
              </a:solidFill>
            </c:spPr>
            <c:extLst>
              <c:ext xmlns:c16="http://schemas.microsoft.com/office/drawing/2014/chart" uri="{C3380CC4-5D6E-409C-BE32-E72D297353CC}">
                <c16:uniqueId val="{00000381-2E72-45B7-B22B-F12DE6506C9C}"/>
              </c:ext>
            </c:extLst>
          </c:dPt>
          <c:dPt>
            <c:idx val="448"/>
            <c:invertIfNegative val="1"/>
            <c:bubble3D val="0"/>
            <c:spPr>
              <a:solidFill>
                <a:srgbClr val="AEABAB"/>
              </a:solidFill>
            </c:spPr>
            <c:extLst>
              <c:ext xmlns:c16="http://schemas.microsoft.com/office/drawing/2014/chart" uri="{C3380CC4-5D6E-409C-BE32-E72D297353CC}">
                <c16:uniqueId val="{00000383-2E72-45B7-B22B-F12DE6506C9C}"/>
              </c:ext>
            </c:extLst>
          </c:dPt>
          <c:dPt>
            <c:idx val="449"/>
            <c:invertIfNegative val="1"/>
            <c:bubble3D val="0"/>
            <c:spPr>
              <a:solidFill>
                <a:srgbClr val="AEABAB"/>
              </a:solidFill>
            </c:spPr>
            <c:extLst>
              <c:ext xmlns:c16="http://schemas.microsoft.com/office/drawing/2014/chart" uri="{C3380CC4-5D6E-409C-BE32-E72D297353CC}">
                <c16:uniqueId val="{00000385-2E72-45B7-B22B-F12DE6506C9C}"/>
              </c:ext>
            </c:extLst>
          </c:dPt>
          <c:dPt>
            <c:idx val="450"/>
            <c:invertIfNegative val="1"/>
            <c:bubble3D val="0"/>
            <c:spPr>
              <a:solidFill>
                <a:srgbClr val="AEABAB"/>
              </a:solidFill>
            </c:spPr>
            <c:extLst>
              <c:ext xmlns:c16="http://schemas.microsoft.com/office/drawing/2014/chart" uri="{C3380CC4-5D6E-409C-BE32-E72D297353CC}">
                <c16:uniqueId val="{00000387-2E72-45B7-B22B-F12DE6506C9C}"/>
              </c:ext>
            </c:extLst>
          </c:dPt>
          <c:dPt>
            <c:idx val="451"/>
            <c:invertIfNegative val="1"/>
            <c:bubble3D val="0"/>
            <c:spPr>
              <a:solidFill>
                <a:srgbClr val="AEABAB"/>
              </a:solidFill>
            </c:spPr>
            <c:extLst>
              <c:ext xmlns:c16="http://schemas.microsoft.com/office/drawing/2014/chart" uri="{C3380CC4-5D6E-409C-BE32-E72D297353CC}">
                <c16:uniqueId val="{00000389-2E72-45B7-B22B-F12DE6506C9C}"/>
              </c:ext>
            </c:extLst>
          </c:dPt>
          <c:dPt>
            <c:idx val="452"/>
            <c:invertIfNegative val="1"/>
            <c:bubble3D val="0"/>
            <c:spPr>
              <a:solidFill>
                <a:srgbClr val="AEABAB"/>
              </a:solidFill>
            </c:spPr>
            <c:extLst>
              <c:ext xmlns:c16="http://schemas.microsoft.com/office/drawing/2014/chart" uri="{C3380CC4-5D6E-409C-BE32-E72D297353CC}">
                <c16:uniqueId val="{0000038B-2E72-45B7-B22B-F12DE6506C9C}"/>
              </c:ext>
            </c:extLst>
          </c:dPt>
          <c:dPt>
            <c:idx val="453"/>
            <c:invertIfNegative val="1"/>
            <c:bubble3D val="0"/>
            <c:spPr>
              <a:solidFill>
                <a:srgbClr val="AEABAB"/>
              </a:solidFill>
            </c:spPr>
            <c:extLst>
              <c:ext xmlns:c16="http://schemas.microsoft.com/office/drawing/2014/chart" uri="{C3380CC4-5D6E-409C-BE32-E72D297353CC}">
                <c16:uniqueId val="{0000038D-2E72-45B7-B22B-F12DE6506C9C}"/>
              </c:ext>
            </c:extLst>
          </c:dPt>
          <c:dPt>
            <c:idx val="454"/>
            <c:invertIfNegative val="1"/>
            <c:bubble3D val="0"/>
            <c:spPr>
              <a:solidFill>
                <a:srgbClr val="AEABAB"/>
              </a:solidFill>
            </c:spPr>
            <c:extLst>
              <c:ext xmlns:c16="http://schemas.microsoft.com/office/drawing/2014/chart" uri="{C3380CC4-5D6E-409C-BE32-E72D297353CC}">
                <c16:uniqueId val="{0000038F-2E72-45B7-B22B-F12DE6506C9C}"/>
              </c:ext>
            </c:extLst>
          </c:dPt>
          <c:dPt>
            <c:idx val="455"/>
            <c:invertIfNegative val="1"/>
            <c:bubble3D val="0"/>
            <c:spPr>
              <a:solidFill>
                <a:srgbClr val="AEABAB"/>
              </a:solidFill>
            </c:spPr>
            <c:extLst>
              <c:ext xmlns:c16="http://schemas.microsoft.com/office/drawing/2014/chart" uri="{C3380CC4-5D6E-409C-BE32-E72D297353CC}">
                <c16:uniqueId val="{00000391-2E72-45B7-B22B-F12DE6506C9C}"/>
              </c:ext>
            </c:extLst>
          </c:dPt>
          <c:dPt>
            <c:idx val="456"/>
            <c:invertIfNegative val="1"/>
            <c:bubble3D val="0"/>
            <c:spPr>
              <a:solidFill>
                <a:srgbClr val="AEABAB"/>
              </a:solidFill>
            </c:spPr>
            <c:extLst>
              <c:ext xmlns:c16="http://schemas.microsoft.com/office/drawing/2014/chart" uri="{C3380CC4-5D6E-409C-BE32-E72D297353CC}">
                <c16:uniqueId val="{00000393-2E72-45B7-B22B-F12DE6506C9C}"/>
              </c:ext>
            </c:extLst>
          </c:dPt>
          <c:dPt>
            <c:idx val="457"/>
            <c:invertIfNegative val="1"/>
            <c:bubble3D val="0"/>
            <c:spPr>
              <a:solidFill>
                <a:srgbClr val="AEABAB"/>
              </a:solidFill>
            </c:spPr>
            <c:extLst>
              <c:ext xmlns:c16="http://schemas.microsoft.com/office/drawing/2014/chart" uri="{C3380CC4-5D6E-409C-BE32-E72D297353CC}">
                <c16:uniqueId val="{00000395-2E72-45B7-B22B-F12DE6506C9C}"/>
              </c:ext>
            </c:extLst>
          </c:dPt>
          <c:dPt>
            <c:idx val="458"/>
            <c:invertIfNegative val="1"/>
            <c:bubble3D val="0"/>
            <c:spPr>
              <a:solidFill>
                <a:srgbClr val="AEABAB"/>
              </a:solidFill>
            </c:spPr>
            <c:extLst>
              <c:ext xmlns:c16="http://schemas.microsoft.com/office/drawing/2014/chart" uri="{C3380CC4-5D6E-409C-BE32-E72D297353CC}">
                <c16:uniqueId val="{00000397-2E72-45B7-B22B-F12DE6506C9C}"/>
              </c:ext>
            </c:extLst>
          </c:dPt>
          <c:dPt>
            <c:idx val="459"/>
            <c:invertIfNegative val="1"/>
            <c:bubble3D val="0"/>
            <c:spPr>
              <a:solidFill>
                <a:srgbClr val="AEABAB"/>
              </a:solidFill>
            </c:spPr>
            <c:extLst>
              <c:ext xmlns:c16="http://schemas.microsoft.com/office/drawing/2014/chart" uri="{C3380CC4-5D6E-409C-BE32-E72D297353CC}">
                <c16:uniqueId val="{00000399-2E72-45B7-B22B-F12DE6506C9C}"/>
              </c:ext>
            </c:extLst>
          </c:dPt>
          <c:dPt>
            <c:idx val="460"/>
            <c:invertIfNegative val="1"/>
            <c:bubble3D val="0"/>
            <c:spPr>
              <a:solidFill>
                <a:srgbClr val="AEABAB"/>
              </a:solidFill>
            </c:spPr>
            <c:extLst>
              <c:ext xmlns:c16="http://schemas.microsoft.com/office/drawing/2014/chart" uri="{C3380CC4-5D6E-409C-BE32-E72D297353CC}">
                <c16:uniqueId val="{0000039B-2E72-45B7-B22B-F12DE6506C9C}"/>
              </c:ext>
            </c:extLst>
          </c:dPt>
          <c:dPt>
            <c:idx val="461"/>
            <c:invertIfNegative val="1"/>
            <c:bubble3D val="0"/>
            <c:spPr>
              <a:solidFill>
                <a:srgbClr val="AEABAB"/>
              </a:solidFill>
            </c:spPr>
            <c:extLst>
              <c:ext xmlns:c16="http://schemas.microsoft.com/office/drawing/2014/chart" uri="{C3380CC4-5D6E-409C-BE32-E72D297353CC}">
                <c16:uniqueId val="{0000039D-2E72-45B7-B22B-F12DE6506C9C}"/>
              </c:ext>
            </c:extLst>
          </c:dPt>
          <c:dPt>
            <c:idx val="462"/>
            <c:invertIfNegative val="1"/>
            <c:bubble3D val="0"/>
            <c:spPr>
              <a:solidFill>
                <a:srgbClr val="AEABAB"/>
              </a:solidFill>
            </c:spPr>
            <c:extLst>
              <c:ext xmlns:c16="http://schemas.microsoft.com/office/drawing/2014/chart" uri="{C3380CC4-5D6E-409C-BE32-E72D297353CC}">
                <c16:uniqueId val="{0000039F-2E72-45B7-B22B-F12DE6506C9C}"/>
              </c:ext>
            </c:extLst>
          </c:dPt>
          <c:dPt>
            <c:idx val="463"/>
            <c:invertIfNegative val="1"/>
            <c:bubble3D val="0"/>
            <c:spPr>
              <a:solidFill>
                <a:srgbClr val="AEABAB"/>
              </a:solidFill>
            </c:spPr>
            <c:extLst>
              <c:ext xmlns:c16="http://schemas.microsoft.com/office/drawing/2014/chart" uri="{C3380CC4-5D6E-409C-BE32-E72D297353CC}">
                <c16:uniqueId val="{000003A1-2E72-45B7-B22B-F12DE6506C9C}"/>
              </c:ext>
            </c:extLst>
          </c:dPt>
          <c:dPt>
            <c:idx val="464"/>
            <c:invertIfNegative val="1"/>
            <c:bubble3D val="0"/>
            <c:spPr>
              <a:solidFill>
                <a:srgbClr val="AEABAB"/>
              </a:solidFill>
            </c:spPr>
            <c:extLst>
              <c:ext xmlns:c16="http://schemas.microsoft.com/office/drawing/2014/chart" uri="{C3380CC4-5D6E-409C-BE32-E72D297353CC}">
                <c16:uniqueId val="{000003A3-2E72-45B7-B22B-F12DE6506C9C}"/>
              </c:ext>
            </c:extLst>
          </c:dPt>
          <c:dPt>
            <c:idx val="465"/>
            <c:invertIfNegative val="1"/>
            <c:bubble3D val="0"/>
            <c:spPr>
              <a:solidFill>
                <a:srgbClr val="AEABAB"/>
              </a:solidFill>
            </c:spPr>
            <c:extLst>
              <c:ext xmlns:c16="http://schemas.microsoft.com/office/drawing/2014/chart" uri="{C3380CC4-5D6E-409C-BE32-E72D297353CC}">
                <c16:uniqueId val="{000003A5-2E72-45B7-B22B-F12DE6506C9C}"/>
              </c:ext>
            </c:extLst>
          </c:dPt>
          <c:dPt>
            <c:idx val="466"/>
            <c:invertIfNegative val="1"/>
            <c:bubble3D val="0"/>
            <c:spPr>
              <a:solidFill>
                <a:srgbClr val="AEABAB"/>
              </a:solidFill>
            </c:spPr>
            <c:extLst>
              <c:ext xmlns:c16="http://schemas.microsoft.com/office/drawing/2014/chart" uri="{C3380CC4-5D6E-409C-BE32-E72D297353CC}">
                <c16:uniqueId val="{000003A7-2E72-45B7-B22B-F12DE6506C9C}"/>
              </c:ext>
            </c:extLst>
          </c:dPt>
          <c:dPt>
            <c:idx val="467"/>
            <c:invertIfNegative val="1"/>
            <c:bubble3D val="0"/>
            <c:spPr>
              <a:solidFill>
                <a:srgbClr val="AEABAB"/>
              </a:solidFill>
            </c:spPr>
            <c:extLst>
              <c:ext xmlns:c16="http://schemas.microsoft.com/office/drawing/2014/chart" uri="{C3380CC4-5D6E-409C-BE32-E72D297353CC}">
                <c16:uniqueId val="{000003A9-2E72-45B7-B22B-F12DE6506C9C}"/>
              </c:ext>
            </c:extLst>
          </c:dPt>
          <c:dPt>
            <c:idx val="468"/>
            <c:invertIfNegative val="1"/>
            <c:bubble3D val="0"/>
            <c:spPr>
              <a:solidFill>
                <a:srgbClr val="AEABAB"/>
              </a:solidFill>
            </c:spPr>
            <c:extLst>
              <c:ext xmlns:c16="http://schemas.microsoft.com/office/drawing/2014/chart" uri="{C3380CC4-5D6E-409C-BE32-E72D297353CC}">
                <c16:uniqueId val="{000003AB-2E72-45B7-B22B-F12DE6506C9C}"/>
              </c:ext>
            </c:extLst>
          </c:dPt>
          <c:dPt>
            <c:idx val="469"/>
            <c:invertIfNegative val="1"/>
            <c:bubble3D val="0"/>
            <c:spPr>
              <a:solidFill>
                <a:srgbClr val="AEABAB"/>
              </a:solidFill>
            </c:spPr>
            <c:extLst>
              <c:ext xmlns:c16="http://schemas.microsoft.com/office/drawing/2014/chart" uri="{C3380CC4-5D6E-409C-BE32-E72D297353CC}">
                <c16:uniqueId val="{000003AD-2E72-45B7-B22B-F12DE6506C9C}"/>
              </c:ext>
            </c:extLst>
          </c:dPt>
          <c:dPt>
            <c:idx val="470"/>
            <c:invertIfNegative val="1"/>
            <c:bubble3D val="0"/>
            <c:spPr>
              <a:solidFill>
                <a:srgbClr val="AEABAB"/>
              </a:solidFill>
            </c:spPr>
            <c:extLst>
              <c:ext xmlns:c16="http://schemas.microsoft.com/office/drawing/2014/chart" uri="{C3380CC4-5D6E-409C-BE32-E72D297353CC}">
                <c16:uniqueId val="{000003AF-2E72-45B7-B22B-F12DE6506C9C}"/>
              </c:ext>
            </c:extLst>
          </c:dPt>
          <c:dPt>
            <c:idx val="471"/>
            <c:invertIfNegative val="1"/>
            <c:bubble3D val="0"/>
            <c:spPr>
              <a:solidFill>
                <a:srgbClr val="AEABAB"/>
              </a:solidFill>
            </c:spPr>
            <c:extLst>
              <c:ext xmlns:c16="http://schemas.microsoft.com/office/drawing/2014/chart" uri="{C3380CC4-5D6E-409C-BE32-E72D297353CC}">
                <c16:uniqueId val="{000003B1-2E72-45B7-B22B-F12DE6506C9C}"/>
              </c:ext>
            </c:extLst>
          </c:dPt>
          <c:dPt>
            <c:idx val="472"/>
            <c:invertIfNegative val="1"/>
            <c:bubble3D val="0"/>
            <c:spPr>
              <a:solidFill>
                <a:srgbClr val="AEABAB"/>
              </a:solidFill>
            </c:spPr>
            <c:extLst>
              <c:ext xmlns:c16="http://schemas.microsoft.com/office/drawing/2014/chart" uri="{C3380CC4-5D6E-409C-BE32-E72D297353CC}">
                <c16:uniqueId val="{000003B3-2E72-45B7-B22B-F12DE6506C9C}"/>
              </c:ext>
            </c:extLst>
          </c:dPt>
          <c:dPt>
            <c:idx val="473"/>
            <c:invertIfNegative val="1"/>
            <c:bubble3D val="0"/>
            <c:spPr>
              <a:solidFill>
                <a:srgbClr val="AEABAB"/>
              </a:solidFill>
            </c:spPr>
            <c:extLst>
              <c:ext xmlns:c16="http://schemas.microsoft.com/office/drawing/2014/chart" uri="{C3380CC4-5D6E-409C-BE32-E72D297353CC}">
                <c16:uniqueId val="{000003B5-2E72-45B7-B22B-F12DE6506C9C}"/>
              </c:ext>
            </c:extLst>
          </c:dPt>
          <c:dPt>
            <c:idx val="474"/>
            <c:invertIfNegative val="1"/>
            <c:bubble3D val="0"/>
            <c:spPr>
              <a:solidFill>
                <a:srgbClr val="AEABAB"/>
              </a:solidFill>
            </c:spPr>
            <c:extLst>
              <c:ext xmlns:c16="http://schemas.microsoft.com/office/drawing/2014/chart" uri="{C3380CC4-5D6E-409C-BE32-E72D297353CC}">
                <c16:uniqueId val="{000003B7-2E72-45B7-B22B-F12DE6506C9C}"/>
              </c:ext>
            </c:extLst>
          </c:dPt>
          <c:dPt>
            <c:idx val="475"/>
            <c:invertIfNegative val="1"/>
            <c:bubble3D val="0"/>
            <c:spPr>
              <a:solidFill>
                <a:srgbClr val="AEABAB"/>
              </a:solidFill>
            </c:spPr>
            <c:extLst>
              <c:ext xmlns:c16="http://schemas.microsoft.com/office/drawing/2014/chart" uri="{C3380CC4-5D6E-409C-BE32-E72D297353CC}">
                <c16:uniqueId val="{000003B9-2E72-45B7-B22B-F12DE6506C9C}"/>
              </c:ext>
            </c:extLst>
          </c:dPt>
          <c:dPt>
            <c:idx val="476"/>
            <c:invertIfNegative val="1"/>
            <c:bubble3D val="0"/>
            <c:spPr>
              <a:solidFill>
                <a:srgbClr val="AEABAB"/>
              </a:solidFill>
            </c:spPr>
            <c:extLst>
              <c:ext xmlns:c16="http://schemas.microsoft.com/office/drawing/2014/chart" uri="{C3380CC4-5D6E-409C-BE32-E72D297353CC}">
                <c16:uniqueId val="{000003BB-2E72-45B7-B22B-F12DE6506C9C}"/>
              </c:ext>
            </c:extLst>
          </c:dPt>
          <c:dPt>
            <c:idx val="477"/>
            <c:invertIfNegative val="1"/>
            <c:bubble3D val="0"/>
            <c:spPr>
              <a:solidFill>
                <a:srgbClr val="AEABAB"/>
              </a:solidFill>
            </c:spPr>
            <c:extLst>
              <c:ext xmlns:c16="http://schemas.microsoft.com/office/drawing/2014/chart" uri="{C3380CC4-5D6E-409C-BE32-E72D297353CC}">
                <c16:uniqueId val="{000003BD-2E72-45B7-B22B-F12DE6506C9C}"/>
              </c:ext>
            </c:extLst>
          </c:dPt>
          <c:dPt>
            <c:idx val="478"/>
            <c:invertIfNegative val="1"/>
            <c:bubble3D val="0"/>
            <c:spPr>
              <a:solidFill>
                <a:srgbClr val="AEABAB"/>
              </a:solidFill>
            </c:spPr>
            <c:extLst>
              <c:ext xmlns:c16="http://schemas.microsoft.com/office/drawing/2014/chart" uri="{C3380CC4-5D6E-409C-BE32-E72D297353CC}">
                <c16:uniqueId val="{000003BF-2E72-45B7-B22B-F12DE6506C9C}"/>
              </c:ext>
            </c:extLst>
          </c:dPt>
          <c:dPt>
            <c:idx val="479"/>
            <c:invertIfNegative val="1"/>
            <c:bubble3D val="0"/>
            <c:spPr>
              <a:solidFill>
                <a:srgbClr val="AEABAB"/>
              </a:solidFill>
            </c:spPr>
            <c:extLst>
              <c:ext xmlns:c16="http://schemas.microsoft.com/office/drawing/2014/chart" uri="{C3380CC4-5D6E-409C-BE32-E72D297353CC}">
                <c16:uniqueId val="{000003C1-2E72-45B7-B22B-F12DE6506C9C}"/>
              </c:ext>
            </c:extLst>
          </c:dPt>
          <c:dPt>
            <c:idx val="480"/>
            <c:invertIfNegative val="1"/>
            <c:bubble3D val="0"/>
            <c:spPr>
              <a:solidFill>
                <a:srgbClr val="AEABAB"/>
              </a:solidFill>
            </c:spPr>
            <c:extLst>
              <c:ext xmlns:c16="http://schemas.microsoft.com/office/drawing/2014/chart" uri="{C3380CC4-5D6E-409C-BE32-E72D297353CC}">
                <c16:uniqueId val="{000003C3-2E72-45B7-B22B-F12DE6506C9C}"/>
              </c:ext>
            </c:extLst>
          </c:dPt>
          <c:dPt>
            <c:idx val="481"/>
            <c:invertIfNegative val="1"/>
            <c:bubble3D val="0"/>
            <c:spPr>
              <a:solidFill>
                <a:srgbClr val="AEABAB"/>
              </a:solidFill>
            </c:spPr>
            <c:extLst>
              <c:ext xmlns:c16="http://schemas.microsoft.com/office/drawing/2014/chart" uri="{C3380CC4-5D6E-409C-BE32-E72D297353CC}">
                <c16:uniqueId val="{000003C5-2E72-45B7-B22B-F12DE6506C9C}"/>
              </c:ext>
            </c:extLst>
          </c:dPt>
          <c:dPt>
            <c:idx val="482"/>
            <c:invertIfNegative val="1"/>
            <c:bubble3D val="0"/>
            <c:spPr>
              <a:solidFill>
                <a:srgbClr val="AEABAB"/>
              </a:solidFill>
            </c:spPr>
            <c:extLst>
              <c:ext xmlns:c16="http://schemas.microsoft.com/office/drawing/2014/chart" uri="{C3380CC4-5D6E-409C-BE32-E72D297353CC}">
                <c16:uniqueId val="{000003C7-2E72-45B7-B22B-F12DE6506C9C}"/>
              </c:ext>
            </c:extLst>
          </c:dPt>
          <c:dPt>
            <c:idx val="483"/>
            <c:invertIfNegative val="1"/>
            <c:bubble3D val="0"/>
            <c:spPr>
              <a:solidFill>
                <a:srgbClr val="AEABAB"/>
              </a:solidFill>
            </c:spPr>
            <c:extLst>
              <c:ext xmlns:c16="http://schemas.microsoft.com/office/drawing/2014/chart" uri="{C3380CC4-5D6E-409C-BE32-E72D297353CC}">
                <c16:uniqueId val="{000003C9-2E72-45B7-B22B-F12DE6506C9C}"/>
              </c:ext>
            </c:extLst>
          </c:dPt>
          <c:dPt>
            <c:idx val="484"/>
            <c:invertIfNegative val="1"/>
            <c:bubble3D val="0"/>
            <c:spPr>
              <a:solidFill>
                <a:srgbClr val="AEABAB"/>
              </a:solidFill>
            </c:spPr>
            <c:extLst>
              <c:ext xmlns:c16="http://schemas.microsoft.com/office/drawing/2014/chart" uri="{C3380CC4-5D6E-409C-BE32-E72D297353CC}">
                <c16:uniqueId val="{000003CB-2E72-45B7-B22B-F12DE6506C9C}"/>
              </c:ext>
            </c:extLst>
          </c:dPt>
          <c:dPt>
            <c:idx val="485"/>
            <c:invertIfNegative val="1"/>
            <c:bubble3D val="0"/>
            <c:spPr>
              <a:solidFill>
                <a:srgbClr val="AEABAB"/>
              </a:solidFill>
            </c:spPr>
            <c:extLst>
              <c:ext xmlns:c16="http://schemas.microsoft.com/office/drawing/2014/chart" uri="{C3380CC4-5D6E-409C-BE32-E72D297353CC}">
                <c16:uniqueId val="{000003CD-2E72-45B7-B22B-F12DE6506C9C}"/>
              </c:ext>
            </c:extLst>
          </c:dPt>
          <c:dPt>
            <c:idx val="486"/>
            <c:invertIfNegative val="1"/>
            <c:bubble3D val="0"/>
            <c:spPr>
              <a:solidFill>
                <a:srgbClr val="AEABAB"/>
              </a:solidFill>
            </c:spPr>
            <c:extLst>
              <c:ext xmlns:c16="http://schemas.microsoft.com/office/drawing/2014/chart" uri="{C3380CC4-5D6E-409C-BE32-E72D297353CC}">
                <c16:uniqueId val="{000003CF-2E72-45B7-B22B-F12DE6506C9C}"/>
              </c:ext>
            </c:extLst>
          </c:dPt>
          <c:dPt>
            <c:idx val="487"/>
            <c:invertIfNegative val="1"/>
            <c:bubble3D val="0"/>
            <c:spPr>
              <a:solidFill>
                <a:srgbClr val="AEABAB"/>
              </a:solidFill>
            </c:spPr>
            <c:extLst>
              <c:ext xmlns:c16="http://schemas.microsoft.com/office/drawing/2014/chart" uri="{C3380CC4-5D6E-409C-BE32-E72D297353CC}">
                <c16:uniqueId val="{000003D1-2E72-45B7-B22B-F12DE6506C9C}"/>
              </c:ext>
            </c:extLst>
          </c:dPt>
          <c:dPt>
            <c:idx val="488"/>
            <c:invertIfNegative val="1"/>
            <c:bubble3D val="0"/>
            <c:spPr>
              <a:solidFill>
                <a:srgbClr val="AEABAB"/>
              </a:solidFill>
            </c:spPr>
            <c:extLst>
              <c:ext xmlns:c16="http://schemas.microsoft.com/office/drawing/2014/chart" uri="{C3380CC4-5D6E-409C-BE32-E72D297353CC}">
                <c16:uniqueId val="{000003D3-2E72-45B7-B22B-F12DE6506C9C}"/>
              </c:ext>
            </c:extLst>
          </c:dPt>
          <c:dPt>
            <c:idx val="489"/>
            <c:invertIfNegative val="1"/>
            <c:bubble3D val="0"/>
            <c:spPr>
              <a:solidFill>
                <a:srgbClr val="AEABAB"/>
              </a:solidFill>
            </c:spPr>
            <c:extLst>
              <c:ext xmlns:c16="http://schemas.microsoft.com/office/drawing/2014/chart" uri="{C3380CC4-5D6E-409C-BE32-E72D297353CC}">
                <c16:uniqueId val="{000003D5-2E72-45B7-B22B-F12DE6506C9C}"/>
              </c:ext>
            </c:extLst>
          </c:dPt>
          <c:dPt>
            <c:idx val="490"/>
            <c:invertIfNegative val="1"/>
            <c:bubble3D val="0"/>
            <c:spPr>
              <a:solidFill>
                <a:srgbClr val="AEABAB"/>
              </a:solidFill>
            </c:spPr>
            <c:extLst>
              <c:ext xmlns:c16="http://schemas.microsoft.com/office/drawing/2014/chart" uri="{C3380CC4-5D6E-409C-BE32-E72D297353CC}">
                <c16:uniqueId val="{000003D7-2E72-45B7-B22B-F12DE6506C9C}"/>
              </c:ext>
            </c:extLst>
          </c:dPt>
          <c:dPt>
            <c:idx val="491"/>
            <c:invertIfNegative val="1"/>
            <c:bubble3D val="0"/>
            <c:spPr>
              <a:solidFill>
                <a:srgbClr val="AEABAB"/>
              </a:solidFill>
            </c:spPr>
            <c:extLst>
              <c:ext xmlns:c16="http://schemas.microsoft.com/office/drawing/2014/chart" uri="{C3380CC4-5D6E-409C-BE32-E72D297353CC}">
                <c16:uniqueId val="{000003D9-2E72-45B7-B22B-F12DE6506C9C}"/>
              </c:ext>
            </c:extLst>
          </c:dPt>
          <c:dPt>
            <c:idx val="492"/>
            <c:invertIfNegative val="1"/>
            <c:bubble3D val="0"/>
            <c:spPr>
              <a:solidFill>
                <a:srgbClr val="AEABAB"/>
              </a:solidFill>
            </c:spPr>
            <c:extLst>
              <c:ext xmlns:c16="http://schemas.microsoft.com/office/drawing/2014/chart" uri="{C3380CC4-5D6E-409C-BE32-E72D297353CC}">
                <c16:uniqueId val="{000003DB-2E72-45B7-B22B-F12DE6506C9C}"/>
              </c:ext>
            </c:extLst>
          </c:dPt>
          <c:dPt>
            <c:idx val="493"/>
            <c:invertIfNegative val="1"/>
            <c:bubble3D val="0"/>
            <c:spPr>
              <a:solidFill>
                <a:srgbClr val="AEABAB"/>
              </a:solidFill>
            </c:spPr>
            <c:extLst>
              <c:ext xmlns:c16="http://schemas.microsoft.com/office/drawing/2014/chart" uri="{C3380CC4-5D6E-409C-BE32-E72D297353CC}">
                <c16:uniqueId val="{000003DD-2E72-45B7-B22B-F12DE6506C9C}"/>
              </c:ext>
            </c:extLst>
          </c:dPt>
          <c:dPt>
            <c:idx val="494"/>
            <c:invertIfNegative val="1"/>
            <c:bubble3D val="0"/>
            <c:spPr>
              <a:solidFill>
                <a:srgbClr val="AEABAB"/>
              </a:solidFill>
            </c:spPr>
            <c:extLst>
              <c:ext xmlns:c16="http://schemas.microsoft.com/office/drawing/2014/chart" uri="{C3380CC4-5D6E-409C-BE32-E72D297353CC}">
                <c16:uniqueId val="{000003DF-2E72-45B7-B22B-F12DE6506C9C}"/>
              </c:ext>
            </c:extLst>
          </c:dPt>
          <c:dPt>
            <c:idx val="495"/>
            <c:invertIfNegative val="1"/>
            <c:bubble3D val="0"/>
            <c:spPr>
              <a:solidFill>
                <a:srgbClr val="AEABAB"/>
              </a:solidFill>
            </c:spPr>
            <c:extLst>
              <c:ext xmlns:c16="http://schemas.microsoft.com/office/drawing/2014/chart" uri="{C3380CC4-5D6E-409C-BE32-E72D297353CC}">
                <c16:uniqueId val="{000003E1-2E72-45B7-B22B-F12DE6506C9C}"/>
              </c:ext>
            </c:extLst>
          </c:dPt>
          <c:dPt>
            <c:idx val="496"/>
            <c:invertIfNegative val="1"/>
            <c:bubble3D val="0"/>
            <c:spPr>
              <a:solidFill>
                <a:srgbClr val="AEABAB"/>
              </a:solidFill>
            </c:spPr>
            <c:extLst>
              <c:ext xmlns:c16="http://schemas.microsoft.com/office/drawing/2014/chart" uri="{C3380CC4-5D6E-409C-BE32-E72D297353CC}">
                <c16:uniqueId val="{000003E3-2E72-45B7-B22B-F12DE6506C9C}"/>
              </c:ext>
            </c:extLst>
          </c:dPt>
          <c:dPt>
            <c:idx val="497"/>
            <c:invertIfNegative val="1"/>
            <c:bubble3D val="0"/>
            <c:spPr>
              <a:solidFill>
                <a:srgbClr val="AEABAB"/>
              </a:solidFill>
            </c:spPr>
            <c:extLst>
              <c:ext xmlns:c16="http://schemas.microsoft.com/office/drawing/2014/chart" uri="{C3380CC4-5D6E-409C-BE32-E72D297353CC}">
                <c16:uniqueId val="{000003E5-2E72-45B7-B22B-F12DE6506C9C}"/>
              </c:ext>
            </c:extLst>
          </c:dPt>
          <c:dPt>
            <c:idx val="498"/>
            <c:invertIfNegative val="1"/>
            <c:bubble3D val="0"/>
            <c:spPr>
              <a:solidFill>
                <a:srgbClr val="AEABAB"/>
              </a:solidFill>
            </c:spPr>
            <c:extLst>
              <c:ext xmlns:c16="http://schemas.microsoft.com/office/drawing/2014/chart" uri="{C3380CC4-5D6E-409C-BE32-E72D297353CC}">
                <c16:uniqueId val="{000003E7-2E72-45B7-B22B-F12DE6506C9C}"/>
              </c:ext>
            </c:extLst>
          </c:dPt>
          <c:dPt>
            <c:idx val="499"/>
            <c:invertIfNegative val="1"/>
            <c:bubble3D val="0"/>
            <c:spPr>
              <a:solidFill>
                <a:srgbClr val="AEABAB"/>
              </a:solidFill>
            </c:spPr>
            <c:extLst>
              <c:ext xmlns:c16="http://schemas.microsoft.com/office/drawing/2014/chart" uri="{C3380CC4-5D6E-409C-BE32-E72D297353CC}">
                <c16:uniqueId val="{000003E9-2E72-45B7-B22B-F12DE6506C9C}"/>
              </c:ext>
            </c:extLst>
          </c:dPt>
          <c:dPt>
            <c:idx val="500"/>
            <c:invertIfNegative val="1"/>
            <c:bubble3D val="0"/>
            <c:spPr>
              <a:solidFill>
                <a:srgbClr val="AEABAB"/>
              </a:solidFill>
            </c:spPr>
            <c:extLst>
              <c:ext xmlns:c16="http://schemas.microsoft.com/office/drawing/2014/chart" uri="{C3380CC4-5D6E-409C-BE32-E72D297353CC}">
                <c16:uniqueId val="{000003EB-2E72-45B7-B22B-F12DE6506C9C}"/>
              </c:ext>
            </c:extLst>
          </c:dPt>
          <c:dPt>
            <c:idx val="501"/>
            <c:invertIfNegative val="1"/>
            <c:bubble3D val="0"/>
            <c:spPr>
              <a:solidFill>
                <a:srgbClr val="AEABAB"/>
              </a:solidFill>
            </c:spPr>
            <c:extLst>
              <c:ext xmlns:c16="http://schemas.microsoft.com/office/drawing/2014/chart" uri="{C3380CC4-5D6E-409C-BE32-E72D297353CC}">
                <c16:uniqueId val="{000003ED-2E72-45B7-B22B-F12DE6506C9C}"/>
              </c:ext>
            </c:extLst>
          </c:dPt>
          <c:dPt>
            <c:idx val="502"/>
            <c:invertIfNegative val="1"/>
            <c:bubble3D val="0"/>
            <c:spPr>
              <a:solidFill>
                <a:srgbClr val="AEABAB"/>
              </a:solidFill>
            </c:spPr>
            <c:extLst>
              <c:ext xmlns:c16="http://schemas.microsoft.com/office/drawing/2014/chart" uri="{C3380CC4-5D6E-409C-BE32-E72D297353CC}">
                <c16:uniqueId val="{000003EF-2E72-45B7-B22B-F12DE6506C9C}"/>
              </c:ext>
            </c:extLst>
          </c:dPt>
          <c:dPt>
            <c:idx val="503"/>
            <c:invertIfNegative val="1"/>
            <c:bubble3D val="0"/>
            <c:spPr>
              <a:solidFill>
                <a:srgbClr val="AEABAB"/>
              </a:solidFill>
            </c:spPr>
            <c:extLst>
              <c:ext xmlns:c16="http://schemas.microsoft.com/office/drawing/2014/chart" uri="{C3380CC4-5D6E-409C-BE32-E72D297353CC}">
                <c16:uniqueId val="{000003F1-2E72-45B7-B22B-F12DE6506C9C}"/>
              </c:ext>
            </c:extLst>
          </c:dPt>
          <c:dPt>
            <c:idx val="504"/>
            <c:invertIfNegative val="1"/>
            <c:bubble3D val="0"/>
            <c:spPr>
              <a:solidFill>
                <a:srgbClr val="AEABAB"/>
              </a:solidFill>
            </c:spPr>
            <c:extLst>
              <c:ext xmlns:c16="http://schemas.microsoft.com/office/drawing/2014/chart" uri="{C3380CC4-5D6E-409C-BE32-E72D297353CC}">
                <c16:uniqueId val="{000003F3-2E72-45B7-B22B-F12DE6506C9C}"/>
              </c:ext>
            </c:extLst>
          </c:dPt>
          <c:dPt>
            <c:idx val="505"/>
            <c:invertIfNegative val="1"/>
            <c:bubble3D val="0"/>
            <c:spPr>
              <a:solidFill>
                <a:srgbClr val="AEABAB"/>
              </a:solidFill>
            </c:spPr>
            <c:extLst>
              <c:ext xmlns:c16="http://schemas.microsoft.com/office/drawing/2014/chart" uri="{C3380CC4-5D6E-409C-BE32-E72D297353CC}">
                <c16:uniqueId val="{000003F5-2E72-45B7-B22B-F12DE6506C9C}"/>
              </c:ext>
            </c:extLst>
          </c:dPt>
          <c:dPt>
            <c:idx val="506"/>
            <c:invertIfNegative val="1"/>
            <c:bubble3D val="0"/>
            <c:spPr>
              <a:solidFill>
                <a:srgbClr val="AEABAB"/>
              </a:solidFill>
            </c:spPr>
            <c:extLst>
              <c:ext xmlns:c16="http://schemas.microsoft.com/office/drawing/2014/chart" uri="{C3380CC4-5D6E-409C-BE32-E72D297353CC}">
                <c16:uniqueId val="{000003F7-2E72-45B7-B22B-F12DE6506C9C}"/>
              </c:ext>
            </c:extLst>
          </c:dPt>
          <c:dPt>
            <c:idx val="507"/>
            <c:invertIfNegative val="1"/>
            <c:bubble3D val="0"/>
            <c:spPr>
              <a:solidFill>
                <a:srgbClr val="AEABAB"/>
              </a:solidFill>
            </c:spPr>
            <c:extLst>
              <c:ext xmlns:c16="http://schemas.microsoft.com/office/drawing/2014/chart" uri="{C3380CC4-5D6E-409C-BE32-E72D297353CC}">
                <c16:uniqueId val="{000003F9-2E72-45B7-B22B-F12DE6506C9C}"/>
              </c:ext>
            </c:extLst>
          </c:dPt>
          <c:dPt>
            <c:idx val="508"/>
            <c:invertIfNegative val="1"/>
            <c:bubble3D val="0"/>
            <c:spPr>
              <a:solidFill>
                <a:srgbClr val="AEABAB"/>
              </a:solidFill>
            </c:spPr>
            <c:extLst>
              <c:ext xmlns:c16="http://schemas.microsoft.com/office/drawing/2014/chart" uri="{C3380CC4-5D6E-409C-BE32-E72D297353CC}">
                <c16:uniqueId val="{000003FB-2E72-45B7-B22B-F12DE6506C9C}"/>
              </c:ext>
            </c:extLst>
          </c:dPt>
          <c:dPt>
            <c:idx val="509"/>
            <c:invertIfNegative val="1"/>
            <c:bubble3D val="0"/>
            <c:spPr>
              <a:solidFill>
                <a:srgbClr val="AEABAB"/>
              </a:solidFill>
            </c:spPr>
            <c:extLst>
              <c:ext xmlns:c16="http://schemas.microsoft.com/office/drawing/2014/chart" uri="{C3380CC4-5D6E-409C-BE32-E72D297353CC}">
                <c16:uniqueId val="{000003FD-2E72-45B7-B22B-F12DE6506C9C}"/>
              </c:ext>
            </c:extLst>
          </c:dPt>
          <c:dPt>
            <c:idx val="510"/>
            <c:invertIfNegative val="1"/>
            <c:bubble3D val="0"/>
            <c:spPr>
              <a:solidFill>
                <a:srgbClr val="AEABAB"/>
              </a:solidFill>
            </c:spPr>
            <c:extLst>
              <c:ext xmlns:c16="http://schemas.microsoft.com/office/drawing/2014/chart" uri="{C3380CC4-5D6E-409C-BE32-E72D297353CC}">
                <c16:uniqueId val="{000003FF-2E72-45B7-B22B-F12DE6506C9C}"/>
              </c:ext>
            </c:extLst>
          </c:dPt>
          <c:dPt>
            <c:idx val="511"/>
            <c:invertIfNegative val="1"/>
            <c:bubble3D val="0"/>
            <c:spPr>
              <a:solidFill>
                <a:srgbClr val="AEABAB"/>
              </a:solidFill>
            </c:spPr>
            <c:extLst>
              <c:ext xmlns:c16="http://schemas.microsoft.com/office/drawing/2014/chart" uri="{C3380CC4-5D6E-409C-BE32-E72D297353CC}">
                <c16:uniqueId val="{00000401-2E72-45B7-B22B-F12DE6506C9C}"/>
              </c:ext>
            </c:extLst>
          </c:dPt>
          <c:dPt>
            <c:idx val="512"/>
            <c:invertIfNegative val="1"/>
            <c:bubble3D val="0"/>
            <c:spPr>
              <a:solidFill>
                <a:srgbClr val="AEABAB"/>
              </a:solidFill>
            </c:spPr>
            <c:extLst>
              <c:ext xmlns:c16="http://schemas.microsoft.com/office/drawing/2014/chart" uri="{C3380CC4-5D6E-409C-BE32-E72D297353CC}">
                <c16:uniqueId val="{00000403-2E72-45B7-B22B-F12DE6506C9C}"/>
              </c:ext>
            </c:extLst>
          </c:dPt>
          <c:dPt>
            <c:idx val="513"/>
            <c:invertIfNegative val="1"/>
            <c:bubble3D val="0"/>
            <c:spPr>
              <a:solidFill>
                <a:srgbClr val="AEABAB"/>
              </a:solidFill>
            </c:spPr>
            <c:extLst>
              <c:ext xmlns:c16="http://schemas.microsoft.com/office/drawing/2014/chart" uri="{C3380CC4-5D6E-409C-BE32-E72D297353CC}">
                <c16:uniqueId val="{00000405-2E72-45B7-B22B-F12DE6506C9C}"/>
              </c:ext>
            </c:extLst>
          </c:dPt>
          <c:dPt>
            <c:idx val="514"/>
            <c:invertIfNegative val="1"/>
            <c:bubble3D val="0"/>
            <c:spPr>
              <a:solidFill>
                <a:srgbClr val="AEABAB"/>
              </a:solidFill>
            </c:spPr>
            <c:extLst>
              <c:ext xmlns:c16="http://schemas.microsoft.com/office/drawing/2014/chart" uri="{C3380CC4-5D6E-409C-BE32-E72D297353CC}">
                <c16:uniqueId val="{00000407-2E72-45B7-B22B-F12DE6506C9C}"/>
              </c:ext>
            </c:extLst>
          </c:dPt>
          <c:dPt>
            <c:idx val="515"/>
            <c:invertIfNegative val="1"/>
            <c:bubble3D val="0"/>
            <c:spPr>
              <a:solidFill>
                <a:srgbClr val="AEABAB"/>
              </a:solidFill>
            </c:spPr>
            <c:extLst>
              <c:ext xmlns:c16="http://schemas.microsoft.com/office/drawing/2014/chart" uri="{C3380CC4-5D6E-409C-BE32-E72D297353CC}">
                <c16:uniqueId val="{00000409-2E72-45B7-B22B-F12DE6506C9C}"/>
              </c:ext>
            </c:extLst>
          </c:dPt>
          <c:dPt>
            <c:idx val="516"/>
            <c:invertIfNegative val="1"/>
            <c:bubble3D val="0"/>
            <c:spPr>
              <a:solidFill>
                <a:srgbClr val="AEABAB"/>
              </a:solidFill>
            </c:spPr>
            <c:extLst>
              <c:ext xmlns:c16="http://schemas.microsoft.com/office/drawing/2014/chart" uri="{C3380CC4-5D6E-409C-BE32-E72D297353CC}">
                <c16:uniqueId val="{0000040B-2E72-45B7-B22B-F12DE6506C9C}"/>
              </c:ext>
            </c:extLst>
          </c:dPt>
          <c:dPt>
            <c:idx val="517"/>
            <c:invertIfNegative val="1"/>
            <c:bubble3D val="0"/>
            <c:spPr>
              <a:solidFill>
                <a:srgbClr val="AEABAB"/>
              </a:solidFill>
            </c:spPr>
            <c:extLst>
              <c:ext xmlns:c16="http://schemas.microsoft.com/office/drawing/2014/chart" uri="{C3380CC4-5D6E-409C-BE32-E72D297353CC}">
                <c16:uniqueId val="{0000040D-2E72-45B7-B22B-F12DE6506C9C}"/>
              </c:ext>
            </c:extLst>
          </c:dPt>
          <c:dPt>
            <c:idx val="518"/>
            <c:invertIfNegative val="1"/>
            <c:bubble3D val="0"/>
            <c:spPr>
              <a:solidFill>
                <a:srgbClr val="AEABAB"/>
              </a:solidFill>
            </c:spPr>
            <c:extLst>
              <c:ext xmlns:c16="http://schemas.microsoft.com/office/drawing/2014/chart" uri="{C3380CC4-5D6E-409C-BE32-E72D297353CC}">
                <c16:uniqueId val="{0000040F-2E72-45B7-B22B-F12DE6506C9C}"/>
              </c:ext>
            </c:extLst>
          </c:dPt>
          <c:dPt>
            <c:idx val="519"/>
            <c:invertIfNegative val="1"/>
            <c:bubble3D val="0"/>
            <c:spPr>
              <a:solidFill>
                <a:srgbClr val="AEABAB"/>
              </a:solidFill>
            </c:spPr>
            <c:extLst>
              <c:ext xmlns:c16="http://schemas.microsoft.com/office/drawing/2014/chart" uri="{C3380CC4-5D6E-409C-BE32-E72D297353CC}">
                <c16:uniqueId val="{00000411-2E72-45B7-B22B-F12DE6506C9C}"/>
              </c:ext>
            </c:extLst>
          </c:dPt>
          <c:dPt>
            <c:idx val="520"/>
            <c:invertIfNegative val="1"/>
            <c:bubble3D val="0"/>
            <c:spPr>
              <a:solidFill>
                <a:srgbClr val="AEABAB"/>
              </a:solidFill>
            </c:spPr>
            <c:extLst>
              <c:ext xmlns:c16="http://schemas.microsoft.com/office/drawing/2014/chart" uri="{C3380CC4-5D6E-409C-BE32-E72D297353CC}">
                <c16:uniqueId val="{00000413-2E72-45B7-B22B-F12DE6506C9C}"/>
              </c:ext>
            </c:extLst>
          </c:dPt>
          <c:dPt>
            <c:idx val="521"/>
            <c:invertIfNegative val="1"/>
            <c:bubble3D val="0"/>
            <c:spPr>
              <a:solidFill>
                <a:srgbClr val="AEABAB"/>
              </a:solidFill>
            </c:spPr>
            <c:extLst>
              <c:ext xmlns:c16="http://schemas.microsoft.com/office/drawing/2014/chart" uri="{C3380CC4-5D6E-409C-BE32-E72D297353CC}">
                <c16:uniqueId val="{00000415-2E72-45B7-B22B-F12DE6506C9C}"/>
              </c:ext>
            </c:extLst>
          </c:dPt>
          <c:dPt>
            <c:idx val="522"/>
            <c:invertIfNegative val="1"/>
            <c:bubble3D val="0"/>
            <c:spPr>
              <a:solidFill>
                <a:srgbClr val="AEABAB"/>
              </a:solidFill>
            </c:spPr>
            <c:extLst>
              <c:ext xmlns:c16="http://schemas.microsoft.com/office/drawing/2014/chart" uri="{C3380CC4-5D6E-409C-BE32-E72D297353CC}">
                <c16:uniqueId val="{00000417-2E72-45B7-B22B-F12DE6506C9C}"/>
              </c:ext>
            </c:extLst>
          </c:dPt>
          <c:dPt>
            <c:idx val="523"/>
            <c:invertIfNegative val="1"/>
            <c:bubble3D val="0"/>
            <c:spPr>
              <a:solidFill>
                <a:srgbClr val="AEABAB"/>
              </a:solidFill>
            </c:spPr>
            <c:extLst>
              <c:ext xmlns:c16="http://schemas.microsoft.com/office/drawing/2014/chart" uri="{C3380CC4-5D6E-409C-BE32-E72D297353CC}">
                <c16:uniqueId val="{00000419-2E72-45B7-B22B-F12DE6506C9C}"/>
              </c:ext>
            </c:extLst>
          </c:dPt>
          <c:dPt>
            <c:idx val="524"/>
            <c:invertIfNegative val="1"/>
            <c:bubble3D val="0"/>
            <c:spPr>
              <a:solidFill>
                <a:srgbClr val="AEABAB"/>
              </a:solidFill>
            </c:spPr>
            <c:extLst>
              <c:ext xmlns:c16="http://schemas.microsoft.com/office/drawing/2014/chart" uri="{C3380CC4-5D6E-409C-BE32-E72D297353CC}">
                <c16:uniqueId val="{0000041B-2E72-45B7-B22B-F12DE6506C9C}"/>
              </c:ext>
            </c:extLst>
          </c:dPt>
          <c:dPt>
            <c:idx val="525"/>
            <c:invertIfNegative val="1"/>
            <c:bubble3D val="0"/>
            <c:spPr>
              <a:solidFill>
                <a:srgbClr val="AEABAB"/>
              </a:solidFill>
            </c:spPr>
            <c:extLst>
              <c:ext xmlns:c16="http://schemas.microsoft.com/office/drawing/2014/chart" uri="{C3380CC4-5D6E-409C-BE32-E72D297353CC}">
                <c16:uniqueId val="{0000041D-2E72-45B7-B22B-F12DE6506C9C}"/>
              </c:ext>
            </c:extLst>
          </c:dPt>
          <c:dPt>
            <c:idx val="526"/>
            <c:invertIfNegative val="1"/>
            <c:bubble3D val="0"/>
            <c:spPr>
              <a:solidFill>
                <a:srgbClr val="AEABAB"/>
              </a:solidFill>
            </c:spPr>
            <c:extLst>
              <c:ext xmlns:c16="http://schemas.microsoft.com/office/drawing/2014/chart" uri="{C3380CC4-5D6E-409C-BE32-E72D297353CC}">
                <c16:uniqueId val="{0000041F-2E72-45B7-B22B-F12DE6506C9C}"/>
              </c:ext>
            </c:extLst>
          </c:dPt>
          <c:dPt>
            <c:idx val="527"/>
            <c:invertIfNegative val="1"/>
            <c:bubble3D val="0"/>
            <c:spPr>
              <a:solidFill>
                <a:srgbClr val="AEABAB"/>
              </a:solidFill>
            </c:spPr>
            <c:extLst>
              <c:ext xmlns:c16="http://schemas.microsoft.com/office/drawing/2014/chart" uri="{C3380CC4-5D6E-409C-BE32-E72D297353CC}">
                <c16:uniqueId val="{00000421-2E72-45B7-B22B-F12DE6506C9C}"/>
              </c:ext>
            </c:extLst>
          </c:dPt>
          <c:dPt>
            <c:idx val="528"/>
            <c:invertIfNegative val="1"/>
            <c:bubble3D val="0"/>
            <c:spPr>
              <a:solidFill>
                <a:srgbClr val="AEABAB"/>
              </a:solidFill>
            </c:spPr>
            <c:extLst>
              <c:ext xmlns:c16="http://schemas.microsoft.com/office/drawing/2014/chart" uri="{C3380CC4-5D6E-409C-BE32-E72D297353CC}">
                <c16:uniqueId val="{00000423-2E72-45B7-B22B-F12DE6506C9C}"/>
              </c:ext>
            </c:extLst>
          </c:dPt>
          <c:dPt>
            <c:idx val="529"/>
            <c:invertIfNegative val="1"/>
            <c:bubble3D val="0"/>
            <c:spPr>
              <a:solidFill>
                <a:srgbClr val="AEABAB"/>
              </a:solidFill>
            </c:spPr>
            <c:extLst>
              <c:ext xmlns:c16="http://schemas.microsoft.com/office/drawing/2014/chart" uri="{C3380CC4-5D6E-409C-BE32-E72D297353CC}">
                <c16:uniqueId val="{00000425-2E72-45B7-B22B-F12DE6506C9C}"/>
              </c:ext>
            </c:extLst>
          </c:dPt>
          <c:dPt>
            <c:idx val="530"/>
            <c:invertIfNegative val="1"/>
            <c:bubble3D val="0"/>
            <c:spPr>
              <a:solidFill>
                <a:srgbClr val="AEABAB"/>
              </a:solidFill>
            </c:spPr>
            <c:extLst>
              <c:ext xmlns:c16="http://schemas.microsoft.com/office/drawing/2014/chart" uri="{C3380CC4-5D6E-409C-BE32-E72D297353CC}">
                <c16:uniqueId val="{00000427-2E72-45B7-B22B-F12DE6506C9C}"/>
              </c:ext>
            </c:extLst>
          </c:dPt>
          <c:dPt>
            <c:idx val="531"/>
            <c:invertIfNegative val="1"/>
            <c:bubble3D val="0"/>
            <c:spPr>
              <a:solidFill>
                <a:srgbClr val="AEABAB"/>
              </a:solidFill>
            </c:spPr>
            <c:extLst>
              <c:ext xmlns:c16="http://schemas.microsoft.com/office/drawing/2014/chart" uri="{C3380CC4-5D6E-409C-BE32-E72D297353CC}">
                <c16:uniqueId val="{00000429-2E72-45B7-B22B-F12DE6506C9C}"/>
              </c:ext>
            </c:extLst>
          </c:dPt>
          <c:dPt>
            <c:idx val="532"/>
            <c:invertIfNegative val="1"/>
            <c:bubble3D val="0"/>
            <c:spPr>
              <a:solidFill>
                <a:srgbClr val="AEABAB"/>
              </a:solidFill>
            </c:spPr>
            <c:extLst>
              <c:ext xmlns:c16="http://schemas.microsoft.com/office/drawing/2014/chart" uri="{C3380CC4-5D6E-409C-BE32-E72D297353CC}">
                <c16:uniqueId val="{0000042B-2E72-45B7-B22B-F12DE6506C9C}"/>
              </c:ext>
            </c:extLst>
          </c:dPt>
          <c:dPt>
            <c:idx val="533"/>
            <c:invertIfNegative val="1"/>
            <c:bubble3D val="0"/>
            <c:spPr>
              <a:solidFill>
                <a:srgbClr val="AEABAB"/>
              </a:solidFill>
            </c:spPr>
            <c:extLst>
              <c:ext xmlns:c16="http://schemas.microsoft.com/office/drawing/2014/chart" uri="{C3380CC4-5D6E-409C-BE32-E72D297353CC}">
                <c16:uniqueId val="{0000042D-2E72-45B7-B22B-F12DE6506C9C}"/>
              </c:ext>
            </c:extLst>
          </c:dPt>
          <c:dPt>
            <c:idx val="534"/>
            <c:invertIfNegative val="1"/>
            <c:bubble3D val="0"/>
            <c:spPr>
              <a:solidFill>
                <a:srgbClr val="AEABAB"/>
              </a:solidFill>
            </c:spPr>
            <c:extLst>
              <c:ext xmlns:c16="http://schemas.microsoft.com/office/drawing/2014/chart" uri="{C3380CC4-5D6E-409C-BE32-E72D297353CC}">
                <c16:uniqueId val="{0000042F-2E72-45B7-B22B-F12DE6506C9C}"/>
              </c:ext>
            </c:extLst>
          </c:dPt>
          <c:dPt>
            <c:idx val="535"/>
            <c:invertIfNegative val="1"/>
            <c:bubble3D val="0"/>
            <c:spPr>
              <a:solidFill>
                <a:srgbClr val="AEABAB"/>
              </a:solidFill>
            </c:spPr>
            <c:extLst>
              <c:ext xmlns:c16="http://schemas.microsoft.com/office/drawing/2014/chart" uri="{C3380CC4-5D6E-409C-BE32-E72D297353CC}">
                <c16:uniqueId val="{00000431-2E72-45B7-B22B-F12DE6506C9C}"/>
              </c:ext>
            </c:extLst>
          </c:dPt>
          <c:dPt>
            <c:idx val="536"/>
            <c:invertIfNegative val="1"/>
            <c:bubble3D val="0"/>
            <c:spPr>
              <a:solidFill>
                <a:srgbClr val="AEABAB"/>
              </a:solidFill>
            </c:spPr>
            <c:extLst>
              <c:ext xmlns:c16="http://schemas.microsoft.com/office/drawing/2014/chart" uri="{C3380CC4-5D6E-409C-BE32-E72D297353CC}">
                <c16:uniqueId val="{00000433-2E72-45B7-B22B-F12DE6506C9C}"/>
              </c:ext>
            </c:extLst>
          </c:dPt>
          <c:dPt>
            <c:idx val="537"/>
            <c:invertIfNegative val="1"/>
            <c:bubble3D val="0"/>
            <c:spPr>
              <a:solidFill>
                <a:srgbClr val="AEABAB"/>
              </a:solidFill>
            </c:spPr>
            <c:extLst>
              <c:ext xmlns:c16="http://schemas.microsoft.com/office/drawing/2014/chart" uri="{C3380CC4-5D6E-409C-BE32-E72D297353CC}">
                <c16:uniqueId val="{00000435-2E72-45B7-B22B-F12DE6506C9C}"/>
              </c:ext>
            </c:extLst>
          </c:dPt>
          <c:dPt>
            <c:idx val="538"/>
            <c:invertIfNegative val="1"/>
            <c:bubble3D val="0"/>
            <c:spPr>
              <a:solidFill>
                <a:srgbClr val="AEABAB"/>
              </a:solidFill>
            </c:spPr>
            <c:extLst>
              <c:ext xmlns:c16="http://schemas.microsoft.com/office/drawing/2014/chart" uri="{C3380CC4-5D6E-409C-BE32-E72D297353CC}">
                <c16:uniqueId val="{00000437-2E72-45B7-B22B-F12DE6506C9C}"/>
              </c:ext>
            </c:extLst>
          </c:dPt>
          <c:cat>
            <c:strRef>
              <c:f>Sheet1!$A$2:$A$540</c:f>
              <c:strCache>
                <c:ptCount val="539"/>
                <c:pt idx="0">
                  <c:v>Private Lab</c:v>
                </c:pt>
                <c:pt idx="1">
                  <c:v>Private Lab</c:v>
                </c:pt>
                <c:pt idx="2">
                  <c:v>Caprice Des</c:v>
                </c:pt>
                <c:pt idx="3">
                  <c:v>Private Lab</c:v>
                </c:pt>
                <c:pt idx="4">
                  <c:v>Private Lab</c:v>
                </c:pt>
                <c:pt idx="5">
                  <c:v>Mini Babybe</c:v>
                </c:pt>
                <c:pt idx="6">
                  <c:v>Coeur De Li</c:v>
                </c:pt>
                <c:pt idx="7">
                  <c:v>Private Lab</c:v>
                </c:pt>
                <c:pt idx="8">
                  <c:v>President</c:v>
                </c:pt>
                <c:pt idx="9">
                  <c:v>Soignon</c:v>
                </c:pt>
                <c:pt idx="10">
                  <c:v>Private Lab</c:v>
                </c:pt>
                <c:pt idx="11">
                  <c:v>Private Lab</c:v>
                </c:pt>
                <c:pt idx="12">
                  <c:v>Galbani</c:v>
                </c:pt>
                <c:pt idx="13">
                  <c:v>Soignon</c:v>
                </c:pt>
                <c:pt idx="14">
                  <c:v>Salakis</c:v>
                </c:pt>
                <c:pt idx="15">
                  <c:v>Galbani</c:v>
                </c:pt>
                <c:pt idx="16">
                  <c:v>Galbani</c:v>
                </c:pt>
                <c:pt idx="17">
                  <c:v>Private Lab</c:v>
                </c:pt>
                <c:pt idx="18">
                  <c:v>St Moret</c:v>
                </c:pt>
                <c:pt idx="19">
                  <c:v>Caprice Des</c:v>
                </c:pt>
                <c:pt idx="20">
                  <c:v>Private Lab</c:v>
                </c:pt>
                <c:pt idx="21">
                  <c:v>St Moret</c:v>
                </c:pt>
                <c:pt idx="22">
                  <c:v>Private Lab</c:v>
                </c:pt>
                <c:pt idx="23">
                  <c:v>Private Lab</c:v>
                </c:pt>
                <c:pt idx="24">
                  <c:v>President</c:v>
                </c:pt>
                <c:pt idx="25">
                  <c:v>La Vache Qu</c:v>
                </c:pt>
                <c:pt idx="26">
                  <c:v>St Moret</c:v>
                </c:pt>
                <c:pt idx="27">
                  <c:v>President</c:v>
                </c:pt>
                <c:pt idx="28">
                  <c:v>Coeur De Li</c:v>
                </c:pt>
                <c:pt idx="29">
                  <c:v>Private Lab</c:v>
                </c:pt>
                <c:pt idx="30">
                  <c:v>La Vache Qu</c:v>
                </c:pt>
                <c:pt idx="31">
                  <c:v>Le Rustique</c:v>
                </c:pt>
                <c:pt idx="32">
                  <c:v>La Vache Qu</c:v>
                </c:pt>
                <c:pt idx="33">
                  <c:v>Mini Babybe</c:v>
                </c:pt>
                <c:pt idx="34">
                  <c:v>Tartare</c:v>
                </c:pt>
                <c:pt idx="35">
                  <c:v>Private Lab</c:v>
                </c:pt>
                <c:pt idx="36">
                  <c:v>Private Lab</c:v>
                </c:pt>
                <c:pt idx="37">
                  <c:v>Private Lab</c:v>
                </c:pt>
                <c:pt idx="38">
                  <c:v>Salakis</c:v>
                </c:pt>
                <c:pt idx="39">
                  <c:v>Galbani</c:v>
                </c:pt>
                <c:pt idx="40">
                  <c:v>Galbani</c:v>
                </c:pt>
                <c:pt idx="41">
                  <c:v>St Moret</c:v>
                </c:pt>
                <c:pt idx="42">
                  <c:v>Islos</c:v>
                </c:pt>
                <c:pt idx="43">
                  <c:v>Soignon</c:v>
                </c:pt>
                <c:pt idx="44">
                  <c:v>Private Lab</c:v>
                </c:pt>
                <c:pt idx="45">
                  <c:v>Kiri</c:v>
                </c:pt>
                <c:pt idx="46">
                  <c:v>All Others</c:v>
                </c:pt>
                <c:pt idx="47">
                  <c:v>Private Lab</c:v>
                </c:pt>
                <c:pt idx="48">
                  <c:v>Private Lab</c:v>
                </c:pt>
                <c:pt idx="49">
                  <c:v>Private Lab</c:v>
                </c:pt>
                <c:pt idx="50">
                  <c:v>Private Lab</c:v>
                </c:pt>
                <c:pt idx="51">
                  <c:v>Private Lab</c:v>
                </c:pt>
                <c:pt idx="52">
                  <c:v>All Others</c:v>
                </c:pt>
                <c:pt idx="53">
                  <c:v>Private Lab</c:v>
                </c:pt>
                <c:pt idx="54">
                  <c:v>Paysan Bret</c:v>
                </c:pt>
                <c:pt idx="55">
                  <c:v>Private Lab</c:v>
                </c:pt>
                <c:pt idx="56">
                  <c:v>Paysan Bret</c:v>
                </c:pt>
                <c:pt idx="57">
                  <c:v>Galbani</c:v>
                </c:pt>
                <c:pt idx="58">
                  <c:v>Kiri</c:v>
                </c:pt>
                <c:pt idx="59">
                  <c:v>Private Lab</c:v>
                </c:pt>
                <c:pt idx="60">
                  <c:v>Private Lab</c:v>
                </c:pt>
                <c:pt idx="61">
                  <c:v>Ficello</c:v>
                </c:pt>
                <c:pt idx="62">
                  <c:v>Istara</c:v>
                </c:pt>
                <c:pt idx="63">
                  <c:v>Private Lab</c:v>
                </c:pt>
                <c:pt idx="64">
                  <c:v>Casa Azzurr</c:v>
                </c:pt>
                <c:pt idx="65">
                  <c:v>Kiri</c:v>
                </c:pt>
                <c:pt idx="66">
                  <c:v>Carre Frais</c:v>
                </c:pt>
                <c:pt idx="67">
                  <c:v>Les Mousque</c:v>
                </c:pt>
                <c:pt idx="68">
                  <c:v>St Moret</c:v>
                </c:pt>
                <c:pt idx="69">
                  <c:v>Carre Frais</c:v>
                </c:pt>
                <c:pt idx="70">
                  <c:v>Boursin</c:v>
                </c:pt>
                <c:pt idx="71">
                  <c:v>Boursin</c:v>
                </c:pt>
                <c:pt idx="72">
                  <c:v>President</c:v>
                </c:pt>
                <c:pt idx="73">
                  <c:v>Coeur De Li</c:v>
                </c:pt>
                <c:pt idx="74">
                  <c:v>Kiri</c:v>
                </c:pt>
                <c:pt idx="75">
                  <c:v>Tartare</c:v>
                </c:pt>
                <c:pt idx="76">
                  <c:v>Private Lab</c:v>
                </c:pt>
                <c:pt idx="77">
                  <c:v>All Others</c:v>
                </c:pt>
                <c:pt idx="78">
                  <c:v>Kiri</c:v>
                </c:pt>
                <c:pt idx="79">
                  <c:v>Lou Perac</c:v>
                </c:pt>
                <c:pt idx="80">
                  <c:v>Lepetit</c:v>
                </c:pt>
                <c:pt idx="81">
                  <c:v>Salakis</c:v>
                </c:pt>
                <c:pt idx="82">
                  <c:v>Coeur De Li</c:v>
                </c:pt>
                <c:pt idx="83">
                  <c:v>Salakis</c:v>
                </c:pt>
                <c:pt idx="84">
                  <c:v>Boursin</c:v>
                </c:pt>
                <c:pt idx="85">
                  <c:v>Casa Azzurr</c:v>
                </c:pt>
                <c:pt idx="86">
                  <c:v>Private Lab</c:v>
                </c:pt>
                <c:pt idx="87">
                  <c:v>Private Lab</c:v>
                </c:pt>
                <c:pt idx="88">
                  <c:v>Coeur De Li</c:v>
                </c:pt>
                <c:pt idx="89">
                  <c:v>President</c:v>
                </c:pt>
                <c:pt idx="90">
                  <c:v>Private Lab</c:v>
                </c:pt>
                <c:pt idx="91">
                  <c:v>St Moret</c:v>
                </c:pt>
                <c:pt idx="92">
                  <c:v>Casa Azzurr</c:v>
                </c:pt>
                <c:pt idx="93">
                  <c:v>Petit Billy</c:v>
                </c:pt>
                <c:pt idx="94">
                  <c:v>Philadelphi</c:v>
                </c:pt>
                <c:pt idx="95">
                  <c:v>Private Lab</c:v>
                </c:pt>
                <c:pt idx="96">
                  <c:v>Caprice Des</c:v>
                </c:pt>
                <c:pt idx="97">
                  <c:v>Private Lab</c:v>
                </c:pt>
                <c:pt idx="98">
                  <c:v>Private Lab</c:v>
                </c:pt>
                <c:pt idx="99">
                  <c:v>President</c:v>
                </c:pt>
                <c:pt idx="100">
                  <c:v>President</c:v>
                </c:pt>
                <c:pt idx="101">
                  <c:v>Ficello</c:v>
                </c:pt>
                <c:pt idx="102">
                  <c:v>All Others</c:v>
                </c:pt>
                <c:pt idx="103">
                  <c:v>Galbani</c:v>
                </c:pt>
                <c:pt idx="104">
                  <c:v>Soignon</c:v>
                </c:pt>
                <c:pt idx="105">
                  <c:v>Private Lab</c:v>
                </c:pt>
                <c:pt idx="106">
                  <c:v>St Moret</c:v>
                </c:pt>
                <c:pt idx="107">
                  <c:v>Casa Azzurr</c:v>
                </c:pt>
                <c:pt idx="108">
                  <c:v>Le Rustique</c:v>
                </c:pt>
                <c:pt idx="109">
                  <c:v>Istara</c:v>
                </c:pt>
                <c:pt idx="110">
                  <c:v>President</c:v>
                </c:pt>
                <c:pt idx="111">
                  <c:v>Private Lab</c:v>
                </c:pt>
                <c:pt idx="112">
                  <c:v>Private Lab</c:v>
                </c:pt>
                <c:pt idx="113">
                  <c:v>Private Lab</c:v>
                </c:pt>
                <c:pt idx="114">
                  <c:v>Private Lab</c:v>
                </c:pt>
                <c:pt idx="115">
                  <c:v>All Others</c:v>
                </c:pt>
                <c:pt idx="116">
                  <c:v>Casa Azzurr</c:v>
                </c:pt>
                <c:pt idx="117">
                  <c:v>Boursin</c:v>
                </c:pt>
                <c:pt idx="118">
                  <c:v>President</c:v>
                </c:pt>
                <c:pt idx="119">
                  <c:v>Private Lab</c:v>
                </c:pt>
                <c:pt idx="120">
                  <c:v>Galbani</c:v>
                </c:pt>
                <c:pt idx="121">
                  <c:v>Les Mousque</c:v>
                </c:pt>
                <c:pt idx="122">
                  <c:v>All Others</c:v>
                </c:pt>
                <c:pt idx="123">
                  <c:v>Coeur De Li</c:v>
                </c:pt>
                <c:pt idx="124">
                  <c:v>Chavroux</c:v>
                </c:pt>
                <c:pt idx="125">
                  <c:v>Philadelphi</c:v>
                </c:pt>
                <c:pt idx="126">
                  <c:v>Soignon</c:v>
                </c:pt>
                <c:pt idx="127">
                  <c:v>Private Lab</c:v>
                </c:pt>
                <c:pt idx="128">
                  <c:v>Etorki</c:v>
                </c:pt>
                <c:pt idx="129">
                  <c:v>Caprice Des</c:v>
                </c:pt>
                <c:pt idx="130">
                  <c:v>Private Lab</c:v>
                </c:pt>
                <c:pt idx="131">
                  <c:v>Private Lab</c:v>
                </c:pt>
                <c:pt idx="132">
                  <c:v>Soignon</c:v>
                </c:pt>
                <c:pt idx="133">
                  <c:v>Salakis</c:v>
                </c:pt>
                <c:pt idx="134">
                  <c:v>La Vache Qu</c:v>
                </c:pt>
                <c:pt idx="135">
                  <c:v>P'Tit Louis</c:v>
                </c:pt>
                <c:pt idx="136">
                  <c:v>Private Lab</c:v>
                </c:pt>
                <c:pt idx="137">
                  <c:v>Lactalis: A</c:v>
                </c:pt>
                <c:pt idx="138">
                  <c:v>Galbani</c:v>
                </c:pt>
                <c:pt idx="139">
                  <c:v>Soignon</c:v>
                </c:pt>
                <c:pt idx="140">
                  <c:v>Casa Azzurr</c:v>
                </c:pt>
                <c:pt idx="141">
                  <c:v>Ficello</c:v>
                </c:pt>
                <c:pt idx="142">
                  <c:v>La Vache Qu</c:v>
                </c:pt>
                <c:pt idx="143">
                  <c:v>Paysan Bret</c:v>
                </c:pt>
                <c:pt idx="144">
                  <c:v>Soignon</c:v>
                </c:pt>
                <c:pt idx="145">
                  <c:v>Le Brebiou</c:v>
                </c:pt>
                <c:pt idx="146">
                  <c:v>Private Lab</c:v>
                </c:pt>
                <c:pt idx="147">
                  <c:v>Casa Azzurr</c:v>
                </c:pt>
                <c:pt idx="148">
                  <c:v>Boursin</c:v>
                </c:pt>
                <c:pt idx="149">
                  <c:v>Tartare</c:v>
                </c:pt>
                <c:pt idx="150">
                  <c:v>Private Lab</c:v>
                </c:pt>
                <c:pt idx="151">
                  <c:v>Private Lab</c:v>
                </c:pt>
                <c:pt idx="152">
                  <c:v>Private Lab</c:v>
                </c:pt>
                <c:pt idx="153">
                  <c:v>Salakis</c:v>
                </c:pt>
                <c:pt idx="154">
                  <c:v>All Others</c:v>
                </c:pt>
                <c:pt idx="155">
                  <c:v>Lactalis: A</c:v>
                </c:pt>
                <c:pt idx="156">
                  <c:v>Private Lab</c:v>
                </c:pt>
                <c:pt idx="157">
                  <c:v>Carre Frais</c:v>
                </c:pt>
                <c:pt idx="158">
                  <c:v>President</c:v>
                </c:pt>
                <c:pt idx="159">
                  <c:v>Private Lab</c:v>
                </c:pt>
                <c:pt idx="160">
                  <c:v>Paysan Bret</c:v>
                </c:pt>
                <c:pt idx="161">
                  <c:v>Paysan Bret</c:v>
                </c:pt>
                <c:pt idx="162">
                  <c:v>Private Lab</c:v>
                </c:pt>
                <c:pt idx="163">
                  <c:v>President</c:v>
                </c:pt>
                <c:pt idx="164">
                  <c:v>All Others</c:v>
                </c:pt>
                <c:pt idx="165">
                  <c:v>Private Lab</c:v>
                </c:pt>
                <c:pt idx="166">
                  <c:v>Paysan Bret</c:v>
                </c:pt>
                <c:pt idx="167">
                  <c:v>Galbani</c:v>
                </c:pt>
                <c:pt idx="168">
                  <c:v>Le Rustique</c:v>
                </c:pt>
                <c:pt idx="169">
                  <c:v>Soignon</c:v>
                </c:pt>
                <c:pt idx="170">
                  <c:v>Caprice Des</c:v>
                </c:pt>
                <c:pt idx="171">
                  <c:v>President</c:v>
                </c:pt>
                <c:pt idx="172">
                  <c:v>St Moret</c:v>
                </c:pt>
                <c:pt idx="173">
                  <c:v>Les Mousque</c:v>
                </c:pt>
                <c:pt idx="174">
                  <c:v>Kiri</c:v>
                </c:pt>
                <c:pt idx="175">
                  <c:v>Boursin</c:v>
                </c:pt>
                <c:pt idx="176">
                  <c:v>Boursin</c:v>
                </c:pt>
                <c:pt idx="177">
                  <c:v>Chavroux</c:v>
                </c:pt>
                <c:pt idx="178">
                  <c:v>All Others</c:v>
                </c:pt>
                <c:pt idx="179">
                  <c:v>All Others</c:v>
                </c:pt>
                <c:pt idx="180">
                  <c:v>Mini Babybe</c:v>
                </c:pt>
                <c:pt idx="181">
                  <c:v>La Vache Qu</c:v>
                </c:pt>
                <c:pt idx="182">
                  <c:v>Lou Perac</c:v>
                </c:pt>
                <c:pt idx="183">
                  <c:v>Private Lab</c:v>
                </c:pt>
                <c:pt idx="184">
                  <c:v>Lactalis: A</c:v>
                </c:pt>
                <c:pt idx="185">
                  <c:v>All Others</c:v>
                </c:pt>
                <c:pt idx="186">
                  <c:v>Private Lab</c:v>
                </c:pt>
                <c:pt idx="187">
                  <c:v>Paysan Bret</c:v>
                </c:pt>
                <c:pt idx="188">
                  <c:v>Boursin</c:v>
                </c:pt>
                <c:pt idx="189">
                  <c:v>Galbani</c:v>
                </c:pt>
                <c:pt idx="190">
                  <c:v>All Others</c:v>
                </c:pt>
                <c:pt idx="191">
                  <c:v>Tartare</c:v>
                </c:pt>
                <c:pt idx="192">
                  <c:v>Soignon</c:v>
                </c:pt>
                <c:pt idx="193">
                  <c:v>Pave D'Affi</c:v>
                </c:pt>
                <c:pt idx="194">
                  <c:v>Le Rustique</c:v>
                </c:pt>
                <c:pt idx="195">
                  <c:v>Casa Azzurr</c:v>
                </c:pt>
                <c:pt idx="196">
                  <c:v>All Others</c:v>
                </c:pt>
                <c:pt idx="197">
                  <c:v>Galbani</c:v>
                </c:pt>
                <c:pt idx="198">
                  <c:v>All Others</c:v>
                </c:pt>
                <c:pt idx="199">
                  <c:v>All Others</c:v>
                </c:pt>
                <c:pt idx="200">
                  <c:v>All Others</c:v>
                </c:pt>
                <c:pt idx="201">
                  <c:v>Kiri</c:v>
                </c:pt>
                <c:pt idx="202">
                  <c:v>Private Lab</c:v>
                </c:pt>
                <c:pt idx="203">
                  <c:v>Tartare</c:v>
                </c:pt>
                <c:pt idx="204">
                  <c:v>Salakis</c:v>
                </c:pt>
                <c:pt idx="205">
                  <c:v>Etorki</c:v>
                </c:pt>
                <c:pt idx="206">
                  <c:v>Boursin</c:v>
                </c:pt>
                <c:pt idx="207">
                  <c:v>Boursin</c:v>
                </c:pt>
                <c:pt idx="208">
                  <c:v>Mini Babybe</c:v>
                </c:pt>
                <c:pt idx="209">
                  <c:v>Private Lab</c:v>
                </c:pt>
                <c:pt idx="210">
                  <c:v>Soignon</c:v>
                </c:pt>
                <c:pt idx="211">
                  <c:v>Islos</c:v>
                </c:pt>
                <c:pt idx="212">
                  <c:v>St Moret</c:v>
                </c:pt>
                <c:pt idx="213">
                  <c:v>Boursin</c:v>
                </c:pt>
                <c:pt idx="214">
                  <c:v>All Others</c:v>
                </c:pt>
                <c:pt idx="215">
                  <c:v>Galbani</c:v>
                </c:pt>
                <c:pt idx="216">
                  <c:v>Savencia: A</c:v>
                </c:pt>
                <c:pt idx="217">
                  <c:v>All Others</c:v>
                </c:pt>
                <c:pt idx="218">
                  <c:v>Casa Azzurr</c:v>
                </c:pt>
                <c:pt idx="219">
                  <c:v>Caprice Des</c:v>
                </c:pt>
                <c:pt idx="220">
                  <c:v>Caprice Des</c:v>
                </c:pt>
                <c:pt idx="221">
                  <c:v>Boursin</c:v>
                </c:pt>
                <c:pt idx="222">
                  <c:v>Islos</c:v>
                </c:pt>
                <c:pt idx="223">
                  <c:v>Private Lab</c:v>
                </c:pt>
                <c:pt idx="224">
                  <c:v>Saint Agur</c:v>
                </c:pt>
                <c:pt idx="225">
                  <c:v>Lou Perac</c:v>
                </c:pt>
                <c:pt idx="226">
                  <c:v>Lactalis: A</c:v>
                </c:pt>
                <c:pt idx="227">
                  <c:v>Private Lab</c:v>
                </c:pt>
                <c:pt idx="228">
                  <c:v>Kiri</c:v>
                </c:pt>
                <c:pt idx="229">
                  <c:v>Paysan Bret</c:v>
                </c:pt>
                <c:pt idx="230">
                  <c:v>Private Lab</c:v>
                </c:pt>
                <c:pt idx="231">
                  <c:v>La Vache Qu</c:v>
                </c:pt>
                <c:pt idx="232">
                  <c:v>Tartare</c:v>
                </c:pt>
                <c:pt idx="233">
                  <c:v>Private Lab</c:v>
                </c:pt>
                <c:pt idx="234">
                  <c:v>Salakis</c:v>
                </c:pt>
                <c:pt idx="235">
                  <c:v>All Others</c:v>
                </c:pt>
                <c:pt idx="236">
                  <c:v>Tartare</c:v>
                </c:pt>
                <c:pt idx="237">
                  <c:v>Istara</c:v>
                </c:pt>
                <c:pt idx="238">
                  <c:v>Paysan Bret</c:v>
                </c:pt>
                <c:pt idx="239">
                  <c:v>All Others</c:v>
                </c:pt>
                <c:pt idx="240">
                  <c:v>All Others</c:v>
                </c:pt>
                <c:pt idx="241">
                  <c:v>All Others</c:v>
                </c:pt>
                <c:pt idx="242">
                  <c:v>Soignon</c:v>
                </c:pt>
                <c:pt idx="243">
                  <c:v>Corsica</c:v>
                </c:pt>
                <c:pt idx="244">
                  <c:v>Mini Babybe</c:v>
                </c:pt>
                <c:pt idx="245">
                  <c:v>All Others</c:v>
                </c:pt>
                <c:pt idx="246">
                  <c:v>Paysan Bret</c:v>
                </c:pt>
                <c:pt idx="247">
                  <c:v>Galbani</c:v>
                </c:pt>
                <c:pt idx="248">
                  <c:v>Les Mousque</c:v>
                </c:pt>
                <c:pt idx="249">
                  <c:v>Boursin</c:v>
                </c:pt>
                <c:pt idx="250">
                  <c:v>P'Tit Louis</c:v>
                </c:pt>
                <c:pt idx="251">
                  <c:v>Triballat N</c:v>
                </c:pt>
                <c:pt idx="252">
                  <c:v>Soignon</c:v>
                </c:pt>
                <c:pt idx="253">
                  <c:v>All Others</c:v>
                </c:pt>
                <c:pt idx="254">
                  <c:v>All Others</c:v>
                </c:pt>
                <c:pt idx="255">
                  <c:v>All Others</c:v>
                </c:pt>
                <c:pt idx="256">
                  <c:v>Milleret: A</c:v>
                </c:pt>
                <c:pt idx="257">
                  <c:v>All Others</c:v>
                </c:pt>
                <c:pt idx="258">
                  <c:v>Caprice Des</c:v>
                </c:pt>
                <c:pt idx="259">
                  <c:v>Etoile Du Q</c:v>
                </c:pt>
                <c:pt idx="260">
                  <c:v>Kiri</c:v>
                </c:pt>
                <c:pt idx="261">
                  <c:v>All Others</c:v>
                </c:pt>
                <c:pt idx="262">
                  <c:v>All Others</c:v>
                </c:pt>
                <c:pt idx="263">
                  <c:v>All Others</c:v>
                </c:pt>
                <c:pt idx="264">
                  <c:v>All Others</c:v>
                </c:pt>
                <c:pt idx="265">
                  <c:v>Boursin</c:v>
                </c:pt>
                <c:pt idx="266">
                  <c:v>All Others</c:v>
                </c:pt>
                <c:pt idx="267">
                  <c:v>Triballat N</c:v>
                </c:pt>
                <c:pt idx="268">
                  <c:v>Private Lab</c:v>
                </c:pt>
                <c:pt idx="269">
                  <c:v>All Others</c:v>
                </c:pt>
                <c:pt idx="270">
                  <c:v>All Others</c:v>
                </c:pt>
                <c:pt idx="271">
                  <c:v>All Others</c:v>
                </c:pt>
                <c:pt idx="272">
                  <c:v>All Others</c:v>
                </c:pt>
                <c:pt idx="273">
                  <c:v>Soignon</c:v>
                </c:pt>
                <c:pt idx="274">
                  <c:v>Triballat N</c:v>
                </c:pt>
                <c:pt idx="275">
                  <c:v>Carre Frais</c:v>
                </c:pt>
                <c:pt idx="276">
                  <c:v>Chavroux</c:v>
                </c:pt>
                <c:pt idx="277">
                  <c:v>Paysan Bret</c:v>
                </c:pt>
                <c:pt idx="278">
                  <c:v>Chavroux</c:v>
                </c:pt>
                <c:pt idx="279">
                  <c:v>Boursin</c:v>
                </c:pt>
                <c:pt idx="280">
                  <c:v>All Others</c:v>
                </c:pt>
                <c:pt idx="281">
                  <c:v>All Others</c:v>
                </c:pt>
                <c:pt idx="282">
                  <c:v>Etorki</c:v>
                </c:pt>
                <c:pt idx="283">
                  <c:v>Salakis</c:v>
                </c:pt>
                <c:pt idx="284">
                  <c:v>Le Brebiou</c:v>
                </c:pt>
                <c:pt idx="285">
                  <c:v>All Others</c:v>
                </c:pt>
                <c:pt idx="286">
                  <c:v>All Others</c:v>
                </c:pt>
                <c:pt idx="287">
                  <c:v>All Others</c:v>
                </c:pt>
                <c:pt idx="288">
                  <c:v>All Others</c:v>
                </c:pt>
                <c:pt idx="289">
                  <c:v>All Others</c:v>
                </c:pt>
                <c:pt idx="290">
                  <c:v>Milleret: A</c:v>
                </c:pt>
                <c:pt idx="291">
                  <c:v>Salakis</c:v>
                </c:pt>
                <c:pt idx="292">
                  <c:v>All Others</c:v>
                </c:pt>
                <c:pt idx="293">
                  <c:v>All Others</c:v>
                </c:pt>
                <c:pt idx="294">
                  <c:v>All Others</c:v>
                </c:pt>
                <c:pt idx="295">
                  <c:v>Lactalis: A</c:v>
                </c:pt>
                <c:pt idx="296">
                  <c:v>All Others</c:v>
                </c:pt>
                <c:pt idx="297">
                  <c:v>Istara</c:v>
                </c:pt>
                <c:pt idx="298">
                  <c:v>All Others</c:v>
                </c:pt>
                <c:pt idx="299">
                  <c:v>All Others</c:v>
                </c:pt>
                <c:pt idx="300">
                  <c:v>Lactalis: A</c:v>
                </c:pt>
                <c:pt idx="301">
                  <c:v>All Others</c:v>
                </c:pt>
                <c:pt idx="302">
                  <c:v>All Others</c:v>
                </c:pt>
                <c:pt idx="303">
                  <c:v>All Others</c:v>
                </c:pt>
                <c:pt idx="304">
                  <c:v>All Others</c:v>
                </c:pt>
                <c:pt idx="305">
                  <c:v>All Others</c:v>
                </c:pt>
                <c:pt idx="306">
                  <c:v>All Others</c:v>
                </c:pt>
                <c:pt idx="307">
                  <c:v>All Others</c:v>
                </c:pt>
                <c:pt idx="308">
                  <c:v>All Others</c:v>
                </c:pt>
                <c:pt idx="309">
                  <c:v>Triballat N</c:v>
                </c:pt>
                <c:pt idx="310">
                  <c:v>All Others</c:v>
                </c:pt>
                <c:pt idx="311">
                  <c:v>All Others</c:v>
                </c:pt>
                <c:pt idx="312">
                  <c:v>All Others</c:v>
                </c:pt>
                <c:pt idx="313">
                  <c:v>All Others</c:v>
                </c:pt>
                <c:pt idx="314">
                  <c:v>Casa Azzurr</c:v>
                </c:pt>
                <c:pt idx="315">
                  <c:v>All Others</c:v>
                </c:pt>
                <c:pt idx="316">
                  <c:v>All Others</c:v>
                </c:pt>
                <c:pt idx="317">
                  <c:v>All Others</c:v>
                </c:pt>
                <c:pt idx="318">
                  <c:v>All Others</c:v>
                </c:pt>
                <c:pt idx="319">
                  <c:v>Private Lab</c:v>
                </c:pt>
                <c:pt idx="320">
                  <c:v>All Others</c:v>
                </c:pt>
                <c:pt idx="321">
                  <c:v>All Others</c:v>
                </c:pt>
                <c:pt idx="322">
                  <c:v>All Others</c:v>
                </c:pt>
                <c:pt idx="323">
                  <c:v>All Others</c:v>
                </c:pt>
                <c:pt idx="324">
                  <c:v>All Others</c:v>
                </c:pt>
                <c:pt idx="325">
                  <c:v>All Others</c:v>
                </c:pt>
                <c:pt idx="326">
                  <c:v>La Table M</c:v>
                </c:pt>
                <c:pt idx="327">
                  <c:v>All Others</c:v>
                </c:pt>
                <c:pt idx="328">
                  <c:v>All Others</c:v>
                </c:pt>
                <c:pt idx="329">
                  <c:v>All Others</c:v>
                </c:pt>
                <c:pt idx="330">
                  <c:v>All Others</c:v>
                </c:pt>
                <c:pt idx="331">
                  <c:v>Etoile Du V</c:v>
                </c:pt>
                <c:pt idx="332">
                  <c:v>All Others</c:v>
                </c:pt>
                <c:pt idx="333">
                  <c:v>Soignon</c:v>
                </c:pt>
                <c:pt idx="334">
                  <c:v>All Others</c:v>
                </c:pt>
                <c:pt idx="335">
                  <c:v>All Others</c:v>
                </c:pt>
                <c:pt idx="336">
                  <c:v>All Others</c:v>
                </c:pt>
                <c:pt idx="337">
                  <c:v>All Others</c:v>
                </c:pt>
                <c:pt idx="338">
                  <c:v>All Others</c:v>
                </c:pt>
                <c:pt idx="339">
                  <c:v>All Others</c:v>
                </c:pt>
                <c:pt idx="340">
                  <c:v>All Others</c:v>
                </c:pt>
                <c:pt idx="341">
                  <c:v>All Others</c:v>
                </c:pt>
                <c:pt idx="342">
                  <c:v>All Others</c:v>
                </c:pt>
                <c:pt idx="343">
                  <c:v>Tartare</c:v>
                </c:pt>
                <c:pt idx="344">
                  <c:v>All Others</c:v>
                </c:pt>
                <c:pt idx="345">
                  <c:v>All Others</c:v>
                </c:pt>
                <c:pt idx="346">
                  <c:v>All Others</c:v>
                </c:pt>
                <c:pt idx="347">
                  <c:v>All Others</c:v>
                </c:pt>
                <c:pt idx="348">
                  <c:v>All Others</c:v>
                </c:pt>
                <c:pt idx="349">
                  <c:v>All Others</c:v>
                </c:pt>
                <c:pt idx="350">
                  <c:v>All Others</c:v>
                </c:pt>
                <c:pt idx="351">
                  <c:v>All Others</c:v>
                </c:pt>
                <c:pt idx="352">
                  <c:v>All Others</c:v>
                </c:pt>
                <c:pt idx="353">
                  <c:v>All Others</c:v>
                </c:pt>
                <c:pt idx="354">
                  <c:v>All Others</c:v>
                </c:pt>
                <c:pt idx="355">
                  <c:v>All Others</c:v>
                </c:pt>
                <c:pt idx="356">
                  <c:v>All Others</c:v>
                </c:pt>
                <c:pt idx="357">
                  <c:v>All Others</c:v>
                </c:pt>
                <c:pt idx="358">
                  <c:v>All Others</c:v>
                </c:pt>
                <c:pt idx="359">
                  <c:v>Petit Billy</c:v>
                </c:pt>
                <c:pt idx="360">
                  <c:v>Paysan Bret</c:v>
                </c:pt>
                <c:pt idx="361">
                  <c:v>All Others</c:v>
                </c:pt>
                <c:pt idx="362">
                  <c:v>All Others</c:v>
                </c:pt>
                <c:pt idx="363">
                  <c:v>All Others</c:v>
                </c:pt>
                <c:pt idx="364">
                  <c:v>All Others</c:v>
                </c:pt>
                <c:pt idx="365">
                  <c:v>All Others</c:v>
                </c:pt>
                <c:pt idx="366">
                  <c:v>All Others</c:v>
                </c:pt>
                <c:pt idx="367">
                  <c:v>All Others</c:v>
                </c:pt>
                <c:pt idx="368">
                  <c:v>All Others</c:v>
                </c:pt>
                <c:pt idx="369">
                  <c:v>All Others</c:v>
                </c:pt>
                <c:pt idx="370">
                  <c:v>All Others</c:v>
                </c:pt>
                <c:pt idx="371">
                  <c:v>All Others</c:v>
                </c:pt>
                <c:pt idx="372">
                  <c:v>All Others</c:v>
                </c:pt>
                <c:pt idx="373">
                  <c:v>All Others</c:v>
                </c:pt>
                <c:pt idx="374">
                  <c:v>Corsica</c:v>
                </c:pt>
                <c:pt idx="375">
                  <c:v>All Others</c:v>
                </c:pt>
                <c:pt idx="376">
                  <c:v>All Others</c:v>
                </c:pt>
                <c:pt idx="377">
                  <c:v>Mini Babybe</c:v>
                </c:pt>
                <c:pt idx="378">
                  <c:v>Lactalis: A</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All Others</c:v>
                </c:pt>
                <c:pt idx="397">
                  <c:v>All Others</c:v>
                </c:pt>
                <c:pt idx="398">
                  <c:v>All Others</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Lactalis: A</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All Others</c:v>
                </c:pt>
                <c:pt idx="457">
                  <c:v>All Others</c:v>
                </c:pt>
                <c:pt idx="458">
                  <c:v>Etoile Du V</c:v>
                </c:pt>
                <c:pt idx="459">
                  <c:v>All Others</c:v>
                </c:pt>
                <c:pt idx="460">
                  <c:v>All Others</c:v>
                </c:pt>
                <c:pt idx="461">
                  <c:v>Other Suppl</c:v>
                </c:pt>
                <c:pt idx="462">
                  <c:v>All Others</c:v>
                </c:pt>
                <c:pt idx="463">
                  <c:v>All Others</c:v>
                </c:pt>
                <c:pt idx="464">
                  <c:v>All Others</c:v>
                </c:pt>
                <c:pt idx="465">
                  <c:v>All Others</c:v>
                </c:pt>
                <c:pt idx="466">
                  <c:v>All Others</c:v>
                </c:pt>
                <c:pt idx="467">
                  <c:v>All Others</c:v>
                </c:pt>
                <c:pt idx="468">
                  <c:v>All Others</c:v>
                </c:pt>
                <c:pt idx="469">
                  <c:v>All Others</c:v>
                </c:pt>
                <c:pt idx="470">
                  <c:v>All Others</c:v>
                </c:pt>
                <c:pt idx="471">
                  <c:v>Other Suppl</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All Others</c:v>
                </c:pt>
                <c:pt idx="484">
                  <c:v>All Others</c:v>
                </c:pt>
                <c:pt idx="485">
                  <c:v>All Others</c:v>
                </c:pt>
                <c:pt idx="486">
                  <c:v>All Others</c:v>
                </c:pt>
                <c:pt idx="487">
                  <c:v>All Others</c:v>
                </c:pt>
                <c:pt idx="488">
                  <c:v>All Others</c:v>
                </c:pt>
                <c:pt idx="489">
                  <c:v>All Others</c:v>
                </c:pt>
                <c:pt idx="490">
                  <c:v>All Others</c:v>
                </c:pt>
                <c:pt idx="491">
                  <c:v>Mini Babybe</c:v>
                </c:pt>
                <c:pt idx="492">
                  <c:v>All Others</c:v>
                </c:pt>
                <c:pt idx="493">
                  <c:v>All Others</c:v>
                </c:pt>
                <c:pt idx="494">
                  <c:v>All Others</c:v>
                </c:pt>
                <c:pt idx="495">
                  <c:v>All Others</c:v>
                </c:pt>
                <c:pt idx="496">
                  <c:v>La Vache Qu</c:v>
                </c:pt>
                <c:pt idx="497">
                  <c:v>All Others</c:v>
                </c:pt>
                <c:pt idx="498">
                  <c:v>Lactalis: A</c:v>
                </c:pt>
                <c:pt idx="499">
                  <c:v>All Others</c:v>
                </c:pt>
                <c:pt idx="500">
                  <c:v>All Others</c:v>
                </c:pt>
                <c:pt idx="501">
                  <c:v>Kiri</c:v>
                </c:pt>
                <c:pt idx="502">
                  <c:v>All Others</c:v>
                </c:pt>
                <c:pt idx="503">
                  <c:v>All Others</c:v>
                </c:pt>
                <c:pt idx="504">
                  <c:v>All Others</c:v>
                </c:pt>
                <c:pt idx="505">
                  <c:v>All Others</c:v>
                </c:pt>
                <c:pt idx="506">
                  <c:v>All Others</c:v>
                </c:pt>
                <c:pt idx="507">
                  <c:v>All Others</c:v>
                </c:pt>
                <c:pt idx="508">
                  <c:v>All Others</c:v>
                </c:pt>
                <c:pt idx="509">
                  <c:v>All Others</c:v>
                </c:pt>
                <c:pt idx="510">
                  <c:v>All Others</c:v>
                </c:pt>
                <c:pt idx="511">
                  <c:v>Caprice Des</c:v>
                </c:pt>
                <c:pt idx="512">
                  <c:v>All Others</c:v>
                </c:pt>
                <c:pt idx="513">
                  <c:v>All Others</c:v>
                </c:pt>
                <c:pt idx="514">
                  <c:v>Boursin</c:v>
                </c:pt>
                <c:pt idx="515">
                  <c:v>All Others</c:v>
                </c:pt>
                <c:pt idx="516">
                  <c:v>All Others</c:v>
                </c:pt>
                <c:pt idx="517">
                  <c:v>All Others</c:v>
                </c:pt>
                <c:pt idx="518">
                  <c:v>Netto</c:v>
                </c:pt>
                <c:pt idx="519">
                  <c:v>Mini Babybe</c:v>
                </c:pt>
                <c:pt idx="520">
                  <c:v>All Others</c:v>
                </c:pt>
                <c:pt idx="521">
                  <c:v>All Others</c:v>
                </c:pt>
                <c:pt idx="522">
                  <c:v>All Others</c:v>
                </c:pt>
                <c:pt idx="523">
                  <c:v>All Others</c:v>
                </c:pt>
                <c:pt idx="524">
                  <c:v>Private Lab</c:v>
                </c:pt>
                <c:pt idx="525">
                  <c:v>All Others</c:v>
                </c:pt>
                <c:pt idx="526">
                  <c:v>Gillot</c:v>
                </c:pt>
                <c:pt idx="527">
                  <c:v>Mini Babybe</c:v>
                </c:pt>
                <c:pt idx="528">
                  <c:v>Lactalis: A</c:v>
                </c:pt>
                <c:pt idx="529">
                  <c:v>All Others</c:v>
                </c:pt>
                <c:pt idx="530">
                  <c:v>All Others</c:v>
                </c:pt>
                <c:pt idx="531">
                  <c:v>All Others</c:v>
                </c:pt>
                <c:pt idx="532">
                  <c:v>All Others</c:v>
                </c:pt>
                <c:pt idx="533">
                  <c:v>Lactalis: A</c:v>
                </c:pt>
                <c:pt idx="534">
                  <c:v>All Others</c:v>
                </c:pt>
                <c:pt idx="535">
                  <c:v>Private Lab</c:v>
                </c:pt>
                <c:pt idx="536">
                  <c:v>All Others</c:v>
                </c:pt>
                <c:pt idx="537">
                  <c:v>Saint Agur</c:v>
                </c:pt>
                <c:pt idx="538">
                  <c:v>Private Lab</c:v>
                </c:pt>
              </c:strCache>
            </c:strRef>
          </c:cat>
          <c:val>
            <c:numRef>
              <c:f>Sheet1!$C$2:$C$540</c:f>
              <c:numCache>
                <c:formatCode>General</c:formatCode>
                <c:ptCount val="539"/>
                <c:pt idx="0">
                  <c:v>2.6801598482684919E-2</c:v>
                </c:pt>
                <c:pt idx="1">
                  <c:v>5.0974817659667937E-2</c:v>
                </c:pt>
                <c:pt idx="2">
                  <c:v>7.470918301056105E-2</c:v>
                </c:pt>
                <c:pt idx="3">
                  <c:v>9.7841967187057427E-2</c:v>
                </c:pt>
                <c:pt idx="4">
                  <c:v>0.11455771300692788</c:v>
                </c:pt>
                <c:pt idx="5">
                  <c:v>0.13088475545235084</c:v>
                </c:pt>
                <c:pt idx="6">
                  <c:v>0.14659509453949499</c:v>
                </c:pt>
                <c:pt idx="7">
                  <c:v>0.16219663440100535</c:v>
                </c:pt>
                <c:pt idx="8">
                  <c:v>0.17740966063410171</c:v>
                </c:pt>
                <c:pt idx="9">
                  <c:v>0.1911246131833049</c:v>
                </c:pt>
                <c:pt idx="10">
                  <c:v>0.20474910287356629</c:v>
                </c:pt>
                <c:pt idx="11">
                  <c:v>0.2181900046515953</c:v>
                </c:pt>
                <c:pt idx="12">
                  <c:v>0.23102949775162165</c:v>
                </c:pt>
                <c:pt idx="13">
                  <c:v>0.24221936183590537</c:v>
                </c:pt>
                <c:pt idx="14">
                  <c:v>0.25310828296117593</c:v>
                </c:pt>
                <c:pt idx="15">
                  <c:v>0.26392999949130813</c:v>
                </c:pt>
                <c:pt idx="16">
                  <c:v>0.27472886024922316</c:v>
                </c:pt>
                <c:pt idx="17">
                  <c:v>0.28549933960043017</c:v>
                </c:pt>
                <c:pt idx="18">
                  <c:v>0.29624300151223565</c:v>
                </c:pt>
                <c:pt idx="19">
                  <c:v>0.30669970992258888</c:v>
                </c:pt>
                <c:pt idx="20">
                  <c:v>0.31712301728116604</c:v>
                </c:pt>
                <c:pt idx="21">
                  <c:v>0.32750880667402815</c:v>
                </c:pt>
                <c:pt idx="22">
                  <c:v>0.33781801341779305</c:v>
                </c:pt>
                <c:pt idx="23">
                  <c:v>0.3480657654462227</c:v>
                </c:pt>
                <c:pt idx="24">
                  <c:v>0.35823975801653851</c:v>
                </c:pt>
                <c:pt idx="25">
                  <c:v>0.36783606016303938</c:v>
                </c:pt>
                <c:pt idx="26">
                  <c:v>0.37672104467910184</c:v>
                </c:pt>
                <c:pt idx="27">
                  <c:v>0.385469768543591</c:v>
                </c:pt>
                <c:pt idx="28">
                  <c:v>0.39419063424043427</c:v>
                </c:pt>
                <c:pt idx="29">
                  <c:v>0.40283473329202668</c:v>
                </c:pt>
                <c:pt idx="30">
                  <c:v>0.4113661346994788</c:v>
                </c:pt>
                <c:pt idx="31">
                  <c:v>0.41983497166479367</c:v>
                </c:pt>
                <c:pt idx="32">
                  <c:v>0.42826669315597971</c:v>
                </c:pt>
                <c:pt idx="33">
                  <c:v>0.43630114970169148</c:v>
                </c:pt>
                <c:pt idx="34">
                  <c:v>0.44422290285338317</c:v>
                </c:pt>
                <c:pt idx="35">
                  <c:v>0.45209091762843528</c:v>
                </c:pt>
                <c:pt idx="36">
                  <c:v>0.45973762527974688</c:v>
                </c:pt>
                <c:pt idx="37">
                  <c:v>0.46697705744484702</c:v>
                </c:pt>
                <c:pt idx="38">
                  <c:v>0.47418860269290225</c:v>
                </c:pt>
                <c:pt idx="39">
                  <c:v>0.48139308708855932</c:v>
                </c:pt>
                <c:pt idx="40">
                  <c:v>0.48856276746176841</c:v>
                </c:pt>
                <c:pt idx="41">
                  <c:v>0.49572229929712502</c:v>
                </c:pt>
                <c:pt idx="42">
                  <c:v>0.50281191259407632</c:v>
                </c:pt>
                <c:pt idx="43">
                  <c:v>0.50952360929109064</c:v>
                </c:pt>
                <c:pt idx="44">
                  <c:v>0.5161325613859038</c:v>
                </c:pt>
                <c:pt idx="45">
                  <c:v>0.52264838842742634</c:v>
                </c:pt>
                <c:pt idx="46">
                  <c:v>0.52912099937234902</c:v>
                </c:pt>
                <c:pt idx="47">
                  <c:v>0.53558817668085779</c:v>
                </c:pt>
                <c:pt idx="48">
                  <c:v>0.54180124955122921</c:v>
                </c:pt>
                <c:pt idx="49">
                  <c:v>0.54788870479754292</c:v>
                </c:pt>
                <c:pt idx="50">
                  <c:v>0.55396698898557073</c:v>
                </c:pt>
                <c:pt idx="51">
                  <c:v>0.55992097802189544</c:v>
                </c:pt>
                <c:pt idx="52">
                  <c:v>0.56587209211831857</c:v>
                </c:pt>
                <c:pt idx="53">
                  <c:v>0.57181009648879066</c:v>
                </c:pt>
                <c:pt idx="54">
                  <c:v>0.57762566291873607</c:v>
                </c:pt>
                <c:pt idx="55">
                  <c:v>0.58343194329279957</c:v>
                </c:pt>
                <c:pt idx="56">
                  <c:v>0.5891358585567289</c:v>
                </c:pt>
                <c:pt idx="57">
                  <c:v>0.59477574890905105</c:v>
                </c:pt>
                <c:pt idx="58">
                  <c:v>0.60004454201888269</c:v>
                </c:pt>
                <c:pt idx="59">
                  <c:v>0.60516982387870932</c:v>
                </c:pt>
                <c:pt idx="60">
                  <c:v>0.61007272338727225</c:v>
                </c:pt>
                <c:pt idx="61">
                  <c:v>0.61495879874753145</c:v>
                </c:pt>
                <c:pt idx="62">
                  <c:v>0.61980193400542127</c:v>
                </c:pt>
                <c:pt idx="63">
                  <c:v>0.62455989629378805</c:v>
                </c:pt>
                <c:pt idx="64">
                  <c:v>0.62916776946965525</c:v>
                </c:pt>
                <c:pt idx="65">
                  <c:v>0.63372195026792133</c:v>
                </c:pt>
                <c:pt idx="66">
                  <c:v>0.63819441952430589</c:v>
                </c:pt>
                <c:pt idx="67">
                  <c:v>0.64256790459988045</c:v>
                </c:pt>
                <c:pt idx="68">
                  <c:v>0.64684450420077322</c:v>
                </c:pt>
                <c:pt idx="69">
                  <c:v>0.65099658440465058</c:v>
                </c:pt>
                <c:pt idx="70">
                  <c:v>0.65510719647538818</c:v>
                </c:pt>
                <c:pt idx="71">
                  <c:v>0.65906634521235319</c:v>
                </c:pt>
                <c:pt idx="72">
                  <c:v>0.66298178336305524</c:v>
                </c:pt>
                <c:pt idx="73">
                  <c:v>0.66686622391173889</c:v>
                </c:pt>
                <c:pt idx="74">
                  <c:v>0.67063995627469419</c:v>
                </c:pt>
                <c:pt idx="75">
                  <c:v>0.67438944139451984</c:v>
                </c:pt>
                <c:pt idx="76">
                  <c:v>0.67812550629488511</c:v>
                </c:pt>
                <c:pt idx="77">
                  <c:v>0.68183273554803803</c:v>
                </c:pt>
                <c:pt idx="78">
                  <c:v>0.68553803284157711</c:v>
                </c:pt>
                <c:pt idx="79">
                  <c:v>0.68920961283995097</c:v>
                </c:pt>
                <c:pt idx="80">
                  <c:v>0.69287330400323499</c:v>
                </c:pt>
                <c:pt idx="81">
                  <c:v>0.69652784710775228</c:v>
                </c:pt>
                <c:pt idx="82">
                  <c:v>0.70008838542736906</c:v>
                </c:pt>
                <c:pt idx="83">
                  <c:v>0.70353051647220122</c:v>
                </c:pt>
                <c:pt idx="84">
                  <c:v>0.70691475197729614</c:v>
                </c:pt>
                <c:pt idx="85">
                  <c:v>0.71029172538419982</c:v>
                </c:pt>
                <c:pt idx="86">
                  <c:v>0.71359511182938373</c:v>
                </c:pt>
                <c:pt idx="87">
                  <c:v>0.71685908859839731</c:v>
                </c:pt>
                <c:pt idx="88">
                  <c:v>0.72007027572093896</c:v>
                </c:pt>
                <c:pt idx="89">
                  <c:v>0.72317784425954934</c:v>
                </c:pt>
                <c:pt idx="90">
                  <c:v>0.72626750192257317</c:v>
                </c:pt>
                <c:pt idx="91">
                  <c:v>0.72932462101579132</c:v>
                </c:pt>
                <c:pt idx="92">
                  <c:v>0.73233859876084706</c:v>
                </c:pt>
                <c:pt idx="93">
                  <c:v>0.73535164502537465</c:v>
                </c:pt>
                <c:pt idx="94">
                  <c:v>0.73834431946575996</c:v>
                </c:pt>
                <c:pt idx="95">
                  <c:v>0.7413332449845137</c:v>
                </c:pt>
                <c:pt idx="96">
                  <c:v>0.74431323519005343</c:v>
                </c:pt>
                <c:pt idx="97">
                  <c:v>0.74726905865078086</c:v>
                </c:pt>
                <c:pt idx="98">
                  <c:v>0.75020777621909418</c:v>
                </c:pt>
                <c:pt idx="99">
                  <c:v>0.75305697965863316</c:v>
                </c:pt>
                <c:pt idx="100">
                  <c:v>0.75589383810623501</c:v>
                </c:pt>
                <c:pt idx="101">
                  <c:v>0.75871547662199801</c:v>
                </c:pt>
                <c:pt idx="102">
                  <c:v>0.76153116976204471</c:v>
                </c:pt>
                <c:pt idx="103">
                  <c:v>0.76434208475197507</c:v>
                </c:pt>
                <c:pt idx="104">
                  <c:v>0.76715182676642557</c:v>
                </c:pt>
                <c:pt idx="105">
                  <c:v>0.76993041018222319</c:v>
                </c:pt>
                <c:pt idx="106">
                  <c:v>0.77269110572195343</c:v>
                </c:pt>
                <c:pt idx="107">
                  <c:v>0.77544214146361456</c:v>
                </c:pt>
                <c:pt idx="108">
                  <c:v>0.77812452364042695</c:v>
                </c:pt>
                <c:pt idx="109">
                  <c:v>0.78080323164404519</c:v>
                </c:pt>
                <c:pt idx="110">
                  <c:v>0.78347931195259335</c:v>
                </c:pt>
                <c:pt idx="111">
                  <c:v>0.78608939514076182</c:v>
                </c:pt>
                <c:pt idx="112">
                  <c:v>0.78867765178519789</c:v>
                </c:pt>
                <c:pt idx="113">
                  <c:v>0.79125441441990763</c:v>
                </c:pt>
                <c:pt idx="114">
                  <c:v>0.7937867189839799</c:v>
                </c:pt>
                <c:pt idx="115">
                  <c:v>0.79630425210683808</c:v>
                </c:pt>
                <c:pt idx="116">
                  <c:v>0.79881368364905381</c:v>
                </c:pt>
                <c:pt idx="117">
                  <c:v>0.80132024600124774</c:v>
                </c:pt>
                <c:pt idx="118">
                  <c:v>0.80381230140669857</c:v>
                </c:pt>
                <c:pt idx="119">
                  <c:v>0.80615288772849691</c:v>
                </c:pt>
                <c:pt idx="120">
                  <c:v>0.80847252148829285</c:v>
                </c:pt>
                <c:pt idx="121">
                  <c:v>0.81077226641385003</c:v>
                </c:pt>
                <c:pt idx="122">
                  <c:v>0.81306623271020506</c:v>
                </c:pt>
                <c:pt idx="123">
                  <c:v>0.81532791918134562</c:v>
                </c:pt>
                <c:pt idx="124">
                  <c:v>0.81758926065969806</c:v>
                </c:pt>
                <c:pt idx="125">
                  <c:v>0.81983691167423933</c:v>
                </c:pt>
                <c:pt idx="126">
                  <c:v>0.82206287989204319</c:v>
                </c:pt>
                <c:pt idx="127">
                  <c:v>0.82428242549410702</c:v>
                </c:pt>
                <c:pt idx="128">
                  <c:v>0.82650188484797382</c:v>
                </c:pt>
                <c:pt idx="129">
                  <c:v>0.8286908583391247</c:v>
                </c:pt>
                <c:pt idx="130">
                  <c:v>0.83087812986585385</c:v>
                </c:pt>
                <c:pt idx="131">
                  <c:v>0.83305093469499847</c:v>
                </c:pt>
                <c:pt idx="132">
                  <c:v>0.83520617939122455</c:v>
                </c:pt>
                <c:pt idx="133">
                  <c:v>0.83734389270393106</c:v>
                </c:pt>
                <c:pt idx="134">
                  <c:v>0.83945102240596503</c:v>
                </c:pt>
                <c:pt idx="135">
                  <c:v>0.84154861880728549</c:v>
                </c:pt>
                <c:pt idx="136">
                  <c:v>0.84364081607147079</c:v>
                </c:pt>
                <c:pt idx="137">
                  <c:v>0.84570465492846736</c:v>
                </c:pt>
                <c:pt idx="138">
                  <c:v>0.84772574917900789</c:v>
                </c:pt>
                <c:pt idx="139">
                  <c:v>0.84973117500708506</c:v>
                </c:pt>
                <c:pt idx="140">
                  <c:v>0.85173120744790687</c:v>
                </c:pt>
                <c:pt idx="141">
                  <c:v>0.85372202858128421</c:v>
                </c:pt>
                <c:pt idx="142">
                  <c:v>0.85567045585087342</c:v>
                </c:pt>
                <c:pt idx="143">
                  <c:v>0.85758292912205403</c:v>
                </c:pt>
                <c:pt idx="144">
                  <c:v>0.85947979721944912</c:v>
                </c:pt>
                <c:pt idx="145">
                  <c:v>0.86137601558042642</c:v>
                </c:pt>
                <c:pt idx="146">
                  <c:v>0.86326895650991597</c:v>
                </c:pt>
                <c:pt idx="147">
                  <c:v>0.86515441684578176</c:v>
                </c:pt>
                <c:pt idx="148">
                  <c:v>0.86703436879679618</c:v>
                </c:pt>
                <c:pt idx="149">
                  <c:v>0.86891276828026376</c:v>
                </c:pt>
                <c:pt idx="150">
                  <c:v>0.8707767010661468</c:v>
                </c:pt>
                <c:pt idx="151">
                  <c:v>0.87263736792030167</c:v>
                </c:pt>
                <c:pt idx="152">
                  <c:v>0.87449343487061415</c:v>
                </c:pt>
                <c:pt idx="153">
                  <c:v>0.87634632788727529</c:v>
                </c:pt>
                <c:pt idx="154">
                  <c:v>0.87817260471032799</c:v>
                </c:pt>
                <c:pt idx="155">
                  <c:v>0.87998662853952037</c:v>
                </c:pt>
                <c:pt idx="156">
                  <c:v>0.88174947843846541</c:v>
                </c:pt>
                <c:pt idx="157">
                  <c:v>0.88350584822287237</c:v>
                </c:pt>
                <c:pt idx="158">
                  <c:v>0.88525769860175407</c:v>
                </c:pt>
                <c:pt idx="159">
                  <c:v>0.88696895482922611</c:v>
                </c:pt>
                <c:pt idx="160">
                  <c:v>0.88857402227649496</c:v>
                </c:pt>
                <c:pt idx="161">
                  <c:v>0.89017462206715681</c:v>
                </c:pt>
                <c:pt idx="162">
                  <c:v>0.8917738073873871</c:v>
                </c:pt>
                <c:pt idx="163">
                  <c:v>0.89336821455750104</c:v>
                </c:pt>
                <c:pt idx="164">
                  <c:v>0.89493748325311595</c:v>
                </c:pt>
                <c:pt idx="165">
                  <c:v>0.89649488994669713</c:v>
                </c:pt>
                <c:pt idx="166">
                  <c:v>0.89802060330280375</c:v>
                </c:pt>
                <c:pt idx="167">
                  <c:v>0.89954427545158022</c:v>
                </c:pt>
                <c:pt idx="168">
                  <c:v>0.90099692508502915</c:v>
                </c:pt>
                <c:pt idx="169">
                  <c:v>0.90242912239601847</c:v>
                </c:pt>
                <c:pt idx="170">
                  <c:v>0.90385718554342942</c:v>
                </c:pt>
                <c:pt idx="171">
                  <c:v>0.90527884907461953</c:v>
                </c:pt>
                <c:pt idx="172">
                  <c:v>0.90668172199861319</c:v>
                </c:pt>
                <c:pt idx="173">
                  <c:v>0.90808034576143237</c:v>
                </c:pt>
                <c:pt idx="174">
                  <c:v>0.90947530110093722</c:v>
                </c:pt>
                <c:pt idx="175">
                  <c:v>0.91086918121291893</c:v>
                </c:pt>
                <c:pt idx="176">
                  <c:v>0.91224858887743621</c:v>
                </c:pt>
                <c:pt idx="177">
                  <c:v>0.91356054470198367</c:v>
                </c:pt>
                <c:pt idx="178">
                  <c:v>0.91487193128843058</c:v>
                </c:pt>
                <c:pt idx="179">
                  <c:v>0.91617753924567547</c:v>
                </c:pt>
                <c:pt idx="180">
                  <c:v>0.91746974998297914</c:v>
                </c:pt>
                <c:pt idx="181">
                  <c:v>0.91871390897476857</c:v>
                </c:pt>
                <c:pt idx="182">
                  <c:v>0.91995239858507216</c:v>
                </c:pt>
                <c:pt idx="183">
                  <c:v>0.92118109040019125</c:v>
                </c:pt>
                <c:pt idx="184">
                  <c:v>0.92240191637973978</c:v>
                </c:pt>
                <c:pt idx="185">
                  <c:v>0.92362012041409813</c:v>
                </c:pt>
                <c:pt idx="186">
                  <c:v>0.92483764596263973</c:v>
                </c:pt>
                <c:pt idx="187">
                  <c:v>0.92604661569003432</c:v>
                </c:pt>
                <c:pt idx="188">
                  <c:v>0.92725525192440028</c:v>
                </c:pt>
                <c:pt idx="189">
                  <c:v>0.92843915217585349</c:v>
                </c:pt>
                <c:pt idx="190">
                  <c:v>0.92962025223584255</c:v>
                </c:pt>
                <c:pt idx="191">
                  <c:v>0.9307992535897035</c:v>
                </c:pt>
                <c:pt idx="192">
                  <c:v>0.93195305897026737</c:v>
                </c:pt>
                <c:pt idx="193">
                  <c:v>0.93306444173764413</c:v>
                </c:pt>
                <c:pt idx="194">
                  <c:v>0.93416506073002958</c:v>
                </c:pt>
                <c:pt idx="195">
                  <c:v>0.93526386276039719</c:v>
                </c:pt>
                <c:pt idx="196">
                  <c:v>0.93636060058391557</c:v>
                </c:pt>
                <c:pt idx="197">
                  <c:v>0.93744195747896064</c:v>
                </c:pt>
                <c:pt idx="198">
                  <c:v>0.93850752520406655</c:v>
                </c:pt>
                <c:pt idx="199">
                  <c:v>0.9395688207684787</c:v>
                </c:pt>
                <c:pt idx="200">
                  <c:v>0.94061119347845901</c:v>
                </c:pt>
                <c:pt idx="201">
                  <c:v>0.94160803289027872</c:v>
                </c:pt>
                <c:pt idx="202">
                  <c:v>0.9425884333957415</c:v>
                </c:pt>
                <c:pt idx="203">
                  <c:v>0.94354477065422837</c:v>
                </c:pt>
                <c:pt idx="204">
                  <c:v>0.94449983718927877</c:v>
                </c:pt>
                <c:pt idx="205">
                  <c:v>0.94543512988768641</c:v>
                </c:pt>
                <c:pt idx="206">
                  <c:v>0.94636941635712846</c:v>
                </c:pt>
                <c:pt idx="207">
                  <c:v>0.94730235735469659</c:v>
                </c:pt>
                <c:pt idx="208">
                  <c:v>0.94822395958929306</c:v>
                </c:pt>
                <c:pt idx="209">
                  <c:v>0.94914187615093581</c:v>
                </c:pt>
                <c:pt idx="210">
                  <c:v>0.95005940172075187</c:v>
                </c:pt>
                <c:pt idx="211">
                  <c:v>0.95096380606485731</c:v>
                </c:pt>
                <c:pt idx="212">
                  <c:v>0.951861195555603</c:v>
                </c:pt>
                <c:pt idx="213">
                  <c:v>0.95275824005356058</c:v>
                </c:pt>
                <c:pt idx="214">
                  <c:v>0.9536391101396321</c:v>
                </c:pt>
                <c:pt idx="215">
                  <c:v>0.95450217859783326</c:v>
                </c:pt>
                <c:pt idx="216">
                  <c:v>0.95535462702803819</c:v>
                </c:pt>
                <c:pt idx="217">
                  <c:v>0.956186755383019</c:v>
                </c:pt>
                <c:pt idx="218">
                  <c:v>0.95700611900483701</c:v>
                </c:pt>
                <c:pt idx="219">
                  <c:v>0.95781994549240468</c:v>
                </c:pt>
                <c:pt idx="220">
                  <c:v>0.95859262584010152</c:v>
                </c:pt>
                <c:pt idx="221">
                  <c:v>0.95935230570956365</c:v>
                </c:pt>
                <c:pt idx="222">
                  <c:v>0.96010100905848161</c:v>
                </c:pt>
                <c:pt idx="223">
                  <c:v>0.96084815418997305</c:v>
                </c:pt>
                <c:pt idx="224">
                  <c:v>0.96159074541666034</c:v>
                </c:pt>
                <c:pt idx="225">
                  <c:v>0.96232348134936518</c:v>
                </c:pt>
                <c:pt idx="226">
                  <c:v>0.96305237636236163</c:v>
                </c:pt>
                <c:pt idx="227">
                  <c:v>0.96376865038919035</c:v>
                </c:pt>
                <c:pt idx="228">
                  <c:v>0.96447556936157941</c:v>
                </c:pt>
                <c:pt idx="229">
                  <c:v>0.96515691286860439</c:v>
                </c:pt>
                <c:pt idx="230">
                  <c:v>0.96583167276325488</c:v>
                </c:pt>
                <c:pt idx="231">
                  <c:v>0.96650340247124911</c:v>
                </c:pt>
                <c:pt idx="232">
                  <c:v>0.9671741949488355</c:v>
                </c:pt>
                <c:pt idx="233">
                  <c:v>0.96783481013917039</c:v>
                </c:pt>
                <c:pt idx="234">
                  <c:v>0.96848853122362144</c:v>
                </c:pt>
                <c:pt idx="235">
                  <c:v>0.96908732945619347</c:v>
                </c:pt>
                <c:pt idx="236">
                  <c:v>0.96967884259105497</c:v>
                </c:pt>
                <c:pt idx="237">
                  <c:v>0.97025401456751614</c:v>
                </c:pt>
                <c:pt idx="238">
                  <c:v>0.97078891438583659</c:v>
                </c:pt>
                <c:pt idx="239">
                  <c:v>0.97132208924021612</c:v>
                </c:pt>
                <c:pt idx="240">
                  <c:v>0.97184292485253831</c:v>
                </c:pt>
                <c:pt idx="241">
                  <c:v>0.9723534566802533</c:v>
                </c:pt>
                <c:pt idx="242">
                  <c:v>0.97285680115821449</c:v>
                </c:pt>
                <c:pt idx="243">
                  <c:v>0.97333209772249629</c:v>
                </c:pt>
                <c:pt idx="244">
                  <c:v>0.97380163865709524</c:v>
                </c:pt>
                <c:pt idx="245">
                  <c:v>0.97426364724915215</c:v>
                </c:pt>
                <c:pt idx="246">
                  <c:v>0.97472519010094505</c:v>
                </c:pt>
                <c:pt idx="247">
                  <c:v>0.97515938652439449</c:v>
                </c:pt>
                <c:pt idx="248">
                  <c:v>0.97559168548750885</c:v>
                </c:pt>
                <c:pt idx="249">
                  <c:v>0.97601947654485766</c:v>
                </c:pt>
                <c:pt idx="250">
                  <c:v>0.97643860828322304</c:v>
                </c:pt>
                <c:pt idx="251">
                  <c:v>0.97685397960019715</c:v>
                </c:pt>
                <c:pt idx="252">
                  <c:v>0.97726118033797116</c:v>
                </c:pt>
                <c:pt idx="253">
                  <c:v>0.97766730009834213</c:v>
                </c:pt>
                <c:pt idx="254">
                  <c:v>0.97806735948540069</c:v>
                </c:pt>
                <c:pt idx="255">
                  <c:v>0.97846567090899916</c:v>
                </c:pt>
                <c:pt idx="256">
                  <c:v>0.97886366608920838</c:v>
                </c:pt>
                <c:pt idx="257">
                  <c:v>0.97924967851990807</c:v>
                </c:pt>
                <c:pt idx="258">
                  <c:v>0.9796326665138313</c:v>
                </c:pt>
                <c:pt idx="259">
                  <c:v>0.98001327980739583</c:v>
                </c:pt>
                <c:pt idx="260">
                  <c:v>0.9803872864890667</c:v>
                </c:pt>
                <c:pt idx="261">
                  <c:v>0.98076018919381536</c:v>
                </c:pt>
                <c:pt idx="262">
                  <c:v>0.98113253991010285</c:v>
                </c:pt>
                <c:pt idx="263">
                  <c:v>0.9814864852611408</c:v>
                </c:pt>
                <c:pt idx="264">
                  <c:v>0.98183851015232448</c:v>
                </c:pt>
                <c:pt idx="265">
                  <c:v>0.98218226096647154</c:v>
                </c:pt>
                <c:pt idx="266">
                  <c:v>0.98251498926103609</c:v>
                </c:pt>
                <c:pt idx="267">
                  <c:v>0.98284536010488133</c:v>
                </c:pt>
                <c:pt idx="268">
                  <c:v>0.9831678823627954</c:v>
                </c:pt>
                <c:pt idx="269">
                  <c:v>0.98349028962311347</c:v>
                </c:pt>
                <c:pt idx="270">
                  <c:v>0.98380682050627277</c:v>
                </c:pt>
                <c:pt idx="271">
                  <c:v>0.98411274286119543</c:v>
                </c:pt>
                <c:pt idx="272">
                  <c:v>0.98440583148439753</c:v>
                </c:pt>
                <c:pt idx="273">
                  <c:v>0.98469131301662016</c:v>
                </c:pt>
                <c:pt idx="274">
                  <c:v>0.98497444859788319</c:v>
                </c:pt>
                <c:pt idx="275">
                  <c:v>0.9852505405763875</c:v>
                </c:pt>
                <c:pt idx="276">
                  <c:v>0.98552095742352608</c:v>
                </c:pt>
                <c:pt idx="277">
                  <c:v>0.98579012079686767</c:v>
                </c:pt>
                <c:pt idx="278">
                  <c:v>0.9860571337151629</c:v>
                </c:pt>
                <c:pt idx="279">
                  <c:v>0.98632167418514283</c:v>
                </c:pt>
                <c:pt idx="280">
                  <c:v>0.98658127550837182</c:v>
                </c:pt>
                <c:pt idx="281">
                  <c:v>0.98683782364542538</c:v>
                </c:pt>
                <c:pt idx="282">
                  <c:v>0.98709165208933214</c:v>
                </c:pt>
                <c:pt idx="283">
                  <c:v>0.98734258834369792</c:v>
                </c:pt>
                <c:pt idx="284">
                  <c:v>0.98758327831225468</c:v>
                </c:pt>
                <c:pt idx="285">
                  <c:v>0.98781761466362905</c:v>
                </c:pt>
                <c:pt idx="286">
                  <c:v>0.98804876558159249</c:v>
                </c:pt>
                <c:pt idx="287">
                  <c:v>0.98826684127288367</c:v>
                </c:pt>
                <c:pt idx="288">
                  <c:v>0.98847735012235405</c:v>
                </c:pt>
                <c:pt idx="289">
                  <c:v>0.98868774397422832</c:v>
                </c:pt>
                <c:pt idx="290">
                  <c:v>0.98889789058127109</c:v>
                </c:pt>
                <c:pt idx="291">
                  <c:v>0.98909677317377964</c:v>
                </c:pt>
                <c:pt idx="292">
                  <c:v>0.98929454603948619</c:v>
                </c:pt>
                <c:pt idx="293">
                  <c:v>0.98948689101865861</c:v>
                </c:pt>
                <c:pt idx="294">
                  <c:v>0.98966924845661308</c:v>
                </c:pt>
                <c:pt idx="295">
                  <c:v>0.98984841471127694</c:v>
                </c:pt>
                <c:pt idx="296">
                  <c:v>0.99001987612700459</c:v>
                </c:pt>
                <c:pt idx="297">
                  <c:v>0.99018960682891155</c:v>
                </c:pt>
                <c:pt idx="298">
                  <c:v>0.99035701457937808</c:v>
                </c:pt>
                <c:pt idx="299">
                  <c:v>0.990521081649679</c:v>
                </c:pt>
                <c:pt idx="300">
                  <c:v>0.99068371125002919</c:v>
                </c:pt>
                <c:pt idx="301">
                  <c:v>0.99083528383151809</c:v>
                </c:pt>
                <c:pt idx="302">
                  <c:v>0.99098658041877641</c:v>
                </c:pt>
                <c:pt idx="303">
                  <c:v>0.99113201212863555</c:v>
                </c:pt>
                <c:pt idx="304">
                  <c:v>0.99127063598080789</c:v>
                </c:pt>
                <c:pt idx="305">
                  <c:v>0.99140250372421157</c:v>
                </c:pt>
                <c:pt idx="306">
                  <c:v>0.99153387122807246</c:v>
                </c:pt>
                <c:pt idx="307">
                  <c:v>0.99166503173626042</c:v>
                </c:pt>
                <c:pt idx="308">
                  <c:v>0.99179591625021779</c:v>
                </c:pt>
                <c:pt idx="309">
                  <c:v>0.99192573128653183</c:v>
                </c:pt>
                <c:pt idx="310">
                  <c:v>0.99205495983510594</c:v>
                </c:pt>
                <c:pt idx="311">
                  <c:v>0.99218404463668497</c:v>
                </c:pt>
                <c:pt idx="312">
                  <c:v>0.99231284769415362</c:v>
                </c:pt>
                <c:pt idx="313">
                  <c:v>0.99244156450342524</c:v>
                </c:pt>
                <c:pt idx="314">
                  <c:v>0.99256993631990875</c:v>
                </c:pt>
                <c:pt idx="315">
                  <c:v>0.99269649692425421</c:v>
                </c:pt>
                <c:pt idx="316">
                  <c:v>0.99282208004903316</c:v>
                </c:pt>
                <c:pt idx="317">
                  <c:v>0.99294535747201107</c:v>
                </c:pt>
                <c:pt idx="318">
                  <c:v>0.99306808290652793</c:v>
                </c:pt>
                <c:pt idx="319">
                  <c:v>0.99318976186292063</c:v>
                </c:pt>
                <c:pt idx="320">
                  <c:v>0.99331130282219804</c:v>
                </c:pt>
                <c:pt idx="321">
                  <c:v>0.99343126831440942</c:v>
                </c:pt>
                <c:pt idx="322">
                  <c:v>0.99355037707453009</c:v>
                </c:pt>
                <c:pt idx="323">
                  <c:v>0.99366889934691083</c:v>
                </c:pt>
                <c:pt idx="324">
                  <c:v>0.99378197073323826</c:v>
                </c:pt>
                <c:pt idx="325">
                  <c:v>0.99389424288627315</c:v>
                </c:pt>
                <c:pt idx="326">
                  <c:v>0.99400447383197787</c:v>
                </c:pt>
                <c:pt idx="327">
                  <c:v>0.99411130084883925</c:v>
                </c:pt>
                <c:pt idx="328">
                  <c:v>0.99421652364923552</c:v>
                </c:pt>
                <c:pt idx="329">
                  <c:v>0.99431781928172625</c:v>
                </c:pt>
                <c:pt idx="330">
                  <c:v>0.99441732095171842</c:v>
                </c:pt>
                <c:pt idx="331">
                  <c:v>0.99451418342688103</c:v>
                </c:pt>
                <c:pt idx="332">
                  <c:v>0.99460932093810273</c:v>
                </c:pt>
                <c:pt idx="333">
                  <c:v>0.99470380871290665</c:v>
                </c:pt>
                <c:pt idx="334">
                  <c:v>0.994795657292881</c:v>
                </c:pt>
                <c:pt idx="335">
                  <c:v>0.99488196298872511</c:v>
                </c:pt>
                <c:pt idx="336">
                  <c:v>0.99496514649983625</c:v>
                </c:pt>
                <c:pt idx="337">
                  <c:v>0.99504759402633258</c:v>
                </c:pt>
                <c:pt idx="338">
                  <c:v>0.99512916757109882</c:v>
                </c:pt>
                <c:pt idx="339">
                  <c:v>0.99521012012884635</c:v>
                </c:pt>
                <c:pt idx="340">
                  <c:v>0.99528540905498786</c:v>
                </c:pt>
                <c:pt idx="341">
                  <c:v>0.99536032423894216</c:v>
                </c:pt>
                <c:pt idx="342">
                  <c:v>0.99543372720450818</c:v>
                </c:pt>
                <c:pt idx="343">
                  <c:v>0.99550691167464167</c:v>
                </c:pt>
                <c:pt idx="344">
                  <c:v>0.99557864717506483</c:v>
                </c:pt>
                <c:pt idx="345">
                  <c:v>0.99564884745758053</c:v>
                </c:pt>
                <c:pt idx="346">
                  <c:v>0.9957181047598086</c:v>
                </c:pt>
                <c:pt idx="347">
                  <c:v>0.99578343489413113</c:v>
                </c:pt>
                <c:pt idx="348">
                  <c:v>0.99584792554600243</c:v>
                </c:pt>
                <c:pt idx="349">
                  <c:v>0.99591157671542252</c:v>
                </c:pt>
                <c:pt idx="350">
                  <c:v>0.9959749748901312</c:v>
                </c:pt>
                <c:pt idx="351">
                  <c:v>0.99603760833082611</c:v>
                </c:pt>
                <c:pt idx="352">
                  <c:v>0.99609985077969443</c:v>
                </c:pt>
                <c:pt idx="353">
                  <c:v>0.99616147799142374</c:v>
                </c:pt>
                <c:pt idx="354">
                  <c:v>0.99622204147538951</c:v>
                </c:pt>
                <c:pt idx="355">
                  <c:v>0.99628144348363512</c:v>
                </c:pt>
                <c:pt idx="356">
                  <c:v>0.99634043150053486</c:v>
                </c:pt>
                <c:pt idx="357">
                  <c:v>0.99639899402632914</c:v>
                </c:pt>
                <c:pt idx="358">
                  <c:v>0.99645739555548896</c:v>
                </c:pt>
                <c:pt idx="359">
                  <c:v>0.99651561883837492</c:v>
                </c:pt>
                <c:pt idx="360">
                  <c:v>0.99657366387498691</c:v>
                </c:pt>
                <c:pt idx="361">
                  <c:v>0.99663001844693688</c:v>
                </c:pt>
                <c:pt idx="362">
                  <c:v>0.99668615452345433</c:v>
                </c:pt>
                <c:pt idx="363">
                  <c:v>0.99674080138110277</c:v>
                </c:pt>
                <c:pt idx="364">
                  <c:v>0.99679525274283787</c:v>
                </c:pt>
                <c:pt idx="365">
                  <c:v>0.99684959485685676</c:v>
                </c:pt>
                <c:pt idx="366">
                  <c:v>0.99690368397616425</c:v>
                </c:pt>
                <c:pt idx="367">
                  <c:v>0.99695607688092991</c:v>
                </c:pt>
                <c:pt idx="368">
                  <c:v>0.99700798104591226</c:v>
                </c:pt>
                <c:pt idx="369">
                  <c:v>0.99705954596798629</c:v>
                </c:pt>
                <c:pt idx="370">
                  <c:v>0.99710962742107112</c:v>
                </c:pt>
                <c:pt idx="371">
                  <c:v>0.99715880614302688</c:v>
                </c:pt>
                <c:pt idx="372">
                  <c:v>0.99720728337964659</c:v>
                </c:pt>
                <c:pt idx="373">
                  <c:v>0.99725542712323778</c:v>
                </c:pt>
                <c:pt idx="374">
                  <c:v>0.99730330637235798</c:v>
                </c:pt>
                <c:pt idx="375">
                  <c:v>0.99735049563590183</c:v>
                </c:pt>
                <c:pt idx="376">
                  <c:v>0.99739746065413337</c:v>
                </c:pt>
                <c:pt idx="377">
                  <c:v>0.99744423592633136</c:v>
                </c:pt>
                <c:pt idx="378">
                  <c:v>0.99749060870694317</c:v>
                </c:pt>
                <c:pt idx="379">
                  <c:v>0.99753686648995887</c:v>
                </c:pt>
                <c:pt idx="380">
                  <c:v>0.99758072082321692</c:v>
                </c:pt>
                <c:pt idx="381">
                  <c:v>0.99762395991933606</c:v>
                </c:pt>
                <c:pt idx="382">
                  <c:v>0.99766713576677735</c:v>
                </c:pt>
                <c:pt idx="383">
                  <c:v>0.99770950663104618</c:v>
                </c:pt>
                <c:pt idx="384">
                  <c:v>0.99775101501334462</c:v>
                </c:pt>
                <c:pt idx="385">
                  <c:v>0.99779198290694149</c:v>
                </c:pt>
                <c:pt idx="386">
                  <c:v>0.99783246781063495</c:v>
                </c:pt>
                <c:pt idx="387">
                  <c:v>0.99787278596781415</c:v>
                </c:pt>
                <c:pt idx="388">
                  <c:v>0.99791112616634103</c:v>
                </c:pt>
                <c:pt idx="389">
                  <c:v>0.99794898912484431</c:v>
                </c:pt>
                <c:pt idx="390">
                  <c:v>0.99798680608430912</c:v>
                </c:pt>
                <c:pt idx="391">
                  <c:v>0.99802432405002417</c:v>
                </c:pt>
                <c:pt idx="392">
                  <c:v>0.99806166951934516</c:v>
                </c:pt>
                <c:pt idx="393">
                  <c:v>0.99809825025465237</c:v>
                </c:pt>
                <c:pt idx="394">
                  <c:v>0.99813387650991225</c:v>
                </c:pt>
                <c:pt idx="395">
                  <c:v>0.99816947976565285</c:v>
                </c:pt>
                <c:pt idx="396">
                  <c:v>0.99820499102331661</c:v>
                </c:pt>
                <c:pt idx="397">
                  <c:v>0.99823961679949069</c:v>
                </c:pt>
                <c:pt idx="398">
                  <c:v>0.99827416782722733</c:v>
                </c:pt>
                <c:pt idx="399">
                  <c:v>0.99830760912816197</c:v>
                </c:pt>
                <c:pt idx="400">
                  <c:v>0.99834044094183749</c:v>
                </c:pt>
                <c:pt idx="401">
                  <c:v>0.99837264026873473</c:v>
                </c:pt>
                <c:pt idx="402">
                  <c:v>0.99843406623467101</c:v>
                </c:pt>
                <c:pt idx="403">
                  <c:v>0.99846317787611394</c:v>
                </c:pt>
                <c:pt idx="404">
                  <c:v>0.99849203652284557</c:v>
                </c:pt>
                <c:pt idx="405">
                  <c:v>0.9985204121796738</c:v>
                </c:pt>
                <c:pt idx="406">
                  <c:v>0.99854849459263206</c:v>
                </c:pt>
                <c:pt idx="407">
                  <c:v>0.99857624926244148</c:v>
                </c:pt>
                <c:pt idx="408">
                  <c:v>0.99860320469895825</c:v>
                </c:pt>
                <c:pt idx="409">
                  <c:v>0.9986291769060287</c:v>
                </c:pt>
                <c:pt idx="410">
                  <c:v>0.99865508586442131</c:v>
                </c:pt>
                <c:pt idx="411">
                  <c:v>0.99868084532593904</c:v>
                </c:pt>
                <c:pt idx="412">
                  <c:v>0.99870614479707254</c:v>
                </c:pt>
                <c:pt idx="413">
                  <c:v>0.99873122577277351</c:v>
                </c:pt>
                <c:pt idx="414">
                  <c:v>0.99875627224919572</c:v>
                </c:pt>
                <c:pt idx="415">
                  <c:v>0.9987799847535036</c:v>
                </c:pt>
                <c:pt idx="416">
                  <c:v>0.99880312801971094</c:v>
                </c:pt>
                <c:pt idx="417">
                  <c:v>0.99882620228736063</c:v>
                </c:pt>
                <c:pt idx="418">
                  <c:v>0.99884897181138077</c:v>
                </c:pt>
                <c:pt idx="419">
                  <c:v>0.99887144809153094</c:v>
                </c:pt>
                <c:pt idx="420">
                  <c:v>0.99889353337985454</c:v>
                </c:pt>
                <c:pt idx="421">
                  <c:v>0.99891446869221756</c:v>
                </c:pt>
                <c:pt idx="422">
                  <c:v>0.99893524300794612</c:v>
                </c:pt>
                <c:pt idx="423">
                  <c:v>0.99895581607788153</c:v>
                </c:pt>
                <c:pt idx="424">
                  <c:v>0.99897545766728879</c:v>
                </c:pt>
                <c:pt idx="425">
                  <c:v>0.99899495550970097</c:v>
                </c:pt>
                <c:pt idx="426">
                  <c:v>0.99901362536942151</c:v>
                </c:pt>
                <c:pt idx="427">
                  <c:v>0.99903201348503179</c:v>
                </c:pt>
                <c:pt idx="428">
                  <c:v>0.9990503613514834</c:v>
                </c:pt>
                <c:pt idx="429">
                  <c:v>0.99906868621841582</c:v>
                </c:pt>
                <c:pt idx="430">
                  <c:v>0.99908663734316105</c:v>
                </c:pt>
                <c:pt idx="431">
                  <c:v>0.99910427222451703</c:v>
                </c:pt>
                <c:pt idx="432">
                  <c:v>0.99912171735983957</c:v>
                </c:pt>
                <c:pt idx="433">
                  <c:v>0.99913915099540251</c:v>
                </c:pt>
                <c:pt idx="434">
                  <c:v>0.99915633163625406</c:v>
                </c:pt>
                <c:pt idx="435">
                  <c:v>0.99917317878407708</c:v>
                </c:pt>
                <c:pt idx="436">
                  <c:v>0.99918922094872764</c:v>
                </c:pt>
                <c:pt idx="437">
                  <c:v>0.99920479737311418</c:v>
                </c:pt>
                <c:pt idx="438">
                  <c:v>0.99922031054882288</c:v>
                </c:pt>
                <c:pt idx="439">
                  <c:v>0.99923555348018078</c:v>
                </c:pt>
                <c:pt idx="440">
                  <c:v>0.99925046866838996</c:v>
                </c:pt>
                <c:pt idx="441">
                  <c:v>0.99926503311393111</c:v>
                </c:pt>
                <c:pt idx="442">
                  <c:v>0.99927954006067432</c:v>
                </c:pt>
                <c:pt idx="443">
                  <c:v>0.99929341452063913</c:v>
                </c:pt>
                <c:pt idx="444">
                  <c:v>0.99930699573673398</c:v>
                </c:pt>
                <c:pt idx="445">
                  <c:v>0.99932054245355006</c:v>
                </c:pt>
                <c:pt idx="446">
                  <c:v>0.99933395117325086</c:v>
                </c:pt>
                <c:pt idx="447">
                  <c:v>0.99934734264331226</c:v>
                </c:pt>
                <c:pt idx="448">
                  <c:v>0.99936072261361397</c:v>
                </c:pt>
                <c:pt idx="449">
                  <c:v>0.99938720081010712</c:v>
                </c:pt>
                <c:pt idx="450">
                  <c:v>0.99940025878713989</c:v>
                </c:pt>
                <c:pt idx="451">
                  <c:v>0.99941323051597564</c:v>
                </c:pt>
                <c:pt idx="452">
                  <c:v>0.99942612749637394</c:v>
                </c:pt>
                <c:pt idx="453">
                  <c:v>0.99943886923001757</c:v>
                </c:pt>
                <c:pt idx="454">
                  <c:v>0.99945138096846908</c:v>
                </c:pt>
                <c:pt idx="455">
                  <c:v>0.99946384670788213</c:v>
                </c:pt>
                <c:pt idx="456">
                  <c:v>0.99947620894945877</c:v>
                </c:pt>
                <c:pt idx="457">
                  <c:v>0.99948842744404032</c:v>
                </c:pt>
                <c:pt idx="458">
                  <c:v>0.99950018019835785</c:v>
                </c:pt>
                <c:pt idx="459">
                  <c:v>0.99951186395411773</c:v>
                </c:pt>
                <c:pt idx="460">
                  <c:v>0.99952349596095935</c:v>
                </c:pt>
                <c:pt idx="461">
                  <c:v>0.99953495547140692</c:v>
                </c:pt>
                <c:pt idx="462">
                  <c:v>0.99954637473269581</c:v>
                </c:pt>
                <c:pt idx="463">
                  <c:v>0.99955770774578767</c:v>
                </c:pt>
                <c:pt idx="464">
                  <c:v>0.99956847152077899</c:v>
                </c:pt>
                <c:pt idx="465">
                  <c:v>0.99957914904757328</c:v>
                </c:pt>
                <c:pt idx="466">
                  <c:v>0.99960022235705159</c:v>
                </c:pt>
                <c:pt idx="467">
                  <c:v>0.99961067563853356</c:v>
                </c:pt>
                <c:pt idx="468">
                  <c:v>0.99962072642842936</c:v>
                </c:pt>
                <c:pt idx="469">
                  <c:v>0.99963074846892608</c:v>
                </c:pt>
                <c:pt idx="470">
                  <c:v>0.99964075325978341</c:v>
                </c:pt>
                <c:pt idx="471">
                  <c:v>0.99965071780148218</c:v>
                </c:pt>
                <c:pt idx="472">
                  <c:v>0.99967007764677907</c:v>
                </c:pt>
                <c:pt idx="473">
                  <c:v>0.99967961094749258</c:v>
                </c:pt>
                <c:pt idx="474">
                  <c:v>0.99968912699856671</c:v>
                </c:pt>
                <c:pt idx="475">
                  <c:v>0.99970669288136504</c:v>
                </c:pt>
                <c:pt idx="476">
                  <c:v>0.99971500145768044</c:v>
                </c:pt>
                <c:pt idx="477">
                  <c:v>0.99972313178772199</c:v>
                </c:pt>
                <c:pt idx="478">
                  <c:v>0.9997311758695665</c:v>
                </c:pt>
                <c:pt idx="479">
                  <c:v>0.99973907620441593</c:v>
                </c:pt>
                <c:pt idx="480">
                  <c:v>0.99974674079419346</c:v>
                </c:pt>
                <c:pt idx="481">
                  <c:v>0.99976125349081646</c:v>
                </c:pt>
                <c:pt idx="482">
                  <c:v>0.99976801534946491</c:v>
                </c:pt>
                <c:pt idx="483">
                  <c:v>0.99977477145823357</c:v>
                </c:pt>
                <c:pt idx="484">
                  <c:v>0.9997813148214495</c:v>
                </c:pt>
                <c:pt idx="485">
                  <c:v>0.99978769718803095</c:v>
                </c:pt>
                <c:pt idx="486">
                  <c:v>0.99979403930545374</c:v>
                </c:pt>
                <c:pt idx="487">
                  <c:v>0.99980031817419868</c:v>
                </c:pt>
                <c:pt idx="488">
                  <c:v>0.99981259416757828</c:v>
                </c:pt>
                <c:pt idx="489">
                  <c:v>0.99981844179533796</c:v>
                </c:pt>
                <c:pt idx="490">
                  <c:v>0.99982424917393908</c:v>
                </c:pt>
                <c:pt idx="491">
                  <c:v>0.9998298150575885</c:v>
                </c:pt>
                <c:pt idx="492">
                  <c:v>0.99984071107981531</c:v>
                </c:pt>
                <c:pt idx="493">
                  <c:v>0.99984613896634944</c:v>
                </c:pt>
                <c:pt idx="494">
                  <c:v>0.99985156110300377</c:v>
                </c:pt>
                <c:pt idx="495">
                  <c:v>0.99985686824206199</c:v>
                </c:pt>
                <c:pt idx="496">
                  <c:v>0.99986188788713004</c:v>
                </c:pt>
                <c:pt idx="497">
                  <c:v>0.9998667695350828</c:v>
                </c:pt>
                <c:pt idx="498">
                  <c:v>0.99987137518880509</c:v>
                </c:pt>
                <c:pt idx="499">
                  <c:v>0.99987590609408994</c:v>
                </c:pt>
                <c:pt idx="500">
                  <c:v>0.99988038525045653</c:v>
                </c:pt>
                <c:pt idx="501">
                  <c:v>0.999884634411631</c:v>
                </c:pt>
                <c:pt idx="502">
                  <c:v>0.99988876282532957</c:v>
                </c:pt>
                <c:pt idx="503">
                  <c:v>0.99989288548914834</c:v>
                </c:pt>
                <c:pt idx="504">
                  <c:v>0.99989699665320753</c:v>
                </c:pt>
                <c:pt idx="505">
                  <c:v>0.99990103881870906</c:v>
                </c:pt>
                <c:pt idx="506">
                  <c:v>0.9999048452391387</c:v>
                </c:pt>
                <c:pt idx="507">
                  <c:v>0.99990853091209242</c:v>
                </c:pt>
                <c:pt idx="508">
                  <c:v>0.99991207283805106</c:v>
                </c:pt>
                <c:pt idx="509">
                  <c:v>0.99991833445715661</c:v>
                </c:pt>
                <c:pt idx="510">
                  <c:v>0.99992128989537543</c:v>
                </c:pt>
                <c:pt idx="511">
                  <c:v>0.99992391184056562</c:v>
                </c:pt>
                <c:pt idx="512">
                  <c:v>0.99992909248226824</c:v>
                </c:pt>
                <c:pt idx="513">
                  <c:v>0.99993666507396894</c:v>
                </c:pt>
                <c:pt idx="514">
                  <c:v>0.99993917777144292</c:v>
                </c:pt>
                <c:pt idx="515">
                  <c:v>0.99994167896915731</c:v>
                </c:pt>
                <c:pt idx="516">
                  <c:v>0.9999441801668717</c:v>
                </c:pt>
                <c:pt idx="517">
                  <c:v>0.99994663536554762</c:v>
                </c:pt>
                <c:pt idx="518">
                  <c:v>0.99994907906446395</c:v>
                </c:pt>
                <c:pt idx="519">
                  <c:v>0.99995140201590438</c:v>
                </c:pt>
                <c:pt idx="520">
                  <c:v>0.99995369621794583</c:v>
                </c:pt>
                <c:pt idx="521">
                  <c:v>0.99995794537912031</c:v>
                </c:pt>
                <c:pt idx="522">
                  <c:v>0.99995996358693118</c:v>
                </c:pt>
                <c:pt idx="523">
                  <c:v>0.99996363776012531</c:v>
                </c:pt>
                <c:pt idx="524">
                  <c:v>0.99996703593908887</c:v>
                </c:pt>
                <c:pt idx="525">
                  <c:v>0.99997390129557384</c:v>
                </c:pt>
                <c:pt idx="526">
                  <c:v>0.99997632774485068</c:v>
                </c:pt>
                <c:pt idx="527">
                  <c:v>0.99997943842982417</c:v>
                </c:pt>
                <c:pt idx="528">
                  <c:v>0.99998043315903007</c:v>
                </c:pt>
                <c:pt idx="529">
                  <c:v>0.99998416483102215</c:v>
                </c:pt>
                <c:pt idx="530">
                  <c:v>0.99999297364688045</c:v>
                </c:pt>
                <c:pt idx="531">
                  <c:v>0.99999368663197608</c:v>
                </c:pt>
                <c:pt idx="532">
                  <c:v>0.9999940373746441</c:v>
                </c:pt>
                <c:pt idx="533">
                  <c:v>0.99999438236743232</c:v>
                </c:pt>
                <c:pt idx="534">
                  <c:v>0.999995647340989</c:v>
                </c:pt>
                <c:pt idx="535">
                  <c:v>0.99999619932945016</c:v>
                </c:pt>
                <c:pt idx="536">
                  <c:v>0.9999996262578128</c:v>
                </c:pt>
                <c:pt idx="537">
                  <c:v>0.99999970675613004</c:v>
                </c:pt>
                <c:pt idx="538">
                  <c:v>0.9999999712506010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17</c:f>
              <c:strCache>
                <c:ptCount val="916"/>
                <c:pt idx="0">
                  <c:v>Caprice Des</c:v>
                </c:pt>
                <c:pt idx="1">
                  <c:v>President</c:v>
                </c:pt>
                <c:pt idx="2">
                  <c:v>Caprice Des</c:v>
                </c:pt>
                <c:pt idx="3">
                  <c:v>La Vache Qu</c:v>
                </c:pt>
                <c:pt idx="4">
                  <c:v>La Vache Qu</c:v>
                </c:pt>
                <c:pt idx="5">
                  <c:v>Kiri</c:v>
                </c:pt>
                <c:pt idx="6">
                  <c:v>Coeur De Li</c:v>
                </c:pt>
                <c:pt idx="7">
                  <c:v>Mini Babybe</c:v>
                </c:pt>
                <c:pt idx="8">
                  <c:v>Galbani</c:v>
                </c:pt>
                <c:pt idx="9">
                  <c:v>Soignon</c:v>
                </c:pt>
                <c:pt idx="10">
                  <c:v>Mini Babybe</c:v>
                </c:pt>
                <c:pt idx="11">
                  <c:v>Salakis</c:v>
                </c:pt>
                <c:pt idx="12">
                  <c:v>Coeur De Li</c:v>
                </c:pt>
                <c:pt idx="13">
                  <c:v>Soignon</c:v>
                </c:pt>
                <c:pt idx="14">
                  <c:v>Le Rustique</c:v>
                </c:pt>
                <c:pt idx="15">
                  <c:v>Islos</c:v>
                </c:pt>
                <c:pt idx="16">
                  <c:v>Salakis</c:v>
                </c:pt>
                <c:pt idx="17">
                  <c:v>Ficello</c:v>
                </c:pt>
                <c:pt idx="18">
                  <c:v>Tartare</c:v>
                </c:pt>
                <c:pt idx="19">
                  <c:v>Soignon</c:v>
                </c:pt>
                <c:pt idx="20">
                  <c:v>Mini Babybe</c:v>
                </c:pt>
                <c:pt idx="21">
                  <c:v>St Moret</c:v>
                </c:pt>
                <c:pt idx="22">
                  <c:v>All Others</c:v>
                </c:pt>
                <c:pt idx="23">
                  <c:v>St Moret</c:v>
                </c:pt>
                <c:pt idx="24">
                  <c:v>Galbani</c:v>
                </c:pt>
                <c:pt idx="25">
                  <c:v>Kiri</c:v>
                </c:pt>
                <c:pt idx="26">
                  <c:v>St Moret</c:v>
                </c:pt>
                <c:pt idx="27">
                  <c:v>Coeur De Li</c:v>
                </c:pt>
                <c:pt idx="28">
                  <c:v>Galbani</c:v>
                </c:pt>
                <c:pt idx="29">
                  <c:v>All Others</c:v>
                </c:pt>
                <c:pt idx="30">
                  <c:v>Mini Babybe</c:v>
                </c:pt>
                <c:pt idx="31">
                  <c:v>Paysan Bret</c:v>
                </c:pt>
                <c:pt idx="32">
                  <c:v>St Moret</c:v>
                </c:pt>
                <c:pt idx="33">
                  <c:v>St Moret</c:v>
                </c:pt>
                <c:pt idx="34">
                  <c:v>All Others</c:v>
                </c:pt>
                <c:pt idx="35">
                  <c:v>Carre Frais</c:v>
                </c:pt>
                <c:pt idx="36">
                  <c:v>President</c:v>
                </c:pt>
                <c:pt idx="37">
                  <c:v>Salakis</c:v>
                </c:pt>
                <c:pt idx="38">
                  <c:v>President</c:v>
                </c:pt>
                <c:pt idx="39">
                  <c:v>Casa Azzurr</c:v>
                </c:pt>
                <c:pt idx="40">
                  <c:v>Carre Frais</c:v>
                </c:pt>
                <c:pt idx="41">
                  <c:v>Kiri</c:v>
                </c:pt>
                <c:pt idx="42">
                  <c:v>President</c:v>
                </c:pt>
                <c:pt idx="43">
                  <c:v>President</c:v>
                </c:pt>
                <c:pt idx="44">
                  <c:v>La Vache Qu</c:v>
                </c:pt>
                <c:pt idx="45">
                  <c:v>Paysan Bret</c:v>
                </c:pt>
                <c:pt idx="46">
                  <c:v>Paysan Bret</c:v>
                </c:pt>
                <c:pt idx="47">
                  <c:v>St Moret</c:v>
                </c:pt>
                <c:pt idx="48">
                  <c:v>Philadelphi</c:v>
                </c:pt>
                <c:pt idx="49">
                  <c:v>Coeur De Li</c:v>
                </c:pt>
                <c:pt idx="50">
                  <c:v>All Others</c:v>
                </c:pt>
                <c:pt idx="51">
                  <c:v>St Moret</c:v>
                </c:pt>
                <c:pt idx="52">
                  <c:v>Casa Azzurr</c:v>
                </c:pt>
                <c:pt idx="53">
                  <c:v>Salakis</c:v>
                </c:pt>
                <c:pt idx="54">
                  <c:v>Boursin</c:v>
                </c:pt>
                <c:pt idx="55">
                  <c:v>Galbani</c:v>
                </c:pt>
                <c:pt idx="56">
                  <c:v>All Others</c:v>
                </c:pt>
                <c:pt idx="57">
                  <c:v>La Vache Qu</c:v>
                </c:pt>
                <c:pt idx="58">
                  <c:v>Kiri</c:v>
                </c:pt>
                <c:pt idx="59">
                  <c:v>Casa Azzurr</c:v>
                </c:pt>
                <c:pt idx="60">
                  <c:v>Casa Azzurr</c:v>
                </c:pt>
                <c:pt idx="61">
                  <c:v>Galbani</c:v>
                </c:pt>
                <c:pt idx="62">
                  <c:v>Petit Billy</c:v>
                </c:pt>
                <c:pt idx="63">
                  <c:v>All Others</c:v>
                </c:pt>
                <c:pt idx="64">
                  <c:v>Tartare</c:v>
                </c:pt>
                <c:pt idx="65">
                  <c:v>Kiri</c:v>
                </c:pt>
                <c:pt idx="66">
                  <c:v>Casa Azzurr</c:v>
                </c:pt>
                <c:pt idx="67">
                  <c:v>Carre Frais</c:v>
                </c:pt>
                <c:pt idx="68">
                  <c:v>St Moret</c:v>
                </c:pt>
                <c:pt idx="69">
                  <c:v>Kiri</c:v>
                </c:pt>
                <c:pt idx="70">
                  <c:v>Boursin</c:v>
                </c:pt>
                <c:pt idx="71">
                  <c:v>Casa Azzurr</c:v>
                </c:pt>
                <c:pt idx="72">
                  <c:v>Salakis</c:v>
                </c:pt>
                <c:pt idx="73">
                  <c:v>Istara</c:v>
                </c:pt>
                <c:pt idx="74">
                  <c:v>La Vache Qu</c:v>
                </c:pt>
                <c:pt idx="75">
                  <c:v>All Others</c:v>
                </c:pt>
                <c:pt idx="76">
                  <c:v>All Others</c:v>
                </c:pt>
                <c:pt idx="77">
                  <c:v>Lepetit</c:v>
                </c:pt>
                <c:pt idx="78">
                  <c:v>Galbani</c:v>
                </c:pt>
                <c:pt idx="79">
                  <c:v>President</c:v>
                </c:pt>
                <c:pt idx="80">
                  <c:v>Ficello</c:v>
                </c:pt>
                <c:pt idx="81">
                  <c:v>Etorki</c:v>
                </c:pt>
                <c:pt idx="82">
                  <c:v>Lou Perac</c:v>
                </c:pt>
                <c:pt idx="83">
                  <c:v>Boursin</c:v>
                </c:pt>
                <c:pt idx="84">
                  <c:v>All Others</c:v>
                </c:pt>
                <c:pt idx="85">
                  <c:v>Philadelphi</c:v>
                </c:pt>
                <c:pt idx="86">
                  <c:v>Boursin</c:v>
                </c:pt>
                <c:pt idx="87">
                  <c:v>Philadelphi</c:v>
                </c:pt>
                <c:pt idx="88">
                  <c:v>Casa Azzurr</c:v>
                </c:pt>
                <c:pt idx="89">
                  <c:v>Coeur De Li</c:v>
                </c:pt>
                <c:pt idx="90">
                  <c:v>Salakis</c:v>
                </c:pt>
                <c:pt idx="91">
                  <c:v>All Others</c:v>
                </c:pt>
                <c:pt idx="92">
                  <c:v>Caprice Des</c:v>
                </c:pt>
                <c:pt idx="93">
                  <c:v>Mini Babybe</c:v>
                </c:pt>
                <c:pt idx="94">
                  <c:v>Galbani</c:v>
                </c:pt>
                <c:pt idx="95">
                  <c:v>All Others</c:v>
                </c:pt>
                <c:pt idx="96">
                  <c:v>Caprice Des</c:v>
                </c:pt>
                <c:pt idx="97">
                  <c:v>Casa Azzurr</c:v>
                </c:pt>
                <c:pt idx="98">
                  <c:v>Salakis</c:v>
                </c:pt>
                <c:pt idx="99">
                  <c:v>Istara</c:v>
                </c:pt>
                <c:pt idx="100">
                  <c:v>Casa Azzurr</c:v>
                </c:pt>
                <c:pt idx="101">
                  <c:v>St Moret</c:v>
                </c:pt>
                <c:pt idx="102">
                  <c:v>Lactalis: A</c:v>
                </c:pt>
                <c:pt idx="103">
                  <c:v>All Others</c:v>
                </c:pt>
                <c:pt idx="104">
                  <c:v>La Vache Qu</c:v>
                </c:pt>
                <c:pt idx="105">
                  <c:v>President</c:v>
                </c:pt>
                <c:pt idx="106">
                  <c:v>Casa Azzurr</c:v>
                </c:pt>
                <c:pt idx="107">
                  <c:v>Le Rustique</c:v>
                </c:pt>
                <c:pt idx="108">
                  <c:v>All Others</c:v>
                </c:pt>
                <c:pt idx="109">
                  <c:v>Paysan Bret</c:v>
                </c:pt>
                <c:pt idx="110">
                  <c:v>Paysan Bret</c:v>
                </c:pt>
                <c:pt idx="111">
                  <c:v>Soignon</c:v>
                </c:pt>
                <c:pt idx="112">
                  <c:v>Paysan Bret</c:v>
                </c:pt>
                <c:pt idx="113">
                  <c:v>Casa Azzurr</c:v>
                </c:pt>
                <c:pt idx="114">
                  <c:v>Casa Azzurr</c:v>
                </c:pt>
                <c:pt idx="115">
                  <c:v>Tartare</c:v>
                </c:pt>
                <c:pt idx="116">
                  <c:v>President</c:v>
                </c:pt>
                <c:pt idx="117">
                  <c:v>Soignon</c:v>
                </c:pt>
                <c:pt idx="118">
                  <c:v>President</c:v>
                </c:pt>
                <c:pt idx="119">
                  <c:v>All Others</c:v>
                </c:pt>
                <c:pt idx="120">
                  <c:v>President</c:v>
                </c:pt>
                <c:pt idx="121">
                  <c:v>Caprice Des</c:v>
                </c:pt>
                <c:pt idx="122">
                  <c:v>Galbani</c:v>
                </c:pt>
                <c:pt idx="123">
                  <c:v>Soignon</c:v>
                </c:pt>
                <c:pt idx="124">
                  <c:v>All Others</c:v>
                </c:pt>
                <c:pt idx="125">
                  <c:v>Le Brebiou</c:v>
                </c:pt>
                <c:pt idx="126">
                  <c:v>Soignon</c:v>
                </c:pt>
                <c:pt idx="127">
                  <c:v>All Others</c:v>
                </c:pt>
                <c:pt idx="128">
                  <c:v>Paysan Bret</c:v>
                </c:pt>
                <c:pt idx="129">
                  <c:v>Galbani</c:v>
                </c:pt>
                <c:pt idx="130">
                  <c:v>Lactalis: A</c:v>
                </c:pt>
                <c:pt idx="131">
                  <c:v>Lactalis: A</c:v>
                </c:pt>
                <c:pt idx="132">
                  <c:v>Laita: All </c:v>
                </c:pt>
                <c:pt idx="133">
                  <c:v>Le Rustique</c:v>
                </c:pt>
                <c:pt idx="134">
                  <c:v>Savencia: A</c:v>
                </c:pt>
                <c:pt idx="135">
                  <c:v>All Others</c:v>
                </c:pt>
                <c:pt idx="136">
                  <c:v>All Others</c:v>
                </c:pt>
                <c:pt idx="137">
                  <c:v>Coeur De Li</c:v>
                </c:pt>
                <c:pt idx="138">
                  <c:v>All Others</c:v>
                </c:pt>
                <c:pt idx="139">
                  <c:v>All Others</c:v>
                </c:pt>
                <c:pt idx="140">
                  <c:v>Lactalis: A</c:v>
                </c:pt>
                <c:pt idx="141">
                  <c:v>All Others</c:v>
                </c:pt>
                <c:pt idx="142">
                  <c:v>Mini Babybe</c:v>
                </c:pt>
                <c:pt idx="143">
                  <c:v>Chavroux</c:v>
                </c:pt>
                <c:pt idx="144">
                  <c:v>Rondele</c:v>
                </c:pt>
                <c:pt idx="145">
                  <c:v>All Others</c:v>
                </c:pt>
                <c:pt idx="146">
                  <c:v>Galbani</c:v>
                </c:pt>
                <c:pt idx="147">
                  <c:v>Ficello</c:v>
                </c:pt>
                <c:pt idx="148">
                  <c:v>Galbani</c:v>
                </c:pt>
                <c:pt idx="149">
                  <c:v>All Others</c:v>
                </c:pt>
                <c:pt idx="150">
                  <c:v>All Others</c:v>
                </c:pt>
                <c:pt idx="151">
                  <c:v>All Others</c:v>
                </c:pt>
                <c:pt idx="152">
                  <c:v>President</c:v>
                </c:pt>
                <c:pt idx="153">
                  <c:v>La Vache Qu</c:v>
                </c:pt>
                <c:pt idx="154">
                  <c:v>Lou Perac</c:v>
                </c:pt>
                <c:pt idx="155">
                  <c:v>Chavroux</c:v>
                </c:pt>
                <c:pt idx="156">
                  <c:v>Etorki</c:v>
                </c:pt>
                <c:pt idx="157">
                  <c:v>All Others</c:v>
                </c:pt>
                <c:pt idx="158">
                  <c:v>Islos</c:v>
                </c:pt>
                <c:pt idx="159">
                  <c:v>President</c:v>
                </c:pt>
                <c:pt idx="160">
                  <c:v>Le Rustique</c:v>
                </c:pt>
                <c:pt idx="161">
                  <c:v>Boursin</c:v>
                </c:pt>
                <c:pt idx="162">
                  <c:v>All Others</c:v>
                </c:pt>
                <c:pt idx="163">
                  <c:v>President</c:v>
                </c:pt>
                <c:pt idx="164">
                  <c:v>Boursin</c:v>
                </c:pt>
                <c:pt idx="165">
                  <c:v>All Others</c:v>
                </c:pt>
                <c:pt idx="166">
                  <c:v>All Others</c:v>
                </c:pt>
                <c:pt idx="167">
                  <c:v>Caprice Des</c:v>
                </c:pt>
                <c:pt idx="168">
                  <c:v>All Others</c:v>
                </c:pt>
                <c:pt idx="169">
                  <c:v>Casa Azzurr</c:v>
                </c:pt>
                <c:pt idx="170">
                  <c:v>Soignon</c:v>
                </c:pt>
                <c:pt idx="171">
                  <c:v>Kiri</c:v>
                </c:pt>
                <c:pt idx="172">
                  <c:v>Soignon</c:v>
                </c:pt>
                <c:pt idx="173">
                  <c:v>Lactalis: A</c:v>
                </c:pt>
                <c:pt idx="174">
                  <c:v>Chavroux</c:v>
                </c:pt>
                <c:pt idx="175">
                  <c:v>All Others</c:v>
                </c:pt>
                <c:pt idx="176">
                  <c:v>All Others</c:v>
                </c:pt>
                <c:pt idx="177">
                  <c:v>Soignon</c:v>
                </c:pt>
                <c:pt idx="178">
                  <c:v>All Others</c:v>
                </c:pt>
                <c:pt idx="179">
                  <c:v>Casa Azzurr</c:v>
                </c:pt>
                <c:pt idx="180">
                  <c:v>Casa Azzurr</c:v>
                </c:pt>
                <c:pt idx="181">
                  <c:v>All Others</c:v>
                </c:pt>
                <c:pt idx="182">
                  <c:v>P'Tit Louis</c:v>
                </c:pt>
                <c:pt idx="183">
                  <c:v>Soignon</c:v>
                </c:pt>
                <c:pt idx="184">
                  <c:v>All Others</c:v>
                </c:pt>
                <c:pt idx="185">
                  <c:v>Mini Babybe</c:v>
                </c:pt>
                <c:pt idx="186">
                  <c:v>Lactalis: A</c:v>
                </c:pt>
                <c:pt idx="187">
                  <c:v>All Others</c:v>
                </c:pt>
                <c:pt idx="188">
                  <c:v>Paysan Bret</c:v>
                </c:pt>
                <c:pt idx="189">
                  <c:v>Caprice Des</c:v>
                </c:pt>
                <c:pt idx="190">
                  <c:v>All Others</c:v>
                </c:pt>
                <c:pt idx="191">
                  <c:v>All Others</c:v>
                </c:pt>
                <c:pt idx="192">
                  <c:v>Soignon</c:v>
                </c:pt>
                <c:pt idx="193">
                  <c:v>All Others</c:v>
                </c:pt>
                <c:pt idx="194">
                  <c:v>All Others</c:v>
                </c:pt>
                <c:pt idx="195">
                  <c:v>Boursin</c:v>
                </c:pt>
                <c:pt idx="196">
                  <c:v>Galbani</c:v>
                </c:pt>
                <c:pt idx="197">
                  <c:v>All Others</c:v>
                </c:pt>
                <c:pt idx="198">
                  <c:v>P'Tit Louis</c:v>
                </c:pt>
                <c:pt idx="199">
                  <c:v>Boursin</c:v>
                </c:pt>
                <c:pt idx="200">
                  <c:v>Boursin</c:v>
                </c:pt>
                <c:pt idx="201">
                  <c:v>All Others</c:v>
                </c:pt>
                <c:pt idx="202">
                  <c:v>Mini Babybe</c:v>
                </c:pt>
                <c:pt idx="203">
                  <c:v>All Others</c:v>
                </c:pt>
                <c:pt idx="204">
                  <c:v>Boursin</c:v>
                </c:pt>
                <c:pt idx="205">
                  <c:v>St Moret</c:v>
                </c:pt>
                <c:pt idx="206">
                  <c:v>President</c:v>
                </c:pt>
                <c:pt idx="207">
                  <c:v>Pave D'Affi</c:v>
                </c:pt>
                <c:pt idx="208">
                  <c:v>P'Tit Louis</c:v>
                </c:pt>
                <c:pt idx="209">
                  <c:v>La Vache Qu</c:v>
                </c:pt>
                <c:pt idx="210">
                  <c:v>Tartare</c:v>
                </c:pt>
                <c:pt idx="211">
                  <c:v>Galbani</c:v>
                </c:pt>
                <c:pt idx="212">
                  <c:v>All Others</c:v>
                </c:pt>
                <c:pt idx="213">
                  <c:v>Caprice Des</c:v>
                </c:pt>
                <c:pt idx="214">
                  <c:v>Lou Perac</c:v>
                </c:pt>
                <c:pt idx="215">
                  <c:v>Rondele</c:v>
                </c:pt>
                <c:pt idx="216">
                  <c:v>Tartare</c:v>
                </c:pt>
                <c:pt idx="217">
                  <c:v>All Others</c:v>
                </c:pt>
                <c:pt idx="218">
                  <c:v>Lactalis: A</c:v>
                </c:pt>
                <c:pt idx="219">
                  <c:v>All Others</c:v>
                </c:pt>
                <c:pt idx="220">
                  <c:v>Islos</c:v>
                </c:pt>
                <c:pt idx="221">
                  <c:v>Savencia: A</c:v>
                </c:pt>
                <c:pt idx="222">
                  <c:v>All Others</c:v>
                </c:pt>
                <c:pt idx="223">
                  <c:v>Tartare</c:v>
                </c:pt>
                <c:pt idx="224">
                  <c:v>All Others</c:v>
                </c:pt>
                <c:pt idx="225">
                  <c:v>All Others</c:v>
                </c:pt>
                <c:pt idx="226">
                  <c:v>Philadelphi</c:v>
                </c:pt>
                <c:pt idx="227">
                  <c:v>All Others</c:v>
                </c:pt>
                <c:pt idx="228">
                  <c:v>All Others</c:v>
                </c:pt>
                <c:pt idx="229">
                  <c:v>All Others</c:v>
                </c:pt>
                <c:pt idx="230">
                  <c:v>Ficello</c:v>
                </c:pt>
                <c:pt idx="231">
                  <c:v>All Others</c:v>
                </c:pt>
                <c:pt idx="232">
                  <c:v>Paysan Bret</c:v>
                </c:pt>
                <c:pt idx="233">
                  <c:v>Boursin</c:v>
                </c:pt>
                <c:pt idx="234">
                  <c:v>All Others</c:v>
                </c:pt>
                <c:pt idx="235">
                  <c:v>All Others</c:v>
                </c:pt>
                <c:pt idx="236">
                  <c:v>Soignon</c:v>
                </c:pt>
                <c:pt idx="237">
                  <c:v>Kiri</c:v>
                </c:pt>
                <c:pt idx="238">
                  <c:v>Salakis</c:v>
                </c:pt>
                <c:pt idx="239">
                  <c:v>All Others</c:v>
                </c:pt>
                <c:pt idx="240">
                  <c:v>All Others</c:v>
                </c:pt>
                <c:pt idx="241">
                  <c:v>Corsica</c:v>
                </c:pt>
                <c:pt idx="242">
                  <c:v>Tartare</c:v>
                </c:pt>
                <c:pt idx="243">
                  <c:v>Lou Perac</c:v>
                </c:pt>
                <c:pt idx="244">
                  <c:v>All Others</c:v>
                </c:pt>
                <c:pt idx="245">
                  <c:v>All Others</c:v>
                </c:pt>
                <c:pt idx="246">
                  <c:v>All Others</c:v>
                </c:pt>
                <c:pt idx="247">
                  <c:v>All Others</c:v>
                </c:pt>
                <c:pt idx="248">
                  <c:v>All Others</c:v>
                </c:pt>
                <c:pt idx="249">
                  <c:v>Boursin</c:v>
                </c:pt>
                <c:pt idx="250">
                  <c:v>All Others</c:v>
                </c:pt>
                <c:pt idx="251">
                  <c:v>All Others</c:v>
                </c:pt>
                <c:pt idx="252">
                  <c:v>Triballat N</c:v>
                </c:pt>
                <c:pt idx="253">
                  <c:v>All Others</c:v>
                </c:pt>
                <c:pt idx="254">
                  <c:v>Corsica</c:v>
                </c:pt>
                <c:pt idx="255">
                  <c:v>President</c:v>
                </c:pt>
                <c:pt idx="256">
                  <c:v>All Others</c:v>
                </c:pt>
                <c:pt idx="257">
                  <c:v>All Others</c:v>
                </c:pt>
                <c:pt idx="258">
                  <c:v>Boursin</c:v>
                </c:pt>
                <c:pt idx="259">
                  <c:v>All Others</c:v>
                </c:pt>
                <c:pt idx="260">
                  <c:v>Chavroux</c:v>
                </c:pt>
                <c:pt idx="261">
                  <c:v>All Others</c:v>
                </c:pt>
                <c:pt idx="262">
                  <c:v>All Others</c:v>
                </c:pt>
                <c:pt idx="263">
                  <c:v>All Others</c:v>
                </c:pt>
                <c:pt idx="264">
                  <c:v>All Others</c:v>
                </c:pt>
                <c:pt idx="265">
                  <c:v>All Others</c:v>
                </c:pt>
                <c:pt idx="266">
                  <c:v>Coeur De Li</c:v>
                </c:pt>
                <c:pt idx="267">
                  <c:v>All Others</c:v>
                </c:pt>
                <c:pt idx="268">
                  <c:v>Savencia: A</c:v>
                </c:pt>
                <c:pt idx="269">
                  <c:v>All Others</c:v>
                </c:pt>
                <c:pt idx="270">
                  <c:v>All Others</c:v>
                </c:pt>
                <c:pt idx="271">
                  <c:v>All Others</c:v>
                </c:pt>
                <c:pt idx="272">
                  <c:v>All Others</c:v>
                </c:pt>
                <c:pt idx="273">
                  <c:v>Paysan Bret</c:v>
                </c:pt>
                <c:pt idx="274">
                  <c:v>St Moret</c:v>
                </c:pt>
                <c:pt idx="275">
                  <c:v>All Others</c:v>
                </c:pt>
                <c:pt idx="276">
                  <c:v>All Others</c:v>
                </c:pt>
                <c:pt idx="277">
                  <c:v>All Others</c:v>
                </c:pt>
                <c:pt idx="278">
                  <c:v>Lou Perac</c:v>
                </c:pt>
                <c:pt idx="279">
                  <c:v>Etoile Du Q</c:v>
                </c:pt>
                <c:pt idx="280">
                  <c:v>President</c:v>
                </c:pt>
                <c:pt idx="281">
                  <c:v>All Others</c:v>
                </c:pt>
                <c:pt idx="282">
                  <c:v>All Others</c:v>
                </c:pt>
                <c:pt idx="283">
                  <c:v>All Others</c:v>
                </c:pt>
                <c:pt idx="284">
                  <c:v>Boursin</c:v>
                </c:pt>
                <c:pt idx="285">
                  <c:v>Istara</c:v>
                </c:pt>
                <c:pt idx="286">
                  <c:v>All Others</c:v>
                </c:pt>
                <c:pt idx="287">
                  <c:v>All Others</c:v>
                </c:pt>
                <c:pt idx="288">
                  <c:v>Etoile Du V</c:v>
                </c:pt>
                <c:pt idx="289">
                  <c:v>All Others</c:v>
                </c:pt>
                <c:pt idx="290">
                  <c:v>All Others</c:v>
                </c:pt>
                <c:pt idx="291">
                  <c:v>Eurial Autr</c:v>
                </c:pt>
                <c:pt idx="292">
                  <c:v>Casa Azzurr</c:v>
                </c:pt>
                <c:pt idx="293">
                  <c:v>All Others</c:v>
                </c:pt>
                <c:pt idx="294">
                  <c:v>All Others</c:v>
                </c:pt>
                <c:pt idx="295">
                  <c:v>Saint Agur</c:v>
                </c:pt>
                <c:pt idx="296">
                  <c:v>Salakis</c:v>
                </c:pt>
                <c:pt idx="297">
                  <c:v>All Others</c:v>
                </c:pt>
                <c:pt idx="298">
                  <c:v>Kiri</c:v>
                </c:pt>
                <c:pt idx="299">
                  <c:v>All Others</c:v>
                </c:pt>
                <c:pt idx="300">
                  <c:v>All Others</c:v>
                </c:pt>
                <c:pt idx="301">
                  <c:v>All Others</c:v>
                </c:pt>
                <c:pt idx="302">
                  <c:v>Boursin</c:v>
                </c:pt>
                <c:pt idx="303">
                  <c:v>All Others</c:v>
                </c:pt>
                <c:pt idx="304">
                  <c:v>Milleret: A</c:v>
                </c:pt>
                <c:pt idx="305">
                  <c:v>Triballat R</c:v>
                </c:pt>
                <c:pt idx="306">
                  <c:v>All Others</c:v>
                </c:pt>
                <c:pt idx="307">
                  <c:v>All Others</c:v>
                </c:pt>
                <c:pt idx="308">
                  <c:v>All Others</c:v>
                </c:pt>
                <c:pt idx="309">
                  <c:v>All Others</c:v>
                </c:pt>
                <c:pt idx="310">
                  <c:v>All Others</c:v>
                </c:pt>
                <c:pt idx="311">
                  <c:v>All Others</c:v>
                </c:pt>
                <c:pt idx="312">
                  <c:v>St Moret</c:v>
                </c:pt>
                <c:pt idx="313">
                  <c:v>Savencia: A</c:v>
                </c:pt>
                <c:pt idx="314">
                  <c:v>Mini Babybe</c:v>
                </c:pt>
                <c:pt idx="315">
                  <c:v>All Others</c:v>
                </c:pt>
                <c:pt idx="316">
                  <c:v>All Others</c:v>
                </c:pt>
                <c:pt idx="317">
                  <c:v>All Others</c:v>
                </c:pt>
                <c:pt idx="318">
                  <c:v>All Others</c:v>
                </c:pt>
                <c:pt idx="319">
                  <c:v>Triballat R</c:v>
                </c:pt>
                <c:pt idx="320">
                  <c:v>All Others</c:v>
                </c:pt>
                <c:pt idx="321">
                  <c:v>All Others</c:v>
                </c:pt>
                <c:pt idx="322">
                  <c:v>Etoile Du Q</c:v>
                </c:pt>
                <c:pt idx="323">
                  <c:v>All Others</c:v>
                </c:pt>
                <c:pt idx="324">
                  <c:v>All Others</c:v>
                </c:pt>
                <c:pt idx="325">
                  <c:v>All Others</c:v>
                </c:pt>
                <c:pt idx="326">
                  <c:v>Boursin</c:v>
                </c:pt>
                <c:pt idx="327">
                  <c:v>All Others</c:v>
                </c:pt>
                <c:pt idx="328">
                  <c:v>All Others</c:v>
                </c:pt>
                <c:pt idx="329">
                  <c:v>All Others</c:v>
                </c:pt>
                <c:pt idx="330">
                  <c:v>All Others</c:v>
                </c:pt>
                <c:pt idx="331">
                  <c:v>All Others</c:v>
                </c:pt>
                <c:pt idx="332">
                  <c:v>All Others</c:v>
                </c:pt>
                <c:pt idx="333">
                  <c:v>Saint Agur</c:v>
                </c:pt>
                <c:pt idx="334">
                  <c:v>All Others</c:v>
                </c:pt>
                <c:pt idx="335">
                  <c:v>Lactalis: A</c:v>
                </c:pt>
                <c:pt idx="336">
                  <c:v>Savencia: A</c:v>
                </c:pt>
                <c:pt idx="337">
                  <c:v>Savencia: A</c:v>
                </c:pt>
                <c:pt idx="338">
                  <c:v>Etoile Du V</c:v>
                </c:pt>
                <c:pt idx="339">
                  <c:v>All Others</c:v>
                </c:pt>
                <c:pt idx="340">
                  <c:v>All Others</c:v>
                </c:pt>
                <c:pt idx="341">
                  <c:v>All Others</c:v>
                </c:pt>
                <c:pt idx="342">
                  <c:v>All Others</c:v>
                </c:pt>
                <c:pt idx="343">
                  <c:v>Triballat N</c:v>
                </c:pt>
                <c:pt idx="344">
                  <c:v>Lactalis: A</c:v>
                </c:pt>
                <c:pt idx="345">
                  <c:v>Soignon</c:v>
                </c:pt>
                <c:pt idx="346">
                  <c:v>All Others</c:v>
                </c:pt>
                <c:pt idx="347">
                  <c:v>All Others</c:v>
                </c:pt>
                <c:pt idx="348">
                  <c:v>All Others</c:v>
                </c:pt>
                <c:pt idx="349">
                  <c:v>All Others</c:v>
                </c:pt>
                <c:pt idx="350">
                  <c:v>All Others</c:v>
                </c:pt>
                <c:pt idx="351">
                  <c:v>All Others</c:v>
                </c:pt>
                <c:pt idx="352">
                  <c:v>Etoile Du Q</c:v>
                </c:pt>
                <c:pt idx="353">
                  <c:v>All Others</c:v>
                </c:pt>
                <c:pt idx="354">
                  <c:v>All Others</c:v>
                </c:pt>
                <c:pt idx="355">
                  <c:v>All Others</c:v>
                </c:pt>
                <c:pt idx="356">
                  <c:v>All Others</c:v>
                </c:pt>
                <c:pt idx="357">
                  <c:v>All Others</c:v>
                </c:pt>
                <c:pt idx="358">
                  <c:v>All Others</c:v>
                </c:pt>
                <c:pt idx="359">
                  <c:v>All Others</c:v>
                </c:pt>
                <c:pt idx="360">
                  <c:v>Triballat N</c:v>
                </c:pt>
                <c:pt idx="361">
                  <c:v>All Others</c:v>
                </c:pt>
                <c:pt idx="362">
                  <c:v>Casa Azzurr</c:v>
                </c:pt>
                <c:pt idx="363">
                  <c:v>Tartare</c:v>
                </c:pt>
                <c:pt idx="364">
                  <c:v>All Others</c:v>
                </c:pt>
                <c:pt idx="365">
                  <c:v>All Others</c:v>
                </c:pt>
                <c:pt idx="366">
                  <c:v>All Others</c:v>
                </c:pt>
                <c:pt idx="367">
                  <c:v>All Others</c:v>
                </c:pt>
                <c:pt idx="368">
                  <c:v>Eurial Autr</c:v>
                </c:pt>
                <c:pt idx="369">
                  <c:v>All Others</c:v>
                </c:pt>
                <c:pt idx="370">
                  <c:v>All Others</c:v>
                </c:pt>
                <c:pt idx="371">
                  <c:v>All Others</c:v>
                </c:pt>
                <c:pt idx="372">
                  <c:v>All Others</c:v>
                </c:pt>
                <c:pt idx="373">
                  <c:v>All Others</c:v>
                </c:pt>
                <c:pt idx="374">
                  <c:v>Lactalis: A</c:v>
                </c:pt>
                <c:pt idx="375">
                  <c:v>Private Lab</c:v>
                </c:pt>
                <c:pt idx="376">
                  <c:v>All Others</c:v>
                </c:pt>
                <c:pt idx="377">
                  <c:v>All Others</c:v>
                </c:pt>
                <c:pt idx="378">
                  <c:v>Paysan Bret</c:v>
                </c:pt>
                <c:pt idx="379">
                  <c:v>Philadelphi</c:v>
                </c:pt>
                <c:pt idx="380">
                  <c:v>All Others</c:v>
                </c:pt>
                <c:pt idx="381">
                  <c:v>Boursin</c:v>
                </c:pt>
                <c:pt idx="382">
                  <c:v>All Others</c:v>
                </c:pt>
                <c:pt idx="383">
                  <c:v>All Others</c:v>
                </c:pt>
                <c:pt idx="384">
                  <c:v>All Others</c:v>
                </c:pt>
                <c:pt idx="385">
                  <c:v>Tartare</c:v>
                </c:pt>
                <c:pt idx="386">
                  <c:v>All Others</c:v>
                </c:pt>
                <c:pt idx="387">
                  <c:v>All Others</c:v>
                </c:pt>
                <c:pt idx="388">
                  <c:v>Boursin</c:v>
                </c:pt>
                <c:pt idx="389">
                  <c:v>All Others</c:v>
                </c:pt>
                <c:pt idx="390">
                  <c:v>Savencia: A</c:v>
                </c:pt>
                <c:pt idx="391">
                  <c:v>All Others</c:v>
                </c:pt>
                <c:pt idx="392">
                  <c:v>All Others</c:v>
                </c:pt>
                <c:pt idx="393">
                  <c:v>All Others</c:v>
                </c:pt>
                <c:pt idx="394">
                  <c:v>All Others</c:v>
                </c:pt>
                <c:pt idx="395">
                  <c:v>All Others</c:v>
                </c:pt>
                <c:pt idx="396">
                  <c:v>All Others</c:v>
                </c:pt>
                <c:pt idx="397">
                  <c:v>Etoile Du V</c:v>
                </c:pt>
                <c:pt idx="398">
                  <c:v>All Others</c:v>
                </c:pt>
                <c:pt idx="399">
                  <c:v>All Others</c:v>
                </c:pt>
                <c:pt idx="400">
                  <c:v>Etoile Du V</c:v>
                </c:pt>
                <c:pt idx="401">
                  <c:v>Salakis</c:v>
                </c:pt>
                <c:pt idx="402">
                  <c:v>Soignon</c:v>
                </c:pt>
                <c:pt idx="403">
                  <c:v>All Others</c:v>
                </c:pt>
                <c:pt idx="404">
                  <c:v>All Others</c:v>
                </c:pt>
                <c:pt idx="405">
                  <c:v>Lactalis: A</c:v>
                </c:pt>
                <c:pt idx="406">
                  <c:v>All Others</c:v>
                </c:pt>
                <c:pt idx="407">
                  <c:v>All Others</c:v>
                </c:pt>
                <c:pt idx="408">
                  <c:v>All Others</c:v>
                </c:pt>
                <c:pt idx="409">
                  <c:v>All Others</c:v>
                </c:pt>
                <c:pt idx="410">
                  <c:v>Etoile Du V</c:v>
                </c:pt>
                <c:pt idx="411">
                  <c:v>Etoile Du V</c:v>
                </c:pt>
                <c:pt idx="412">
                  <c:v>All Others</c:v>
                </c:pt>
                <c:pt idx="413">
                  <c:v>Etoile Du Q</c:v>
                </c:pt>
                <c:pt idx="414">
                  <c:v>All Others</c:v>
                </c:pt>
                <c:pt idx="415">
                  <c:v>Triballat R</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Milleret: A</c:v>
                </c:pt>
                <c:pt idx="430">
                  <c:v>Lactalis: A</c:v>
                </c:pt>
                <c:pt idx="431">
                  <c:v>Lactalis: A</c:v>
                </c:pt>
                <c:pt idx="432">
                  <c:v>Salakis</c:v>
                </c:pt>
                <c:pt idx="433">
                  <c:v>All Others</c:v>
                </c:pt>
                <c:pt idx="434">
                  <c:v>All Others</c:v>
                </c:pt>
                <c:pt idx="435">
                  <c:v>Triballat N</c:v>
                </c:pt>
                <c:pt idx="436">
                  <c:v>All Others</c:v>
                </c:pt>
                <c:pt idx="437">
                  <c:v>Boursin</c:v>
                </c:pt>
                <c:pt idx="438">
                  <c:v>All Others</c:v>
                </c:pt>
                <c:pt idx="439">
                  <c:v>All Others</c:v>
                </c:pt>
                <c:pt idx="440">
                  <c:v>All Others</c:v>
                </c:pt>
                <c:pt idx="441">
                  <c:v>All Others</c:v>
                </c:pt>
                <c:pt idx="442">
                  <c:v>All Others</c:v>
                </c:pt>
                <c:pt idx="443">
                  <c:v>Tartare</c:v>
                </c:pt>
                <c:pt idx="444">
                  <c:v>All Others</c:v>
                </c:pt>
                <c:pt idx="445">
                  <c:v>La Vache Qu</c:v>
                </c:pt>
                <c:pt idx="446">
                  <c:v>All Others</c:v>
                </c:pt>
                <c:pt idx="447">
                  <c:v>All Others</c:v>
                </c:pt>
                <c:pt idx="448">
                  <c:v>All Others</c:v>
                </c:pt>
                <c:pt idx="449">
                  <c:v>All Others</c:v>
                </c:pt>
                <c:pt idx="450">
                  <c:v>All Others</c:v>
                </c:pt>
                <c:pt idx="451">
                  <c:v>All Others</c:v>
                </c:pt>
                <c:pt idx="452">
                  <c:v>All Others</c:v>
                </c:pt>
                <c:pt idx="453">
                  <c:v>All Others</c:v>
                </c:pt>
                <c:pt idx="454">
                  <c:v>Tartare</c:v>
                </c:pt>
                <c:pt idx="455">
                  <c:v>All Others</c:v>
                </c:pt>
                <c:pt idx="456">
                  <c:v>All Others</c:v>
                </c:pt>
                <c:pt idx="457">
                  <c:v>All Others</c:v>
                </c:pt>
                <c:pt idx="458">
                  <c:v>All Others</c:v>
                </c:pt>
                <c:pt idx="459">
                  <c:v>Islos</c:v>
                </c:pt>
                <c:pt idx="460">
                  <c:v>All Others</c:v>
                </c:pt>
                <c:pt idx="461">
                  <c:v>All Others</c:v>
                </c:pt>
                <c:pt idx="462">
                  <c:v>All Others</c:v>
                </c:pt>
                <c:pt idx="463">
                  <c:v>All Others</c:v>
                </c:pt>
                <c:pt idx="464">
                  <c:v>Triballat N</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Casa Azzurr</c:v>
                </c:pt>
                <c:pt idx="484">
                  <c:v>All Others</c:v>
                </c:pt>
                <c:pt idx="485">
                  <c:v>All Others</c:v>
                </c:pt>
                <c:pt idx="486">
                  <c:v>All Others</c:v>
                </c:pt>
                <c:pt idx="487">
                  <c:v>All Others</c:v>
                </c:pt>
                <c:pt idx="488">
                  <c:v>All Others</c:v>
                </c:pt>
                <c:pt idx="489">
                  <c:v>Eurial Autr</c:v>
                </c:pt>
                <c:pt idx="490">
                  <c:v>All Others</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All Others</c:v>
                </c:pt>
                <c:pt idx="503">
                  <c:v>All Others</c:v>
                </c:pt>
                <c:pt idx="504">
                  <c:v>All Others</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All Others</c:v>
                </c:pt>
                <c:pt idx="531">
                  <c:v>Triballat R</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All Others</c:v>
                </c:pt>
                <c:pt idx="542">
                  <c:v>All Others</c:v>
                </c:pt>
                <c:pt idx="543">
                  <c:v>Kiri</c:v>
                </c:pt>
                <c:pt idx="544">
                  <c:v>All Others</c:v>
                </c:pt>
                <c:pt idx="545">
                  <c:v>All Others</c:v>
                </c:pt>
                <c:pt idx="546">
                  <c:v>All Others</c:v>
                </c:pt>
                <c:pt idx="547">
                  <c:v>All Others</c:v>
                </c:pt>
                <c:pt idx="548">
                  <c:v>All Others</c:v>
                </c:pt>
                <c:pt idx="549">
                  <c:v>All Others</c:v>
                </c:pt>
                <c:pt idx="550">
                  <c:v>All Others</c:v>
                </c:pt>
                <c:pt idx="551">
                  <c:v>All Others</c:v>
                </c:pt>
                <c:pt idx="552">
                  <c:v>All Others</c:v>
                </c:pt>
                <c:pt idx="553">
                  <c:v>Triballat N</c:v>
                </c:pt>
                <c:pt idx="554">
                  <c:v>Mini Babybe</c:v>
                </c:pt>
                <c:pt idx="555">
                  <c:v>Lactalis: A</c:v>
                </c:pt>
                <c:pt idx="556">
                  <c:v>All Others</c:v>
                </c:pt>
                <c:pt idx="557">
                  <c:v>All Others</c:v>
                </c:pt>
                <c:pt idx="558">
                  <c:v>All Others</c:v>
                </c:pt>
                <c:pt idx="559">
                  <c:v>All Others</c:v>
                </c:pt>
                <c:pt idx="560">
                  <c:v>All Others</c:v>
                </c:pt>
                <c:pt idx="561">
                  <c:v>Triballat R</c:v>
                </c:pt>
                <c:pt idx="562">
                  <c:v>Lactalis: A</c:v>
                </c:pt>
                <c:pt idx="563">
                  <c:v>All Others</c:v>
                </c:pt>
                <c:pt idx="564">
                  <c:v>All Others</c:v>
                </c:pt>
                <c:pt idx="565">
                  <c:v>All Others</c:v>
                </c:pt>
                <c:pt idx="566">
                  <c:v>All Others</c:v>
                </c:pt>
                <c:pt idx="567">
                  <c:v>All Others</c:v>
                </c:pt>
                <c:pt idx="568">
                  <c:v>All Others</c:v>
                </c:pt>
                <c:pt idx="569">
                  <c:v>All Others</c:v>
                </c:pt>
                <c:pt idx="570">
                  <c:v>All Others</c:v>
                </c:pt>
                <c:pt idx="571">
                  <c:v>All Others</c:v>
                </c:pt>
                <c:pt idx="572">
                  <c:v>All Others</c:v>
                </c:pt>
                <c:pt idx="573">
                  <c:v>All Others</c:v>
                </c:pt>
                <c:pt idx="574">
                  <c:v>Soignon</c:v>
                </c:pt>
                <c:pt idx="575">
                  <c:v>All Others</c:v>
                </c:pt>
                <c:pt idx="576">
                  <c:v>Eurial Autr</c:v>
                </c:pt>
                <c:pt idx="577">
                  <c:v>All Others</c:v>
                </c:pt>
                <c:pt idx="578">
                  <c:v>All Others</c:v>
                </c:pt>
                <c:pt idx="579">
                  <c:v>All Others</c:v>
                </c:pt>
                <c:pt idx="580">
                  <c:v>All Others</c:v>
                </c:pt>
                <c:pt idx="581">
                  <c:v>All Others</c:v>
                </c:pt>
                <c:pt idx="582">
                  <c:v>All Others</c:v>
                </c:pt>
                <c:pt idx="583">
                  <c:v>All Others</c:v>
                </c:pt>
                <c:pt idx="584">
                  <c:v>All Others</c:v>
                </c:pt>
                <c:pt idx="585">
                  <c:v>All Others</c:v>
                </c:pt>
                <c:pt idx="586">
                  <c:v>All Others</c:v>
                </c:pt>
                <c:pt idx="587">
                  <c:v>All Others</c:v>
                </c:pt>
                <c:pt idx="588">
                  <c:v>All Others</c:v>
                </c:pt>
                <c:pt idx="589">
                  <c:v>All Others</c:v>
                </c:pt>
                <c:pt idx="590">
                  <c:v>All Others</c:v>
                </c:pt>
                <c:pt idx="591">
                  <c:v>All Others</c:v>
                </c:pt>
                <c:pt idx="592">
                  <c:v>All Others</c:v>
                </c:pt>
                <c:pt idx="593">
                  <c:v>All Others</c:v>
                </c:pt>
                <c:pt idx="594">
                  <c:v>All Others</c:v>
                </c:pt>
                <c:pt idx="595">
                  <c:v>All Others</c:v>
                </c:pt>
                <c:pt idx="596">
                  <c:v>All Others</c:v>
                </c:pt>
                <c:pt idx="597">
                  <c:v>President</c:v>
                </c:pt>
                <c:pt idx="598">
                  <c:v>Lou Perac</c:v>
                </c:pt>
                <c:pt idx="599">
                  <c:v>All Others</c:v>
                </c:pt>
                <c:pt idx="600">
                  <c:v>All Others</c:v>
                </c:pt>
                <c:pt idx="601">
                  <c:v>All Others</c:v>
                </c:pt>
                <c:pt idx="602">
                  <c:v>All Others</c:v>
                </c:pt>
                <c:pt idx="603">
                  <c:v>All Others</c:v>
                </c:pt>
                <c:pt idx="604">
                  <c:v>All Others</c:v>
                </c:pt>
                <c:pt idx="605">
                  <c:v>All Others</c:v>
                </c:pt>
                <c:pt idx="606">
                  <c:v>Lactalis: A</c:v>
                </c:pt>
                <c:pt idx="607">
                  <c:v>All Others</c:v>
                </c:pt>
                <c:pt idx="608">
                  <c:v>All Others</c:v>
                </c:pt>
                <c:pt idx="609">
                  <c:v>All Others</c:v>
                </c:pt>
                <c:pt idx="610">
                  <c:v>All Others</c:v>
                </c:pt>
                <c:pt idx="611">
                  <c:v>All Others</c:v>
                </c:pt>
                <c:pt idx="612">
                  <c:v>All Others</c:v>
                </c:pt>
                <c:pt idx="613">
                  <c:v>All Others</c:v>
                </c:pt>
                <c:pt idx="614">
                  <c:v>All Others</c:v>
                </c:pt>
                <c:pt idx="615">
                  <c:v>All Others</c:v>
                </c:pt>
                <c:pt idx="616">
                  <c:v>All Others</c:v>
                </c:pt>
                <c:pt idx="617">
                  <c:v>All Others</c:v>
                </c:pt>
                <c:pt idx="618">
                  <c:v>All Others</c:v>
                </c:pt>
                <c:pt idx="619">
                  <c:v>All Others</c:v>
                </c:pt>
                <c:pt idx="620">
                  <c:v>All Others</c:v>
                </c:pt>
                <c:pt idx="621">
                  <c:v>Eurial Autr</c:v>
                </c:pt>
                <c:pt idx="622">
                  <c:v>All Others</c:v>
                </c:pt>
                <c:pt idx="623">
                  <c:v>All Others</c:v>
                </c:pt>
                <c:pt idx="624">
                  <c:v>Eurial Autr</c:v>
                </c:pt>
                <c:pt idx="625">
                  <c:v>All Others</c:v>
                </c:pt>
                <c:pt idx="626">
                  <c:v>All Others</c:v>
                </c:pt>
                <c:pt idx="627">
                  <c:v>All Others</c:v>
                </c:pt>
                <c:pt idx="628">
                  <c:v>All Others</c:v>
                </c:pt>
                <c:pt idx="629">
                  <c:v>All Others</c:v>
                </c:pt>
                <c:pt idx="630">
                  <c:v>Savencia: A</c:v>
                </c:pt>
                <c:pt idx="631">
                  <c:v>All Others</c:v>
                </c:pt>
                <c:pt idx="632">
                  <c:v>All Others</c:v>
                </c:pt>
                <c:pt idx="633">
                  <c:v>Milleret: A</c:v>
                </c:pt>
                <c:pt idx="634">
                  <c:v>All Others</c:v>
                </c:pt>
                <c:pt idx="635">
                  <c:v>All Others</c:v>
                </c:pt>
                <c:pt idx="636">
                  <c:v>All Others</c:v>
                </c:pt>
                <c:pt idx="637">
                  <c:v>Lactalis: A</c:v>
                </c:pt>
                <c:pt idx="638">
                  <c:v>All Others</c:v>
                </c:pt>
                <c:pt idx="639">
                  <c:v>All Others</c:v>
                </c:pt>
                <c:pt idx="640">
                  <c:v>All Others</c:v>
                </c:pt>
                <c:pt idx="641">
                  <c:v>All Others</c:v>
                </c:pt>
                <c:pt idx="642">
                  <c:v>All Others</c:v>
                </c:pt>
                <c:pt idx="643">
                  <c:v>All Others</c:v>
                </c:pt>
                <c:pt idx="644">
                  <c:v>Lactalis: A</c:v>
                </c:pt>
                <c:pt idx="645">
                  <c:v>All Others</c:v>
                </c:pt>
                <c:pt idx="646">
                  <c:v>All Others</c:v>
                </c:pt>
                <c:pt idx="647">
                  <c:v>All Others</c:v>
                </c:pt>
                <c:pt idx="648">
                  <c:v>All Others</c:v>
                </c:pt>
                <c:pt idx="649">
                  <c:v>All Others</c:v>
                </c:pt>
                <c:pt idx="650">
                  <c:v>All Others</c:v>
                </c:pt>
                <c:pt idx="651">
                  <c:v>All Others</c:v>
                </c:pt>
                <c:pt idx="652">
                  <c:v>All Others</c:v>
                </c:pt>
                <c:pt idx="653">
                  <c:v>All Others</c:v>
                </c:pt>
                <c:pt idx="654">
                  <c:v>All Others</c:v>
                </c:pt>
                <c:pt idx="655">
                  <c:v>All Others</c:v>
                </c:pt>
                <c:pt idx="656">
                  <c:v>All Others</c:v>
                </c:pt>
                <c:pt idx="657">
                  <c:v>Corsica</c:v>
                </c:pt>
                <c:pt idx="658">
                  <c:v>All Others</c:v>
                </c:pt>
                <c:pt idx="659">
                  <c:v>All Others</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Savencia: A</c:v>
                </c:pt>
                <c:pt idx="671">
                  <c:v>All Others</c:v>
                </c:pt>
                <c:pt idx="672">
                  <c:v>All Others</c:v>
                </c:pt>
                <c:pt idx="673">
                  <c:v>All Others</c:v>
                </c:pt>
                <c:pt idx="674">
                  <c:v>All Others</c:v>
                </c:pt>
                <c:pt idx="675">
                  <c:v>All Others</c:v>
                </c:pt>
                <c:pt idx="676">
                  <c:v>All Others</c:v>
                </c:pt>
                <c:pt idx="677">
                  <c:v>All Others</c:v>
                </c:pt>
                <c:pt idx="678">
                  <c:v>Kiri</c:v>
                </c:pt>
                <c:pt idx="679">
                  <c:v>All Others</c:v>
                </c:pt>
                <c:pt idx="680">
                  <c:v>All Others</c:v>
                </c:pt>
                <c:pt idx="681">
                  <c:v>All Others</c:v>
                </c:pt>
                <c:pt idx="682">
                  <c:v>All Others</c:v>
                </c:pt>
                <c:pt idx="683">
                  <c:v>Savencia: A</c:v>
                </c:pt>
                <c:pt idx="684">
                  <c:v>All Others</c:v>
                </c:pt>
                <c:pt idx="685">
                  <c:v>All Others</c:v>
                </c:pt>
                <c:pt idx="686">
                  <c:v>All Others</c:v>
                </c:pt>
                <c:pt idx="687">
                  <c:v>All Others</c:v>
                </c:pt>
                <c:pt idx="688">
                  <c:v>Etorki</c:v>
                </c:pt>
                <c:pt idx="689">
                  <c:v>All Others</c:v>
                </c:pt>
                <c:pt idx="690">
                  <c:v>All Others</c:v>
                </c:pt>
                <c:pt idx="691">
                  <c:v>All Others</c:v>
                </c:pt>
                <c:pt idx="692">
                  <c:v>All Others</c:v>
                </c:pt>
                <c:pt idx="693">
                  <c:v>All Others</c:v>
                </c:pt>
                <c:pt idx="694">
                  <c:v>All Others</c:v>
                </c:pt>
                <c:pt idx="695">
                  <c:v>All Others</c:v>
                </c:pt>
                <c:pt idx="696">
                  <c:v>All Others</c:v>
                </c:pt>
                <c:pt idx="697">
                  <c:v>All Others</c:v>
                </c:pt>
                <c:pt idx="698">
                  <c:v>All Others</c:v>
                </c:pt>
                <c:pt idx="699">
                  <c:v>All Others</c:v>
                </c:pt>
                <c:pt idx="700">
                  <c:v>All Others</c:v>
                </c:pt>
                <c:pt idx="701">
                  <c:v>All Others</c:v>
                </c:pt>
                <c:pt idx="702">
                  <c:v>Caprice Des</c:v>
                </c:pt>
                <c:pt idx="703">
                  <c:v>All Others</c:v>
                </c:pt>
                <c:pt idx="704">
                  <c:v>All Others</c:v>
                </c:pt>
                <c:pt idx="705">
                  <c:v>All Others</c:v>
                </c:pt>
                <c:pt idx="706">
                  <c:v>All Others</c:v>
                </c:pt>
                <c:pt idx="707">
                  <c:v>All Others</c:v>
                </c:pt>
                <c:pt idx="708">
                  <c:v>All Others</c:v>
                </c:pt>
                <c:pt idx="709">
                  <c:v>All Others</c:v>
                </c:pt>
                <c:pt idx="710">
                  <c:v>All Others</c:v>
                </c:pt>
                <c:pt idx="711">
                  <c:v>All Others</c:v>
                </c:pt>
                <c:pt idx="712">
                  <c:v>All Others</c:v>
                </c:pt>
                <c:pt idx="713">
                  <c:v>All Others</c:v>
                </c:pt>
                <c:pt idx="714">
                  <c:v>All Others</c:v>
                </c:pt>
                <c:pt idx="715">
                  <c:v>All Others</c:v>
                </c:pt>
                <c:pt idx="716">
                  <c:v>All Others</c:v>
                </c:pt>
                <c:pt idx="717">
                  <c:v>All Others</c:v>
                </c:pt>
                <c:pt idx="718">
                  <c:v>All Others</c:v>
                </c:pt>
                <c:pt idx="719">
                  <c:v>All Others</c:v>
                </c:pt>
                <c:pt idx="720">
                  <c:v>All Others</c:v>
                </c:pt>
                <c:pt idx="721">
                  <c:v>Petit Billy</c:v>
                </c:pt>
                <c:pt idx="722">
                  <c:v>All Others</c:v>
                </c:pt>
                <c:pt idx="723">
                  <c:v>Mini Babybe</c:v>
                </c:pt>
                <c:pt idx="724">
                  <c:v>All Others</c:v>
                </c:pt>
                <c:pt idx="725">
                  <c:v>All Others</c:v>
                </c:pt>
                <c:pt idx="726">
                  <c:v>All Others</c:v>
                </c:pt>
                <c:pt idx="727">
                  <c:v>All Others</c:v>
                </c:pt>
                <c:pt idx="728">
                  <c:v>Soignon</c:v>
                </c:pt>
                <c:pt idx="729">
                  <c:v>All Others</c:v>
                </c:pt>
                <c:pt idx="730">
                  <c:v>Soignon</c:v>
                </c:pt>
                <c:pt idx="731">
                  <c:v>Mini Babybe</c:v>
                </c:pt>
                <c:pt idx="732">
                  <c:v>All Others</c:v>
                </c:pt>
                <c:pt idx="733">
                  <c:v>All Others</c:v>
                </c:pt>
                <c:pt idx="734">
                  <c:v>All Others</c:v>
                </c:pt>
                <c:pt idx="735">
                  <c:v>All Others</c:v>
                </c:pt>
                <c:pt idx="736">
                  <c:v>La Vache Qu</c:v>
                </c:pt>
                <c:pt idx="737">
                  <c:v>All Others</c:v>
                </c:pt>
                <c:pt idx="738">
                  <c:v>All Others</c:v>
                </c:pt>
                <c:pt idx="739">
                  <c:v>All Others</c:v>
                </c:pt>
                <c:pt idx="740">
                  <c:v>All Others</c:v>
                </c:pt>
                <c:pt idx="741">
                  <c:v>All Others</c:v>
                </c:pt>
                <c:pt idx="742">
                  <c:v>All Others</c:v>
                </c:pt>
                <c:pt idx="743">
                  <c:v>All Others</c:v>
                </c:pt>
                <c:pt idx="744">
                  <c:v>Eurial Autr</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All Others</c:v>
                </c:pt>
                <c:pt idx="756">
                  <c:v>All Others</c:v>
                </c:pt>
                <c:pt idx="757">
                  <c:v>All Others</c:v>
                </c:pt>
                <c:pt idx="758">
                  <c:v>All Others</c:v>
                </c:pt>
                <c:pt idx="759">
                  <c:v>All Others</c:v>
                </c:pt>
                <c:pt idx="760">
                  <c:v>All Others</c:v>
                </c:pt>
                <c:pt idx="761">
                  <c:v>All Others</c:v>
                </c:pt>
                <c:pt idx="762">
                  <c:v>President</c:v>
                </c:pt>
                <c:pt idx="763">
                  <c:v>All Others</c:v>
                </c:pt>
                <c:pt idx="764">
                  <c:v>All Others</c:v>
                </c:pt>
                <c:pt idx="765">
                  <c:v>All Others</c:v>
                </c:pt>
                <c:pt idx="766">
                  <c:v>All Others</c:v>
                </c:pt>
                <c:pt idx="767">
                  <c:v>All Others</c:v>
                </c:pt>
                <c:pt idx="768">
                  <c:v>All Others</c:v>
                </c:pt>
                <c:pt idx="769">
                  <c:v>All Others</c:v>
                </c:pt>
                <c:pt idx="770">
                  <c:v>Triballat R</c:v>
                </c:pt>
                <c:pt idx="771">
                  <c:v>All Others</c:v>
                </c:pt>
                <c:pt idx="772">
                  <c:v>All Others</c:v>
                </c:pt>
                <c:pt idx="773">
                  <c:v>All Others</c:v>
                </c:pt>
                <c:pt idx="774">
                  <c:v>Triballat R</c:v>
                </c:pt>
                <c:pt idx="775">
                  <c:v>All Others</c:v>
                </c:pt>
                <c:pt idx="776">
                  <c:v>Eurial Autr</c:v>
                </c:pt>
                <c:pt idx="777">
                  <c:v>All Others</c:v>
                </c:pt>
                <c:pt idx="778">
                  <c:v>Lactalis: A</c:v>
                </c:pt>
                <c:pt idx="779">
                  <c:v>All Others</c:v>
                </c:pt>
                <c:pt idx="780">
                  <c:v>All Others</c:v>
                </c:pt>
                <c:pt idx="781">
                  <c:v>All Others</c:v>
                </c:pt>
                <c:pt idx="782">
                  <c:v>All Others</c:v>
                </c:pt>
                <c:pt idx="783">
                  <c:v>Lactalis: A</c:v>
                </c:pt>
                <c:pt idx="784">
                  <c:v>All Others</c:v>
                </c:pt>
                <c:pt idx="785">
                  <c:v>All Others</c:v>
                </c:pt>
                <c:pt idx="786">
                  <c:v>All Others</c:v>
                </c:pt>
                <c:pt idx="787">
                  <c:v>All Others</c:v>
                </c:pt>
                <c:pt idx="788">
                  <c:v>Soignon</c:v>
                </c:pt>
                <c:pt idx="789">
                  <c:v>All Others</c:v>
                </c:pt>
                <c:pt idx="790">
                  <c:v>All Others</c:v>
                </c:pt>
                <c:pt idx="791">
                  <c:v>All Others</c:v>
                </c:pt>
                <c:pt idx="792">
                  <c:v>Triballat R</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Salakis</c:v>
                </c:pt>
                <c:pt idx="803">
                  <c:v>All Others</c:v>
                </c:pt>
                <c:pt idx="804">
                  <c:v>Societe</c:v>
                </c:pt>
                <c:pt idx="805">
                  <c:v>All Others</c:v>
                </c:pt>
                <c:pt idx="806">
                  <c:v>Lactalis: A</c:v>
                </c:pt>
                <c:pt idx="807">
                  <c:v>All Others</c:v>
                </c:pt>
                <c:pt idx="808">
                  <c:v>All Others</c:v>
                </c:pt>
                <c:pt idx="809">
                  <c:v>Lactalis: A</c:v>
                </c:pt>
                <c:pt idx="810">
                  <c:v>All Others</c:v>
                </c:pt>
                <c:pt idx="811">
                  <c:v>All Others</c:v>
                </c:pt>
                <c:pt idx="812">
                  <c:v>All Others</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All Others</c:v>
                </c:pt>
                <c:pt idx="828">
                  <c:v>All Others</c:v>
                </c:pt>
                <c:pt idx="829">
                  <c:v>All Others</c:v>
                </c:pt>
                <c:pt idx="830">
                  <c:v>All Others</c:v>
                </c:pt>
                <c:pt idx="831">
                  <c:v>All Others</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All Others</c:v>
                </c:pt>
                <c:pt idx="842">
                  <c:v>All Others</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Limiano</c:v>
                </c:pt>
                <c:pt idx="868">
                  <c:v>All Others</c:v>
                </c:pt>
                <c:pt idx="869">
                  <c:v>Mini Babybe</c:v>
                </c:pt>
                <c:pt idx="870">
                  <c:v>Petit Billy</c:v>
                </c:pt>
                <c:pt idx="871">
                  <c:v>Petit Billy</c:v>
                </c:pt>
                <c:pt idx="872">
                  <c:v>All Others</c:v>
                </c:pt>
                <c:pt idx="873">
                  <c:v>All Others</c:v>
                </c:pt>
                <c:pt idx="874">
                  <c:v>All Others</c:v>
                </c:pt>
                <c:pt idx="875">
                  <c:v>All Others</c:v>
                </c:pt>
                <c:pt idx="876">
                  <c:v>Savencia: A</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Mini Babybe</c:v>
                </c:pt>
                <c:pt idx="889">
                  <c:v>All Others</c:v>
                </c:pt>
                <c:pt idx="890">
                  <c:v>All Others</c:v>
                </c:pt>
                <c:pt idx="891">
                  <c:v>All Others</c:v>
                </c:pt>
                <c:pt idx="892">
                  <c:v>All Others</c:v>
                </c:pt>
                <c:pt idx="893">
                  <c:v>All Others</c:v>
                </c:pt>
                <c:pt idx="894">
                  <c:v>President</c:v>
                </c:pt>
                <c:pt idx="895">
                  <c:v>All Others</c:v>
                </c:pt>
                <c:pt idx="896">
                  <c:v>All Others</c:v>
                </c:pt>
                <c:pt idx="897">
                  <c:v>All Others</c:v>
                </c:pt>
                <c:pt idx="898">
                  <c:v>All Others</c:v>
                </c:pt>
                <c:pt idx="899">
                  <c:v>All Others</c:v>
                </c:pt>
                <c:pt idx="900">
                  <c:v>All Others</c:v>
                </c:pt>
                <c:pt idx="901">
                  <c:v>All Others</c:v>
                </c:pt>
                <c:pt idx="902">
                  <c:v>All Others</c:v>
                </c:pt>
                <c:pt idx="903">
                  <c:v>All Others</c:v>
                </c:pt>
                <c:pt idx="904">
                  <c:v>All Others</c:v>
                </c:pt>
                <c:pt idx="905">
                  <c:v>Le Brebiou</c:v>
                </c:pt>
                <c:pt idx="906">
                  <c:v>All Others</c:v>
                </c:pt>
                <c:pt idx="907">
                  <c:v>All Others</c:v>
                </c:pt>
                <c:pt idx="908">
                  <c:v>All Others</c:v>
                </c:pt>
                <c:pt idx="909">
                  <c:v>All Others</c:v>
                </c:pt>
                <c:pt idx="910">
                  <c:v>All Others</c:v>
                </c:pt>
                <c:pt idx="911">
                  <c:v>Lactalis: A</c:v>
                </c:pt>
                <c:pt idx="912">
                  <c:v>All Others</c:v>
                </c:pt>
                <c:pt idx="913">
                  <c:v>All Others</c:v>
                </c:pt>
                <c:pt idx="914">
                  <c:v>All Others</c:v>
                </c:pt>
                <c:pt idx="915">
                  <c:v>All Others</c:v>
                </c:pt>
              </c:strCache>
            </c:strRef>
          </c:cat>
          <c:val>
            <c:numRef>
              <c:f>Sheet1!$B$2:$B$917</c:f>
              <c:numCache>
                <c:formatCode>General</c:formatCode>
                <c:ptCount val="916"/>
                <c:pt idx="0">
                  <c:v>1</c:v>
                </c:pt>
                <c:pt idx="1">
                  <c:v>1</c:v>
                </c:pt>
                <c:pt idx="2">
                  <c:v>1</c:v>
                </c:pt>
                <c:pt idx="3">
                  <c:v>0.98</c:v>
                </c:pt>
                <c:pt idx="4">
                  <c:v>0.98</c:v>
                </c:pt>
                <c:pt idx="5">
                  <c:v>0.98</c:v>
                </c:pt>
                <c:pt idx="6">
                  <c:v>1</c:v>
                </c:pt>
                <c:pt idx="7">
                  <c:v>0.97</c:v>
                </c:pt>
                <c:pt idx="8">
                  <c:v>0.99</c:v>
                </c:pt>
                <c:pt idx="9">
                  <c:v>1</c:v>
                </c:pt>
                <c:pt idx="10">
                  <c:v>1</c:v>
                </c:pt>
                <c:pt idx="11">
                  <c:v>1</c:v>
                </c:pt>
                <c:pt idx="12">
                  <c:v>1</c:v>
                </c:pt>
                <c:pt idx="13">
                  <c:v>1</c:v>
                </c:pt>
                <c:pt idx="14">
                  <c:v>1</c:v>
                </c:pt>
                <c:pt idx="15">
                  <c:v>1</c:v>
                </c:pt>
                <c:pt idx="16">
                  <c:v>0.99</c:v>
                </c:pt>
                <c:pt idx="17">
                  <c:v>1</c:v>
                </c:pt>
                <c:pt idx="18">
                  <c:v>1</c:v>
                </c:pt>
                <c:pt idx="19">
                  <c:v>1</c:v>
                </c:pt>
                <c:pt idx="20">
                  <c:v>1</c:v>
                </c:pt>
                <c:pt idx="21">
                  <c:v>1</c:v>
                </c:pt>
                <c:pt idx="22">
                  <c:v>0.97</c:v>
                </c:pt>
                <c:pt idx="23">
                  <c:v>1</c:v>
                </c:pt>
                <c:pt idx="24">
                  <c:v>0.97</c:v>
                </c:pt>
                <c:pt idx="25">
                  <c:v>1</c:v>
                </c:pt>
                <c:pt idx="26">
                  <c:v>1</c:v>
                </c:pt>
                <c:pt idx="27">
                  <c:v>1</c:v>
                </c:pt>
                <c:pt idx="28">
                  <c:v>1</c:v>
                </c:pt>
                <c:pt idx="29">
                  <c:v>0.96</c:v>
                </c:pt>
                <c:pt idx="30">
                  <c:v>0.99</c:v>
                </c:pt>
                <c:pt idx="31">
                  <c:v>1</c:v>
                </c:pt>
                <c:pt idx="32">
                  <c:v>0.99</c:v>
                </c:pt>
                <c:pt idx="33">
                  <c:v>1</c:v>
                </c:pt>
                <c:pt idx="34">
                  <c:v>1</c:v>
                </c:pt>
                <c:pt idx="35">
                  <c:v>1</c:v>
                </c:pt>
                <c:pt idx="36">
                  <c:v>1</c:v>
                </c:pt>
                <c:pt idx="37">
                  <c:v>0.98</c:v>
                </c:pt>
                <c:pt idx="38">
                  <c:v>1</c:v>
                </c:pt>
                <c:pt idx="39">
                  <c:v>0.99</c:v>
                </c:pt>
                <c:pt idx="40">
                  <c:v>1</c:v>
                </c:pt>
                <c:pt idx="41">
                  <c:v>1</c:v>
                </c:pt>
                <c:pt idx="42">
                  <c:v>0.99</c:v>
                </c:pt>
                <c:pt idx="43">
                  <c:v>0.99</c:v>
                </c:pt>
                <c:pt idx="44">
                  <c:v>1</c:v>
                </c:pt>
                <c:pt idx="45">
                  <c:v>1</c:v>
                </c:pt>
                <c:pt idx="46">
                  <c:v>0.99</c:v>
                </c:pt>
                <c:pt idx="47">
                  <c:v>0.99</c:v>
                </c:pt>
                <c:pt idx="48">
                  <c:v>1</c:v>
                </c:pt>
                <c:pt idx="49">
                  <c:v>1</c:v>
                </c:pt>
                <c:pt idx="50">
                  <c:v>0.93</c:v>
                </c:pt>
                <c:pt idx="51">
                  <c:v>1</c:v>
                </c:pt>
                <c:pt idx="52">
                  <c:v>0.94</c:v>
                </c:pt>
                <c:pt idx="53">
                  <c:v>0.99</c:v>
                </c:pt>
                <c:pt idx="54">
                  <c:v>1</c:v>
                </c:pt>
                <c:pt idx="55">
                  <c:v>0.96</c:v>
                </c:pt>
                <c:pt idx="56">
                  <c:v>0.97</c:v>
                </c:pt>
                <c:pt idx="57">
                  <c:v>0.93</c:v>
                </c:pt>
                <c:pt idx="58">
                  <c:v>0.98</c:v>
                </c:pt>
                <c:pt idx="59">
                  <c:v>0.96</c:v>
                </c:pt>
                <c:pt idx="60">
                  <c:v>0.94</c:v>
                </c:pt>
                <c:pt idx="61">
                  <c:v>0.81</c:v>
                </c:pt>
                <c:pt idx="62">
                  <c:v>1</c:v>
                </c:pt>
                <c:pt idx="63">
                  <c:v>0.91</c:v>
                </c:pt>
                <c:pt idx="64">
                  <c:v>1</c:v>
                </c:pt>
                <c:pt idx="65">
                  <c:v>1</c:v>
                </c:pt>
                <c:pt idx="66">
                  <c:v>0.97</c:v>
                </c:pt>
                <c:pt idx="67">
                  <c:v>1</c:v>
                </c:pt>
                <c:pt idx="68">
                  <c:v>1</c:v>
                </c:pt>
                <c:pt idx="69">
                  <c:v>0.98</c:v>
                </c:pt>
                <c:pt idx="70">
                  <c:v>1</c:v>
                </c:pt>
                <c:pt idx="71">
                  <c:v>0.92</c:v>
                </c:pt>
                <c:pt idx="72">
                  <c:v>0.95</c:v>
                </c:pt>
                <c:pt idx="73">
                  <c:v>0.99</c:v>
                </c:pt>
                <c:pt idx="74">
                  <c:v>1</c:v>
                </c:pt>
                <c:pt idx="75">
                  <c:v>0.95</c:v>
                </c:pt>
                <c:pt idx="76">
                  <c:v>0.85</c:v>
                </c:pt>
                <c:pt idx="77">
                  <c:v>1</c:v>
                </c:pt>
                <c:pt idx="78">
                  <c:v>0.97</c:v>
                </c:pt>
                <c:pt idx="79">
                  <c:v>1</c:v>
                </c:pt>
                <c:pt idx="80">
                  <c:v>1</c:v>
                </c:pt>
                <c:pt idx="81">
                  <c:v>0.99</c:v>
                </c:pt>
                <c:pt idx="82">
                  <c:v>1</c:v>
                </c:pt>
                <c:pt idx="83">
                  <c:v>1</c:v>
                </c:pt>
                <c:pt idx="84">
                  <c:v>0.84</c:v>
                </c:pt>
                <c:pt idx="85">
                  <c:v>0.95</c:v>
                </c:pt>
                <c:pt idx="86">
                  <c:v>1</c:v>
                </c:pt>
                <c:pt idx="87">
                  <c:v>1</c:v>
                </c:pt>
                <c:pt idx="88">
                  <c:v>0.96</c:v>
                </c:pt>
                <c:pt idx="89">
                  <c:v>1</c:v>
                </c:pt>
                <c:pt idx="90">
                  <c:v>0.98</c:v>
                </c:pt>
                <c:pt idx="91">
                  <c:v>0.98</c:v>
                </c:pt>
                <c:pt idx="92">
                  <c:v>0.99</c:v>
                </c:pt>
                <c:pt idx="93">
                  <c:v>0.91</c:v>
                </c:pt>
                <c:pt idx="94">
                  <c:v>0.99</c:v>
                </c:pt>
                <c:pt idx="95">
                  <c:v>0.9</c:v>
                </c:pt>
                <c:pt idx="96">
                  <c:v>0.9</c:v>
                </c:pt>
                <c:pt idx="97">
                  <c:v>0.98</c:v>
                </c:pt>
                <c:pt idx="98">
                  <c:v>0.88</c:v>
                </c:pt>
                <c:pt idx="99">
                  <c:v>0.99</c:v>
                </c:pt>
                <c:pt idx="100">
                  <c:v>0.93</c:v>
                </c:pt>
                <c:pt idx="101">
                  <c:v>0.96</c:v>
                </c:pt>
                <c:pt idx="102">
                  <c:v>0.97</c:v>
                </c:pt>
                <c:pt idx="103">
                  <c:v>0.99</c:v>
                </c:pt>
                <c:pt idx="104">
                  <c:v>0.93</c:v>
                </c:pt>
                <c:pt idx="105">
                  <c:v>0.99</c:v>
                </c:pt>
                <c:pt idx="106">
                  <c:v>0.92</c:v>
                </c:pt>
                <c:pt idx="107">
                  <c:v>1</c:v>
                </c:pt>
                <c:pt idx="108">
                  <c:v>0.94</c:v>
                </c:pt>
                <c:pt idx="109">
                  <c:v>1</c:v>
                </c:pt>
                <c:pt idx="110">
                  <c:v>1</c:v>
                </c:pt>
                <c:pt idx="111">
                  <c:v>1</c:v>
                </c:pt>
                <c:pt idx="112">
                  <c:v>0.95</c:v>
                </c:pt>
                <c:pt idx="113">
                  <c:v>0.9</c:v>
                </c:pt>
                <c:pt idx="114">
                  <c:v>0.76</c:v>
                </c:pt>
                <c:pt idx="115">
                  <c:v>0.99</c:v>
                </c:pt>
                <c:pt idx="116">
                  <c:v>1</c:v>
                </c:pt>
                <c:pt idx="117">
                  <c:v>1</c:v>
                </c:pt>
                <c:pt idx="118">
                  <c:v>0.99</c:v>
                </c:pt>
                <c:pt idx="119">
                  <c:v>0.97</c:v>
                </c:pt>
                <c:pt idx="120">
                  <c:v>0.96</c:v>
                </c:pt>
                <c:pt idx="121">
                  <c:v>0.98</c:v>
                </c:pt>
                <c:pt idx="122">
                  <c:v>0.94</c:v>
                </c:pt>
                <c:pt idx="123">
                  <c:v>1</c:v>
                </c:pt>
                <c:pt idx="124">
                  <c:v>0.98</c:v>
                </c:pt>
                <c:pt idx="125">
                  <c:v>0.99</c:v>
                </c:pt>
                <c:pt idx="126">
                  <c:v>0.99</c:v>
                </c:pt>
                <c:pt idx="127">
                  <c:v>0.71</c:v>
                </c:pt>
                <c:pt idx="128">
                  <c:v>1</c:v>
                </c:pt>
                <c:pt idx="129">
                  <c:v>0.88</c:v>
                </c:pt>
                <c:pt idx="130">
                  <c:v>0.98</c:v>
                </c:pt>
                <c:pt idx="131">
                  <c:v>0.92</c:v>
                </c:pt>
                <c:pt idx="132">
                  <c:v>0.85</c:v>
                </c:pt>
                <c:pt idx="133">
                  <c:v>0.93</c:v>
                </c:pt>
                <c:pt idx="134">
                  <c:v>0.99</c:v>
                </c:pt>
                <c:pt idx="135">
                  <c:v>0.96</c:v>
                </c:pt>
                <c:pt idx="136">
                  <c:v>0.91</c:v>
                </c:pt>
                <c:pt idx="137">
                  <c:v>0.99</c:v>
                </c:pt>
                <c:pt idx="138">
                  <c:v>0.94</c:v>
                </c:pt>
                <c:pt idx="139">
                  <c:v>0.79</c:v>
                </c:pt>
                <c:pt idx="140">
                  <c:v>0.92</c:v>
                </c:pt>
                <c:pt idx="141">
                  <c:v>0.99</c:v>
                </c:pt>
                <c:pt idx="142">
                  <c:v>0.96</c:v>
                </c:pt>
                <c:pt idx="143">
                  <c:v>0.99</c:v>
                </c:pt>
                <c:pt idx="144">
                  <c:v>0.99</c:v>
                </c:pt>
                <c:pt idx="145">
                  <c:v>0.91</c:v>
                </c:pt>
                <c:pt idx="146">
                  <c:v>0.99</c:v>
                </c:pt>
                <c:pt idx="147">
                  <c:v>0.97</c:v>
                </c:pt>
                <c:pt idx="148">
                  <c:v>0.75</c:v>
                </c:pt>
                <c:pt idx="149">
                  <c:v>0.87</c:v>
                </c:pt>
                <c:pt idx="150">
                  <c:v>0.95</c:v>
                </c:pt>
                <c:pt idx="151">
                  <c:v>0.65</c:v>
                </c:pt>
                <c:pt idx="152">
                  <c:v>0.79</c:v>
                </c:pt>
                <c:pt idx="153">
                  <c:v>0.93</c:v>
                </c:pt>
                <c:pt idx="154">
                  <c:v>0.95</c:v>
                </c:pt>
                <c:pt idx="155">
                  <c:v>0.99</c:v>
                </c:pt>
                <c:pt idx="156">
                  <c:v>0.88</c:v>
                </c:pt>
                <c:pt idx="157">
                  <c:v>0.89</c:v>
                </c:pt>
                <c:pt idx="158">
                  <c:v>0.93</c:v>
                </c:pt>
                <c:pt idx="159">
                  <c:v>0.99</c:v>
                </c:pt>
                <c:pt idx="160">
                  <c:v>0.98</c:v>
                </c:pt>
                <c:pt idx="161">
                  <c:v>1</c:v>
                </c:pt>
                <c:pt idx="162">
                  <c:v>0.87</c:v>
                </c:pt>
                <c:pt idx="163">
                  <c:v>1</c:v>
                </c:pt>
                <c:pt idx="164">
                  <c:v>0.99</c:v>
                </c:pt>
                <c:pt idx="165">
                  <c:v>0.67</c:v>
                </c:pt>
                <c:pt idx="166">
                  <c:v>0.94</c:v>
                </c:pt>
                <c:pt idx="167">
                  <c:v>0.98</c:v>
                </c:pt>
                <c:pt idx="168">
                  <c:v>0.84</c:v>
                </c:pt>
                <c:pt idx="169">
                  <c:v>0.92</c:v>
                </c:pt>
                <c:pt idx="170">
                  <c:v>0.97</c:v>
                </c:pt>
                <c:pt idx="171">
                  <c:v>0.96</c:v>
                </c:pt>
                <c:pt idx="172">
                  <c:v>0.96</c:v>
                </c:pt>
                <c:pt idx="173">
                  <c:v>0.94</c:v>
                </c:pt>
                <c:pt idx="174">
                  <c:v>0.75</c:v>
                </c:pt>
                <c:pt idx="175">
                  <c:v>0.88</c:v>
                </c:pt>
                <c:pt idx="176">
                  <c:v>0.6</c:v>
                </c:pt>
                <c:pt idx="177">
                  <c:v>0.94</c:v>
                </c:pt>
                <c:pt idx="178">
                  <c:v>0.95</c:v>
                </c:pt>
                <c:pt idx="179">
                  <c:v>0.88</c:v>
                </c:pt>
                <c:pt idx="180">
                  <c:v>0.84</c:v>
                </c:pt>
                <c:pt idx="181">
                  <c:v>0.31</c:v>
                </c:pt>
                <c:pt idx="182">
                  <c:v>0.94</c:v>
                </c:pt>
                <c:pt idx="183">
                  <c:v>0.95</c:v>
                </c:pt>
                <c:pt idx="184">
                  <c:v>0.96</c:v>
                </c:pt>
                <c:pt idx="185">
                  <c:v>0.94</c:v>
                </c:pt>
                <c:pt idx="186">
                  <c:v>0.91</c:v>
                </c:pt>
                <c:pt idx="187">
                  <c:v>0.91</c:v>
                </c:pt>
                <c:pt idx="188">
                  <c:v>0.94</c:v>
                </c:pt>
                <c:pt idx="189">
                  <c:v>0.95</c:v>
                </c:pt>
                <c:pt idx="190">
                  <c:v>0.91</c:v>
                </c:pt>
                <c:pt idx="191">
                  <c:v>0.83</c:v>
                </c:pt>
                <c:pt idx="192">
                  <c:v>0.95</c:v>
                </c:pt>
                <c:pt idx="193">
                  <c:v>0.83</c:v>
                </c:pt>
                <c:pt idx="194">
                  <c:v>0.87</c:v>
                </c:pt>
                <c:pt idx="195">
                  <c:v>0.99</c:v>
                </c:pt>
                <c:pt idx="196">
                  <c:v>0.77</c:v>
                </c:pt>
                <c:pt idx="197">
                  <c:v>0.75</c:v>
                </c:pt>
                <c:pt idx="198">
                  <c:v>0.95</c:v>
                </c:pt>
                <c:pt idx="199">
                  <c:v>0.94</c:v>
                </c:pt>
                <c:pt idx="200">
                  <c:v>0.99</c:v>
                </c:pt>
                <c:pt idx="201">
                  <c:v>0.81</c:v>
                </c:pt>
                <c:pt idx="202">
                  <c:v>0.92</c:v>
                </c:pt>
                <c:pt idx="203">
                  <c:v>0.94</c:v>
                </c:pt>
                <c:pt idx="204">
                  <c:v>0.97</c:v>
                </c:pt>
                <c:pt idx="205">
                  <c:v>0.82</c:v>
                </c:pt>
                <c:pt idx="206">
                  <c:v>0.93</c:v>
                </c:pt>
                <c:pt idx="207">
                  <c:v>0.88</c:v>
                </c:pt>
                <c:pt idx="208">
                  <c:v>0.88</c:v>
                </c:pt>
                <c:pt idx="209">
                  <c:v>0.84</c:v>
                </c:pt>
                <c:pt idx="210">
                  <c:v>0.97</c:v>
                </c:pt>
                <c:pt idx="211">
                  <c:v>0.47</c:v>
                </c:pt>
                <c:pt idx="212">
                  <c:v>0.67</c:v>
                </c:pt>
                <c:pt idx="213">
                  <c:v>0.82</c:v>
                </c:pt>
                <c:pt idx="214">
                  <c:v>0.88</c:v>
                </c:pt>
                <c:pt idx="215">
                  <c:v>0.94</c:v>
                </c:pt>
                <c:pt idx="216">
                  <c:v>0.93</c:v>
                </c:pt>
                <c:pt idx="217">
                  <c:v>0.83</c:v>
                </c:pt>
                <c:pt idx="218">
                  <c:v>0.84</c:v>
                </c:pt>
                <c:pt idx="219">
                  <c:v>0.88</c:v>
                </c:pt>
                <c:pt idx="220">
                  <c:v>0.99</c:v>
                </c:pt>
                <c:pt idx="221">
                  <c:v>0.87</c:v>
                </c:pt>
                <c:pt idx="222">
                  <c:v>0.87</c:v>
                </c:pt>
                <c:pt idx="223">
                  <c:v>0.85</c:v>
                </c:pt>
                <c:pt idx="224">
                  <c:v>0.87</c:v>
                </c:pt>
                <c:pt idx="225">
                  <c:v>0.88</c:v>
                </c:pt>
                <c:pt idx="226">
                  <c:v>0.83</c:v>
                </c:pt>
                <c:pt idx="227">
                  <c:v>0.82</c:v>
                </c:pt>
                <c:pt idx="228">
                  <c:v>0.57999999999999996</c:v>
                </c:pt>
                <c:pt idx="229">
                  <c:v>0.83</c:v>
                </c:pt>
                <c:pt idx="230">
                  <c:v>0.93</c:v>
                </c:pt>
                <c:pt idx="231">
                  <c:v>0.81</c:v>
                </c:pt>
                <c:pt idx="232">
                  <c:v>0.77</c:v>
                </c:pt>
                <c:pt idx="233">
                  <c:v>0.88</c:v>
                </c:pt>
                <c:pt idx="234">
                  <c:v>0.2</c:v>
                </c:pt>
                <c:pt idx="235">
                  <c:v>0.6</c:v>
                </c:pt>
                <c:pt idx="236">
                  <c:v>0.92</c:v>
                </c:pt>
                <c:pt idx="237">
                  <c:v>0.98</c:v>
                </c:pt>
                <c:pt idx="238">
                  <c:v>0.73</c:v>
                </c:pt>
                <c:pt idx="239">
                  <c:v>0.65</c:v>
                </c:pt>
                <c:pt idx="240">
                  <c:v>0.95</c:v>
                </c:pt>
                <c:pt idx="241">
                  <c:v>0.75</c:v>
                </c:pt>
                <c:pt idx="242">
                  <c:v>0.86</c:v>
                </c:pt>
                <c:pt idx="243">
                  <c:v>0.93</c:v>
                </c:pt>
                <c:pt idx="244">
                  <c:v>0.68</c:v>
                </c:pt>
                <c:pt idx="245">
                  <c:v>0.46</c:v>
                </c:pt>
                <c:pt idx="246">
                  <c:v>0.72</c:v>
                </c:pt>
                <c:pt idx="247">
                  <c:v>0.65</c:v>
                </c:pt>
                <c:pt idx="248">
                  <c:v>0.46</c:v>
                </c:pt>
                <c:pt idx="249">
                  <c:v>0.94</c:v>
                </c:pt>
                <c:pt idx="250">
                  <c:v>0.9</c:v>
                </c:pt>
                <c:pt idx="251">
                  <c:v>0.64</c:v>
                </c:pt>
                <c:pt idx="252">
                  <c:v>0.44</c:v>
                </c:pt>
                <c:pt idx="253">
                  <c:v>0.6</c:v>
                </c:pt>
                <c:pt idx="254">
                  <c:v>0.71</c:v>
                </c:pt>
                <c:pt idx="255">
                  <c:v>0.84</c:v>
                </c:pt>
                <c:pt idx="256">
                  <c:v>0.48</c:v>
                </c:pt>
                <c:pt idx="257">
                  <c:v>0.22</c:v>
                </c:pt>
                <c:pt idx="258">
                  <c:v>0.93</c:v>
                </c:pt>
                <c:pt idx="259">
                  <c:v>0.84</c:v>
                </c:pt>
                <c:pt idx="260">
                  <c:v>0.85</c:v>
                </c:pt>
                <c:pt idx="261">
                  <c:v>0.42</c:v>
                </c:pt>
                <c:pt idx="262">
                  <c:v>0.9</c:v>
                </c:pt>
                <c:pt idx="263">
                  <c:v>0.77</c:v>
                </c:pt>
                <c:pt idx="264">
                  <c:v>0.93</c:v>
                </c:pt>
                <c:pt idx="265">
                  <c:v>0.91</c:v>
                </c:pt>
                <c:pt idx="266">
                  <c:v>0.62</c:v>
                </c:pt>
                <c:pt idx="267">
                  <c:v>0.78</c:v>
                </c:pt>
                <c:pt idx="268">
                  <c:v>0.55000000000000004</c:v>
                </c:pt>
                <c:pt idx="269">
                  <c:v>0.77</c:v>
                </c:pt>
                <c:pt idx="270">
                  <c:v>0.73</c:v>
                </c:pt>
                <c:pt idx="271">
                  <c:v>0.75</c:v>
                </c:pt>
                <c:pt idx="272">
                  <c:v>0.68</c:v>
                </c:pt>
                <c:pt idx="273">
                  <c:v>0.92</c:v>
                </c:pt>
                <c:pt idx="274">
                  <c:v>0.86</c:v>
                </c:pt>
                <c:pt idx="275">
                  <c:v>0.89</c:v>
                </c:pt>
                <c:pt idx="276">
                  <c:v>0.41</c:v>
                </c:pt>
                <c:pt idx="277">
                  <c:v>0.33</c:v>
                </c:pt>
                <c:pt idx="278">
                  <c:v>0.77</c:v>
                </c:pt>
                <c:pt idx="279">
                  <c:v>0.34</c:v>
                </c:pt>
                <c:pt idx="280">
                  <c:v>0.7</c:v>
                </c:pt>
                <c:pt idx="281">
                  <c:v>0.85</c:v>
                </c:pt>
                <c:pt idx="282">
                  <c:v>0.7</c:v>
                </c:pt>
                <c:pt idx="283">
                  <c:v>0.57999999999999996</c:v>
                </c:pt>
                <c:pt idx="284">
                  <c:v>0.53</c:v>
                </c:pt>
                <c:pt idx="285">
                  <c:v>0.66</c:v>
                </c:pt>
                <c:pt idx="286">
                  <c:v>0.05</c:v>
                </c:pt>
                <c:pt idx="287">
                  <c:v>0.84</c:v>
                </c:pt>
                <c:pt idx="288">
                  <c:v>0.74</c:v>
                </c:pt>
                <c:pt idx="289">
                  <c:v>0.09</c:v>
                </c:pt>
                <c:pt idx="290">
                  <c:v>0.59</c:v>
                </c:pt>
                <c:pt idx="291">
                  <c:v>0.43</c:v>
                </c:pt>
                <c:pt idx="292">
                  <c:v>0.44</c:v>
                </c:pt>
                <c:pt idx="293">
                  <c:v>0.18</c:v>
                </c:pt>
                <c:pt idx="294">
                  <c:v>0.48</c:v>
                </c:pt>
                <c:pt idx="295">
                  <c:v>0.56000000000000005</c:v>
                </c:pt>
                <c:pt idx="296">
                  <c:v>0.7</c:v>
                </c:pt>
                <c:pt idx="297">
                  <c:v>0.38</c:v>
                </c:pt>
                <c:pt idx="298">
                  <c:v>0.54</c:v>
                </c:pt>
                <c:pt idx="299">
                  <c:v>0.3</c:v>
                </c:pt>
                <c:pt idx="300">
                  <c:v>0.46</c:v>
                </c:pt>
                <c:pt idx="301">
                  <c:v>0.76</c:v>
                </c:pt>
                <c:pt idx="302">
                  <c:v>0.85</c:v>
                </c:pt>
                <c:pt idx="303">
                  <c:v>0.73</c:v>
                </c:pt>
                <c:pt idx="304">
                  <c:v>0.15</c:v>
                </c:pt>
                <c:pt idx="305">
                  <c:v>0.73</c:v>
                </c:pt>
                <c:pt idx="306">
                  <c:v>0.06</c:v>
                </c:pt>
                <c:pt idx="307">
                  <c:v>0.9</c:v>
                </c:pt>
                <c:pt idx="308">
                  <c:v>0.86</c:v>
                </c:pt>
                <c:pt idx="309">
                  <c:v>0.38</c:v>
                </c:pt>
                <c:pt idx="310">
                  <c:v>7.0000000000000007E-2</c:v>
                </c:pt>
                <c:pt idx="311">
                  <c:v>0.66</c:v>
                </c:pt>
                <c:pt idx="312">
                  <c:v>0.84</c:v>
                </c:pt>
                <c:pt idx="313">
                  <c:v>0.39</c:v>
                </c:pt>
                <c:pt idx="314">
                  <c:v>0.68</c:v>
                </c:pt>
                <c:pt idx="315">
                  <c:v>0.04</c:v>
                </c:pt>
                <c:pt idx="316">
                  <c:v>0.28000000000000003</c:v>
                </c:pt>
                <c:pt idx="317">
                  <c:v>0.64</c:v>
                </c:pt>
                <c:pt idx="318">
                  <c:v>0.06</c:v>
                </c:pt>
                <c:pt idx="319">
                  <c:v>0.31</c:v>
                </c:pt>
                <c:pt idx="320">
                  <c:v>0.2</c:v>
                </c:pt>
                <c:pt idx="321">
                  <c:v>0.67</c:v>
                </c:pt>
                <c:pt idx="322">
                  <c:v>0.34</c:v>
                </c:pt>
                <c:pt idx="323">
                  <c:v>0.61</c:v>
                </c:pt>
                <c:pt idx="324">
                  <c:v>0.5</c:v>
                </c:pt>
                <c:pt idx="325">
                  <c:v>0.41</c:v>
                </c:pt>
                <c:pt idx="326">
                  <c:v>0.77</c:v>
                </c:pt>
                <c:pt idx="327">
                  <c:v>0.81</c:v>
                </c:pt>
                <c:pt idx="328">
                  <c:v>0.32</c:v>
                </c:pt>
                <c:pt idx="329">
                  <c:v>0.42</c:v>
                </c:pt>
                <c:pt idx="330">
                  <c:v>0.15</c:v>
                </c:pt>
                <c:pt idx="331">
                  <c:v>0.61</c:v>
                </c:pt>
                <c:pt idx="332">
                  <c:v>0.64</c:v>
                </c:pt>
                <c:pt idx="333">
                  <c:v>0.57999999999999996</c:v>
                </c:pt>
                <c:pt idx="334">
                  <c:v>0.47</c:v>
                </c:pt>
                <c:pt idx="335">
                  <c:v>0.84</c:v>
                </c:pt>
                <c:pt idx="336">
                  <c:v>0.31</c:v>
                </c:pt>
                <c:pt idx="337">
                  <c:v>0.42</c:v>
                </c:pt>
                <c:pt idx="338">
                  <c:v>0.16</c:v>
                </c:pt>
                <c:pt idx="339">
                  <c:v>0.28000000000000003</c:v>
                </c:pt>
                <c:pt idx="340">
                  <c:v>0.37</c:v>
                </c:pt>
                <c:pt idx="341">
                  <c:v>0.38</c:v>
                </c:pt>
                <c:pt idx="342">
                  <c:v>0.36</c:v>
                </c:pt>
                <c:pt idx="343">
                  <c:v>0.37</c:v>
                </c:pt>
                <c:pt idx="344">
                  <c:v>0.33</c:v>
                </c:pt>
                <c:pt idx="345">
                  <c:v>0.69</c:v>
                </c:pt>
                <c:pt idx="346">
                  <c:v>0.32</c:v>
                </c:pt>
                <c:pt idx="347">
                  <c:v>0.72</c:v>
                </c:pt>
                <c:pt idx="348">
                  <c:v>0.31</c:v>
                </c:pt>
                <c:pt idx="349">
                  <c:v>0.63</c:v>
                </c:pt>
                <c:pt idx="350">
                  <c:v>0.49</c:v>
                </c:pt>
                <c:pt idx="351">
                  <c:v>0.17</c:v>
                </c:pt>
                <c:pt idx="352">
                  <c:v>0.26</c:v>
                </c:pt>
                <c:pt idx="353">
                  <c:v>0.12</c:v>
                </c:pt>
                <c:pt idx="354">
                  <c:v>0.33</c:v>
                </c:pt>
                <c:pt idx="355">
                  <c:v>0.28000000000000003</c:v>
                </c:pt>
                <c:pt idx="356">
                  <c:v>0.6</c:v>
                </c:pt>
                <c:pt idx="357">
                  <c:v>0.11</c:v>
                </c:pt>
                <c:pt idx="358">
                  <c:v>0.52</c:v>
                </c:pt>
                <c:pt idx="359">
                  <c:v>0.24</c:v>
                </c:pt>
                <c:pt idx="360">
                  <c:v>0.38</c:v>
                </c:pt>
                <c:pt idx="361">
                  <c:v>0.09</c:v>
                </c:pt>
                <c:pt idx="362">
                  <c:v>0.13</c:v>
                </c:pt>
                <c:pt idx="363">
                  <c:v>0.62</c:v>
                </c:pt>
                <c:pt idx="364">
                  <c:v>0.14000000000000001</c:v>
                </c:pt>
                <c:pt idx="365">
                  <c:v>0.17</c:v>
                </c:pt>
                <c:pt idx="366">
                  <c:v>0.2</c:v>
                </c:pt>
                <c:pt idx="367">
                  <c:v>0.1</c:v>
                </c:pt>
                <c:pt idx="368">
                  <c:v>0.36</c:v>
                </c:pt>
                <c:pt idx="369">
                  <c:v>0.72</c:v>
                </c:pt>
                <c:pt idx="370">
                  <c:v>0.01</c:v>
                </c:pt>
                <c:pt idx="371">
                  <c:v>0.16</c:v>
                </c:pt>
                <c:pt idx="372">
                  <c:v>0.12</c:v>
                </c:pt>
                <c:pt idx="373">
                  <c:v>0.36</c:v>
                </c:pt>
                <c:pt idx="374">
                  <c:v>0.3</c:v>
                </c:pt>
                <c:pt idx="375">
                  <c:v>0.01</c:v>
                </c:pt>
                <c:pt idx="376">
                  <c:v>0.34</c:v>
                </c:pt>
                <c:pt idx="377">
                  <c:v>0.27</c:v>
                </c:pt>
                <c:pt idx="378">
                  <c:v>0.04</c:v>
                </c:pt>
                <c:pt idx="379">
                  <c:v>0.44</c:v>
                </c:pt>
                <c:pt idx="380">
                  <c:v>0.25</c:v>
                </c:pt>
                <c:pt idx="381">
                  <c:v>0.59</c:v>
                </c:pt>
                <c:pt idx="382">
                  <c:v>0.28000000000000003</c:v>
                </c:pt>
                <c:pt idx="383">
                  <c:v>0.09</c:v>
                </c:pt>
                <c:pt idx="384">
                  <c:v>0.04</c:v>
                </c:pt>
                <c:pt idx="385">
                  <c:v>0.68</c:v>
                </c:pt>
                <c:pt idx="386">
                  <c:v>0.09</c:v>
                </c:pt>
                <c:pt idx="387">
                  <c:v>0.16</c:v>
                </c:pt>
                <c:pt idx="388">
                  <c:v>0.67</c:v>
                </c:pt>
                <c:pt idx="389">
                  <c:v>0.08</c:v>
                </c:pt>
                <c:pt idx="390">
                  <c:v>0.27</c:v>
                </c:pt>
                <c:pt idx="391">
                  <c:v>0.1</c:v>
                </c:pt>
                <c:pt idx="392">
                  <c:v>7.0000000000000007E-2</c:v>
                </c:pt>
                <c:pt idx="393">
                  <c:v>0.34</c:v>
                </c:pt>
                <c:pt idx="394">
                  <c:v>0.15</c:v>
                </c:pt>
                <c:pt idx="395">
                  <c:v>0.3</c:v>
                </c:pt>
                <c:pt idx="396">
                  <c:v>0.1</c:v>
                </c:pt>
                <c:pt idx="397">
                  <c:v>0.17</c:v>
                </c:pt>
                <c:pt idx="398">
                  <c:v>0.21</c:v>
                </c:pt>
                <c:pt idx="399">
                  <c:v>0.09</c:v>
                </c:pt>
                <c:pt idx="400">
                  <c:v>0.16</c:v>
                </c:pt>
                <c:pt idx="401">
                  <c:v>0.49</c:v>
                </c:pt>
                <c:pt idx="402">
                  <c:v>0.49</c:v>
                </c:pt>
                <c:pt idx="403">
                  <c:v>0.19</c:v>
                </c:pt>
                <c:pt idx="404">
                  <c:v>0.32</c:v>
                </c:pt>
                <c:pt idx="405">
                  <c:v>0.53</c:v>
                </c:pt>
                <c:pt idx="406">
                  <c:v>0.09</c:v>
                </c:pt>
                <c:pt idx="407">
                  <c:v>0.1</c:v>
                </c:pt>
                <c:pt idx="408">
                  <c:v>0.14000000000000001</c:v>
                </c:pt>
                <c:pt idx="409">
                  <c:v>0.21</c:v>
                </c:pt>
                <c:pt idx="410">
                  <c:v>0.23</c:v>
                </c:pt>
                <c:pt idx="411">
                  <c:v>0.16</c:v>
                </c:pt>
                <c:pt idx="412">
                  <c:v>0.09</c:v>
                </c:pt>
                <c:pt idx="413">
                  <c:v>0.18</c:v>
                </c:pt>
                <c:pt idx="414">
                  <c:v>0.04</c:v>
                </c:pt>
                <c:pt idx="415">
                  <c:v>0.28000000000000003</c:v>
                </c:pt>
                <c:pt idx="416">
                  <c:v>0.11</c:v>
                </c:pt>
                <c:pt idx="417">
                  <c:v>0.28000000000000003</c:v>
                </c:pt>
                <c:pt idx="418">
                  <c:v>0.09</c:v>
                </c:pt>
                <c:pt idx="419">
                  <c:v>0.16</c:v>
                </c:pt>
                <c:pt idx="420">
                  <c:v>0.28999999999999998</c:v>
                </c:pt>
                <c:pt idx="421">
                  <c:v>0.09</c:v>
                </c:pt>
                <c:pt idx="422">
                  <c:v>0.01</c:v>
                </c:pt>
                <c:pt idx="423">
                  <c:v>7.0000000000000007E-2</c:v>
                </c:pt>
                <c:pt idx="424">
                  <c:v>0.04</c:v>
                </c:pt>
                <c:pt idx="425">
                  <c:v>0.04</c:v>
                </c:pt>
                <c:pt idx="426">
                  <c:v>0.25</c:v>
                </c:pt>
                <c:pt idx="427">
                  <c:v>0.05</c:v>
                </c:pt>
                <c:pt idx="428">
                  <c:v>7.0000000000000007E-2</c:v>
                </c:pt>
                <c:pt idx="429">
                  <c:v>0.1</c:v>
                </c:pt>
                <c:pt idx="430">
                  <c:v>0.56999999999999995</c:v>
                </c:pt>
                <c:pt idx="431">
                  <c:v>0.24</c:v>
                </c:pt>
                <c:pt idx="432">
                  <c:v>0.46</c:v>
                </c:pt>
                <c:pt idx="433">
                  <c:v>0.18</c:v>
                </c:pt>
                <c:pt idx="434">
                  <c:v>0.04</c:v>
                </c:pt>
                <c:pt idx="435">
                  <c:v>0.21</c:v>
                </c:pt>
                <c:pt idx="436">
                  <c:v>0.18</c:v>
                </c:pt>
                <c:pt idx="437">
                  <c:v>0.49</c:v>
                </c:pt>
                <c:pt idx="438">
                  <c:v>0.21</c:v>
                </c:pt>
                <c:pt idx="439">
                  <c:v>0.08</c:v>
                </c:pt>
                <c:pt idx="440">
                  <c:v>7.0000000000000007E-2</c:v>
                </c:pt>
                <c:pt idx="441">
                  <c:v>0.28999999999999998</c:v>
                </c:pt>
                <c:pt idx="442">
                  <c:v>0.08</c:v>
                </c:pt>
                <c:pt idx="443">
                  <c:v>0.54</c:v>
                </c:pt>
                <c:pt idx="444">
                  <c:v>0.05</c:v>
                </c:pt>
                <c:pt idx="445">
                  <c:v>0.06</c:v>
                </c:pt>
                <c:pt idx="446">
                  <c:v>0.01</c:v>
                </c:pt>
                <c:pt idx="447">
                  <c:v>0.06</c:v>
                </c:pt>
                <c:pt idx="448">
                  <c:v>0.06</c:v>
                </c:pt>
                <c:pt idx="449">
                  <c:v>0.5</c:v>
                </c:pt>
                <c:pt idx="450">
                  <c:v>0.33</c:v>
                </c:pt>
                <c:pt idx="451">
                  <c:v>0.08</c:v>
                </c:pt>
                <c:pt idx="452">
                  <c:v>0.08</c:v>
                </c:pt>
                <c:pt idx="453">
                  <c:v>0.04</c:v>
                </c:pt>
                <c:pt idx="454">
                  <c:v>0.41</c:v>
                </c:pt>
                <c:pt idx="455">
                  <c:v>0.21</c:v>
                </c:pt>
                <c:pt idx="456">
                  <c:v>0.17</c:v>
                </c:pt>
                <c:pt idx="457">
                  <c:v>0.53</c:v>
                </c:pt>
                <c:pt idx="458">
                  <c:v>0.01</c:v>
                </c:pt>
                <c:pt idx="459">
                  <c:v>0.41</c:v>
                </c:pt>
                <c:pt idx="460">
                  <c:v>0.17</c:v>
                </c:pt>
                <c:pt idx="461">
                  <c:v>0.08</c:v>
                </c:pt>
                <c:pt idx="462">
                  <c:v>0.01</c:v>
                </c:pt>
                <c:pt idx="463">
                  <c:v>0.12</c:v>
                </c:pt>
                <c:pt idx="464">
                  <c:v>0.21</c:v>
                </c:pt>
                <c:pt idx="465">
                  <c:v>0.18</c:v>
                </c:pt>
                <c:pt idx="466">
                  <c:v>0.06</c:v>
                </c:pt>
                <c:pt idx="467">
                  <c:v>0.05</c:v>
                </c:pt>
                <c:pt idx="468">
                  <c:v>0.05</c:v>
                </c:pt>
                <c:pt idx="469">
                  <c:v>0.04</c:v>
                </c:pt>
                <c:pt idx="470">
                  <c:v>0.39</c:v>
                </c:pt>
                <c:pt idx="471">
                  <c:v>0.01</c:v>
                </c:pt>
                <c:pt idx="472">
                  <c:v>0.08</c:v>
                </c:pt>
                <c:pt idx="473">
                  <c:v>0.31</c:v>
                </c:pt>
                <c:pt idx="474">
                  <c:v>0.09</c:v>
                </c:pt>
                <c:pt idx="475">
                  <c:v>0.08</c:v>
                </c:pt>
                <c:pt idx="476">
                  <c:v>0.01</c:v>
                </c:pt>
                <c:pt idx="477">
                  <c:v>7.0000000000000007E-2</c:v>
                </c:pt>
                <c:pt idx="478">
                  <c:v>0.09</c:v>
                </c:pt>
                <c:pt idx="479">
                  <c:v>0.08</c:v>
                </c:pt>
                <c:pt idx="480">
                  <c:v>0.08</c:v>
                </c:pt>
                <c:pt idx="481">
                  <c:v>0.13</c:v>
                </c:pt>
                <c:pt idx="482">
                  <c:v>0.16</c:v>
                </c:pt>
                <c:pt idx="483">
                  <c:v>0.23</c:v>
                </c:pt>
                <c:pt idx="484">
                  <c:v>0.05</c:v>
                </c:pt>
                <c:pt idx="485">
                  <c:v>0.09</c:v>
                </c:pt>
                <c:pt idx="486">
                  <c:v>0.14000000000000001</c:v>
                </c:pt>
                <c:pt idx="487">
                  <c:v>0.06</c:v>
                </c:pt>
                <c:pt idx="488">
                  <c:v>0.1</c:v>
                </c:pt>
                <c:pt idx="489">
                  <c:v>0.02</c:v>
                </c:pt>
                <c:pt idx="490">
                  <c:v>0.02</c:v>
                </c:pt>
                <c:pt idx="491">
                  <c:v>0.2</c:v>
                </c:pt>
                <c:pt idx="492">
                  <c:v>0.24</c:v>
                </c:pt>
                <c:pt idx="493">
                  <c:v>0.04</c:v>
                </c:pt>
                <c:pt idx="494">
                  <c:v>0.06</c:v>
                </c:pt>
                <c:pt idx="495">
                  <c:v>0.14000000000000001</c:v>
                </c:pt>
                <c:pt idx="496">
                  <c:v>0.03</c:v>
                </c:pt>
                <c:pt idx="497">
                  <c:v>0.06</c:v>
                </c:pt>
                <c:pt idx="498">
                  <c:v>0.05</c:v>
                </c:pt>
                <c:pt idx="499">
                  <c:v>0.08</c:v>
                </c:pt>
                <c:pt idx="500">
                  <c:v>0.05</c:v>
                </c:pt>
                <c:pt idx="501">
                  <c:v>0.04</c:v>
                </c:pt>
                <c:pt idx="502">
                  <c:v>0.08</c:v>
                </c:pt>
                <c:pt idx="503">
                  <c:v>0.11</c:v>
                </c:pt>
                <c:pt idx="504">
                  <c:v>0.14000000000000001</c:v>
                </c:pt>
                <c:pt idx="505">
                  <c:v>0.56999999999999995</c:v>
                </c:pt>
                <c:pt idx="506">
                  <c:v>0.01</c:v>
                </c:pt>
                <c:pt idx="507">
                  <c:v>0.42</c:v>
                </c:pt>
                <c:pt idx="508">
                  <c:v>0.06</c:v>
                </c:pt>
                <c:pt idx="509">
                  <c:v>0.25</c:v>
                </c:pt>
                <c:pt idx="510">
                  <c:v>0.04</c:v>
                </c:pt>
                <c:pt idx="511">
                  <c:v>0.03</c:v>
                </c:pt>
                <c:pt idx="512">
                  <c:v>0.06</c:v>
                </c:pt>
                <c:pt idx="513">
                  <c:v>0.01</c:v>
                </c:pt>
                <c:pt idx="514">
                  <c:v>0.3</c:v>
                </c:pt>
                <c:pt idx="515">
                  <c:v>0.04</c:v>
                </c:pt>
                <c:pt idx="516">
                  <c:v>0.17</c:v>
                </c:pt>
                <c:pt idx="517">
                  <c:v>7.0000000000000007E-2</c:v>
                </c:pt>
                <c:pt idx="518">
                  <c:v>7.0000000000000007E-2</c:v>
                </c:pt>
                <c:pt idx="519">
                  <c:v>0.02</c:v>
                </c:pt>
                <c:pt idx="520">
                  <c:v>0.06</c:v>
                </c:pt>
                <c:pt idx="521">
                  <c:v>0.01</c:v>
                </c:pt>
                <c:pt idx="522">
                  <c:v>0.01</c:v>
                </c:pt>
                <c:pt idx="523">
                  <c:v>0.05</c:v>
                </c:pt>
                <c:pt idx="524">
                  <c:v>0.03</c:v>
                </c:pt>
                <c:pt idx="525">
                  <c:v>0.11</c:v>
                </c:pt>
                <c:pt idx="526">
                  <c:v>0.08</c:v>
                </c:pt>
                <c:pt idx="527">
                  <c:v>0.05</c:v>
                </c:pt>
                <c:pt idx="528">
                  <c:v>0.1</c:v>
                </c:pt>
                <c:pt idx="529">
                  <c:v>0.06</c:v>
                </c:pt>
                <c:pt idx="530">
                  <c:v>0.1</c:v>
                </c:pt>
                <c:pt idx="531">
                  <c:v>0.06</c:v>
                </c:pt>
                <c:pt idx="532">
                  <c:v>0.12</c:v>
                </c:pt>
                <c:pt idx="533">
                  <c:v>0.05</c:v>
                </c:pt>
                <c:pt idx="534">
                  <c:v>0.14000000000000001</c:v>
                </c:pt>
                <c:pt idx="535">
                  <c:v>7.0000000000000007E-2</c:v>
                </c:pt>
                <c:pt idx="536">
                  <c:v>0.02</c:v>
                </c:pt>
                <c:pt idx="537">
                  <c:v>0.05</c:v>
                </c:pt>
                <c:pt idx="538">
                  <c:v>0.05</c:v>
                </c:pt>
                <c:pt idx="539">
                  <c:v>0.04</c:v>
                </c:pt>
                <c:pt idx="540">
                  <c:v>0.04</c:v>
                </c:pt>
                <c:pt idx="541">
                  <c:v>0.01</c:v>
                </c:pt>
                <c:pt idx="542">
                  <c:v>7.0000000000000007E-2</c:v>
                </c:pt>
                <c:pt idx="543">
                  <c:v>0.56000000000000005</c:v>
                </c:pt>
                <c:pt idx="544">
                  <c:v>0.04</c:v>
                </c:pt>
                <c:pt idx="545">
                  <c:v>0.04</c:v>
                </c:pt>
                <c:pt idx="546">
                  <c:v>0.05</c:v>
                </c:pt>
                <c:pt idx="547">
                  <c:v>0.05</c:v>
                </c:pt>
                <c:pt idx="548">
                  <c:v>0.19</c:v>
                </c:pt>
                <c:pt idx="549">
                  <c:v>7.0000000000000007E-2</c:v>
                </c:pt>
                <c:pt idx="550">
                  <c:v>0.08</c:v>
                </c:pt>
                <c:pt idx="551">
                  <c:v>0.08</c:v>
                </c:pt>
                <c:pt idx="552">
                  <c:v>7.0000000000000007E-2</c:v>
                </c:pt>
                <c:pt idx="553">
                  <c:v>0.2</c:v>
                </c:pt>
                <c:pt idx="554">
                  <c:v>0.21</c:v>
                </c:pt>
                <c:pt idx="555">
                  <c:v>0.05</c:v>
                </c:pt>
                <c:pt idx="556">
                  <c:v>0.01</c:v>
                </c:pt>
                <c:pt idx="557">
                  <c:v>0.11</c:v>
                </c:pt>
                <c:pt idx="558">
                  <c:v>0.08</c:v>
                </c:pt>
                <c:pt idx="559">
                  <c:v>0.09</c:v>
                </c:pt>
                <c:pt idx="560">
                  <c:v>0.05</c:v>
                </c:pt>
                <c:pt idx="561">
                  <c:v>0.06</c:v>
                </c:pt>
                <c:pt idx="562">
                  <c:v>7.0000000000000007E-2</c:v>
                </c:pt>
                <c:pt idx="563">
                  <c:v>0.03</c:v>
                </c:pt>
                <c:pt idx="564">
                  <c:v>0.01</c:v>
                </c:pt>
                <c:pt idx="565">
                  <c:v>0.06</c:v>
                </c:pt>
                <c:pt idx="566">
                  <c:v>0.01</c:v>
                </c:pt>
                <c:pt idx="567">
                  <c:v>0.06</c:v>
                </c:pt>
                <c:pt idx="568">
                  <c:v>7.0000000000000007E-2</c:v>
                </c:pt>
                <c:pt idx="569">
                  <c:v>0.11</c:v>
                </c:pt>
                <c:pt idx="570">
                  <c:v>0.03</c:v>
                </c:pt>
                <c:pt idx="571">
                  <c:v>7.0000000000000007E-2</c:v>
                </c:pt>
                <c:pt idx="572">
                  <c:v>0.05</c:v>
                </c:pt>
                <c:pt idx="573">
                  <c:v>0.11</c:v>
                </c:pt>
                <c:pt idx="574">
                  <c:v>0.03</c:v>
                </c:pt>
                <c:pt idx="575">
                  <c:v>0.05</c:v>
                </c:pt>
                <c:pt idx="576">
                  <c:v>0.08</c:v>
                </c:pt>
                <c:pt idx="577">
                  <c:v>0.01</c:v>
                </c:pt>
                <c:pt idx="578">
                  <c:v>0.33</c:v>
                </c:pt>
                <c:pt idx="579">
                  <c:v>0.02</c:v>
                </c:pt>
                <c:pt idx="580">
                  <c:v>0.02</c:v>
                </c:pt>
                <c:pt idx="581">
                  <c:v>7.0000000000000007E-2</c:v>
                </c:pt>
                <c:pt idx="582">
                  <c:v>7.0000000000000007E-2</c:v>
                </c:pt>
                <c:pt idx="583">
                  <c:v>0.06</c:v>
                </c:pt>
                <c:pt idx="584">
                  <c:v>0.17</c:v>
                </c:pt>
                <c:pt idx="585">
                  <c:v>0.01</c:v>
                </c:pt>
                <c:pt idx="586">
                  <c:v>0.04</c:v>
                </c:pt>
                <c:pt idx="587">
                  <c:v>7.0000000000000007E-2</c:v>
                </c:pt>
                <c:pt idx="588">
                  <c:v>0.05</c:v>
                </c:pt>
                <c:pt idx="589">
                  <c:v>0.01</c:v>
                </c:pt>
                <c:pt idx="590">
                  <c:v>7.0000000000000007E-2</c:v>
                </c:pt>
                <c:pt idx="591">
                  <c:v>0.06</c:v>
                </c:pt>
                <c:pt idx="592">
                  <c:v>0.09</c:v>
                </c:pt>
                <c:pt idx="593">
                  <c:v>0.01</c:v>
                </c:pt>
                <c:pt idx="594">
                  <c:v>0.02</c:v>
                </c:pt>
                <c:pt idx="595">
                  <c:v>0.06</c:v>
                </c:pt>
                <c:pt idx="596">
                  <c:v>0.13</c:v>
                </c:pt>
                <c:pt idx="597">
                  <c:v>0.28999999999999998</c:v>
                </c:pt>
                <c:pt idx="598">
                  <c:v>0.04</c:v>
                </c:pt>
                <c:pt idx="599">
                  <c:v>0.05</c:v>
                </c:pt>
                <c:pt idx="600">
                  <c:v>0.1</c:v>
                </c:pt>
                <c:pt idx="601">
                  <c:v>0.01</c:v>
                </c:pt>
                <c:pt idx="602">
                  <c:v>0.03</c:v>
                </c:pt>
                <c:pt idx="603">
                  <c:v>0.01</c:v>
                </c:pt>
                <c:pt idx="604">
                  <c:v>0.04</c:v>
                </c:pt>
                <c:pt idx="605">
                  <c:v>0.12</c:v>
                </c:pt>
                <c:pt idx="606">
                  <c:v>0.06</c:v>
                </c:pt>
                <c:pt idx="607">
                  <c:v>0.03</c:v>
                </c:pt>
                <c:pt idx="608">
                  <c:v>0.01</c:v>
                </c:pt>
                <c:pt idx="609">
                  <c:v>0.06</c:v>
                </c:pt>
                <c:pt idx="610">
                  <c:v>0.13</c:v>
                </c:pt>
                <c:pt idx="611">
                  <c:v>0.09</c:v>
                </c:pt>
                <c:pt idx="612">
                  <c:v>0.01</c:v>
                </c:pt>
                <c:pt idx="613">
                  <c:v>0.02</c:v>
                </c:pt>
                <c:pt idx="614">
                  <c:v>0.01</c:v>
                </c:pt>
                <c:pt idx="615">
                  <c:v>0.1</c:v>
                </c:pt>
                <c:pt idx="616">
                  <c:v>0.02</c:v>
                </c:pt>
                <c:pt idx="617">
                  <c:v>0.01</c:v>
                </c:pt>
                <c:pt idx="618">
                  <c:v>0.04</c:v>
                </c:pt>
                <c:pt idx="619">
                  <c:v>0.02</c:v>
                </c:pt>
                <c:pt idx="620">
                  <c:v>0.08</c:v>
                </c:pt>
                <c:pt idx="621">
                  <c:v>0.03</c:v>
                </c:pt>
                <c:pt idx="622">
                  <c:v>0.02</c:v>
                </c:pt>
                <c:pt idx="623">
                  <c:v>0.06</c:v>
                </c:pt>
                <c:pt idx="624">
                  <c:v>0.03</c:v>
                </c:pt>
                <c:pt idx="625">
                  <c:v>0.03</c:v>
                </c:pt>
                <c:pt idx="626">
                  <c:v>0.05</c:v>
                </c:pt>
                <c:pt idx="627">
                  <c:v>0.01</c:v>
                </c:pt>
                <c:pt idx="628">
                  <c:v>0.04</c:v>
                </c:pt>
                <c:pt idx="629">
                  <c:v>0.01</c:v>
                </c:pt>
                <c:pt idx="630">
                  <c:v>0.05</c:v>
                </c:pt>
                <c:pt idx="631">
                  <c:v>0.01</c:v>
                </c:pt>
                <c:pt idx="632">
                  <c:v>0.01</c:v>
                </c:pt>
                <c:pt idx="633">
                  <c:v>0.28999999999999998</c:v>
                </c:pt>
                <c:pt idx="634">
                  <c:v>0.06</c:v>
                </c:pt>
                <c:pt idx="635">
                  <c:v>0.05</c:v>
                </c:pt>
                <c:pt idx="636">
                  <c:v>0.01</c:v>
                </c:pt>
                <c:pt idx="637">
                  <c:v>0.09</c:v>
                </c:pt>
                <c:pt idx="638">
                  <c:v>0.02</c:v>
                </c:pt>
                <c:pt idx="639">
                  <c:v>0.19</c:v>
                </c:pt>
                <c:pt idx="640">
                  <c:v>0.08</c:v>
                </c:pt>
                <c:pt idx="641">
                  <c:v>0.04</c:v>
                </c:pt>
                <c:pt idx="642">
                  <c:v>7.0000000000000007E-2</c:v>
                </c:pt>
                <c:pt idx="643">
                  <c:v>0.08</c:v>
                </c:pt>
                <c:pt idx="644">
                  <c:v>0.11</c:v>
                </c:pt>
                <c:pt idx="645">
                  <c:v>0.01</c:v>
                </c:pt>
                <c:pt idx="646">
                  <c:v>0.01</c:v>
                </c:pt>
                <c:pt idx="647">
                  <c:v>0.03</c:v>
                </c:pt>
                <c:pt idx="648">
                  <c:v>0.06</c:v>
                </c:pt>
                <c:pt idx="649">
                  <c:v>0.05</c:v>
                </c:pt>
                <c:pt idx="650">
                  <c:v>0.02</c:v>
                </c:pt>
                <c:pt idx="651">
                  <c:v>0.02</c:v>
                </c:pt>
                <c:pt idx="652">
                  <c:v>0.04</c:v>
                </c:pt>
                <c:pt idx="653">
                  <c:v>7.0000000000000007E-2</c:v>
                </c:pt>
                <c:pt idx="654">
                  <c:v>0.01</c:v>
                </c:pt>
                <c:pt idx="655">
                  <c:v>0.03</c:v>
                </c:pt>
                <c:pt idx="656">
                  <c:v>0.01</c:v>
                </c:pt>
                <c:pt idx="657">
                  <c:v>0.23</c:v>
                </c:pt>
                <c:pt idx="658">
                  <c:v>0.02</c:v>
                </c:pt>
                <c:pt idx="659">
                  <c:v>0.05</c:v>
                </c:pt>
                <c:pt idx="660">
                  <c:v>0.04</c:v>
                </c:pt>
                <c:pt idx="661">
                  <c:v>0.04</c:v>
                </c:pt>
                <c:pt idx="662">
                  <c:v>0.03</c:v>
                </c:pt>
                <c:pt idx="663">
                  <c:v>0.01</c:v>
                </c:pt>
                <c:pt idx="664">
                  <c:v>0.06</c:v>
                </c:pt>
                <c:pt idx="665">
                  <c:v>0.02</c:v>
                </c:pt>
                <c:pt idx="666">
                  <c:v>0.01</c:v>
                </c:pt>
                <c:pt idx="667">
                  <c:v>0.04</c:v>
                </c:pt>
                <c:pt idx="668">
                  <c:v>0.02</c:v>
                </c:pt>
                <c:pt idx="669">
                  <c:v>0.01</c:v>
                </c:pt>
                <c:pt idx="670">
                  <c:v>7.0000000000000007E-2</c:v>
                </c:pt>
                <c:pt idx="671">
                  <c:v>0.04</c:v>
                </c:pt>
                <c:pt idx="672">
                  <c:v>0.06</c:v>
                </c:pt>
                <c:pt idx="673">
                  <c:v>0.01</c:v>
                </c:pt>
                <c:pt idx="674">
                  <c:v>0.03</c:v>
                </c:pt>
                <c:pt idx="675">
                  <c:v>0.02</c:v>
                </c:pt>
                <c:pt idx="676">
                  <c:v>0.01</c:v>
                </c:pt>
                <c:pt idx="677">
                  <c:v>0.01</c:v>
                </c:pt>
                <c:pt idx="678">
                  <c:v>0.15</c:v>
                </c:pt>
                <c:pt idx="679">
                  <c:v>0.02</c:v>
                </c:pt>
                <c:pt idx="680">
                  <c:v>0.05</c:v>
                </c:pt>
                <c:pt idx="681">
                  <c:v>0.02</c:v>
                </c:pt>
                <c:pt idx="682">
                  <c:v>0.05</c:v>
                </c:pt>
                <c:pt idx="683">
                  <c:v>7.0000000000000007E-2</c:v>
                </c:pt>
                <c:pt idx="684">
                  <c:v>0.05</c:v>
                </c:pt>
                <c:pt idx="685">
                  <c:v>0.02</c:v>
                </c:pt>
                <c:pt idx="686">
                  <c:v>0.03</c:v>
                </c:pt>
                <c:pt idx="687">
                  <c:v>0.06</c:v>
                </c:pt>
                <c:pt idx="688">
                  <c:v>0.2</c:v>
                </c:pt>
                <c:pt idx="689">
                  <c:v>0.05</c:v>
                </c:pt>
                <c:pt idx="690">
                  <c:v>0.05</c:v>
                </c:pt>
                <c:pt idx="691">
                  <c:v>0.01</c:v>
                </c:pt>
                <c:pt idx="692">
                  <c:v>0.05</c:v>
                </c:pt>
                <c:pt idx="693">
                  <c:v>0.09</c:v>
                </c:pt>
                <c:pt idx="694">
                  <c:v>0.02</c:v>
                </c:pt>
                <c:pt idx="695">
                  <c:v>0.04</c:v>
                </c:pt>
                <c:pt idx="696">
                  <c:v>0.02</c:v>
                </c:pt>
                <c:pt idx="697">
                  <c:v>0.06</c:v>
                </c:pt>
                <c:pt idx="698">
                  <c:v>0.01</c:v>
                </c:pt>
                <c:pt idx="699">
                  <c:v>0.06</c:v>
                </c:pt>
                <c:pt idx="700">
                  <c:v>0.04</c:v>
                </c:pt>
                <c:pt idx="701">
                  <c:v>0.04</c:v>
                </c:pt>
                <c:pt idx="702">
                  <c:v>0.32</c:v>
                </c:pt>
                <c:pt idx="703">
                  <c:v>0.01</c:v>
                </c:pt>
                <c:pt idx="704">
                  <c:v>0.03</c:v>
                </c:pt>
                <c:pt idx="705">
                  <c:v>0.02</c:v>
                </c:pt>
                <c:pt idx="706">
                  <c:v>0.01</c:v>
                </c:pt>
                <c:pt idx="707">
                  <c:v>0.02</c:v>
                </c:pt>
                <c:pt idx="708">
                  <c:v>0.03</c:v>
                </c:pt>
                <c:pt idx="709">
                  <c:v>0.09</c:v>
                </c:pt>
                <c:pt idx="710">
                  <c:v>0.05</c:v>
                </c:pt>
                <c:pt idx="711">
                  <c:v>0.01</c:v>
                </c:pt>
                <c:pt idx="712">
                  <c:v>0.02</c:v>
                </c:pt>
                <c:pt idx="713">
                  <c:v>0.04</c:v>
                </c:pt>
                <c:pt idx="714">
                  <c:v>0.06</c:v>
                </c:pt>
                <c:pt idx="715">
                  <c:v>0.03</c:v>
                </c:pt>
                <c:pt idx="716">
                  <c:v>0.03</c:v>
                </c:pt>
                <c:pt idx="717">
                  <c:v>0.01</c:v>
                </c:pt>
                <c:pt idx="718">
                  <c:v>0.03</c:v>
                </c:pt>
                <c:pt idx="719">
                  <c:v>0.01</c:v>
                </c:pt>
                <c:pt idx="720">
                  <c:v>0.03</c:v>
                </c:pt>
                <c:pt idx="721">
                  <c:v>0.19</c:v>
                </c:pt>
                <c:pt idx="722">
                  <c:v>7.0000000000000007E-2</c:v>
                </c:pt>
                <c:pt idx="723">
                  <c:v>0.38</c:v>
                </c:pt>
                <c:pt idx="724">
                  <c:v>0.04</c:v>
                </c:pt>
                <c:pt idx="725">
                  <c:v>0.05</c:v>
                </c:pt>
                <c:pt idx="726">
                  <c:v>0.02</c:v>
                </c:pt>
                <c:pt idx="727">
                  <c:v>0.01</c:v>
                </c:pt>
                <c:pt idx="728">
                  <c:v>0.02</c:v>
                </c:pt>
                <c:pt idx="729">
                  <c:v>0.03</c:v>
                </c:pt>
                <c:pt idx="730">
                  <c:v>0.25</c:v>
                </c:pt>
                <c:pt idx="731">
                  <c:v>0.04</c:v>
                </c:pt>
                <c:pt idx="732">
                  <c:v>0.04</c:v>
                </c:pt>
                <c:pt idx="733">
                  <c:v>0.01</c:v>
                </c:pt>
                <c:pt idx="734">
                  <c:v>0.03</c:v>
                </c:pt>
                <c:pt idx="735">
                  <c:v>0.02</c:v>
                </c:pt>
                <c:pt idx="736">
                  <c:v>0.19</c:v>
                </c:pt>
                <c:pt idx="737">
                  <c:v>0.01</c:v>
                </c:pt>
                <c:pt idx="738">
                  <c:v>0.02</c:v>
                </c:pt>
                <c:pt idx="739">
                  <c:v>0.03</c:v>
                </c:pt>
                <c:pt idx="740">
                  <c:v>0.01</c:v>
                </c:pt>
                <c:pt idx="741">
                  <c:v>0.02</c:v>
                </c:pt>
                <c:pt idx="742">
                  <c:v>0.01</c:v>
                </c:pt>
                <c:pt idx="743">
                  <c:v>0.05</c:v>
                </c:pt>
                <c:pt idx="744">
                  <c:v>0.02</c:v>
                </c:pt>
                <c:pt idx="745">
                  <c:v>0.05</c:v>
                </c:pt>
                <c:pt idx="746">
                  <c:v>0.01</c:v>
                </c:pt>
                <c:pt idx="747">
                  <c:v>0.01</c:v>
                </c:pt>
                <c:pt idx="748">
                  <c:v>0.01</c:v>
                </c:pt>
                <c:pt idx="749">
                  <c:v>0.01</c:v>
                </c:pt>
                <c:pt idx="750">
                  <c:v>0.01</c:v>
                </c:pt>
                <c:pt idx="751">
                  <c:v>0.02</c:v>
                </c:pt>
                <c:pt idx="752">
                  <c:v>0.01</c:v>
                </c:pt>
                <c:pt idx="753">
                  <c:v>0.03</c:v>
                </c:pt>
                <c:pt idx="754">
                  <c:v>0.02</c:v>
                </c:pt>
                <c:pt idx="755">
                  <c:v>0.01</c:v>
                </c:pt>
                <c:pt idx="756">
                  <c:v>0.01</c:v>
                </c:pt>
                <c:pt idx="757">
                  <c:v>0.04</c:v>
                </c:pt>
                <c:pt idx="758">
                  <c:v>0.04</c:v>
                </c:pt>
                <c:pt idx="759">
                  <c:v>0.05</c:v>
                </c:pt>
                <c:pt idx="760">
                  <c:v>0.01</c:v>
                </c:pt>
                <c:pt idx="761">
                  <c:v>0.01</c:v>
                </c:pt>
                <c:pt idx="762">
                  <c:v>0.15</c:v>
                </c:pt>
                <c:pt idx="763">
                  <c:v>0.04</c:v>
                </c:pt>
                <c:pt idx="764">
                  <c:v>0.01</c:v>
                </c:pt>
                <c:pt idx="765">
                  <c:v>0.01</c:v>
                </c:pt>
                <c:pt idx="766">
                  <c:v>0.01</c:v>
                </c:pt>
                <c:pt idx="767">
                  <c:v>0.01</c:v>
                </c:pt>
                <c:pt idx="768">
                  <c:v>0.01</c:v>
                </c:pt>
                <c:pt idx="769">
                  <c:v>0.01</c:v>
                </c:pt>
                <c:pt idx="770">
                  <c:v>0.02</c:v>
                </c:pt>
                <c:pt idx="771">
                  <c:v>0.05</c:v>
                </c:pt>
                <c:pt idx="772">
                  <c:v>0.01</c:v>
                </c:pt>
                <c:pt idx="773">
                  <c:v>0.01</c:v>
                </c:pt>
                <c:pt idx="774">
                  <c:v>0.11</c:v>
                </c:pt>
                <c:pt idx="775">
                  <c:v>0.01</c:v>
                </c:pt>
                <c:pt idx="776">
                  <c:v>0.03</c:v>
                </c:pt>
                <c:pt idx="777">
                  <c:v>0.02</c:v>
                </c:pt>
                <c:pt idx="778">
                  <c:v>0.02</c:v>
                </c:pt>
                <c:pt idx="779">
                  <c:v>0.04</c:v>
                </c:pt>
                <c:pt idx="780">
                  <c:v>0.01</c:v>
                </c:pt>
                <c:pt idx="781">
                  <c:v>0.01</c:v>
                </c:pt>
                <c:pt idx="782">
                  <c:v>0.01</c:v>
                </c:pt>
                <c:pt idx="783">
                  <c:v>0.02</c:v>
                </c:pt>
                <c:pt idx="784">
                  <c:v>0.02</c:v>
                </c:pt>
                <c:pt idx="785">
                  <c:v>0.04</c:v>
                </c:pt>
                <c:pt idx="786">
                  <c:v>0.02</c:v>
                </c:pt>
                <c:pt idx="787">
                  <c:v>0.01</c:v>
                </c:pt>
                <c:pt idx="788">
                  <c:v>0.02</c:v>
                </c:pt>
                <c:pt idx="789">
                  <c:v>0.01</c:v>
                </c:pt>
                <c:pt idx="790">
                  <c:v>0.01</c:v>
                </c:pt>
                <c:pt idx="791">
                  <c:v>0.02</c:v>
                </c:pt>
                <c:pt idx="792">
                  <c:v>0.02</c:v>
                </c:pt>
                <c:pt idx="793">
                  <c:v>0.01</c:v>
                </c:pt>
                <c:pt idx="794">
                  <c:v>0.02</c:v>
                </c:pt>
                <c:pt idx="795">
                  <c:v>0.03</c:v>
                </c:pt>
                <c:pt idx="796">
                  <c:v>0.01</c:v>
                </c:pt>
                <c:pt idx="797">
                  <c:v>0.04</c:v>
                </c:pt>
                <c:pt idx="798">
                  <c:v>0.01</c:v>
                </c:pt>
                <c:pt idx="799">
                  <c:v>0.01</c:v>
                </c:pt>
                <c:pt idx="800">
                  <c:v>0.02</c:v>
                </c:pt>
                <c:pt idx="801">
                  <c:v>0.02</c:v>
                </c:pt>
                <c:pt idx="802">
                  <c:v>0.01</c:v>
                </c:pt>
                <c:pt idx="803">
                  <c:v>0.03</c:v>
                </c:pt>
                <c:pt idx="804">
                  <c:v>0.01</c:v>
                </c:pt>
                <c:pt idx="805">
                  <c:v>0.02</c:v>
                </c:pt>
                <c:pt idx="806">
                  <c:v>0.01</c:v>
                </c:pt>
                <c:pt idx="807">
                  <c:v>0.02</c:v>
                </c:pt>
                <c:pt idx="808">
                  <c:v>0.06</c:v>
                </c:pt>
                <c:pt idx="809">
                  <c:v>0.01</c:v>
                </c:pt>
                <c:pt idx="810">
                  <c:v>0.02</c:v>
                </c:pt>
                <c:pt idx="811">
                  <c:v>0.01</c:v>
                </c:pt>
                <c:pt idx="812">
                  <c:v>0.01</c:v>
                </c:pt>
                <c:pt idx="813">
                  <c:v>0.01</c:v>
                </c:pt>
                <c:pt idx="814">
                  <c:v>0.03</c:v>
                </c:pt>
                <c:pt idx="815">
                  <c:v>0.05</c:v>
                </c:pt>
                <c:pt idx="816">
                  <c:v>0.01</c:v>
                </c:pt>
                <c:pt idx="817">
                  <c:v>0.04</c:v>
                </c:pt>
                <c:pt idx="818">
                  <c:v>0.03</c:v>
                </c:pt>
                <c:pt idx="819">
                  <c:v>0.01</c:v>
                </c:pt>
                <c:pt idx="820">
                  <c:v>0.01</c:v>
                </c:pt>
                <c:pt idx="821">
                  <c:v>0.01</c:v>
                </c:pt>
                <c:pt idx="822">
                  <c:v>0.01</c:v>
                </c:pt>
                <c:pt idx="823">
                  <c:v>0.01</c:v>
                </c:pt>
                <c:pt idx="824">
                  <c:v>0.09</c:v>
                </c:pt>
                <c:pt idx="825">
                  <c:v>0.01</c:v>
                </c:pt>
                <c:pt idx="826">
                  <c:v>0.01</c:v>
                </c:pt>
                <c:pt idx="827">
                  <c:v>0.01</c:v>
                </c:pt>
                <c:pt idx="828">
                  <c:v>0.01</c:v>
                </c:pt>
                <c:pt idx="829">
                  <c:v>0.01</c:v>
                </c:pt>
                <c:pt idx="830">
                  <c:v>0.03</c:v>
                </c:pt>
                <c:pt idx="831">
                  <c:v>0.01</c:v>
                </c:pt>
                <c:pt idx="832">
                  <c:v>0.01</c:v>
                </c:pt>
                <c:pt idx="833">
                  <c:v>0.01</c:v>
                </c:pt>
                <c:pt idx="834">
                  <c:v>0.01</c:v>
                </c:pt>
                <c:pt idx="835">
                  <c:v>0.01</c:v>
                </c:pt>
                <c:pt idx="836">
                  <c:v>0.01</c:v>
                </c:pt>
                <c:pt idx="837">
                  <c:v>0.14000000000000001</c:v>
                </c:pt>
                <c:pt idx="838">
                  <c:v>0.01</c:v>
                </c:pt>
                <c:pt idx="839">
                  <c:v>0.01</c:v>
                </c:pt>
                <c:pt idx="840">
                  <c:v>0.01</c:v>
                </c:pt>
                <c:pt idx="841">
                  <c:v>0.03</c:v>
                </c:pt>
                <c:pt idx="842">
                  <c:v>0.01</c:v>
                </c:pt>
                <c:pt idx="843">
                  <c:v>0.03</c:v>
                </c:pt>
                <c:pt idx="844">
                  <c:v>0.01</c:v>
                </c:pt>
                <c:pt idx="845">
                  <c:v>0.02</c:v>
                </c:pt>
                <c:pt idx="846">
                  <c:v>0.02</c:v>
                </c:pt>
                <c:pt idx="847">
                  <c:v>0.01</c:v>
                </c:pt>
                <c:pt idx="848">
                  <c:v>0.01</c:v>
                </c:pt>
                <c:pt idx="849">
                  <c:v>0.02</c:v>
                </c:pt>
                <c:pt idx="850">
                  <c:v>0.02</c:v>
                </c:pt>
                <c:pt idx="851">
                  <c:v>0.09</c:v>
                </c:pt>
                <c:pt idx="852">
                  <c:v>0.09</c:v>
                </c:pt>
                <c:pt idx="853">
                  <c:v>0.01</c:v>
                </c:pt>
                <c:pt idx="854">
                  <c:v>0.01</c:v>
                </c:pt>
                <c:pt idx="855">
                  <c:v>0.01</c:v>
                </c:pt>
                <c:pt idx="856">
                  <c:v>0.01</c:v>
                </c:pt>
                <c:pt idx="857">
                  <c:v>0.01</c:v>
                </c:pt>
                <c:pt idx="858">
                  <c:v>0.01</c:v>
                </c:pt>
                <c:pt idx="859">
                  <c:v>0.01</c:v>
                </c:pt>
                <c:pt idx="860">
                  <c:v>0.01</c:v>
                </c:pt>
                <c:pt idx="861">
                  <c:v>0.01</c:v>
                </c:pt>
                <c:pt idx="862">
                  <c:v>0.01</c:v>
                </c:pt>
                <c:pt idx="863">
                  <c:v>0.01</c:v>
                </c:pt>
                <c:pt idx="864">
                  <c:v>0.03</c:v>
                </c:pt>
                <c:pt idx="865">
                  <c:v>0.01</c:v>
                </c:pt>
                <c:pt idx="866">
                  <c:v>0.02</c:v>
                </c:pt>
                <c:pt idx="867">
                  <c:v>0.01</c:v>
                </c:pt>
                <c:pt idx="868">
                  <c:v>0.02</c:v>
                </c:pt>
                <c:pt idx="869">
                  <c:v>7.0000000000000007E-2</c:v>
                </c:pt>
                <c:pt idx="870">
                  <c:v>0.1</c:v>
                </c:pt>
                <c:pt idx="871">
                  <c:v>0.08</c:v>
                </c:pt>
                <c:pt idx="872">
                  <c:v>0.01</c:v>
                </c:pt>
                <c:pt idx="873">
                  <c:v>0.11</c:v>
                </c:pt>
                <c:pt idx="874">
                  <c:v>0.01</c:v>
                </c:pt>
                <c:pt idx="875">
                  <c:v>0.01</c:v>
                </c:pt>
                <c:pt idx="876">
                  <c:v>0.01</c:v>
                </c:pt>
                <c:pt idx="877">
                  <c:v>0.01</c:v>
                </c:pt>
                <c:pt idx="878">
                  <c:v>0.01</c:v>
                </c:pt>
                <c:pt idx="879">
                  <c:v>0.01</c:v>
                </c:pt>
                <c:pt idx="880">
                  <c:v>0.01</c:v>
                </c:pt>
                <c:pt idx="881">
                  <c:v>0.02</c:v>
                </c:pt>
                <c:pt idx="882">
                  <c:v>0.01</c:v>
                </c:pt>
                <c:pt idx="883">
                  <c:v>0.01</c:v>
                </c:pt>
                <c:pt idx="884">
                  <c:v>0.01</c:v>
                </c:pt>
                <c:pt idx="885">
                  <c:v>0.08</c:v>
                </c:pt>
                <c:pt idx="886">
                  <c:v>0.01</c:v>
                </c:pt>
                <c:pt idx="887">
                  <c:v>0.01</c:v>
                </c:pt>
                <c:pt idx="888">
                  <c:v>0.04</c:v>
                </c:pt>
                <c:pt idx="889">
                  <c:v>0.02</c:v>
                </c:pt>
                <c:pt idx="890">
                  <c:v>0.01</c:v>
                </c:pt>
                <c:pt idx="891">
                  <c:v>0.01</c:v>
                </c:pt>
                <c:pt idx="892">
                  <c:v>0.01</c:v>
                </c:pt>
                <c:pt idx="893">
                  <c:v>0.01</c:v>
                </c:pt>
                <c:pt idx="894">
                  <c:v>0.12</c:v>
                </c:pt>
                <c:pt idx="895">
                  <c:v>0.02</c:v>
                </c:pt>
                <c:pt idx="896">
                  <c:v>0.02</c:v>
                </c:pt>
                <c:pt idx="897">
                  <c:v>0.01</c:v>
                </c:pt>
                <c:pt idx="898">
                  <c:v>0.01</c:v>
                </c:pt>
                <c:pt idx="899">
                  <c:v>0.01</c:v>
                </c:pt>
                <c:pt idx="900">
                  <c:v>0.01</c:v>
                </c:pt>
                <c:pt idx="901">
                  <c:v>0.01</c:v>
                </c:pt>
                <c:pt idx="902">
                  <c:v>0.01</c:v>
                </c:pt>
                <c:pt idx="903">
                  <c:v>0.02</c:v>
                </c:pt>
                <c:pt idx="904">
                  <c:v>0.02</c:v>
                </c:pt>
                <c:pt idx="905">
                  <c:v>0.05</c:v>
                </c:pt>
                <c:pt idx="906">
                  <c:v>0.01</c:v>
                </c:pt>
                <c:pt idx="907">
                  <c:v>0.01</c:v>
                </c:pt>
                <c:pt idx="908">
                  <c:v>0.02</c:v>
                </c:pt>
                <c:pt idx="909">
                  <c:v>0.01</c:v>
                </c:pt>
                <c:pt idx="910">
                  <c:v>0.01</c:v>
                </c:pt>
                <c:pt idx="911">
                  <c:v>0.01</c:v>
                </c:pt>
                <c:pt idx="912">
                  <c:v>0.01</c:v>
                </c:pt>
                <c:pt idx="913">
                  <c:v>0.01</c:v>
                </c:pt>
                <c:pt idx="914">
                  <c:v>0.01</c:v>
                </c:pt>
                <c:pt idx="91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9DD8-499E-8091-3E3A56EDFAAE}"/>
              </c:ext>
            </c:extLst>
          </c:dPt>
          <c:dPt>
            <c:idx val="211"/>
            <c:invertIfNegative val="1"/>
            <c:bubble3D val="0"/>
            <c:spPr>
              <a:solidFill>
                <a:srgbClr val="7ECAC4"/>
              </a:solidFill>
            </c:spPr>
            <c:extLst>
              <c:ext xmlns:c16="http://schemas.microsoft.com/office/drawing/2014/chart" uri="{C3380CC4-5D6E-409C-BE32-E72D297353CC}">
                <c16:uniqueId val="{000001A9-9DD8-499E-8091-3E3A56EDFAAE}"/>
              </c:ext>
            </c:extLst>
          </c:dPt>
          <c:dPt>
            <c:idx val="212"/>
            <c:invertIfNegative val="1"/>
            <c:bubble3D val="0"/>
            <c:spPr>
              <a:solidFill>
                <a:srgbClr val="7ECAC4"/>
              </a:solidFill>
            </c:spPr>
            <c:extLst>
              <c:ext xmlns:c16="http://schemas.microsoft.com/office/drawing/2014/chart" uri="{C3380CC4-5D6E-409C-BE32-E72D297353CC}">
                <c16:uniqueId val="{000001AB-9DD8-499E-8091-3E3A56EDFAAE}"/>
              </c:ext>
            </c:extLst>
          </c:dPt>
          <c:dPt>
            <c:idx val="213"/>
            <c:invertIfNegative val="1"/>
            <c:bubble3D val="0"/>
            <c:spPr>
              <a:solidFill>
                <a:srgbClr val="7ECAC4"/>
              </a:solidFill>
            </c:spPr>
            <c:extLst>
              <c:ext xmlns:c16="http://schemas.microsoft.com/office/drawing/2014/chart" uri="{C3380CC4-5D6E-409C-BE32-E72D297353CC}">
                <c16:uniqueId val="{000001AD-9DD8-499E-8091-3E3A56EDFAAE}"/>
              </c:ext>
            </c:extLst>
          </c:dPt>
          <c:dPt>
            <c:idx val="214"/>
            <c:invertIfNegative val="1"/>
            <c:bubble3D val="0"/>
            <c:spPr>
              <a:solidFill>
                <a:srgbClr val="7ECAC4"/>
              </a:solidFill>
            </c:spPr>
            <c:extLst>
              <c:ext xmlns:c16="http://schemas.microsoft.com/office/drawing/2014/chart" uri="{C3380CC4-5D6E-409C-BE32-E72D297353CC}">
                <c16:uniqueId val="{000001AF-9DD8-499E-8091-3E3A56EDFAAE}"/>
              </c:ext>
            </c:extLst>
          </c:dPt>
          <c:dPt>
            <c:idx val="215"/>
            <c:invertIfNegative val="1"/>
            <c:bubble3D val="0"/>
            <c:spPr>
              <a:solidFill>
                <a:srgbClr val="7ECAC4"/>
              </a:solidFill>
            </c:spPr>
            <c:extLst>
              <c:ext xmlns:c16="http://schemas.microsoft.com/office/drawing/2014/chart" uri="{C3380CC4-5D6E-409C-BE32-E72D297353CC}">
                <c16:uniqueId val="{000001B1-9DD8-499E-8091-3E3A56EDFAAE}"/>
              </c:ext>
            </c:extLst>
          </c:dPt>
          <c:dPt>
            <c:idx val="216"/>
            <c:invertIfNegative val="1"/>
            <c:bubble3D val="0"/>
            <c:spPr>
              <a:solidFill>
                <a:srgbClr val="7ECAC4"/>
              </a:solidFill>
            </c:spPr>
            <c:extLst>
              <c:ext xmlns:c16="http://schemas.microsoft.com/office/drawing/2014/chart" uri="{C3380CC4-5D6E-409C-BE32-E72D297353CC}">
                <c16:uniqueId val="{000001B3-9DD8-499E-8091-3E3A56EDFAAE}"/>
              </c:ext>
            </c:extLst>
          </c:dPt>
          <c:dPt>
            <c:idx val="217"/>
            <c:invertIfNegative val="1"/>
            <c:bubble3D val="0"/>
            <c:spPr>
              <a:solidFill>
                <a:srgbClr val="7ECAC4"/>
              </a:solidFill>
            </c:spPr>
            <c:extLst>
              <c:ext xmlns:c16="http://schemas.microsoft.com/office/drawing/2014/chart" uri="{C3380CC4-5D6E-409C-BE32-E72D297353CC}">
                <c16:uniqueId val="{000001B5-9DD8-499E-8091-3E3A56EDFAAE}"/>
              </c:ext>
            </c:extLst>
          </c:dPt>
          <c:dPt>
            <c:idx val="218"/>
            <c:invertIfNegative val="1"/>
            <c:bubble3D val="0"/>
            <c:spPr>
              <a:solidFill>
                <a:srgbClr val="7ECAC4"/>
              </a:solidFill>
            </c:spPr>
            <c:extLst>
              <c:ext xmlns:c16="http://schemas.microsoft.com/office/drawing/2014/chart" uri="{C3380CC4-5D6E-409C-BE32-E72D297353CC}">
                <c16:uniqueId val="{000001B7-9DD8-499E-8091-3E3A56EDFAAE}"/>
              </c:ext>
            </c:extLst>
          </c:dPt>
          <c:dPt>
            <c:idx val="219"/>
            <c:invertIfNegative val="1"/>
            <c:bubble3D val="0"/>
            <c:spPr>
              <a:solidFill>
                <a:srgbClr val="7ECAC4"/>
              </a:solidFill>
            </c:spPr>
            <c:extLst>
              <c:ext xmlns:c16="http://schemas.microsoft.com/office/drawing/2014/chart" uri="{C3380CC4-5D6E-409C-BE32-E72D297353CC}">
                <c16:uniqueId val="{000001B9-9DD8-499E-8091-3E3A56EDFAAE}"/>
              </c:ext>
            </c:extLst>
          </c:dPt>
          <c:dPt>
            <c:idx val="220"/>
            <c:invertIfNegative val="1"/>
            <c:bubble3D val="0"/>
            <c:spPr>
              <a:solidFill>
                <a:srgbClr val="7ECAC4"/>
              </a:solidFill>
            </c:spPr>
            <c:extLst>
              <c:ext xmlns:c16="http://schemas.microsoft.com/office/drawing/2014/chart" uri="{C3380CC4-5D6E-409C-BE32-E72D297353CC}">
                <c16:uniqueId val="{000001BB-9DD8-499E-8091-3E3A56EDFAAE}"/>
              </c:ext>
            </c:extLst>
          </c:dPt>
          <c:dPt>
            <c:idx val="221"/>
            <c:invertIfNegative val="1"/>
            <c:bubble3D val="0"/>
            <c:spPr>
              <a:solidFill>
                <a:srgbClr val="7ECAC4"/>
              </a:solidFill>
            </c:spPr>
            <c:extLst>
              <c:ext xmlns:c16="http://schemas.microsoft.com/office/drawing/2014/chart" uri="{C3380CC4-5D6E-409C-BE32-E72D297353CC}">
                <c16:uniqueId val="{000001BD-9DD8-499E-8091-3E3A56EDFAAE}"/>
              </c:ext>
            </c:extLst>
          </c:dPt>
          <c:dPt>
            <c:idx val="222"/>
            <c:invertIfNegative val="1"/>
            <c:bubble3D val="0"/>
            <c:spPr>
              <a:solidFill>
                <a:srgbClr val="7ECAC4"/>
              </a:solidFill>
            </c:spPr>
            <c:extLst>
              <c:ext xmlns:c16="http://schemas.microsoft.com/office/drawing/2014/chart" uri="{C3380CC4-5D6E-409C-BE32-E72D297353CC}">
                <c16:uniqueId val="{000001BF-9DD8-499E-8091-3E3A56EDFAAE}"/>
              </c:ext>
            </c:extLst>
          </c:dPt>
          <c:dPt>
            <c:idx val="223"/>
            <c:invertIfNegative val="1"/>
            <c:bubble3D val="0"/>
            <c:spPr>
              <a:solidFill>
                <a:srgbClr val="7ECAC4"/>
              </a:solidFill>
            </c:spPr>
            <c:extLst>
              <c:ext xmlns:c16="http://schemas.microsoft.com/office/drawing/2014/chart" uri="{C3380CC4-5D6E-409C-BE32-E72D297353CC}">
                <c16:uniqueId val="{000001C1-9DD8-499E-8091-3E3A56EDFAAE}"/>
              </c:ext>
            </c:extLst>
          </c:dPt>
          <c:dPt>
            <c:idx val="224"/>
            <c:invertIfNegative val="1"/>
            <c:bubble3D val="0"/>
            <c:spPr>
              <a:solidFill>
                <a:srgbClr val="7ECAC4"/>
              </a:solidFill>
            </c:spPr>
            <c:extLst>
              <c:ext xmlns:c16="http://schemas.microsoft.com/office/drawing/2014/chart" uri="{C3380CC4-5D6E-409C-BE32-E72D297353CC}">
                <c16:uniqueId val="{000001C3-9DD8-499E-8091-3E3A56EDFAAE}"/>
              </c:ext>
            </c:extLst>
          </c:dPt>
          <c:dPt>
            <c:idx val="225"/>
            <c:invertIfNegative val="1"/>
            <c:bubble3D val="0"/>
            <c:spPr>
              <a:solidFill>
                <a:srgbClr val="7ECAC4"/>
              </a:solidFill>
            </c:spPr>
            <c:extLst>
              <c:ext xmlns:c16="http://schemas.microsoft.com/office/drawing/2014/chart" uri="{C3380CC4-5D6E-409C-BE32-E72D297353CC}">
                <c16:uniqueId val="{000001C5-9DD8-499E-8091-3E3A56EDFAAE}"/>
              </c:ext>
            </c:extLst>
          </c:dPt>
          <c:dPt>
            <c:idx val="226"/>
            <c:invertIfNegative val="1"/>
            <c:bubble3D val="0"/>
            <c:spPr>
              <a:solidFill>
                <a:srgbClr val="7ECAC4"/>
              </a:solidFill>
            </c:spPr>
            <c:extLst>
              <c:ext xmlns:c16="http://schemas.microsoft.com/office/drawing/2014/chart" uri="{C3380CC4-5D6E-409C-BE32-E72D297353CC}">
                <c16:uniqueId val="{000001C7-9DD8-499E-8091-3E3A56EDFAAE}"/>
              </c:ext>
            </c:extLst>
          </c:dPt>
          <c:dPt>
            <c:idx val="227"/>
            <c:invertIfNegative val="1"/>
            <c:bubble3D val="0"/>
            <c:spPr>
              <a:solidFill>
                <a:srgbClr val="7ECAC4"/>
              </a:solidFill>
            </c:spPr>
            <c:extLst>
              <c:ext xmlns:c16="http://schemas.microsoft.com/office/drawing/2014/chart" uri="{C3380CC4-5D6E-409C-BE32-E72D297353CC}">
                <c16:uniqueId val="{000001C9-9DD8-499E-8091-3E3A56EDFAAE}"/>
              </c:ext>
            </c:extLst>
          </c:dPt>
          <c:dPt>
            <c:idx val="228"/>
            <c:invertIfNegative val="1"/>
            <c:bubble3D val="0"/>
            <c:spPr>
              <a:solidFill>
                <a:srgbClr val="7ECAC4"/>
              </a:solidFill>
            </c:spPr>
            <c:extLst>
              <c:ext xmlns:c16="http://schemas.microsoft.com/office/drawing/2014/chart" uri="{C3380CC4-5D6E-409C-BE32-E72D297353CC}">
                <c16:uniqueId val="{000001CB-9DD8-499E-8091-3E3A56EDFAAE}"/>
              </c:ext>
            </c:extLst>
          </c:dPt>
          <c:dPt>
            <c:idx val="229"/>
            <c:invertIfNegative val="1"/>
            <c:bubble3D val="0"/>
            <c:spPr>
              <a:solidFill>
                <a:srgbClr val="7ECAC4"/>
              </a:solidFill>
            </c:spPr>
            <c:extLst>
              <c:ext xmlns:c16="http://schemas.microsoft.com/office/drawing/2014/chart" uri="{C3380CC4-5D6E-409C-BE32-E72D297353CC}">
                <c16:uniqueId val="{000001CD-9DD8-499E-8091-3E3A56EDFAAE}"/>
              </c:ext>
            </c:extLst>
          </c:dPt>
          <c:dPt>
            <c:idx val="230"/>
            <c:invertIfNegative val="1"/>
            <c:bubble3D val="0"/>
            <c:spPr>
              <a:solidFill>
                <a:srgbClr val="7ECAC4"/>
              </a:solidFill>
            </c:spPr>
            <c:extLst>
              <c:ext xmlns:c16="http://schemas.microsoft.com/office/drawing/2014/chart" uri="{C3380CC4-5D6E-409C-BE32-E72D297353CC}">
                <c16:uniqueId val="{000001CF-9DD8-499E-8091-3E3A56EDFAAE}"/>
              </c:ext>
            </c:extLst>
          </c:dPt>
          <c:dPt>
            <c:idx val="231"/>
            <c:invertIfNegative val="1"/>
            <c:bubble3D val="0"/>
            <c:spPr>
              <a:solidFill>
                <a:srgbClr val="7ECAC4"/>
              </a:solidFill>
            </c:spPr>
            <c:extLst>
              <c:ext xmlns:c16="http://schemas.microsoft.com/office/drawing/2014/chart" uri="{C3380CC4-5D6E-409C-BE32-E72D297353CC}">
                <c16:uniqueId val="{000001D1-9DD8-499E-8091-3E3A56EDFAAE}"/>
              </c:ext>
            </c:extLst>
          </c:dPt>
          <c:dPt>
            <c:idx val="232"/>
            <c:invertIfNegative val="1"/>
            <c:bubble3D val="0"/>
            <c:spPr>
              <a:solidFill>
                <a:srgbClr val="7ECAC4"/>
              </a:solidFill>
            </c:spPr>
            <c:extLst>
              <c:ext xmlns:c16="http://schemas.microsoft.com/office/drawing/2014/chart" uri="{C3380CC4-5D6E-409C-BE32-E72D297353CC}">
                <c16:uniqueId val="{000001D3-9DD8-499E-8091-3E3A56EDFAAE}"/>
              </c:ext>
            </c:extLst>
          </c:dPt>
          <c:dPt>
            <c:idx val="233"/>
            <c:invertIfNegative val="1"/>
            <c:bubble3D val="0"/>
            <c:spPr>
              <a:solidFill>
                <a:srgbClr val="7ECAC4"/>
              </a:solidFill>
            </c:spPr>
            <c:extLst>
              <c:ext xmlns:c16="http://schemas.microsoft.com/office/drawing/2014/chart" uri="{C3380CC4-5D6E-409C-BE32-E72D297353CC}">
                <c16:uniqueId val="{000001D5-9DD8-499E-8091-3E3A56EDFAAE}"/>
              </c:ext>
            </c:extLst>
          </c:dPt>
          <c:dPt>
            <c:idx val="234"/>
            <c:invertIfNegative val="1"/>
            <c:bubble3D val="0"/>
            <c:spPr>
              <a:solidFill>
                <a:srgbClr val="7ECAC4"/>
              </a:solidFill>
            </c:spPr>
            <c:extLst>
              <c:ext xmlns:c16="http://schemas.microsoft.com/office/drawing/2014/chart" uri="{C3380CC4-5D6E-409C-BE32-E72D297353CC}">
                <c16:uniqueId val="{000001D7-9DD8-499E-8091-3E3A56EDFAAE}"/>
              </c:ext>
            </c:extLst>
          </c:dPt>
          <c:dPt>
            <c:idx val="235"/>
            <c:invertIfNegative val="1"/>
            <c:bubble3D val="0"/>
            <c:spPr>
              <a:solidFill>
                <a:srgbClr val="7ECAC4"/>
              </a:solidFill>
            </c:spPr>
            <c:extLst>
              <c:ext xmlns:c16="http://schemas.microsoft.com/office/drawing/2014/chart" uri="{C3380CC4-5D6E-409C-BE32-E72D297353CC}">
                <c16:uniqueId val="{000001D9-9DD8-499E-8091-3E3A56EDFAAE}"/>
              </c:ext>
            </c:extLst>
          </c:dPt>
          <c:dPt>
            <c:idx val="236"/>
            <c:invertIfNegative val="1"/>
            <c:bubble3D val="0"/>
            <c:spPr>
              <a:solidFill>
                <a:srgbClr val="7ECAC4"/>
              </a:solidFill>
            </c:spPr>
            <c:extLst>
              <c:ext xmlns:c16="http://schemas.microsoft.com/office/drawing/2014/chart" uri="{C3380CC4-5D6E-409C-BE32-E72D297353CC}">
                <c16:uniqueId val="{000001DB-9DD8-499E-8091-3E3A56EDFAAE}"/>
              </c:ext>
            </c:extLst>
          </c:dPt>
          <c:dPt>
            <c:idx val="237"/>
            <c:invertIfNegative val="1"/>
            <c:bubble3D val="0"/>
            <c:spPr>
              <a:solidFill>
                <a:srgbClr val="7ECAC4"/>
              </a:solidFill>
            </c:spPr>
            <c:extLst>
              <c:ext xmlns:c16="http://schemas.microsoft.com/office/drawing/2014/chart" uri="{C3380CC4-5D6E-409C-BE32-E72D297353CC}">
                <c16:uniqueId val="{000001DD-9DD8-499E-8091-3E3A56EDFAAE}"/>
              </c:ext>
            </c:extLst>
          </c:dPt>
          <c:dPt>
            <c:idx val="238"/>
            <c:invertIfNegative val="1"/>
            <c:bubble3D val="0"/>
            <c:spPr>
              <a:solidFill>
                <a:srgbClr val="7ECAC4"/>
              </a:solidFill>
            </c:spPr>
            <c:extLst>
              <c:ext xmlns:c16="http://schemas.microsoft.com/office/drawing/2014/chart" uri="{C3380CC4-5D6E-409C-BE32-E72D297353CC}">
                <c16:uniqueId val="{000001DF-9DD8-499E-8091-3E3A56EDFAAE}"/>
              </c:ext>
            </c:extLst>
          </c:dPt>
          <c:dPt>
            <c:idx val="239"/>
            <c:invertIfNegative val="1"/>
            <c:bubble3D val="0"/>
            <c:spPr>
              <a:solidFill>
                <a:srgbClr val="7ECAC4"/>
              </a:solidFill>
            </c:spPr>
            <c:extLst>
              <c:ext xmlns:c16="http://schemas.microsoft.com/office/drawing/2014/chart" uri="{C3380CC4-5D6E-409C-BE32-E72D297353CC}">
                <c16:uniqueId val="{000001E1-9DD8-499E-8091-3E3A56EDFAAE}"/>
              </c:ext>
            </c:extLst>
          </c:dPt>
          <c:dPt>
            <c:idx val="240"/>
            <c:invertIfNegative val="1"/>
            <c:bubble3D val="0"/>
            <c:spPr>
              <a:solidFill>
                <a:srgbClr val="7ECAC4"/>
              </a:solidFill>
            </c:spPr>
            <c:extLst>
              <c:ext xmlns:c16="http://schemas.microsoft.com/office/drawing/2014/chart" uri="{C3380CC4-5D6E-409C-BE32-E72D297353CC}">
                <c16:uniqueId val="{000001E3-9DD8-499E-8091-3E3A56EDFAAE}"/>
              </c:ext>
            </c:extLst>
          </c:dPt>
          <c:dPt>
            <c:idx val="241"/>
            <c:invertIfNegative val="1"/>
            <c:bubble3D val="0"/>
            <c:spPr>
              <a:solidFill>
                <a:srgbClr val="7ECAC4"/>
              </a:solidFill>
            </c:spPr>
            <c:extLst>
              <c:ext xmlns:c16="http://schemas.microsoft.com/office/drawing/2014/chart" uri="{C3380CC4-5D6E-409C-BE32-E72D297353CC}">
                <c16:uniqueId val="{000001E5-9DD8-499E-8091-3E3A56EDFAAE}"/>
              </c:ext>
            </c:extLst>
          </c:dPt>
          <c:dPt>
            <c:idx val="242"/>
            <c:invertIfNegative val="1"/>
            <c:bubble3D val="0"/>
            <c:spPr>
              <a:solidFill>
                <a:srgbClr val="7ECAC4"/>
              </a:solidFill>
            </c:spPr>
            <c:extLst>
              <c:ext xmlns:c16="http://schemas.microsoft.com/office/drawing/2014/chart" uri="{C3380CC4-5D6E-409C-BE32-E72D297353CC}">
                <c16:uniqueId val="{000001E7-9DD8-499E-8091-3E3A56EDFAAE}"/>
              </c:ext>
            </c:extLst>
          </c:dPt>
          <c:dPt>
            <c:idx val="243"/>
            <c:invertIfNegative val="1"/>
            <c:bubble3D val="0"/>
            <c:spPr>
              <a:solidFill>
                <a:srgbClr val="7ECAC4"/>
              </a:solidFill>
            </c:spPr>
            <c:extLst>
              <c:ext xmlns:c16="http://schemas.microsoft.com/office/drawing/2014/chart" uri="{C3380CC4-5D6E-409C-BE32-E72D297353CC}">
                <c16:uniqueId val="{000001E9-9DD8-499E-8091-3E3A56EDFAAE}"/>
              </c:ext>
            </c:extLst>
          </c:dPt>
          <c:dPt>
            <c:idx val="244"/>
            <c:invertIfNegative val="1"/>
            <c:bubble3D val="0"/>
            <c:spPr>
              <a:solidFill>
                <a:srgbClr val="7ECAC4"/>
              </a:solidFill>
            </c:spPr>
            <c:extLst>
              <c:ext xmlns:c16="http://schemas.microsoft.com/office/drawing/2014/chart" uri="{C3380CC4-5D6E-409C-BE32-E72D297353CC}">
                <c16:uniqueId val="{000001EB-9DD8-499E-8091-3E3A56EDFAAE}"/>
              </c:ext>
            </c:extLst>
          </c:dPt>
          <c:dPt>
            <c:idx val="245"/>
            <c:invertIfNegative val="1"/>
            <c:bubble3D val="0"/>
            <c:spPr>
              <a:solidFill>
                <a:srgbClr val="7ECAC4"/>
              </a:solidFill>
            </c:spPr>
            <c:extLst>
              <c:ext xmlns:c16="http://schemas.microsoft.com/office/drawing/2014/chart" uri="{C3380CC4-5D6E-409C-BE32-E72D297353CC}">
                <c16:uniqueId val="{000001ED-9DD8-499E-8091-3E3A56EDFAAE}"/>
              </c:ext>
            </c:extLst>
          </c:dPt>
          <c:dPt>
            <c:idx val="246"/>
            <c:invertIfNegative val="1"/>
            <c:bubble3D val="0"/>
            <c:spPr>
              <a:solidFill>
                <a:srgbClr val="7ECAC4"/>
              </a:solidFill>
            </c:spPr>
            <c:extLst>
              <c:ext xmlns:c16="http://schemas.microsoft.com/office/drawing/2014/chart" uri="{C3380CC4-5D6E-409C-BE32-E72D297353CC}">
                <c16:uniqueId val="{000001EF-9DD8-499E-8091-3E3A56EDFAAE}"/>
              </c:ext>
            </c:extLst>
          </c:dPt>
          <c:dPt>
            <c:idx val="247"/>
            <c:invertIfNegative val="1"/>
            <c:bubble3D val="0"/>
            <c:spPr>
              <a:solidFill>
                <a:srgbClr val="7ECAC4"/>
              </a:solidFill>
            </c:spPr>
            <c:extLst>
              <c:ext xmlns:c16="http://schemas.microsoft.com/office/drawing/2014/chart" uri="{C3380CC4-5D6E-409C-BE32-E72D297353CC}">
                <c16:uniqueId val="{000001F1-9DD8-499E-8091-3E3A56EDFAAE}"/>
              </c:ext>
            </c:extLst>
          </c:dPt>
          <c:dPt>
            <c:idx val="248"/>
            <c:invertIfNegative val="1"/>
            <c:bubble3D val="0"/>
            <c:spPr>
              <a:solidFill>
                <a:srgbClr val="7ECAC4"/>
              </a:solidFill>
            </c:spPr>
            <c:extLst>
              <c:ext xmlns:c16="http://schemas.microsoft.com/office/drawing/2014/chart" uri="{C3380CC4-5D6E-409C-BE32-E72D297353CC}">
                <c16:uniqueId val="{000001F3-9DD8-499E-8091-3E3A56EDFAAE}"/>
              </c:ext>
            </c:extLst>
          </c:dPt>
          <c:dPt>
            <c:idx val="249"/>
            <c:invertIfNegative val="1"/>
            <c:bubble3D val="0"/>
            <c:spPr>
              <a:solidFill>
                <a:srgbClr val="7ECAC4"/>
              </a:solidFill>
            </c:spPr>
            <c:extLst>
              <c:ext xmlns:c16="http://schemas.microsoft.com/office/drawing/2014/chart" uri="{C3380CC4-5D6E-409C-BE32-E72D297353CC}">
                <c16:uniqueId val="{000001F5-9DD8-499E-8091-3E3A56EDFAAE}"/>
              </c:ext>
            </c:extLst>
          </c:dPt>
          <c:dPt>
            <c:idx val="250"/>
            <c:invertIfNegative val="1"/>
            <c:bubble3D val="0"/>
            <c:spPr>
              <a:solidFill>
                <a:srgbClr val="7ECAC4"/>
              </a:solidFill>
            </c:spPr>
            <c:extLst>
              <c:ext xmlns:c16="http://schemas.microsoft.com/office/drawing/2014/chart" uri="{C3380CC4-5D6E-409C-BE32-E72D297353CC}">
                <c16:uniqueId val="{000001F7-9DD8-499E-8091-3E3A56EDFAAE}"/>
              </c:ext>
            </c:extLst>
          </c:dPt>
          <c:dPt>
            <c:idx val="251"/>
            <c:invertIfNegative val="1"/>
            <c:bubble3D val="0"/>
            <c:spPr>
              <a:solidFill>
                <a:srgbClr val="7ECAC4"/>
              </a:solidFill>
            </c:spPr>
            <c:extLst>
              <c:ext xmlns:c16="http://schemas.microsoft.com/office/drawing/2014/chart" uri="{C3380CC4-5D6E-409C-BE32-E72D297353CC}">
                <c16:uniqueId val="{000001F9-9DD8-499E-8091-3E3A56EDFAAE}"/>
              </c:ext>
            </c:extLst>
          </c:dPt>
          <c:dPt>
            <c:idx val="252"/>
            <c:invertIfNegative val="1"/>
            <c:bubble3D val="0"/>
            <c:spPr>
              <a:solidFill>
                <a:srgbClr val="7ECAC4"/>
              </a:solidFill>
            </c:spPr>
            <c:extLst>
              <c:ext xmlns:c16="http://schemas.microsoft.com/office/drawing/2014/chart" uri="{C3380CC4-5D6E-409C-BE32-E72D297353CC}">
                <c16:uniqueId val="{000001FB-9DD8-499E-8091-3E3A56EDFAAE}"/>
              </c:ext>
            </c:extLst>
          </c:dPt>
          <c:dPt>
            <c:idx val="253"/>
            <c:invertIfNegative val="1"/>
            <c:bubble3D val="0"/>
            <c:spPr>
              <a:solidFill>
                <a:srgbClr val="7ECAC4"/>
              </a:solidFill>
            </c:spPr>
            <c:extLst>
              <c:ext xmlns:c16="http://schemas.microsoft.com/office/drawing/2014/chart" uri="{C3380CC4-5D6E-409C-BE32-E72D297353CC}">
                <c16:uniqueId val="{000001FD-9DD8-499E-8091-3E3A56EDFAAE}"/>
              </c:ext>
            </c:extLst>
          </c:dPt>
          <c:dPt>
            <c:idx val="254"/>
            <c:invertIfNegative val="1"/>
            <c:bubble3D val="0"/>
            <c:spPr>
              <a:solidFill>
                <a:srgbClr val="7ECAC4"/>
              </a:solidFill>
            </c:spPr>
            <c:extLst>
              <c:ext xmlns:c16="http://schemas.microsoft.com/office/drawing/2014/chart" uri="{C3380CC4-5D6E-409C-BE32-E72D297353CC}">
                <c16:uniqueId val="{000001FF-9DD8-499E-8091-3E3A56EDFAAE}"/>
              </c:ext>
            </c:extLst>
          </c:dPt>
          <c:dPt>
            <c:idx val="255"/>
            <c:invertIfNegative val="1"/>
            <c:bubble3D val="0"/>
            <c:spPr>
              <a:solidFill>
                <a:srgbClr val="7ECAC4"/>
              </a:solidFill>
            </c:spPr>
            <c:extLst>
              <c:ext xmlns:c16="http://schemas.microsoft.com/office/drawing/2014/chart" uri="{C3380CC4-5D6E-409C-BE32-E72D297353CC}">
                <c16:uniqueId val="{00000201-9DD8-499E-8091-3E3A56EDFAAE}"/>
              </c:ext>
            </c:extLst>
          </c:dPt>
          <c:dPt>
            <c:idx val="256"/>
            <c:invertIfNegative val="1"/>
            <c:bubble3D val="0"/>
            <c:spPr>
              <a:solidFill>
                <a:srgbClr val="7ECAC4"/>
              </a:solidFill>
            </c:spPr>
            <c:extLst>
              <c:ext xmlns:c16="http://schemas.microsoft.com/office/drawing/2014/chart" uri="{C3380CC4-5D6E-409C-BE32-E72D297353CC}">
                <c16:uniqueId val="{00000203-9DD8-499E-8091-3E3A56EDFAAE}"/>
              </c:ext>
            </c:extLst>
          </c:dPt>
          <c:dPt>
            <c:idx val="257"/>
            <c:invertIfNegative val="1"/>
            <c:bubble3D val="0"/>
            <c:spPr>
              <a:solidFill>
                <a:srgbClr val="7ECAC4"/>
              </a:solidFill>
            </c:spPr>
            <c:extLst>
              <c:ext xmlns:c16="http://schemas.microsoft.com/office/drawing/2014/chart" uri="{C3380CC4-5D6E-409C-BE32-E72D297353CC}">
                <c16:uniqueId val="{00000205-9DD8-499E-8091-3E3A56EDFAAE}"/>
              </c:ext>
            </c:extLst>
          </c:dPt>
          <c:dPt>
            <c:idx val="258"/>
            <c:invertIfNegative val="1"/>
            <c:bubble3D val="0"/>
            <c:spPr>
              <a:solidFill>
                <a:srgbClr val="7ECAC4"/>
              </a:solidFill>
            </c:spPr>
            <c:extLst>
              <c:ext xmlns:c16="http://schemas.microsoft.com/office/drawing/2014/chart" uri="{C3380CC4-5D6E-409C-BE32-E72D297353CC}">
                <c16:uniqueId val="{00000207-9DD8-499E-8091-3E3A56EDFAAE}"/>
              </c:ext>
            </c:extLst>
          </c:dPt>
          <c:dPt>
            <c:idx val="259"/>
            <c:invertIfNegative val="1"/>
            <c:bubble3D val="0"/>
            <c:spPr>
              <a:solidFill>
                <a:srgbClr val="7ECAC4"/>
              </a:solidFill>
            </c:spPr>
            <c:extLst>
              <c:ext xmlns:c16="http://schemas.microsoft.com/office/drawing/2014/chart" uri="{C3380CC4-5D6E-409C-BE32-E72D297353CC}">
                <c16:uniqueId val="{00000209-9DD8-499E-8091-3E3A56EDFAAE}"/>
              </c:ext>
            </c:extLst>
          </c:dPt>
          <c:dPt>
            <c:idx val="260"/>
            <c:invertIfNegative val="1"/>
            <c:bubble3D val="0"/>
            <c:spPr>
              <a:solidFill>
                <a:srgbClr val="7ECAC4"/>
              </a:solidFill>
            </c:spPr>
            <c:extLst>
              <c:ext xmlns:c16="http://schemas.microsoft.com/office/drawing/2014/chart" uri="{C3380CC4-5D6E-409C-BE32-E72D297353CC}">
                <c16:uniqueId val="{0000020B-9DD8-499E-8091-3E3A56EDFAAE}"/>
              </c:ext>
            </c:extLst>
          </c:dPt>
          <c:dPt>
            <c:idx val="261"/>
            <c:invertIfNegative val="1"/>
            <c:bubble3D val="0"/>
            <c:spPr>
              <a:solidFill>
                <a:srgbClr val="7ECAC4"/>
              </a:solidFill>
            </c:spPr>
            <c:extLst>
              <c:ext xmlns:c16="http://schemas.microsoft.com/office/drawing/2014/chart" uri="{C3380CC4-5D6E-409C-BE32-E72D297353CC}">
                <c16:uniqueId val="{0000020D-9DD8-499E-8091-3E3A56EDFAAE}"/>
              </c:ext>
            </c:extLst>
          </c:dPt>
          <c:dPt>
            <c:idx val="262"/>
            <c:invertIfNegative val="1"/>
            <c:bubble3D val="0"/>
            <c:spPr>
              <a:solidFill>
                <a:srgbClr val="7ECAC4"/>
              </a:solidFill>
            </c:spPr>
            <c:extLst>
              <c:ext xmlns:c16="http://schemas.microsoft.com/office/drawing/2014/chart" uri="{C3380CC4-5D6E-409C-BE32-E72D297353CC}">
                <c16:uniqueId val="{0000020F-9DD8-499E-8091-3E3A56EDFAAE}"/>
              </c:ext>
            </c:extLst>
          </c:dPt>
          <c:dPt>
            <c:idx val="263"/>
            <c:invertIfNegative val="1"/>
            <c:bubble3D val="0"/>
            <c:spPr>
              <a:solidFill>
                <a:srgbClr val="7ECAC4"/>
              </a:solidFill>
            </c:spPr>
            <c:extLst>
              <c:ext xmlns:c16="http://schemas.microsoft.com/office/drawing/2014/chart" uri="{C3380CC4-5D6E-409C-BE32-E72D297353CC}">
                <c16:uniqueId val="{00000211-9DD8-499E-8091-3E3A56EDFAAE}"/>
              </c:ext>
            </c:extLst>
          </c:dPt>
          <c:dPt>
            <c:idx val="264"/>
            <c:invertIfNegative val="1"/>
            <c:bubble3D val="0"/>
            <c:spPr>
              <a:solidFill>
                <a:srgbClr val="7ECAC4"/>
              </a:solidFill>
            </c:spPr>
            <c:extLst>
              <c:ext xmlns:c16="http://schemas.microsoft.com/office/drawing/2014/chart" uri="{C3380CC4-5D6E-409C-BE32-E72D297353CC}">
                <c16:uniqueId val="{00000213-9DD8-499E-8091-3E3A56EDFAAE}"/>
              </c:ext>
            </c:extLst>
          </c:dPt>
          <c:dPt>
            <c:idx val="265"/>
            <c:invertIfNegative val="1"/>
            <c:bubble3D val="0"/>
            <c:spPr>
              <a:solidFill>
                <a:srgbClr val="7ECAC4"/>
              </a:solidFill>
            </c:spPr>
            <c:extLst>
              <c:ext xmlns:c16="http://schemas.microsoft.com/office/drawing/2014/chart" uri="{C3380CC4-5D6E-409C-BE32-E72D297353CC}">
                <c16:uniqueId val="{00000215-9DD8-499E-8091-3E3A56EDFAAE}"/>
              </c:ext>
            </c:extLst>
          </c:dPt>
          <c:dPt>
            <c:idx val="266"/>
            <c:invertIfNegative val="1"/>
            <c:bubble3D val="0"/>
            <c:spPr>
              <a:solidFill>
                <a:srgbClr val="7ECAC4"/>
              </a:solidFill>
            </c:spPr>
            <c:extLst>
              <c:ext xmlns:c16="http://schemas.microsoft.com/office/drawing/2014/chart" uri="{C3380CC4-5D6E-409C-BE32-E72D297353CC}">
                <c16:uniqueId val="{00000217-9DD8-499E-8091-3E3A56EDFAAE}"/>
              </c:ext>
            </c:extLst>
          </c:dPt>
          <c:dPt>
            <c:idx val="267"/>
            <c:invertIfNegative val="1"/>
            <c:bubble3D val="0"/>
            <c:spPr>
              <a:solidFill>
                <a:srgbClr val="AEABAB"/>
              </a:solidFill>
            </c:spPr>
            <c:extLst>
              <c:ext xmlns:c16="http://schemas.microsoft.com/office/drawing/2014/chart" uri="{C3380CC4-5D6E-409C-BE32-E72D297353CC}">
                <c16:uniqueId val="{00000219-9DD8-499E-8091-3E3A56EDFAAE}"/>
              </c:ext>
            </c:extLst>
          </c:dPt>
          <c:dPt>
            <c:idx val="268"/>
            <c:invertIfNegative val="1"/>
            <c:bubble3D val="0"/>
            <c:spPr>
              <a:solidFill>
                <a:srgbClr val="AEABAB"/>
              </a:solidFill>
            </c:spPr>
            <c:extLst>
              <c:ext xmlns:c16="http://schemas.microsoft.com/office/drawing/2014/chart" uri="{C3380CC4-5D6E-409C-BE32-E72D297353CC}">
                <c16:uniqueId val="{0000021B-9DD8-499E-8091-3E3A56EDFAAE}"/>
              </c:ext>
            </c:extLst>
          </c:dPt>
          <c:dPt>
            <c:idx val="269"/>
            <c:invertIfNegative val="1"/>
            <c:bubble3D val="0"/>
            <c:spPr>
              <a:solidFill>
                <a:srgbClr val="AEABAB"/>
              </a:solidFill>
            </c:spPr>
            <c:extLst>
              <c:ext xmlns:c16="http://schemas.microsoft.com/office/drawing/2014/chart" uri="{C3380CC4-5D6E-409C-BE32-E72D297353CC}">
                <c16:uniqueId val="{0000021D-9DD8-499E-8091-3E3A56EDFAAE}"/>
              </c:ext>
            </c:extLst>
          </c:dPt>
          <c:dPt>
            <c:idx val="270"/>
            <c:invertIfNegative val="1"/>
            <c:bubble3D val="0"/>
            <c:spPr>
              <a:solidFill>
                <a:srgbClr val="AEABAB"/>
              </a:solidFill>
            </c:spPr>
            <c:extLst>
              <c:ext xmlns:c16="http://schemas.microsoft.com/office/drawing/2014/chart" uri="{C3380CC4-5D6E-409C-BE32-E72D297353CC}">
                <c16:uniqueId val="{0000021F-9DD8-499E-8091-3E3A56EDFAAE}"/>
              </c:ext>
            </c:extLst>
          </c:dPt>
          <c:dPt>
            <c:idx val="271"/>
            <c:invertIfNegative val="1"/>
            <c:bubble3D val="0"/>
            <c:spPr>
              <a:solidFill>
                <a:srgbClr val="AEABAB"/>
              </a:solidFill>
            </c:spPr>
            <c:extLst>
              <c:ext xmlns:c16="http://schemas.microsoft.com/office/drawing/2014/chart" uri="{C3380CC4-5D6E-409C-BE32-E72D297353CC}">
                <c16:uniqueId val="{00000221-9DD8-499E-8091-3E3A56EDFAAE}"/>
              </c:ext>
            </c:extLst>
          </c:dPt>
          <c:dPt>
            <c:idx val="272"/>
            <c:invertIfNegative val="1"/>
            <c:bubble3D val="0"/>
            <c:spPr>
              <a:solidFill>
                <a:srgbClr val="AEABAB"/>
              </a:solidFill>
            </c:spPr>
            <c:extLst>
              <c:ext xmlns:c16="http://schemas.microsoft.com/office/drawing/2014/chart" uri="{C3380CC4-5D6E-409C-BE32-E72D297353CC}">
                <c16:uniqueId val="{00000223-9DD8-499E-8091-3E3A56EDFAAE}"/>
              </c:ext>
            </c:extLst>
          </c:dPt>
          <c:dPt>
            <c:idx val="273"/>
            <c:invertIfNegative val="1"/>
            <c:bubble3D val="0"/>
            <c:spPr>
              <a:solidFill>
                <a:srgbClr val="AEABAB"/>
              </a:solidFill>
            </c:spPr>
            <c:extLst>
              <c:ext xmlns:c16="http://schemas.microsoft.com/office/drawing/2014/chart" uri="{C3380CC4-5D6E-409C-BE32-E72D297353CC}">
                <c16:uniqueId val="{00000225-9DD8-499E-8091-3E3A56EDFAAE}"/>
              </c:ext>
            </c:extLst>
          </c:dPt>
          <c:dPt>
            <c:idx val="274"/>
            <c:invertIfNegative val="1"/>
            <c:bubble3D val="0"/>
            <c:spPr>
              <a:solidFill>
                <a:srgbClr val="AEABAB"/>
              </a:solidFill>
            </c:spPr>
            <c:extLst>
              <c:ext xmlns:c16="http://schemas.microsoft.com/office/drawing/2014/chart" uri="{C3380CC4-5D6E-409C-BE32-E72D297353CC}">
                <c16:uniqueId val="{00000227-9DD8-499E-8091-3E3A56EDFAAE}"/>
              </c:ext>
            </c:extLst>
          </c:dPt>
          <c:dPt>
            <c:idx val="275"/>
            <c:invertIfNegative val="1"/>
            <c:bubble3D val="0"/>
            <c:spPr>
              <a:solidFill>
                <a:srgbClr val="AEABAB"/>
              </a:solidFill>
            </c:spPr>
            <c:extLst>
              <c:ext xmlns:c16="http://schemas.microsoft.com/office/drawing/2014/chart" uri="{C3380CC4-5D6E-409C-BE32-E72D297353CC}">
                <c16:uniqueId val="{00000229-9DD8-499E-8091-3E3A56EDFAAE}"/>
              </c:ext>
            </c:extLst>
          </c:dPt>
          <c:dPt>
            <c:idx val="276"/>
            <c:invertIfNegative val="1"/>
            <c:bubble3D val="0"/>
            <c:spPr>
              <a:solidFill>
                <a:srgbClr val="AEABAB"/>
              </a:solidFill>
            </c:spPr>
            <c:extLst>
              <c:ext xmlns:c16="http://schemas.microsoft.com/office/drawing/2014/chart" uri="{C3380CC4-5D6E-409C-BE32-E72D297353CC}">
                <c16:uniqueId val="{0000022B-9DD8-499E-8091-3E3A56EDFAAE}"/>
              </c:ext>
            </c:extLst>
          </c:dPt>
          <c:dPt>
            <c:idx val="277"/>
            <c:invertIfNegative val="1"/>
            <c:bubble3D val="0"/>
            <c:spPr>
              <a:solidFill>
                <a:srgbClr val="AEABAB"/>
              </a:solidFill>
            </c:spPr>
            <c:extLst>
              <c:ext xmlns:c16="http://schemas.microsoft.com/office/drawing/2014/chart" uri="{C3380CC4-5D6E-409C-BE32-E72D297353CC}">
                <c16:uniqueId val="{0000022D-9DD8-499E-8091-3E3A56EDFAAE}"/>
              </c:ext>
            </c:extLst>
          </c:dPt>
          <c:dPt>
            <c:idx val="278"/>
            <c:invertIfNegative val="1"/>
            <c:bubble3D val="0"/>
            <c:spPr>
              <a:solidFill>
                <a:srgbClr val="AEABAB"/>
              </a:solidFill>
            </c:spPr>
            <c:extLst>
              <c:ext xmlns:c16="http://schemas.microsoft.com/office/drawing/2014/chart" uri="{C3380CC4-5D6E-409C-BE32-E72D297353CC}">
                <c16:uniqueId val="{0000022F-9DD8-499E-8091-3E3A56EDFAAE}"/>
              </c:ext>
            </c:extLst>
          </c:dPt>
          <c:dPt>
            <c:idx val="279"/>
            <c:invertIfNegative val="1"/>
            <c:bubble3D val="0"/>
            <c:spPr>
              <a:solidFill>
                <a:srgbClr val="AEABAB"/>
              </a:solidFill>
            </c:spPr>
            <c:extLst>
              <c:ext xmlns:c16="http://schemas.microsoft.com/office/drawing/2014/chart" uri="{C3380CC4-5D6E-409C-BE32-E72D297353CC}">
                <c16:uniqueId val="{00000231-9DD8-499E-8091-3E3A56EDFAAE}"/>
              </c:ext>
            </c:extLst>
          </c:dPt>
          <c:dPt>
            <c:idx val="280"/>
            <c:invertIfNegative val="1"/>
            <c:bubble3D val="0"/>
            <c:spPr>
              <a:solidFill>
                <a:srgbClr val="AEABAB"/>
              </a:solidFill>
            </c:spPr>
            <c:extLst>
              <c:ext xmlns:c16="http://schemas.microsoft.com/office/drawing/2014/chart" uri="{C3380CC4-5D6E-409C-BE32-E72D297353CC}">
                <c16:uniqueId val="{00000233-9DD8-499E-8091-3E3A56EDFAAE}"/>
              </c:ext>
            </c:extLst>
          </c:dPt>
          <c:dPt>
            <c:idx val="281"/>
            <c:invertIfNegative val="1"/>
            <c:bubble3D val="0"/>
            <c:spPr>
              <a:solidFill>
                <a:srgbClr val="AEABAB"/>
              </a:solidFill>
            </c:spPr>
            <c:extLst>
              <c:ext xmlns:c16="http://schemas.microsoft.com/office/drawing/2014/chart" uri="{C3380CC4-5D6E-409C-BE32-E72D297353CC}">
                <c16:uniqueId val="{00000235-9DD8-499E-8091-3E3A56EDFAAE}"/>
              </c:ext>
            </c:extLst>
          </c:dPt>
          <c:dPt>
            <c:idx val="282"/>
            <c:invertIfNegative val="1"/>
            <c:bubble3D val="0"/>
            <c:spPr>
              <a:solidFill>
                <a:srgbClr val="AEABAB"/>
              </a:solidFill>
            </c:spPr>
            <c:extLst>
              <c:ext xmlns:c16="http://schemas.microsoft.com/office/drawing/2014/chart" uri="{C3380CC4-5D6E-409C-BE32-E72D297353CC}">
                <c16:uniqueId val="{00000237-9DD8-499E-8091-3E3A56EDFAAE}"/>
              </c:ext>
            </c:extLst>
          </c:dPt>
          <c:dPt>
            <c:idx val="283"/>
            <c:invertIfNegative val="1"/>
            <c:bubble3D val="0"/>
            <c:spPr>
              <a:solidFill>
                <a:srgbClr val="AEABAB"/>
              </a:solidFill>
            </c:spPr>
            <c:extLst>
              <c:ext xmlns:c16="http://schemas.microsoft.com/office/drawing/2014/chart" uri="{C3380CC4-5D6E-409C-BE32-E72D297353CC}">
                <c16:uniqueId val="{00000239-9DD8-499E-8091-3E3A56EDFAAE}"/>
              </c:ext>
            </c:extLst>
          </c:dPt>
          <c:dPt>
            <c:idx val="284"/>
            <c:invertIfNegative val="1"/>
            <c:bubble3D val="0"/>
            <c:spPr>
              <a:solidFill>
                <a:srgbClr val="AEABAB"/>
              </a:solidFill>
            </c:spPr>
            <c:extLst>
              <c:ext xmlns:c16="http://schemas.microsoft.com/office/drawing/2014/chart" uri="{C3380CC4-5D6E-409C-BE32-E72D297353CC}">
                <c16:uniqueId val="{0000023B-9DD8-499E-8091-3E3A56EDFAAE}"/>
              </c:ext>
            </c:extLst>
          </c:dPt>
          <c:dPt>
            <c:idx val="285"/>
            <c:invertIfNegative val="1"/>
            <c:bubble3D val="0"/>
            <c:spPr>
              <a:solidFill>
                <a:srgbClr val="AEABAB"/>
              </a:solidFill>
            </c:spPr>
            <c:extLst>
              <c:ext xmlns:c16="http://schemas.microsoft.com/office/drawing/2014/chart" uri="{C3380CC4-5D6E-409C-BE32-E72D297353CC}">
                <c16:uniqueId val="{0000023D-9DD8-499E-8091-3E3A56EDFAAE}"/>
              </c:ext>
            </c:extLst>
          </c:dPt>
          <c:dPt>
            <c:idx val="286"/>
            <c:invertIfNegative val="1"/>
            <c:bubble3D val="0"/>
            <c:spPr>
              <a:solidFill>
                <a:srgbClr val="AEABAB"/>
              </a:solidFill>
            </c:spPr>
            <c:extLst>
              <c:ext xmlns:c16="http://schemas.microsoft.com/office/drawing/2014/chart" uri="{C3380CC4-5D6E-409C-BE32-E72D297353CC}">
                <c16:uniqueId val="{0000023F-9DD8-499E-8091-3E3A56EDFAAE}"/>
              </c:ext>
            </c:extLst>
          </c:dPt>
          <c:dPt>
            <c:idx val="287"/>
            <c:invertIfNegative val="1"/>
            <c:bubble3D val="0"/>
            <c:spPr>
              <a:solidFill>
                <a:srgbClr val="AEABAB"/>
              </a:solidFill>
            </c:spPr>
            <c:extLst>
              <c:ext xmlns:c16="http://schemas.microsoft.com/office/drawing/2014/chart" uri="{C3380CC4-5D6E-409C-BE32-E72D297353CC}">
                <c16:uniqueId val="{00000241-9DD8-499E-8091-3E3A56EDFAAE}"/>
              </c:ext>
            </c:extLst>
          </c:dPt>
          <c:dPt>
            <c:idx val="288"/>
            <c:invertIfNegative val="1"/>
            <c:bubble3D val="0"/>
            <c:spPr>
              <a:solidFill>
                <a:srgbClr val="AEABAB"/>
              </a:solidFill>
            </c:spPr>
            <c:extLst>
              <c:ext xmlns:c16="http://schemas.microsoft.com/office/drawing/2014/chart" uri="{C3380CC4-5D6E-409C-BE32-E72D297353CC}">
                <c16:uniqueId val="{00000243-9DD8-499E-8091-3E3A56EDFAAE}"/>
              </c:ext>
            </c:extLst>
          </c:dPt>
          <c:dPt>
            <c:idx val="289"/>
            <c:invertIfNegative val="1"/>
            <c:bubble3D val="0"/>
            <c:spPr>
              <a:solidFill>
                <a:srgbClr val="AEABAB"/>
              </a:solidFill>
            </c:spPr>
            <c:extLst>
              <c:ext xmlns:c16="http://schemas.microsoft.com/office/drawing/2014/chart" uri="{C3380CC4-5D6E-409C-BE32-E72D297353CC}">
                <c16:uniqueId val="{00000245-9DD8-499E-8091-3E3A56EDFAAE}"/>
              </c:ext>
            </c:extLst>
          </c:dPt>
          <c:dPt>
            <c:idx val="290"/>
            <c:invertIfNegative val="1"/>
            <c:bubble3D val="0"/>
            <c:spPr>
              <a:solidFill>
                <a:srgbClr val="AEABAB"/>
              </a:solidFill>
            </c:spPr>
            <c:extLst>
              <c:ext xmlns:c16="http://schemas.microsoft.com/office/drawing/2014/chart" uri="{C3380CC4-5D6E-409C-BE32-E72D297353CC}">
                <c16:uniqueId val="{00000247-9DD8-499E-8091-3E3A56EDFAAE}"/>
              </c:ext>
            </c:extLst>
          </c:dPt>
          <c:dPt>
            <c:idx val="291"/>
            <c:invertIfNegative val="1"/>
            <c:bubble3D val="0"/>
            <c:spPr>
              <a:solidFill>
                <a:srgbClr val="AEABAB"/>
              </a:solidFill>
            </c:spPr>
            <c:extLst>
              <c:ext xmlns:c16="http://schemas.microsoft.com/office/drawing/2014/chart" uri="{C3380CC4-5D6E-409C-BE32-E72D297353CC}">
                <c16:uniqueId val="{00000249-9DD8-499E-8091-3E3A56EDFAAE}"/>
              </c:ext>
            </c:extLst>
          </c:dPt>
          <c:dPt>
            <c:idx val="292"/>
            <c:invertIfNegative val="1"/>
            <c:bubble3D val="0"/>
            <c:spPr>
              <a:solidFill>
                <a:srgbClr val="AEABAB"/>
              </a:solidFill>
            </c:spPr>
            <c:extLst>
              <c:ext xmlns:c16="http://schemas.microsoft.com/office/drawing/2014/chart" uri="{C3380CC4-5D6E-409C-BE32-E72D297353CC}">
                <c16:uniqueId val="{0000024B-9DD8-499E-8091-3E3A56EDFAAE}"/>
              </c:ext>
            </c:extLst>
          </c:dPt>
          <c:dPt>
            <c:idx val="293"/>
            <c:invertIfNegative val="1"/>
            <c:bubble3D val="0"/>
            <c:spPr>
              <a:solidFill>
                <a:srgbClr val="AEABAB"/>
              </a:solidFill>
            </c:spPr>
            <c:extLst>
              <c:ext xmlns:c16="http://schemas.microsoft.com/office/drawing/2014/chart" uri="{C3380CC4-5D6E-409C-BE32-E72D297353CC}">
                <c16:uniqueId val="{0000024D-9DD8-499E-8091-3E3A56EDFAAE}"/>
              </c:ext>
            </c:extLst>
          </c:dPt>
          <c:dPt>
            <c:idx val="294"/>
            <c:invertIfNegative val="1"/>
            <c:bubble3D val="0"/>
            <c:spPr>
              <a:solidFill>
                <a:srgbClr val="AEABAB"/>
              </a:solidFill>
            </c:spPr>
            <c:extLst>
              <c:ext xmlns:c16="http://schemas.microsoft.com/office/drawing/2014/chart" uri="{C3380CC4-5D6E-409C-BE32-E72D297353CC}">
                <c16:uniqueId val="{0000024F-9DD8-499E-8091-3E3A56EDFAAE}"/>
              </c:ext>
            </c:extLst>
          </c:dPt>
          <c:dPt>
            <c:idx val="295"/>
            <c:invertIfNegative val="1"/>
            <c:bubble3D val="0"/>
            <c:spPr>
              <a:solidFill>
                <a:srgbClr val="AEABAB"/>
              </a:solidFill>
            </c:spPr>
            <c:extLst>
              <c:ext xmlns:c16="http://schemas.microsoft.com/office/drawing/2014/chart" uri="{C3380CC4-5D6E-409C-BE32-E72D297353CC}">
                <c16:uniqueId val="{00000251-9DD8-499E-8091-3E3A56EDFAAE}"/>
              </c:ext>
            </c:extLst>
          </c:dPt>
          <c:dPt>
            <c:idx val="296"/>
            <c:invertIfNegative val="1"/>
            <c:bubble3D val="0"/>
            <c:spPr>
              <a:solidFill>
                <a:srgbClr val="AEABAB"/>
              </a:solidFill>
            </c:spPr>
            <c:extLst>
              <c:ext xmlns:c16="http://schemas.microsoft.com/office/drawing/2014/chart" uri="{C3380CC4-5D6E-409C-BE32-E72D297353CC}">
                <c16:uniqueId val="{00000253-9DD8-499E-8091-3E3A56EDFAAE}"/>
              </c:ext>
            </c:extLst>
          </c:dPt>
          <c:dPt>
            <c:idx val="297"/>
            <c:invertIfNegative val="1"/>
            <c:bubble3D val="0"/>
            <c:spPr>
              <a:solidFill>
                <a:srgbClr val="AEABAB"/>
              </a:solidFill>
            </c:spPr>
            <c:extLst>
              <c:ext xmlns:c16="http://schemas.microsoft.com/office/drawing/2014/chart" uri="{C3380CC4-5D6E-409C-BE32-E72D297353CC}">
                <c16:uniqueId val="{00000255-9DD8-499E-8091-3E3A56EDFAAE}"/>
              </c:ext>
            </c:extLst>
          </c:dPt>
          <c:dPt>
            <c:idx val="298"/>
            <c:invertIfNegative val="1"/>
            <c:bubble3D val="0"/>
            <c:spPr>
              <a:solidFill>
                <a:srgbClr val="AEABAB"/>
              </a:solidFill>
            </c:spPr>
            <c:extLst>
              <c:ext xmlns:c16="http://schemas.microsoft.com/office/drawing/2014/chart" uri="{C3380CC4-5D6E-409C-BE32-E72D297353CC}">
                <c16:uniqueId val="{00000257-9DD8-499E-8091-3E3A56EDFAAE}"/>
              </c:ext>
            </c:extLst>
          </c:dPt>
          <c:dPt>
            <c:idx val="299"/>
            <c:invertIfNegative val="1"/>
            <c:bubble3D val="0"/>
            <c:spPr>
              <a:solidFill>
                <a:srgbClr val="AEABAB"/>
              </a:solidFill>
            </c:spPr>
            <c:extLst>
              <c:ext xmlns:c16="http://schemas.microsoft.com/office/drawing/2014/chart" uri="{C3380CC4-5D6E-409C-BE32-E72D297353CC}">
                <c16:uniqueId val="{00000259-9DD8-499E-8091-3E3A56EDFAAE}"/>
              </c:ext>
            </c:extLst>
          </c:dPt>
          <c:dPt>
            <c:idx val="300"/>
            <c:invertIfNegative val="1"/>
            <c:bubble3D val="0"/>
            <c:spPr>
              <a:solidFill>
                <a:srgbClr val="AEABAB"/>
              </a:solidFill>
            </c:spPr>
            <c:extLst>
              <c:ext xmlns:c16="http://schemas.microsoft.com/office/drawing/2014/chart" uri="{C3380CC4-5D6E-409C-BE32-E72D297353CC}">
                <c16:uniqueId val="{0000025B-9DD8-499E-8091-3E3A56EDFAAE}"/>
              </c:ext>
            </c:extLst>
          </c:dPt>
          <c:dPt>
            <c:idx val="301"/>
            <c:invertIfNegative val="1"/>
            <c:bubble3D val="0"/>
            <c:spPr>
              <a:solidFill>
                <a:srgbClr val="AEABAB"/>
              </a:solidFill>
            </c:spPr>
            <c:extLst>
              <c:ext xmlns:c16="http://schemas.microsoft.com/office/drawing/2014/chart" uri="{C3380CC4-5D6E-409C-BE32-E72D297353CC}">
                <c16:uniqueId val="{0000025D-9DD8-499E-8091-3E3A56EDFAAE}"/>
              </c:ext>
            </c:extLst>
          </c:dPt>
          <c:dPt>
            <c:idx val="302"/>
            <c:invertIfNegative val="1"/>
            <c:bubble3D val="0"/>
            <c:spPr>
              <a:solidFill>
                <a:srgbClr val="AEABAB"/>
              </a:solidFill>
            </c:spPr>
            <c:extLst>
              <c:ext xmlns:c16="http://schemas.microsoft.com/office/drawing/2014/chart" uri="{C3380CC4-5D6E-409C-BE32-E72D297353CC}">
                <c16:uniqueId val="{0000025F-9DD8-499E-8091-3E3A56EDFAAE}"/>
              </c:ext>
            </c:extLst>
          </c:dPt>
          <c:dPt>
            <c:idx val="303"/>
            <c:invertIfNegative val="1"/>
            <c:bubble3D val="0"/>
            <c:spPr>
              <a:solidFill>
                <a:srgbClr val="AEABAB"/>
              </a:solidFill>
            </c:spPr>
            <c:extLst>
              <c:ext xmlns:c16="http://schemas.microsoft.com/office/drawing/2014/chart" uri="{C3380CC4-5D6E-409C-BE32-E72D297353CC}">
                <c16:uniqueId val="{00000261-9DD8-499E-8091-3E3A56EDFAAE}"/>
              </c:ext>
            </c:extLst>
          </c:dPt>
          <c:dPt>
            <c:idx val="304"/>
            <c:invertIfNegative val="1"/>
            <c:bubble3D val="0"/>
            <c:spPr>
              <a:solidFill>
                <a:srgbClr val="AEABAB"/>
              </a:solidFill>
            </c:spPr>
            <c:extLst>
              <c:ext xmlns:c16="http://schemas.microsoft.com/office/drawing/2014/chart" uri="{C3380CC4-5D6E-409C-BE32-E72D297353CC}">
                <c16:uniqueId val="{00000263-9DD8-499E-8091-3E3A56EDFAAE}"/>
              </c:ext>
            </c:extLst>
          </c:dPt>
          <c:dPt>
            <c:idx val="305"/>
            <c:invertIfNegative val="1"/>
            <c:bubble3D val="0"/>
            <c:spPr>
              <a:solidFill>
                <a:srgbClr val="AEABAB"/>
              </a:solidFill>
            </c:spPr>
            <c:extLst>
              <c:ext xmlns:c16="http://schemas.microsoft.com/office/drawing/2014/chart" uri="{C3380CC4-5D6E-409C-BE32-E72D297353CC}">
                <c16:uniqueId val="{00000265-9DD8-499E-8091-3E3A56EDFAAE}"/>
              </c:ext>
            </c:extLst>
          </c:dPt>
          <c:dPt>
            <c:idx val="306"/>
            <c:invertIfNegative val="1"/>
            <c:bubble3D val="0"/>
            <c:spPr>
              <a:solidFill>
                <a:srgbClr val="AEABAB"/>
              </a:solidFill>
            </c:spPr>
            <c:extLst>
              <c:ext xmlns:c16="http://schemas.microsoft.com/office/drawing/2014/chart" uri="{C3380CC4-5D6E-409C-BE32-E72D297353CC}">
                <c16:uniqueId val="{00000267-9DD8-499E-8091-3E3A56EDFAAE}"/>
              </c:ext>
            </c:extLst>
          </c:dPt>
          <c:dPt>
            <c:idx val="307"/>
            <c:invertIfNegative val="1"/>
            <c:bubble3D val="0"/>
            <c:spPr>
              <a:solidFill>
                <a:srgbClr val="AEABAB"/>
              </a:solidFill>
            </c:spPr>
            <c:extLst>
              <c:ext xmlns:c16="http://schemas.microsoft.com/office/drawing/2014/chart" uri="{C3380CC4-5D6E-409C-BE32-E72D297353CC}">
                <c16:uniqueId val="{00000269-9DD8-499E-8091-3E3A56EDFAAE}"/>
              </c:ext>
            </c:extLst>
          </c:dPt>
          <c:dPt>
            <c:idx val="308"/>
            <c:invertIfNegative val="1"/>
            <c:bubble3D val="0"/>
            <c:spPr>
              <a:solidFill>
                <a:srgbClr val="AEABAB"/>
              </a:solidFill>
            </c:spPr>
            <c:extLst>
              <c:ext xmlns:c16="http://schemas.microsoft.com/office/drawing/2014/chart" uri="{C3380CC4-5D6E-409C-BE32-E72D297353CC}">
                <c16:uniqueId val="{0000026B-9DD8-499E-8091-3E3A56EDFAAE}"/>
              </c:ext>
            </c:extLst>
          </c:dPt>
          <c:dPt>
            <c:idx val="309"/>
            <c:invertIfNegative val="1"/>
            <c:bubble3D val="0"/>
            <c:spPr>
              <a:solidFill>
                <a:srgbClr val="AEABAB"/>
              </a:solidFill>
            </c:spPr>
            <c:extLst>
              <c:ext xmlns:c16="http://schemas.microsoft.com/office/drawing/2014/chart" uri="{C3380CC4-5D6E-409C-BE32-E72D297353CC}">
                <c16:uniqueId val="{0000026D-9DD8-499E-8091-3E3A56EDFAAE}"/>
              </c:ext>
            </c:extLst>
          </c:dPt>
          <c:dPt>
            <c:idx val="310"/>
            <c:invertIfNegative val="1"/>
            <c:bubble3D val="0"/>
            <c:spPr>
              <a:solidFill>
                <a:srgbClr val="AEABAB"/>
              </a:solidFill>
            </c:spPr>
            <c:extLst>
              <c:ext xmlns:c16="http://schemas.microsoft.com/office/drawing/2014/chart" uri="{C3380CC4-5D6E-409C-BE32-E72D297353CC}">
                <c16:uniqueId val="{0000026F-9DD8-499E-8091-3E3A56EDFAAE}"/>
              </c:ext>
            </c:extLst>
          </c:dPt>
          <c:dPt>
            <c:idx val="311"/>
            <c:invertIfNegative val="1"/>
            <c:bubble3D val="0"/>
            <c:spPr>
              <a:solidFill>
                <a:srgbClr val="AEABAB"/>
              </a:solidFill>
            </c:spPr>
            <c:extLst>
              <c:ext xmlns:c16="http://schemas.microsoft.com/office/drawing/2014/chart" uri="{C3380CC4-5D6E-409C-BE32-E72D297353CC}">
                <c16:uniqueId val="{00000271-9DD8-499E-8091-3E3A56EDFAAE}"/>
              </c:ext>
            </c:extLst>
          </c:dPt>
          <c:dPt>
            <c:idx val="312"/>
            <c:invertIfNegative val="1"/>
            <c:bubble3D val="0"/>
            <c:spPr>
              <a:solidFill>
                <a:srgbClr val="AEABAB"/>
              </a:solidFill>
            </c:spPr>
            <c:extLst>
              <c:ext xmlns:c16="http://schemas.microsoft.com/office/drawing/2014/chart" uri="{C3380CC4-5D6E-409C-BE32-E72D297353CC}">
                <c16:uniqueId val="{00000273-9DD8-499E-8091-3E3A56EDFAAE}"/>
              </c:ext>
            </c:extLst>
          </c:dPt>
          <c:dPt>
            <c:idx val="313"/>
            <c:invertIfNegative val="1"/>
            <c:bubble3D val="0"/>
            <c:spPr>
              <a:solidFill>
                <a:srgbClr val="AEABAB"/>
              </a:solidFill>
            </c:spPr>
            <c:extLst>
              <c:ext xmlns:c16="http://schemas.microsoft.com/office/drawing/2014/chart" uri="{C3380CC4-5D6E-409C-BE32-E72D297353CC}">
                <c16:uniqueId val="{00000275-9DD8-499E-8091-3E3A56EDFAAE}"/>
              </c:ext>
            </c:extLst>
          </c:dPt>
          <c:dPt>
            <c:idx val="314"/>
            <c:invertIfNegative val="1"/>
            <c:bubble3D val="0"/>
            <c:spPr>
              <a:solidFill>
                <a:srgbClr val="AEABAB"/>
              </a:solidFill>
            </c:spPr>
            <c:extLst>
              <c:ext xmlns:c16="http://schemas.microsoft.com/office/drawing/2014/chart" uri="{C3380CC4-5D6E-409C-BE32-E72D297353CC}">
                <c16:uniqueId val="{00000277-9DD8-499E-8091-3E3A56EDFAAE}"/>
              </c:ext>
            </c:extLst>
          </c:dPt>
          <c:dPt>
            <c:idx val="315"/>
            <c:invertIfNegative val="1"/>
            <c:bubble3D val="0"/>
            <c:spPr>
              <a:solidFill>
                <a:srgbClr val="AEABAB"/>
              </a:solidFill>
            </c:spPr>
            <c:extLst>
              <c:ext xmlns:c16="http://schemas.microsoft.com/office/drawing/2014/chart" uri="{C3380CC4-5D6E-409C-BE32-E72D297353CC}">
                <c16:uniqueId val="{00000279-9DD8-499E-8091-3E3A56EDFAAE}"/>
              </c:ext>
            </c:extLst>
          </c:dPt>
          <c:dPt>
            <c:idx val="316"/>
            <c:invertIfNegative val="1"/>
            <c:bubble3D val="0"/>
            <c:spPr>
              <a:solidFill>
                <a:srgbClr val="AEABAB"/>
              </a:solidFill>
            </c:spPr>
            <c:extLst>
              <c:ext xmlns:c16="http://schemas.microsoft.com/office/drawing/2014/chart" uri="{C3380CC4-5D6E-409C-BE32-E72D297353CC}">
                <c16:uniqueId val="{0000027B-9DD8-499E-8091-3E3A56EDFAAE}"/>
              </c:ext>
            </c:extLst>
          </c:dPt>
          <c:dPt>
            <c:idx val="317"/>
            <c:invertIfNegative val="1"/>
            <c:bubble3D val="0"/>
            <c:spPr>
              <a:solidFill>
                <a:srgbClr val="AEABAB"/>
              </a:solidFill>
            </c:spPr>
            <c:extLst>
              <c:ext xmlns:c16="http://schemas.microsoft.com/office/drawing/2014/chart" uri="{C3380CC4-5D6E-409C-BE32-E72D297353CC}">
                <c16:uniqueId val="{0000027D-9DD8-499E-8091-3E3A56EDFAAE}"/>
              </c:ext>
            </c:extLst>
          </c:dPt>
          <c:dPt>
            <c:idx val="318"/>
            <c:invertIfNegative val="1"/>
            <c:bubble3D val="0"/>
            <c:spPr>
              <a:solidFill>
                <a:srgbClr val="AEABAB"/>
              </a:solidFill>
            </c:spPr>
            <c:extLst>
              <c:ext xmlns:c16="http://schemas.microsoft.com/office/drawing/2014/chart" uri="{C3380CC4-5D6E-409C-BE32-E72D297353CC}">
                <c16:uniqueId val="{0000027F-9DD8-499E-8091-3E3A56EDFAAE}"/>
              </c:ext>
            </c:extLst>
          </c:dPt>
          <c:dPt>
            <c:idx val="319"/>
            <c:invertIfNegative val="1"/>
            <c:bubble3D val="0"/>
            <c:spPr>
              <a:solidFill>
                <a:srgbClr val="AEABAB"/>
              </a:solidFill>
            </c:spPr>
            <c:extLst>
              <c:ext xmlns:c16="http://schemas.microsoft.com/office/drawing/2014/chart" uri="{C3380CC4-5D6E-409C-BE32-E72D297353CC}">
                <c16:uniqueId val="{00000281-9DD8-499E-8091-3E3A56EDFAAE}"/>
              </c:ext>
            </c:extLst>
          </c:dPt>
          <c:dPt>
            <c:idx val="320"/>
            <c:invertIfNegative val="1"/>
            <c:bubble3D val="0"/>
            <c:spPr>
              <a:solidFill>
                <a:srgbClr val="AEABAB"/>
              </a:solidFill>
            </c:spPr>
            <c:extLst>
              <c:ext xmlns:c16="http://schemas.microsoft.com/office/drawing/2014/chart" uri="{C3380CC4-5D6E-409C-BE32-E72D297353CC}">
                <c16:uniqueId val="{00000283-9DD8-499E-8091-3E3A56EDFAAE}"/>
              </c:ext>
            </c:extLst>
          </c:dPt>
          <c:dPt>
            <c:idx val="321"/>
            <c:invertIfNegative val="1"/>
            <c:bubble3D val="0"/>
            <c:spPr>
              <a:solidFill>
                <a:srgbClr val="AEABAB"/>
              </a:solidFill>
            </c:spPr>
            <c:extLst>
              <c:ext xmlns:c16="http://schemas.microsoft.com/office/drawing/2014/chart" uri="{C3380CC4-5D6E-409C-BE32-E72D297353CC}">
                <c16:uniqueId val="{00000285-9DD8-499E-8091-3E3A56EDFAAE}"/>
              </c:ext>
            </c:extLst>
          </c:dPt>
          <c:dPt>
            <c:idx val="322"/>
            <c:invertIfNegative val="1"/>
            <c:bubble3D val="0"/>
            <c:spPr>
              <a:solidFill>
                <a:srgbClr val="AEABAB"/>
              </a:solidFill>
            </c:spPr>
            <c:extLst>
              <c:ext xmlns:c16="http://schemas.microsoft.com/office/drawing/2014/chart" uri="{C3380CC4-5D6E-409C-BE32-E72D297353CC}">
                <c16:uniqueId val="{00000287-9DD8-499E-8091-3E3A56EDFAAE}"/>
              </c:ext>
            </c:extLst>
          </c:dPt>
          <c:dPt>
            <c:idx val="323"/>
            <c:invertIfNegative val="1"/>
            <c:bubble3D val="0"/>
            <c:spPr>
              <a:solidFill>
                <a:srgbClr val="AEABAB"/>
              </a:solidFill>
            </c:spPr>
            <c:extLst>
              <c:ext xmlns:c16="http://schemas.microsoft.com/office/drawing/2014/chart" uri="{C3380CC4-5D6E-409C-BE32-E72D297353CC}">
                <c16:uniqueId val="{00000289-9DD8-499E-8091-3E3A56EDFAAE}"/>
              </c:ext>
            </c:extLst>
          </c:dPt>
          <c:dPt>
            <c:idx val="324"/>
            <c:invertIfNegative val="1"/>
            <c:bubble3D val="0"/>
            <c:spPr>
              <a:solidFill>
                <a:srgbClr val="AEABAB"/>
              </a:solidFill>
            </c:spPr>
            <c:extLst>
              <c:ext xmlns:c16="http://schemas.microsoft.com/office/drawing/2014/chart" uri="{C3380CC4-5D6E-409C-BE32-E72D297353CC}">
                <c16:uniqueId val="{0000028B-9DD8-499E-8091-3E3A56EDFAAE}"/>
              </c:ext>
            </c:extLst>
          </c:dPt>
          <c:dPt>
            <c:idx val="325"/>
            <c:invertIfNegative val="1"/>
            <c:bubble3D val="0"/>
            <c:spPr>
              <a:solidFill>
                <a:srgbClr val="AEABAB"/>
              </a:solidFill>
            </c:spPr>
            <c:extLst>
              <c:ext xmlns:c16="http://schemas.microsoft.com/office/drawing/2014/chart" uri="{C3380CC4-5D6E-409C-BE32-E72D297353CC}">
                <c16:uniqueId val="{0000028D-9DD8-499E-8091-3E3A56EDFAAE}"/>
              </c:ext>
            </c:extLst>
          </c:dPt>
          <c:dPt>
            <c:idx val="326"/>
            <c:invertIfNegative val="1"/>
            <c:bubble3D val="0"/>
            <c:spPr>
              <a:solidFill>
                <a:srgbClr val="AEABAB"/>
              </a:solidFill>
            </c:spPr>
            <c:extLst>
              <c:ext xmlns:c16="http://schemas.microsoft.com/office/drawing/2014/chart" uri="{C3380CC4-5D6E-409C-BE32-E72D297353CC}">
                <c16:uniqueId val="{0000028F-9DD8-499E-8091-3E3A56EDFAAE}"/>
              </c:ext>
            </c:extLst>
          </c:dPt>
          <c:dPt>
            <c:idx val="327"/>
            <c:invertIfNegative val="1"/>
            <c:bubble3D val="0"/>
            <c:spPr>
              <a:solidFill>
                <a:srgbClr val="AEABAB"/>
              </a:solidFill>
            </c:spPr>
            <c:extLst>
              <c:ext xmlns:c16="http://schemas.microsoft.com/office/drawing/2014/chart" uri="{C3380CC4-5D6E-409C-BE32-E72D297353CC}">
                <c16:uniqueId val="{00000291-9DD8-499E-8091-3E3A56EDFAAE}"/>
              </c:ext>
            </c:extLst>
          </c:dPt>
          <c:dPt>
            <c:idx val="328"/>
            <c:invertIfNegative val="1"/>
            <c:bubble3D val="0"/>
            <c:spPr>
              <a:solidFill>
                <a:srgbClr val="AEABAB"/>
              </a:solidFill>
            </c:spPr>
            <c:extLst>
              <c:ext xmlns:c16="http://schemas.microsoft.com/office/drawing/2014/chart" uri="{C3380CC4-5D6E-409C-BE32-E72D297353CC}">
                <c16:uniqueId val="{00000293-9DD8-499E-8091-3E3A56EDFAAE}"/>
              </c:ext>
            </c:extLst>
          </c:dPt>
          <c:dPt>
            <c:idx val="329"/>
            <c:invertIfNegative val="1"/>
            <c:bubble3D val="0"/>
            <c:spPr>
              <a:solidFill>
                <a:srgbClr val="AEABAB"/>
              </a:solidFill>
            </c:spPr>
            <c:extLst>
              <c:ext xmlns:c16="http://schemas.microsoft.com/office/drawing/2014/chart" uri="{C3380CC4-5D6E-409C-BE32-E72D297353CC}">
                <c16:uniqueId val="{00000295-9DD8-499E-8091-3E3A56EDFAAE}"/>
              </c:ext>
            </c:extLst>
          </c:dPt>
          <c:dPt>
            <c:idx val="330"/>
            <c:invertIfNegative val="1"/>
            <c:bubble3D val="0"/>
            <c:spPr>
              <a:solidFill>
                <a:srgbClr val="AEABAB"/>
              </a:solidFill>
            </c:spPr>
            <c:extLst>
              <c:ext xmlns:c16="http://schemas.microsoft.com/office/drawing/2014/chart" uri="{C3380CC4-5D6E-409C-BE32-E72D297353CC}">
                <c16:uniqueId val="{00000297-9DD8-499E-8091-3E3A56EDFAAE}"/>
              </c:ext>
            </c:extLst>
          </c:dPt>
          <c:dPt>
            <c:idx val="331"/>
            <c:invertIfNegative val="1"/>
            <c:bubble3D val="0"/>
            <c:spPr>
              <a:solidFill>
                <a:srgbClr val="AEABAB"/>
              </a:solidFill>
            </c:spPr>
            <c:extLst>
              <c:ext xmlns:c16="http://schemas.microsoft.com/office/drawing/2014/chart" uri="{C3380CC4-5D6E-409C-BE32-E72D297353CC}">
                <c16:uniqueId val="{00000299-9DD8-499E-8091-3E3A56EDFAAE}"/>
              </c:ext>
            </c:extLst>
          </c:dPt>
          <c:dPt>
            <c:idx val="332"/>
            <c:invertIfNegative val="1"/>
            <c:bubble3D val="0"/>
            <c:spPr>
              <a:solidFill>
                <a:srgbClr val="AEABAB"/>
              </a:solidFill>
            </c:spPr>
            <c:extLst>
              <c:ext xmlns:c16="http://schemas.microsoft.com/office/drawing/2014/chart" uri="{C3380CC4-5D6E-409C-BE32-E72D297353CC}">
                <c16:uniqueId val="{0000029B-9DD8-499E-8091-3E3A56EDFAAE}"/>
              </c:ext>
            </c:extLst>
          </c:dPt>
          <c:dPt>
            <c:idx val="333"/>
            <c:invertIfNegative val="1"/>
            <c:bubble3D val="0"/>
            <c:spPr>
              <a:solidFill>
                <a:srgbClr val="AEABAB"/>
              </a:solidFill>
            </c:spPr>
            <c:extLst>
              <c:ext xmlns:c16="http://schemas.microsoft.com/office/drawing/2014/chart" uri="{C3380CC4-5D6E-409C-BE32-E72D297353CC}">
                <c16:uniqueId val="{0000029D-9DD8-499E-8091-3E3A56EDFAAE}"/>
              </c:ext>
            </c:extLst>
          </c:dPt>
          <c:dPt>
            <c:idx val="334"/>
            <c:invertIfNegative val="1"/>
            <c:bubble3D val="0"/>
            <c:spPr>
              <a:solidFill>
                <a:srgbClr val="AEABAB"/>
              </a:solidFill>
            </c:spPr>
            <c:extLst>
              <c:ext xmlns:c16="http://schemas.microsoft.com/office/drawing/2014/chart" uri="{C3380CC4-5D6E-409C-BE32-E72D297353CC}">
                <c16:uniqueId val="{0000029F-9DD8-499E-8091-3E3A56EDFAAE}"/>
              </c:ext>
            </c:extLst>
          </c:dPt>
          <c:dPt>
            <c:idx val="335"/>
            <c:invertIfNegative val="1"/>
            <c:bubble3D val="0"/>
            <c:spPr>
              <a:solidFill>
                <a:srgbClr val="AEABAB"/>
              </a:solidFill>
            </c:spPr>
            <c:extLst>
              <c:ext xmlns:c16="http://schemas.microsoft.com/office/drawing/2014/chart" uri="{C3380CC4-5D6E-409C-BE32-E72D297353CC}">
                <c16:uniqueId val="{000002A1-9DD8-499E-8091-3E3A56EDFAAE}"/>
              </c:ext>
            </c:extLst>
          </c:dPt>
          <c:dPt>
            <c:idx val="336"/>
            <c:invertIfNegative val="1"/>
            <c:bubble3D val="0"/>
            <c:spPr>
              <a:solidFill>
                <a:srgbClr val="AEABAB"/>
              </a:solidFill>
            </c:spPr>
            <c:extLst>
              <c:ext xmlns:c16="http://schemas.microsoft.com/office/drawing/2014/chart" uri="{C3380CC4-5D6E-409C-BE32-E72D297353CC}">
                <c16:uniqueId val="{000002A3-9DD8-499E-8091-3E3A56EDFAAE}"/>
              </c:ext>
            </c:extLst>
          </c:dPt>
          <c:dPt>
            <c:idx val="337"/>
            <c:invertIfNegative val="1"/>
            <c:bubble3D val="0"/>
            <c:spPr>
              <a:solidFill>
                <a:srgbClr val="AEABAB"/>
              </a:solidFill>
            </c:spPr>
            <c:extLst>
              <c:ext xmlns:c16="http://schemas.microsoft.com/office/drawing/2014/chart" uri="{C3380CC4-5D6E-409C-BE32-E72D297353CC}">
                <c16:uniqueId val="{000002A5-9DD8-499E-8091-3E3A56EDFAAE}"/>
              </c:ext>
            </c:extLst>
          </c:dPt>
          <c:dPt>
            <c:idx val="338"/>
            <c:invertIfNegative val="1"/>
            <c:bubble3D val="0"/>
            <c:spPr>
              <a:solidFill>
                <a:srgbClr val="AEABAB"/>
              </a:solidFill>
            </c:spPr>
            <c:extLst>
              <c:ext xmlns:c16="http://schemas.microsoft.com/office/drawing/2014/chart" uri="{C3380CC4-5D6E-409C-BE32-E72D297353CC}">
                <c16:uniqueId val="{000002A7-9DD8-499E-8091-3E3A56EDFAAE}"/>
              </c:ext>
            </c:extLst>
          </c:dPt>
          <c:dPt>
            <c:idx val="339"/>
            <c:invertIfNegative val="1"/>
            <c:bubble3D val="0"/>
            <c:spPr>
              <a:solidFill>
                <a:srgbClr val="AEABAB"/>
              </a:solidFill>
            </c:spPr>
            <c:extLst>
              <c:ext xmlns:c16="http://schemas.microsoft.com/office/drawing/2014/chart" uri="{C3380CC4-5D6E-409C-BE32-E72D297353CC}">
                <c16:uniqueId val="{000002A9-9DD8-499E-8091-3E3A56EDFAAE}"/>
              </c:ext>
            </c:extLst>
          </c:dPt>
          <c:dPt>
            <c:idx val="340"/>
            <c:invertIfNegative val="1"/>
            <c:bubble3D val="0"/>
            <c:spPr>
              <a:solidFill>
                <a:srgbClr val="AEABAB"/>
              </a:solidFill>
            </c:spPr>
            <c:extLst>
              <c:ext xmlns:c16="http://schemas.microsoft.com/office/drawing/2014/chart" uri="{C3380CC4-5D6E-409C-BE32-E72D297353CC}">
                <c16:uniqueId val="{000002AB-9DD8-499E-8091-3E3A56EDFAAE}"/>
              </c:ext>
            </c:extLst>
          </c:dPt>
          <c:dPt>
            <c:idx val="341"/>
            <c:invertIfNegative val="1"/>
            <c:bubble3D val="0"/>
            <c:spPr>
              <a:solidFill>
                <a:srgbClr val="AEABAB"/>
              </a:solidFill>
            </c:spPr>
            <c:extLst>
              <c:ext xmlns:c16="http://schemas.microsoft.com/office/drawing/2014/chart" uri="{C3380CC4-5D6E-409C-BE32-E72D297353CC}">
                <c16:uniqueId val="{000002AD-9DD8-499E-8091-3E3A56EDFAAE}"/>
              </c:ext>
            </c:extLst>
          </c:dPt>
          <c:dPt>
            <c:idx val="342"/>
            <c:invertIfNegative val="1"/>
            <c:bubble3D val="0"/>
            <c:spPr>
              <a:solidFill>
                <a:srgbClr val="AEABAB"/>
              </a:solidFill>
            </c:spPr>
            <c:extLst>
              <c:ext xmlns:c16="http://schemas.microsoft.com/office/drawing/2014/chart" uri="{C3380CC4-5D6E-409C-BE32-E72D297353CC}">
                <c16:uniqueId val="{000002AF-9DD8-499E-8091-3E3A56EDFAAE}"/>
              </c:ext>
            </c:extLst>
          </c:dPt>
          <c:dPt>
            <c:idx val="343"/>
            <c:invertIfNegative val="1"/>
            <c:bubble3D val="0"/>
            <c:spPr>
              <a:solidFill>
                <a:srgbClr val="AEABAB"/>
              </a:solidFill>
            </c:spPr>
            <c:extLst>
              <c:ext xmlns:c16="http://schemas.microsoft.com/office/drawing/2014/chart" uri="{C3380CC4-5D6E-409C-BE32-E72D297353CC}">
                <c16:uniqueId val="{000002B1-9DD8-499E-8091-3E3A56EDFAAE}"/>
              </c:ext>
            </c:extLst>
          </c:dPt>
          <c:dPt>
            <c:idx val="344"/>
            <c:invertIfNegative val="1"/>
            <c:bubble3D val="0"/>
            <c:spPr>
              <a:solidFill>
                <a:srgbClr val="AEABAB"/>
              </a:solidFill>
            </c:spPr>
            <c:extLst>
              <c:ext xmlns:c16="http://schemas.microsoft.com/office/drawing/2014/chart" uri="{C3380CC4-5D6E-409C-BE32-E72D297353CC}">
                <c16:uniqueId val="{000002B3-9DD8-499E-8091-3E3A56EDFAAE}"/>
              </c:ext>
            </c:extLst>
          </c:dPt>
          <c:dPt>
            <c:idx val="345"/>
            <c:invertIfNegative val="1"/>
            <c:bubble3D val="0"/>
            <c:spPr>
              <a:solidFill>
                <a:srgbClr val="AEABAB"/>
              </a:solidFill>
            </c:spPr>
            <c:extLst>
              <c:ext xmlns:c16="http://schemas.microsoft.com/office/drawing/2014/chart" uri="{C3380CC4-5D6E-409C-BE32-E72D297353CC}">
                <c16:uniqueId val="{000002B5-9DD8-499E-8091-3E3A56EDFAAE}"/>
              </c:ext>
            </c:extLst>
          </c:dPt>
          <c:dPt>
            <c:idx val="346"/>
            <c:invertIfNegative val="1"/>
            <c:bubble3D val="0"/>
            <c:spPr>
              <a:solidFill>
                <a:srgbClr val="AEABAB"/>
              </a:solidFill>
            </c:spPr>
            <c:extLst>
              <c:ext xmlns:c16="http://schemas.microsoft.com/office/drawing/2014/chart" uri="{C3380CC4-5D6E-409C-BE32-E72D297353CC}">
                <c16:uniqueId val="{000002B7-9DD8-499E-8091-3E3A56EDFAAE}"/>
              </c:ext>
            </c:extLst>
          </c:dPt>
          <c:dPt>
            <c:idx val="347"/>
            <c:invertIfNegative val="1"/>
            <c:bubble3D val="0"/>
            <c:spPr>
              <a:solidFill>
                <a:srgbClr val="AEABAB"/>
              </a:solidFill>
            </c:spPr>
            <c:extLst>
              <c:ext xmlns:c16="http://schemas.microsoft.com/office/drawing/2014/chart" uri="{C3380CC4-5D6E-409C-BE32-E72D297353CC}">
                <c16:uniqueId val="{000002B9-9DD8-499E-8091-3E3A56EDFAAE}"/>
              </c:ext>
            </c:extLst>
          </c:dPt>
          <c:dPt>
            <c:idx val="348"/>
            <c:invertIfNegative val="1"/>
            <c:bubble3D val="0"/>
            <c:spPr>
              <a:solidFill>
                <a:srgbClr val="AEABAB"/>
              </a:solidFill>
            </c:spPr>
            <c:extLst>
              <c:ext xmlns:c16="http://schemas.microsoft.com/office/drawing/2014/chart" uri="{C3380CC4-5D6E-409C-BE32-E72D297353CC}">
                <c16:uniqueId val="{000002BB-9DD8-499E-8091-3E3A56EDFAAE}"/>
              </c:ext>
            </c:extLst>
          </c:dPt>
          <c:dPt>
            <c:idx val="349"/>
            <c:invertIfNegative val="1"/>
            <c:bubble3D val="0"/>
            <c:spPr>
              <a:solidFill>
                <a:srgbClr val="AEABAB"/>
              </a:solidFill>
            </c:spPr>
            <c:extLst>
              <c:ext xmlns:c16="http://schemas.microsoft.com/office/drawing/2014/chart" uri="{C3380CC4-5D6E-409C-BE32-E72D297353CC}">
                <c16:uniqueId val="{000002BD-9DD8-499E-8091-3E3A56EDFAAE}"/>
              </c:ext>
            </c:extLst>
          </c:dPt>
          <c:dPt>
            <c:idx val="350"/>
            <c:invertIfNegative val="1"/>
            <c:bubble3D val="0"/>
            <c:spPr>
              <a:solidFill>
                <a:srgbClr val="AEABAB"/>
              </a:solidFill>
            </c:spPr>
            <c:extLst>
              <c:ext xmlns:c16="http://schemas.microsoft.com/office/drawing/2014/chart" uri="{C3380CC4-5D6E-409C-BE32-E72D297353CC}">
                <c16:uniqueId val="{000002BF-9DD8-499E-8091-3E3A56EDFAAE}"/>
              </c:ext>
            </c:extLst>
          </c:dPt>
          <c:dPt>
            <c:idx val="351"/>
            <c:invertIfNegative val="1"/>
            <c:bubble3D val="0"/>
            <c:spPr>
              <a:solidFill>
                <a:srgbClr val="AEABAB"/>
              </a:solidFill>
            </c:spPr>
            <c:extLst>
              <c:ext xmlns:c16="http://schemas.microsoft.com/office/drawing/2014/chart" uri="{C3380CC4-5D6E-409C-BE32-E72D297353CC}">
                <c16:uniqueId val="{000002C1-9DD8-499E-8091-3E3A56EDFAAE}"/>
              </c:ext>
            </c:extLst>
          </c:dPt>
          <c:dPt>
            <c:idx val="352"/>
            <c:invertIfNegative val="1"/>
            <c:bubble3D val="0"/>
            <c:spPr>
              <a:solidFill>
                <a:srgbClr val="AEABAB"/>
              </a:solidFill>
            </c:spPr>
            <c:extLst>
              <c:ext xmlns:c16="http://schemas.microsoft.com/office/drawing/2014/chart" uri="{C3380CC4-5D6E-409C-BE32-E72D297353CC}">
                <c16:uniqueId val="{000002C3-9DD8-499E-8091-3E3A56EDFAAE}"/>
              </c:ext>
            </c:extLst>
          </c:dPt>
          <c:dPt>
            <c:idx val="353"/>
            <c:invertIfNegative val="1"/>
            <c:bubble3D val="0"/>
            <c:spPr>
              <a:solidFill>
                <a:srgbClr val="AEABAB"/>
              </a:solidFill>
            </c:spPr>
            <c:extLst>
              <c:ext xmlns:c16="http://schemas.microsoft.com/office/drawing/2014/chart" uri="{C3380CC4-5D6E-409C-BE32-E72D297353CC}">
                <c16:uniqueId val="{000002C5-9DD8-499E-8091-3E3A56EDFAAE}"/>
              </c:ext>
            </c:extLst>
          </c:dPt>
          <c:dPt>
            <c:idx val="354"/>
            <c:invertIfNegative val="1"/>
            <c:bubble3D val="0"/>
            <c:spPr>
              <a:solidFill>
                <a:srgbClr val="AEABAB"/>
              </a:solidFill>
            </c:spPr>
            <c:extLst>
              <c:ext xmlns:c16="http://schemas.microsoft.com/office/drawing/2014/chart" uri="{C3380CC4-5D6E-409C-BE32-E72D297353CC}">
                <c16:uniqueId val="{000002C7-9DD8-499E-8091-3E3A56EDFAAE}"/>
              </c:ext>
            </c:extLst>
          </c:dPt>
          <c:dPt>
            <c:idx val="355"/>
            <c:invertIfNegative val="1"/>
            <c:bubble3D val="0"/>
            <c:spPr>
              <a:solidFill>
                <a:srgbClr val="AEABAB"/>
              </a:solidFill>
            </c:spPr>
            <c:extLst>
              <c:ext xmlns:c16="http://schemas.microsoft.com/office/drawing/2014/chart" uri="{C3380CC4-5D6E-409C-BE32-E72D297353CC}">
                <c16:uniqueId val="{000002C9-9DD8-499E-8091-3E3A56EDFAAE}"/>
              </c:ext>
            </c:extLst>
          </c:dPt>
          <c:dPt>
            <c:idx val="356"/>
            <c:invertIfNegative val="1"/>
            <c:bubble3D val="0"/>
            <c:spPr>
              <a:solidFill>
                <a:srgbClr val="AEABAB"/>
              </a:solidFill>
            </c:spPr>
            <c:extLst>
              <c:ext xmlns:c16="http://schemas.microsoft.com/office/drawing/2014/chart" uri="{C3380CC4-5D6E-409C-BE32-E72D297353CC}">
                <c16:uniqueId val="{000002CB-9DD8-499E-8091-3E3A56EDFAAE}"/>
              </c:ext>
            </c:extLst>
          </c:dPt>
          <c:dPt>
            <c:idx val="357"/>
            <c:invertIfNegative val="1"/>
            <c:bubble3D val="0"/>
            <c:spPr>
              <a:solidFill>
                <a:srgbClr val="AEABAB"/>
              </a:solidFill>
            </c:spPr>
            <c:extLst>
              <c:ext xmlns:c16="http://schemas.microsoft.com/office/drawing/2014/chart" uri="{C3380CC4-5D6E-409C-BE32-E72D297353CC}">
                <c16:uniqueId val="{000002CD-9DD8-499E-8091-3E3A56EDFAAE}"/>
              </c:ext>
            </c:extLst>
          </c:dPt>
          <c:dPt>
            <c:idx val="358"/>
            <c:invertIfNegative val="1"/>
            <c:bubble3D val="0"/>
            <c:spPr>
              <a:solidFill>
                <a:srgbClr val="AEABAB"/>
              </a:solidFill>
            </c:spPr>
            <c:extLst>
              <c:ext xmlns:c16="http://schemas.microsoft.com/office/drawing/2014/chart" uri="{C3380CC4-5D6E-409C-BE32-E72D297353CC}">
                <c16:uniqueId val="{000002CF-9DD8-499E-8091-3E3A56EDFAAE}"/>
              </c:ext>
            </c:extLst>
          </c:dPt>
          <c:dPt>
            <c:idx val="359"/>
            <c:invertIfNegative val="1"/>
            <c:bubble3D val="0"/>
            <c:spPr>
              <a:solidFill>
                <a:srgbClr val="AEABAB"/>
              </a:solidFill>
            </c:spPr>
            <c:extLst>
              <c:ext xmlns:c16="http://schemas.microsoft.com/office/drawing/2014/chart" uri="{C3380CC4-5D6E-409C-BE32-E72D297353CC}">
                <c16:uniqueId val="{000002D1-9DD8-499E-8091-3E3A56EDFAAE}"/>
              </c:ext>
            </c:extLst>
          </c:dPt>
          <c:dPt>
            <c:idx val="360"/>
            <c:invertIfNegative val="1"/>
            <c:bubble3D val="0"/>
            <c:spPr>
              <a:solidFill>
                <a:srgbClr val="AEABAB"/>
              </a:solidFill>
            </c:spPr>
            <c:extLst>
              <c:ext xmlns:c16="http://schemas.microsoft.com/office/drawing/2014/chart" uri="{C3380CC4-5D6E-409C-BE32-E72D297353CC}">
                <c16:uniqueId val="{000002D3-9DD8-499E-8091-3E3A56EDFAAE}"/>
              </c:ext>
            </c:extLst>
          </c:dPt>
          <c:dPt>
            <c:idx val="361"/>
            <c:invertIfNegative val="1"/>
            <c:bubble3D val="0"/>
            <c:spPr>
              <a:solidFill>
                <a:srgbClr val="AEABAB"/>
              </a:solidFill>
            </c:spPr>
            <c:extLst>
              <c:ext xmlns:c16="http://schemas.microsoft.com/office/drawing/2014/chart" uri="{C3380CC4-5D6E-409C-BE32-E72D297353CC}">
                <c16:uniqueId val="{000002D5-9DD8-499E-8091-3E3A56EDFAAE}"/>
              </c:ext>
            </c:extLst>
          </c:dPt>
          <c:dPt>
            <c:idx val="362"/>
            <c:invertIfNegative val="1"/>
            <c:bubble3D val="0"/>
            <c:spPr>
              <a:solidFill>
                <a:srgbClr val="AEABAB"/>
              </a:solidFill>
            </c:spPr>
            <c:extLst>
              <c:ext xmlns:c16="http://schemas.microsoft.com/office/drawing/2014/chart" uri="{C3380CC4-5D6E-409C-BE32-E72D297353CC}">
                <c16:uniqueId val="{000002D7-9DD8-499E-8091-3E3A56EDFAAE}"/>
              </c:ext>
            </c:extLst>
          </c:dPt>
          <c:dPt>
            <c:idx val="363"/>
            <c:invertIfNegative val="1"/>
            <c:bubble3D val="0"/>
            <c:spPr>
              <a:solidFill>
                <a:srgbClr val="AEABAB"/>
              </a:solidFill>
            </c:spPr>
            <c:extLst>
              <c:ext xmlns:c16="http://schemas.microsoft.com/office/drawing/2014/chart" uri="{C3380CC4-5D6E-409C-BE32-E72D297353CC}">
                <c16:uniqueId val="{000002D9-9DD8-499E-8091-3E3A56EDFAAE}"/>
              </c:ext>
            </c:extLst>
          </c:dPt>
          <c:dPt>
            <c:idx val="364"/>
            <c:invertIfNegative val="1"/>
            <c:bubble3D val="0"/>
            <c:spPr>
              <a:solidFill>
                <a:srgbClr val="AEABAB"/>
              </a:solidFill>
            </c:spPr>
            <c:extLst>
              <c:ext xmlns:c16="http://schemas.microsoft.com/office/drawing/2014/chart" uri="{C3380CC4-5D6E-409C-BE32-E72D297353CC}">
                <c16:uniqueId val="{000002DB-9DD8-499E-8091-3E3A56EDFAAE}"/>
              </c:ext>
            </c:extLst>
          </c:dPt>
          <c:dPt>
            <c:idx val="365"/>
            <c:invertIfNegative val="1"/>
            <c:bubble3D val="0"/>
            <c:spPr>
              <a:solidFill>
                <a:srgbClr val="AEABAB"/>
              </a:solidFill>
            </c:spPr>
            <c:extLst>
              <c:ext xmlns:c16="http://schemas.microsoft.com/office/drawing/2014/chart" uri="{C3380CC4-5D6E-409C-BE32-E72D297353CC}">
                <c16:uniqueId val="{000002DD-9DD8-499E-8091-3E3A56EDFAAE}"/>
              </c:ext>
            </c:extLst>
          </c:dPt>
          <c:dPt>
            <c:idx val="366"/>
            <c:invertIfNegative val="1"/>
            <c:bubble3D val="0"/>
            <c:spPr>
              <a:solidFill>
                <a:srgbClr val="AEABAB"/>
              </a:solidFill>
            </c:spPr>
            <c:extLst>
              <c:ext xmlns:c16="http://schemas.microsoft.com/office/drawing/2014/chart" uri="{C3380CC4-5D6E-409C-BE32-E72D297353CC}">
                <c16:uniqueId val="{000002DF-9DD8-499E-8091-3E3A56EDFAAE}"/>
              </c:ext>
            </c:extLst>
          </c:dPt>
          <c:dPt>
            <c:idx val="367"/>
            <c:invertIfNegative val="1"/>
            <c:bubble3D val="0"/>
            <c:spPr>
              <a:solidFill>
                <a:srgbClr val="AEABAB"/>
              </a:solidFill>
            </c:spPr>
            <c:extLst>
              <c:ext xmlns:c16="http://schemas.microsoft.com/office/drawing/2014/chart" uri="{C3380CC4-5D6E-409C-BE32-E72D297353CC}">
                <c16:uniqueId val="{000002E1-9DD8-499E-8091-3E3A56EDFAAE}"/>
              </c:ext>
            </c:extLst>
          </c:dPt>
          <c:dPt>
            <c:idx val="368"/>
            <c:invertIfNegative val="1"/>
            <c:bubble3D val="0"/>
            <c:spPr>
              <a:solidFill>
                <a:srgbClr val="AEABAB"/>
              </a:solidFill>
            </c:spPr>
            <c:extLst>
              <c:ext xmlns:c16="http://schemas.microsoft.com/office/drawing/2014/chart" uri="{C3380CC4-5D6E-409C-BE32-E72D297353CC}">
                <c16:uniqueId val="{000002E3-9DD8-499E-8091-3E3A56EDFAAE}"/>
              </c:ext>
            </c:extLst>
          </c:dPt>
          <c:dPt>
            <c:idx val="369"/>
            <c:invertIfNegative val="1"/>
            <c:bubble3D val="0"/>
            <c:spPr>
              <a:solidFill>
                <a:srgbClr val="AEABAB"/>
              </a:solidFill>
            </c:spPr>
            <c:extLst>
              <c:ext xmlns:c16="http://schemas.microsoft.com/office/drawing/2014/chart" uri="{C3380CC4-5D6E-409C-BE32-E72D297353CC}">
                <c16:uniqueId val="{000002E5-9DD8-499E-8091-3E3A56EDFAAE}"/>
              </c:ext>
            </c:extLst>
          </c:dPt>
          <c:dPt>
            <c:idx val="370"/>
            <c:invertIfNegative val="1"/>
            <c:bubble3D val="0"/>
            <c:spPr>
              <a:solidFill>
                <a:srgbClr val="AEABAB"/>
              </a:solidFill>
            </c:spPr>
            <c:extLst>
              <c:ext xmlns:c16="http://schemas.microsoft.com/office/drawing/2014/chart" uri="{C3380CC4-5D6E-409C-BE32-E72D297353CC}">
                <c16:uniqueId val="{000002E7-9DD8-499E-8091-3E3A56EDFAAE}"/>
              </c:ext>
            </c:extLst>
          </c:dPt>
          <c:dPt>
            <c:idx val="371"/>
            <c:invertIfNegative val="1"/>
            <c:bubble3D val="0"/>
            <c:spPr>
              <a:solidFill>
                <a:srgbClr val="AEABAB"/>
              </a:solidFill>
            </c:spPr>
            <c:extLst>
              <c:ext xmlns:c16="http://schemas.microsoft.com/office/drawing/2014/chart" uri="{C3380CC4-5D6E-409C-BE32-E72D297353CC}">
                <c16:uniqueId val="{000002E9-9DD8-499E-8091-3E3A56EDFAAE}"/>
              </c:ext>
            </c:extLst>
          </c:dPt>
          <c:dPt>
            <c:idx val="372"/>
            <c:invertIfNegative val="1"/>
            <c:bubble3D val="0"/>
            <c:spPr>
              <a:solidFill>
                <a:srgbClr val="AEABAB"/>
              </a:solidFill>
            </c:spPr>
            <c:extLst>
              <c:ext xmlns:c16="http://schemas.microsoft.com/office/drawing/2014/chart" uri="{C3380CC4-5D6E-409C-BE32-E72D297353CC}">
                <c16:uniqueId val="{000002EB-9DD8-499E-8091-3E3A56EDFAAE}"/>
              </c:ext>
            </c:extLst>
          </c:dPt>
          <c:dPt>
            <c:idx val="373"/>
            <c:invertIfNegative val="1"/>
            <c:bubble3D val="0"/>
            <c:spPr>
              <a:solidFill>
                <a:srgbClr val="AEABAB"/>
              </a:solidFill>
            </c:spPr>
            <c:extLst>
              <c:ext xmlns:c16="http://schemas.microsoft.com/office/drawing/2014/chart" uri="{C3380CC4-5D6E-409C-BE32-E72D297353CC}">
                <c16:uniqueId val="{000002ED-9DD8-499E-8091-3E3A56EDFAAE}"/>
              </c:ext>
            </c:extLst>
          </c:dPt>
          <c:dPt>
            <c:idx val="374"/>
            <c:invertIfNegative val="1"/>
            <c:bubble3D val="0"/>
            <c:spPr>
              <a:solidFill>
                <a:srgbClr val="AEABAB"/>
              </a:solidFill>
            </c:spPr>
            <c:extLst>
              <c:ext xmlns:c16="http://schemas.microsoft.com/office/drawing/2014/chart" uri="{C3380CC4-5D6E-409C-BE32-E72D297353CC}">
                <c16:uniqueId val="{000002EF-9DD8-499E-8091-3E3A56EDFAAE}"/>
              </c:ext>
            </c:extLst>
          </c:dPt>
          <c:dPt>
            <c:idx val="375"/>
            <c:invertIfNegative val="1"/>
            <c:bubble3D val="0"/>
            <c:spPr>
              <a:solidFill>
                <a:srgbClr val="AEABAB"/>
              </a:solidFill>
            </c:spPr>
            <c:extLst>
              <c:ext xmlns:c16="http://schemas.microsoft.com/office/drawing/2014/chart" uri="{C3380CC4-5D6E-409C-BE32-E72D297353CC}">
                <c16:uniqueId val="{000002F1-9DD8-499E-8091-3E3A56EDFAAE}"/>
              </c:ext>
            </c:extLst>
          </c:dPt>
          <c:dPt>
            <c:idx val="376"/>
            <c:invertIfNegative val="1"/>
            <c:bubble3D val="0"/>
            <c:spPr>
              <a:solidFill>
                <a:srgbClr val="AEABAB"/>
              </a:solidFill>
            </c:spPr>
            <c:extLst>
              <c:ext xmlns:c16="http://schemas.microsoft.com/office/drawing/2014/chart" uri="{C3380CC4-5D6E-409C-BE32-E72D297353CC}">
                <c16:uniqueId val="{000002F3-9DD8-499E-8091-3E3A56EDFAAE}"/>
              </c:ext>
            </c:extLst>
          </c:dPt>
          <c:dPt>
            <c:idx val="377"/>
            <c:invertIfNegative val="1"/>
            <c:bubble3D val="0"/>
            <c:spPr>
              <a:solidFill>
                <a:srgbClr val="AEABAB"/>
              </a:solidFill>
            </c:spPr>
            <c:extLst>
              <c:ext xmlns:c16="http://schemas.microsoft.com/office/drawing/2014/chart" uri="{C3380CC4-5D6E-409C-BE32-E72D297353CC}">
                <c16:uniqueId val="{000002F5-9DD8-499E-8091-3E3A56EDFAAE}"/>
              </c:ext>
            </c:extLst>
          </c:dPt>
          <c:dPt>
            <c:idx val="378"/>
            <c:invertIfNegative val="1"/>
            <c:bubble3D val="0"/>
            <c:spPr>
              <a:solidFill>
                <a:srgbClr val="AEABAB"/>
              </a:solidFill>
            </c:spPr>
            <c:extLst>
              <c:ext xmlns:c16="http://schemas.microsoft.com/office/drawing/2014/chart" uri="{C3380CC4-5D6E-409C-BE32-E72D297353CC}">
                <c16:uniqueId val="{000002F7-9DD8-499E-8091-3E3A56EDFAAE}"/>
              </c:ext>
            </c:extLst>
          </c:dPt>
          <c:dPt>
            <c:idx val="379"/>
            <c:invertIfNegative val="1"/>
            <c:bubble3D val="0"/>
            <c:spPr>
              <a:solidFill>
                <a:srgbClr val="AEABAB"/>
              </a:solidFill>
            </c:spPr>
            <c:extLst>
              <c:ext xmlns:c16="http://schemas.microsoft.com/office/drawing/2014/chart" uri="{C3380CC4-5D6E-409C-BE32-E72D297353CC}">
                <c16:uniqueId val="{000002F9-9DD8-499E-8091-3E3A56EDFAAE}"/>
              </c:ext>
            </c:extLst>
          </c:dPt>
          <c:dPt>
            <c:idx val="380"/>
            <c:invertIfNegative val="1"/>
            <c:bubble3D val="0"/>
            <c:spPr>
              <a:solidFill>
                <a:srgbClr val="AEABAB"/>
              </a:solidFill>
            </c:spPr>
            <c:extLst>
              <c:ext xmlns:c16="http://schemas.microsoft.com/office/drawing/2014/chart" uri="{C3380CC4-5D6E-409C-BE32-E72D297353CC}">
                <c16:uniqueId val="{000002FB-9DD8-499E-8091-3E3A56EDFAAE}"/>
              </c:ext>
            </c:extLst>
          </c:dPt>
          <c:dPt>
            <c:idx val="381"/>
            <c:invertIfNegative val="1"/>
            <c:bubble3D val="0"/>
            <c:spPr>
              <a:solidFill>
                <a:srgbClr val="AEABAB"/>
              </a:solidFill>
            </c:spPr>
            <c:extLst>
              <c:ext xmlns:c16="http://schemas.microsoft.com/office/drawing/2014/chart" uri="{C3380CC4-5D6E-409C-BE32-E72D297353CC}">
                <c16:uniqueId val="{000002FD-9DD8-499E-8091-3E3A56EDFAAE}"/>
              </c:ext>
            </c:extLst>
          </c:dPt>
          <c:dPt>
            <c:idx val="382"/>
            <c:invertIfNegative val="1"/>
            <c:bubble3D val="0"/>
            <c:spPr>
              <a:solidFill>
                <a:srgbClr val="AEABAB"/>
              </a:solidFill>
            </c:spPr>
            <c:extLst>
              <c:ext xmlns:c16="http://schemas.microsoft.com/office/drawing/2014/chart" uri="{C3380CC4-5D6E-409C-BE32-E72D297353CC}">
                <c16:uniqueId val="{000002FF-9DD8-499E-8091-3E3A56EDFAAE}"/>
              </c:ext>
            </c:extLst>
          </c:dPt>
          <c:dPt>
            <c:idx val="383"/>
            <c:invertIfNegative val="1"/>
            <c:bubble3D val="0"/>
            <c:spPr>
              <a:solidFill>
                <a:srgbClr val="AEABAB"/>
              </a:solidFill>
            </c:spPr>
            <c:extLst>
              <c:ext xmlns:c16="http://schemas.microsoft.com/office/drawing/2014/chart" uri="{C3380CC4-5D6E-409C-BE32-E72D297353CC}">
                <c16:uniqueId val="{00000301-9DD8-499E-8091-3E3A56EDFAAE}"/>
              </c:ext>
            </c:extLst>
          </c:dPt>
          <c:dPt>
            <c:idx val="384"/>
            <c:invertIfNegative val="1"/>
            <c:bubble3D val="0"/>
            <c:spPr>
              <a:solidFill>
                <a:srgbClr val="AEABAB"/>
              </a:solidFill>
            </c:spPr>
            <c:extLst>
              <c:ext xmlns:c16="http://schemas.microsoft.com/office/drawing/2014/chart" uri="{C3380CC4-5D6E-409C-BE32-E72D297353CC}">
                <c16:uniqueId val="{00000303-9DD8-499E-8091-3E3A56EDFAAE}"/>
              </c:ext>
            </c:extLst>
          </c:dPt>
          <c:dPt>
            <c:idx val="385"/>
            <c:invertIfNegative val="1"/>
            <c:bubble3D val="0"/>
            <c:spPr>
              <a:solidFill>
                <a:srgbClr val="AEABAB"/>
              </a:solidFill>
            </c:spPr>
            <c:extLst>
              <c:ext xmlns:c16="http://schemas.microsoft.com/office/drawing/2014/chart" uri="{C3380CC4-5D6E-409C-BE32-E72D297353CC}">
                <c16:uniqueId val="{00000305-9DD8-499E-8091-3E3A56EDFAAE}"/>
              </c:ext>
            </c:extLst>
          </c:dPt>
          <c:dPt>
            <c:idx val="386"/>
            <c:invertIfNegative val="1"/>
            <c:bubble3D val="0"/>
            <c:spPr>
              <a:solidFill>
                <a:srgbClr val="AEABAB"/>
              </a:solidFill>
            </c:spPr>
            <c:extLst>
              <c:ext xmlns:c16="http://schemas.microsoft.com/office/drawing/2014/chart" uri="{C3380CC4-5D6E-409C-BE32-E72D297353CC}">
                <c16:uniqueId val="{00000307-9DD8-499E-8091-3E3A56EDFAAE}"/>
              </c:ext>
            </c:extLst>
          </c:dPt>
          <c:dPt>
            <c:idx val="387"/>
            <c:invertIfNegative val="1"/>
            <c:bubble3D val="0"/>
            <c:spPr>
              <a:solidFill>
                <a:srgbClr val="AEABAB"/>
              </a:solidFill>
            </c:spPr>
            <c:extLst>
              <c:ext xmlns:c16="http://schemas.microsoft.com/office/drawing/2014/chart" uri="{C3380CC4-5D6E-409C-BE32-E72D297353CC}">
                <c16:uniqueId val="{00000309-9DD8-499E-8091-3E3A56EDFAAE}"/>
              </c:ext>
            </c:extLst>
          </c:dPt>
          <c:dPt>
            <c:idx val="388"/>
            <c:invertIfNegative val="1"/>
            <c:bubble3D val="0"/>
            <c:spPr>
              <a:solidFill>
                <a:srgbClr val="AEABAB"/>
              </a:solidFill>
            </c:spPr>
            <c:extLst>
              <c:ext xmlns:c16="http://schemas.microsoft.com/office/drawing/2014/chart" uri="{C3380CC4-5D6E-409C-BE32-E72D297353CC}">
                <c16:uniqueId val="{0000030B-9DD8-499E-8091-3E3A56EDFAAE}"/>
              </c:ext>
            </c:extLst>
          </c:dPt>
          <c:dPt>
            <c:idx val="389"/>
            <c:invertIfNegative val="1"/>
            <c:bubble3D val="0"/>
            <c:spPr>
              <a:solidFill>
                <a:srgbClr val="AEABAB"/>
              </a:solidFill>
            </c:spPr>
            <c:extLst>
              <c:ext xmlns:c16="http://schemas.microsoft.com/office/drawing/2014/chart" uri="{C3380CC4-5D6E-409C-BE32-E72D297353CC}">
                <c16:uniqueId val="{0000030D-9DD8-499E-8091-3E3A56EDFAAE}"/>
              </c:ext>
            </c:extLst>
          </c:dPt>
          <c:dPt>
            <c:idx val="390"/>
            <c:invertIfNegative val="1"/>
            <c:bubble3D val="0"/>
            <c:spPr>
              <a:solidFill>
                <a:srgbClr val="AEABAB"/>
              </a:solidFill>
            </c:spPr>
            <c:extLst>
              <c:ext xmlns:c16="http://schemas.microsoft.com/office/drawing/2014/chart" uri="{C3380CC4-5D6E-409C-BE32-E72D297353CC}">
                <c16:uniqueId val="{0000030F-9DD8-499E-8091-3E3A56EDFAAE}"/>
              </c:ext>
            </c:extLst>
          </c:dPt>
          <c:dPt>
            <c:idx val="391"/>
            <c:invertIfNegative val="1"/>
            <c:bubble3D val="0"/>
            <c:spPr>
              <a:solidFill>
                <a:srgbClr val="AEABAB"/>
              </a:solidFill>
            </c:spPr>
            <c:extLst>
              <c:ext xmlns:c16="http://schemas.microsoft.com/office/drawing/2014/chart" uri="{C3380CC4-5D6E-409C-BE32-E72D297353CC}">
                <c16:uniqueId val="{00000311-9DD8-499E-8091-3E3A56EDFAAE}"/>
              </c:ext>
            </c:extLst>
          </c:dPt>
          <c:dPt>
            <c:idx val="392"/>
            <c:invertIfNegative val="1"/>
            <c:bubble3D val="0"/>
            <c:spPr>
              <a:solidFill>
                <a:srgbClr val="AEABAB"/>
              </a:solidFill>
            </c:spPr>
            <c:extLst>
              <c:ext xmlns:c16="http://schemas.microsoft.com/office/drawing/2014/chart" uri="{C3380CC4-5D6E-409C-BE32-E72D297353CC}">
                <c16:uniqueId val="{00000313-9DD8-499E-8091-3E3A56EDFAAE}"/>
              </c:ext>
            </c:extLst>
          </c:dPt>
          <c:dPt>
            <c:idx val="393"/>
            <c:invertIfNegative val="1"/>
            <c:bubble3D val="0"/>
            <c:spPr>
              <a:solidFill>
                <a:srgbClr val="AEABAB"/>
              </a:solidFill>
            </c:spPr>
            <c:extLst>
              <c:ext xmlns:c16="http://schemas.microsoft.com/office/drawing/2014/chart" uri="{C3380CC4-5D6E-409C-BE32-E72D297353CC}">
                <c16:uniqueId val="{00000315-9DD8-499E-8091-3E3A56EDFAAE}"/>
              </c:ext>
            </c:extLst>
          </c:dPt>
          <c:dPt>
            <c:idx val="394"/>
            <c:invertIfNegative val="1"/>
            <c:bubble3D val="0"/>
            <c:spPr>
              <a:solidFill>
                <a:srgbClr val="AEABAB"/>
              </a:solidFill>
            </c:spPr>
            <c:extLst>
              <c:ext xmlns:c16="http://schemas.microsoft.com/office/drawing/2014/chart" uri="{C3380CC4-5D6E-409C-BE32-E72D297353CC}">
                <c16:uniqueId val="{00000317-9DD8-499E-8091-3E3A56EDFAAE}"/>
              </c:ext>
            </c:extLst>
          </c:dPt>
          <c:dPt>
            <c:idx val="395"/>
            <c:invertIfNegative val="1"/>
            <c:bubble3D val="0"/>
            <c:spPr>
              <a:solidFill>
                <a:srgbClr val="AEABAB"/>
              </a:solidFill>
            </c:spPr>
            <c:extLst>
              <c:ext xmlns:c16="http://schemas.microsoft.com/office/drawing/2014/chart" uri="{C3380CC4-5D6E-409C-BE32-E72D297353CC}">
                <c16:uniqueId val="{00000319-9DD8-499E-8091-3E3A56EDFAAE}"/>
              </c:ext>
            </c:extLst>
          </c:dPt>
          <c:dPt>
            <c:idx val="396"/>
            <c:invertIfNegative val="1"/>
            <c:bubble3D val="0"/>
            <c:spPr>
              <a:solidFill>
                <a:srgbClr val="AEABAB"/>
              </a:solidFill>
            </c:spPr>
            <c:extLst>
              <c:ext xmlns:c16="http://schemas.microsoft.com/office/drawing/2014/chart" uri="{C3380CC4-5D6E-409C-BE32-E72D297353CC}">
                <c16:uniqueId val="{0000031B-9DD8-499E-8091-3E3A56EDFAAE}"/>
              </c:ext>
            </c:extLst>
          </c:dPt>
          <c:dPt>
            <c:idx val="397"/>
            <c:invertIfNegative val="1"/>
            <c:bubble3D val="0"/>
            <c:spPr>
              <a:solidFill>
                <a:srgbClr val="AEABAB"/>
              </a:solidFill>
            </c:spPr>
            <c:extLst>
              <c:ext xmlns:c16="http://schemas.microsoft.com/office/drawing/2014/chart" uri="{C3380CC4-5D6E-409C-BE32-E72D297353CC}">
                <c16:uniqueId val="{0000031D-9DD8-499E-8091-3E3A56EDFAAE}"/>
              </c:ext>
            </c:extLst>
          </c:dPt>
          <c:dPt>
            <c:idx val="398"/>
            <c:invertIfNegative val="1"/>
            <c:bubble3D val="0"/>
            <c:spPr>
              <a:solidFill>
                <a:srgbClr val="AEABAB"/>
              </a:solidFill>
            </c:spPr>
            <c:extLst>
              <c:ext xmlns:c16="http://schemas.microsoft.com/office/drawing/2014/chart" uri="{C3380CC4-5D6E-409C-BE32-E72D297353CC}">
                <c16:uniqueId val="{0000031F-9DD8-499E-8091-3E3A56EDFAAE}"/>
              </c:ext>
            </c:extLst>
          </c:dPt>
          <c:dPt>
            <c:idx val="399"/>
            <c:invertIfNegative val="1"/>
            <c:bubble3D val="0"/>
            <c:spPr>
              <a:solidFill>
                <a:srgbClr val="AEABAB"/>
              </a:solidFill>
            </c:spPr>
            <c:extLst>
              <c:ext xmlns:c16="http://schemas.microsoft.com/office/drawing/2014/chart" uri="{C3380CC4-5D6E-409C-BE32-E72D297353CC}">
                <c16:uniqueId val="{00000321-9DD8-499E-8091-3E3A56EDFAAE}"/>
              </c:ext>
            </c:extLst>
          </c:dPt>
          <c:dPt>
            <c:idx val="400"/>
            <c:invertIfNegative val="1"/>
            <c:bubble3D val="0"/>
            <c:spPr>
              <a:solidFill>
                <a:srgbClr val="AEABAB"/>
              </a:solidFill>
            </c:spPr>
            <c:extLst>
              <c:ext xmlns:c16="http://schemas.microsoft.com/office/drawing/2014/chart" uri="{C3380CC4-5D6E-409C-BE32-E72D297353CC}">
                <c16:uniqueId val="{00000323-9DD8-499E-8091-3E3A56EDFAAE}"/>
              </c:ext>
            </c:extLst>
          </c:dPt>
          <c:dPt>
            <c:idx val="401"/>
            <c:invertIfNegative val="1"/>
            <c:bubble3D val="0"/>
            <c:spPr>
              <a:solidFill>
                <a:srgbClr val="AEABAB"/>
              </a:solidFill>
            </c:spPr>
            <c:extLst>
              <c:ext xmlns:c16="http://schemas.microsoft.com/office/drawing/2014/chart" uri="{C3380CC4-5D6E-409C-BE32-E72D297353CC}">
                <c16:uniqueId val="{00000325-9DD8-499E-8091-3E3A56EDFAAE}"/>
              </c:ext>
            </c:extLst>
          </c:dPt>
          <c:dPt>
            <c:idx val="402"/>
            <c:invertIfNegative val="1"/>
            <c:bubble3D val="0"/>
            <c:spPr>
              <a:solidFill>
                <a:srgbClr val="AEABAB"/>
              </a:solidFill>
            </c:spPr>
            <c:extLst>
              <c:ext xmlns:c16="http://schemas.microsoft.com/office/drawing/2014/chart" uri="{C3380CC4-5D6E-409C-BE32-E72D297353CC}">
                <c16:uniqueId val="{00000327-9DD8-499E-8091-3E3A56EDFAAE}"/>
              </c:ext>
            </c:extLst>
          </c:dPt>
          <c:dPt>
            <c:idx val="403"/>
            <c:invertIfNegative val="1"/>
            <c:bubble3D val="0"/>
            <c:spPr>
              <a:solidFill>
                <a:srgbClr val="AEABAB"/>
              </a:solidFill>
            </c:spPr>
            <c:extLst>
              <c:ext xmlns:c16="http://schemas.microsoft.com/office/drawing/2014/chart" uri="{C3380CC4-5D6E-409C-BE32-E72D297353CC}">
                <c16:uniqueId val="{00000329-9DD8-499E-8091-3E3A56EDFAAE}"/>
              </c:ext>
            </c:extLst>
          </c:dPt>
          <c:dPt>
            <c:idx val="404"/>
            <c:invertIfNegative val="1"/>
            <c:bubble3D val="0"/>
            <c:spPr>
              <a:solidFill>
                <a:srgbClr val="AEABAB"/>
              </a:solidFill>
            </c:spPr>
            <c:extLst>
              <c:ext xmlns:c16="http://schemas.microsoft.com/office/drawing/2014/chart" uri="{C3380CC4-5D6E-409C-BE32-E72D297353CC}">
                <c16:uniqueId val="{0000032B-9DD8-499E-8091-3E3A56EDFAAE}"/>
              </c:ext>
            </c:extLst>
          </c:dPt>
          <c:dPt>
            <c:idx val="405"/>
            <c:invertIfNegative val="1"/>
            <c:bubble3D val="0"/>
            <c:spPr>
              <a:solidFill>
                <a:srgbClr val="AEABAB"/>
              </a:solidFill>
            </c:spPr>
            <c:extLst>
              <c:ext xmlns:c16="http://schemas.microsoft.com/office/drawing/2014/chart" uri="{C3380CC4-5D6E-409C-BE32-E72D297353CC}">
                <c16:uniqueId val="{0000032D-9DD8-499E-8091-3E3A56EDFAAE}"/>
              </c:ext>
            </c:extLst>
          </c:dPt>
          <c:dPt>
            <c:idx val="406"/>
            <c:invertIfNegative val="1"/>
            <c:bubble3D val="0"/>
            <c:spPr>
              <a:solidFill>
                <a:srgbClr val="AEABAB"/>
              </a:solidFill>
            </c:spPr>
            <c:extLst>
              <c:ext xmlns:c16="http://schemas.microsoft.com/office/drawing/2014/chart" uri="{C3380CC4-5D6E-409C-BE32-E72D297353CC}">
                <c16:uniqueId val="{0000032F-9DD8-499E-8091-3E3A56EDFAAE}"/>
              </c:ext>
            </c:extLst>
          </c:dPt>
          <c:dPt>
            <c:idx val="407"/>
            <c:invertIfNegative val="1"/>
            <c:bubble3D val="0"/>
            <c:spPr>
              <a:solidFill>
                <a:srgbClr val="AEABAB"/>
              </a:solidFill>
            </c:spPr>
            <c:extLst>
              <c:ext xmlns:c16="http://schemas.microsoft.com/office/drawing/2014/chart" uri="{C3380CC4-5D6E-409C-BE32-E72D297353CC}">
                <c16:uniqueId val="{00000331-9DD8-499E-8091-3E3A56EDFAAE}"/>
              </c:ext>
            </c:extLst>
          </c:dPt>
          <c:dPt>
            <c:idx val="408"/>
            <c:invertIfNegative val="1"/>
            <c:bubble3D val="0"/>
            <c:spPr>
              <a:solidFill>
                <a:srgbClr val="AEABAB"/>
              </a:solidFill>
            </c:spPr>
            <c:extLst>
              <c:ext xmlns:c16="http://schemas.microsoft.com/office/drawing/2014/chart" uri="{C3380CC4-5D6E-409C-BE32-E72D297353CC}">
                <c16:uniqueId val="{00000333-9DD8-499E-8091-3E3A56EDFAAE}"/>
              </c:ext>
            </c:extLst>
          </c:dPt>
          <c:dPt>
            <c:idx val="409"/>
            <c:invertIfNegative val="1"/>
            <c:bubble3D val="0"/>
            <c:spPr>
              <a:solidFill>
                <a:srgbClr val="AEABAB"/>
              </a:solidFill>
            </c:spPr>
            <c:extLst>
              <c:ext xmlns:c16="http://schemas.microsoft.com/office/drawing/2014/chart" uri="{C3380CC4-5D6E-409C-BE32-E72D297353CC}">
                <c16:uniqueId val="{00000335-9DD8-499E-8091-3E3A56EDFAAE}"/>
              </c:ext>
            </c:extLst>
          </c:dPt>
          <c:dPt>
            <c:idx val="410"/>
            <c:invertIfNegative val="1"/>
            <c:bubble3D val="0"/>
            <c:spPr>
              <a:solidFill>
                <a:srgbClr val="AEABAB"/>
              </a:solidFill>
            </c:spPr>
            <c:extLst>
              <c:ext xmlns:c16="http://schemas.microsoft.com/office/drawing/2014/chart" uri="{C3380CC4-5D6E-409C-BE32-E72D297353CC}">
                <c16:uniqueId val="{00000337-9DD8-499E-8091-3E3A56EDFAAE}"/>
              </c:ext>
            </c:extLst>
          </c:dPt>
          <c:dPt>
            <c:idx val="411"/>
            <c:invertIfNegative val="1"/>
            <c:bubble3D val="0"/>
            <c:spPr>
              <a:solidFill>
                <a:srgbClr val="AEABAB"/>
              </a:solidFill>
            </c:spPr>
            <c:extLst>
              <c:ext xmlns:c16="http://schemas.microsoft.com/office/drawing/2014/chart" uri="{C3380CC4-5D6E-409C-BE32-E72D297353CC}">
                <c16:uniqueId val="{00000339-9DD8-499E-8091-3E3A56EDFAAE}"/>
              </c:ext>
            </c:extLst>
          </c:dPt>
          <c:dPt>
            <c:idx val="412"/>
            <c:invertIfNegative val="1"/>
            <c:bubble3D val="0"/>
            <c:spPr>
              <a:solidFill>
                <a:srgbClr val="AEABAB"/>
              </a:solidFill>
            </c:spPr>
            <c:extLst>
              <c:ext xmlns:c16="http://schemas.microsoft.com/office/drawing/2014/chart" uri="{C3380CC4-5D6E-409C-BE32-E72D297353CC}">
                <c16:uniqueId val="{0000033B-9DD8-499E-8091-3E3A56EDFAAE}"/>
              </c:ext>
            </c:extLst>
          </c:dPt>
          <c:dPt>
            <c:idx val="413"/>
            <c:invertIfNegative val="1"/>
            <c:bubble3D val="0"/>
            <c:spPr>
              <a:solidFill>
                <a:srgbClr val="AEABAB"/>
              </a:solidFill>
            </c:spPr>
            <c:extLst>
              <c:ext xmlns:c16="http://schemas.microsoft.com/office/drawing/2014/chart" uri="{C3380CC4-5D6E-409C-BE32-E72D297353CC}">
                <c16:uniqueId val="{0000033D-9DD8-499E-8091-3E3A56EDFAAE}"/>
              </c:ext>
            </c:extLst>
          </c:dPt>
          <c:dPt>
            <c:idx val="414"/>
            <c:invertIfNegative val="1"/>
            <c:bubble3D val="0"/>
            <c:spPr>
              <a:solidFill>
                <a:srgbClr val="AEABAB"/>
              </a:solidFill>
            </c:spPr>
            <c:extLst>
              <c:ext xmlns:c16="http://schemas.microsoft.com/office/drawing/2014/chart" uri="{C3380CC4-5D6E-409C-BE32-E72D297353CC}">
                <c16:uniqueId val="{0000033F-9DD8-499E-8091-3E3A56EDFAAE}"/>
              </c:ext>
            </c:extLst>
          </c:dPt>
          <c:dPt>
            <c:idx val="415"/>
            <c:invertIfNegative val="1"/>
            <c:bubble3D val="0"/>
            <c:spPr>
              <a:solidFill>
                <a:srgbClr val="AEABAB"/>
              </a:solidFill>
            </c:spPr>
            <c:extLst>
              <c:ext xmlns:c16="http://schemas.microsoft.com/office/drawing/2014/chart" uri="{C3380CC4-5D6E-409C-BE32-E72D297353CC}">
                <c16:uniqueId val="{00000341-9DD8-499E-8091-3E3A56EDFAAE}"/>
              </c:ext>
            </c:extLst>
          </c:dPt>
          <c:dPt>
            <c:idx val="416"/>
            <c:invertIfNegative val="1"/>
            <c:bubble3D val="0"/>
            <c:spPr>
              <a:solidFill>
                <a:srgbClr val="AEABAB"/>
              </a:solidFill>
            </c:spPr>
            <c:extLst>
              <c:ext xmlns:c16="http://schemas.microsoft.com/office/drawing/2014/chart" uri="{C3380CC4-5D6E-409C-BE32-E72D297353CC}">
                <c16:uniqueId val="{00000343-9DD8-499E-8091-3E3A56EDFAAE}"/>
              </c:ext>
            </c:extLst>
          </c:dPt>
          <c:dPt>
            <c:idx val="417"/>
            <c:invertIfNegative val="1"/>
            <c:bubble3D val="0"/>
            <c:spPr>
              <a:solidFill>
                <a:srgbClr val="AEABAB"/>
              </a:solidFill>
            </c:spPr>
            <c:extLst>
              <c:ext xmlns:c16="http://schemas.microsoft.com/office/drawing/2014/chart" uri="{C3380CC4-5D6E-409C-BE32-E72D297353CC}">
                <c16:uniqueId val="{00000345-9DD8-499E-8091-3E3A56EDFAAE}"/>
              </c:ext>
            </c:extLst>
          </c:dPt>
          <c:dPt>
            <c:idx val="418"/>
            <c:invertIfNegative val="1"/>
            <c:bubble3D val="0"/>
            <c:spPr>
              <a:solidFill>
                <a:srgbClr val="AEABAB"/>
              </a:solidFill>
            </c:spPr>
            <c:extLst>
              <c:ext xmlns:c16="http://schemas.microsoft.com/office/drawing/2014/chart" uri="{C3380CC4-5D6E-409C-BE32-E72D297353CC}">
                <c16:uniqueId val="{00000347-9DD8-499E-8091-3E3A56EDFAAE}"/>
              </c:ext>
            </c:extLst>
          </c:dPt>
          <c:dPt>
            <c:idx val="419"/>
            <c:invertIfNegative val="1"/>
            <c:bubble3D val="0"/>
            <c:spPr>
              <a:solidFill>
                <a:srgbClr val="AEABAB"/>
              </a:solidFill>
            </c:spPr>
            <c:extLst>
              <c:ext xmlns:c16="http://schemas.microsoft.com/office/drawing/2014/chart" uri="{C3380CC4-5D6E-409C-BE32-E72D297353CC}">
                <c16:uniqueId val="{00000349-9DD8-499E-8091-3E3A56EDFAAE}"/>
              </c:ext>
            </c:extLst>
          </c:dPt>
          <c:dPt>
            <c:idx val="420"/>
            <c:invertIfNegative val="1"/>
            <c:bubble3D val="0"/>
            <c:spPr>
              <a:solidFill>
                <a:srgbClr val="AEABAB"/>
              </a:solidFill>
            </c:spPr>
            <c:extLst>
              <c:ext xmlns:c16="http://schemas.microsoft.com/office/drawing/2014/chart" uri="{C3380CC4-5D6E-409C-BE32-E72D297353CC}">
                <c16:uniqueId val="{0000034B-9DD8-499E-8091-3E3A56EDFAAE}"/>
              </c:ext>
            </c:extLst>
          </c:dPt>
          <c:dPt>
            <c:idx val="421"/>
            <c:invertIfNegative val="1"/>
            <c:bubble3D val="0"/>
            <c:spPr>
              <a:solidFill>
                <a:srgbClr val="AEABAB"/>
              </a:solidFill>
            </c:spPr>
            <c:extLst>
              <c:ext xmlns:c16="http://schemas.microsoft.com/office/drawing/2014/chart" uri="{C3380CC4-5D6E-409C-BE32-E72D297353CC}">
                <c16:uniqueId val="{0000034D-9DD8-499E-8091-3E3A56EDFAAE}"/>
              </c:ext>
            </c:extLst>
          </c:dPt>
          <c:dPt>
            <c:idx val="422"/>
            <c:invertIfNegative val="1"/>
            <c:bubble3D val="0"/>
            <c:spPr>
              <a:solidFill>
                <a:srgbClr val="AEABAB"/>
              </a:solidFill>
            </c:spPr>
            <c:extLst>
              <c:ext xmlns:c16="http://schemas.microsoft.com/office/drawing/2014/chart" uri="{C3380CC4-5D6E-409C-BE32-E72D297353CC}">
                <c16:uniqueId val="{0000034F-9DD8-499E-8091-3E3A56EDFAAE}"/>
              </c:ext>
            </c:extLst>
          </c:dPt>
          <c:dPt>
            <c:idx val="423"/>
            <c:invertIfNegative val="1"/>
            <c:bubble3D val="0"/>
            <c:spPr>
              <a:solidFill>
                <a:srgbClr val="AEABAB"/>
              </a:solidFill>
            </c:spPr>
            <c:extLst>
              <c:ext xmlns:c16="http://schemas.microsoft.com/office/drawing/2014/chart" uri="{C3380CC4-5D6E-409C-BE32-E72D297353CC}">
                <c16:uniqueId val="{00000351-9DD8-499E-8091-3E3A56EDFAAE}"/>
              </c:ext>
            </c:extLst>
          </c:dPt>
          <c:dPt>
            <c:idx val="424"/>
            <c:invertIfNegative val="1"/>
            <c:bubble3D val="0"/>
            <c:spPr>
              <a:solidFill>
                <a:srgbClr val="AEABAB"/>
              </a:solidFill>
            </c:spPr>
            <c:extLst>
              <c:ext xmlns:c16="http://schemas.microsoft.com/office/drawing/2014/chart" uri="{C3380CC4-5D6E-409C-BE32-E72D297353CC}">
                <c16:uniqueId val="{00000353-9DD8-499E-8091-3E3A56EDFAAE}"/>
              </c:ext>
            </c:extLst>
          </c:dPt>
          <c:dPt>
            <c:idx val="425"/>
            <c:invertIfNegative val="1"/>
            <c:bubble3D val="0"/>
            <c:spPr>
              <a:solidFill>
                <a:srgbClr val="AEABAB"/>
              </a:solidFill>
            </c:spPr>
            <c:extLst>
              <c:ext xmlns:c16="http://schemas.microsoft.com/office/drawing/2014/chart" uri="{C3380CC4-5D6E-409C-BE32-E72D297353CC}">
                <c16:uniqueId val="{00000355-9DD8-499E-8091-3E3A56EDFAAE}"/>
              </c:ext>
            </c:extLst>
          </c:dPt>
          <c:dPt>
            <c:idx val="426"/>
            <c:invertIfNegative val="1"/>
            <c:bubble3D val="0"/>
            <c:spPr>
              <a:solidFill>
                <a:srgbClr val="AEABAB"/>
              </a:solidFill>
            </c:spPr>
            <c:extLst>
              <c:ext xmlns:c16="http://schemas.microsoft.com/office/drawing/2014/chart" uri="{C3380CC4-5D6E-409C-BE32-E72D297353CC}">
                <c16:uniqueId val="{00000357-9DD8-499E-8091-3E3A56EDFAAE}"/>
              </c:ext>
            </c:extLst>
          </c:dPt>
          <c:dPt>
            <c:idx val="427"/>
            <c:invertIfNegative val="1"/>
            <c:bubble3D val="0"/>
            <c:spPr>
              <a:solidFill>
                <a:srgbClr val="AEABAB"/>
              </a:solidFill>
            </c:spPr>
            <c:extLst>
              <c:ext xmlns:c16="http://schemas.microsoft.com/office/drawing/2014/chart" uri="{C3380CC4-5D6E-409C-BE32-E72D297353CC}">
                <c16:uniqueId val="{00000359-9DD8-499E-8091-3E3A56EDFAAE}"/>
              </c:ext>
            </c:extLst>
          </c:dPt>
          <c:dPt>
            <c:idx val="428"/>
            <c:invertIfNegative val="1"/>
            <c:bubble3D val="0"/>
            <c:spPr>
              <a:solidFill>
                <a:srgbClr val="AEABAB"/>
              </a:solidFill>
            </c:spPr>
            <c:extLst>
              <c:ext xmlns:c16="http://schemas.microsoft.com/office/drawing/2014/chart" uri="{C3380CC4-5D6E-409C-BE32-E72D297353CC}">
                <c16:uniqueId val="{0000035B-9DD8-499E-8091-3E3A56EDFAAE}"/>
              </c:ext>
            </c:extLst>
          </c:dPt>
          <c:dPt>
            <c:idx val="429"/>
            <c:invertIfNegative val="1"/>
            <c:bubble3D val="0"/>
            <c:spPr>
              <a:solidFill>
                <a:srgbClr val="AEABAB"/>
              </a:solidFill>
            </c:spPr>
            <c:extLst>
              <c:ext xmlns:c16="http://schemas.microsoft.com/office/drawing/2014/chart" uri="{C3380CC4-5D6E-409C-BE32-E72D297353CC}">
                <c16:uniqueId val="{0000035D-9DD8-499E-8091-3E3A56EDFAAE}"/>
              </c:ext>
            </c:extLst>
          </c:dPt>
          <c:dPt>
            <c:idx val="430"/>
            <c:invertIfNegative val="1"/>
            <c:bubble3D val="0"/>
            <c:spPr>
              <a:solidFill>
                <a:srgbClr val="AEABAB"/>
              </a:solidFill>
            </c:spPr>
            <c:extLst>
              <c:ext xmlns:c16="http://schemas.microsoft.com/office/drawing/2014/chart" uri="{C3380CC4-5D6E-409C-BE32-E72D297353CC}">
                <c16:uniqueId val="{0000035F-9DD8-499E-8091-3E3A56EDFAAE}"/>
              </c:ext>
            </c:extLst>
          </c:dPt>
          <c:dPt>
            <c:idx val="431"/>
            <c:invertIfNegative val="1"/>
            <c:bubble3D val="0"/>
            <c:spPr>
              <a:solidFill>
                <a:srgbClr val="AEABAB"/>
              </a:solidFill>
            </c:spPr>
            <c:extLst>
              <c:ext xmlns:c16="http://schemas.microsoft.com/office/drawing/2014/chart" uri="{C3380CC4-5D6E-409C-BE32-E72D297353CC}">
                <c16:uniqueId val="{00000361-9DD8-499E-8091-3E3A56EDFAAE}"/>
              </c:ext>
            </c:extLst>
          </c:dPt>
          <c:dPt>
            <c:idx val="432"/>
            <c:invertIfNegative val="1"/>
            <c:bubble3D val="0"/>
            <c:spPr>
              <a:solidFill>
                <a:srgbClr val="AEABAB"/>
              </a:solidFill>
            </c:spPr>
            <c:extLst>
              <c:ext xmlns:c16="http://schemas.microsoft.com/office/drawing/2014/chart" uri="{C3380CC4-5D6E-409C-BE32-E72D297353CC}">
                <c16:uniqueId val="{00000363-9DD8-499E-8091-3E3A56EDFAAE}"/>
              </c:ext>
            </c:extLst>
          </c:dPt>
          <c:dPt>
            <c:idx val="433"/>
            <c:invertIfNegative val="1"/>
            <c:bubble3D val="0"/>
            <c:spPr>
              <a:solidFill>
                <a:srgbClr val="AEABAB"/>
              </a:solidFill>
            </c:spPr>
            <c:extLst>
              <c:ext xmlns:c16="http://schemas.microsoft.com/office/drawing/2014/chart" uri="{C3380CC4-5D6E-409C-BE32-E72D297353CC}">
                <c16:uniqueId val="{00000365-9DD8-499E-8091-3E3A56EDFAAE}"/>
              </c:ext>
            </c:extLst>
          </c:dPt>
          <c:dPt>
            <c:idx val="434"/>
            <c:invertIfNegative val="1"/>
            <c:bubble3D val="0"/>
            <c:spPr>
              <a:solidFill>
                <a:srgbClr val="AEABAB"/>
              </a:solidFill>
            </c:spPr>
            <c:extLst>
              <c:ext xmlns:c16="http://schemas.microsoft.com/office/drawing/2014/chart" uri="{C3380CC4-5D6E-409C-BE32-E72D297353CC}">
                <c16:uniqueId val="{00000367-9DD8-499E-8091-3E3A56EDFAAE}"/>
              </c:ext>
            </c:extLst>
          </c:dPt>
          <c:dPt>
            <c:idx val="435"/>
            <c:invertIfNegative val="1"/>
            <c:bubble3D val="0"/>
            <c:spPr>
              <a:solidFill>
                <a:srgbClr val="AEABAB"/>
              </a:solidFill>
            </c:spPr>
            <c:extLst>
              <c:ext xmlns:c16="http://schemas.microsoft.com/office/drawing/2014/chart" uri="{C3380CC4-5D6E-409C-BE32-E72D297353CC}">
                <c16:uniqueId val="{00000369-9DD8-499E-8091-3E3A56EDFAAE}"/>
              </c:ext>
            </c:extLst>
          </c:dPt>
          <c:dPt>
            <c:idx val="436"/>
            <c:invertIfNegative val="1"/>
            <c:bubble3D val="0"/>
            <c:spPr>
              <a:solidFill>
                <a:srgbClr val="AEABAB"/>
              </a:solidFill>
            </c:spPr>
            <c:extLst>
              <c:ext xmlns:c16="http://schemas.microsoft.com/office/drawing/2014/chart" uri="{C3380CC4-5D6E-409C-BE32-E72D297353CC}">
                <c16:uniqueId val="{0000036B-9DD8-499E-8091-3E3A56EDFAAE}"/>
              </c:ext>
            </c:extLst>
          </c:dPt>
          <c:dPt>
            <c:idx val="437"/>
            <c:invertIfNegative val="1"/>
            <c:bubble3D val="0"/>
            <c:spPr>
              <a:solidFill>
                <a:srgbClr val="AEABAB"/>
              </a:solidFill>
            </c:spPr>
            <c:extLst>
              <c:ext xmlns:c16="http://schemas.microsoft.com/office/drawing/2014/chart" uri="{C3380CC4-5D6E-409C-BE32-E72D297353CC}">
                <c16:uniqueId val="{0000036D-9DD8-499E-8091-3E3A56EDFAAE}"/>
              </c:ext>
            </c:extLst>
          </c:dPt>
          <c:dPt>
            <c:idx val="438"/>
            <c:invertIfNegative val="1"/>
            <c:bubble3D val="0"/>
            <c:spPr>
              <a:solidFill>
                <a:srgbClr val="AEABAB"/>
              </a:solidFill>
            </c:spPr>
            <c:extLst>
              <c:ext xmlns:c16="http://schemas.microsoft.com/office/drawing/2014/chart" uri="{C3380CC4-5D6E-409C-BE32-E72D297353CC}">
                <c16:uniqueId val="{0000036F-9DD8-499E-8091-3E3A56EDFAAE}"/>
              </c:ext>
            </c:extLst>
          </c:dPt>
          <c:dPt>
            <c:idx val="439"/>
            <c:invertIfNegative val="1"/>
            <c:bubble3D val="0"/>
            <c:spPr>
              <a:solidFill>
                <a:srgbClr val="AEABAB"/>
              </a:solidFill>
            </c:spPr>
            <c:extLst>
              <c:ext xmlns:c16="http://schemas.microsoft.com/office/drawing/2014/chart" uri="{C3380CC4-5D6E-409C-BE32-E72D297353CC}">
                <c16:uniqueId val="{00000371-9DD8-499E-8091-3E3A56EDFAAE}"/>
              </c:ext>
            </c:extLst>
          </c:dPt>
          <c:dPt>
            <c:idx val="440"/>
            <c:invertIfNegative val="1"/>
            <c:bubble3D val="0"/>
            <c:spPr>
              <a:solidFill>
                <a:srgbClr val="AEABAB"/>
              </a:solidFill>
            </c:spPr>
            <c:extLst>
              <c:ext xmlns:c16="http://schemas.microsoft.com/office/drawing/2014/chart" uri="{C3380CC4-5D6E-409C-BE32-E72D297353CC}">
                <c16:uniqueId val="{00000373-9DD8-499E-8091-3E3A56EDFAAE}"/>
              </c:ext>
            </c:extLst>
          </c:dPt>
          <c:dPt>
            <c:idx val="441"/>
            <c:invertIfNegative val="1"/>
            <c:bubble3D val="0"/>
            <c:spPr>
              <a:solidFill>
                <a:srgbClr val="AEABAB"/>
              </a:solidFill>
            </c:spPr>
            <c:extLst>
              <c:ext xmlns:c16="http://schemas.microsoft.com/office/drawing/2014/chart" uri="{C3380CC4-5D6E-409C-BE32-E72D297353CC}">
                <c16:uniqueId val="{00000375-9DD8-499E-8091-3E3A56EDFAAE}"/>
              </c:ext>
            </c:extLst>
          </c:dPt>
          <c:dPt>
            <c:idx val="442"/>
            <c:invertIfNegative val="1"/>
            <c:bubble3D val="0"/>
            <c:spPr>
              <a:solidFill>
                <a:srgbClr val="AEABAB"/>
              </a:solidFill>
            </c:spPr>
            <c:extLst>
              <c:ext xmlns:c16="http://schemas.microsoft.com/office/drawing/2014/chart" uri="{C3380CC4-5D6E-409C-BE32-E72D297353CC}">
                <c16:uniqueId val="{00000377-9DD8-499E-8091-3E3A56EDFAAE}"/>
              </c:ext>
            </c:extLst>
          </c:dPt>
          <c:dPt>
            <c:idx val="443"/>
            <c:invertIfNegative val="1"/>
            <c:bubble3D val="0"/>
            <c:spPr>
              <a:solidFill>
                <a:srgbClr val="AEABAB"/>
              </a:solidFill>
            </c:spPr>
            <c:extLst>
              <c:ext xmlns:c16="http://schemas.microsoft.com/office/drawing/2014/chart" uri="{C3380CC4-5D6E-409C-BE32-E72D297353CC}">
                <c16:uniqueId val="{00000379-9DD8-499E-8091-3E3A56EDFAAE}"/>
              </c:ext>
            </c:extLst>
          </c:dPt>
          <c:dPt>
            <c:idx val="444"/>
            <c:invertIfNegative val="1"/>
            <c:bubble3D val="0"/>
            <c:spPr>
              <a:solidFill>
                <a:srgbClr val="AEABAB"/>
              </a:solidFill>
            </c:spPr>
            <c:extLst>
              <c:ext xmlns:c16="http://schemas.microsoft.com/office/drawing/2014/chart" uri="{C3380CC4-5D6E-409C-BE32-E72D297353CC}">
                <c16:uniqueId val="{0000037B-9DD8-499E-8091-3E3A56EDFAAE}"/>
              </c:ext>
            </c:extLst>
          </c:dPt>
          <c:dPt>
            <c:idx val="445"/>
            <c:invertIfNegative val="1"/>
            <c:bubble3D val="0"/>
            <c:spPr>
              <a:solidFill>
                <a:srgbClr val="AEABAB"/>
              </a:solidFill>
            </c:spPr>
            <c:extLst>
              <c:ext xmlns:c16="http://schemas.microsoft.com/office/drawing/2014/chart" uri="{C3380CC4-5D6E-409C-BE32-E72D297353CC}">
                <c16:uniqueId val="{0000037D-9DD8-499E-8091-3E3A56EDFAAE}"/>
              </c:ext>
            </c:extLst>
          </c:dPt>
          <c:dPt>
            <c:idx val="446"/>
            <c:invertIfNegative val="1"/>
            <c:bubble3D val="0"/>
            <c:spPr>
              <a:solidFill>
                <a:srgbClr val="AEABAB"/>
              </a:solidFill>
            </c:spPr>
            <c:extLst>
              <c:ext xmlns:c16="http://schemas.microsoft.com/office/drawing/2014/chart" uri="{C3380CC4-5D6E-409C-BE32-E72D297353CC}">
                <c16:uniqueId val="{0000037F-9DD8-499E-8091-3E3A56EDFAAE}"/>
              </c:ext>
            </c:extLst>
          </c:dPt>
          <c:dPt>
            <c:idx val="447"/>
            <c:invertIfNegative val="1"/>
            <c:bubble3D val="0"/>
            <c:spPr>
              <a:solidFill>
                <a:srgbClr val="AEABAB"/>
              </a:solidFill>
            </c:spPr>
            <c:extLst>
              <c:ext xmlns:c16="http://schemas.microsoft.com/office/drawing/2014/chart" uri="{C3380CC4-5D6E-409C-BE32-E72D297353CC}">
                <c16:uniqueId val="{00000381-9DD8-499E-8091-3E3A56EDFAAE}"/>
              </c:ext>
            </c:extLst>
          </c:dPt>
          <c:dPt>
            <c:idx val="448"/>
            <c:invertIfNegative val="1"/>
            <c:bubble3D val="0"/>
            <c:spPr>
              <a:solidFill>
                <a:srgbClr val="AEABAB"/>
              </a:solidFill>
            </c:spPr>
            <c:extLst>
              <c:ext xmlns:c16="http://schemas.microsoft.com/office/drawing/2014/chart" uri="{C3380CC4-5D6E-409C-BE32-E72D297353CC}">
                <c16:uniqueId val="{00000383-9DD8-499E-8091-3E3A56EDFAAE}"/>
              </c:ext>
            </c:extLst>
          </c:dPt>
          <c:dPt>
            <c:idx val="449"/>
            <c:invertIfNegative val="1"/>
            <c:bubble3D val="0"/>
            <c:spPr>
              <a:solidFill>
                <a:srgbClr val="AEABAB"/>
              </a:solidFill>
            </c:spPr>
            <c:extLst>
              <c:ext xmlns:c16="http://schemas.microsoft.com/office/drawing/2014/chart" uri="{C3380CC4-5D6E-409C-BE32-E72D297353CC}">
                <c16:uniqueId val="{00000385-9DD8-499E-8091-3E3A56EDFAAE}"/>
              </c:ext>
            </c:extLst>
          </c:dPt>
          <c:dPt>
            <c:idx val="450"/>
            <c:invertIfNegative val="1"/>
            <c:bubble3D val="0"/>
            <c:spPr>
              <a:solidFill>
                <a:srgbClr val="AEABAB"/>
              </a:solidFill>
            </c:spPr>
            <c:extLst>
              <c:ext xmlns:c16="http://schemas.microsoft.com/office/drawing/2014/chart" uri="{C3380CC4-5D6E-409C-BE32-E72D297353CC}">
                <c16:uniqueId val="{00000387-9DD8-499E-8091-3E3A56EDFAAE}"/>
              </c:ext>
            </c:extLst>
          </c:dPt>
          <c:dPt>
            <c:idx val="451"/>
            <c:invertIfNegative val="1"/>
            <c:bubble3D val="0"/>
            <c:spPr>
              <a:solidFill>
                <a:srgbClr val="AEABAB"/>
              </a:solidFill>
            </c:spPr>
            <c:extLst>
              <c:ext xmlns:c16="http://schemas.microsoft.com/office/drawing/2014/chart" uri="{C3380CC4-5D6E-409C-BE32-E72D297353CC}">
                <c16:uniqueId val="{00000389-9DD8-499E-8091-3E3A56EDFAAE}"/>
              </c:ext>
            </c:extLst>
          </c:dPt>
          <c:dPt>
            <c:idx val="452"/>
            <c:invertIfNegative val="1"/>
            <c:bubble3D val="0"/>
            <c:spPr>
              <a:solidFill>
                <a:srgbClr val="AEABAB"/>
              </a:solidFill>
            </c:spPr>
            <c:extLst>
              <c:ext xmlns:c16="http://schemas.microsoft.com/office/drawing/2014/chart" uri="{C3380CC4-5D6E-409C-BE32-E72D297353CC}">
                <c16:uniqueId val="{0000038B-9DD8-499E-8091-3E3A56EDFAAE}"/>
              </c:ext>
            </c:extLst>
          </c:dPt>
          <c:dPt>
            <c:idx val="453"/>
            <c:invertIfNegative val="1"/>
            <c:bubble3D val="0"/>
            <c:spPr>
              <a:solidFill>
                <a:srgbClr val="AEABAB"/>
              </a:solidFill>
            </c:spPr>
            <c:extLst>
              <c:ext xmlns:c16="http://schemas.microsoft.com/office/drawing/2014/chart" uri="{C3380CC4-5D6E-409C-BE32-E72D297353CC}">
                <c16:uniqueId val="{0000038D-9DD8-499E-8091-3E3A56EDFAAE}"/>
              </c:ext>
            </c:extLst>
          </c:dPt>
          <c:dPt>
            <c:idx val="454"/>
            <c:invertIfNegative val="1"/>
            <c:bubble3D val="0"/>
            <c:spPr>
              <a:solidFill>
                <a:srgbClr val="AEABAB"/>
              </a:solidFill>
            </c:spPr>
            <c:extLst>
              <c:ext xmlns:c16="http://schemas.microsoft.com/office/drawing/2014/chart" uri="{C3380CC4-5D6E-409C-BE32-E72D297353CC}">
                <c16:uniqueId val="{0000038F-9DD8-499E-8091-3E3A56EDFAAE}"/>
              </c:ext>
            </c:extLst>
          </c:dPt>
          <c:dPt>
            <c:idx val="455"/>
            <c:invertIfNegative val="1"/>
            <c:bubble3D val="0"/>
            <c:spPr>
              <a:solidFill>
                <a:srgbClr val="AEABAB"/>
              </a:solidFill>
            </c:spPr>
            <c:extLst>
              <c:ext xmlns:c16="http://schemas.microsoft.com/office/drawing/2014/chart" uri="{C3380CC4-5D6E-409C-BE32-E72D297353CC}">
                <c16:uniqueId val="{00000391-9DD8-499E-8091-3E3A56EDFAAE}"/>
              </c:ext>
            </c:extLst>
          </c:dPt>
          <c:dPt>
            <c:idx val="456"/>
            <c:invertIfNegative val="1"/>
            <c:bubble3D val="0"/>
            <c:spPr>
              <a:solidFill>
                <a:srgbClr val="AEABAB"/>
              </a:solidFill>
            </c:spPr>
            <c:extLst>
              <c:ext xmlns:c16="http://schemas.microsoft.com/office/drawing/2014/chart" uri="{C3380CC4-5D6E-409C-BE32-E72D297353CC}">
                <c16:uniqueId val="{00000393-9DD8-499E-8091-3E3A56EDFAAE}"/>
              </c:ext>
            </c:extLst>
          </c:dPt>
          <c:dPt>
            <c:idx val="457"/>
            <c:invertIfNegative val="1"/>
            <c:bubble3D val="0"/>
            <c:spPr>
              <a:solidFill>
                <a:srgbClr val="AEABAB"/>
              </a:solidFill>
            </c:spPr>
            <c:extLst>
              <c:ext xmlns:c16="http://schemas.microsoft.com/office/drawing/2014/chart" uri="{C3380CC4-5D6E-409C-BE32-E72D297353CC}">
                <c16:uniqueId val="{00000395-9DD8-499E-8091-3E3A56EDFAAE}"/>
              </c:ext>
            </c:extLst>
          </c:dPt>
          <c:dPt>
            <c:idx val="458"/>
            <c:invertIfNegative val="1"/>
            <c:bubble3D val="0"/>
            <c:spPr>
              <a:solidFill>
                <a:srgbClr val="AEABAB"/>
              </a:solidFill>
            </c:spPr>
            <c:extLst>
              <c:ext xmlns:c16="http://schemas.microsoft.com/office/drawing/2014/chart" uri="{C3380CC4-5D6E-409C-BE32-E72D297353CC}">
                <c16:uniqueId val="{00000397-9DD8-499E-8091-3E3A56EDFAAE}"/>
              </c:ext>
            </c:extLst>
          </c:dPt>
          <c:dPt>
            <c:idx val="459"/>
            <c:invertIfNegative val="1"/>
            <c:bubble3D val="0"/>
            <c:spPr>
              <a:solidFill>
                <a:srgbClr val="AEABAB"/>
              </a:solidFill>
            </c:spPr>
            <c:extLst>
              <c:ext xmlns:c16="http://schemas.microsoft.com/office/drawing/2014/chart" uri="{C3380CC4-5D6E-409C-BE32-E72D297353CC}">
                <c16:uniqueId val="{00000399-9DD8-499E-8091-3E3A56EDFAAE}"/>
              </c:ext>
            </c:extLst>
          </c:dPt>
          <c:dPt>
            <c:idx val="460"/>
            <c:invertIfNegative val="1"/>
            <c:bubble3D val="0"/>
            <c:spPr>
              <a:solidFill>
                <a:srgbClr val="AEABAB"/>
              </a:solidFill>
            </c:spPr>
            <c:extLst>
              <c:ext xmlns:c16="http://schemas.microsoft.com/office/drawing/2014/chart" uri="{C3380CC4-5D6E-409C-BE32-E72D297353CC}">
                <c16:uniqueId val="{0000039B-9DD8-499E-8091-3E3A56EDFAAE}"/>
              </c:ext>
            </c:extLst>
          </c:dPt>
          <c:dPt>
            <c:idx val="461"/>
            <c:invertIfNegative val="1"/>
            <c:bubble3D val="0"/>
            <c:spPr>
              <a:solidFill>
                <a:srgbClr val="AEABAB"/>
              </a:solidFill>
            </c:spPr>
            <c:extLst>
              <c:ext xmlns:c16="http://schemas.microsoft.com/office/drawing/2014/chart" uri="{C3380CC4-5D6E-409C-BE32-E72D297353CC}">
                <c16:uniqueId val="{0000039D-9DD8-499E-8091-3E3A56EDFAAE}"/>
              </c:ext>
            </c:extLst>
          </c:dPt>
          <c:dPt>
            <c:idx val="462"/>
            <c:invertIfNegative val="1"/>
            <c:bubble3D val="0"/>
            <c:spPr>
              <a:solidFill>
                <a:srgbClr val="AEABAB"/>
              </a:solidFill>
            </c:spPr>
            <c:extLst>
              <c:ext xmlns:c16="http://schemas.microsoft.com/office/drawing/2014/chart" uri="{C3380CC4-5D6E-409C-BE32-E72D297353CC}">
                <c16:uniqueId val="{0000039F-9DD8-499E-8091-3E3A56EDFAAE}"/>
              </c:ext>
            </c:extLst>
          </c:dPt>
          <c:dPt>
            <c:idx val="463"/>
            <c:invertIfNegative val="1"/>
            <c:bubble3D val="0"/>
            <c:spPr>
              <a:solidFill>
                <a:srgbClr val="AEABAB"/>
              </a:solidFill>
            </c:spPr>
            <c:extLst>
              <c:ext xmlns:c16="http://schemas.microsoft.com/office/drawing/2014/chart" uri="{C3380CC4-5D6E-409C-BE32-E72D297353CC}">
                <c16:uniqueId val="{000003A1-9DD8-499E-8091-3E3A56EDFAAE}"/>
              </c:ext>
            </c:extLst>
          </c:dPt>
          <c:dPt>
            <c:idx val="464"/>
            <c:invertIfNegative val="1"/>
            <c:bubble3D val="0"/>
            <c:spPr>
              <a:solidFill>
                <a:srgbClr val="AEABAB"/>
              </a:solidFill>
            </c:spPr>
            <c:extLst>
              <c:ext xmlns:c16="http://schemas.microsoft.com/office/drawing/2014/chart" uri="{C3380CC4-5D6E-409C-BE32-E72D297353CC}">
                <c16:uniqueId val="{000003A3-9DD8-499E-8091-3E3A56EDFAAE}"/>
              </c:ext>
            </c:extLst>
          </c:dPt>
          <c:dPt>
            <c:idx val="465"/>
            <c:invertIfNegative val="1"/>
            <c:bubble3D val="0"/>
            <c:spPr>
              <a:solidFill>
                <a:srgbClr val="AEABAB"/>
              </a:solidFill>
            </c:spPr>
            <c:extLst>
              <c:ext xmlns:c16="http://schemas.microsoft.com/office/drawing/2014/chart" uri="{C3380CC4-5D6E-409C-BE32-E72D297353CC}">
                <c16:uniqueId val="{000003A5-9DD8-499E-8091-3E3A56EDFAAE}"/>
              </c:ext>
            </c:extLst>
          </c:dPt>
          <c:dPt>
            <c:idx val="466"/>
            <c:invertIfNegative val="1"/>
            <c:bubble3D val="0"/>
            <c:spPr>
              <a:solidFill>
                <a:srgbClr val="AEABAB"/>
              </a:solidFill>
            </c:spPr>
            <c:extLst>
              <c:ext xmlns:c16="http://schemas.microsoft.com/office/drawing/2014/chart" uri="{C3380CC4-5D6E-409C-BE32-E72D297353CC}">
                <c16:uniqueId val="{000003A7-9DD8-499E-8091-3E3A56EDFAAE}"/>
              </c:ext>
            </c:extLst>
          </c:dPt>
          <c:dPt>
            <c:idx val="467"/>
            <c:invertIfNegative val="1"/>
            <c:bubble3D val="0"/>
            <c:spPr>
              <a:solidFill>
                <a:srgbClr val="AEABAB"/>
              </a:solidFill>
            </c:spPr>
            <c:extLst>
              <c:ext xmlns:c16="http://schemas.microsoft.com/office/drawing/2014/chart" uri="{C3380CC4-5D6E-409C-BE32-E72D297353CC}">
                <c16:uniqueId val="{000003A9-9DD8-499E-8091-3E3A56EDFAAE}"/>
              </c:ext>
            </c:extLst>
          </c:dPt>
          <c:dPt>
            <c:idx val="468"/>
            <c:invertIfNegative val="1"/>
            <c:bubble3D val="0"/>
            <c:spPr>
              <a:solidFill>
                <a:srgbClr val="AEABAB"/>
              </a:solidFill>
            </c:spPr>
            <c:extLst>
              <c:ext xmlns:c16="http://schemas.microsoft.com/office/drawing/2014/chart" uri="{C3380CC4-5D6E-409C-BE32-E72D297353CC}">
                <c16:uniqueId val="{000003AB-9DD8-499E-8091-3E3A56EDFAAE}"/>
              </c:ext>
            </c:extLst>
          </c:dPt>
          <c:dPt>
            <c:idx val="469"/>
            <c:invertIfNegative val="1"/>
            <c:bubble3D val="0"/>
            <c:spPr>
              <a:solidFill>
                <a:srgbClr val="AEABAB"/>
              </a:solidFill>
            </c:spPr>
            <c:extLst>
              <c:ext xmlns:c16="http://schemas.microsoft.com/office/drawing/2014/chart" uri="{C3380CC4-5D6E-409C-BE32-E72D297353CC}">
                <c16:uniqueId val="{000003AD-9DD8-499E-8091-3E3A56EDFAAE}"/>
              </c:ext>
            </c:extLst>
          </c:dPt>
          <c:dPt>
            <c:idx val="470"/>
            <c:invertIfNegative val="1"/>
            <c:bubble3D val="0"/>
            <c:spPr>
              <a:solidFill>
                <a:srgbClr val="AEABAB"/>
              </a:solidFill>
            </c:spPr>
            <c:extLst>
              <c:ext xmlns:c16="http://schemas.microsoft.com/office/drawing/2014/chart" uri="{C3380CC4-5D6E-409C-BE32-E72D297353CC}">
                <c16:uniqueId val="{000003AF-9DD8-499E-8091-3E3A56EDFAAE}"/>
              </c:ext>
            </c:extLst>
          </c:dPt>
          <c:dPt>
            <c:idx val="471"/>
            <c:invertIfNegative val="1"/>
            <c:bubble3D val="0"/>
            <c:spPr>
              <a:solidFill>
                <a:srgbClr val="AEABAB"/>
              </a:solidFill>
            </c:spPr>
            <c:extLst>
              <c:ext xmlns:c16="http://schemas.microsoft.com/office/drawing/2014/chart" uri="{C3380CC4-5D6E-409C-BE32-E72D297353CC}">
                <c16:uniqueId val="{000003B1-9DD8-499E-8091-3E3A56EDFAAE}"/>
              </c:ext>
            </c:extLst>
          </c:dPt>
          <c:dPt>
            <c:idx val="472"/>
            <c:invertIfNegative val="1"/>
            <c:bubble3D val="0"/>
            <c:spPr>
              <a:solidFill>
                <a:srgbClr val="AEABAB"/>
              </a:solidFill>
            </c:spPr>
            <c:extLst>
              <c:ext xmlns:c16="http://schemas.microsoft.com/office/drawing/2014/chart" uri="{C3380CC4-5D6E-409C-BE32-E72D297353CC}">
                <c16:uniqueId val="{000003B3-9DD8-499E-8091-3E3A56EDFAAE}"/>
              </c:ext>
            </c:extLst>
          </c:dPt>
          <c:dPt>
            <c:idx val="473"/>
            <c:invertIfNegative val="1"/>
            <c:bubble3D val="0"/>
            <c:spPr>
              <a:solidFill>
                <a:srgbClr val="AEABAB"/>
              </a:solidFill>
            </c:spPr>
            <c:extLst>
              <c:ext xmlns:c16="http://schemas.microsoft.com/office/drawing/2014/chart" uri="{C3380CC4-5D6E-409C-BE32-E72D297353CC}">
                <c16:uniqueId val="{000003B5-9DD8-499E-8091-3E3A56EDFAAE}"/>
              </c:ext>
            </c:extLst>
          </c:dPt>
          <c:dPt>
            <c:idx val="474"/>
            <c:invertIfNegative val="1"/>
            <c:bubble3D val="0"/>
            <c:spPr>
              <a:solidFill>
                <a:srgbClr val="AEABAB"/>
              </a:solidFill>
            </c:spPr>
            <c:extLst>
              <c:ext xmlns:c16="http://schemas.microsoft.com/office/drawing/2014/chart" uri="{C3380CC4-5D6E-409C-BE32-E72D297353CC}">
                <c16:uniqueId val="{000003B7-9DD8-499E-8091-3E3A56EDFAAE}"/>
              </c:ext>
            </c:extLst>
          </c:dPt>
          <c:dPt>
            <c:idx val="475"/>
            <c:invertIfNegative val="1"/>
            <c:bubble3D val="0"/>
            <c:spPr>
              <a:solidFill>
                <a:srgbClr val="AEABAB"/>
              </a:solidFill>
            </c:spPr>
            <c:extLst>
              <c:ext xmlns:c16="http://schemas.microsoft.com/office/drawing/2014/chart" uri="{C3380CC4-5D6E-409C-BE32-E72D297353CC}">
                <c16:uniqueId val="{000003B9-9DD8-499E-8091-3E3A56EDFAAE}"/>
              </c:ext>
            </c:extLst>
          </c:dPt>
          <c:dPt>
            <c:idx val="476"/>
            <c:invertIfNegative val="1"/>
            <c:bubble3D val="0"/>
            <c:spPr>
              <a:solidFill>
                <a:srgbClr val="AEABAB"/>
              </a:solidFill>
            </c:spPr>
            <c:extLst>
              <c:ext xmlns:c16="http://schemas.microsoft.com/office/drawing/2014/chart" uri="{C3380CC4-5D6E-409C-BE32-E72D297353CC}">
                <c16:uniqueId val="{000003BB-9DD8-499E-8091-3E3A56EDFAAE}"/>
              </c:ext>
            </c:extLst>
          </c:dPt>
          <c:dPt>
            <c:idx val="477"/>
            <c:invertIfNegative val="1"/>
            <c:bubble3D val="0"/>
            <c:spPr>
              <a:solidFill>
                <a:srgbClr val="AEABAB"/>
              </a:solidFill>
            </c:spPr>
            <c:extLst>
              <c:ext xmlns:c16="http://schemas.microsoft.com/office/drawing/2014/chart" uri="{C3380CC4-5D6E-409C-BE32-E72D297353CC}">
                <c16:uniqueId val="{000003BD-9DD8-499E-8091-3E3A56EDFAAE}"/>
              </c:ext>
            </c:extLst>
          </c:dPt>
          <c:dPt>
            <c:idx val="478"/>
            <c:invertIfNegative val="1"/>
            <c:bubble3D val="0"/>
            <c:spPr>
              <a:solidFill>
                <a:srgbClr val="AEABAB"/>
              </a:solidFill>
            </c:spPr>
            <c:extLst>
              <c:ext xmlns:c16="http://schemas.microsoft.com/office/drawing/2014/chart" uri="{C3380CC4-5D6E-409C-BE32-E72D297353CC}">
                <c16:uniqueId val="{000003BF-9DD8-499E-8091-3E3A56EDFAAE}"/>
              </c:ext>
            </c:extLst>
          </c:dPt>
          <c:dPt>
            <c:idx val="479"/>
            <c:invertIfNegative val="1"/>
            <c:bubble3D val="0"/>
            <c:spPr>
              <a:solidFill>
                <a:srgbClr val="AEABAB"/>
              </a:solidFill>
            </c:spPr>
            <c:extLst>
              <c:ext xmlns:c16="http://schemas.microsoft.com/office/drawing/2014/chart" uri="{C3380CC4-5D6E-409C-BE32-E72D297353CC}">
                <c16:uniqueId val="{000003C1-9DD8-499E-8091-3E3A56EDFAAE}"/>
              </c:ext>
            </c:extLst>
          </c:dPt>
          <c:dPt>
            <c:idx val="480"/>
            <c:invertIfNegative val="1"/>
            <c:bubble3D val="0"/>
            <c:spPr>
              <a:solidFill>
                <a:srgbClr val="AEABAB"/>
              </a:solidFill>
            </c:spPr>
            <c:extLst>
              <c:ext xmlns:c16="http://schemas.microsoft.com/office/drawing/2014/chart" uri="{C3380CC4-5D6E-409C-BE32-E72D297353CC}">
                <c16:uniqueId val="{000003C3-9DD8-499E-8091-3E3A56EDFAAE}"/>
              </c:ext>
            </c:extLst>
          </c:dPt>
          <c:dPt>
            <c:idx val="481"/>
            <c:invertIfNegative val="1"/>
            <c:bubble3D val="0"/>
            <c:spPr>
              <a:solidFill>
                <a:srgbClr val="AEABAB"/>
              </a:solidFill>
            </c:spPr>
            <c:extLst>
              <c:ext xmlns:c16="http://schemas.microsoft.com/office/drawing/2014/chart" uri="{C3380CC4-5D6E-409C-BE32-E72D297353CC}">
                <c16:uniqueId val="{000003C5-9DD8-499E-8091-3E3A56EDFAAE}"/>
              </c:ext>
            </c:extLst>
          </c:dPt>
          <c:dPt>
            <c:idx val="482"/>
            <c:invertIfNegative val="1"/>
            <c:bubble3D val="0"/>
            <c:spPr>
              <a:solidFill>
                <a:srgbClr val="AEABAB"/>
              </a:solidFill>
            </c:spPr>
            <c:extLst>
              <c:ext xmlns:c16="http://schemas.microsoft.com/office/drawing/2014/chart" uri="{C3380CC4-5D6E-409C-BE32-E72D297353CC}">
                <c16:uniqueId val="{000003C7-9DD8-499E-8091-3E3A56EDFAAE}"/>
              </c:ext>
            </c:extLst>
          </c:dPt>
          <c:dPt>
            <c:idx val="483"/>
            <c:invertIfNegative val="1"/>
            <c:bubble3D val="0"/>
            <c:spPr>
              <a:solidFill>
                <a:srgbClr val="AEABAB"/>
              </a:solidFill>
            </c:spPr>
            <c:extLst>
              <c:ext xmlns:c16="http://schemas.microsoft.com/office/drawing/2014/chart" uri="{C3380CC4-5D6E-409C-BE32-E72D297353CC}">
                <c16:uniqueId val="{000003C9-9DD8-499E-8091-3E3A56EDFAAE}"/>
              </c:ext>
            </c:extLst>
          </c:dPt>
          <c:dPt>
            <c:idx val="484"/>
            <c:invertIfNegative val="1"/>
            <c:bubble3D val="0"/>
            <c:spPr>
              <a:solidFill>
                <a:srgbClr val="AEABAB"/>
              </a:solidFill>
            </c:spPr>
            <c:extLst>
              <c:ext xmlns:c16="http://schemas.microsoft.com/office/drawing/2014/chart" uri="{C3380CC4-5D6E-409C-BE32-E72D297353CC}">
                <c16:uniqueId val="{000003CB-9DD8-499E-8091-3E3A56EDFAAE}"/>
              </c:ext>
            </c:extLst>
          </c:dPt>
          <c:dPt>
            <c:idx val="485"/>
            <c:invertIfNegative val="1"/>
            <c:bubble3D val="0"/>
            <c:spPr>
              <a:solidFill>
                <a:srgbClr val="AEABAB"/>
              </a:solidFill>
            </c:spPr>
            <c:extLst>
              <c:ext xmlns:c16="http://schemas.microsoft.com/office/drawing/2014/chart" uri="{C3380CC4-5D6E-409C-BE32-E72D297353CC}">
                <c16:uniqueId val="{000003CD-9DD8-499E-8091-3E3A56EDFAAE}"/>
              </c:ext>
            </c:extLst>
          </c:dPt>
          <c:dPt>
            <c:idx val="486"/>
            <c:invertIfNegative val="1"/>
            <c:bubble3D val="0"/>
            <c:spPr>
              <a:solidFill>
                <a:srgbClr val="AEABAB"/>
              </a:solidFill>
            </c:spPr>
            <c:extLst>
              <c:ext xmlns:c16="http://schemas.microsoft.com/office/drawing/2014/chart" uri="{C3380CC4-5D6E-409C-BE32-E72D297353CC}">
                <c16:uniqueId val="{000003CF-9DD8-499E-8091-3E3A56EDFAAE}"/>
              </c:ext>
            </c:extLst>
          </c:dPt>
          <c:dPt>
            <c:idx val="487"/>
            <c:invertIfNegative val="1"/>
            <c:bubble3D val="0"/>
            <c:spPr>
              <a:solidFill>
                <a:srgbClr val="AEABAB"/>
              </a:solidFill>
            </c:spPr>
            <c:extLst>
              <c:ext xmlns:c16="http://schemas.microsoft.com/office/drawing/2014/chart" uri="{C3380CC4-5D6E-409C-BE32-E72D297353CC}">
                <c16:uniqueId val="{000003D1-9DD8-499E-8091-3E3A56EDFAAE}"/>
              </c:ext>
            </c:extLst>
          </c:dPt>
          <c:dPt>
            <c:idx val="488"/>
            <c:invertIfNegative val="1"/>
            <c:bubble3D val="0"/>
            <c:spPr>
              <a:solidFill>
                <a:srgbClr val="AEABAB"/>
              </a:solidFill>
            </c:spPr>
            <c:extLst>
              <c:ext xmlns:c16="http://schemas.microsoft.com/office/drawing/2014/chart" uri="{C3380CC4-5D6E-409C-BE32-E72D297353CC}">
                <c16:uniqueId val="{000003D3-9DD8-499E-8091-3E3A56EDFAAE}"/>
              </c:ext>
            </c:extLst>
          </c:dPt>
          <c:dPt>
            <c:idx val="489"/>
            <c:invertIfNegative val="1"/>
            <c:bubble3D val="0"/>
            <c:spPr>
              <a:solidFill>
                <a:srgbClr val="AEABAB"/>
              </a:solidFill>
            </c:spPr>
            <c:extLst>
              <c:ext xmlns:c16="http://schemas.microsoft.com/office/drawing/2014/chart" uri="{C3380CC4-5D6E-409C-BE32-E72D297353CC}">
                <c16:uniqueId val="{000003D5-9DD8-499E-8091-3E3A56EDFAAE}"/>
              </c:ext>
            </c:extLst>
          </c:dPt>
          <c:dPt>
            <c:idx val="490"/>
            <c:invertIfNegative val="1"/>
            <c:bubble3D val="0"/>
            <c:spPr>
              <a:solidFill>
                <a:srgbClr val="AEABAB"/>
              </a:solidFill>
            </c:spPr>
            <c:extLst>
              <c:ext xmlns:c16="http://schemas.microsoft.com/office/drawing/2014/chart" uri="{C3380CC4-5D6E-409C-BE32-E72D297353CC}">
                <c16:uniqueId val="{000003D7-9DD8-499E-8091-3E3A56EDFAAE}"/>
              </c:ext>
            </c:extLst>
          </c:dPt>
          <c:dPt>
            <c:idx val="491"/>
            <c:invertIfNegative val="1"/>
            <c:bubble3D val="0"/>
            <c:spPr>
              <a:solidFill>
                <a:srgbClr val="AEABAB"/>
              </a:solidFill>
            </c:spPr>
            <c:extLst>
              <c:ext xmlns:c16="http://schemas.microsoft.com/office/drawing/2014/chart" uri="{C3380CC4-5D6E-409C-BE32-E72D297353CC}">
                <c16:uniqueId val="{000003D9-9DD8-499E-8091-3E3A56EDFAAE}"/>
              </c:ext>
            </c:extLst>
          </c:dPt>
          <c:dPt>
            <c:idx val="492"/>
            <c:invertIfNegative val="1"/>
            <c:bubble3D val="0"/>
            <c:spPr>
              <a:solidFill>
                <a:srgbClr val="AEABAB"/>
              </a:solidFill>
            </c:spPr>
            <c:extLst>
              <c:ext xmlns:c16="http://schemas.microsoft.com/office/drawing/2014/chart" uri="{C3380CC4-5D6E-409C-BE32-E72D297353CC}">
                <c16:uniqueId val="{000003DB-9DD8-499E-8091-3E3A56EDFAAE}"/>
              </c:ext>
            </c:extLst>
          </c:dPt>
          <c:dPt>
            <c:idx val="493"/>
            <c:invertIfNegative val="1"/>
            <c:bubble3D val="0"/>
            <c:spPr>
              <a:solidFill>
                <a:srgbClr val="AEABAB"/>
              </a:solidFill>
            </c:spPr>
            <c:extLst>
              <c:ext xmlns:c16="http://schemas.microsoft.com/office/drawing/2014/chart" uri="{C3380CC4-5D6E-409C-BE32-E72D297353CC}">
                <c16:uniqueId val="{000003DD-9DD8-499E-8091-3E3A56EDFAAE}"/>
              </c:ext>
            </c:extLst>
          </c:dPt>
          <c:dPt>
            <c:idx val="494"/>
            <c:invertIfNegative val="1"/>
            <c:bubble3D val="0"/>
            <c:spPr>
              <a:solidFill>
                <a:srgbClr val="AEABAB"/>
              </a:solidFill>
            </c:spPr>
            <c:extLst>
              <c:ext xmlns:c16="http://schemas.microsoft.com/office/drawing/2014/chart" uri="{C3380CC4-5D6E-409C-BE32-E72D297353CC}">
                <c16:uniqueId val="{000003DF-9DD8-499E-8091-3E3A56EDFAAE}"/>
              </c:ext>
            </c:extLst>
          </c:dPt>
          <c:dPt>
            <c:idx val="495"/>
            <c:invertIfNegative val="1"/>
            <c:bubble3D val="0"/>
            <c:spPr>
              <a:solidFill>
                <a:srgbClr val="AEABAB"/>
              </a:solidFill>
            </c:spPr>
            <c:extLst>
              <c:ext xmlns:c16="http://schemas.microsoft.com/office/drawing/2014/chart" uri="{C3380CC4-5D6E-409C-BE32-E72D297353CC}">
                <c16:uniqueId val="{000003E1-9DD8-499E-8091-3E3A56EDFAAE}"/>
              </c:ext>
            </c:extLst>
          </c:dPt>
          <c:dPt>
            <c:idx val="496"/>
            <c:invertIfNegative val="1"/>
            <c:bubble3D val="0"/>
            <c:spPr>
              <a:solidFill>
                <a:srgbClr val="AEABAB"/>
              </a:solidFill>
            </c:spPr>
            <c:extLst>
              <c:ext xmlns:c16="http://schemas.microsoft.com/office/drawing/2014/chart" uri="{C3380CC4-5D6E-409C-BE32-E72D297353CC}">
                <c16:uniqueId val="{000003E3-9DD8-499E-8091-3E3A56EDFAAE}"/>
              </c:ext>
            </c:extLst>
          </c:dPt>
          <c:dPt>
            <c:idx val="497"/>
            <c:invertIfNegative val="1"/>
            <c:bubble3D val="0"/>
            <c:spPr>
              <a:solidFill>
                <a:srgbClr val="AEABAB"/>
              </a:solidFill>
            </c:spPr>
            <c:extLst>
              <c:ext xmlns:c16="http://schemas.microsoft.com/office/drawing/2014/chart" uri="{C3380CC4-5D6E-409C-BE32-E72D297353CC}">
                <c16:uniqueId val="{000003E5-9DD8-499E-8091-3E3A56EDFAAE}"/>
              </c:ext>
            </c:extLst>
          </c:dPt>
          <c:dPt>
            <c:idx val="498"/>
            <c:invertIfNegative val="1"/>
            <c:bubble3D val="0"/>
            <c:spPr>
              <a:solidFill>
                <a:srgbClr val="AEABAB"/>
              </a:solidFill>
            </c:spPr>
            <c:extLst>
              <c:ext xmlns:c16="http://schemas.microsoft.com/office/drawing/2014/chart" uri="{C3380CC4-5D6E-409C-BE32-E72D297353CC}">
                <c16:uniqueId val="{000003E7-9DD8-499E-8091-3E3A56EDFAAE}"/>
              </c:ext>
            </c:extLst>
          </c:dPt>
          <c:dPt>
            <c:idx val="499"/>
            <c:invertIfNegative val="1"/>
            <c:bubble3D val="0"/>
            <c:spPr>
              <a:solidFill>
                <a:srgbClr val="AEABAB"/>
              </a:solidFill>
            </c:spPr>
            <c:extLst>
              <c:ext xmlns:c16="http://schemas.microsoft.com/office/drawing/2014/chart" uri="{C3380CC4-5D6E-409C-BE32-E72D297353CC}">
                <c16:uniqueId val="{000003E9-9DD8-499E-8091-3E3A56EDFAAE}"/>
              </c:ext>
            </c:extLst>
          </c:dPt>
          <c:dPt>
            <c:idx val="500"/>
            <c:invertIfNegative val="1"/>
            <c:bubble3D val="0"/>
            <c:spPr>
              <a:solidFill>
                <a:srgbClr val="AEABAB"/>
              </a:solidFill>
            </c:spPr>
            <c:extLst>
              <c:ext xmlns:c16="http://schemas.microsoft.com/office/drawing/2014/chart" uri="{C3380CC4-5D6E-409C-BE32-E72D297353CC}">
                <c16:uniqueId val="{000003EB-9DD8-499E-8091-3E3A56EDFAAE}"/>
              </c:ext>
            </c:extLst>
          </c:dPt>
          <c:dPt>
            <c:idx val="501"/>
            <c:invertIfNegative val="1"/>
            <c:bubble3D val="0"/>
            <c:spPr>
              <a:solidFill>
                <a:srgbClr val="AEABAB"/>
              </a:solidFill>
            </c:spPr>
            <c:extLst>
              <c:ext xmlns:c16="http://schemas.microsoft.com/office/drawing/2014/chart" uri="{C3380CC4-5D6E-409C-BE32-E72D297353CC}">
                <c16:uniqueId val="{000003ED-9DD8-499E-8091-3E3A56EDFAAE}"/>
              </c:ext>
            </c:extLst>
          </c:dPt>
          <c:dPt>
            <c:idx val="502"/>
            <c:invertIfNegative val="1"/>
            <c:bubble3D val="0"/>
            <c:spPr>
              <a:solidFill>
                <a:srgbClr val="AEABAB"/>
              </a:solidFill>
            </c:spPr>
            <c:extLst>
              <c:ext xmlns:c16="http://schemas.microsoft.com/office/drawing/2014/chart" uri="{C3380CC4-5D6E-409C-BE32-E72D297353CC}">
                <c16:uniqueId val="{000003EF-9DD8-499E-8091-3E3A56EDFAAE}"/>
              </c:ext>
            </c:extLst>
          </c:dPt>
          <c:dPt>
            <c:idx val="503"/>
            <c:invertIfNegative val="1"/>
            <c:bubble3D val="0"/>
            <c:spPr>
              <a:solidFill>
                <a:srgbClr val="AEABAB"/>
              </a:solidFill>
            </c:spPr>
            <c:extLst>
              <c:ext xmlns:c16="http://schemas.microsoft.com/office/drawing/2014/chart" uri="{C3380CC4-5D6E-409C-BE32-E72D297353CC}">
                <c16:uniqueId val="{000003F1-9DD8-499E-8091-3E3A56EDFAAE}"/>
              </c:ext>
            </c:extLst>
          </c:dPt>
          <c:dPt>
            <c:idx val="504"/>
            <c:invertIfNegative val="1"/>
            <c:bubble3D val="0"/>
            <c:spPr>
              <a:solidFill>
                <a:srgbClr val="AEABAB"/>
              </a:solidFill>
            </c:spPr>
            <c:extLst>
              <c:ext xmlns:c16="http://schemas.microsoft.com/office/drawing/2014/chart" uri="{C3380CC4-5D6E-409C-BE32-E72D297353CC}">
                <c16:uniqueId val="{000003F3-9DD8-499E-8091-3E3A56EDFAAE}"/>
              </c:ext>
            </c:extLst>
          </c:dPt>
          <c:dPt>
            <c:idx val="505"/>
            <c:invertIfNegative val="1"/>
            <c:bubble3D val="0"/>
            <c:spPr>
              <a:solidFill>
                <a:srgbClr val="AEABAB"/>
              </a:solidFill>
            </c:spPr>
            <c:extLst>
              <c:ext xmlns:c16="http://schemas.microsoft.com/office/drawing/2014/chart" uri="{C3380CC4-5D6E-409C-BE32-E72D297353CC}">
                <c16:uniqueId val="{000003F5-9DD8-499E-8091-3E3A56EDFAAE}"/>
              </c:ext>
            </c:extLst>
          </c:dPt>
          <c:dPt>
            <c:idx val="506"/>
            <c:invertIfNegative val="1"/>
            <c:bubble3D val="0"/>
            <c:spPr>
              <a:solidFill>
                <a:srgbClr val="AEABAB"/>
              </a:solidFill>
            </c:spPr>
            <c:extLst>
              <c:ext xmlns:c16="http://schemas.microsoft.com/office/drawing/2014/chart" uri="{C3380CC4-5D6E-409C-BE32-E72D297353CC}">
                <c16:uniqueId val="{000003F7-9DD8-499E-8091-3E3A56EDFAAE}"/>
              </c:ext>
            </c:extLst>
          </c:dPt>
          <c:dPt>
            <c:idx val="507"/>
            <c:invertIfNegative val="1"/>
            <c:bubble3D val="0"/>
            <c:spPr>
              <a:solidFill>
                <a:srgbClr val="AEABAB"/>
              </a:solidFill>
            </c:spPr>
            <c:extLst>
              <c:ext xmlns:c16="http://schemas.microsoft.com/office/drawing/2014/chart" uri="{C3380CC4-5D6E-409C-BE32-E72D297353CC}">
                <c16:uniqueId val="{000003F9-9DD8-499E-8091-3E3A56EDFAAE}"/>
              </c:ext>
            </c:extLst>
          </c:dPt>
          <c:dPt>
            <c:idx val="508"/>
            <c:invertIfNegative val="1"/>
            <c:bubble3D val="0"/>
            <c:spPr>
              <a:solidFill>
                <a:srgbClr val="AEABAB"/>
              </a:solidFill>
            </c:spPr>
            <c:extLst>
              <c:ext xmlns:c16="http://schemas.microsoft.com/office/drawing/2014/chart" uri="{C3380CC4-5D6E-409C-BE32-E72D297353CC}">
                <c16:uniqueId val="{000003FB-9DD8-499E-8091-3E3A56EDFAAE}"/>
              </c:ext>
            </c:extLst>
          </c:dPt>
          <c:dPt>
            <c:idx val="509"/>
            <c:invertIfNegative val="1"/>
            <c:bubble3D val="0"/>
            <c:spPr>
              <a:solidFill>
                <a:srgbClr val="AEABAB"/>
              </a:solidFill>
            </c:spPr>
            <c:extLst>
              <c:ext xmlns:c16="http://schemas.microsoft.com/office/drawing/2014/chart" uri="{C3380CC4-5D6E-409C-BE32-E72D297353CC}">
                <c16:uniqueId val="{000003FD-9DD8-499E-8091-3E3A56EDFAAE}"/>
              </c:ext>
            </c:extLst>
          </c:dPt>
          <c:dPt>
            <c:idx val="510"/>
            <c:invertIfNegative val="1"/>
            <c:bubble3D val="0"/>
            <c:spPr>
              <a:solidFill>
                <a:srgbClr val="AEABAB"/>
              </a:solidFill>
            </c:spPr>
            <c:extLst>
              <c:ext xmlns:c16="http://schemas.microsoft.com/office/drawing/2014/chart" uri="{C3380CC4-5D6E-409C-BE32-E72D297353CC}">
                <c16:uniqueId val="{000003FF-9DD8-499E-8091-3E3A56EDFAAE}"/>
              </c:ext>
            </c:extLst>
          </c:dPt>
          <c:dPt>
            <c:idx val="511"/>
            <c:invertIfNegative val="1"/>
            <c:bubble3D val="0"/>
            <c:spPr>
              <a:solidFill>
                <a:srgbClr val="AEABAB"/>
              </a:solidFill>
            </c:spPr>
            <c:extLst>
              <c:ext xmlns:c16="http://schemas.microsoft.com/office/drawing/2014/chart" uri="{C3380CC4-5D6E-409C-BE32-E72D297353CC}">
                <c16:uniqueId val="{00000401-9DD8-499E-8091-3E3A56EDFAAE}"/>
              </c:ext>
            </c:extLst>
          </c:dPt>
          <c:dPt>
            <c:idx val="512"/>
            <c:invertIfNegative val="1"/>
            <c:bubble3D val="0"/>
            <c:spPr>
              <a:solidFill>
                <a:srgbClr val="AEABAB"/>
              </a:solidFill>
            </c:spPr>
            <c:extLst>
              <c:ext xmlns:c16="http://schemas.microsoft.com/office/drawing/2014/chart" uri="{C3380CC4-5D6E-409C-BE32-E72D297353CC}">
                <c16:uniqueId val="{00000403-9DD8-499E-8091-3E3A56EDFAAE}"/>
              </c:ext>
            </c:extLst>
          </c:dPt>
          <c:dPt>
            <c:idx val="513"/>
            <c:invertIfNegative val="1"/>
            <c:bubble3D val="0"/>
            <c:spPr>
              <a:solidFill>
                <a:srgbClr val="AEABAB"/>
              </a:solidFill>
            </c:spPr>
            <c:extLst>
              <c:ext xmlns:c16="http://schemas.microsoft.com/office/drawing/2014/chart" uri="{C3380CC4-5D6E-409C-BE32-E72D297353CC}">
                <c16:uniqueId val="{00000405-9DD8-499E-8091-3E3A56EDFAAE}"/>
              </c:ext>
            </c:extLst>
          </c:dPt>
          <c:dPt>
            <c:idx val="514"/>
            <c:invertIfNegative val="1"/>
            <c:bubble3D val="0"/>
            <c:spPr>
              <a:solidFill>
                <a:srgbClr val="AEABAB"/>
              </a:solidFill>
            </c:spPr>
            <c:extLst>
              <c:ext xmlns:c16="http://schemas.microsoft.com/office/drawing/2014/chart" uri="{C3380CC4-5D6E-409C-BE32-E72D297353CC}">
                <c16:uniqueId val="{00000407-9DD8-499E-8091-3E3A56EDFAAE}"/>
              </c:ext>
            </c:extLst>
          </c:dPt>
          <c:dPt>
            <c:idx val="515"/>
            <c:invertIfNegative val="1"/>
            <c:bubble3D val="0"/>
            <c:spPr>
              <a:solidFill>
                <a:srgbClr val="AEABAB"/>
              </a:solidFill>
            </c:spPr>
            <c:extLst>
              <c:ext xmlns:c16="http://schemas.microsoft.com/office/drawing/2014/chart" uri="{C3380CC4-5D6E-409C-BE32-E72D297353CC}">
                <c16:uniqueId val="{00000409-9DD8-499E-8091-3E3A56EDFAAE}"/>
              </c:ext>
            </c:extLst>
          </c:dPt>
          <c:dPt>
            <c:idx val="516"/>
            <c:invertIfNegative val="1"/>
            <c:bubble3D val="0"/>
            <c:spPr>
              <a:solidFill>
                <a:srgbClr val="AEABAB"/>
              </a:solidFill>
            </c:spPr>
            <c:extLst>
              <c:ext xmlns:c16="http://schemas.microsoft.com/office/drawing/2014/chart" uri="{C3380CC4-5D6E-409C-BE32-E72D297353CC}">
                <c16:uniqueId val="{0000040B-9DD8-499E-8091-3E3A56EDFAAE}"/>
              </c:ext>
            </c:extLst>
          </c:dPt>
          <c:dPt>
            <c:idx val="517"/>
            <c:invertIfNegative val="1"/>
            <c:bubble3D val="0"/>
            <c:spPr>
              <a:solidFill>
                <a:srgbClr val="AEABAB"/>
              </a:solidFill>
            </c:spPr>
            <c:extLst>
              <c:ext xmlns:c16="http://schemas.microsoft.com/office/drawing/2014/chart" uri="{C3380CC4-5D6E-409C-BE32-E72D297353CC}">
                <c16:uniqueId val="{0000040D-9DD8-499E-8091-3E3A56EDFAAE}"/>
              </c:ext>
            </c:extLst>
          </c:dPt>
          <c:dPt>
            <c:idx val="518"/>
            <c:invertIfNegative val="1"/>
            <c:bubble3D val="0"/>
            <c:spPr>
              <a:solidFill>
                <a:srgbClr val="AEABAB"/>
              </a:solidFill>
            </c:spPr>
            <c:extLst>
              <c:ext xmlns:c16="http://schemas.microsoft.com/office/drawing/2014/chart" uri="{C3380CC4-5D6E-409C-BE32-E72D297353CC}">
                <c16:uniqueId val="{0000040F-9DD8-499E-8091-3E3A56EDFAAE}"/>
              </c:ext>
            </c:extLst>
          </c:dPt>
          <c:dPt>
            <c:idx val="519"/>
            <c:invertIfNegative val="1"/>
            <c:bubble3D val="0"/>
            <c:spPr>
              <a:solidFill>
                <a:srgbClr val="AEABAB"/>
              </a:solidFill>
            </c:spPr>
            <c:extLst>
              <c:ext xmlns:c16="http://schemas.microsoft.com/office/drawing/2014/chart" uri="{C3380CC4-5D6E-409C-BE32-E72D297353CC}">
                <c16:uniqueId val="{00000411-9DD8-499E-8091-3E3A56EDFAAE}"/>
              </c:ext>
            </c:extLst>
          </c:dPt>
          <c:dPt>
            <c:idx val="520"/>
            <c:invertIfNegative val="1"/>
            <c:bubble3D val="0"/>
            <c:spPr>
              <a:solidFill>
                <a:srgbClr val="AEABAB"/>
              </a:solidFill>
            </c:spPr>
            <c:extLst>
              <c:ext xmlns:c16="http://schemas.microsoft.com/office/drawing/2014/chart" uri="{C3380CC4-5D6E-409C-BE32-E72D297353CC}">
                <c16:uniqueId val="{00000413-9DD8-499E-8091-3E3A56EDFAAE}"/>
              </c:ext>
            </c:extLst>
          </c:dPt>
          <c:dPt>
            <c:idx val="521"/>
            <c:invertIfNegative val="1"/>
            <c:bubble3D val="0"/>
            <c:spPr>
              <a:solidFill>
                <a:srgbClr val="AEABAB"/>
              </a:solidFill>
            </c:spPr>
            <c:extLst>
              <c:ext xmlns:c16="http://schemas.microsoft.com/office/drawing/2014/chart" uri="{C3380CC4-5D6E-409C-BE32-E72D297353CC}">
                <c16:uniqueId val="{00000415-9DD8-499E-8091-3E3A56EDFAAE}"/>
              </c:ext>
            </c:extLst>
          </c:dPt>
          <c:dPt>
            <c:idx val="522"/>
            <c:invertIfNegative val="1"/>
            <c:bubble3D val="0"/>
            <c:spPr>
              <a:solidFill>
                <a:srgbClr val="AEABAB"/>
              </a:solidFill>
            </c:spPr>
            <c:extLst>
              <c:ext xmlns:c16="http://schemas.microsoft.com/office/drawing/2014/chart" uri="{C3380CC4-5D6E-409C-BE32-E72D297353CC}">
                <c16:uniqueId val="{00000417-9DD8-499E-8091-3E3A56EDFAAE}"/>
              </c:ext>
            </c:extLst>
          </c:dPt>
          <c:dPt>
            <c:idx val="523"/>
            <c:invertIfNegative val="1"/>
            <c:bubble3D val="0"/>
            <c:spPr>
              <a:solidFill>
                <a:srgbClr val="AEABAB"/>
              </a:solidFill>
            </c:spPr>
            <c:extLst>
              <c:ext xmlns:c16="http://schemas.microsoft.com/office/drawing/2014/chart" uri="{C3380CC4-5D6E-409C-BE32-E72D297353CC}">
                <c16:uniqueId val="{00000419-9DD8-499E-8091-3E3A56EDFAAE}"/>
              </c:ext>
            </c:extLst>
          </c:dPt>
          <c:dPt>
            <c:idx val="524"/>
            <c:invertIfNegative val="1"/>
            <c:bubble3D val="0"/>
            <c:spPr>
              <a:solidFill>
                <a:srgbClr val="AEABAB"/>
              </a:solidFill>
            </c:spPr>
            <c:extLst>
              <c:ext xmlns:c16="http://schemas.microsoft.com/office/drawing/2014/chart" uri="{C3380CC4-5D6E-409C-BE32-E72D297353CC}">
                <c16:uniqueId val="{0000041B-9DD8-499E-8091-3E3A56EDFAAE}"/>
              </c:ext>
            </c:extLst>
          </c:dPt>
          <c:dPt>
            <c:idx val="525"/>
            <c:invertIfNegative val="1"/>
            <c:bubble3D val="0"/>
            <c:spPr>
              <a:solidFill>
                <a:srgbClr val="AEABAB"/>
              </a:solidFill>
            </c:spPr>
            <c:extLst>
              <c:ext xmlns:c16="http://schemas.microsoft.com/office/drawing/2014/chart" uri="{C3380CC4-5D6E-409C-BE32-E72D297353CC}">
                <c16:uniqueId val="{0000041D-9DD8-499E-8091-3E3A56EDFAAE}"/>
              </c:ext>
            </c:extLst>
          </c:dPt>
          <c:dPt>
            <c:idx val="526"/>
            <c:invertIfNegative val="1"/>
            <c:bubble3D val="0"/>
            <c:spPr>
              <a:solidFill>
                <a:srgbClr val="AEABAB"/>
              </a:solidFill>
            </c:spPr>
            <c:extLst>
              <c:ext xmlns:c16="http://schemas.microsoft.com/office/drawing/2014/chart" uri="{C3380CC4-5D6E-409C-BE32-E72D297353CC}">
                <c16:uniqueId val="{0000041F-9DD8-499E-8091-3E3A56EDFAAE}"/>
              </c:ext>
            </c:extLst>
          </c:dPt>
          <c:dPt>
            <c:idx val="527"/>
            <c:invertIfNegative val="1"/>
            <c:bubble3D val="0"/>
            <c:spPr>
              <a:solidFill>
                <a:srgbClr val="AEABAB"/>
              </a:solidFill>
            </c:spPr>
            <c:extLst>
              <c:ext xmlns:c16="http://schemas.microsoft.com/office/drawing/2014/chart" uri="{C3380CC4-5D6E-409C-BE32-E72D297353CC}">
                <c16:uniqueId val="{00000421-9DD8-499E-8091-3E3A56EDFAAE}"/>
              </c:ext>
            </c:extLst>
          </c:dPt>
          <c:dPt>
            <c:idx val="528"/>
            <c:invertIfNegative val="1"/>
            <c:bubble3D val="0"/>
            <c:spPr>
              <a:solidFill>
                <a:srgbClr val="AEABAB"/>
              </a:solidFill>
            </c:spPr>
            <c:extLst>
              <c:ext xmlns:c16="http://schemas.microsoft.com/office/drawing/2014/chart" uri="{C3380CC4-5D6E-409C-BE32-E72D297353CC}">
                <c16:uniqueId val="{00000423-9DD8-499E-8091-3E3A56EDFAAE}"/>
              </c:ext>
            </c:extLst>
          </c:dPt>
          <c:dPt>
            <c:idx val="529"/>
            <c:invertIfNegative val="1"/>
            <c:bubble3D val="0"/>
            <c:spPr>
              <a:solidFill>
                <a:srgbClr val="AEABAB"/>
              </a:solidFill>
            </c:spPr>
            <c:extLst>
              <c:ext xmlns:c16="http://schemas.microsoft.com/office/drawing/2014/chart" uri="{C3380CC4-5D6E-409C-BE32-E72D297353CC}">
                <c16:uniqueId val="{00000425-9DD8-499E-8091-3E3A56EDFAAE}"/>
              </c:ext>
            </c:extLst>
          </c:dPt>
          <c:dPt>
            <c:idx val="530"/>
            <c:invertIfNegative val="1"/>
            <c:bubble3D val="0"/>
            <c:spPr>
              <a:solidFill>
                <a:srgbClr val="AEABAB"/>
              </a:solidFill>
            </c:spPr>
            <c:extLst>
              <c:ext xmlns:c16="http://schemas.microsoft.com/office/drawing/2014/chart" uri="{C3380CC4-5D6E-409C-BE32-E72D297353CC}">
                <c16:uniqueId val="{00000427-9DD8-499E-8091-3E3A56EDFAAE}"/>
              </c:ext>
            </c:extLst>
          </c:dPt>
          <c:dPt>
            <c:idx val="531"/>
            <c:invertIfNegative val="1"/>
            <c:bubble3D val="0"/>
            <c:spPr>
              <a:solidFill>
                <a:srgbClr val="AEABAB"/>
              </a:solidFill>
            </c:spPr>
            <c:extLst>
              <c:ext xmlns:c16="http://schemas.microsoft.com/office/drawing/2014/chart" uri="{C3380CC4-5D6E-409C-BE32-E72D297353CC}">
                <c16:uniqueId val="{00000429-9DD8-499E-8091-3E3A56EDFAAE}"/>
              </c:ext>
            </c:extLst>
          </c:dPt>
          <c:dPt>
            <c:idx val="532"/>
            <c:invertIfNegative val="1"/>
            <c:bubble3D val="0"/>
            <c:spPr>
              <a:solidFill>
                <a:srgbClr val="AEABAB"/>
              </a:solidFill>
            </c:spPr>
            <c:extLst>
              <c:ext xmlns:c16="http://schemas.microsoft.com/office/drawing/2014/chart" uri="{C3380CC4-5D6E-409C-BE32-E72D297353CC}">
                <c16:uniqueId val="{0000042B-9DD8-499E-8091-3E3A56EDFAAE}"/>
              </c:ext>
            </c:extLst>
          </c:dPt>
          <c:dPt>
            <c:idx val="533"/>
            <c:invertIfNegative val="1"/>
            <c:bubble3D val="0"/>
            <c:spPr>
              <a:solidFill>
                <a:srgbClr val="AEABAB"/>
              </a:solidFill>
            </c:spPr>
            <c:extLst>
              <c:ext xmlns:c16="http://schemas.microsoft.com/office/drawing/2014/chart" uri="{C3380CC4-5D6E-409C-BE32-E72D297353CC}">
                <c16:uniqueId val="{0000042D-9DD8-499E-8091-3E3A56EDFAAE}"/>
              </c:ext>
            </c:extLst>
          </c:dPt>
          <c:dPt>
            <c:idx val="534"/>
            <c:invertIfNegative val="1"/>
            <c:bubble3D val="0"/>
            <c:spPr>
              <a:solidFill>
                <a:srgbClr val="AEABAB"/>
              </a:solidFill>
            </c:spPr>
            <c:extLst>
              <c:ext xmlns:c16="http://schemas.microsoft.com/office/drawing/2014/chart" uri="{C3380CC4-5D6E-409C-BE32-E72D297353CC}">
                <c16:uniqueId val="{0000042F-9DD8-499E-8091-3E3A56EDFAAE}"/>
              </c:ext>
            </c:extLst>
          </c:dPt>
          <c:dPt>
            <c:idx val="535"/>
            <c:invertIfNegative val="1"/>
            <c:bubble3D val="0"/>
            <c:spPr>
              <a:solidFill>
                <a:srgbClr val="AEABAB"/>
              </a:solidFill>
            </c:spPr>
            <c:extLst>
              <c:ext xmlns:c16="http://schemas.microsoft.com/office/drawing/2014/chart" uri="{C3380CC4-5D6E-409C-BE32-E72D297353CC}">
                <c16:uniqueId val="{00000431-9DD8-499E-8091-3E3A56EDFAAE}"/>
              </c:ext>
            </c:extLst>
          </c:dPt>
          <c:dPt>
            <c:idx val="536"/>
            <c:invertIfNegative val="1"/>
            <c:bubble3D val="0"/>
            <c:spPr>
              <a:solidFill>
                <a:srgbClr val="AEABAB"/>
              </a:solidFill>
            </c:spPr>
            <c:extLst>
              <c:ext xmlns:c16="http://schemas.microsoft.com/office/drawing/2014/chart" uri="{C3380CC4-5D6E-409C-BE32-E72D297353CC}">
                <c16:uniqueId val="{00000433-9DD8-499E-8091-3E3A56EDFAAE}"/>
              </c:ext>
            </c:extLst>
          </c:dPt>
          <c:dPt>
            <c:idx val="537"/>
            <c:invertIfNegative val="1"/>
            <c:bubble3D val="0"/>
            <c:spPr>
              <a:solidFill>
                <a:srgbClr val="AEABAB"/>
              </a:solidFill>
            </c:spPr>
            <c:extLst>
              <c:ext xmlns:c16="http://schemas.microsoft.com/office/drawing/2014/chart" uri="{C3380CC4-5D6E-409C-BE32-E72D297353CC}">
                <c16:uniqueId val="{00000435-9DD8-499E-8091-3E3A56EDFAAE}"/>
              </c:ext>
            </c:extLst>
          </c:dPt>
          <c:dPt>
            <c:idx val="538"/>
            <c:invertIfNegative val="1"/>
            <c:bubble3D val="0"/>
            <c:spPr>
              <a:solidFill>
                <a:srgbClr val="AEABAB"/>
              </a:solidFill>
            </c:spPr>
            <c:extLst>
              <c:ext xmlns:c16="http://schemas.microsoft.com/office/drawing/2014/chart" uri="{C3380CC4-5D6E-409C-BE32-E72D297353CC}">
                <c16:uniqueId val="{00000437-9DD8-499E-8091-3E3A56EDFAAE}"/>
              </c:ext>
            </c:extLst>
          </c:dPt>
          <c:dPt>
            <c:idx val="539"/>
            <c:invertIfNegative val="1"/>
            <c:bubble3D val="0"/>
            <c:spPr>
              <a:solidFill>
                <a:srgbClr val="AEABAB"/>
              </a:solidFill>
            </c:spPr>
            <c:extLst>
              <c:ext xmlns:c16="http://schemas.microsoft.com/office/drawing/2014/chart" uri="{C3380CC4-5D6E-409C-BE32-E72D297353CC}">
                <c16:uniqueId val="{00000439-9DD8-499E-8091-3E3A56EDFAAE}"/>
              </c:ext>
            </c:extLst>
          </c:dPt>
          <c:dPt>
            <c:idx val="540"/>
            <c:invertIfNegative val="1"/>
            <c:bubble3D val="0"/>
            <c:spPr>
              <a:solidFill>
                <a:srgbClr val="AEABAB"/>
              </a:solidFill>
            </c:spPr>
            <c:extLst>
              <c:ext xmlns:c16="http://schemas.microsoft.com/office/drawing/2014/chart" uri="{C3380CC4-5D6E-409C-BE32-E72D297353CC}">
                <c16:uniqueId val="{0000043B-9DD8-499E-8091-3E3A56EDFAAE}"/>
              </c:ext>
            </c:extLst>
          </c:dPt>
          <c:dPt>
            <c:idx val="541"/>
            <c:invertIfNegative val="1"/>
            <c:bubble3D val="0"/>
            <c:spPr>
              <a:solidFill>
                <a:srgbClr val="AEABAB"/>
              </a:solidFill>
            </c:spPr>
            <c:extLst>
              <c:ext xmlns:c16="http://schemas.microsoft.com/office/drawing/2014/chart" uri="{C3380CC4-5D6E-409C-BE32-E72D297353CC}">
                <c16:uniqueId val="{0000043D-9DD8-499E-8091-3E3A56EDFAAE}"/>
              </c:ext>
            </c:extLst>
          </c:dPt>
          <c:dPt>
            <c:idx val="542"/>
            <c:invertIfNegative val="1"/>
            <c:bubble3D val="0"/>
            <c:spPr>
              <a:solidFill>
                <a:srgbClr val="AEABAB"/>
              </a:solidFill>
            </c:spPr>
            <c:extLst>
              <c:ext xmlns:c16="http://schemas.microsoft.com/office/drawing/2014/chart" uri="{C3380CC4-5D6E-409C-BE32-E72D297353CC}">
                <c16:uniqueId val="{0000043F-9DD8-499E-8091-3E3A56EDFAAE}"/>
              </c:ext>
            </c:extLst>
          </c:dPt>
          <c:dPt>
            <c:idx val="543"/>
            <c:invertIfNegative val="1"/>
            <c:bubble3D val="0"/>
            <c:spPr>
              <a:solidFill>
                <a:srgbClr val="AEABAB"/>
              </a:solidFill>
            </c:spPr>
            <c:extLst>
              <c:ext xmlns:c16="http://schemas.microsoft.com/office/drawing/2014/chart" uri="{C3380CC4-5D6E-409C-BE32-E72D297353CC}">
                <c16:uniqueId val="{00000441-9DD8-499E-8091-3E3A56EDFAAE}"/>
              </c:ext>
            </c:extLst>
          </c:dPt>
          <c:dPt>
            <c:idx val="544"/>
            <c:invertIfNegative val="1"/>
            <c:bubble3D val="0"/>
            <c:spPr>
              <a:solidFill>
                <a:srgbClr val="AEABAB"/>
              </a:solidFill>
            </c:spPr>
            <c:extLst>
              <c:ext xmlns:c16="http://schemas.microsoft.com/office/drawing/2014/chart" uri="{C3380CC4-5D6E-409C-BE32-E72D297353CC}">
                <c16:uniqueId val="{00000443-9DD8-499E-8091-3E3A56EDFAAE}"/>
              </c:ext>
            </c:extLst>
          </c:dPt>
          <c:dPt>
            <c:idx val="545"/>
            <c:invertIfNegative val="1"/>
            <c:bubble3D val="0"/>
            <c:spPr>
              <a:solidFill>
                <a:srgbClr val="AEABAB"/>
              </a:solidFill>
            </c:spPr>
            <c:extLst>
              <c:ext xmlns:c16="http://schemas.microsoft.com/office/drawing/2014/chart" uri="{C3380CC4-5D6E-409C-BE32-E72D297353CC}">
                <c16:uniqueId val="{00000445-9DD8-499E-8091-3E3A56EDFAAE}"/>
              </c:ext>
            </c:extLst>
          </c:dPt>
          <c:dPt>
            <c:idx val="546"/>
            <c:invertIfNegative val="1"/>
            <c:bubble3D val="0"/>
            <c:spPr>
              <a:solidFill>
                <a:srgbClr val="AEABAB"/>
              </a:solidFill>
            </c:spPr>
            <c:extLst>
              <c:ext xmlns:c16="http://schemas.microsoft.com/office/drawing/2014/chart" uri="{C3380CC4-5D6E-409C-BE32-E72D297353CC}">
                <c16:uniqueId val="{00000447-9DD8-499E-8091-3E3A56EDFAAE}"/>
              </c:ext>
            </c:extLst>
          </c:dPt>
          <c:dPt>
            <c:idx val="547"/>
            <c:invertIfNegative val="1"/>
            <c:bubble3D val="0"/>
            <c:spPr>
              <a:solidFill>
                <a:srgbClr val="AEABAB"/>
              </a:solidFill>
            </c:spPr>
            <c:extLst>
              <c:ext xmlns:c16="http://schemas.microsoft.com/office/drawing/2014/chart" uri="{C3380CC4-5D6E-409C-BE32-E72D297353CC}">
                <c16:uniqueId val="{00000449-9DD8-499E-8091-3E3A56EDFAAE}"/>
              </c:ext>
            </c:extLst>
          </c:dPt>
          <c:dPt>
            <c:idx val="548"/>
            <c:invertIfNegative val="1"/>
            <c:bubble3D val="0"/>
            <c:spPr>
              <a:solidFill>
                <a:srgbClr val="AEABAB"/>
              </a:solidFill>
            </c:spPr>
            <c:extLst>
              <c:ext xmlns:c16="http://schemas.microsoft.com/office/drawing/2014/chart" uri="{C3380CC4-5D6E-409C-BE32-E72D297353CC}">
                <c16:uniqueId val="{0000044B-9DD8-499E-8091-3E3A56EDFAAE}"/>
              </c:ext>
            </c:extLst>
          </c:dPt>
          <c:dPt>
            <c:idx val="549"/>
            <c:invertIfNegative val="1"/>
            <c:bubble3D val="0"/>
            <c:spPr>
              <a:solidFill>
                <a:srgbClr val="AEABAB"/>
              </a:solidFill>
            </c:spPr>
            <c:extLst>
              <c:ext xmlns:c16="http://schemas.microsoft.com/office/drawing/2014/chart" uri="{C3380CC4-5D6E-409C-BE32-E72D297353CC}">
                <c16:uniqueId val="{0000044D-9DD8-499E-8091-3E3A56EDFAAE}"/>
              </c:ext>
            </c:extLst>
          </c:dPt>
          <c:dPt>
            <c:idx val="550"/>
            <c:invertIfNegative val="1"/>
            <c:bubble3D val="0"/>
            <c:spPr>
              <a:solidFill>
                <a:srgbClr val="AEABAB"/>
              </a:solidFill>
            </c:spPr>
            <c:extLst>
              <c:ext xmlns:c16="http://schemas.microsoft.com/office/drawing/2014/chart" uri="{C3380CC4-5D6E-409C-BE32-E72D297353CC}">
                <c16:uniqueId val="{0000044F-9DD8-499E-8091-3E3A56EDFAAE}"/>
              </c:ext>
            </c:extLst>
          </c:dPt>
          <c:dPt>
            <c:idx val="551"/>
            <c:invertIfNegative val="1"/>
            <c:bubble3D val="0"/>
            <c:spPr>
              <a:solidFill>
                <a:srgbClr val="AEABAB"/>
              </a:solidFill>
            </c:spPr>
            <c:extLst>
              <c:ext xmlns:c16="http://schemas.microsoft.com/office/drawing/2014/chart" uri="{C3380CC4-5D6E-409C-BE32-E72D297353CC}">
                <c16:uniqueId val="{00000451-9DD8-499E-8091-3E3A56EDFAAE}"/>
              </c:ext>
            </c:extLst>
          </c:dPt>
          <c:dPt>
            <c:idx val="552"/>
            <c:invertIfNegative val="1"/>
            <c:bubble3D val="0"/>
            <c:spPr>
              <a:solidFill>
                <a:srgbClr val="AEABAB"/>
              </a:solidFill>
            </c:spPr>
            <c:extLst>
              <c:ext xmlns:c16="http://schemas.microsoft.com/office/drawing/2014/chart" uri="{C3380CC4-5D6E-409C-BE32-E72D297353CC}">
                <c16:uniqueId val="{00000453-9DD8-499E-8091-3E3A56EDFAAE}"/>
              </c:ext>
            </c:extLst>
          </c:dPt>
          <c:dPt>
            <c:idx val="553"/>
            <c:invertIfNegative val="1"/>
            <c:bubble3D val="0"/>
            <c:spPr>
              <a:solidFill>
                <a:srgbClr val="AEABAB"/>
              </a:solidFill>
            </c:spPr>
            <c:extLst>
              <c:ext xmlns:c16="http://schemas.microsoft.com/office/drawing/2014/chart" uri="{C3380CC4-5D6E-409C-BE32-E72D297353CC}">
                <c16:uniqueId val="{00000455-9DD8-499E-8091-3E3A56EDFAAE}"/>
              </c:ext>
            </c:extLst>
          </c:dPt>
          <c:dPt>
            <c:idx val="554"/>
            <c:invertIfNegative val="1"/>
            <c:bubble3D val="0"/>
            <c:spPr>
              <a:solidFill>
                <a:srgbClr val="AEABAB"/>
              </a:solidFill>
            </c:spPr>
            <c:extLst>
              <c:ext xmlns:c16="http://schemas.microsoft.com/office/drawing/2014/chart" uri="{C3380CC4-5D6E-409C-BE32-E72D297353CC}">
                <c16:uniqueId val="{00000457-9DD8-499E-8091-3E3A56EDFAAE}"/>
              </c:ext>
            </c:extLst>
          </c:dPt>
          <c:dPt>
            <c:idx val="555"/>
            <c:invertIfNegative val="1"/>
            <c:bubble3D val="0"/>
            <c:spPr>
              <a:solidFill>
                <a:srgbClr val="AEABAB"/>
              </a:solidFill>
            </c:spPr>
            <c:extLst>
              <c:ext xmlns:c16="http://schemas.microsoft.com/office/drawing/2014/chart" uri="{C3380CC4-5D6E-409C-BE32-E72D297353CC}">
                <c16:uniqueId val="{00000459-9DD8-499E-8091-3E3A56EDFAAE}"/>
              </c:ext>
            </c:extLst>
          </c:dPt>
          <c:dPt>
            <c:idx val="556"/>
            <c:invertIfNegative val="1"/>
            <c:bubble3D val="0"/>
            <c:spPr>
              <a:solidFill>
                <a:srgbClr val="AEABAB"/>
              </a:solidFill>
            </c:spPr>
            <c:extLst>
              <c:ext xmlns:c16="http://schemas.microsoft.com/office/drawing/2014/chart" uri="{C3380CC4-5D6E-409C-BE32-E72D297353CC}">
                <c16:uniqueId val="{0000045B-9DD8-499E-8091-3E3A56EDFAAE}"/>
              </c:ext>
            </c:extLst>
          </c:dPt>
          <c:dPt>
            <c:idx val="557"/>
            <c:invertIfNegative val="1"/>
            <c:bubble3D val="0"/>
            <c:spPr>
              <a:solidFill>
                <a:srgbClr val="AEABAB"/>
              </a:solidFill>
            </c:spPr>
            <c:extLst>
              <c:ext xmlns:c16="http://schemas.microsoft.com/office/drawing/2014/chart" uri="{C3380CC4-5D6E-409C-BE32-E72D297353CC}">
                <c16:uniqueId val="{0000045D-9DD8-499E-8091-3E3A56EDFAAE}"/>
              </c:ext>
            </c:extLst>
          </c:dPt>
          <c:dPt>
            <c:idx val="558"/>
            <c:invertIfNegative val="1"/>
            <c:bubble3D val="0"/>
            <c:spPr>
              <a:solidFill>
                <a:srgbClr val="AEABAB"/>
              </a:solidFill>
            </c:spPr>
            <c:extLst>
              <c:ext xmlns:c16="http://schemas.microsoft.com/office/drawing/2014/chart" uri="{C3380CC4-5D6E-409C-BE32-E72D297353CC}">
                <c16:uniqueId val="{0000045F-9DD8-499E-8091-3E3A56EDFAAE}"/>
              </c:ext>
            </c:extLst>
          </c:dPt>
          <c:dPt>
            <c:idx val="559"/>
            <c:invertIfNegative val="1"/>
            <c:bubble3D val="0"/>
            <c:spPr>
              <a:solidFill>
                <a:srgbClr val="AEABAB"/>
              </a:solidFill>
            </c:spPr>
            <c:extLst>
              <c:ext xmlns:c16="http://schemas.microsoft.com/office/drawing/2014/chart" uri="{C3380CC4-5D6E-409C-BE32-E72D297353CC}">
                <c16:uniqueId val="{00000461-9DD8-499E-8091-3E3A56EDFAAE}"/>
              </c:ext>
            </c:extLst>
          </c:dPt>
          <c:dPt>
            <c:idx val="560"/>
            <c:invertIfNegative val="1"/>
            <c:bubble3D val="0"/>
            <c:spPr>
              <a:solidFill>
                <a:srgbClr val="AEABAB"/>
              </a:solidFill>
            </c:spPr>
            <c:extLst>
              <c:ext xmlns:c16="http://schemas.microsoft.com/office/drawing/2014/chart" uri="{C3380CC4-5D6E-409C-BE32-E72D297353CC}">
                <c16:uniqueId val="{00000463-9DD8-499E-8091-3E3A56EDFAAE}"/>
              </c:ext>
            </c:extLst>
          </c:dPt>
          <c:dPt>
            <c:idx val="561"/>
            <c:invertIfNegative val="1"/>
            <c:bubble3D val="0"/>
            <c:spPr>
              <a:solidFill>
                <a:srgbClr val="AEABAB"/>
              </a:solidFill>
            </c:spPr>
            <c:extLst>
              <c:ext xmlns:c16="http://schemas.microsoft.com/office/drawing/2014/chart" uri="{C3380CC4-5D6E-409C-BE32-E72D297353CC}">
                <c16:uniqueId val="{00000465-9DD8-499E-8091-3E3A56EDFAAE}"/>
              </c:ext>
            </c:extLst>
          </c:dPt>
          <c:dPt>
            <c:idx val="562"/>
            <c:invertIfNegative val="1"/>
            <c:bubble3D val="0"/>
            <c:spPr>
              <a:solidFill>
                <a:srgbClr val="AEABAB"/>
              </a:solidFill>
            </c:spPr>
            <c:extLst>
              <c:ext xmlns:c16="http://schemas.microsoft.com/office/drawing/2014/chart" uri="{C3380CC4-5D6E-409C-BE32-E72D297353CC}">
                <c16:uniqueId val="{00000467-9DD8-499E-8091-3E3A56EDFAAE}"/>
              </c:ext>
            </c:extLst>
          </c:dPt>
          <c:dPt>
            <c:idx val="563"/>
            <c:invertIfNegative val="1"/>
            <c:bubble3D val="0"/>
            <c:spPr>
              <a:solidFill>
                <a:srgbClr val="AEABAB"/>
              </a:solidFill>
            </c:spPr>
            <c:extLst>
              <c:ext xmlns:c16="http://schemas.microsoft.com/office/drawing/2014/chart" uri="{C3380CC4-5D6E-409C-BE32-E72D297353CC}">
                <c16:uniqueId val="{00000469-9DD8-499E-8091-3E3A56EDFAAE}"/>
              </c:ext>
            </c:extLst>
          </c:dPt>
          <c:dPt>
            <c:idx val="564"/>
            <c:invertIfNegative val="1"/>
            <c:bubble3D val="0"/>
            <c:spPr>
              <a:solidFill>
                <a:srgbClr val="AEABAB"/>
              </a:solidFill>
            </c:spPr>
            <c:extLst>
              <c:ext xmlns:c16="http://schemas.microsoft.com/office/drawing/2014/chart" uri="{C3380CC4-5D6E-409C-BE32-E72D297353CC}">
                <c16:uniqueId val="{0000046B-9DD8-499E-8091-3E3A56EDFAAE}"/>
              </c:ext>
            </c:extLst>
          </c:dPt>
          <c:dPt>
            <c:idx val="565"/>
            <c:invertIfNegative val="1"/>
            <c:bubble3D val="0"/>
            <c:spPr>
              <a:solidFill>
                <a:srgbClr val="AEABAB"/>
              </a:solidFill>
            </c:spPr>
            <c:extLst>
              <c:ext xmlns:c16="http://schemas.microsoft.com/office/drawing/2014/chart" uri="{C3380CC4-5D6E-409C-BE32-E72D297353CC}">
                <c16:uniqueId val="{0000046D-9DD8-499E-8091-3E3A56EDFAAE}"/>
              </c:ext>
            </c:extLst>
          </c:dPt>
          <c:dPt>
            <c:idx val="566"/>
            <c:invertIfNegative val="1"/>
            <c:bubble3D val="0"/>
            <c:spPr>
              <a:solidFill>
                <a:srgbClr val="AEABAB"/>
              </a:solidFill>
            </c:spPr>
            <c:extLst>
              <c:ext xmlns:c16="http://schemas.microsoft.com/office/drawing/2014/chart" uri="{C3380CC4-5D6E-409C-BE32-E72D297353CC}">
                <c16:uniqueId val="{0000046F-9DD8-499E-8091-3E3A56EDFAAE}"/>
              </c:ext>
            </c:extLst>
          </c:dPt>
          <c:dPt>
            <c:idx val="567"/>
            <c:invertIfNegative val="1"/>
            <c:bubble3D val="0"/>
            <c:spPr>
              <a:solidFill>
                <a:srgbClr val="AEABAB"/>
              </a:solidFill>
            </c:spPr>
            <c:extLst>
              <c:ext xmlns:c16="http://schemas.microsoft.com/office/drawing/2014/chart" uri="{C3380CC4-5D6E-409C-BE32-E72D297353CC}">
                <c16:uniqueId val="{00000471-9DD8-499E-8091-3E3A56EDFAAE}"/>
              </c:ext>
            </c:extLst>
          </c:dPt>
          <c:dPt>
            <c:idx val="568"/>
            <c:invertIfNegative val="1"/>
            <c:bubble3D val="0"/>
            <c:spPr>
              <a:solidFill>
                <a:srgbClr val="AEABAB"/>
              </a:solidFill>
            </c:spPr>
            <c:extLst>
              <c:ext xmlns:c16="http://schemas.microsoft.com/office/drawing/2014/chart" uri="{C3380CC4-5D6E-409C-BE32-E72D297353CC}">
                <c16:uniqueId val="{00000473-9DD8-499E-8091-3E3A56EDFAAE}"/>
              </c:ext>
            </c:extLst>
          </c:dPt>
          <c:dPt>
            <c:idx val="569"/>
            <c:invertIfNegative val="1"/>
            <c:bubble3D val="0"/>
            <c:spPr>
              <a:solidFill>
                <a:srgbClr val="AEABAB"/>
              </a:solidFill>
            </c:spPr>
            <c:extLst>
              <c:ext xmlns:c16="http://schemas.microsoft.com/office/drawing/2014/chart" uri="{C3380CC4-5D6E-409C-BE32-E72D297353CC}">
                <c16:uniqueId val="{00000475-9DD8-499E-8091-3E3A56EDFAAE}"/>
              </c:ext>
            </c:extLst>
          </c:dPt>
          <c:dPt>
            <c:idx val="570"/>
            <c:invertIfNegative val="1"/>
            <c:bubble3D val="0"/>
            <c:spPr>
              <a:solidFill>
                <a:srgbClr val="AEABAB"/>
              </a:solidFill>
            </c:spPr>
            <c:extLst>
              <c:ext xmlns:c16="http://schemas.microsoft.com/office/drawing/2014/chart" uri="{C3380CC4-5D6E-409C-BE32-E72D297353CC}">
                <c16:uniqueId val="{00000477-9DD8-499E-8091-3E3A56EDFAAE}"/>
              </c:ext>
            </c:extLst>
          </c:dPt>
          <c:dPt>
            <c:idx val="571"/>
            <c:invertIfNegative val="1"/>
            <c:bubble3D val="0"/>
            <c:spPr>
              <a:solidFill>
                <a:srgbClr val="AEABAB"/>
              </a:solidFill>
            </c:spPr>
            <c:extLst>
              <c:ext xmlns:c16="http://schemas.microsoft.com/office/drawing/2014/chart" uri="{C3380CC4-5D6E-409C-BE32-E72D297353CC}">
                <c16:uniqueId val="{00000479-9DD8-499E-8091-3E3A56EDFAAE}"/>
              </c:ext>
            </c:extLst>
          </c:dPt>
          <c:dPt>
            <c:idx val="572"/>
            <c:invertIfNegative val="1"/>
            <c:bubble3D val="0"/>
            <c:spPr>
              <a:solidFill>
                <a:srgbClr val="AEABAB"/>
              </a:solidFill>
            </c:spPr>
            <c:extLst>
              <c:ext xmlns:c16="http://schemas.microsoft.com/office/drawing/2014/chart" uri="{C3380CC4-5D6E-409C-BE32-E72D297353CC}">
                <c16:uniqueId val="{0000047B-9DD8-499E-8091-3E3A56EDFAAE}"/>
              </c:ext>
            </c:extLst>
          </c:dPt>
          <c:dPt>
            <c:idx val="573"/>
            <c:invertIfNegative val="1"/>
            <c:bubble3D val="0"/>
            <c:spPr>
              <a:solidFill>
                <a:srgbClr val="AEABAB"/>
              </a:solidFill>
            </c:spPr>
            <c:extLst>
              <c:ext xmlns:c16="http://schemas.microsoft.com/office/drawing/2014/chart" uri="{C3380CC4-5D6E-409C-BE32-E72D297353CC}">
                <c16:uniqueId val="{0000047D-9DD8-499E-8091-3E3A56EDFAAE}"/>
              </c:ext>
            </c:extLst>
          </c:dPt>
          <c:dPt>
            <c:idx val="574"/>
            <c:invertIfNegative val="1"/>
            <c:bubble3D val="0"/>
            <c:spPr>
              <a:solidFill>
                <a:srgbClr val="AEABAB"/>
              </a:solidFill>
            </c:spPr>
            <c:extLst>
              <c:ext xmlns:c16="http://schemas.microsoft.com/office/drawing/2014/chart" uri="{C3380CC4-5D6E-409C-BE32-E72D297353CC}">
                <c16:uniqueId val="{0000047F-9DD8-499E-8091-3E3A56EDFAAE}"/>
              </c:ext>
            </c:extLst>
          </c:dPt>
          <c:dPt>
            <c:idx val="575"/>
            <c:invertIfNegative val="1"/>
            <c:bubble3D val="0"/>
            <c:spPr>
              <a:solidFill>
                <a:srgbClr val="AEABAB"/>
              </a:solidFill>
            </c:spPr>
            <c:extLst>
              <c:ext xmlns:c16="http://schemas.microsoft.com/office/drawing/2014/chart" uri="{C3380CC4-5D6E-409C-BE32-E72D297353CC}">
                <c16:uniqueId val="{00000481-9DD8-499E-8091-3E3A56EDFAAE}"/>
              </c:ext>
            </c:extLst>
          </c:dPt>
          <c:dPt>
            <c:idx val="576"/>
            <c:invertIfNegative val="1"/>
            <c:bubble3D val="0"/>
            <c:spPr>
              <a:solidFill>
                <a:srgbClr val="AEABAB"/>
              </a:solidFill>
            </c:spPr>
            <c:extLst>
              <c:ext xmlns:c16="http://schemas.microsoft.com/office/drawing/2014/chart" uri="{C3380CC4-5D6E-409C-BE32-E72D297353CC}">
                <c16:uniqueId val="{00000483-9DD8-499E-8091-3E3A56EDFAAE}"/>
              </c:ext>
            </c:extLst>
          </c:dPt>
          <c:dPt>
            <c:idx val="577"/>
            <c:invertIfNegative val="1"/>
            <c:bubble3D val="0"/>
            <c:spPr>
              <a:solidFill>
                <a:srgbClr val="AEABAB"/>
              </a:solidFill>
            </c:spPr>
            <c:extLst>
              <c:ext xmlns:c16="http://schemas.microsoft.com/office/drawing/2014/chart" uri="{C3380CC4-5D6E-409C-BE32-E72D297353CC}">
                <c16:uniqueId val="{00000485-9DD8-499E-8091-3E3A56EDFAAE}"/>
              </c:ext>
            </c:extLst>
          </c:dPt>
          <c:dPt>
            <c:idx val="578"/>
            <c:invertIfNegative val="1"/>
            <c:bubble3D val="0"/>
            <c:spPr>
              <a:solidFill>
                <a:srgbClr val="AEABAB"/>
              </a:solidFill>
            </c:spPr>
            <c:extLst>
              <c:ext xmlns:c16="http://schemas.microsoft.com/office/drawing/2014/chart" uri="{C3380CC4-5D6E-409C-BE32-E72D297353CC}">
                <c16:uniqueId val="{00000487-9DD8-499E-8091-3E3A56EDFAAE}"/>
              </c:ext>
            </c:extLst>
          </c:dPt>
          <c:dPt>
            <c:idx val="579"/>
            <c:invertIfNegative val="1"/>
            <c:bubble3D val="0"/>
            <c:spPr>
              <a:solidFill>
                <a:srgbClr val="AEABAB"/>
              </a:solidFill>
            </c:spPr>
            <c:extLst>
              <c:ext xmlns:c16="http://schemas.microsoft.com/office/drawing/2014/chart" uri="{C3380CC4-5D6E-409C-BE32-E72D297353CC}">
                <c16:uniqueId val="{00000489-9DD8-499E-8091-3E3A56EDFAAE}"/>
              </c:ext>
            </c:extLst>
          </c:dPt>
          <c:dPt>
            <c:idx val="580"/>
            <c:invertIfNegative val="1"/>
            <c:bubble3D val="0"/>
            <c:spPr>
              <a:solidFill>
                <a:srgbClr val="AEABAB"/>
              </a:solidFill>
            </c:spPr>
            <c:extLst>
              <c:ext xmlns:c16="http://schemas.microsoft.com/office/drawing/2014/chart" uri="{C3380CC4-5D6E-409C-BE32-E72D297353CC}">
                <c16:uniqueId val="{0000048B-9DD8-499E-8091-3E3A56EDFAAE}"/>
              </c:ext>
            </c:extLst>
          </c:dPt>
          <c:dPt>
            <c:idx val="581"/>
            <c:invertIfNegative val="1"/>
            <c:bubble3D val="0"/>
            <c:spPr>
              <a:solidFill>
                <a:srgbClr val="AEABAB"/>
              </a:solidFill>
            </c:spPr>
            <c:extLst>
              <c:ext xmlns:c16="http://schemas.microsoft.com/office/drawing/2014/chart" uri="{C3380CC4-5D6E-409C-BE32-E72D297353CC}">
                <c16:uniqueId val="{0000048D-9DD8-499E-8091-3E3A56EDFAAE}"/>
              </c:ext>
            </c:extLst>
          </c:dPt>
          <c:dPt>
            <c:idx val="582"/>
            <c:invertIfNegative val="1"/>
            <c:bubble3D val="0"/>
            <c:spPr>
              <a:solidFill>
                <a:srgbClr val="AEABAB"/>
              </a:solidFill>
            </c:spPr>
            <c:extLst>
              <c:ext xmlns:c16="http://schemas.microsoft.com/office/drawing/2014/chart" uri="{C3380CC4-5D6E-409C-BE32-E72D297353CC}">
                <c16:uniqueId val="{0000048F-9DD8-499E-8091-3E3A56EDFAAE}"/>
              </c:ext>
            </c:extLst>
          </c:dPt>
          <c:dPt>
            <c:idx val="583"/>
            <c:invertIfNegative val="1"/>
            <c:bubble3D val="0"/>
            <c:spPr>
              <a:solidFill>
                <a:srgbClr val="AEABAB"/>
              </a:solidFill>
            </c:spPr>
            <c:extLst>
              <c:ext xmlns:c16="http://schemas.microsoft.com/office/drawing/2014/chart" uri="{C3380CC4-5D6E-409C-BE32-E72D297353CC}">
                <c16:uniqueId val="{00000491-9DD8-499E-8091-3E3A56EDFAAE}"/>
              </c:ext>
            </c:extLst>
          </c:dPt>
          <c:dPt>
            <c:idx val="584"/>
            <c:invertIfNegative val="1"/>
            <c:bubble3D val="0"/>
            <c:spPr>
              <a:solidFill>
                <a:srgbClr val="AEABAB"/>
              </a:solidFill>
            </c:spPr>
            <c:extLst>
              <c:ext xmlns:c16="http://schemas.microsoft.com/office/drawing/2014/chart" uri="{C3380CC4-5D6E-409C-BE32-E72D297353CC}">
                <c16:uniqueId val="{00000493-9DD8-499E-8091-3E3A56EDFAAE}"/>
              </c:ext>
            </c:extLst>
          </c:dPt>
          <c:dPt>
            <c:idx val="585"/>
            <c:invertIfNegative val="1"/>
            <c:bubble3D val="0"/>
            <c:spPr>
              <a:solidFill>
                <a:srgbClr val="AEABAB"/>
              </a:solidFill>
            </c:spPr>
            <c:extLst>
              <c:ext xmlns:c16="http://schemas.microsoft.com/office/drawing/2014/chart" uri="{C3380CC4-5D6E-409C-BE32-E72D297353CC}">
                <c16:uniqueId val="{00000495-9DD8-499E-8091-3E3A56EDFAAE}"/>
              </c:ext>
            </c:extLst>
          </c:dPt>
          <c:dPt>
            <c:idx val="586"/>
            <c:invertIfNegative val="1"/>
            <c:bubble3D val="0"/>
            <c:spPr>
              <a:solidFill>
                <a:srgbClr val="AEABAB"/>
              </a:solidFill>
            </c:spPr>
            <c:extLst>
              <c:ext xmlns:c16="http://schemas.microsoft.com/office/drawing/2014/chart" uri="{C3380CC4-5D6E-409C-BE32-E72D297353CC}">
                <c16:uniqueId val="{00000497-9DD8-499E-8091-3E3A56EDFAAE}"/>
              </c:ext>
            </c:extLst>
          </c:dPt>
          <c:dPt>
            <c:idx val="587"/>
            <c:invertIfNegative val="1"/>
            <c:bubble3D val="0"/>
            <c:spPr>
              <a:solidFill>
                <a:srgbClr val="AEABAB"/>
              </a:solidFill>
            </c:spPr>
            <c:extLst>
              <c:ext xmlns:c16="http://schemas.microsoft.com/office/drawing/2014/chart" uri="{C3380CC4-5D6E-409C-BE32-E72D297353CC}">
                <c16:uniqueId val="{00000499-9DD8-499E-8091-3E3A56EDFAAE}"/>
              </c:ext>
            </c:extLst>
          </c:dPt>
          <c:dPt>
            <c:idx val="588"/>
            <c:invertIfNegative val="1"/>
            <c:bubble3D val="0"/>
            <c:spPr>
              <a:solidFill>
                <a:srgbClr val="AEABAB"/>
              </a:solidFill>
            </c:spPr>
            <c:extLst>
              <c:ext xmlns:c16="http://schemas.microsoft.com/office/drawing/2014/chart" uri="{C3380CC4-5D6E-409C-BE32-E72D297353CC}">
                <c16:uniqueId val="{0000049B-9DD8-499E-8091-3E3A56EDFAAE}"/>
              </c:ext>
            </c:extLst>
          </c:dPt>
          <c:dPt>
            <c:idx val="589"/>
            <c:invertIfNegative val="1"/>
            <c:bubble3D val="0"/>
            <c:spPr>
              <a:solidFill>
                <a:srgbClr val="AEABAB"/>
              </a:solidFill>
            </c:spPr>
            <c:extLst>
              <c:ext xmlns:c16="http://schemas.microsoft.com/office/drawing/2014/chart" uri="{C3380CC4-5D6E-409C-BE32-E72D297353CC}">
                <c16:uniqueId val="{0000049D-9DD8-499E-8091-3E3A56EDFAAE}"/>
              </c:ext>
            </c:extLst>
          </c:dPt>
          <c:dPt>
            <c:idx val="590"/>
            <c:invertIfNegative val="1"/>
            <c:bubble3D val="0"/>
            <c:spPr>
              <a:solidFill>
                <a:srgbClr val="AEABAB"/>
              </a:solidFill>
            </c:spPr>
            <c:extLst>
              <c:ext xmlns:c16="http://schemas.microsoft.com/office/drawing/2014/chart" uri="{C3380CC4-5D6E-409C-BE32-E72D297353CC}">
                <c16:uniqueId val="{0000049F-9DD8-499E-8091-3E3A56EDFAAE}"/>
              </c:ext>
            </c:extLst>
          </c:dPt>
          <c:dPt>
            <c:idx val="591"/>
            <c:invertIfNegative val="1"/>
            <c:bubble3D val="0"/>
            <c:spPr>
              <a:solidFill>
                <a:srgbClr val="AEABAB"/>
              </a:solidFill>
            </c:spPr>
            <c:extLst>
              <c:ext xmlns:c16="http://schemas.microsoft.com/office/drawing/2014/chart" uri="{C3380CC4-5D6E-409C-BE32-E72D297353CC}">
                <c16:uniqueId val="{000004A1-9DD8-499E-8091-3E3A56EDFAAE}"/>
              </c:ext>
            </c:extLst>
          </c:dPt>
          <c:dPt>
            <c:idx val="592"/>
            <c:invertIfNegative val="1"/>
            <c:bubble3D val="0"/>
            <c:spPr>
              <a:solidFill>
                <a:srgbClr val="AEABAB"/>
              </a:solidFill>
            </c:spPr>
            <c:extLst>
              <c:ext xmlns:c16="http://schemas.microsoft.com/office/drawing/2014/chart" uri="{C3380CC4-5D6E-409C-BE32-E72D297353CC}">
                <c16:uniqueId val="{000004A3-9DD8-499E-8091-3E3A56EDFAAE}"/>
              </c:ext>
            </c:extLst>
          </c:dPt>
          <c:dPt>
            <c:idx val="593"/>
            <c:invertIfNegative val="1"/>
            <c:bubble3D val="0"/>
            <c:spPr>
              <a:solidFill>
                <a:srgbClr val="AEABAB"/>
              </a:solidFill>
            </c:spPr>
            <c:extLst>
              <c:ext xmlns:c16="http://schemas.microsoft.com/office/drawing/2014/chart" uri="{C3380CC4-5D6E-409C-BE32-E72D297353CC}">
                <c16:uniqueId val="{000004A5-9DD8-499E-8091-3E3A56EDFAAE}"/>
              </c:ext>
            </c:extLst>
          </c:dPt>
          <c:dPt>
            <c:idx val="594"/>
            <c:invertIfNegative val="1"/>
            <c:bubble3D val="0"/>
            <c:spPr>
              <a:solidFill>
                <a:srgbClr val="AEABAB"/>
              </a:solidFill>
            </c:spPr>
            <c:extLst>
              <c:ext xmlns:c16="http://schemas.microsoft.com/office/drawing/2014/chart" uri="{C3380CC4-5D6E-409C-BE32-E72D297353CC}">
                <c16:uniqueId val="{000004A7-9DD8-499E-8091-3E3A56EDFAAE}"/>
              </c:ext>
            </c:extLst>
          </c:dPt>
          <c:dPt>
            <c:idx val="595"/>
            <c:invertIfNegative val="1"/>
            <c:bubble3D val="0"/>
            <c:spPr>
              <a:solidFill>
                <a:srgbClr val="AEABAB"/>
              </a:solidFill>
            </c:spPr>
            <c:extLst>
              <c:ext xmlns:c16="http://schemas.microsoft.com/office/drawing/2014/chart" uri="{C3380CC4-5D6E-409C-BE32-E72D297353CC}">
                <c16:uniqueId val="{000004A9-9DD8-499E-8091-3E3A56EDFAAE}"/>
              </c:ext>
            </c:extLst>
          </c:dPt>
          <c:dPt>
            <c:idx val="596"/>
            <c:invertIfNegative val="1"/>
            <c:bubble3D val="0"/>
            <c:spPr>
              <a:solidFill>
                <a:srgbClr val="AEABAB"/>
              </a:solidFill>
            </c:spPr>
            <c:extLst>
              <c:ext xmlns:c16="http://schemas.microsoft.com/office/drawing/2014/chart" uri="{C3380CC4-5D6E-409C-BE32-E72D297353CC}">
                <c16:uniqueId val="{000004AB-9DD8-499E-8091-3E3A56EDFAAE}"/>
              </c:ext>
            </c:extLst>
          </c:dPt>
          <c:dPt>
            <c:idx val="597"/>
            <c:invertIfNegative val="1"/>
            <c:bubble3D val="0"/>
            <c:spPr>
              <a:solidFill>
                <a:srgbClr val="AEABAB"/>
              </a:solidFill>
            </c:spPr>
            <c:extLst>
              <c:ext xmlns:c16="http://schemas.microsoft.com/office/drawing/2014/chart" uri="{C3380CC4-5D6E-409C-BE32-E72D297353CC}">
                <c16:uniqueId val="{000004AD-9DD8-499E-8091-3E3A56EDFAAE}"/>
              </c:ext>
            </c:extLst>
          </c:dPt>
          <c:dPt>
            <c:idx val="598"/>
            <c:invertIfNegative val="1"/>
            <c:bubble3D val="0"/>
            <c:spPr>
              <a:solidFill>
                <a:srgbClr val="AEABAB"/>
              </a:solidFill>
            </c:spPr>
            <c:extLst>
              <c:ext xmlns:c16="http://schemas.microsoft.com/office/drawing/2014/chart" uri="{C3380CC4-5D6E-409C-BE32-E72D297353CC}">
                <c16:uniqueId val="{000004AF-9DD8-499E-8091-3E3A56EDFAAE}"/>
              </c:ext>
            </c:extLst>
          </c:dPt>
          <c:dPt>
            <c:idx val="599"/>
            <c:invertIfNegative val="1"/>
            <c:bubble3D val="0"/>
            <c:spPr>
              <a:solidFill>
                <a:srgbClr val="AEABAB"/>
              </a:solidFill>
            </c:spPr>
            <c:extLst>
              <c:ext xmlns:c16="http://schemas.microsoft.com/office/drawing/2014/chart" uri="{C3380CC4-5D6E-409C-BE32-E72D297353CC}">
                <c16:uniqueId val="{000004B1-9DD8-499E-8091-3E3A56EDFAAE}"/>
              </c:ext>
            </c:extLst>
          </c:dPt>
          <c:dPt>
            <c:idx val="600"/>
            <c:invertIfNegative val="1"/>
            <c:bubble3D val="0"/>
            <c:spPr>
              <a:solidFill>
                <a:srgbClr val="AEABAB"/>
              </a:solidFill>
            </c:spPr>
            <c:extLst>
              <c:ext xmlns:c16="http://schemas.microsoft.com/office/drawing/2014/chart" uri="{C3380CC4-5D6E-409C-BE32-E72D297353CC}">
                <c16:uniqueId val="{000004B3-9DD8-499E-8091-3E3A56EDFAAE}"/>
              </c:ext>
            </c:extLst>
          </c:dPt>
          <c:dPt>
            <c:idx val="601"/>
            <c:invertIfNegative val="1"/>
            <c:bubble3D val="0"/>
            <c:spPr>
              <a:solidFill>
                <a:srgbClr val="AEABAB"/>
              </a:solidFill>
            </c:spPr>
            <c:extLst>
              <c:ext xmlns:c16="http://schemas.microsoft.com/office/drawing/2014/chart" uri="{C3380CC4-5D6E-409C-BE32-E72D297353CC}">
                <c16:uniqueId val="{000004B5-9DD8-499E-8091-3E3A56EDFAAE}"/>
              </c:ext>
            </c:extLst>
          </c:dPt>
          <c:dPt>
            <c:idx val="602"/>
            <c:invertIfNegative val="1"/>
            <c:bubble3D val="0"/>
            <c:spPr>
              <a:solidFill>
                <a:srgbClr val="AEABAB"/>
              </a:solidFill>
            </c:spPr>
            <c:extLst>
              <c:ext xmlns:c16="http://schemas.microsoft.com/office/drawing/2014/chart" uri="{C3380CC4-5D6E-409C-BE32-E72D297353CC}">
                <c16:uniqueId val="{000004B7-9DD8-499E-8091-3E3A56EDFAAE}"/>
              </c:ext>
            </c:extLst>
          </c:dPt>
          <c:dPt>
            <c:idx val="603"/>
            <c:invertIfNegative val="1"/>
            <c:bubble3D val="0"/>
            <c:spPr>
              <a:solidFill>
                <a:srgbClr val="AEABAB"/>
              </a:solidFill>
            </c:spPr>
            <c:extLst>
              <c:ext xmlns:c16="http://schemas.microsoft.com/office/drawing/2014/chart" uri="{C3380CC4-5D6E-409C-BE32-E72D297353CC}">
                <c16:uniqueId val="{000004B9-9DD8-499E-8091-3E3A56EDFAAE}"/>
              </c:ext>
            </c:extLst>
          </c:dPt>
          <c:dPt>
            <c:idx val="604"/>
            <c:invertIfNegative val="1"/>
            <c:bubble3D val="0"/>
            <c:spPr>
              <a:solidFill>
                <a:srgbClr val="AEABAB"/>
              </a:solidFill>
            </c:spPr>
            <c:extLst>
              <c:ext xmlns:c16="http://schemas.microsoft.com/office/drawing/2014/chart" uri="{C3380CC4-5D6E-409C-BE32-E72D297353CC}">
                <c16:uniqueId val="{000004BB-9DD8-499E-8091-3E3A56EDFAAE}"/>
              </c:ext>
            </c:extLst>
          </c:dPt>
          <c:dPt>
            <c:idx val="605"/>
            <c:invertIfNegative val="1"/>
            <c:bubble3D val="0"/>
            <c:spPr>
              <a:solidFill>
                <a:srgbClr val="AEABAB"/>
              </a:solidFill>
            </c:spPr>
            <c:extLst>
              <c:ext xmlns:c16="http://schemas.microsoft.com/office/drawing/2014/chart" uri="{C3380CC4-5D6E-409C-BE32-E72D297353CC}">
                <c16:uniqueId val="{000004BD-9DD8-499E-8091-3E3A56EDFAAE}"/>
              </c:ext>
            </c:extLst>
          </c:dPt>
          <c:dPt>
            <c:idx val="606"/>
            <c:invertIfNegative val="1"/>
            <c:bubble3D val="0"/>
            <c:spPr>
              <a:solidFill>
                <a:srgbClr val="AEABAB"/>
              </a:solidFill>
            </c:spPr>
            <c:extLst>
              <c:ext xmlns:c16="http://schemas.microsoft.com/office/drawing/2014/chart" uri="{C3380CC4-5D6E-409C-BE32-E72D297353CC}">
                <c16:uniqueId val="{000004BF-9DD8-499E-8091-3E3A56EDFAAE}"/>
              </c:ext>
            </c:extLst>
          </c:dPt>
          <c:dPt>
            <c:idx val="607"/>
            <c:invertIfNegative val="1"/>
            <c:bubble3D val="0"/>
            <c:spPr>
              <a:solidFill>
                <a:srgbClr val="AEABAB"/>
              </a:solidFill>
            </c:spPr>
            <c:extLst>
              <c:ext xmlns:c16="http://schemas.microsoft.com/office/drawing/2014/chart" uri="{C3380CC4-5D6E-409C-BE32-E72D297353CC}">
                <c16:uniqueId val="{000004C1-9DD8-499E-8091-3E3A56EDFAAE}"/>
              </c:ext>
            </c:extLst>
          </c:dPt>
          <c:dPt>
            <c:idx val="608"/>
            <c:invertIfNegative val="1"/>
            <c:bubble3D val="0"/>
            <c:spPr>
              <a:solidFill>
                <a:srgbClr val="AEABAB"/>
              </a:solidFill>
            </c:spPr>
            <c:extLst>
              <c:ext xmlns:c16="http://schemas.microsoft.com/office/drawing/2014/chart" uri="{C3380CC4-5D6E-409C-BE32-E72D297353CC}">
                <c16:uniqueId val="{000004C3-9DD8-499E-8091-3E3A56EDFAAE}"/>
              </c:ext>
            </c:extLst>
          </c:dPt>
          <c:dPt>
            <c:idx val="609"/>
            <c:invertIfNegative val="1"/>
            <c:bubble3D val="0"/>
            <c:spPr>
              <a:solidFill>
                <a:srgbClr val="AEABAB"/>
              </a:solidFill>
            </c:spPr>
            <c:extLst>
              <c:ext xmlns:c16="http://schemas.microsoft.com/office/drawing/2014/chart" uri="{C3380CC4-5D6E-409C-BE32-E72D297353CC}">
                <c16:uniqueId val="{000004C5-9DD8-499E-8091-3E3A56EDFAAE}"/>
              </c:ext>
            </c:extLst>
          </c:dPt>
          <c:dPt>
            <c:idx val="610"/>
            <c:invertIfNegative val="1"/>
            <c:bubble3D val="0"/>
            <c:spPr>
              <a:solidFill>
                <a:srgbClr val="AEABAB"/>
              </a:solidFill>
            </c:spPr>
            <c:extLst>
              <c:ext xmlns:c16="http://schemas.microsoft.com/office/drawing/2014/chart" uri="{C3380CC4-5D6E-409C-BE32-E72D297353CC}">
                <c16:uniqueId val="{000004C7-9DD8-499E-8091-3E3A56EDFAAE}"/>
              </c:ext>
            </c:extLst>
          </c:dPt>
          <c:dPt>
            <c:idx val="611"/>
            <c:invertIfNegative val="1"/>
            <c:bubble3D val="0"/>
            <c:spPr>
              <a:solidFill>
                <a:srgbClr val="AEABAB"/>
              </a:solidFill>
            </c:spPr>
            <c:extLst>
              <c:ext xmlns:c16="http://schemas.microsoft.com/office/drawing/2014/chart" uri="{C3380CC4-5D6E-409C-BE32-E72D297353CC}">
                <c16:uniqueId val="{000004C9-9DD8-499E-8091-3E3A56EDFAAE}"/>
              </c:ext>
            </c:extLst>
          </c:dPt>
          <c:dPt>
            <c:idx val="612"/>
            <c:invertIfNegative val="1"/>
            <c:bubble3D val="0"/>
            <c:spPr>
              <a:solidFill>
                <a:srgbClr val="AEABAB"/>
              </a:solidFill>
            </c:spPr>
            <c:extLst>
              <c:ext xmlns:c16="http://schemas.microsoft.com/office/drawing/2014/chart" uri="{C3380CC4-5D6E-409C-BE32-E72D297353CC}">
                <c16:uniqueId val="{000004CB-9DD8-499E-8091-3E3A56EDFAAE}"/>
              </c:ext>
            </c:extLst>
          </c:dPt>
          <c:dPt>
            <c:idx val="613"/>
            <c:invertIfNegative val="1"/>
            <c:bubble3D val="0"/>
            <c:spPr>
              <a:solidFill>
                <a:srgbClr val="AEABAB"/>
              </a:solidFill>
            </c:spPr>
            <c:extLst>
              <c:ext xmlns:c16="http://schemas.microsoft.com/office/drawing/2014/chart" uri="{C3380CC4-5D6E-409C-BE32-E72D297353CC}">
                <c16:uniqueId val="{000004CD-9DD8-499E-8091-3E3A56EDFAAE}"/>
              </c:ext>
            </c:extLst>
          </c:dPt>
          <c:dPt>
            <c:idx val="614"/>
            <c:invertIfNegative val="1"/>
            <c:bubble3D val="0"/>
            <c:spPr>
              <a:solidFill>
                <a:srgbClr val="AEABAB"/>
              </a:solidFill>
            </c:spPr>
            <c:extLst>
              <c:ext xmlns:c16="http://schemas.microsoft.com/office/drawing/2014/chart" uri="{C3380CC4-5D6E-409C-BE32-E72D297353CC}">
                <c16:uniqueId val="{000004CF-9DD8-499E-8091-3E3A56EDFAAE}"/>
              </c:ext>
            </c:extLst>
          </c:dPt>
          <c:dPt>
            <c:idx val="615"/>
            <c:invertIfNegative val="1"/>
            <c:bubble3D val="0"/>
            <c:spPr>
              <a:solidFill>
                <a:srgbClr val="AEABAB"/>
              </a:solidFill>
            </c:spPr>
            <c:extLst>
              <c:ext xmlns:c16="http://schemas.microsoft.com/office/drawing/2014/chart" uri="{C3380CC4-5D6E-409C-BE32-E72D297353CC}">
                <c16:uniqueId val="{000004D1-9DD8-499E-8091-3E3A56EDFAAE}"/>
              </c:ext>
            </c:extLst>
          </c:dPt>
          <c:dPt>
            <c:idx val="616"/>
            <c:invertIfNegative val="1"/>
            <c:bubble3D val="0"/>
            <c:spPr>
              <a:solidFill>
                <a:srgbClr val="AEABAB"/>
              </a:solidFill>
            </c:spPr>
            <c:extLst>
              <c:ext xmlns:c16="http://schemas.microsoft.com/office/drawing/2014/chart" uri="{C3380CC4-5D6E-409C-BE32-E72D297353CC}">
                <c16:uniqueId val="{000004D3-9DD8-499E-8091-3E3A56EDFAAE}"/>
              </c:ext>
            </c:extLst>
          </c:dPt>
          <c:dPt>
            <c:idx val="617"/>
            <c:invertIfNegative val="1"/>
            <c:bubble3D val="0"/>
            <c:spPr>
              <a:solidFill>
                <a:srgbClr val="AEABAB"/>
              </a:solidFill>
            </c:spPr>
            <c:extLst>
              <c:ext xmlns:c16="http://schemas.microsoft.com/office/drawing/2014/chart" uri="{C3380CC4-5D6E-409C-BE32-E72D297353CC}">
                <c16:uniqueId val="{000004D5-9DD8-499E-8091-3E3A56EDFAAE}"/>
              </c:ext>
            </c:extLst>
          </c:dPt>
          <c:dPt>
            <c:idx val="618"/>
            <c:invertIfNegative val="1"/>
            <c:bubble3D val="0"/>
            <c:spPr>
              <a:solidFill>
                <a:srgbClr val="AEABAB"/>
              </a:solidFill>
            </c:spPr>
            <c:extLst>
              <c:ext xmlns:c16="http://schemas.microsoft.com/office/drawing/2014/chart" uri="{C3380CC4-5D6E-409C-BE32-E72D297353CC}">
                <c16:uniqueId val="{000004D7-9DD8-499E-8091-3E3A56EDFAAE}"/>
              </c:ext>
            </c:extLst>
          </c:dPt>
          <c:dPt>
            <c:idx val="619"/>
            <c:invertIfNegative val="1"/>
            <c:bubble3D val="0"/>
            <c:spPr>
              <a:solidFill>
                <a:srgbClr val="AEABAB"/>
              </a:solidFill>
            </c:spPr>
            <c:extLst>
              <c:ext xmlns:c16="http://schemas.microsoft.com/office/drawing/2014/chart" uri="{C3380CC4-5D6E-409C-BE32-E72D297353CC}">
                <c16:uniqueId val="{000004D9-9DD8-499E-8091-3E3A56EDFAAE}"/>
              </c:ext>
            </c:extLst>
          </c:dPt>
          <c:dPt>
            <c:idx val="620"/>
            <c:invertIfNegative val="1"/>
            <c:bubble3D val="0"/>
            <c:spPr>
              <a:solidFill>
                <a:srgbClr val="AEABAB"/>
              </a:solidFill>
            </c:spPr>
            <c:extLst>
              <c:ext xmlns:c16="http://schemas.microsoft.com/office/drawing/2014/chart" uri="{C3380CC4-5D6E-409C-BE32-E72D297353CC}">
                <c16:uniqueId val="{000004DB-9DD8-499E-8091-3E3A56EDFAAE}"/>
              </c:ext>
            </c:extLst>
          </c:dPt>
          <c:dPt>
            <c:idx val="621"/>
            <c:invertIfNegative val="1"/>
            <c:bubble3D val="0"/>
            <c:spPr>
              <a:solidFill>
                <a:srgbClr val="AEABAB"/>
              </a:solidFill>
            </c:spPr>
            <c:extLst>
              <c:ext xmlns:c16="http://schemas.microsoft.com/office/drawing/2014/chart" uri="{C3380CC4-5D6E-409C-BE32-E72D297353CC}">
                <c16:uniqueId val="{000004DD-9DD8-499E-8091-3E3A56EDFAAE}"/>
              </c:ext>
            </c:extLst>
          </c:dPt>
          <c:dPt>
            <c:idx val="622"/>
            <c:invertIfNegative val="1"/>
            <c:bubble3D val="0"/>
            <c:spPr>
              <a:solidFill>
                <a:srgbClr val="AEABAB"/>
              </a:solidFill>
            </c:spPr>
            <c:extLst>
              <c:ext xmlns:c16="http://schemas.microsoft.com/office/drawing/2014/chart" uri="{C3380CC4-5D6E-409C-BE32-E72D297353CC}">
                <c16:uniqueId val="{000004DF-9DD8-499E-8091-3E3A56EDFAAE}"/>
              </c:ext>
            </c:extLst>
          </c:dPt>
          <c:dPt>
            <c:idx val="623"/>
            <c:invertIfNegative val="1"/>
            <c:bubble3D val="0"/>
            <c:spPr>
              <a:solidFill>
                <a:srgbClr val="AEABAB"/>
              </a:solidFill>
            </c:spPr>
            <c:extLst>
              <c:ext xmlns:c16="http://schemas.microsoft.com/office/drawing/2014/chart" uri="{C3380CC4-5D6E-409C-BE32-E72D297353CC}">
                <c16:uniqueId val="{000004E1-9DD8-499E-8091-3E3A56EDFAAE}"/>
              </c:ext>
            </c:extLst>
          </c:dPt>
          <c:dPt>
            <c:idx val="624"/>
            <c:invertIfNegative val="1"/>
            <c:bubble3D val="0"/>
            <c:spPr>
              <a:solidFill>
                <a:srgbClr val="AEABAB"/>
              </a:solidFill>
            </c:spPr>
            <c:extLst>
              <c:ext xmlns:c16="http://schemas.microsoft.com/office/drawing/2014/chart" uri="{C3380CC4-5D6E-409C-BE32-E72D297353CC}">
                <c16:uniqueId val="{000004E3-9DD8-499E-8091-3E3A56EDFAAE}"/>
              </c:ext>
            </c:extLst>
          </c:dPt>
          <c:dPt>
            <c:idx val="625"/>
            <c:invertIfNegative val="1"/>
            <c:bubble3D val="0"/>
            <c:spPr>
              <a:solidFill>
                <a:srgbClr val="AEABAB"/>
              </a:solidFill>
            </c:spPr>
            <c:extLst>
              <c:ext xmlns:c16="http://schemas.microsoft.com/office/drawing/2014/chart" uri="{C3380CC4-5D6E-409C-BE32-E72D297353CC}">
                <c16:uniqueId val="{000004E5-9DD8-499E-8091-3E3A56EDFAAE}"/>
              </c:ext>
            </c:extLst>
          </c:dPt>
          <c:dPt>
            <c:idx val="626"/>
            <c:invertIfNegative val="1"/>
            <c:bubble3D val="0"/>
            <c:spPr>
              <a:solidFill>
                <a:srgbClr val="AEABAB"/>
              </a:solidFill>
            </c:spPr>
            <c:extLst>
              <c:ext xmlns:c16="http://schemas.microsoft.com/office/drawing/2014/chart" uri="{C3380CC4-5D6E-409C-BE32-E72D297353CC}">
                <c16:uniqueId val="{000004E7-9DD8-499E-8091-3E3A56EDFAAE}"/>
              </c:ext>
            </c:extLst>
          </c:dPt>
          <c:dPt>
            <c:idx val="627"/>
            <c:invertIfNegative val="1"/>
            <c:bubble3D val="0"/>
            <c:spPr>
              <a:solidFill>
                <a:srgbClr val="AEABAB"/>
              </a:solidFill>
            </c:spPr>
            <c:extLst>
              <c:ext xmlns:c16="http://schemas.microsoft.com/office/drawing/2014/chart" uri="{C3380CC4-5D6E-409C-BE32-E72D297353CC}">
                <c16:uniqueId val="{000004E9-9DD8-499E-8091-3E3A56EDFAAE}"/>
              </c:ext>
            </c:extLst>
          </c:dPt>
          <c:dPt>
            <c:idx val="628"/>
            <c:invertIfNegative val="1"/>
            <c:bubble3D val="0"/>
            <c:spPr>
              <a:solidFill>
                <a:srgbClr val="AEABAB"/>
              </a:solidFill>
            </c:spPr>
            <c:extLst>
              <c:ext xmlns:c16="http://schemas.microsoft.com/office/drawing/2014/chart" uri="{C3380CC4-5D6E-409C-BE32-E72D297353CC}">
                <c16:uniqueId val="{000004EB-9DD8-499E-8091-3E3A56EDFAAE}"/>
              </c:ext>
            </c:extLst>
          </c:dPt>
          <c:dPt>
            <c:idx val="629"/>
            <c:invertIfNegative val="1"/>
            <c:bubble3D val="0"/>
            <c:spPr>
              <a:solidFill>
                <a:srgbClr val="AEABAB"/>
              </a:solidFill>
            </c:spPr>
            <c:extLst>
              <c:ext xmlns:c16="http://schemas.microsoft.com/office/drawing/2014/chart" uri="{C3380CC4-5D6E-409C-BE32-E72D297353CC}">
                <c16:uniqueId val="{000004ED-9DD8-499E-8091-3E3A56EDFAAE}"/>
              </c:ext>
            </c:extLst>
          </c:dPt>
          <c:dPt>
            <c:idx val="630"/>
            <c:invertIfNegative val="1"/>
            <c:bubble3D val="0"/>
            <c:spPr>
              <a:solidFill>
                <a:srgbClr val="AEABAB"/>
              </a:solidFill>
            </c:spPr>
            <c:extLst>
              <c:ext xmlns:c16="http://schemas.microsoft.com/office/drawing/2014/chart" uri="{C3380CC4-5D6E-409C-BE32-E72D297353CC}">
                <c16:uniqueId val="{000004EF-9DD8-499E-8091-3E3A56EDFAAE}"/>
              </c:ext>
            </c:extLst>
          </c:dPt>
          <c:dPt>
            <c:idx val="631"/>
            <c:invertIfNegative val="1"/>
            <c:bubble3D val="0"/>
            <c:spPr>
              <a:solidFill>
                <a:srgbClr val="AEABAB"/>
              </a:solidFill>
            </c:spPr>
            <c:extLst>
              <c:ext xmlns:c16="http://schemas.microsoft.com/office/drawing/2014/chart" uri="{C3380CC4-5D6E-409C-BE32-E72D297353CC}">
                <c16:uniqueId val="{000004F1-9DD8-499E-8091-3E3A56EDFAAE}"/>
              </c:ext>
            </c:extLst>
          </c:dPt>
          <c:dPt>
            <c:idx val="632"/>
            <c:invertIfNegative val="1"/>
            <c:bubble3D val="0"/>
            <c:spPr>
              <a:solidFill>
                <a:srgbClr val="AEABAB"/>
              </a:solidFill>
            </c:spPr>
            <c:extLst>
              <c:ext xmlns:c16="http://schemas.microsoft.com/office/drawing/2014/chart" uri="{C3380CC4-5D6E-409C-BE32-E72D297353CC}">
                <c16:uniqueId val="{000004F3-9DD8-499E-8091-3E3A56EDFAAE}"/>
              </c:ext>
            </c:extLst>
          </c:dPt>
          <c:dPt>
            <c:idx val="633"/>
            <c:invertIfNegative val="1"/>
            <c:bubble3D val="0"/>
            <c:spPr>
              <a:solidFill>
                <a:srgbClr val="AEABAB"/>
              </a:solidFill>
            </c:spPr>
            <c:extLst>
              <c:ext xmlns:c16="http://schemas.microsoft.com/office/drawing/2014/chart" uri="{C3380CC4-5D6E-409C-BE32-E72D297353CC}">
                <c16:uniqueId val="{000004F5-9DD8-499E-8091-3E3A56EDFAAE}"/>
              </c:ext>
            </c:extLst>
          </c:dPt>
          <c:dPt>
            <c:idx val="634"/>
            <c:invertIfNegative val="1"/>
            <c:bubble3D val="0"/>
            <c:spPr>
              <a:solidFill>
                <a:srgbClr val="AEABAB"/>
              </a:solidFill>
            </c:spPr>
            <c:extLst>
              <c:ext xmlns:c16="http://schemas.microsoft.com/office/drawing/2014/chart" uri="{C3380CC4-5D6E-409C-BE32-E72D297353CC}">
                <c16:uniqueId val="{000004F7-9DD8-499E-8091-3E3A56EDFAAE}"/>
              </c:ext>
            </c:extLst>
          </c:dPt>
          <c:dPt>
            <c:idx val="635"/>
            <c:invertIfNegative val="1"/>
            <c:bubble3D val="0"/>
            <c:spPr>
              <a:solidFill>
                <a:srgbClr val="AEABAB"/>
              </a:solidFill>
            </c:spPr>
            <c:extLst>
              <c:ext xmlns:c16="http://schemas.microsoft.com/office/drawing/2014/chart" uri="{C3380CC4-5D6E-409C-BE32-E72D297353CC}">
                <c16:uniqueId val="{000004F9-9DD8-499E-8091-3E3A56EDFAAE}"/>
              </c:ext>
            </c:extLst>
          </c:dPt>
          <c:dPt>
            <c:idx val="636"/>
            <c:invertIfNegative val="1"/>
            <c:bubble3D val="0"/>
            <c:spPr>
              <a:solidFill>
                <a:srgbClr val="AEABAB"/>
              </a:solidFill>
            </c:spPr>
            <c:extLst>
              <c:ext xmlns:c16="http://schemas.microsoft.com/office/drawing/2014/chart" uri="{C3380CC4-5D6E-409C-BE32-E72D297353CC}">
                <c16:uniqueId val="{000004FB-9DD8-499E-8091-3E3A56EDFAAE}"/>
              </c:ext>
            </c:extLst>
          </c:dPt>
          <c:dPt>
            <c:idx val="637"/>
            <c:invertIfNegative val="1"/>
            <c:bubble3D val="0"/>
            <c:spPr>
              <a:solidFill>
                <a:srgbClr val="AEABAB"/>
              </a:solidFill>
            </c:spPr>
            <c:extLst>
              <c:ext xmlns:c16="http://schemas.microsoft.com/office/drawing/2014/chart" uri="{C3380CC4-5D6E-409C-BE32-E72D297353CC}">
                <c16:uniqueId val="{000004FD-9DD8-499E-8091-3E3A56EDFAAE}"/>
              </c:ext>
            </c:extLst>
          </c:dPt>
          <c:dPt>
            <c:idx val="638"/>
            <c:invertIfNegative val="1"/>
            <c:bubble3D val="0"/>
            <c:spPr>
              <a:solidFill>
                <a:srgbClr val="AEABAB"/>
              </a:solidFill>
            </c:spPr>
            <c:extLst>
              <c:ext xmlns:c16="http://schemas.microsoft.com/office/drawing/2014/chart" uri="{C3380CC4-5D6E-409C-BE32-E72D297353CC}">
                <c16:uniqueId val="{000004FF-9DD8-499E-8091-3E3A56EDFAAE}"/>
              </c:ext>
            </c:extLst>
          </c:dPt>
          <c:dPt>
            <c:idx val="639"/>
            <c:invertIfNegative val="1"/>
            <c:bubble3D val="0"/>
            <c:spPr>
              <a:solidFill>
                <a:srgbClr val="AEABAB"/>
              </a:solidFill>
            </c:spPr>
            <c:extLst>
              <c:ext xmlns:c16="http://schemas.microsoft.com/office/drawing/2014/chart" uri="{C3380CC4-5D6E-409C-BE32-E72D297353CC}">
                <c16:uniqueId val="{00000501-9DD8-499E-8091-3E3A56EDFAAE}"/>
              </c:ext>
            </c:extLst>
          </c:dPt>
          <c:dPt>
            <c:idx val="640"/>
            <c:invertIfNegative val="1"/>
            <c:bubble3D val="0"/>
            <c:spPr>
              <a:solidFill>
                <a:srgbClr val="AEABAB"/>
              </a:solidFill>
            </c:spPr>
            <c:extLst>
              <c:ext xmlns:c16="http://schemas.microsoft.com/office/drawing/2014/chart" uri="{C3380CC4-5D6E-409C-BE32-E72D297353CC}">
                <c16:uniqueId val="{00000503-9DD8-499E-8091-3E3A56EDFAAE}"/>
              </c:ext>
            </c:extLst>
          </c:dPt>
          <c:dPt>
            <c:idx val="641"/>
            <c:invertIfNegative val="1"/>
            <c:bubble3D val="0"/>
            <c:spPr>
              <a:solidFill>
                <a:srgbClr val="AEABAB"/>
              </a:solidFill>
            </c:spPr>
            <c:extLst>
              <c:ext xmlns:c16="http://schemas.microsoft.com/office/drawing/2014/chart" uri="{C3380CC4-5D6E-409C-BE32-E72D297353CC}">
                <c16:uniqueId val="{00000505-9DD8-499E-8091-3E3A56EDFAAE}"/>
              </c:ext>
            </c:extLst>
          </c:dPt>
          <c:dPt>
            <c:idx val="642"/>
            <c:invertIfNegative val="1"/>
            <c:bubble3D val="0"/>
            <c:spPr>
              <a:solidFill>
                <a:srgbClr val="AEABAB"/>
              </a:solidFill>
            </c:spPr>
            <c:extLst>
              <c:ext xmlns:c16="http://schemas.microsoft.com/office/drawing/2014/chart" uri="{C3380CC4-5D6E-409C-BE32-E72D297353CC}">
                <c16:uniqueId val="{00000507-9DD8-499E-8091-3E3A56EDFAAE}"/>
              </c:ext>
            </c:extLst>
          </c:dPt>
          <c:dPt>
            <c:idx val="643"/>
            <c:invertIfNegative val="1"/>
            <c:bubble3D val="0"/>
            <c:spPr>
              <a:solidFill>
                <a:srgbClr val="AEABAB"/>
              </a:solidFill>
            </c:spPr>
            <c:extLst>
              <c:ext xmlns:c16="http://schemas.microsoft.com/office/drawing/2014/chart" uri="{C3380CC4-5D6E-409C-BE32-E72D297353CC}">
                <c16:uniqueId val="{00000509-9DD8-499E-8091-3E3A56EDFAAE}"/>
              </c:ext>
            </c:extLst>
          </c:dPt>
          <c:dPt>
            <c:idx val="644"/>
            <c:invertIfNegative val="1"/>
            <c:bubble3D val="0"/>
            <c:spPr>
              <a:solidFill>
                <a:srgbClr val="AEABAB"/>
              </a:solidFill>
            </c:spPr>
            <c:extLst>
              <c:ext xmlns:c16="http://schemas.microsoft.com/office/drawing/2014/chart" uri="{C3380CC4-5D6E-409C-BE32-E72D297353CC}">
                <c16:uniqueId val="{0000050B-9DD8-499E-8091-3E3A56EDFAAE}"/>
              </c:ext>
            </c:extLst>
          </c:dPt>
          <c:dPt>
            <c:idx val="645"/>
            <c:invertIfNegative val="1"/>
            <c:bubble3D val="0"/>
            <c:spPr>
              <a:solidFill>
                <a:srgbClr val="AEABAB"/>
              </a:solidFill>
            </c:spPr>
            <c:extLst>
              <c:ext xmlns:c16="http://schemas.microsoft.com/office/drawing/2014/chart" uri="{C3380CC4-5D6E-409C-BE32-E72D297353CC}">
                <c16:uniqueId val="{0000050D-9DD8-499E-8091-3E3A56EDFAAE}"/>
              </c:ext>
            </c:extLst>
          </c:dPt>
          <c:dPt>
            <c:idx val="646"/>
            <c:invertIfNegative val="1"/>
            <c:bubble3D val="0"/>
            <c:spPr>
              <a:solidFill>
                <a:srgbClr val="AEABAB"/>
              </a:solidFill>
            </c:spPr>
            <c:extLst>
              <c:ext xmlns:c16="http://schemas.microsoft.com/office/drawing/2014/chart" uri="{C3380CC4-5D6E-409C-BE32-E72D297353CC}">
                <c16:uniqueId val="{0000050F-9DD8-499E-8091-3E3A56EDFAAE}"/>
              </c:ext>
            </c:extLst>
          </c:dPt>
          <c:dPt>
            <c:idx val="647"/>
            <c:invertIfNegative val="1"/>
            <c:bubble3D val="0"/>
            <c:spPr>
              <a:solidFill>
                <a:srgbClr val="AEABAB"/>
              </a:solidFill>
            </c:spPr>
            <c:extLst>
              <c:ext xmlns:c16="http://schemas.microsoft.com/office/drawing/2014/chart" uri="{C3380CC4-5D6E-409C-BE32-E72D297353CC}">
                <c16:uniqueId val="{00000511-9DD8-499E-8091-3E3A56EDFAAE}"/>
              </c:ext>
            </c:extLst>
          </c:dPt>
          <c:dPt>
            <c:idx val="648"/>
            <c:invertIfNegative val="1"/>
            <c:bubble3D val="0"/>
            <c:spPr>
              <a:solidFill>
                <a:srgbClr val="AEABAB"/>
              </a:solidFill>
            </c:spPr>
            <c:extLst>
              <c:ext xmlns:c16="http://schemas.microsoft.com/office/drawing/2014/chart" uri="{C3380CC4-5D6E-409C-BE32-E72D297353CC}">
                <c16:uniqueId val="{00000513-9DD8-499E-8091-3E3A56EDFAAE}"/>
              </c:ext>
            </c:extLst>
          </c:dPt>
          <c:dPt>
            <c:idx val="649"/>
            <c:invertIfNegative val="1"/>
            <c:bubble3D val="0"/>
            <c:spPr>
              <a:solidFill>
                <a:srgbClr val="AEABAB"/>
              </a:solidFill>
            </c:spPr>
            <c:extLst>
              <c:ext xmlns:c16="http://schemas.microsoft.com/office/drawing/2014/chart" uri="{C3380CC4-5D6E-409C-BE32-E72D297353CC}">
                <c16:uniqueId val="{00000515-9DD8-499E-8091-3E3A56EDFAAE}"/>
              </c:ext>
            </c:extLst>
          </c:dPt>
          <c:dPt>
            <c:idx val="650"/>
            <c:invertIfNegative val="1"/>
            <c:bubble3D val="0"/>
            <c:spPr>
              <a:solidFill>
                <a:srgbClr val="AEABAB"/>
              </a:solidFill>
            </c:spPr>
            <c:extLst>
              <c:ext xmlns:c16="http://schemas.microsoft.com/office/drawing/2014/chart" uri="{C3380CC4-5D6E-409C-BE32-E72D297353CC}">
                <c16:uniqueId val="{00000517-9DD8-499E-8091-3E3A56EDFAAE}"/>
              </c:ext>
            </c:extLst>
          </c:dPt>
          <c:dPt>
            <c:idx val="651"/>
            <c:invertIfNegative val="1"/>
            <c:bubble3D val="0"/>
            <c:spPr>
              <a:solidFill>
                <a:srgbClr val="AEABAB"/>
              </a:solidFill>
            </c:spPr>
            <c:extLst>
              <c:ext xmlns:c16="http://schemas.microsoft.com/office/drawing/2014/chart" uri="{C3380CC4-5D6E-409C-BE32-E72D297353CC}">
                <c16:uniqueId val="{00000519-9DD8-499E-8091-3E3A56EDFAAE}"/>
              </c:ext>
            </c:extLst>
          </c:dPt>
          <c:dPt>
            <c:idx val="652"/>
            <c:invertIfNegative val="1"/>
            <c:bubble3D val="0"/>
            <c:spPr>
              <a:solidFill>
                <a:srgbClr val="AEABAB"/>
              </a:solidFill>
            </c:spPr>
            <c:extLst>
              <c:ext xmlns:c16="http://schemas.microsoft.com/office/drawing/2014/chart" uri="{C3380CC4-5D6E-409C-BE32-E72D297353CC}">
                <c16:uniqueId val="{0000051B-9DD8-499E-8091-3E3A56EDFAAE}"/>
              </c:ext>
            </c:extLst>
          </c:dPt>
          <c:dPt>
            <c:idx val="653"/>
            <c:invertIfNegative val="1"/>
            <c:bubble3D val="0"/>
            <c:spPr>
              <a:solidFill>
                <a:srgbClr val="AEABAB"/>
              </a:solidFill>
            </c:spPr>
            <c:extLst>
              <c:ext xmlns:c16="http://schemas.microsoft.com/office/drawing/2014/chart" uri="{C3380CC4-5D6E-409C-BE32-E72D297353CC}">
                <c16:uniqueId val="{0000051D-9DD8-499E-8091-3E3A56EDFAAE}"/>
              </c:ext>
            </c:extLst>
          </c:dPt>
          <c:dPt>
            <c:idx val="654"/>
            <c:invertIfNegative val="1"/>
            <c:bubble3D val="0"/>
            <c:spPr>
              <a:solidFill>
                <a:srgbClr val="AEABAB"/>
              </a:solidFill>
            </c:spPr>
            <c:extLst>
              <c:ext xmlns:c16="http://schemas.microsoft.com/office/drawing/2014/chart" uri="{C3380CC4-5D6E-409C-BE32-E72D297353CC}">
                <c16:uniqueId val="{0000051F-9DD8-499E-8091-3E3A56EDFAAE}"/>
              </c:ext>
            </c:extLst>
          </c:dPt>
          <c:dPt>
            <c:idx val="655"/>
            <c:invertIfNegative val="1"/>
            <c:bubble3D val="0"/>
            <c:spPr>
              <a:solidFill>
                <a:srgbClr val="AEABAB"/>
              </a:solidFill>
            </c:spPr>
            <c:extLst>
              <c:ext xmlns:c16="http://schemas.microsoft.com/office/drawing/2014/chart" uri="{C3380CC4-5D6E-409C-BE32-E72D297353CC}">
                <c16:uniqueId val="{00000521-9DD8-499E-8091-3E3A56EDFAAE}"/>
              </c:ext>
            </c:extLst>
          </c:dPt>
          <c:dPt>
            <c:idx val="656"/>
            <c:invertIfNegative val="1"/>
            <c:bubble3D val="0"/>
            <c:spPr>
              <a:solidFill>
                <a:srgbClr val="AEABAB"/>
              </a:solidFill>
            </c:spPr>
            <c:extLst>
              <c:ext xmlns:c16="http://schemas.microsoft.com/office/drawing/2014/chart" uri="{C3380CC4-5D6E-409C-BE32-E72D297353CC}">
                <c16:uniqueId val="{00000523-9DD8-499E-8091-3E3A56EDFAAE}"/>
              </c:ext>
            </c:extLst>
          </c:dPt>
          <c:dPt>
            <c:idx val="657"/>
            <c:invertIfNegative val="1"/>
            <c:bubble3D val="0"/>
            <c:spPr>
              <a:solidFill>
                <a:srgbClr val="AEABAB"/>
              </a:solidFill>
            </c:spPr>
            <c:extLst>
              <c:ext xmlns:c16="http://schemas.microsoft.com/office/drawing/2014/chart" uri="{C3380CC4-5D6E-409C-BE32-E72D297353CC}">
                <c16:uniqueId val="{00000525-9DD8-499E-8091-3E3A56EDFAAE}"/>
              </c:ext>
            </c:extLst>
          </c:dPt>
          <c:dPt>
            <c:idx val="658"/>
            <c:invertIfNegative val="1"/>
            <c:bubble3D val="0"/>
            <c:spPr>
              <a:solidFill>
                <a:srgbClr val="AEABAB"/>
              </a:solidFill>
            </c:spPr>
            <c:extLst>
              <c:ext xmlns:c16="http://schemas.microsoft.com/office/drawing/2014/chart" uri="{C3380CC4-5D6E-409C-BE32-E72D297353CC}">
                <c16:uniqueId val="{00000527-9DD8-499E-8091-3E3A56EDFAAE}"/>
              </c:ext>
            </c:extLst>
          </c:dPt>
          <c:dPt>
            <c:idx val="659"/>
            <c:invertIfNegative val="1"/>
            <c:bubble3D val="0"/>
            <c:spPr>
              <a:solidFill>
                <a:srgbClr val="AEABAB"/>
              </a:solidFill>
            </c:spPr>
            <c:extLst>
              <c:ext xmlns:c16="http://schemas.microsoft.com/office/drawing/2014/chart" uri="{C3380CC4-5D6E-409C-BE32-E72D297353CC}">
                <c16:uniqueId val="{00000529-9DD8-499E-8091-3E3A56EDFAAE}"/>
              </c:ext>
            </c:extLst>
          </c:dPt>
          <c:dPt>
            <c:idx val="660"/>
            <c:invertIfNegative val="1"/>
            <c:bubble3D val="0"/>
            <c:spPr>
              <a:solidFill>
                <a:srgbClr val="AEABAB"/>
              </a:solidFill>
            </c:spPr>
            <c:extLst>
              <c:ext xmlns:c16="http://schemas.microsoft.com/office/drawing/2014/chart" uri="{C3380CC4-5D6E-409C-BE32-E72D297353CC}">
                <c16:uniqueId val="{0000052B-9DD8-499E-8091-3E3A56EDFAAE}"/>
              </c:ext>
            </c:extLst>
          </c:dPt>
          <c:dPt>
            <c:idx val="661"/>
            <c:invertIfNegative val="1"/>
            <c:bubble3D val="0"/>
            <c:spPr>
              <a:solidFill>
                <a:srgbClr val="AEABAB"/>
              </a:solidFill>
            </c:spPr>
            <c:extLst>
              <c:ext xmlns:c16="http://schemas.microsoft.com/office/drawing/2014/chart" uri="{C3380CC4-5D6E-409C-BE32-E72D297353CC}">
                <c16:uniqueId val="{0000052D-9DD8-499E-8091-3E3A56EDFAAE}"/>
              </c:ext>
            </c:extLst>
          </c:dPt>
          <c:dPt>
            <c:idx val="662"/>
            <c:invertIfNegative val="1"/>
            <c:bubble3D val="0"/>
            <c:spPr>
              <a:solidFill>
                <a:srgbClr val="AEABAB"/>
              </a:solidFill>
            </c:spPr>
            <c:extLst>
              <c:ext xmlns:c16="http://schemas.microsoft.com/office/drawing/2014/chart" uri="{C3380CC4-5D6E-409C-BE32-E72D297353CC}">
                <c16:uniqueId val="{0000052F-9DD8-499E-8091-3E3A56EDFAAE}"/>
              </c:ext>
            </c:extLst>
          </c:dPt>
          <c:dPt>
            <c:idx val="663"/>
            <c:invertIfNegative val="1"/>
            <c:bubble3D val="0"/>
            <c:spPr>
              <a:solidFill>
                <a:srgbClr val="AEABAB"/>
              </a:solidFill>
            </c:spPr>
            <c:extLst>
              <c:ext xmlns:c16="http://schemas.microsoft.com/office/drawing/2014/chart" uri="{C3380CC4-5D6E-409C-BE32-E72D297353CC}">
                <c16:uniqueId val="{00000531-9DD8-499E-8091-3E3A56EDFAAE}"/>
              </c:ext>
            </c:extLst>
          </c:dPt>
          <c:dPt>
            <c:idx val="664"/>
            <c:invertIfNegative val="1"/>
            <c:bubble3D val="0"/>
            <c:spPr>
              <a:solidFill>
                <a:srgbClr val="AEABAB"/>
              </a:solidFill>
            </c:spPr>
            <c:extLst>
              <c:ext xmlns:c16="http://schemas.microsoft.com/office/drawing/2014/chart" uri="{C3380CC4-5D6E-409C-BE32-E72D297353CC}">
                <c16:uniqueId val="{00000533-9DD8-499E-8091-3E3A56EDFAAE}"/>
              </c:ext>
            </c:extLst>
          </c:dPt>
          <c:dPt>
            <c:idx val="665"/>
            <c:invertIfNegative val="1"/>
            <c:bubble3D val="0"/>
            <c:spPr>
              <a:solidFill>
                <a:srgbClr val="AEABAB"/>
              </a:solidFill>
            </c:spPr>
            <c:extLst>
              <c:ext xmlns:c16="http://schemas.microsoft.com/office/drawing/2014/chart" uri="{C3380CC4-5D6E-409C-BE32-E72D297353CC}">
                <c16:uniqueId val="{00000535-9DD8-499E-8091-3E3A56EDFAAE}"/>
              </c:ext>
            </c:extLst>
          </c:dPt>
          <c:dPt>
            <c:idx val="666"/>
            <c:invertIfNegative val="1"/>
            <c:bubble3D val="0"/>
            <c:spPr>
              <a:solidFill>
                <a:srgbClr val="AEABAB"/>
              </a:solidFill>
            </c:spPr>
            <c:extLst>
              <c:ext xmlns:c16="http://schemas.microsoft.com/office/drawing/2014/chart" uri="{C3380CC4-5D6E-409C-BE32-E72D297353CC}">
                <c16:uniqueId val="{00000537-9DD8-499E-8091-3E3A56EDFAAE}"/>
              </c:ext>
            </c:extLst>
          </c:dPt>
          <c:dPt>
            <c:idx val="667"/>
            <c:invertIfNegative val="1"/>
            <c:bubble3D val="0"/>
            <c:spPr>
              <a:solidFill>
                <a:srgbClr val="AEABAB"/>
              </a:solidFill>
            </c:spPr>
            <c:extLst>
              <c:ext xmlns:c16="http://schemas.microsoft.com/office/drawing/2014/chart" uri="{C3380CC4-5D6E-409C-BE32-E72D297353CC}">
                <c16:uniqueId val="{00000539-9DD8-499E-8091-3E3A56EDFAAE}"/>
              </c:ext>
            </c:extLst>
          </c:dPt>
          <c:dPt>
            <c:idx val="668"/>
            <c:invertIfNegative val="1"/>
            <c:bubble3D val="0"/>
            <c:spPr>
              <a:solidFill>
                <a:srgbClr val="AEABAB"/>
              </a:solidFill>
            </c:spPr>
            <c:extLst>
              <c:ext xmlns:c16="http://schemas.microsoft.com/office/drawing/2014/chart" uri="{C3380CC4-5D6E-409C-BE32-E72D297353CC}">
                <c16:uniqueId val="{0000053B-9DD8-499E-8091-3E3A56EDFAAE}"/>
              </c:ext>
            </c:extLst>
          </c:dPt>
          <c:dPt>
            <c:idx val="669"/>
            <c:invertIfNegative val="1"/>
            <c:bubble3D val="0"/>
            <c:spPr>
              <a:solidFill>
                <a:srgbClr val="AEABAB"/>
              </a:solidFill>
            </c:spPr>
            <c:extLst>
              <c:ext xmlns:c16="http://schemas.microsoft.com/office/drawing/2014/chart" uri="{C3380CC4-5D6E-409C-BE32-E72D297353CC}">
                <c16:uniqueId val="{0000053D-9DD8-499E-8091-3E3A56EDFAAE}"/>
              </c:ext>
            </c:extLst>
          </c:dPt>
          <c:dPt>
            <c:idx val="670"/>
            <c:invertIfNegative val="1"/>
            <c:bubble3D val="0"/>
            <c:spPr>
              <a:solidFill>
                <a:srgbClr val="AEABAB"/>
              </a:solidFill>
            </c:spPr>
            <c:extLst>
              <c:ext xmlns:c16="http://schemas.microsoft.com/office/drawing/2014/chart" uri="{C3380CC4-5D6E-409C-BE32-E72D297353CC}">
                <c16:uniqueId val="{0000053F-9DD8-499E-8091-3E3A56EDFAAE}"/>
              </c:ext>
            </c:extLst>
          </c:dPt>
          <c:dPt>
            <c:idx val="671"/>
            <c:invertIfNegative val="1"/>
            <c:bubble3D val="0"/>
            <c:spPr>
              <a:solidFill>
                <a:srgbClr val="AEABAB"/>
              </a:solidFill>
            </c:spPr>
            <c:extLst>
              <c:ext xmlns:c16="http://schemas.microsoft.com/office/drawing/2014/chart" uri="{C3380CC4-5D6E-409C-BE32-E72D297353CC}">
                <c16:uniqueId val="{00000541-9DD8-499E-8091-3E3A56EDFAAE}"/>
              </c:ext>
            </c:extLst>
          </c:dPt>
          <c:dPt>
            <c:idx val="672"/>
            <c:invertIfNegative val="1"/>
            <c:bubble3D val="0"/>
            <c:spPr>
              <a:solidFill>
                <a:srgbClr val="AEABAB"/>
              </a:solidFill>
            </c:spPr>
            <c:extLst>
              <c:ext xmlns:c16="http://schemas.microsoft.com/office/drawing/2014/chart" uri="{C3380CC4-5D6E-409C-BE32-E72D297353CC}">
                <c16:uniqueId val="{00000543-9DD8-499E-8091-3E3A56EDFAAE}"/>
              </c:ext>
            </c:extLst>
          </c:dPt>
          <c:dPt>
            <c:idx val="673"/>
            <c:invertIfNegative val="1"/>
            <c:bubble3D val="0"/>
            <c:spPr>
              <a:solidFill>
                <a:srgbClr val="AEABAB"/>
              </a:solidFill>
            </c:spPr>
            <c:extLst>
              <c:ext xmlns:c16="http://schemas.microsoft.com/office/drawing/2014/chart" uri="{C3380CC4-5D6E-409C-BE32-E72D297353CC}">
                <c16:uniqueId val="{00000545-9DD8-499E-8091-3E3A56EDFAAE}"/>
              </c:ext>
            </c:extLst>
          </c:dPt>
          <c:dPt>
            <c:idx val="674"/>
            <c:invertIfNegative val="1"/>
            <c:bubble3D val="0"/>
            <c:spPr>
              <a:solidFill>
                <a:srgbClr val="AEABAB"/>
              </a:solidFill>
            </c:spPr>
            <c:extLst>
              <c:ext xmlns:c16="http://schemas.microsoft.com/office/drawing/2014/chart" uri="{C3380CC4-5D6E-409C-BE32-E72D297353CC}">
                <c16:uniqueId val="{00000547-9DD8-499E-8091-3E3A56EDFAAE}"/>
              </c:ext>
            </c:extLst>
          </c:dPt>
          <c:dPt>
            <c:idx val="675"/>
            <c:invertIfNegative val="1"/>
            <c:bubble3D val="0"/>
            <c:spPr>
              <a:solidFill>
                <a:srgbClr val="AEABAB"/>
              </a:solidFill>
            </c:spPr>
            <c:extLst>
              <c:ext xmlns:c16="http://schemas.microsoft.com/office/drawing/2014/chart" uri="{C3380CC4-5D6E-409C-BE32-E72D297353CC}">
                <c16:uniqueId val="{00000549-9DD8-499E-8091-3E3A56EDFAAE}"/>
              </c:ext>
            </c:extLst>
          </c:dPt>
          <c:dPt>
            <c:idx val="676"/>
            <c:invertIfNegative val="1"/>
            <c:bubble3D val="0"/>
            <c:spPr>
              <a:solidFill>
                <a:srgbClr val="AEABAB"/>
              </a:solidFill>
            </c:spPr>
            <c:extLst>
              <c:ext xmlns:c16="http://schemas.microsoft.com/office/drawing/2014/chart" uri="{C3380CC4-5D6E-409C-BE32-E72D297353CC}">
                <c16:uniqueId val="{0000054B-9DD8-499E-8091-3E3A56EDFAAE}"/>
              </c:ext>
            </c:extLst>
          </c:dPt>
          <c:dPt>
            <c:idx val="677"/>
            <c:invertIfNegative val="1"/>
            <c:bubble3D val="0"/>
            <c:spPr>
              <a:solidFill>
                <a:srgbClr val="AEABAB"/>
              </a:solidFill>
            </c:spPr>
            <c:extLst>
              <c:ext xmlns:c16="http://schemas.microsoft.com/office/drawing/2014/chart" uri="{C3380CC4-5D6E-409C-BE32-E72D297353CC}">
                <c16:uniqueId val="{0000054D-9DD8-499E-8091-3E3A56EDFAAE}"/>
              </c:ext>
            </c:extLst>
          </c:dPt>
          <c:dPt>
            <c:idx val="678"/>
            <c:invertIfNegative val="1"/>
            <c:bubble3D val="0"/>
            <c:spPr>
              <a:solidFill>
                <a:srgbClr val="AEABAB"/>
              </a:solidFill>
            </c:spPr>
            <c:extLst>
              <c:ext xmlns:c16="http://schemas.microsoft.com/office/drawing/2014/chart" uri="{C3380CC4-5D6E-409C-BE32-E72D297353CC}">
                <c16:uniqueId val="{0000054F-9DD8-499E-8091-3E3A56EDFAAE}"/>
              </c:ext>
            </c:extLst>
          </c:dPt>
          <c:dPt>
            <c:idx val="679"/>
            <c:invertIfNegative val="1"/>
            <c:bubble3D val="0"/>
            <c:spPr>
              <a:solidFill>
                <a:srgbClr val="AEABAB"/>
              </a:solidFill>
            </c:spPr>
            <c:extLst>
              <c:ext xmlns:c16="http://schemas.microsoft.com/office/drawing/2014/chart" uri="{C3380CC4-5D6E-409C-BE32-E72D297353CC}">
                <c16:uniqueId val="{00000551-9DD8-499E-8091-3E3A56EDFAAE}"/>
              </c:ext>
            </c:extLst>
          </c:dPt>
          <c:dPt>
            <c:idx val="680"/>
            <c:invertIfNegative val="1"/>
            <c:bubble3D val="0"/>
            <c:spPr>
              <a:solidFill>
                <a:srgbClr val="AEABAB"/>
              </a:solidFill>
            </c:spPr>
            <c:extLst>
              <c:ext xmlns:c16="http://schemas.microsoft.com/office/drawing/2014/chart" uri="{C3380CC4-5D6E-409C-BE32-E72D297353CC}">
                <c16:uniqueId val="{00000553-9DD8-499E-8091-3E3A56EDFAAE}"/>
              </c:ext>
            </c:extLst>
          </c:dPt>
          <c:dPt>
            <c:idx val="681"/>
            <c:invertIfNegative val="1"/>
            <c:bubble3D val="0"/>
            <c:spPr>
              <a:solidFill>
                <a:srgbClr val="AEABAB"/>
              </a:solidFill>
            </c:spPr>
            <c:extLst>
              <c:ext xmlns:c16="http://schemas.microsoft.com/office/drawing/2014/chart" uri="{C3380CC4-5D6E-409C-BE32-E72D297353CC}">
                <c16:uniqueId val="{00000555-9DD8-499E-8091-3E3A56EDFAAE}"/>
              </c:ext>
            </c:extLst>
          </c:dPt>
          <c:dPt>
            <c:idx val="682"/>
            <c:invertIfNegative val="1"/>
            <c:bubble3D val="0"/>
            <c:spPr>
              <a:solidFill>
                <a:srgbClr val="AEABAB"/>
              </a:solidFill>
            </c:spPr>
            <c:extLst>
              <c:ext xmlns:c16="http://schemas.microsoft.com/office/drawing/2014/chart" uri="{C3380CC4-5D6E-409C-BE32-E72D297353CC}">
                <c16:uniqueId val="{00000557-9DD8-499E-8091-3E3A56EDFAAE}"/>
              </c:ext>
            </c:extLst>
          </c:dPt>
          <c:dPt>
            <c:idx val="683"/>
            <c:invertIfNegative val="1"/>
            <c:bubble3D val="0"/>
            <c:spPr>
              <a:solidFill>
                <a:srgbClr val="AEABAB"/>
              </a:solidFill>
            </c:spPr>
            <c:extLst>
              <c:ext xmlns:c16="http://schemas.microsoft.com/office/drawing/2014/chart" uri="{C3380CC4-5D6E-409C-BE32-E72D297353CC}">
                <c16:uniqueId val="{00000559-9DD8-499E-8091-3E3A56EDFAAE}"/>
              </c:ext>
            </c:extLst>
          </c:dPt>
          <c:dPt>
            <c:idx val="684"/>
            <c:invertIfNegative val="1"/>
            <c:bubble3D val="0"/>
            <c:spPr>
              <a:solidFill>
                <a:srgbClr val="AEABAB"/>
              </a:solidFill>
            </c:spPr>
            <c:extLst>
              <c:ext xmlns:c16="http://schemas.microsoft.com/office/drawing/2014/chart" uri="{C3380CC4-5D6E-409C-BE32-E72D297353CC}">
                <c16:uniqueId val="{0000055B-9DD8-499E-8091-3E3A56EDFAAE}"/>
              </c:ext>
            </c:extLst>
          </c:dPt>
          <c:dPt>
            <c:idx val="685"/>
            <c:invertIfNegative val="1"/>
            <c:bubble3D val="0"/>
            <c:spPr>
              <a:solidFill>
                <a:srgbClr val="AEABAB"/>
              </a:solidFill>
            </c:spPr>
            <c:extLst>
              <c:ext xmlns:c16="http://schemas.microsoft.com/office/drawing/2014/chart" uri="{C3380CC4-5D6E-409C-BE32-E72D297353CC}">
                <c16:uniqueId val="{0000055D-9DD8-499E-8091-3E3A56EDFAAE}"/>
              </c:ext>
            </c:extLst>
          </c:dPt>
          <c:dPt>
            <c:idx val="686"/>
            <c:invertIfNegative val="1"/>
            <c:bubble3D val="0"/>
            <c:spPr>
              <a:solidFill>
                <a:srgbClr val="AEABAB"/>
              </a:solidFill>
            </c:spPr>
            <c:extLst>
              <c:ext xmlns:c16="http://schemas.microsoft.com/office/drawing/2014/chart" uri="{C3380CC4-5D6E-409C-BE32-E72D297353CC}">
                <c16:uniqueId val="{0000055F-9DD8-499E-8091-3E3A56EDFAAE}"/>
              </c:ext>
            </c:extLst>
          </c:dPt>
          <c:dPt>
            <c:idx val="687"/>
            <c:invertIfNegative val="1"/>
            <c:bubble3D val="0"/>
            <c:spPr>
              <a:solidFill>
                <a:srgbClr val="AEABAB"/>
              </a:solidFill>
            </c:spPr>
            <c:extLst>
              <c:ext xmlns:c16="http://schemas.microsoft.com/office/drawing/2014/chart" uri="{C3380CC4-5D6E-409C-BE32-E72D297353CC}">
                <c16:uniqueId val="{00000561-9DD8-499E-8091-3E3A56EDFAAE}"/>
              </c:ext>
            </c:extLst>
          </c:dPt>
          <c:dPt>
            <c:idx val="688"/>
            <c:invertIfNegative val="1"/>
            <c:bubble3D val="0"/>
            <c:spPr>
              <a:solidFill>
                <a:srgbClr val="AEABAB"/>
              </a:solidFill>
            </c:spPr>
            <c:extLst>
              <c:ext xmlns:c16="http://schemas.microsoft.com/office/drawing/2014/chart" uri="{C3380CC4-5D6E-409C-BE32-E72D297353CC}">
                <c16:uniqueId val="{00000563-9DD8-499E-8091-3E3A56EDFAAE}"/>
              </c:ext>
            </c:extLst>
          </c:dPt>
          <c:dPt>
            <c:idx val="689"/>
            <c:invertIfNegative val="1"/>
            <c:bubble3D val="0"/>
            <c:spPr>
              <a:solidFill>
                <a:srgbClr val="AEABAB"/>
              </a:solidFill>
            </c:spPr>
            <c:extLst>
              <c:ext xmlns:c16="http://schemas.microsoft.com/office/drawing/2014/chart" uri="{C3380CC4-5D6E-409C-BE32-E72D297353CC}">
                <c16:uniqueId val="{00000565-9DD8-499E-8091-3E3A56EDFAAE}"/>
              </c:ext>
            </c:extLst>
          </c:dPt>
          <c:dPt>
            <c:idx val="690"/>
            <c:invertIfNegative val="1"/>
            <c:bubble3D val="0"/>
            <c:spPr>
              <a:solidFill>
                <a:srgbClr val="AEABAB"/>
              </a:solidFill>
            </c:spPr>
            <c:extLst>
              <c:ext xmlns:c16="http://schemas.microsoft.com/office/drawing/2014/chart" uri="{C3380CC4-5D6E-409C-BE32-E72D297353CC}">
                <c16:uniqueId val="{00000567-9DD8-499E-8091-3E3A56EDFAAE}"/>
              </c:ext>
            </c:extLst>
          </c:dPt>
          <c:dPt>
            <c:idx val="691"/>
            <c:invertIfNegative val="1"/>
            <c:bubble3D val="0"/>
            <c:spPr>
              <a:solidFill>
                <a:srgbClr val="AEABAB"/>
              </a:solidFill>
            </c:spPr>
            <c:extLst>
              <c:ext xmlns:c16="http://schemas.microsoft.com/office/drawing/2014/chart" uri="{C3380CC4-5D6E-409C-BE32-E72D297353CC}">
                <c16:uniqueId val="{00000569-9DD8-499E-8091-3E3A56EDFAAE}"/>
              </c:ext>
            </c:extLst>
          </c:dPt>
          <c:dPt>
            <c:idx val="692"/>
            <c:invertIfNegative val="1"/>
            <c:bubble3D val="0"/>
            <c:spPr>
              <a:solidFill>
                <a:srgbClr val="AEABAB"/>
              </a:solidFill>
            </c:spPr>
            <c:extLst>
              <c:ext xmlns:c16="http://schemas.microsoft.com/office/drawing/2014/chart" uri="{C3380CC4-5D6E-409C-BE32-E72D297353CC}">
                <c16:uniqueId val="{0000056B-9DD8-499E-8091-3E3A56EDFAAE}"/>
              </c:ext>
            </c:extLst>
          </c:dPt>
          <c:dPt>
            <c:idx val="693"/>
            <c:invertIfNegative val="1"/>
            <c:bubble3D val="0"/>
            <c:spPr>
              <a:solidFill>
                <a:srgbClr val="AEABAB"/>
              </a:solidFill>
            </c:spPr>
            <c:extLst>
              <c:ext xmlns:c16="http://schemas.microsoft.com/office/drawing/2014/chart" uri="{C3380CC4-5D6E-409C-BE32-E72D297353CC}">
                <c16:uniqueId val="{0000056D-9DD8-499E-8091-3E3A56EDFAAE}"/>
              </c:ext>
            </c:extLst>
          </c:dPt>
          <c:dPt>
            <c:idx val="694"/>
            <c:invertIfNegative val="1"/>
            <c:bubble3D val="0"/>
            <c:spPr>
              <a:solidFill>
                <a:srgbClr val="AEABAB"/>
              </a:solidFill>
            </c:spPr>
            <c:extLst>
              <c:ext xmlns:c16="http://schemas.microsoft.com/office/drawing/2014/chart" uri="{C3380CC4-5D6E-409C-BE32-E72D297353CC}">
                <c16:uniqueId val="{0000056F-9DD8-499E-8091-3E3A56EDFAAE}"/>
              </c:ext>
            </c:extLst>
          </c:dPt>
          <c:dPt>
            <c:idx val="695"/>
            <c:invertIfNegative val="1"/>
            <c:bubble3D val="0"/>
            <c:spPr>
              <a:solidFill>
                <a:srgbClr val="AEABAB"/>
              </a:solidFill>
            </c:spPr>
            <c:extLst>
              <c:ext xmlns:c16="http://schemas.microsoft.com/office/drawing/2014/chart" uri="{C3380CC4-5D6E-409C-BE32-E72D297353CC}">
                <c16:uniqueId val="{00000571-9DD8-499E-8091-3E3A56EDFAAE}"/>
              </c:ext>
            </c:extLst>
          </c:dPt>
          <c:dPt>
            <c:idx val="696"/>
            <c:invertIfNegative val="1"/>
            <c:bubble3D val="0"/>
            <c:spPr>
              <a:solidFill>
                <a:srgbClr val="AEABAB"/>
              </a:solidFill>
            </c:spPr>
            <c:extLst>
              <c:ext xmlns:c16="http://schemas.microsoft.com/office/drawing/2014/chart" uri="{C3380CC4-5D6E-409C-BE32-E72D297353CC}">
                <c16:uniqueId val="{00000573-9DD8-499E-8091-3E3A56EDFAAE}"/>
              </c:ext>
            </c:extLst>
          </c:dPt>
          <c:dPt>
            <c:idx val="697"/>
            <c:invertIfNegative val="1"/>
            <c:bubble3D val="0"/>
            <c:spPr>
              <a:solidFill>
                <a:srgbClr val="AEABAB"/>
              </a:solidFill>
            </c:spPr>
            <c:extLst>
              <c:ext xmlns:c16="http://schemas.microsoft.com/office/drawing/2014/chart" uri="{C3380CC4-5D6E-409C-BE32-E72D297353CC}">
                <c16:uniqueId val="{00000575-9DD8-499E-8091-3E3A56EDFAAE}"/>
              </c:ext>
            </c:extLst>
          </c:dPt>
          <c:dPt>
            <c:idx val="698"/>
            <c:invertIfNegative val="1"/>
            <c:bubble3D val="0"/>
            <c:spPr>
              <a:solidFill>
                <a:srgbClr val="AEABAB"/>
              </a:solidFill>
            </c:spPr>
            <c:extLst>
              <c:ext xmlns:c16="http://schemas.microsoft.com/office/drawing/2014/chart" uri="{C3380CC4-5D6E-409C-BE32-E72D297353CC}">
                <c16:uniqueId val="{00000577-9DD8-499E-8091-3E3A56EDFAAE}"/>
              </c:ext>
            </c:extLst>
          </c:dPt>
          <c:dPt>
            <c:idx val="699"/>
            <c:invertIfNegative val="1"/>
            <c:bubble3D val="0"/>
            <c:spPr>
              <a:solidFill>
                <a:srgbClr val="AEABAB"/>
              </a:solidFill>
            </c:spPr>
            <c:extLst>
              <c:ext xmlns:c16="http://schemas.microsoft.com/office/drawing/2014/chart" uri="{C3380CC4-5D6E-409C-BE32-E72D297353CC}">
                <c16:uniqueId val="{00000579-9DD8-499E-8091-3E3A56EDFAAE}"/>
              </c:ext>
            </c:extLst>
          </c:dPt>
          <c:dPt>
            <c:idx val="700"/>
            <c:invertIfNegative val="1"/>
            <c:bubble3D val="0"/>
            <c:spPr>
              <a:solidFill>
                <a:srgbClr val="AEABAB"/>
              </a:solidFill>
            </c:spPr>
            <c:extLst>
              <c:ext xmlns:c16="http://schemas.microsoft.com/office/drawing/2014/chart" uri="{C3380CC4-5D6E-409C-BE32-E72D297353CC}">
                <c16:uniqueId val="{0000057B-9DD8-499E-8091-3E3A56EDFAAE}"/>
              </c:ext>
            </c:extLst>
          </c:dPt>
          <c:dPt>
            <c:idx val="701"/>
            <c:invertIfNegative val="1"/>
            <c:bubble3D val="0"/>
            <c:spPr>
              <a:solidFill>
                <a:srgbClr val="AEABAB"/>
              </a:solidFill>
            </c:spPr>
            <c:extLst>
              <c:ext xmlns:c16="http://schemas.microsoft.com/office/drawing/2014/chart" uri="{C3380CC4-5D6E-409C-BE32-E72D297353CC}">
                <c16:uniqueId val="{0000057D-9DD8-499E-8091-3E3A56EDFAAE}"/>
              </c:ext>
            </c:extLst>
          </c:dPt>
          <c:dPt>
            <c:idx val="702"/>
            <c:invertIfNegative val="1"/>
            <c:bubble3D val="0"/>
            <c:spPr>
              <a:solidFill>
                <a:srgbClr val="AEABAB"/>
              </a:solidFill>
            </c:spPr>
            <c:extLst>
              <c:ext xmlns:c16="http://schemas.microsoft.com/office/drawing/2014/chart" uri="{C3380CC4-5D6E-409C-BE32-E72D297353CC}">
                <c16:uniqueId val="{0000057F-9DD8-499E-8091-3E3A56EDFAAE}"/>
              </c:ext>
            </c:extLst>
          </c:dPt>
          <c:dPt>
            <c:idx val="703"/>
            <c:invertIfNegative val="1"/>
            <c:bubble3D val="0"/>
            <c:spPr>
              <a:solidFill>
                <a:srgbClr val="AEABAB"/>
              </a:solidFill>
            </c:spPr>
            <c:extLst>
              <c:ext xmlns:c16="http://schemas.microsoft.com/office/drawing/2014/chart" uri="{C3380CC4-5D6E-409C-BE32-E72D297353CC}">
                <c16:uniqueId val="{00000581-9DD8-499E-8091-3E3A56EDFAAE}"/>
              </c:ext>
            </c:extLst>
          </c:dPt>
          <c:dPt>
            <c:idx val="704"/>
            <c:invertIfNegative val="1"/>
            <c:bubble3D val="0"/>
            <c:spPr>
              <a:solidFill>
                <a:srgbClr val="AEABAB"/>
              </a:solidFill>
            </c:spPr>
            <c:extLst>
              <c:ext xmlns:c16="http://schemas.microsoft.com/office/drawing/2014/chart" uri="{C3380CC4-5D6E-409C-BE32-E72D297353CC}">
                <c16:uniqueId val="{00000583-9DD8-499E-8091-3E3A56EDFAAE}"/>
              </c:ext>
            </c:extLst>
          </c:dPt>
          <c:dPt>
            <c:idx val="705"/>
            <c:invertIfNegative val="1"/>
            <c:bubble3D val="0"/>
            <c:spPr>
              <a:solidFill>
                <a:srgbClr val="AEABAB"/>
              </a:solidFill>
            </c:spPr>
            <c:extLst>
              <c:ext xmlns:c16="http://schemas.microsoft.com/office/drawing/2014/chart" uri="{C3380CC4-5D6E-409C-BE32-E72D297353CC}">
                <c16:uniqueId val="{00000585-9DD8-499E-8091-3E3A56EDFAAE}"/>
              </c:ext>
            </c:extLst>
          </c:dPt>
          <c:dPt>
            <c:idx val="706"/>
            <c:invertIfNegative val="1"/>
            <c:bubble3D val="0"/>
            <c:spPr>
              <a:solidFill>
                <a:srgbClr val="AEABAB"/>
              </a:solidFill>
            </c:spPr>
            <c:extLst>
              <c:ext xmlns:c16="http://schemas.microsoft.com/office/drawing/2014/chart" uri="{C3380CC4-5D6E-409C-BE32-E72D297353CC}">
                <c16:uniqueId val="{00000587-9DD8-499E-8091-3E3A56EDFAAE}"/>
              </c:ext>
            </c:extLst>
          </c:dPt>
          <c:dPt>
            <c:idx val="707"/>
            <c:invertIfNegative val="1"/>
            <c:bubble3D val="0"/>
            <c:spPr>
              <a:solidFill>
                <a:srgbClr val="AEABAB"/>
              </a:solidFill>
            </c:spPr>
            <c:extLst>
              <c:ext xmlns:c16="http://schemas.microsoft.com/office/drawing/2014/chart" uri="{C3380CC4-5D6E-409C-BE32-E72D297353CC}">
                <c16:uniqueId val="{00000589-9DD8-499E-8091-3E3A56EDFAAE}"/>
              </c:ext>
            </c:extLst>
          </c:dPt>
          <c:dPt>
            <c:idx val="708"/>
            <c:invertIfNegative val="1"/>
            <c:bubble3D val="0"/>
            <c:spPr>
              <a:solidFill>
                <a:srgbClr val="AEABAB"/>
              </a:solidFill>
            </c:spPr>
            <c:extLst>
              <c:ext xmlns:c16="http://schemas.microsoft.com/office/drawing/2014/chart" uri="{C3380CC4-5D6E-409C-BE32-E72D297353CC}">
                <c16:uniqueId val="{0000058B-9DD8-499E-8091-3E3A56EDFAAE}"/>
              </c:ext>
            </c:extLst>
          </c:dPt>
          <c:dPt>
            <c:idx val="709"/>
            <c:invertIfNegative val="1"/>
            <c:bubble3D val="0"/>
            <c:spPr>
              <a:solidFill>
                <a:srgbClr val="AEABAB"/>
              </a:solidFill>
            </c:spPr>
            <c:extLst>
              <c:ext xmlns:c16="http://schemas.microsoft.com/office/drawing/2014/chart" uri="{C3380CC4-5D6E-409C-BE32-E72D297353CC}">
                <c16:uniqueId val="{0000058D-9DD8-499E-8091-3E3A56EDFAAE}"/>
              </c:ext>
            </c:extLst>
          </c:dPt>
          <c:dPt>
            <c:idx val="710"/>
            <c:invertIfNegative val="1"/>
            <c:bubble3D val="0"/>
            <c:spPr>
              <a:solidFill>
                <a:srgbClr val="AEABAB"/>
              </a:solidFill>
            </c:spPr>
            <c:extLst>
              <c:ext xmlns:c16="http://schemas.microsoft.com/office/drawing/2014/chart" uri="{C3380CC4-5D6E-409C-BE32-E72D297353CC}">
                <c16:uniqueId val="{0000058F-9DD8-499E-8091-3E3A56EDFAAE}"/>
              </c:ext>
            </c:extLst>
          </c:dPt>
          <c:dPt>
            <c:idx val="711"/>
            <c:invertIfNegative val="1"/>
            <c:bubble3D val="0"/>
            <c:spPr>
              <a:solidFill>
                <a:srgbClr val="AEABAB"/>
              </a:solidFill>
            </c:spPr>
            <c:extLst>
              <c:ext xmlns:c16="http://schemas.microsoft.com/office/drawing/2014/chart" uri="{C3380CC4-5D6E-409C-BE32-E72D297353CC}">
                <c16:uniqueId val="{00000591-9DD8-499E-8091-3E3A56EDFAAE}"/>
              </c:ext>
            </c:extLst>
          </c:dPt>
          <c:dPt>
            <c:idx val="712"/>
            <c:invertIfNegative val="1"/>
            <c:bubble3D val="0"/>
            <c:spPr>
              <a:solidFill>
                <a:srgbClr val="AEABAB"/>
              </a:solidFill>
            </c:spPr>
            <c:extLst>
              <c:ext xmlns:c16="http://schemas.microsoft.com/office/drawing/2014/chart" uri="{C3380CC4-5D6E-409C-BE32-E72D297353CC}">
                <c16:uniqueId val="{00000593-9DD8-499E-8091-3E3A56EDFAAE}"/>
              </c:ext>
            </c:extLst>
          </c:dPt>
          <c:dPt>
            <c:idx val="713"/>
            <c:invertIfNegative val="1"/>
            <c:bubble3D val="0"/>
            <c:spPr>
              <a:solidFill>
                <a:srgbClr val="AEABAB"/>
              </a:solidFill>
            </c:spPr>
            <c:extLst>
              <c:ext xmlns:c16="http://schemas.microsoft.com/office/drawing/2014/chart" uri="{C3380CC4-5D6E-409C-BE32-E72D297353CC}">
                <c16:uniqueId val="{00000595-9DD8-499E-8091-3E3A56EDFAAE}"/>
              </c:ext>
            </c:extLst>
          </c:dPt>
          <c:dPt>
            <c:idx val="714"/>
            <c:invertIfNegative val="1"/>
            <c:bubble3D val="0"/>
            <c:spPr>
              <a:solidFill>
                <a:srgbClr val="AEABAB"/>
              </a:solidFill>
            </c:spPr>
            <c:extLst>
              <c:ext xmlns:c16="http://schemas.microsoft.com/office/drawing/2014/chart" uri="{C3380CC4-5D6E-409C-BE32-E72D297353CC}">
                <c16:uniqueId val="{00000597-9DD8-499E-8091-3E3A56EDFAAE}"/>
              </c:ext>
            </c:extLst>
          </c:dPt>
          <c:dPt>
            <c:idx val="715"/>
            <c:invertIfNegative val="1"/>
            <c:bubble3D val="0"/>
            <c:spPr>
              <a:solidFill>
                <a:srgbClr val="AEABAB"/>
              </a:solidFill>
            </c:spPr>
            <c:extLst>
              <c:ext xmlns:c16="http://schemas.microsoft.com/office/drawing/2014/chart" uri="{C3380CC4-5D6E-409C-BE32-E72D297353CC}">
                <c16:uniqueId val="{00000599-9DD8-499E-8091-3E3A56EDFAAE}"/>
              </c:ext>
            </c:extLst>
          </c:dPt>
          <c:dPt>
            <c:idx val="716"/>
            <c:invertIfNegative val="1"/>
            <c:bubble3D val="0"/>
            <c:spPr>
              <a:solidFill>
                <a:srgbClr val="AEABAB"/>
              </a:solidFill>
            </c:spPr>
            <c:extLst>
              <c:ext xmlns:c16="http://schemas.microsoft.com/office/drawing/2014/chart" uri="{C3380CC4-5D6E-409C-BE32-E72D297353CC}">
                <c16:uniqueId val="{0000059B-9DD8-499E-8091-3E3A56EDFAAE}"/>
              </c:ext>
            </c:extLst>
          </c:dPt>
          <c:dPt>
            <c:idx val="717"/>
            <c:invertIfNegative val="1"/>
            <c:bubble3D val="0"/>
            <c:spPr>
              <a:solidFill>
                <a:srgbClr val="AEABAB"/>
              </a:solidFill>
            </c:spPr>
            <c:extLst>
              <c:ext xmlns:c16="http://schemas.microsoft.com/office/drawing/2014/chart" uri="{C3380CC4-5D6E-409C-BE32-E72D297353CC}">
                <c16:uniqueId val="{0000059D-9DD8-499E-8091-3E3A56EDFAAE}"/>
              </c:ext>
            </c:extLst>
          </c:dPt>
          <c:dPt>
            <c:idx val="718"/>
            <c:invertIfNegative val="1"/>
            <c:bubble3D val="0"/>
            <c:spPr>
              <a:solidFill>
                <a:srgbClr val="AEABAB"/>
              </a:solidFill>
            </c:spPr>
            <c:extLst>
              <c:ext xmlns:c16="http://schemas.microsoft.com/office/drawing/2014/chart" uri="{C3380CC4-5D6E-409C-BE32-E72D297353CC}">
                <c16:uniqueId val="{0000059F-9DD8-499E-8091-3E3A56EDFAAE}"/>
              </c:ext>
            </c:extLst>
          </c:dPt>
          <c:dPt>
            <c:idx val="719"/>
            <c:invertIfNegative val="1"/>
            <c:bubble3D val="0"/>
            <c:spPr>
              <a:solidFill>
                <a:srgbClr val="AEABAB"/>
              </a:solidFill>
            </c:spPr>
            <c:extLst>
              <c:ext xmlns:c16="http://schemas.microsoft.com/office/drawing/2014/chart" uri="{C3380CC4-5D6E-409C-BE32-E72D297353CC}">
                <c16:uniqueId val="{000005A1-9DD8-499E-8091-3E3A56EDFAAE}"/>
              </c:ext>
            </c:extLst>
          </c:dPt>
          <c:dPt>
            <c:idx val="720"/>
            <c:invertIfNegative val="1"/>
            <c:bubble3D val="0"/>
            <c:spPr>
              <a:solidFill>
                <a:srgbClr val="AEABAB"/>
              </a:solidFill>
            </c:spPr>
            <c:extLst>
              <c:ext xmlns:c16="http://schemas.microsoft.com/office/drawing/2014/chart" uri="{C3380CC4-5D6E-409C-BE32-E72D297353CC}">
                <c16:uniqueId val="{000005A3-9DD8-499E-8091-3E3A56EDFAAE}"/>
              </c:ext>
            </c:extLst>
          </c:dPt>
          <c:dPt>
            <c:idx val="721"/>
            <c:invertIfNegative val="1"/>
            <c:bubble3D val="0"/>
            <c:spPr>
              <a:solidFill>
                <a:srgbClr val="AEABAB"/>
              </a:solidFill>
            </c:spPr>
            <c:extLst>
              <c:ext xmlns:c16="http://schemas.microsoft.com/office/drawing/2014/chart" uri="{C3380CC4-5D6E-409C-BE32-E72D297353CC}">
                <c16:uniqueId val="{000005A5-9DD8-499E-8091-3E3A56EDFAAE}"/>
              </c:ext>
            </c:extLst>
          </c:dPt>
          <c:dPt>
            <c:idx val="722"/>
            <c:invertIfNegative val="1"/>
            <c:bubble3D val="0"/>
            <c:spPr>
              <a:solidFill>
                <a:srgbClr val="AEABAB"/>
              </a:solidFill>
            </c:spPr>
            <c:extLst>
              <c:ext xmlns:c16="http://schemas.microsoft.com/office/drawing/2014/chart" uri="{C3380CC4-5D6E-409C-BE32-E72D297353CC}">
                <c16:uniqueId val="{000005A7-9DD8-499E-8091-3E3A56EDFAAE}"/>
              </c:ext>
            </c:extLst>
          </c:dPt>
          <c:dPt>
            <c:idx val="723"/>
            <c:invertIfNegative val="1"/>
            <c:bubble3D val="0"/>
            <c:spPr>
              <a:solidFill>
                <a:srgbClr val="AEABAB"/>
              </a:solidFill>
            </c:spPr>
            <c:extLst>
              <c:ext xmlns:c16="http://schemas.microsoft.com/office/drawing/2014/chart" uri="{C3380CC4-5D6E-409C-BE32-E72D297353CC}">
                <c16:uniqueId val="{000005A9-9DD8-499E-8091-3E3A56EDFAAE}"/>
              </c:ext>
            </c:extLst>
          </c:dPt>
          <c:dPt>
            <c:idx val="724"/>
            <c:invertIfNegative val="1"/>
            <c:bubble3D val="0"/>
            <c:spPr>
              <a:solidFill>
                <a:srgbClr val="AEABAB"/>
              </a:solidFill>
            </c:spPr>
            <c:extLst>
              <c:ext xmlns:c16="http://schemas.microsoft.com/office/drawing/2014/chart" uri="{C3380CC4-5D6E-409C-BE32-E72D297353CC}">
                <c16:uniqueId val="{000005AB-9DD8-499E-8091-3E3A56EDFAAE}"/>
              </c:ext>
            </c:extLst>
          </c:dPt>
          <c:dPt>
            <c:idx val="725"/>
            <c:invertIfNegative val="1"/>
            <c:bubble3D val="0"/>
            <c:spPr>
              <a:solidFill>
                <a:srgbClr val="AEABAB"/>
              </a:solidFill>
            </c:spPr>
            <c:extLst>
              <c:ext xmlns:c16="http://schemas.microsoft.com/office/drawing/2014/chart" uri="{C3380CC4-5D6E-409C-BE32-E72D297353CC}">
                <c16:uniqueId val="{000005AD-9DD8-499E-8091-3E3A56EDFAAE}"/>
              </c:ext>
            </c:extLst>
          </c:dPt>
          <c:dPt>
            <c:idx val="726"/>
            <c:invertIfNegative val="1"/>
            <c:bubble3D val="0"/>
            <c:spPr>
              <a:solidFill>
                <a:srgbClr val="AEABAB"/>
              </a:solidFill>
            </c:spPr>
            <c:extLst>
              <c:ext xmlns:c16="http://schemas.microsoft.com/office/drawing/2014/chart" uri="{C3380CC4-5D6E-409C-BE32-E72D297353CC}">
                <c16:uniqueId val="{000005AF-9DD8-499E-8091-3E3A56EDFAAE}"/>
              </c:ext>
            </c:extLst>
          </c:dPt>
          <c:dPt>
            <c:idx val="727"/>
            <c:invertIfNegative val="1"/>
            <c:bubble3D val="0"/>
            <c:spPr>
              <a:solidFill>
                <a:srgbClr val="AEABAB"/>
              </a:solidFill>
            </c:spPr>
            <c:extLst>
              <c:ext xmlns:c16="http://schemas.microsoft.com/office/drawing/2014/chart" uri="{C3380CC4-5D6E-409C-BE32-E72D297353CC}">
                <c16:uniqueId val="{000005B1-9DD8-499E-8091-3E3A56EDFAAE}"/>
              </c:ext>
            </c:extLst>
          </c:dPt>
          <c:dPt>
            <c:idx val="728"/>
            <c:invertIfNegative val="1"/>
            <c:bubble3D val="0"/>
            <c:spPr>
              <a:solidFill>
                <a:srgbClr val="AEABAB"/>
              </a:solidFill>
            </c:spPr>
            <c:extLst>
              <c:ext xmlns:c16="http://schemas.microsoft.com/office/drawing/2014/chart" uri="{C3380CC4-5D6E-409C-BE32-E72D297353CC}">
                <c16:uniqueId val="{000005B3-9DD8-499E-8091-3E3A56EDFAAE}"/>
              </c:ext>
            </c:extLst>
          </c:dPt>
          <c:dPt>
            <c:idx val="729"/>
            <c:invertIfNegative val="1"/>
            <c:bubble3D val="0"/>
            <c:spPr>
              <a:solidFill>
                <a:srgbClr val="AEABAB"/>
              </a:solidFill>
            </c:spPr>
            <c:extLst>
              <c:ext xmlns:c16="http://schemas.microsoft.com/office/drawing/2014/chart" uri="{C3380CC4-5D6E-409C-BE32-E72D297353CC}">
                <c16:uniqueId val="{000005B5-9DD8-499E-8091-3E3A56EDFAAE}"/>
              </c:ext>
            </c:extLst>
          </c:dPt>
          <c:dPt>
            <c:idx val="730"/>
            <c:invertIfNegative val="1"/>
            <c:bubble3D val="0"/>
            <c:spPr>
              <a:solidFill>
                <a:srgbClr val="AEABAB"/>
              </a:solidFill>
            </c:spPr>
            <c:extLst>
              <c:ext xmlns:c16="http://schemas.microsoft.com/office/drawing/2014/chart" uri="{C3380CC4-5D6E-409C-BE32-E72D297353CC}">
                <c16:uniqueId val="{000005B7-9DD8-499E-8091-3E3A56EDFAAE}"/>
              </c:ext>
            </c:extLst>
          </c:dPt>
          <c:dPt>
            <c:idx val="731"/>
            <c:invertIfNegative val="1"/>
            <c:bubble3D val="0"/>
            <c:spPr>
              <a:solidFill>
                <a:srgbClr val="AEABAB"/>
              </a:solidFill>
            </c:spPr>
            <c:extLst>
              <c:ext xmlns:c16="http://schemas.microsoft.com/office/drawing/2014/chart" uri="{C3380CC4-5D6E-409C-BE32-E72D297353CC}">
                <c16:uniqueId val="{000005B9-9DD8-499E-8091-3E3A56EDFAAE}"/>
              </c:ext>
            </c:extLst>
          </c:dPt>
          <c:dPt>
            <c:idx val="732"/>
            <c:invertIfNegative val="1"/>
            <c:bubble3D val="0"/>
            <c:spPr>
              <a:solidFill>
                <a:srgbClr val="AEABAB"/>
              </a:solidFill>
            </c:spPr>
            <c:extLst>
              <c:ext xmlns:c16="http://schemas.microsoft.com/office/drawing/2014/chart" uri="{C3380CC4-5D6E-409C-BE32-E72D297353CC}">
                <c16:uniqueId val="{000005BB-9DD8-499E-8091-3E3A56EDFAAE}"/>
              </c:ext>
            </c:extLst>
          </c:dPt>
          <c:dPt>
            <c:idx val="733"/>
            <c:invertIfNegative val="1"/>
            <c:bubble3D val="0"/>
            <c:spPr>
              <a:solidFill>
                <a:srgbClr val="AEABAB"/>
              </a:solidFill>
            </c:spPr>
            <c:extLst>
              <c:ext xmlns:c16="http://schemas.microsoft.com/office/drawing/2014/chart" uri="{C3380CC4-5D6E-409C-BE32-E72D297353CC}">
                <c16:uniqueId val="{000005BD-9DD8-499E-8091-3E3A56EDFAAE}"/>
              </c:ext>
            </c:extLst>
          </c:dPt>
          <c:dPt>
            <c:idx val="734"/>
            <c:invertIfNegative val="1"/>
            <c:bubble3D val="0"/>
            <c:spPr>
              <a:solidFill>
                <a:srgbClr val="AEABAB"/>
              </a:solidFill>
            </c:spPr>
            <c:extLst>
              <c:ext xmlns:c16="http://schemas.microsoft.com/office/drawing/2014/chart" uri="{C3380CC4-5D6E-409C-BE32-E72D297353CC}">
                <c16:uniqueId val="{000005BF-9DD8-499E-8091-3E3A56EDFAAE}"/>
              </c:ext>
            </c:extLst>
          </c:dPt>
          <c:dPt>
            <c:idx val="735"/>
            <c:invertIfNegative val="1"/>
            <c:bubble3D val="0"/>
            <c:spPr>
              <a:solidFill>
                <a:srgbClr val="AEABAB"/>
              </a:solidFill>
            </c:spPr>
            <c:extLst>
              <c:ext xmlns:c16="http://schemas.microsoft.com/office/drawing/2014/chart" uri="{C3380CC4-5D6E-409C-BE32-E72D297353CC}">
                <c16:uniqueId val="{000005C1-9DD8-499E-8091-3E3A56EDFAAE}"/>
              </c:ext>
            </c:extLst>
          </c:dPt>
          <c:dPt>
            <c:idx val="736"/>
            <c:invertIfNegative val="1"/>
            <c:bubble3D val="0"/>
            <c:spPr>
              <a:solidFill>
                <a:srgbClr val="AEABAB"/>
              </a:solidFill>
            </c:spPr>
            <c:extLst>
              <c:ext xmlns:c16="http://schemas.microsoft.com/office/drawing/2014/chart" uri="{C3380CC4-5D6E-409C-BE32-E72D297353CC}">
                <c16:uniqueId val="{000005C3-9DD8-499E-8091-3E3A56EDFAAE}"/>
              </c:ext>
            </c:extLst>
          </c:dPt>
          <c:dPt>
            <c:idx val="737"/>
            <c:invertIfNegative val="1"/>
            <c:bubble3D val="0"/>
            <c:spPr>
              <a:solidFill>
                <a:srgbClr val="AEABAB"/>
              </a:solidFill>
            </c:spPr>
            <c:extLst>
              <c:ext xmlns:c16="http://schemas.microsoft.com/office/drawing/2014/chart" uri="{C3380CC4-5D6E-409C-BE32-E72D297353CC}">
                <c16:uniqueId val="{000005C5-9DD8-499E-8091-3E3A56EDFAAE}"/>
              </c:ext>
            </c:extLst>
          </c:dPt>
          <c:dPt>
            <c:idx val="738"/>
            <c:invertIfNegative val="1"/>
            <c:bubble3D val="0"/>
            <c:spPr>
              <a:solidFill>
                <a:srgbClr val="AEABAB"/>
              </a:solidFill>
            </c:spPr>
            <c:extLst>
              <c:ext xmlns:c16="http://schemas.microsoft.com/office/drawing/2014/chart" uri="{C3380CC4-5D6E-409C-BE32-E72D297353CC}">
                <c16:uniqueId val="{000005C7-9DD8-499E-8091-3E3A56EDFAAE}"/>
              </c:ext>
            </c:extLst>
          </c:dPt>
          <c:dPt>
            <c:idx val="739"/>
            <c:invertIfNegative val="1"/>
            <c:bubble3D val="0"/>
            <c:spPr>
              <a:solidFill>
                <a:srgbClr val="AEABAB"/>
              </a:solidFill>
            </c:spPr>
            <c:extLst>
              <c:ext xmlns:c16="http://schemas.microsoft.com/office/drawing/2014/chart" uri="{C3380CC4-5D6E-409C-BE32-E72D297353CC}">
                <c16:uniqueId val="{000005C9-9DD8-499E-8091-3E3A56EDFAAE}"/>
              </c:ext>
            </c:extLst>
          </c:dPt>
          <c:dPt>
            <c:idx val="740"/>
            <c:invertIfNegative val="1"/>
            <c:bubble3D val="0"/>
            <c:spPr>
              <a:solidFill>
                <a:srgbClr val="AEABAB"/>
              </a:solidFill>
            </c:spPr>
            <c:extLst>
              <c:ext xmlns:c16="http://schemas.microsoft.com/office/drawing/2014/chart" uri="{C3380CC4-5D6E-409C-BE32-E72D297353CC}">
                <c16:uniqueId val="{000005CB-9DD8-499E-8091-3E3A56EDFAAE}"/>
              </c:ext>
            </c:extLst>
          </c:dPt>
          <c:dPt>
            <c:idx val="741"/>
            <c:invertIfNegative val="1"/>
            <c:bubble3D val="0"/>
            <c:spPr>
              <a:solidFill>
                <a:srgbClr val="AEABAB"/>
              </a:solidFill>
            </c:spPr>
            <c:extLst>
              <c:ext xmlns:c16="http://schemas.microsoft.com/office/drawing/2014/chart" uri="{C3380CC4-5D6E-409C-BE32-E72D297353CC}">
                <c16:uniqueId val="{000005CD-9DD8-499E-8091-3E3A56EDFAAE}"/>
              </c:ext>
            </c:extLst>
          </c:dPt>
          <c:dPt>
            <c:idx val="742"/>
            <c:invertIfNegative val="1"/>
            <c:bubble3D val="0"/>
            <c:spPr>
              <a:solidFill>
                <a:srgbClr val="AEABAB"/>
              </a:solidFill>
            </c:spPr>
            <c:extLst>
              <c:ext xmlns:c16="http://schemas.microsoft.com/office/drawing/2014/chart" uri="{C3380CC4-5D6E-409C-BE32-E72D297353CC}">
                <c16:uniqueId val="{000005CF-9DD8-499E-8091-3E3A56EDFAAE}"/>
              </c:ext>
            </c:extLst>
          </c:dPt>
          <c:dPt>
            <c:idx val="743"/>
            <c:invertIfNegative val="1"/>
            <c:bubble3D val="0"/>
            <c:spPr>
              <a:solidFill>
                <a:srgbClr val="AEABAB"/>
              </a:solidFill>
            </c:spPr>
            <c:extLst>
              <c:ext xmlns:c16="http://schemas.microsoft.com/office/drawing/2014/chart" uri="{C3380CC4-5D6E-409C-BE32-E72D297353CC}">
                <c16:uniqueId val="{000005D1-9DD8-499E-8091-3E3A56EDFAAE}"/>
              </c:ext>
            </c:extLst>
          </c:dPt>
          <c:dPt>
            <c:idx val="744"/>
            <c:invertIfNegative val="1"/>
            <c:bubble3D val="0"/>
            <c:spPr>
              <a:solidFill>
                <a:srgbClr val="AEABAB"/>
              </a:solidFill>
            </c:spPr>
            <c:extLst>
              <c:ext xmlns:c16="http://schemas.microsoft.com/office/drawing/2014/chart" uri="{C3380CC4-5D6E-409C-BE32-E72D297353CC}">
                <c16:uniqueId val="{000005D3-9DD8-499E-8091-3E3A56EDFAAE}"/>
              </c:ext>
            </c:extLst>
          </c:dPt>
          <c:dPt>
            <c:idx val="745"/>
            <c:invertIfNegative val="1"/>
            <c:bubble3D val="0"/>
            <c:spPr>
              <a:solidFill>
                <a:srgbClr val="AEABAB"/>
              </a:solidFill>
            </c:spPr>
            <c:extLst>
              <c:ext xmlns:c16="http://schemas.microsoft.com/office/drawing/2014/chart" uri="{C3380CC4-5D6E-409C-BE32-E72D297353CC}">
                <c16:uniqueId val="{000005D5-9DD8-499E-8091-3E3A56EDFAAE}"/>
              </c:ext>
            </c:extLst>
          </c:dPt>
          <c:dPt>
            <c:idx val="746"/>
            <c:invertIfNegative val="1"/>
            <c:bubble3D val="0"/>
            <c:spPr>
              <a:solidFill>
                <a:srgbClr val="AEABAB"/>
              </a:solidFill>
            </c:spPr>
            <c:extLst>
              <c:ext xmlns:c16="http://schemas.microsoft.com/office/drawing/2014/chart" uri="{C3380CC4-5D6E-409C-BE32-E72D297353CC}">
                <c16:uniqueId val="{000005D7-9DD8-499E-8091-3E3A56EDFAAE}"/>
              </c:ext>
            </c:extLst>
          </c:dPt>
          <c:dPt>
            <c:idx val="747"/>
            <c:invertIfNegative val="1"/>
            <c:bubble3D val="0"/>
            <c:spPr>
              <a:solidFill>
                <a:srgbClr val="AEABAB"/>
              </a:solidFill>
            </c:spPr>
            <c:extLst>
              <c:ext xmlns:c16="http://schemas.microsoft.com/office/drawing/2014/chart" uri="{C3380CC4-5D6E-409C-BE32-E72D297353CC}">
                <c16:uniqueId val="{000005D9-9DD8-499E-8091-3E3A56EDFAAE}"/>
              </c:ext>
            </c:extLst>
          </c:dPt>
          <c:dPt>
            <c:idx val="748"/>
            <c:invertIfNegative val="1"/>
            <c:bubble3D val="0"/>
            <c:spPr>
              <a:solidFill>
                <a:srgbClr val="AEABAB"/>
              </a:solidFill>
            </c:spPr>
            <c:extLst>
              <c:ext xmlns:c16="http://schemas.microsoft.com/office/drawing/2014/chart" uri="{C3380CC4-5D6E-409C-BE32-E72D297353CC}">
                <c16:uniqueId val="{000005DB-9DD8-499E-8091-3E3A56EDFAAE}"/>
              </c:ext>
            </c:extLst>
          </c:dPt>
          <c:dPt>
            <c:idx val="749"/>
            <c:invertIfNegative val="1"/>
            <c:bubble3D val="0"/>
            <c:spPr>
              <a:solidFill>
                <a:srgbClr val="AEABAB"/>
              </a:solidFill>
            </c:spPr>
            <c:extLst>
              <c:ext xmlns:c16="http://schemas.microsoft.com/office/drawing/2014/chart" uri="{C3380CC4-5D6E-409C-BE32-E72D297353CC}">
                <c16:uniqueId val="{000005DD-9DD8-499E-8091-3E3A56EDFAAE}"/>
              </c:ext>
            </c:extLst>
          </c:dPt>
          <c:dPt>
            <c:idx val="750"/>
            <c:invertIfNegative val="1"/>
            <c:bubble3D val="0"/>
            <c:spPr>
              <a:solidFill>
                <a:srgbClr val="AEABAB"/>
              </a:solidFill>
            </c:spPr>
            <c:extLst>
              <c:ext xmlns:c16="http://schemas.microsoft.com/office/drawing/2014/chart" uri="{C3380CC4-5D6E-409C-BE32-E72D297353CC}">
                <c16:uniqueId val="{000005DF-9DD8-499E-8091-3E3A56EDFAAE}"/>
              </c:ext>
            </c:extLst>
          </c:dPt>
          <c:dPt>
            <c:idx val="751"/>
            <c:invertIfNegative val="1"/>
            <c:bubble3D val="0"/>
            <c:spPr>
              <a:solidFill>
                <a:srgbClr val="AEABAB"/>
              </a:solidFill>
            </c:spPr>
            <c:extLst>
              <c:ext xmlns:c16="http://schemas.microsoft.com/office/drawing/2014/chart" uri="{C3380CC4-5D6E-409C-BE32-E72D297353CC}">
                <c16:uniqueId val="{000005E1-9DD8-499E-8091-3E3A56EDFAAE}"/>
              </c:ext>
            </c:extLst>
          </c:dPt>
          <c:dPt>
            <c:idx val="752"/>
            <c:invertIfNegative val="1"/>
            <c:bubble3D val="0"/>
            <c:spPr>
              <a:solidFill>
                <a:srgbClr val="AEABAB"/>
              </a:solidFill>
            </c:spPr>
            <c:extLst>
              <c:ext xmlns:c16="http://schemas.microsoft.com/office/drawing/2014/chart" uri="{C3380CC4-5D6E-409C-BE32-E72D297353CC}">
                <c16:uniqueId val="{000005E3-9DD8-499E-8091-3E3A56EDFAAE}"/>
              </c:ext>
            </c:extLst>
          </c:dPt>
          <c:dPt>
            <c:idx val="753"/>
            <c:invertIfNegative val="1"/>
            <c:bubble3D val="0"/>
            <c:spPr>
              <a:solidFill>
                <a:srgbClr val="AEABAB"/>
              </a:solidFill>
            </c:spPr>
            <c:extLst>
              <c:ext xmlns:c16="http://schemas.microsoft.com/office/drawing/2014/chart" uri="{C3380CC4-5D6E-409C-BE32-E72D297353CC}">
                <c16:uniqueId val="{000005E5-9DD8-499E-8091-3E3A56EDFAAE}"/>
              </c:ext>
            </c:extLst>
          </c:dPt>
          <c:dPt>
            <c:idx val="754"/>
            <c:invertIfNegative val="1"/>
            <c:bubble3D val="0"/>
            <c:spPr>
              <a:solidFill>
                <a:srgbClr val="AEABAB"/>
              </a:solidFill>
            </c:spPr>
            <c:extLst>
              <c:ext xmlns:c16="http://schemas.microsoft.com/office/drawing/2014/chart" uri="{C3380CC4-5D6E-409C-BE32-E72D297353CC}">
                <c16:uniqueId val="{000005E7-9DD8-499E-8091-3E3A56EDFAAE}"/>
              </c:ext>
            </c:extLst>
          </c:dPt>
          <c:dPt>
            <c:idx val="755"/>
            <c:invertIfNegative val="1"/>
            <c:bubble3D val="0"/>
            <c:spPr>
              <a:solidFill>
                <a:srgbClr val="AEABAB"/>
              </a:solidFill>
            </c:spPr>
            <c:extLst>
              <c:ext xmlns:c16="http://schemas.microsoft.com/office/drawing/2014/chart" uri="{C3380CC4-5D6E-409C-BE32-E72D297353CC}">
                <c16:uniqueId val="{000005E9-9DD8-499E-8091-3E3A56EDFAAE}"/>
              </c:ext>
            </c:extLst>
          </c:dPt>
          <c:dPt>
            <c:idx val="756"/>
            <c:invertIfNegative val="1"/>
            <c:bubble3D val="0"/>
            <c:spPr>
              <a:solidFill>
                <a:srgbClr val="AEABAB"/>
              </a:solidFill>
            </c:spPr>
            <c:extLst>
              <c:ext xmlns:c16="http://schemas.microsoft.com/office/drawing/2014/chart" uri="{C3380CC4-5D6E-409C-BE32-E72D297353CC}">
                <c16:uniqueId val="{000005EB-9DD8-499E-8091-3E3A56EDFAAE}"/>
              </c:ext>
            </c:extLst>
          </c:dPt>
          <c:dPt>
            <c:idx val="757"/>
            <c:invertIfNegative val="1"/>
            <c:bubble3D val="0"/>
            <c:spPr>
              <a:solidFill>
                <a:srgbClr val="AEABAB"/>
              </a:solidFill>
            </c:spPr>
            <c:extLst>
              <c:ext xmlns:c16="http://schemas.microsoft.com/office/drawing/2014/chart" uri="{C3380CC4-5D6E-409C-BE32-E72D297353CC}">
                <c16:uniqueId val="{000005ED-9DD8-499E-8091-3E3A56EDFAAE}"/>
              </c:ext>
            </c:extLst>
          </c:dPt>
          <c:dPt>
            <c:idx val="758"/>
            <c:invertIfNegative val="1"/>
            <c:bubble3D val="0"/>
            <c:spPr>
              <a:solidFill>
                <a:srgbClr val="AEABAB"/>
              </a:solidFill>
            </c:spPr>
            <c:extLst>
              <c:ext xmlns:c16="http://schemas.microsoft.com/office/drawing/2014/chart" uri="{C3380CC4-5D6E-409C-BE32-E72D297353CC}">
                <c16:uniqueId val="{000005EF-9DD8-499E-8091-3E3A56EDFAAE}"/>
              </c:ext>
            </c:extLst>
          </c:dPt>
          <c:dPt>
            <c:idx val="759"/>
            <c:invertIfNegative val="1"/>
            <c:bubble3D val="0"/>
            <c:spPr>
              <a:solidFill>
                <a:srgbClr val="AEABAB"/>
              </a:solidFill>
            </c:spPr>
            <c:extLst>
              <c:ext xmlns:c16="http://schemas.microsoft.com/office/drawing/2014/chart" uri="{C3380CC4-5D6E-409C-BE32-E72D297353CC}">
                <c16:uniqueId val="{000005F1-9DD8-499E-8091-3E3A56EDFAAE}"/>
              </c:ext>
            </c:extLst>
          </c:dPt>
          <c:dPt>
            <c:idx val="760"/>
            <c:invertIfNegative val="1"/>
            <c:bubble3D val="0"/>
            <c:spPr>
              <a:solidFill>
                <a:srgbClr val="AEABAB"/>
              </a:solidFill>
            </c:spPr>
            <c:extLst>
              <c:ext xmlns:c16="http://schemas.microsoft.com/office/drawing/2014/chart" uri="{C3380CC4-5D6E-409C-BE32-E72D297353CC}">
                <c16:uniqueId val="{000005F3-9DD8-499E-8091-3E3A56EDFAAE}"/>
              </c:ext>
            </c:extLst>
          </c:dPt>
          <c:dPt>
            <c:idx val="761"/>
            <c:invertIfNegative val="1"/>
            <c:bubble3D val="0"/>
            <c:spPr>
              <a:solidFill>
                <a:srgbClr val="AEABAB"/>
              </a:solidFill>
            </c:spPr>
            <c:extLst>
              <c:ext xmlns:c16="http://schemas.microsoft.com/office/drawing/2014/chart" uri="{C3380CC4-5D6E-409C-BE32-E72D297353CC}">
                <c16:uniqueId val="{000005F5-9DD8-499E-8091-3E3A56EDFAAE}"/>
              </c:ext>
            </c:extLst>
          </c:dPt>
          <c:dPt>
            <c:idx val="762"/>
            <c:invertIfNegative val="1"/>
            <c:bubble3D val="0"/>
            <c:spPr>
              <a:solidFill>
                <a:srgbClr val="AEABAB"/>
              </a:solidFill>
            </c:spPr>
            <c:extLst>
              <c:ext xmlns:c16="http://schemas.microsoft.com/office/drawing/2014/chart" uri="{C3380CC4-5D6E-409C-BE32-E72D297353CC}">
                <c16:uniqueId val="{000005F7-9DD8-499E-8091-3E3A56EDFAAE}"/>
              </c:ext>
            </c:extLst>
          </c:dPt>
          <c:dPt>
            <c:idx val="763"/>
            <c:invertIfNegative val="1"/>
            <c:bubble3D val="0"/>
            <c:spPr>
              <a:solidFill>
                <a:srgbClr val="AEABAB"/>
              </a:solidFill>
            </c:spPr>
            <c:extLst>
              <c:ext xmlns:c16="http://schemas.microsoft.com/office/drawing/2014/chart" uri="{C3380CC4-5D6E-409C-BE32-E72D297353CC}">
                <c16:uniqueId val="{000005F9-9DD8-499E-8091-3E3A56EDFAAE}"/>
              </c:ext>
            </c:extLst>
          </c:dPt>
          <c:dPt>
            <c:idx val="764"/>
            <c:invertIfNegative val="1"/>
            <c:bubble3D val="0"/>
            <c:spPr>
              <a:solidFill>
                <a:srgbClr val="AEABAB"/>
              </a:solidFill>
            </c:spPr>
            <c:extLst>
              <c:ext xmlns:c16="http://schemas.microsoft.com/office/drawing/2014/chart" uri="{C3380CC4-5D6E-409C-BE32-E72D297353CC}">
                <c16:uniqueId val="{000005FB-9DD8-499E-8091-3E3A56EDFAAE}"/>
              </c:ext>
            </c:extLst>
          </c:dPt>
          <c:dPt>
            <c:idx val="765"/>
            <c:invertIfNegative val="1"/>
            <c:bubble3D val="0"/>
            <c:spPr>
              <a:solidFill>
                <a:srgbClr val="AEABAB"/>
              </a:solidFill>
            </c:spPr>
            <c:extLst>
              <c:ext xmlns:c16="http://schemas.microsoft.com/office/drawing/2014/chart" uri="{C3380CC4-5D6E-409C-BE32-E72D297353CC}">
                <c16:uniqueId val="{000005FD-9DD8-499E-8091-3E3A56EDFAAE}"/>
              </c:ext>
            </c:extLst>
          </c:dPt>
          <c:dPt>
            <c:idx val="766"/>
            <c:invertIfNegative val="1"/>
            <c:bubble3D val="0"/>
            <c:spPr>
              <a:solidFill>
                <a:srgbClr val="AEABAB"/>
              </a:solidFill>
            </c:spPr>
            <c:extLst>
              <c:ext xmlns:c16="http://schemas.microsoft.com/office/drawing/2014/chart" uri="{C3380CC4-5D6E-409C-BE32-E72D297353CC}">
                <c16:uniqueId val="{000005FF-9DD8-499E-8091-3E3A56EDFAAE}"/>
              </c:ext>
            </c:extLst>
          </c:dPt>
          <c:dPt>
            <c:idx val="767"/>
            <c:invertIfNegative val="1"/>
            <c:bubble3D val="0"/>
            <c:spPr>
              <a:solidFill>
                <a:srgbClr val="AEABAB"/>
              </a:solidFill>
            </c:spPr>
            <c:extLst>
              <c:ext xmlns:c16="http://schemas.microsoft.com/office/drawing/2014/chart" uri="{C3380CC4-5D6E-409C-BE32-E72D297353CC}">
                <c16:uniqueId val="{00000601-9DD8-499E-8091-3E3A56EDFAAE}"/>
              </c:ext>
            </c:extLst>
          </c:dPt>
          <c:dPt>
            <c:idx val="768"/>
            <c:invertIfNegative val="1"/>
            <c:bubble3D val="0"/>
            <c:spPr>
              <a:solidFill>
                <a:srgbClr val="AEABAB"/>
              </a:solidFill>
            </c:spPr>
            <c:extLst>
              <c:ext xmlns:c16="http://schemas.microsoft.com/office/drawing/2014/chart" uri="{C3380CC4-5D6E-409C-BE32-E72D297353CC}">
                <c16:uniqueId val="{00000603-9DD8-499E-8091-3E3A56EDFAAE}"/>
              </c:ext>
            </c:extLst>
          </c:dPt>
          <c:dPt>
            <c:idx val="769"/>
            <c:invertIfNegative val="1"/>
            <c:bubble3D val="0"/>
            <c:spPr>
              <a:solidFill>
                <a:srgbClr val="AEABAB"/>
              </a:solidFill>
            </c:spPr>
            <c:extLst>
              <c:ext xmlns:c16="http://schemas.microsoft.com/office/drawing/2014/chart" uri="{C3380CC4-5D6E-409C-BE32-E72D297353CC}">
                <c16:uniqueId val="{00000605-9DD8-499E-8091-3E3A56EDFAAE}"/>
              </c:ext>
            </c:extLst>
          </c:dPt>
          <c:dPt>
            <c:idx val="770"/>
            <c:invertIfNegative val="1"/>
            <c:bubble3D val="0"/>
            <c:spPr>
              <a:solidFill>
                <a:srgbClr val="AEABAB"/>
              </a:solidFill>
            </c:spPr>
            <c:extLst>
              <c:ext xmlns:c16="http://schemas.microsoft.com/office/drawing/2014/chart" uri="{C3380CC4-5D6E-409C-BE32-E72D297353CC}">
                <c16:uniqueId val="{00000607-9DD8-499E-8091-3E3A56EDFAAE}"/>
              </c:ext>
            </c:extLst>
          </c:dPt>
          <c:dPt>
            <c:idx val="771"/>
            <c:invertIfNegative val="1"/>
            <c:bubble3D val="0"/>
            <c:spPr>
              <a:solidFill>
                <a:srgbClr val="AEABAB"/>
              </a:solidFill>
            </c:spPr>
            <c:extLst>
              <c:ext xmlns:c16="http://schemas.microsoft.com/office/drawing/2014/chart" uri="{C3380CC4-5D6E-409C-BE32-E72D297353CC}">
                <c16:uniqueId val="{00000609-9DD8-499E-8091-3E3A56EDFAAE}"/>
              </c:ext>
            </c:extLst>
          </c:dPt>
          <c:dPt>
            <c:idx val="772"/>
            <c:invertIfNegative val="1"/>
            <c:bubble3D val="0"/>
            <c:spPr>
              <a:solidFill>
                <a:srgbClr val="AEABAB"/>
              </a:solidFill>
            </c:spPr>
            <c:extLst>
              <c:ext xmlns:c16="http://schemas.microsoft.com/office/drawing/2014/chart" uri="{C3380CC4-5D6E-409C-BE32-E72D297353CC}">
                <c16:uniqueId val="{0000060B-9DD8-499E-8091-3E3A56EDFAAE}"/>
              </c:ext>
            </c:extLst>
          </c:dPt>
          <c:dPt>
            <c:idx val="773"/>
            <c:invertIfNegative val="1"/>
            <c:bubble3D val="0"/>
            <c:spPr>
              <a:solidFill>
                <a:srgbClr val="AEABAB"/>
              </a:solidFill>
            </c:spPr>
            <c:extLst>
              <c:ext xmlns:c16="http://schemas.microsoft.com/office/drawing/2014/chart" uri="{C3380CC4-5D6E-409C-BE32-E72D297353CC}">
                <c16:uniqueId val="{0000060D-9DD8-499E-8091-3E3A56EDFAAE}"/>
              </c:ext>
            </c:extLst>
          </c:dPt>
          <c:dPt>
            <c:idx val="774"/>
            <c:invertIfNegative val="1"/>
            <c:bubble3D val="0"/>
            <c:spPr>
              <a:solidFill>
                <a:srgbClr val="AEABAB"/>
              </a:solidFill>
            </c:spPr>
            <c:extLst>
              <c:ext xmlns:c16="http://schemas.microsoft.com/office/drawing/2014/chart" uri="{C3380CC4-5D6E-409C-BE32-E72D297353CC}">
                <c16:uniqueId val="{0000060F-9DD8-499E-8091-3E3A56EDFAAE}"/>
              </c:ext>
            </c:extLst>
          </c:dPt>
          <c:dPt>
            <c:idx val="775"/>
            <c:invertIfNegative val="1"/>
            <c:bubble3D val="0"/>
            <c:spPr>
              <a:solidFill>
                <a:srgbClr val="AEABAB"/>
              </a:solidFill>
            </c:spPr>
            <c:extLst>
              <c:ext xmlns:c16="http://schemas.microsoft.com/office/drawing/2014/chart" uri="{C3380CC4-5D6E-409C-BE32-E72D297353CC}">
                <c16:uniqueId val="{00000611-9DD8-499E-8091-3E3A56EDFAAE}"/>
              </c:ext>
            </c:extLst>
          </c:dPt>
          <c:dPt>
            <c:idx val="776"/>
            <c:invertIfNegative val="1"/>
            <c:bubble3D val="0"/>
            <c:spPr>
              <a:solidFill>
                <a:srgbClr val="AEABAB"/>
              </a:solidFill>
            </c:spPr>
            <c:extLst>
              <c:ext xmlns:c16="http://schemas.microsoft.com/office/drawing/2014/chart" uri="{C3380CC4-5D6E-409C-BE32-E72D297353CC}">
                <c16:uniqueId val="{00000613-9DD8-499E-8091-3E3A56EDFAAE}"/>
              </c:ext>
            </c:extLst>
          </c:dPt>
          <c:dPt>
            <c:idx val="777"/>
            <c:invertIfNegative val="1"/>
            <c:bubble3D val="0"/>
            <c:spPr>
              <a:solidFill>
                <a:srgbClr val="AEABAB"/>
              </a:solidFill>
            </c:spPr>
            <c:extLst>
              <c:ext xmlns:c16="http://schemas.microsoft.com/office/drawing/2014/chart" uri="{C3380CC4-5D6E-409C-BE32-E72D297353CC}">
                <c16:uniqueId val="{00000615-9DD8-499E-8091-3E3A56EDFAAE}"/>
              </c:ext>
            </c:extLst>
          </c:dPt>
          <c:dPt>
            <c:idx val="778"/>
            <c:invertIfNegative val="1"/>
            <c:bubble3D val="0"/>
            <c:spPr>
              <a:solidFill>
                <a:srgbClr val="AEABAB"/>
              </a:solidFill>
            </c:spPr>
            <c:extLst>
              <c:ext xmlns:c16="http://schemas.microsoft.com/office/drawing/2014/chart" uri="{C3380CC4-5D6E-409C-BE32-E72D297353CC}">
                <c16:uniqueId val="{00000617-9DD8-499E-8091-3E3A56EDFAAE}"/>
              </c:ext>
            </c:extLst>
          </c:dPt>
          <c:dPt>
            <c:idx val="779"/>
            <c:invertIfNegative val="1"/>
            <c:bubble3D val="0"/>
            <c:spPr>
              <a:solidFill>
                <a:srgbClr val="AEABAB"/>
              </a:solidFill>
            </c:spPr>
            <c:extLst>
              <c:ext xmlns:c16="http://schemas.microsoft.com/office/drawing/2014/chart" uri="{C3380CC4-5D6E-409C-BE32-E72D297353CC}">
                <c16:uniqueId val="{00000619-9DD8-499E-8091-3E3A56EDFAAE}"/>
              </c:ext>
            </c:extLst>
          </c:dPt>
          <c:dPt>
            <c:idx val="780"/>
            <c:invertIfNegative val="1"/>
            <c:bubble3D val="0"/>
            <c:spPr>
              <a:solidFill>
                <a:srgbClr val="AEABAB"/>
              </a:solidFill>
            </c:spPr>
            <c:extLst>
              <c:ext xmlns:c16="http://schemas.microsoft.com/office/drawing/2014/chart" uri="{C3380CC4-5D6E-409C-BE32-E72D297353CC}">
                <c16:uniqueId val="{0000061B-9DD8-499E-8091-3E3A56EDFAAE}"/>
              </c:ext>
            </c:extLst>
          </c:dPt>
          <c:dPt>
            <c:idx val="781"/>
            <c:invertIfNegative val="1"/>
            <c:bubble3D val="0"/>
            <c:spPr>
              <a:solidFill>
                <a:srgbClr val="AEABAB"/>
              </a:solidFill>
            </c:spPr>
            <c:extLst>
              <c:ext xmlns:c16="http://schemas.microsoft.com/office/drawing/2014/chart" uri="{C3380CC4-5D6E-409C-BE32-E72D297353CC}">
                <c16:uniqueId val="{0000061D-9DD8-499E-8091-3E3A56EDFAAE}"/>
              </c:ext>
            </c:extLst>
          </c:dPt>
          <c:dPt>
            <c:idx val="782"/>
            <c:invertIfNegative val="1"/>
            <c:bubble3D val="0"/>
            <c:spPr>
              <a:solidFill>
                <a:srgbClr val="AEABAB"/>
              </a:solidFill>
            </c:spPr>
            <c:extLst>
              <c:ext xmlns:c16="http://schemas.microsoft.com/office/drawing/2014/chart" uri="{C3380CC4-5D6E-409C-BE32-E72D297353CC}">
                <c16:uniqueId val="{0000061F-9DD8-499E-8091-3E3A56EDFAAE}"/>
              </c:ext>
            </c:extLst>
          </c:dPt>
          <c:dPt>
            <c:idx val="783"/>
            <c:invertIfNegative val="1"/>
            <c:bubble3D val="0"/>
            <c:spPr>
              <a:solidFill>
                <a:srgbClr val="AEABAB"/>
              </a:solidFill>
            </c:spPr>
            <c:extLst>
              <c:ext xmlns:c16="http://schemas.microsoft.com/office/drawing/2014/chart" uri="{C3380CC4-5D6E-409C-BE32-E72D297353CC}">
                <c16:uniqueId val="{00000621-9DD8-499E-8091-3E3A56EDFAAE}"/>
              </c:ext>
            </c:extLst>
          </c:dPt>
          <c:dPt>
            <c:idx val="784"/>
            <c:invertIfNegative val="1"/>
            <c:bubble3D val="0"/>
            <c:spPr>
              <a:solidFill>
                <a:srgbClr val="AEABAB"/>
              </a:solidFill>
            </c:spPr>
            <c:extLst>
              <c:ext xmlns:c16="http://schemas.microsoft.com/office/drawing/2014/chart" uri="{C3380CC4-5D6E-409C-BE32-E72D297353CC}">
                <c16:uniqueId val="{00000623-9DD8-499E-8091-3E3A56EDFAAE}"/>
              </c:ext>
            </c:extLst>
          </c:dPt>
          <c:dPt>
            <c:idx val="785"/>
            <c:invertIfNegative val="1"/>
            <c:bubble3D val="0"/>
            <c:spPr>
              <a:solidFill>
                <a:srgbClr val="AEABAB"/>
              </a:solidFill>
            </c:spPr>
            <c:extLst>
              <c:ext xmlns:c16="http://schemas.microsoft.com/office/drawing/2014/chart" uri="{C3380CC4-5D6E-409C-BE32-E72D297353CC}">
                <c16:uniqueId val="{00000625-9DD8-499E-8091-3E3A56EDFAAE}"/>
              </c:ext>
            </c:extLst>
          </c:dPt>
          <c:dPt>
            <c:idx val="786"/>
            <c:invertIfNegative val="1"/>
            <c:bubble3D val="0"/>
            <c:spPr>
              <a:solidFill>
                <a:srgbClr val="AEABAB"/>
              </a:solidFill>
            </c:spPr>
            <c:extLst>
              <c:ext xmlns:c16="http://schemas.microsoft.com/office/drawing/2014/chart" uri="{C3380CC4-5D6E-409C-BE32-E72D297353CC}">
                <c16:uniqueId val="{00000627-9DD8-499E-8091-3E3A56EDFAAE}"/>
              </c:ext>
            </c:extLst>
          </c:dPt>
          <c:dPt>
            <c:idx val="787"/>
            <c:invertIfNegative val="1"/>
            <c:bubble3D val="0"/>
            <c:spPr>
              <a:solidFill>
                <a:srgbClr val="AEABAB"/>
              </a:solidFill>
            </c:spPr>
            <c:extLst>
              <c:ext xmlns:c16="http://schemas.microsoft.com/office/drawing/2014/chart" uri="{C3380CC4-5D6E-409C-BE32-E72D297353CC}">
                <c16:uniqueId val="{00000629-9DD8-499E-8091-3E3A56EDFAAE}"/>
              </c:ext>
            </c:extLst>
          </c:dPt>
          <c:dPt>
            <c:idx val="788"/>
            <c:invertIfNegative val="1"/>
            <c:bubble3D val="0"/>
            <c:spPr>
              <a:solidFill>
                <a:srgbClr val="AEABAB"/>
              </a:solidFill>
            </c:spPr>
            <c:extLst>
              <c:ext xmlns:c16="http://schemas.microsoft.com/office/drawing/2014/chart" uri="{C3380CC4-5D6E-409C-BE32-E72D297353CC}">
                <c16:uniqueId val="{0000062B-9DD8-499E-8091-3E3A56EDFAAE}"/>
              </c:ext>
            </c:extLst>
          </c:dPt>
          <c:dPt>
            <c:idx val="789"/>
            <c:invertIfNegative val="1"/>
            <c:bubble3D val="0"/>
            <c:spPr>
              <a:solidFill>
                <a:srgbClr val="AEABAB"/>
              </a:solidFill>
            </c:spPr>
            <c:extLst>
              <c:ext xmlns:c16="http://schemas.microsoft.com/office/drawing/2014/chart" uri="{C3380CC4-5D6E-409C-BE32-E72D297353CC}">
                <c16:uniqueId val="{0000062D-9DD8-499E-8091-3E3A56EDFAAE}"/>
              </c:ext>
            </c:extLst>
          </c:dPt>
          <c:dPt>
            <c:idx val="790"/>
            <c:invertIfNegative val="1"/>
            <c:bubble3D val="0"/>
            <c:spPr>
              <a:solidFill>
                <a:srgbClr val="AEABAB"/>
              </a:solidFill>
            </c:spPr>
            <c:extLst>
              <c:ext xmlns:c16="http://schemas.microsoft.com/office/drawing/2014/chart" uri="{C3380CC4-5D6E-409C-BE32-E72D297353CC}">
                <c16:uniqueId val="{0000062F-9DD8-499E-8091-3E3A56EDFAAE}"/>
              </c:ext>
            </c:extLst>
          </c:dPt>
          <c:dPt>
            <c:idx val="791"/>
            <c:invertIfNegative val="1"/>
            <c:bubble3D val="0"/>
            <c:spPr>
              <a:solidFill>
                <a:srgbClr val="AEABAB"/>
              </a:solidFill>
            </c:spPr>
            <c:extLst>
              <c:ext xmlns:c16="http://schemas.microsoft.com/office/drawing/2014/chart" uri="{C3380CC4-5D6E-409C-BE32-E72D297353CC}">
                <c16:uniqueId val="{00000631-9DD8-499E-8091-3E3A56EDFAAE}"/>
              </c:ext>
            </c:extLst>
          </c:dPt>
          <c:dPt>
            <c:idx val="792"/>
            <c:invertIfNegative val="1"/>
            <c:bubble3D val="0"/>
            <c:spPr>
              <a:solidFill>
                <a:srgbClr val="AEABAB"/>
              </a:solidFill>
            </c:spPr>
            <c:extLst>
              <c:ext xmlns:c16="http://schemas.microsoft.com/office/drawing/2014/chart" uri="{C3380CC4-5D6E-409C-BE32-E72D297353CC}">
                <c16:uniqueId val="{00000633-9DD8-499E-8091-3E3A56EDFAAE}"/>
              </c:ext>
            </c:extLst>
          </c:dPt>
          <c:dPt>
            <c:idx val="793"/>
            <c:invertIfNegative val="1"/>
            <c:bubble3D val="0"/>
            <c:spPr>
              <a:solidFill>
                <a:srgbClr val="AEABAB"/>
              </a:solidFill>
            </c:spPr>
            <c:extLst>
              <c:ext xmlns:c16="http://schemas.microsoft.com/office/drawing/2014/chart" uri="{C3380CC4-5D6E-409C-BE32-E72D297353CC}">
                <c16:uniqueId val="{00000635-9DD8-499E-8091-3E3A56EDFAAE}"/>
              </c:ext>
            </c:extLst>
          </c:dPt>
          <c:dPt>
            <c:idx val="794"/>
            <c:invertIfNegative val="1"/>
            <c:bubble3D val="0"/>
            <c:spPr>
              <a:solidFill>
                <a:srgbClr val="AEABAB"/>
              </a:solidFill>
            </c:spPr>
            <c:extLst>
              <c:ext xmlns:c16="http://schemas.microsoft.com/office/drawing/2014/chart" uri="{C3380CC4-5D6E-409C-BE32-E72D297353CC}">
                <c16:uniqueId val="{00000637-9DD8-499E-8091-3E3A56EDFAAE}"/>
              </c:ext>
            </c:extLst>
          </c:dPt>
          <c:dPt>
            <c:idx val="795"/>
            <c:invertIfNegative val="1"/>
            <c:bubble3D val="0"/>
            <c:spPr>
              <a:solidFill>
                <a:srgbClr val="AEABAB"/>
              </a:solidFill>
            </c:spPr>
            <c:extLst>
              <c:ext xmlns:c16="http://schemas.microsoft.com/office/drawing/2014/chart" uri="{C3380CC4-5D6E-409C-BE32-E72D297353CC}">
                <c16:uniqueId val="{00000639-9DD8-499E-8091-3E3A56EDFAAE}"/>
              </c:ext>
            </c:extLst>
          </c:dPt>
          <c:dPt>
            <c:idx val="796"/>
            <c:invertIfNegative val="1"/>
            <c:bubble3D val="0"/>
            <c:spPr>
              <a:solidFill>
                <a:srgbClr val="AEABAB"/>
              </a:solidFill>
            </c:spPr>
            <c:extLst>
              <c:ext xmlns:c16="http://schemas.microsoft.com/office/drawing/2014/chart" uri="{C3380CC4-5D6E-409C-BE32-E72D297353CC}">
                <c16:uniqueId val="{0000063B-9DD8-499E-8091-3E3A56EDFAAE}"/>
              </c:ext>
            </c:extLst>
          </c:dPt>
          <c:dPt>
            <c:idx val="797"/>
            <c:invertIfNegative val="1"/>
            <c:bubble3D val="0"/>
            <c:spPr>
              <a:solidFill>
                <a:srgbClr val="AEABAB"/>
              </a:solidFill>
            </c:spPr>
            <c:extLst>
              <c:ext xmlns:c16="http://schemas.microsoft.com/office/drawing/2014/chart" uri="{C3380CC4-5D6E-409C-BE32-E72D297353CC}">
                <c16:uniqueId val="{0000063D-9DD8-499E-8091-3E3A56EDFAAE}"/>
              </c:ext>
            </c:extLst>
          </c:dPt>
          <c:dPt>
            <c:idx val="798"/>
            <c:invertIfNegative val="1"/>
            <c:bubble3D val="0"/>
            <c:spPr>
              <a:solidFill>
                <a:srgbClr val="AEABAB"/>
              </a:solidFill>
            </c:spPr>
            <c:extLst>
              <c:ext xmlns:c16="http://schemas.microsoft.com/office/drawing/2014/chart" uri="{C3380CC4-5D6E-409C-BE32-E72D297353CC}">
                <c16:uniqueId val="{0000063F-9DD8-499E-8091-3E3A56EDFAAE}"/>
              </c:ext>
            </c:extLst>
          </c:dPt>
          <c:dPt>
            <c:idx val="799"/>
            <c:invertIfNegative val="1"/>
            <c:bubble3D val="0"/>
            <c:spPr>
              <a:solidFill>
                <a:srgbClr val="AEABAB"/>
              </a:solidFill>
            </c:spPr>
            <c:extLst>
              <c:ext xmlns:c16="http://schemas.microsoft.com/office/drawing/2014/chart" uri="{C3380CC4-5D6E-409C-BE32-E72D297353CC}">
                <c16:uniqueId val="{00000641-9DD8-499E-8091-3E3A56EDFAAE}"/>
              </c:ext>
            </c:extLst>
          </c:dPt>
          <c:dPt>
            <c:idx val="800"/>
            <c:invertIfNegative val="1"/>
            <c:bubble3D val="0"/>
            <c:spPr>
              <a:solidFill>
                <a:srgbClr val="AEABAB"/>
              </a:solidFill>
            </c:spPr>
            <c:extLst>
              <c:ext xmlns:c16="http://schemas.microsoft.com/office/drawing/2014/chart" uri="{C3380CC4-5D6E-409C-BE32-E72D297353CC}">
                <c16:uniqueId val="{00000643-9DD8-499E-8091-3E3A56EDFAAE}"/>
              </c:ext>
            </c:extLst>
          </c:dPt>
          <c:dPt>
            <c:idx val="801"/>
            <c:invertIfNegative val="1"/>
            <c:bubble3D val="0"/>
            <c:spPr>
              <a:solidFill>
                <a:srgbClr val="AEABAB"/>
              </a:solidFill>
            </c:spPr>
            <c:extLst>
              <c:ext xmlns:c16="http://schemas.microsoft.com/office/drawing/2014/chart" uri="{C3380CC4-5D6E-409C-BE32-E72D297353CC}">
                <c16:uniqueId val="{00000645-9DD8-499E-8091-3E3A56EDFAAE}"/>
              </c:ext>
            </c:extLst>
          </c:dPt>
          <c:dPt>
            <c:idx val="802"/>
            <c:invertIfNegative val="1"/>
            <c:bubble3D val="0"/>
            <c:spPr>
              <a:solidFill>
                <a:srgbClr val="AEABAB"/>
              </a:solidFill>
            </c:spPr>
            <c:extLst>
              <c:ext xmlns:c16="http://schemas.microsoft.com/office/drawing/2014/chart" uri="{C3380CC4-5D6E-409C-BE32-E72D297353CC}">
                <c16:uniqueId val="{00000647-9DD8-499E-8091-3E3A56EDFAAE}"/>
              </c:ext>
            </c:extLst>
          </c:dPt>
          <c:dPt>
            <c:idx val="803"/>
            <c:invertIfNegative val="1"/>
            <c:bubble3D val="0"/>
            <c:spPr>
              <a:solidFill>
                <a:srgbClr val="AEABAB"/>
              </a:solidFill>
            </c:spPr>
            <c:extLst>
              <c:ext xmlns:c16="http://schemas.microsoft.com/office/drawing/2014/chart" uri="{C3380CC4-5D6E-409C-BE32-E72D297353CC}">
                <c16:uniqueId val="{00000649-9DD8-499E-8091-3E3A56EDFAAE}"/>
              </c:ext>
            </c:extLst>
          </c:dPt>
          <c:dPt>
            <c:idx val="804"/>
            <c:invertIfNegative val="1"/>
            <c:bubble3D val="0"/>
            <c:spPr>
              <a:solidFill>
                <a:srgbClr val="AEABAB"/>
              </a:solidFill>
            </c:spPr>
            <c:extLst>
              <c:ext xmlns:c16="http://schemas.microsoft.com/office/drawing/2014/chart" uri="{C3380CC4-5D6E-409C-BE32-E72D297353CC}">
                <c16:uniqueId val="{0000064B-9DD8-499E-8091-3E3A56EDFAAE}"/>
              </c:ext>
            </c:extLst>
          </c:dPt>
          <c:dPt>
            <c:idx val="805"/>
            <c:invertIfNegative val="1"/>
            <c:bubble3D val="0"/>
            <c:spPr>
              <a:solidFill>
                <a:srgbClr val="AEABAB"/>
              </a:solidFill>
            </c:spPr>
            <c:extLst>
              <c:ext xmlns:c16="http://schemas.microsoft.com/office/drawing/2014/chart" uri="{C3380CC4-5D6E-409C-BE32-E72D297353CC}">
                <c16:uniqueId val="{0000064D-9DD8-499E-8091-3E3A56EDFAAE}"/>
              </c:ext>
            </c:extLst>
          </c:dPt>
          <c:dPt>
            <c:idx val="806"/>
            <c:invertIfNegative val="1"/>
            <c:bubble3D val="0"/>
            <c:spPr>
              <a:solidFill>
                <a:srgbClr val="AEABAB"/>
              </a:solidFill>
            </c:spPr>
            <c:extLst>
              <c:ext xmlns:c16="http://schemas.microsoft.com/office/drawing/2014/chart" uri="{C3380CC4-5D6E-409C-BE32-E72D297353CC}">
                <c16:uniqueId val="{0000064F-9DD8-499E-8091-3E3A56EDFAAE}"/>
              </c:ext>
            </c:extLst>
          </c:dPt>
          <c:dPt>
            <c:idx val="807"/>
            <c:invertIfNegative val="1"/>
            <c:bubble3D val="0"/>
            <c:spPr>
              <a:solidFill>
                <a:srgbClr val="AEABAB"/>
              </a:solidFill>
            </c:spPr>
            <c:extLst>
              <c:ext xmlns:c16="http://schemas.microsoft.com/office/drawing/2014/chart" uri="{C3380CC4-5D6E-409C-BE32-E72D297353CC}">
                <c16:uniqueId val="{00000651-9DD8-499E-8091-3E3A56EDFAAE}"/>
              </c:ext>
            </c:extLst>
          </c:dPt>
          <c:dPt>
            <c:idx val="808"/>
            <c:invertIfNegative val="1"/>
            <c:bubble3D val="0"/>
            <c:spPr>
              <a:solidFill>
                <a:srgbClr val="AEABAB"/>
              </a:solidFill>
            </c:spPr>
            <c:extLst>
              <c:ext xmlns:c16="http://schemas.microsoft.com/office/drawing/2014/chart" uri="{C3380CC4-5D6E-409C-BE32-E72D297353CC}">
                <c16:uniqueId val="{00000653-9DD8-499E-8091-3E3A56EDFAAE}"/>
              </c:ext>
            </c:extLst>
          </c:dPt>
          <c:dPt>
            <c:idx val="809"/>
            <c:invertIfNegative val="1"/>
            <c:bubble3D val="0"/>
            <c:spPr>
              <a:solidFill>
                <a:srgbClr val="AEABAB"/>
              </a:solidFill>
            </c:spPr>
            <c:extLst>
              <c:ext xmlns:c16="http://schemas.microsoft.com/office/drawing/2014/chart" uri="{C3380CC4-5D6E-409C-BE32-E72D297353CC}">
                <c16:uniqueId val="{00000655-9DD8-499E-8091-3E3A56EDFAAE}"/>
              </c:ext>
            </c:extLst>
          </c:dPt>
          <c:dPt>
            <c:idx val="810"/>
            <c:invertIfNegative val="1"/>
            <c:bubble3D val="0"/>
            <c:spPr>
              <a:solidFill>
                <a:srgbClr val="AEABAB"/>
              </a:solidFill>
            </c:spPr>
            <c:extLst>
              <c:ext xmlns:c16="http://schemas.microsoft.com/office/drawing/2014/chart" uri="{C3380CC4-5D6E-409C-BE32-E72D297353CC}">
                <c16:uniqueId val="{00000657-9DD8-499E-8091-3E3A56EDFAAE}"/>
              </c:ext>
            </c:extLst>
          </c:dPt>
          <c:dPt>
            <c:idx val="811"/>
            <c:invertIfNegative val="1"/>
            <c:bubble3D val="0"/>
            <c:spPr>
              <a:solidFill>
                <a:srgbClr val="AEABAB"/>
              </a:solidFill>
            </c:spPr>
            <c:extLst>
              <c:ext xmlns:c16="http://schemas.microsoft.com/office/drawing/2014/chart" uri="{C3380CC4-5D6E-409C-BE32-E72D297353CC}">
                <c16:uniqueId val="{00000659-9DD8-499E-8091-3E3A56EDFAAE}"/>
              </c:ext>
            </c:extLst>
          </c:dPt>
          <c:dPt>
            <c:idx val="812"/>
            <c:invertIfNegative val="1"/>
            <c:bubble3D val="0"/>
            <c:spPr>
              <a:solidFill>
                <a:srgbClr val="AEABAB"/>
              </a:solidFill>
            </c:spPr>
            <c:extLst>
              <c:ext xmlns:c16="http://schemas.microsoft.com/office/drawing/2014/chart" uri="{C3380CC4-5D6E-409C-BE32-E72D297353CC}">
                <c16:uniqueId val="{0000065B-9DD8-499E-8091-3E3A56EDFAAE}"/>
              </c:ext>
            </c:extLst>
          </c:dPt>
          <c:dPt>
            <c:idx val="813"/>
            <c:invertIfNegative val="1"/>
            <c:bubble3D val="0"/>
            <c:spPr>
              <a:solidFill>
                <a:srgbClr val="AEABAB"/>
              </a:solidFill>
            </c:spPr>
            <c:extLst>
              <c:ext xmlns:c16="http://schemas.microsoft.com/office/drawing/2014/chart" uri="{C3380CC4-5D6E-409C-BE32-E72D297353CC}">
                <c16:uniqueId val="{0000065D-9DD8-499E-8091-3E3A56EDFAAE}"/>
              </c:ext>
            </c:extLst>
          </c:dPt>
          <c:dPt>
            <c:idx val="814"/>
            <c:invertIfNegative val="1"/>
            <c:bubble3D val="0"/>
            <c:spPr>
              <a:solidFill>
                <a:srgbClr val="AEABAB"/>
              </a:solidFill>
            </c:spPr>
            <c:extLst>
              <c:ext xmlns:c16="http://schemas.microsoft.com/office/drawing/2014/chart" uri="{C3380CC4-5D6E-409C-BE32-E72D297353CC}">
                <c16:uniqueId val="{0000065F-9DD8-499E-8091-3E3A56EDFAAE}"/>
              </c:ext>
            </c:extLst>
          </c:dPt>
          <c:dPt>
            <c:idx val="815"/>
            <c:invertIfNegative val="1"/>
            <c:bubble3D val="0"/>
            <c:spPr>
              <a:solidFill>
                <a:srgbClr val="AEABAB"/>
              </a:solidFill>
            </c:spPr>
            <c:extLst>
              <c:ext xmlns:c16="http://schemas.microsoft.com/office/drawing/2014/chart" uri="{C3380CC4-5D6E-409C-BE32-E72D297353CC}">
                <c16:uniqueId val="{00000661-9DD8-499E-8091-3E3A56EDFAAE}"/>
              </c:ext>
            </c:extLst>
          </c:dPt>
          <c:dPt>
            <c:idx val="816"/>
            <c:invertIfNegative val="1"/>
            <c:bubble3D val="0"/>
            <c:spPr>
              <a:solidFill>
                <a:srgbClr val="AEABAB"/>
              </a:solidFill>
            </c:spPr>
            <c:extLst>
              <c:ext xmlns:c16="http://schemas.microsoft.com/office/drawing/2014/chart" uri="{C3380CC4-5D6E-409C-BE32-E72D297353CC}">
                <c16:uniqueId val="{00000663-9DD8-499E-8091-3E3A56EDFAAE}"/>
              </c:ext>
            </c:extLst>
          </c:dPt>
          <c:dPt>
            <c:idx val="817"/>
            <c:invertIfNegative val="1"/>
            <c:bubble3D val="0"/>
            <c:spPr>
              <a:solidFill>
                <a:srgbClr val="AEABAB"/>
              </a:solidFill>
            </c:spPr>
            <c:extLst>
              <c:ext xmlns:c16="http://schemas.microsoft.com/office/drawing/2014/chart" uri="{C3380CC4-5D6E-409C-BE32-E72D297353CC}">
                <c16:uniqueId val="{00000665-9DD8-499E-8091-3E3A56EDFAAE}"/>
              </c:ext>
            </c:extLst>
          </c:dPt>
          <c:dPt>
            <c:idx val="818"/>
            <c:invertIfNegative val="1"/>
            <c:bubble3D val="0"/>
            <c:spPr>
              <a:solidFill>
                <a:srgbClr val="AEABAB"/>
              </a:solidFill>
            </c:spPr>
            <c:extLst>
              <c:ext xmlns:c16="http://schemas.microsoft.com/office/drawing/2014/chart" uri="{C3380CC4-5D6E-409C-BE32-E72D297353CC}">
                <c16:uniqueId val="{00000667-9DD8-499E-8091-3E3A56EDFAAE}"/>
              </c:ext>
            </c:extLst>
          </c:dPt>
          <c:dPt>
            <c:idx val="819"/>
            <c:invertIfNegative val="1"/>
            <c:bubble3D val="0"/>
            <c:spPr>
              <a:solidFill>
                <a:srgbClr val="AEABAB"/>
              </a:solidFill>
            </c:spPr>
            <c:extLst>
              <c:ext xmlns:c16="http://schemas.microsoft.com/office/drawing/2014/chart" uri="{C3380CC4-5D6E-409C-BE32-E72D297353CC}">
                <c16:uniqueId val="{00000669-9DD8-499E-8091-3E3A56EDFAAE}"/>
              </c:ext>
            </c:extLst>
          </c:dPt>
          <c:dPt>
            <c:idx val="820"/>
            <c:invertIfNegative val="1"/>
            <c:bubble3D val="0"/>
            <c:spPr>
              <a:solidFill>
                <a:srgbClr val="AEABAB"/>
              </a:solidFill>
            </c:spPr>
            <c:extLst>
              <c:ext xmlns:c16="http://schemas.microsoft.com/office/drawing/2014/chart" uri="{C3380CC4-5D6E-409C-BE32-E72D297353CC}">
                <c16:uniqueId val="{0000066B-9DD8-499E-8091-3E3A56EDFAAE}"/>
              </c:ext>
            </c:extLst>
          </c:dPt>
          <c:dPt>
            <c:idx val="821"/>
            <c:invertIfNegative val="1"/>
            <c:bubble3D val="0"/>
            <c:spPr>
              <a:solidFill>
                <a:srgbClr val="AEABAB"/>
              </a:solidFill>
            </c:spPr>
            <c:extLst>
              <c:ext xmlns:c16="http://schemas.microsoft.com/office/drawing/2014/chart" uri="{C3380CC4-5D6E-409C-BE32-E72D297353CC}">
                <c16:uniqueId val="{0000066D-9DD8-499E-8091-3E3A56EDFAAE}"/>
              </c:ext>
            </c:extLst>
          </c:dPt>
          <c:dPt>
            <c:idx val="822"/>
            <c:invertIfNegative val="1"/>
            <c:bubble3D val="0"/>
            <c:spPr>
              <a:solidFill>
                <a:srgbClr val="AEABAB"/>
              </a:solidFill>
            </c:spPr>
            <c:extLst>
              <c:ext xmlns:c16="http://schemas.microsoft.com/office/drawing/2014/chart" uri="{C3380CC4-5D6E-409C-BE32-E72D297353CC}">
                <c16:uniqueId val="{0000066F-9DD8-499E-8091-3E3A56EDFAAE}"/>
              </c:ext>
            </c:extLst>
          </c:dPt>
          <c:dPt>
            <c:idx val="823"/>
            <c:invertIfNegative val="1"/>
            <c:bubble3D val="0"/>
            <c:spPr>
              <a:solidFill>
                <a:srgbClr val="AEABAB"/>
              </a:solidFill>
            </c:spPr>
            <c:extLst>
              <c:ext xmlns:c16="http://schemas.microsoft.com/office/drawing/2014/chart" uri="{C3380CC4-5D6E-409C-BE32-E72D297353CC}">
                <c16:uniqueId val="{00000671-9DD8-499E-8091-3E3A56EDFAAE}"/>
              </c:ext>
            </c:extLst>
          </c:dPt>
          <c:dPt>
            <c:idx val="824"/>
            <c:invertIfNegative val="1"/>
            <c:bubble3D val="0"/>
            <c:spPr>
              <a:solidFill>
                <a:srgbClr val="AEABAB"/>
              </a:solidFill>
            </c:spPr>
            <c:extLst>
              <c:ext xmlns:c16="http://schemas.microsoft.com/office/drawing/2014/chart" uri="{C3380CC4-5D6E-409C-BE32-E72D297353CC}">
                <c16:uniqueId val="{00000673-9DD8-499E-8091-3E3A56EDFAAE}"/>
              </c:ext>
            </c:extLst>
          </c:dPt>
          <c:dPt>
            <c:idx val="825"/>
            <c:invertIfNegative val="1"/>
            <c:bubble3D val="0"/>
            <c:spPr>
              <a:solidFill>
                <a:srgbClr val="AEABAB"/>
              </a:solidFill>
            </c:spPr>
            <c:extLst>
              <c:ext xmlns:c16="http://schemas.microsoft.com/office/drawing/2014/chart" uri="{C3380CC4-5D6E-409C-BE32-E72D297353CC}">
                <c16:uniqueId val="{00000675-9DD8-499E-8091-3E3A56EDFAAE}"/>
              </c:ext>
            </c:extLst>
          </c:dPt>
          <c:dPt>
            <c:idx val="826"/>
            <c:invertIfNegative val="1"/>
            <c:bubble3D val="0"/>
            <c:spPr>
              <a:solidFill>
                <a:srgbClr val="AEABAB"/>
              </a:solidFill>
            </c:spPr>
            <c:extLst>
              <c:ext xmlns:c16="http://schemas.microsoft.com/office/drawing/2014/chart" uri="{C3380CC4-5D6E-409C-BE32-E72D297353CC}">
                <c16:uniqueId val="{00000677-9DD8-499E-8091-3E3A56EDFAAE}"/>
              </c:ext>
            </c:extLst>
          </c:dPt>
          <c:dPt>
            <c:idx val="827"/>
            <c:invertIfNegative val="1"/>
            <c:bubble3D val="0"/>
            <c:spPr>
              <a:solidFill>
                <a:srgbClr val="AEABAB"/>
              </a:solidFill>
            </c:spPr>
            <c:extLst>
              <c:ext xmlns:c16="http://schemas.microsoft.com/office/drawing/2014/chart" uri="{C3380CC4-5D6E-409C-BE32-E72D297353CC}">
                <c16:uniqueId val="{00000679-9DD8-499E-8091-3E3A56EDFAAE}"/>
              </c:ext>
            </c:extLst>
          </c:dPt>
          <c:dPt>
            <c:idx val="828"/>
            <c:invertIfNegative val="1"/>
            <c:bubble3D val="0"/>
            <c:spPr>
              <a:solidFill>
                <a:srgbClr val="AEABAB"/>
              </a:solidFill>
            </c:spPr>
            <c:extLst>
              <c:ext xmlns:c16="http://schemas.microsoft.com/office/drawing/2014/chart" uri="{C3380CC4-5D6E-409C-BE32-E72D297353CC}">
                <c16:uniqueId val="{0000067B-9DD8-499E-8091-3E3A56EDFAAE}"/>
              </c:ext>
            </c:extLst>
          </c:dPt>
          <c:dPt>
            <c:idx val="829"/>
            <c:invertIfNegative val="1"/>
            <c:bubble3D val="0"/>
            <c:spPr>
              <a:solidFill>
                <a:srgbClr val="AEABAB"/>
              </a:solidFill>
            </c:spPr>
            <c:extLst>
              <c:ext xmlns:c16="http://schemas.microsoft.com/office/drawing/2014/chart" uri="{C3380CC4-5D6E-409C-BE32-E72D297353CC}">
                <c16:uniqueId val="{0000067D-9DD8-499E-8091-3E3A56EDFAAE}"/>
              </c:ext>
            </c:extLst>
          </c:dPt>
          <c:dPt>
            <c:idx val="830"/>
            <c:invertIfNegative val="1"/>
            <c:bubble3D val="0"/>
            <c:spPr>
              <a:solidFill>
                <a:srgbClr val="AEABAB"/>
              </a:solidFill>
            </c:spPr>
            <c:extLst>
              <c:ext xmlns:c16="http://schemas.microsoft.com/office/drawing/2014/chart" uri="{C3380CC4-5D6E-409C-BE32-E72D297353CC}">
                <c16:uniqueId val="{0000067F-9DD8-499E-8091-3E3A56EDFAAE}"/>
              </c:ext>
            </c:extLst>
          </c:dPt>
          <c:dPt>
            <c:idx val="831"/>
            <c:invertIfNegative val="1"/>
            <c:bubble3D val="0"/>
            <c:spPr>
              <a:solidFill>
                <a:srgbClr val="AEABAB"/>
              </a:solidFill>
            </c:spPr>
            <c:extLst>
              <c:ext xmlns:c16="http://schemas.microsoft.com/office/drawing/2014/chart" uri="{C3380CC4-5D6E-409C-BE32-E72D297353CC}">
                <c16:uniqueId val="{00000681-9DD8-499E-8091-3E3A56EDFAAE}"/>
              </c:ext>
            </c:extLst>
          </c:dPt>
          <c:dPt>
            <c:idx val="832"/>
            <c:invertIfNegative val="1"/>
            <c:bubble3D val="0"/>
            <c:spPr>
              <a:solidFill>
                <a:srgbClr val="AEABAB"/>
              </a:solidFill>
            </c:spPr>
            <c:extLst>
              <c:ext xmlns:c16="http://schemas.microsoft.com/office/drawing/2014/chart" uri="{C3380CC4-5D6E-409C-BE32-E72D297353CC}">
                <c16:uniqueId val="{00000683-9DD8-499E-8091-3E3A56EDFAAE}"/>
              </c:ext>
            </c:extLst>
          </c:dPt>
          <c:dPt>
            <c:idx val="833"/>
            <c:invertIfNegative val="1"/>
            <c:bubble3D val="0"/>
            <c:spPr>
              <a:solidFill>
                <a:srgbClr val="AEABAB"/>
              </a:solidFill>
            </c:spPr>
            <c:extLst>
              <c:ext xmlns:c16="http://schemas.microsoft.com/office/drawing/2014/chart" uri="{C3380CC4-5D6E-409C-BE32-E72D297353CC}">
                <c16:uniqueId val="{00000685-9DD8-499E-8091-3E3A56EDFAAE}"/>
              </c:ext>
            </c:extLst>
          </c:dPt>
          <c:dPt>
            <c:idx val="834"/>
            <c:invertIfNegative val="1"/>
            <c:bubble3D val="0"/>
            <c:spPr>
              <a:solidFill>
                <a:srgbClr val="AEABAB"/>
              </a:solidFill>
            </c:spPr>
            <c:extLst>
              <c:ext xmlns:c16="http://schemas.microsoft.com/office/drawing/2014/chart" uri="{C3380CC4-5D6E-409C-BE32-E72D297353CC}">
                <c16:uniqueId val="{00000687-9DD8-499E-8091-3E3A56EDFAAE}"/>
              </c:ext>
            </c:extLst>
          </c:dPt>
          <c:dPt>
            <c:idx val="835"/>
            <c:invertIfNegative val="1"/>
            <c:bubble3D val="0"/>
            <c:spPr>
              <a:solidFill>
                <a:srgbClr val="AEABAB"/>
              </a:solidFill>
            </c:spPr>
            <c:extLst>
              <c:ext xmlns:c16="http://schemas.microsoft.com/office/drawing/2014/chart" uri="{C3380CC4-5D6E-409C-BE32-E72D297353CC}">
                <c16:uniqueId val="{00000689-9DD8-499E-8091-3E3A56EDFAAE}"/>
              </c:ext>
            </c:extLst>
          </c:dPt>
          <c:dPt>
            <c:idx val="836"/>
            <c:invertIfNegative val="1"/>
            <c:bubble3D val="0"/>
            <c:spPr>
              <a:solidFill>
                <a:srgbClr val="AEABAB"/>
              </a:solidFill>
            </c:spPr>
            <c:extLst>
              <c:ext xmlns:c16="http://schemas.microsoft.com/office/drawing/2014/chart" uri="{C3380CC4-5D6E-409C-BE32-E72D297353CC}">
                <c16:uniqueId val="{0000068B-9DD8-499E-8091-3E3A56EDFAAE}"/>
              </c:ext>
            </c:extLst>
          </c:dPt>
          <c:dPt>
            <c:idx val="837"/>
            <c:invertIfNegative val="1"/>
            <c:bubble3D val="0"/>
            <c:spPr>
              <a:solidFill>
                <a:srgbClr val="AEABAB"/>
              </a:solidFill>
            </c:spPr>
            <c:extLst>
              <c:ext xmlns:c16="http://schemas.microsoft.com/office/drawing/2014/chart" uri="{C3380CC4-5D6E-409C-BE32-E72D297353CC}">
                <c16:uniqueId val="{0000068D-9DD8-499E-8091-3E3A56EDFAAE}"/>
              </c:ext>
            </c:extLst>
          </c:dPt>
          <c:dPt>
            <c:idx val="838"/>
            <c:invertIfNegative val="1"/>
            <c:bubble3D val="0"/>
            <c:spPr>
              <a:solidFill>
                <a:srgbClr val="AEABAB"/>
              </a:solidFill>
            </c:spPr>
            <c:extLst>
              <c:ext xmlns:c16="http://schemas.microsoft.com/office/drawing/2014/chart" uri="{C3380CC4-5D6E-409C-BE32-E72D297353CC}">
                <c16:uniqueId val="{0000068F-9DD8-499E-8091-3E3A56EDFAAE}"/>
              </c:ext>
            </c:extLst>
          </c:dPt>
          <c:dPt>
            <c:idx val="839"/>
            <c:invertIfNegative val="1"/>
            <c:bubble3D val="0"/>
            <c:spPr>
              <a:solidFill>
                <a:srgbClr val="AEABAB"/>
              </a:solidFill>
            </c:spPr>
            <c:extLst>
              <c:ext xmlns:c16="http://schemas.microsoft.com/office/drawing/2014/chart" uri="{C3380CC4-5D6E-409C-BE32-E72D297353CC}">
                <c16:uniqueId val="{00000691-9DD8-499E-8091-3E3A56EDFAAE}"/>
              </c:ext>
            </c:extLst>
          </c:dPt>
          <c:dPt>
            <c:idx val="840"/>
            <c:invertIfNegative val="1"/>
            <c:bubble3D val="0"/>
            <c:spPr>
              <a:solidFill>
                <a:srgbClr val="AEABAB"/>
              </a:solidFill>
            </c:spPr>
            <c:extLst>
              <c:ext xmlns:c16="http://schemas.microsoft.com/office/drawing/2014/chart" uri="{C3380CC4-5D6E-409C-BE32-E72D297353CC}">
                <c16:uniqueId val="{00000693-9DD8-499E-8091-3E3A56EDFAAE}"/>
              </c:ext>
            </c:extLst>
          </c:dPt>
          <c:dPt>
            <c:idx val="841"/>
            <c:invertIfNegative val="1"/>
            <c:bubble3D val="0"/>
            <c:spPr>
              <a:solidFill>
                <a:srgbClr val="AEABAB"/>
              </a:solidFill>
            </c:spPr>
            <c:extLst>
              <c:ext xmlns:c16="http://schemas.microsoft.com/office/drawing/2014/chart" uri="{C3380CC4-5D6E-409C-BE32-E72D297353CC}">
                <c16:uniqueId val="{00000695-9DD8-499E-8091-3E3A56EDFAAE}"/>
              </c:ext>
            </c:extLst>
          </c:dPt>
          <c:dPt>
            <c:idx val="842"/>
            <c:invertIfNegative val="1"/>
            <c:bubble3D val="0"/>
            <c:spPr>
              <a:solidFill>
                <a:srgbClr val="AEABAB"/>
              </a:solidFill>
            </c:spPr>
            <c:extLst>
              <c:ext xmlns:c16="http://schemas.microsoft.com/office/drawing/2014/chart" uri="{C3380CC4-5D6E-409C-BE32-E72D297353CC}">
                <c16:uniqueId val="{00000697-9DD8-499E-8091-3E3A56EDFAAE}"/>
              </c:ext>
            </c:extLst>
          </c:dPt>
          <c:dPt>
            <c:idx val="843"/>
            <c:invertIfNegative val="1"/>
            <c:bubble3D val="0"/>
            <c:spPr>
              <a:solidFill>
                <a:srgbClr val="AEABAB"/>
              </a:solidFill>
            </c:spPr>
            <c:extLst>
              <c:ext xmlns:c16="http://schemas.microsoft.com/office/drawing/2014/chart" uri="{C3380CC4-5D6E-409C-BE32-E72D297353CC}">
                <c16:uniqueId val="{00000699-9DD8-499E-8091-3E3A56EDFAAE}"/>
              </c:ext>
            </c:extLst>
          </c:dPt>
          <c:dPt>
            <c:idx val="844"/>
            <c:invertIfNegative val="1"/>
            <c:bubble3D val="0"/>
            <c:spPr>
              <a:solidFill>
                <a:srgbClr val="AEABAB"/>
              </a:solidFill>
            </c:spPr>
            <c:extLst>
              <c:ext xmlns:c16="http://schemas.microsoft.com/office/drawing/2014/chart" uri="{C3380CC4-5D6E-409C-BE32-E72D297353CC}">
                <c16:uniqueId val="{0000069B-9DD8-499E-8091-3E3A56EDFAAE}"/>
              </c:ext>
            </c:extLst>
          </c:dPt>
          <c:dPt>
            <c:idx val="845"/>
            <c:invertIfNegative val="1"/>
            <c:bubble3D val="0"/>
            <c:spPr>
              <a:solidFill>
                <a:srgbClr val="AEABAB"/>
              </a:solidFill>
            </c:spPr>
            <c:extLst>
              <c:ext xmlns:c16="http://schemas.microsoft.com/office/drawing/2014/chart" uri="{C3380CC4-5D6E-409C-BE32-E72D297353CC}">
                <c16:uniqueId val="{0000069D-9DD8-499E-8091-3E3A56EDFAAE}"/>
              </c:ext>
            </c:extLst>
          </c:dPt>
          <c:dPt>
            <c:idx val="846"/>
            <c:invertIfNegative val="1"/>
            <c:bubble3D val="0"/>
            <c:spPr>
              <a:solidFill>
                <a:srgbClr val="AEABAB"/>
              </a:solidFill>
            </c:spPr>
            <c:extLst>
              <c:ext xmlns:c16="http://schemas.microsoft.com/office/drawing/2014/chart" uri="{C3380CC4-5D6E-409C-BE32-E72D297353CC}">
                <c16:uniqueId val="{0000069F-9DD8-499E-8091-3E3A56EDFAAE}"/>
              </c:ext>
            </c:extLst>
          </c:dPt>
          <c:dPt>
            <c:idx val="847"/>
            <c:invertIfNegative val="1"/>
            <c:bubble3D val="0"/>
            <c:spPr>
              <a:solidFill>
                <a:srgbClr val="AEABAB"/>
              </a:solidFill>
            </c:spPr>
            <c:extLst>
              <c:ext xmlns:c16="http://schemas.microsoft.com/office/drawing/2014/chart" uri="{C3380CC4-5D6E-409C-BE32-E72D297353CC}">
                <c16:uniqueId val="{000006A1-9DD8-499E-8091-3E3A56EDFAAE}"/>
              </c:ext>
            </c:extLst>
          </c:dPt>
          <c:dPt>
            <c:idx val="848"/>
            <c:invertIfNegative val="1"/>
            <c:bubble3D val="0"/>
            <c:spPr>
              <a:solidFill>
                <a:srgbClr val="AEABAB"/>
              </a:solidFill>
            </c:spPr>
            <c:extLst>
              <c:ext xmlns:c16="http://schemas.microsoft.com/office/drawing/2014/chart" uri="{C3380CC4-5D6E-409C-BE32-E72D297353CC}">
                <c16:uniqueId val="{000006A3-9DD8-499E-8091-3E3A56EDFAAE}"/>
              </c:ext>
            </c:extLst>
          </c:dPt>
          <c:dPt>
            <c:idx val="849"/>
            <c:invertIfNegative val="1"/>
            <c:bubble3D val="0"/>
            <c:spPr>
              <a:solidFill>
                <a:srgbClr val="AEABAB"/>
              </a:solidFill>
            </c:spPr>
            <c:extLst>
              <c:ext xmlns:c16="http://schemas.microsoft.com/office/drawing/2014/chart" uri="{C3380CC4-5D6E-409C-BE32-E72D297353CC}">
                <c16:uniqueId val="{000006A5-9DD8-499E-8091-3E3A56EDFAAE}"/>
              </c:ext>
            </c:extLst>
          </c:dPt>
          <c:dPt>
            <c:idx val="850"/>
            <c:invertIfNegative val="1"/>
            <c:bubble3D val="0"/>
            <c:spPr>
              <a:solidFill>
                <a:srgbClr val="AEABAB"/>
              </a:solidFill>
            </c:spPr>
            <c:extLst>
              <c:ext xmlns:c16="http://schemas.microsoft.com/office/drawing/2014/chart" uri="{C3380CC4-5D6E-409C-BE32-E72D297353CC}">
                <c16:uniqueId val="{000006A7-9DD8-499E-8091-3E3A56EDFAAE}"/>
              </c:ext>
            </c:extLst>
          </c:dPt>
          <c:dPt>
            <c:idx val="851"/>
            <c:invertIfNegative val="1"/>
            <c:bubble3D val="0"/>
            <c:spPr>
              <a:solidFill>
                <a:srgbClr val="AEABAB"/>
              </a:solidFill>
            </c:spPr>
            <c:extLst>
              <c:ext xmlns:c16="http://schemas.microsoft.com/office/drawing/2014/chart" uri="{C3380CC4-5D6E-409C-BE32-E72D297353CC}">
                <c16:uniqueId val="{000006A9-9DD8-499E-8091-3E3A56EDFAAE}"/>
              </c:ext>
            </c:extLst>
          </c:dPt>
          <c:dPt>
            <c:idx val="852"/>
            <c:invertIfNegative val="1"/>
            <c:bubble3D val="0"/>
            <c:spPr>
              <a:solidFill>
                <a:srgbClr val="AEABAB"/>
              </a:solidFill>
            </c:spPr>
            <c:extLst>
              <c:ext xmlns:c16="http://schemas.microsoft.com/office/drawing/2014/chart" uri="{C3380CC4-5D6E-409C-BE32-E72D297353CC}">
                <c16:uniqueId val="{000006AB-9DD8-499E-8091-3E3A56EDFAAE}"/>
              </c:ext>
            </c:extLst>
          </c:dPt>
          <c:dPt>
            <c:idx val="853"/>
            <c:invertIfNegative val="1"/>
            <c:bubble3D val="0"/>
            <c:spPr>
              <a:solidFill>
                <a:srgbClr val="AEABAB"/>
              </a:solidFill>
            </c:spPr>
            <c:extLst>
              <c:ext xmlns:c16="http://schemas.microsoft.com/office/drawing/2014/chart" uri="{C3380CC4-5D6E-409C-BE32-E72D297353CC}">
                <c16:uniqueId val="{000006AD-9DD8-499E-8091-3E3A56EDFAAE}"/>
              </c:ext>
            </c:extLst>
          </c:dPt>
          <c:dPt>
            <c:idx val="854"/>
            <c:invertIfNegative val="1"/>
            <c:bubble3D val="0"/>
            <c:spPr>
              <a:solidFill>
                <a:srgbClr val="AEABAB"/>
              </a:solidFill>
            </c:spPr>
            <c:extLst>
              <c:ext xmlns:c16="http://schemas.microsoft.com/office/drawing/2014/chart" uri="{C3380CC4-5D6E-409C-BE32-E72D297353CC}">
                <c16:uniqueId val="{000006AF-9DD8-499E-8091-3E3A56EDFAAE}"/>
              </c:ext>
            </c:extLst>
          </c:dPt>
          <c:dPt>
            <c:idx val="855"/>
            <c:invertIfNegative val="1"/>
            <c:bubble3D val="0"/>
            <c:spPr>
              <a:solidFill>
                <a:srgbClr val="AEABAB"/>
              </a:solidFill>
            </c:spPr>
            <c:extLst>
              <c:ext xmlns:c16="http://schemas.microsoft.com/office/drawing/2014/chart" uri="{C3380CC4-5D6E-409C-BE32-E72D297353CC}">
                <c16:uniqueId val="{000006B1-9DD8-499E-8091-3E3A56EDFAAE}"/>
              </c:ext>
            </c:extLst>
          </c:dPt>
          <c:dPt>
            <c:idx val="856"/>
            <c:invertIfNegative val="1"/>
            <c:bubble3D val="0"/>
            <c:spPr>
              <a:solidFill>
                <a:srgbClr val="AEABAB"/>
              </a:solidFill>
            </c:spPr>
            <c:extLst>
              <c:ext xmlns:c16="http://schemas.microsoft.com/office/drawing/2014/chart" uri="{C3380CC4-5D6E-409C-BE32-E72D297353CC}">
                <c16:uniqueId val="{000006B3-9DD8-499E-8091-3E3A56EDFAAE}"/>
              </c:ext>
            </c:extLst>
          </c:dPt>
          <c:dPt>
            <c:idx val="857"/>
            <c:invertIfNegative val="1"/>
            <c:bubble3D val="0"/>
            <c:spPr>
              <a:solidFill>
                <a:srgbClr val="AEABAB"/>
              </a:solidFill>
            </c:spPr>
            <c:extLst>
              <c:ext xmlns:c16="http://schemas.microsoft.com/office/drawing/2014/chart" uri="{C3380CC4-5D6E-409C-BE32-E72D297353CC}">
                <c16:uniqueId val="{000006B5-9DD8-499E-8091-3E3A56EDFAAE}"/>
              </c:ext>
            </c:extLst>
          </c:dPt>
          <c:dPt>
            <c:idx val="858"/>
            <c:invertIfNegative val="1"/>
            <c:bubble3D val="0"/>
            <c:spPr>
              <a:solidFill>
                <a:srgbClr val="AEABAB"/>
              </a:solidFill>
            </c:spPr>
            <c:extLst>
              <c:ext xmlns:c16="http://schemas.microsoft.com/office/drawing/2014/chart" uri="{C3380CC4-5D6E-409C-BE32-E72D297353CC}">
                <c16:uniqueId val="{000006B7-9DD8-499E-8091-3E3A56EDFAAE}"/>
              </c:ext>
            </c:extLst>
          </c:dPt>
          <c:dPt>
            <c:idx val="859"/>
            <c:invertIfNegative val="1"/>
            <c:bubble3D val="0"/>
            <c:spPr>
              <a:solidFill>
                <a:srgbClr val="AEABAB"/>
              </a:solidFill>
            </c:spPr>
            <c:extLst>
              <c:ext xmlns:c16="http://schemas.microsoft.com/office/drawing/2014/chart" uri="{C3380CC4-5D6E-409C-BE32-E72D297353CC}">
                <c16:uniqueId val="{000006B9-9DD8-499E-8091-3E3A56EDFAAE}"/>
              </c:ext>
            </c:extLst>
          </c:dPt>
          <c:dPt>
            <c:idx val="860"/>
            <c:invertIfNegative val="1"/>
            <c:bubble3D val="0"/>
            <c:spPr>
              <a:solidFill>
                <a:srgbClr val="AEABAB"/>
              </a:solidFill>
            </c:spPr>
            <c:extLst>
              <c:ext xmlns:c16="http://schemas.microsoft.com/office/drawing/2014/chart" uri="{C3380CC4-5D6E-409C-BE32-E72D297353CC}">
                <c16:uniqueId val="{000006BB-9DD8-499E-8091-3E3A56EDFAAE}"/>
              </c:ext>
            </c:extLst>
          </c:dPt>
          <c:dPt>
            <c:idx val="861"/>
            <c:invertIfNegative val="1"/>
            <c:bubble3D val="0"/>
            <c:spPr>
              <a:solidFill>
                <a:srgbClr val="AEABAB"/>
              </a:solidFill>
            </c:spPr>
            <c:extLst>
              <c:ext xmlns:c16="http://schemas.microsoft.com/office/drawing/2014/chart" uri="{C3380CC4-5D6E-409C-BE32-E72D297353CC}">
                <c16:uniqueId val="{000006BD-9DD8-499E-8091-3E3A56EDFAAE}"/>
              </c:ext>
            </c:extLst>
          </c:dPt>
          <c:dPt>
            <c:idx val="862"/>
            <c:invertIfNegative val="1"/>
            <c:bubble3D val="0"/>
            <c:spPr>
              <a:solidFill>
                <a:srgbClr val="AEABAB"/>
              </a:solidFill>
            </c:spPr>
            <c:extLst>
              <c:ext xmlns:c16="http://schemas.microsoft.com/office/drawing/2014/chart" uri="{C3380CC4-5D6E-409C-BE32-E72D297353CC}">
                <c16:uniqueId val="{000006BF-9DD8-499E-8091-3E3A56EDFAAE}"/>
              </c:ext>
            </c:extLst>
          </c:dPt>
          <c:dPt>
            <c:idx val="863"/>
            <c:invertIfNegative val="1"/>
            <c:bubble3D val="0"/>
            <c:spPr>
              <a:solidFill>
                <a:srgbClr val="AEABAB"/>
              </a:solidFill>
            </c:spPr>
            <c:extLst>
              <c:ext xmlns:c16="http://schemas.microsoft.com/office/drawing/2014/chart" uri="{C3380CC4-5D6E-409C-BE32-E72D297353CC}">
                <c16:uniqueId val="{000006C1-9DD8-499E-8091-3E3A56EDFAAE}"/>
              </c:ext>
            </c:extLst>
          </c:dPt>
          <c:dPt>
            <c:idx val="864"/>
            <c:invertIfNegative val="1"/>
            <c:bubble3D val="0"/>
            <c:spPr>
              <a:solidFill>
                <a:srgbClr val="AEABAB"/>
              </a:solidFill>
            </c:spPr>
            <c:extLst>
              <c:ext xmlns:c16="http://schemas.microsoft.com/office/drawing/2014/chart" uri="{C3380CC4-5D6E-409C-BE32-E72D297353CC}">
                <c16:uniqueId val="{000006C3-9DD8-499E-8091-3E3A56EDFAAE}"/>
              </c:ext>
            </c:extLst>
          </c:dPt>
          <c:dPt>
            <c:idx val="865"/>
            <c:invertIfNegative val="1"/>
            <c:bubble3D val="0"/>
            <c:spPr>
              <a:solidFill>
                <a:srgbClr val="AEABAB"/>
              </a:solidFill>
            </c:spPr>
            <c:extLst>
              <c:ext xmlns:c16="http://schemas.microsoft.com/office/drawing/2014/chart" uri="{C3380CC4-5D6E-409C-BE32-E72D297353CC}">
                <c16:uniqueId val="{000006C5-9DD8-499E-8091-3E3A56EDFAAE}"/>
              </c:ext>
            </c:extLst>
          </c:dPt>
          <c:dPt>
            <c:idx val="866"/>
            <c:invertIfNegative val="1"/>
            <c:bubble3D val="0"/>
            <c:spPr>
              <a:solidFill>
                <a:srgbClr val="AEABAB"/>
              </a:solidFill>
            </c:spPr>
            <c:extLst>
              <c:ext xmlns:c16="http://schemas.microsoft.com/office/drawing/2014/chart" uri="{C3380CC4-5D6E-409C-BE32-E72D297353CC}">
                <c16:uniqueId val="{000006C7-9DD8-499E-8091-3E3A56EDFAAE}"/>
              </c:ext>
            </c:extLst>
          </c:dPt>
          <c:dPt>
            <c:idx val="867"/>
            <c:invertIfNegative val="1"/>
            <c:bubble3D val="0"/>
            <c:spPr>
              <a:solidFill>
                <a:srgbClr val="AEABAB"/>
              </a:solidFill>
            </c:spPr>
            <c:extLst>
              <c:ext xmlns:c16="http://schemas.microsoft.com/office/drawing/2014/chart" uri="{C3380CC4-5D6E-409C-BE32-E72D297353CC}">
                <c16:uniqueId val="{000006C9-9DD8-499E-8091-3E3A56EDFAAE}"/>
              </c:ext>
            </c:extLst>
          </c:dPt>
          <c:dPt>
            <c:idx val="868"/>
            <c:invertIfNegative val="1"/>
            <c:bubble3D val="0"/>
            <c:spPr>
              <a:solidFill>
                <a:srgbClr val="AEABAB"/>
              </a:solidFill>
            </c:spPr>
            <c:extLst>
              <c:ext xmlns:c16="http://schemas.microsoft.com/office/drawing/2014/chart" uri="{C3380CC4-5D6E-409C-BE32-E72D297353CC}">
                <c16:uniqueId val="{000006CB-9DD8-499E-8091-3E3A56EDFAAE}"/>
              </c:ext>
            </c:extLst>
          </c:dPt>
          <c:dPt>
            <c:idx val="869"/>
            <c:invertIfNegative val="1"/>
            <c:bubble3D val="0"/>
            <c:spPr>
              <a:solidFill>
                <a:srgbClr val="AEABAB"/>
              </a:solidFill>
            </c:spPr>
            <c:extLst>
              <c:ext xmlns:c16="http://schemas.microsoft.com/office/drawing/2014/chart" uri="{C3380CC4-5D6E-409C-BE32-E72D297353CC}">
                <c16:uniqueId val="{000006CD-9DD8-499E-8091-3E3A56EDFAAE}"/>
              </c:ext>
            </c:extLst>
          </c:dPt>
          <c:dPt>
            <c:idx val="870"/>
            <c:invertIfNegative val="1"/>
            <c:bubble3D val="0"/>
            <c:spPr>
              <a:solidFill>
                <a:srgbClr val="AEABAB"/>
              </a:solidFill>
            </c:spPr>
            <c:extLst>
              <c:ext xmlns:c16="http://schemas.microsoft.com/office/drawing/2014/chart" uri="{C3380CC4-5D6E-409C-BE32-E72D297353CC}">
                <c16:uniqueId val="{000006CF-9DD8-499E-8091-3E3A56EDFAAE}"/>
              </c:ext>
            </c:extLst>
          </c:dPt>
          <c:dPt>
            <c:idx val="871"/>
            <c:invertIfNegative val="1"/>
            <c:bubble3D val="0"/>
            <c:spPr>
              <a:solidFill>
                <a:srgbClr val="AEABAB"/>
              </a:solidFill>
            </c:spPr>
            <c:extLst>
              <c:ext xmlns:c16="http://schemas.microsoft.com/office/drawing/2014/chart" uri="{C3380CC4-5D6E-409C-BE32-E72D297353CC}">
                <c16:uniqueId val="{000006D1-9DD8-499E-8091-3E3A56EDFAAE}"/>
              </c:ext>
            </c:extLst>
          </c:dPt>
          <c:dPt>
            <c:idx val="872"/>
            <c:invertIfNegative val="1"/>
            <c:bubble3D val="0"/>
            <c:spPr>
              <a:solidFill>
                <a:srgbClr val="AEABAB"/>
              </a:solidFill>
            </c:spPr>
            <c:extLst>
              <c:ext xmlns:c16="http://schemas.microsoft.com/office/drawing/2014/chart" uri="{C3380CC4-5D6E-409C-BE32-E72D297353CC}">
                <c16:uniqueId val="{000006D3-9DD8-499E-8091-3E3A56EDFAAE}"/>
              </c:ext>
            </c:extLst>
          </c:dPt>
          <c:dPt>
            <c:idx val="873"/>
            <c:invertIfNegative val="1"/>
            <c:bubble3D val="0"/>
            <c:spPr>
              <a:solidFill>
                <a:srgbClr val="AEABAB"/>
              </a:solidFill>
            </c:spPr>
            <c:extLst>
              <c:ext xmlns:c16="http://schemas.microsoft.com/office/drawing/2014/chart" uri="{C3380CC4-5D6E-409C-BE32-E72D297353CC}">
                <c16:uniqueId val="{000006D5-9DD8-499E-8091-3E3A56EDFAAE}"/>
              </c:ext>
            </c:extLst>
          </c:dPt>
          <c:dPt>
            <c:idx val="874"/>
            <c:invertIfNegative val="1"/>
            <c:bubble3D val="0"/>
            <c:spPr>
              <a:solidFill>
                <a:srgbClr val="AEABAB"/>
              </a:solidFill>
            </c:spPr>
            <c:extLst>
              <c:ext xmlns:c16="http://schemas.microsoft.com/office/drawing/2014/chart" uri="{C3380CC4-5D6E-409C-BE32-E72D297353CC}">
                <c16:uniqueId val="{000006D7-9DD8-499E-8091-3E3A56EDFAAE}"/>
              </c:ext>
            </c:extLst>
          </c:dPt>
          <c:dPt>
            <c:idx val="875"/>
            <c:invertIfNegative val="1"/>
            <c:bubble3D val="0"/>
            <c:spPr>
              <a:solidFill>
                <a:srgbClr val="AEABAB"/>
              </a:solidFill>
            </c:spPr>
            <c:extLst>
              <c:ext xmlns:c16="http://schemas.microsoft.com/office/drawing/2014/chart" uri="{C3380CC4-5D6E-409C-BE32-E72D297353CC}">
                <c16:uniqueId val="{000006D9-9DD8-499E-8091-3E3A56EDFAAE}"/>
              </c:ext>
            </c:extLst>
          </c:dPt>
          <c:dPt>
            <c:idx val="876"/>
            <c:invertIfNegative val="1"/>
            <c:bubble3D val="0"/>
            <c:spPr>
              <a:solidFill>
                <a:srgbClr val="AEABAB"/>
              </a:solidFill>
            </c:spPr>
            <c:extLst>
              <c:ext xmlns:c16="http://schemas.microsoft.com/office/drawing/2014/chart" uri="{C3380CC4-5D6E-409C-BE32-E72D297353CC}">
                <c16:uniqueId val="{000006DB-9DD8-499E-8091-3E3A56EDFAAE}"/>
              </c:ext>
            </c:extLst>
          </c:dPt>
          <c:dPt>
            <c:idx val="877"/>
            <c:invertIfNegative val="1"/>
            <c:bubble3D val="0"/>
            <c:spPr>
              <a:solidFill>
                <a:srgbClr val="AEABAB"/>
              </a:solidFill>
            </c:spPr>
            <c:extLst>
              <c:ext xmlns:c16="http://schemas.microsoft.com/office/drawing/2014/chart" uri="{C3380CC4-5D6E-409C-BE32-E72D297353CC}">
                <c16:uniqueId val="{000006DD-9DD8-499E-8091-3E3A56EDFAAE}"/>
              </c:ext>
            </c:extLst>
          </c:dPt>
          <c:dPt>
            <c:idx val="878"/>
            <c:invertIfNegative val="1"/>
            <c:bubble3D val="0"/>
            <c:spPr>
              <a:solidFill>
                <a:srgbClr val="AEABAB"/>
              </a:solidFill>
            </c:spPr>
            <c:extLst>
              <c:ext xmlns:c16="http://schemas.microsoft.com/office/drawing/2014/chart" uri="{C3380CC4-5D6E-409C-BE32-E72D297353CC}">
                <c16:uniqueId val="{000006DF-9DD8-499E-8091-3E3A56EDFAAE}"/>
              </c:ext>
            </c:extLst>
          </c:dPt>
          <c:dPt>
            <c:idx val="879"/>
            <c:invertIfNegative val="1"/>
            <c:bubble3D val="0"/>
            <c:spPr>
              <a:solidFill>
                <a:srgbClr val="AEABAB"/>
              </a:solidFill>
            </c:spPr>
            <c:extLst>
              <c:ext xmlns:c16="http://schemas.microsoft.com/office/drawing/2014/chart" uri="{C3380CC4-5D6E-409C-BE32-E72D297353CC}">
                <c16:uniqueId val="{000006E1-9DD8-499E-8091-3E3A56EDFAAE}"/>
              </c:ext>
            </c:extLst>
          </c:dPt>
          <c:dPt>
            <c:idx val="880"/>
            <c:invertIfNegative val="1"/>
            <c:bubble3D val="0"/>
            <c:spPr>
              <a:solidFill>
                <a:srgbClr val="AEABAB"/>
              </a:solidFill>
            </c:spPr>
            <c:extLst>
              <c:ext xmlns:c16="http://schemas.microsoft.com/office/drawing/2014/chart" uri="{C3380CC4-5D6E-409C-BE32-E72D297353CC}">
                <c16:uniqueId val="{000006E3-9DD8-499E-8091-3E3A56EDFAAE}"/>
              </c:ext>
            </c:extLst>
          </c:dPt>
          <c:dPt>
            <c:idx val="881"/>
            <c:invertIfNegative val="1"/>
            <c:bubble3D val="0"/>
            <c:spPr>
              <a:solidFill>
                <a:srgbClr val="AEABAB"/>
              </a:solidFill>
            </c:spPr>
            <c:extLst>
              <c:ext xmlns:c16="http://schemas.microsoft.com/office/drawing/2014/chart" uri="{C3380CC4-5D6E-409C-BE32-E72D297353CC}">
                <c16:uniqueId val="{000006E5-9DD8-499E-8091-3E3A56EDFAAE}"/>
              </c:ext>
            </c:extLst>
          </c:dPt>
          <c:dPt>
            <c:idx val="882"/>
            <c:invertIfNegative val="1"/>
            <c:bubble3D val="0"/>
            <c:spPr>
              <a:solidFill>
                <a:srgbClr val="AEABAB"/>
              </a:solidFill>
            </c:spPr>
            <c:extLst>
              <c:ext xmlns:c16="http://schemas.microsoft.com/office/drawing/2014/chart" uri="{C3380CC4-5D6E-409C-BE32-E72D297353CC}">
                <c16:uniqueId val="{000006E7-9DD8-499E-8091-3E3A56EDFAAE}"/>
              </c:ext>
            </c:extLst>
          </c:dPt>
          <c:dPt>
            <c:idx val="883"/>
            <c:invertIfNegative val="1"/>
            <c:bubble3D val="0"/>
            <c:spPr>
              <a:solidFill>
                <a:srgbClr val="AEABAB"/>
              </a:solidFill>
            </c:spPr>
            <c:extLst>
              <c:ext xmlns:c16="http://schemas.microsoft.com/office/drawing/2014/chart" uri="{C3380CC4-5D6E-409C-BE32-E72D297353CC}">
                <c16:uniqueId val="{000006E9-9DD8-499E-8091-3E3A56EDFAAE}"/>
              </c:ext>
            </c:extLst>
          </c:dPt>
          <c:dPt>
            <c:idx val="884"/>
            <c:invertIfNegative val="1"/>
            <c:bubble3D val="0"/>
            <c:spPr>
              <a:solidFill>
                <a:srgbClr val="AEABAB"/>
              </a:solidFill>
            </c:spPr>
            <c:extLst>
              <c:ext xmlns:c16="http://schemas.microsoft.com/office/drawing/2014/chart" uri="{C3380CC4-5D6E-409C-BE32-E72D297353CC}">
                <c16:uniqueId val="{000006EB-9DD8-499E-8091-3E3A56EDFAAE}"/>
              </c:ext>
            </c:extLst>
          </c:dPt>
          <c:dPt>
            <c:idx val="885"/>
            <c:invertIfNegative val="1"/>
            <c:bubble3D val="0"/>
            <c:spPr>
              <a:solidFill>
                <a:srgbClr val="AEABAB"/>
              </a:solidFill>
            </c:spPr>
            <c:extLst>
              <c:ext xmlns:c16="http://schemas.microsoft.com/office/drawing/2014/chart" uri="{C3380CC4-5D6E-409C-BE32-E72D297353CC}">
                <c16:uniqueId val="{000006ED-9DD8-499E-8091-3E3A56EDFAAE}"/>
              </c:ext>
            </c:extLst>
          </c:dPt>
          <c:dPt>
            <c:idx val="886"/>
            <c:invertIfNegative val="1"/>
            <c:bubble3D val="0"/>
            <c:spPr>
              <a:solidFill>
                <a:srgbClr val="AEABAB"/>
              </a:solidFill>
            </c:spPr>
            <c:extLst>
              <c:ext xmlns:c16="http://schemas.microsoft.com/office/drawing/2014/chart" uri="{C3380CC4-5D6E-409C-BE32-E72D297353CC}">
                <c16:uniqueId val="{000006EF-9DD8-499E-8091-3E3A56EDFAAE}"/>
              </c:ext>
            </c:extLst>
          </c:dPt>
          <c:dPt>
            <c:idx val="887"/>
            <c:invertIfNegative val="1"/>
            <c:bubble3D val="0"/>
            <c:spPr>
              <a:solidFill>
                <a:srgbClr val="AEABAB"/>
              </a:solidFill>
            </c:spPr>
            <c:extLst>
              <c:ext xmlns:c16="http://schemas.microsoft.com/office/drawing/2014/chart" uri="{C3380CC4-5D6E-409C-BE32-E72D297353CC}">
                <c16:uniqueId val="{000006F1-9DD8-499E-8091-3E3A56EDFAAE}"/>
              </c:ext>
            </c:extLst>
          </c:dPt>
          <c:dPt>
            <c:idx val="888"/>
            <c:invertIfNegative val="1"/>
            <c:bubble3D val="0"/>
            <c:spPr>
              <a:solidFill>
                <a:srgbClr val="AEABAB"/>
              </a:solidFill>
            </c:spPr>
            <c:extLst>
              <c:ext xmlns:c16="http://schemas.microsoft.com/office/drawing/2014/chart" uri="{C3380CC4-5D6E-409C-BE32-E72D297353CC}">
                <c16:uniqueId val="{000006F3-9DD8-499E-8091-3E3A56EDFAAE}"/>
              </c:ext>
            </c:extLst>
          </c:dPt>
          <c:dPt>
            <c:idx val="889"/>
            <c:invertIfNegative val="1"/>
            <c:bubble3D val="0"/>
            <c:spPr>
              <a:solidFill>
                <a:srgbClr val="AEABAB"/>
              </a:solidFill>
            </c:spPr>
            <c:extLst>
              <c:ext xmlns:c16="http://schemas.microsoft.com/office/drawing/2014/chart" uri="{C3380CC4-5D6E-409C-BE32-E72D297353CC}">
                <c16:uniqueId val="{000006F5-9DD8-499E-8091-3E3A56EDFAAE}"/>
              </c:ext>
            </c:extLst>
          </c:dPt>
          <c:dPt>
            <c:idx val="890"/>
            <c:invertIfNegative val="1"/>
            <c:bubble3D val="0"/>
            <c:spPr>
              <a:solidFill>
                <a:srgbClr val="AEABAB"/>
              </a:solidFill>
            </c:spPr>
            <c:extLst>
              <c:ext xmlns:c16="http://schemas.microsoft.com/office/drawing/2014/chart" uri="{C3380CC4-5D6E-409C-BE32-E72D297353CC}">
                <c16:uniqueId val="{000006F7-9DD8-499E-8091-3E3A56EDFAAE}"/>
              </c:ext>
            </c:extLst>
          </c:dPt>
          <c:dPt>
            <c:idx val="891"/>
            <c:invertIfNegative val="1"/>
            <c:bubble3D val="0"/>
            <c:spPr>
              <a:solidFill>
                <a:srgbClr val="AEABAB"/>
              </a:solidFill>
            </c:spPr>
            <c:extLst>
              <c:ext xmlns:c16="http://schemas.microsoft.com/office/drawing/2014/chart" uri="{C3380CC4-5D6E-409C-BE32-E72D297353CC}">
                <c16:uniqueId val="{000006F9-9DD8-499E-8091-3E3A56EDFAAE}"/>
              </c:ext>
            </c:extLst>
          </c:dPt>
          <c:dPt>
            <c:idx val="892"/>
            <c:invertIfNegative val="1"/>
            <c:bubble3D val="0"/>
            <c:spPr>
              <a:solidFill>
                <a:srgbClr val="AEABAB"/>
              </a:solidFill>
            </c:spPr>
            <c:extLst>
              <c:ext xmlns:c16="http://schemas.microsoft.com/office/drawing/2014/chart" uri="{C3380CC4-5D6E-409C-BE32-E72D297353CC}">
                <c16:uniqueId val="{000006FB-9DD8-499E-8091-3E3A56EDFAAE}"/>
              </c:ext>
            </c:extLst>
          </c:dPt>
          <c:dPt>
            <c:idx val="893"/>
            <c:invertIfNegative val="1"/>
            <c:bubble3D val="0"/>
            <c:spPr>
              <a:solidFill>
                <a:srgbClr val="AEABAB"/>
              </a:solidFill>
            </c:spPr>
            <c:extLst>
              <c:ext xmlns:c16="http://schemas.microsoft.com/office/drawing/2014/chart" uri="{C3380CC4-5D6E-409C-BE32-E72D297353CC}">
                <c16:uniqueId val="{000006FD-9DD8-499E-8091-3E3A56EDFAAE}"/>
              </c:ext>
            </c:extLst>
          </c:dPt>
          <c:dPt>
            <c:idx val="894"/>
            <c:invertIfNegative val="1"/>
            <c:bubble3D val="0"/>
            <c:spPr>
              <a:solidFill>
                <a:srgbClr val="AEABAB"/>
              </a:solidFill>
            </c:spPr>
            <c:extLst>
              <c:ext xmlns:c16="http://schemas.microsoft.com/office/drawing/2014/chart" uri="{C3380CC4-5D6E-409C-BE32-E72D297353CC}">
                <c16:uniqueId val="{000006FF-9DD8-499E-8091-3E3A56EDFAAE}"/>
              </c:ext>
            </c:extLst>
          </c:dPt>
          <c:dPt>
            <c:idx val="895"/>
            <c:invertIfNegative val="1"/>
            <c:bubble3D val="0"/>
            <c:spPr>
              <a:solidFill>
                <a:srgbClr val="AEABAB"/>
              </a:solidFill>
            </c:spPr>
            <c:extLst>
              <c:ext xmlns:c16="http://schemas.microsoft.com/office/drawing/2014/chart" uri="{C3380CC4-5D6E-409C-BE32-E72D297353CC}">
                <c16:uniqueId val="{00000701-9DD8-499E-8091-3E3A56EDFAAE}"/>
              </c:ext>
            </c:extLst>
          </c:dPt>
          <c:dPt>
            <c:idx val="896"/>
            <c:invertIfNegative val="1"/>
            <c:bubble3D val="0"/>
            <c:spPr>
              <a:solidFill>
                <a:srgbClr val="AEABAB"/>
              </a:solidFill>
            </c:spPr>
            <c:extLst>
              <c:ext xmlns:c16="http://schemas.microsoft.com/office/drawing/2014/chart" uri="{C3380CC4-5D6E-409C-BE32-E72D297353CC}">
                <c16:uniqueId val="{00000703-9DD8-499E-8091-3E3A56EDFAAE}"/>
              </c:ext>
            </c:extLst>
          </c:dPt>
          <c:dPt>
            <c:idx val="897"/>
            <c:invertIfNegative val="1"/>
            <c:bubble3D val="0"/>
            <c:spPr>
              <a:solidFill>
                <a:srgbClr val="AEABAB"/>
              </a:solidFill>
            </c:spPr>
            <c:extLst>
              <c:ext xmlns:c16="http://schemas.microsoft.com/office/drawing/2014/chart" uri="{C3380CC4-5D6E-409C-BE32-E72D297353CC}">
                <c16:uniqueId val="{00000705-9DD8-499E-8091-3E3A56EDFAAE}"/>
              </c:ext>
            </c:extLst>
          </c:dPt>
          <c:dPt>
            <c:idx val="898"/>
            <c:invertIfNegative val="1"/>
            <c:bubble3D val="0"/>
            <c:spPr>
              <a:solidFill>
                <a:srgbClr val="AEABAB"/>
              </a:solidFill>
            </c:spPr>
            <c:extLst>
              <c:ext xmlns:c16="http://schemas.microsoft.com/office/drawing/2014/chart" uri="{C3380CC4-5D6E-409C-BE32-E72D297353CC}">
                <c16:uniqueId val="{00000707-9DD8-499E-8091-3E3A56EDFAAE}"/>
              </c:ext>
            </c:extLst>
          </c:dPt>
          <c:dPt>
            <c:idx val="899"/>
            <c:invertIfNegative val="1"/>
            <c:bubble3D val="0"/>
            <c:spPr>
              <a:solidFill>
                <a:srgbClr val="AEABAB"/>
              </a:solidFill>
            </c:spPr>
            <c:extLst>
              <c:ext xmlns:c16="http://schemas.microsoft.com/office/drawing/2014/chart" uri="{C3380CC4-5D6E-409C-BE32-E72D297353CC}">
                <c16:uniqueId val="{00000709-9DD8-499E-8091-3E3A56EDFAAE}"/>
              </c:ext>
            </c:extLst>
          </c:dPt>
          <c:dPt>
            <c:idx val="900"/>
            <c:invertIfNegative val="1"/>
            <c:bubble3D val="0"/>
            <c:spPr>
              <a:solidFill>
                <a:srgbClr val="AEABAB"/>
              </a:solidFill>
            </c:spPr>
            <c:extLst>
              <c:ext xmlns:c16="http://schemas.microsoft.com/office/drawing/2014/chart" uri="{C3380CC4-5D6E-409C-BE32-E72D297353CC}">
                <c16:uniqueId val="{0000070B-9DD8-499E-8091-3E3A56EDFAAE}"/>
              </c:ext>
            </c:extLst>
          </c:dPt>
          <c:dPt>
            <c:idx val="901"/>
            <c:invertIfNegative val="1"/>
            <c:bubble3D val="0"/>
            <c:spPr>
              <a:solidFill>
                <a:srgbClr val="AEABAB"/>
              </a:solidFill>
            </c:spPr>
            <c:extLst>
              <c:ext xmlns:c16="http://schemas.microsoft.com/office/drawing/2014/chart" uri="{C3380CC4-5D6E-409C-BE32-E72D297353CC}">
                <c16:uniqueId val="{0000070D-9DD8-499E-8091-3E3A56EDFAAE}"/>
              </c:ext>
            </c:extLst>
          </c:dPt>
          <c:dPt>
            <c:idx val="902"/>
            <c:invertIfNegative val="1"/>
            <c:bubble3D val="0"/>
            <c:spPr>
              <a:solidFill>
                <a:srgbClr val="AEABAB"/>
              </a:solidFill>
            </c:spPr>
            <c:extLst>
              <c:ext xmlns:c16="http://schemas.microsoft.com/office/drawing/2014/chart" uri="{C3380CC4-5D6E-409C-BE32-E72D297353CC}">
                <c16:uniqueId val="{0000070F-9DD8-499E-8091-3E3A56EDFAAE}"/>
              </c:ext>
            </c:extLst>
          </c:dPt>
          <c:dPt>
            <c:idx val="903"/>
            <c:invertIfNegative val="1"/>
            <c:bubble3D val="0"/>
            <c:spPr>
              <a:solidFill>
                <a:srgbClr val="AEABAB"/>
              </a:solidFill>
            </c:spPr>
            <c:extLst>
              <c:ext xmlns:c16="http://schemas.microsoft.com/office/drawing/2014/chart" uri="{C3380CC4-5D6E-409C-BE32-E72D297353CC}">
                <c16:uniqueId val="{00000711-9DD8-499E-8091-3E3A56EDFAAE}"/>
              </c:ext>
            </c:extLst>
          </c:dPt>
          <c:dPt>
            <c:idx val="904"/>
            <c:invertIfNegative val="1"/>
            <c:bubble3D val="0"/>
            <c:spPr>
              <a:solidFill>
                <a:srgbClr val="AEABAB"/>
              </a:solidFill>
            </c:spPr>
            <c:extLst>
              <c:ext xmlns:c16="http://schemas.microsoft.com/office/drawing/2014/chart" uri="{C3380CC4-5D6E-409C-BE32-E72D297353CC}">
                <c16:uniqueId val="{00000713-9DD8-499E-8091-3E3A56EDFAAE}"/>
              </c:ext>
            </c:extLst>
          </c:dPt>
          <c:dPt>
            <c:idx val="905"/>
            <c:invertIfNegative val="1"/>
            <c:bubble3D val="0"/>
            <c:spPr>
              <a:solidFill>
                <a:srgbClr val="AEABAB"/>
              </a:solidFill>
            </c:spPr>
            <c:extLst>
              <c:ext xmlns:c16="http://schemas.microsoft.com/office/drawing/2014/chart" uri="{C3380CC4-5D6E-409C-BE32-E72D297353CC}">
                <c16:uniqueId val="{00000715-9DD8-499E-8091-3E3A56EDFAAE}"/>
              </c:ext>
            </c:extLst>
          </c:dPt>
          <c:dPt>
            <c:idx val="906"/>
            <c:invertIfNegative val="1"/>
            <c:bubble3D val="0"/>
            <c:spPr>
              <a:solidFill>
                <a:srgbClr val="AEABAB"/>
              </a:solidFill>
            </c:spPr>
            <c:extLst>
              <c:ext xmlns:c16="http://schemas.microsoft.com/office/drawing/2014/chart" uri="{C3380CC4-5D6E-409C-BE32-E72D297353CC}">
                <c16:uniqueId val="{00000717-9DD8-499E-8091-3E3A56EDFAAE}"/>
              </c:ext>
            </c:extLst>
          </c:dPt>
          <c:dPt>
            <c:idx val="907"/>
            <c:invertIfNegative val="1"/>
            <c:bubble3D val="0"/>
            <c:spPr>
              <a:solidFill>
                <a:srgbClr val="AEABAB"/>
              </a:solidFill>
            </c:spPr>
            <c:extLst>
              <c:ext xmlns:c16="http://schemas.microsoft.com/office/drawing/2014/chart" uri="{C3380CC4-5D6E-409C-BE32-E72D297353CC}">
                <c16:uniqueId val="{00000719-9DD8-499E-8091-3E3A56EDFAAE}"/>
              </c:ext>
            </c:extLst>
          </c:dPt>
          <c:dPt>
            <c:idx val="908"/>
            <c:invertIfNegative val="1"/>
            <c:bubble3D val="0"/>
            <c:spPr>
              <a:solidFill>
                <a:srgbClr val="AEABAB"/>
              </a:solidFill>
            </c:spPr>
            <c:extLst>
              <c:ext xmlns:c16="http://schemas.microsoft.com/office/drawing/2014/chart" uri="{C3380CC4-5D6E-409C-BE32-E72D297353CC}">
                <c16:uniqueId val="{0000071B-9DD8-499E-8091-3E3A56EDFAAE}"/>
              </c:ext>
            </c:extLst>
          </c:dPt>
          <c:dPt>
            <c:idx val="909"/>
            <c:invertIfNegative val="1"/>
            <c:bubble3D val="0"/>
            <c:spPr>
              <a:solidFill>
                <a:srgbClr val="AEABAB"/>
              </a:solidFill>
            </c:spPr>
            <c:extLst>
              <c:ext xmlns:c16="http://schemas.microsoft.com/office/drawing/2014/chart" uri="{C3380CC4-5D6E-409C-BE32-E72D297353CC}">
                <c16:uniqueId val="{0000071D-9DD8-499E-8091-3E3A56EDFAAE}"/>
              </c:ext>
            </c:extLst>
          </c:dPt>
          <c:dPt>
            <c:idx val="910"/>
            <c:invertIfNegative val="1"/>
            <c:bubble3D val="0"/>
            <c:spPr>
              <a:solidFill>
                <a:srgbClr val="AEABAB"/>
              </a:solidFill>
            </c:spPr>
            <c:extLst>
              <c:ext xmlns:c16="http://schemas.microsoft.com/office/drawing/2014/chart" uri="{C3380CC4-5D6E-409C-BE32-E72D297353CC}">
                <c16:uniqueId val="{0000071F-9DD8-499E-8091-3E3A56EDFAAE}"/>
              </c:ext>
            </c:extLst>
          </c:dPt>
          <c:dPt>
            <c:idx val="911"/>
            <c:invertIfNegative val="1"/>
            <c:bubble3D val="0"/>
            <c:spPr>
              <a:solidFill>
                <a:srgbClr val="AEABAB"/>
              </a:solidFill>
            </c:spPr>
            <c:extLst>
              <c:ext xmlns:c16="http://schemas.microsoft.com/office/drawing/2014/chart" uri="{C3380CC4-5D6E-409C-BE32-E72D297353CC}">
                <c16:uniqueId val="{00000721-9DD8-499E-8091-3E3A56EDFAAE}"/>
              </c:ext>
            </c:extLst>
          </c:dPt>
          <c:dPt>
            <c:idx val="912"/>
            <c:invertIfNegative val="1"/>
            <c:bubble3D val="0"/>
            <c:spPr>
              <a:solidFill>
                <a:srgbClr val="AEABAB"/>
              </a:solidFill>
            </c:spPr>
            <c:extLst>
              <c:ext xmlns:c16="http://schemas.microsoft.com/office/drawing/2014/chart" uri="{C3380CC4-5D6E-409C-BE32-E72D297353CC}">
                <c16:uniqueId val="{00000723-9DD8-499E-8091-3E3A56EDFAAE}"/>
              </c:ext>
            </c:extLst>
          </c:dPt>
          <c:dPt>
            <c:idx val="913"/>
            <c:invertIfNegative val="1"/>
            <c:bubble3D val="0"/>
            <c:spPr>
              <a:solidFill>
                <a:srgbClr val="AEABAB"/>
              </a:solidFill>
            </c:spPr>
            <c:extLst>
              <c:ext xmlns:c16="http://schemas.microsoft.com/office/drawing/2014/chart" uri="{C3380CC4-5D6E-409C-BE32-E72D297353CC}">
                <c16:uniqueId val="{00000725-9DD8-499E-8091-3E3A56EDFAAE}"/>
              </c:ext>
            </c:extLst>
          </c:dPt>
          <c:dPt>
            <c:idx val="914"/>
            <c:invertIfNegative val="1"/>
            <c:bubble3D val="0"/>
            <c:spPr>
              <a:solidFill>
                <a:srgbClr val="AEABAB"/>
              </a:solidFill>
            </c:spPr>
            <c:extLst>
              <c:ext xmlns:c16="http://schemas.microsoft.com/office/drawing/2014/chart" uri="{C3380CC4-5D6E-409C-BE32-E72D297353CC}">
                <c16:uniqueId val="{00000727-9DD8-499E-8091-3E3A56EDFAAE}"/>
              </c:ext>
            </c:extLst>
          </c:dPt>
          <c:dPt>
            <c:idx val="915"/>
            <c:invertIfNegative val="1"/>
            <c:bubble3D val="0"/>
            <c:spPr>
              <a:solidFill>
                <a:srgbClr val="AEABAB"/>
              </a:solidFill>
            </c:spPr>
            <c:extLst>
              <c:ext xmlns:c16="http://schemas.microsoft.com/office/drawing/2014/chart" uri="{C3380CC4-5D6E-409C-BE32-E72D297353CC}">
                <c16:uniqueId val="{00000729-9DD8-499E-8091-3E3A56EDFAAE}"/>
              </c:ext>
            </c:extLst>
          </c:dPt>
          <c:cat>
            <c:strRef>
              <c:f>Sheet1!$A$2:$A$917</c:f>
              <c:strCache>
                <c:ptCount val="916"/>
                <c:pt idx="0">
                  <c:v>Caprice Des</c:v>
                </c:pt>
                <c:pt idx="1">
                  <c:v>President</c:v>
                </c:pt>
                <c:pt idx="2">
                  <c:v>Caprice Des</c:v>
                </c:pt>
                <c:pt idx="3">
                  <c:v>La Vache Qu</c:v>
                </c:pt>
                <c:pt idx="4">
                  <c:v>La Vache Qu</c:v>
                </c:pt>
                <c:pt idx="5">
                  <c:v>Kiri</c:v>
                </c:pt>
                <c:pt idx="6">
                  <c:v>Coeur De Li</c:v>
                </c:pt>
                <c:pt idx="7">
                  <c:v>Mini Babybe</c:v>
                </c:pt>
                <c:pt idx="8">
                  <c:v>Galbani</c:v>
                </c:pt>
                <c:pt idx="9">
                  <c:v>Soignon</c:v>
                </c:pt>
                <c:pt idx="10">
                  <c:v>Mini Babybe</c:v>
                </c:pt>
                <c:pt idx="11">
                  <c:v>Salakis</c:v>
                </c:pt>
                <c:pt idx="12">
                  <c:v>Coeur De Li</c:v>
                </c:pt>
                <c:pt idx="13">
                  <c:v>Soignon</c:v>
                </c:pt>
                <c:pt idx="14">
                  <c:v>Le Rustique</c:v>
                </c:pt>
                <c:pt idx="15">
                  <c:v>Islos</c:v>
                </c:pt>
                <c:pt idx="16">
                  <c:v>Salakis</c:v>
                </c:pt>
                <c:pt idx="17">
                  <c:v>Ficello</c:v>
                </c:pt>
                <c:pt idx="18">
                  <c:v>Tartare</c:v>
                </c:pt>
                <c:pt idx="19">
                  <c:v>Soignon</c:v>
                </c:pt>
                <c:pt idx="20">
                  <c:v>Mini Babybe</c:v>
                </c:pt>
                <c:pt idx="21">
                  <c:v>St Moret</c:v>
                </c:pt>
                <c:pt idx="22">
                  <c:v>All Others</c:v>
                </c:pt>
                <c:pt idx="23">
                  <c:v>St Moret</c:v>
                </c:pt>
                <c:pt idx="24">
                  <c:v>Galbani</c:v>
                </c:pt>
                <c:pt idx="25">
                  <c:v>Kiri</c:v>
                </c:pt>
                <c:pt idx="26">
                  <c:v>St Moret</c:v>
                </c:pt>
                <c:pt idx="27">
                  <c:v>Coeur De Li</c:v>
                </c:pt>
                <c:pt idx="28">
                  <c:v>Galbani</c:v>
                </c:pt>
                <c:pt idx="29">
                  <c:v>All Others</c:v>
                </c:pt>
                <c:pt idx="30">
                  <c:v>Mini Babybe</c:v>
                </c:pt>
                <c:pt idx="31">
                  <c:v>Paysan Bret</c:v>
                </c:pt>
                <c:pt idx="32">
                  <c:v>St Moret</c:v>
                </c:pt>
                <c:pt idx="33">
                  <c:v>St Moret</c:v>
                </c:pt>
                <c:pt idx="34">
                  <c:v>All Others</c:v>
                </c:pt>
                <c:pt idx="35">
                  <c:v>Carre Frais</c:v>
                </c:pt>
                <c:pt idx="36">
                  <c:v>President</c:v>
                </c:pt>
                <c:pt idx="37">
                  <c:v>Salakis</c:v>
                </c:pt>
                <c:pt idx="38">
                  <c:v>President</c:v>
                </c:pt>
                <c:pt idx="39">
                  <c:v>Casa Azzurr</c:v>
                </c:pt>
                <c:pt idx="40">
                  <c:v>Carre Frais</c:v>
                </c:pt>
                <c:pt idx="41">
                  <c:v>Kiri</c:v>
                </c:pt>
                <c:pt idx="42">
                  <c:v>President</c:v>
                </c:pt>
                <c:pt idx="43">
                  <c:v>President</c:v>
                </c:pt>
                <c:pt idx="44">
                  <c:v>La Vache Qu</c:v>
                </c:pt>
                <c:pt idx="45">
                  <c:v>Paysan Bret</c:v>
                </c:pt>
                <c:pt idx="46">
                  <c:v>Paysan Bret</c:v>
                </c:pt>
                <c:pt idx="47">
                  <c:v>St Moret</c:v>
                </c:pt>
                <c:pt idx="48">
                  <c:v>Philadelphi</c:v>
                </c:pt>
                <c:pt idx="49">
                  <c:v>Coeur De Li</c:v>
                </c:pt>
                <c:pt idx="50">
                  <c:v>All Others</c:v>
                </c:pt>
                <c:pt idx="51">
                  <c:v>St Moret</c:v>
                </c:pt>
                <c:pt idx="52">
                  <c:v>Casa Azzurr</c:v>
                </c:pt>
                <c:pt idx="53">
                  <c:v>Salakis</c:v>
                </c:pt>
                <c:pt idx="54">
                  <c:v>Boursin</c:v>
                </c:pt>
                <c:pt idx="55">
                  <c:v>Galbani</c:v>
                </c:pt>
                <c:pt idx="56">
                  <c:v>All Others</c:v>
                </c:pt>
                <c:pt idx="57">
                  <c:v>La Vache Qu</c:v>
                </c:pt>
                <c:pt idx="58">
                  <c:v>Kiri</c:v>
                </c:pt>
                <c:pt idx="59">
                  <c:v>Casa Azzurr</c:v>
                </c:pt>
                <c:pt idx="60">
                  <c:v>Casa Azzurr</c:v>
                </c:pt>
                <c:pt idx="61">
                  <c:v>Galbani</c:v>
                </c:pt>
                <c:pt idx="62">
                  <c:v>Petit Billy</c:v>
                </c:pt>
                <c:pt idx="63">
                  <c:v>All Others</c:v>
                </c:pt>
                <c:pt idx="64">
                  <c:v>Tartare</c:v>
                </c:pt>
                <c:pt idx="65">
                  <c:v>Kiri</c:v>
                </c:pt>
                <c:pt idx="66">
                  <c:v>Casa Azzurr</c:v>
                </c:pt>
                <c:pt idx="67">
                  <c:v>Carre Frais</c:v>
                </c:pt>
                <c:pt idx="68">
                  <c:v>St Moret</c:v>
                </c:pt>
                <c:pt idx="69">
                  <c:v>Kiri</c:v>
                </c:pt>
                <c:pt idx="70">
                  <c:v>Boursin</c:v>
                </c:pt>
                <c:pt idx="71">
                  <c:v>Casa Azzurr</c:v>
                </c:pt>
                <c:pt idx="72">
                  <c:v>Salakis</c:v>
                </c:pt>
                <c:pt idx="73">
                  <c:v>Istara</c:v>
                </c:pt>
                <c:pt idx="74">
                  <c:v>La Vache Qu</c:v>
                </c:pt>
                <c:pt idx="75">
                  <c:v>All Others</c:v>
                </c:pt>
                <c:pt idx="76">
                  <c:v>All Others</c:v>
                </c:pt>
                <c:pt idx="77">
                  <c:v>Lepetit</c:v>
                </c:pt>
                <c:pt idx="78">
                  <c:v>Galbani</c:v>
                </c:pt>
                <c:pt idx="79">
                  <c:v>President</c:v>
                </c:pt>
                <c:pt idx="80">
                  <c:v>Ficello</c:v>
                </c:pt>
                <c:pt idx="81">
                  <c:v>Etorki</c:v>
                </c:pt>
                <c:pt idx="82">
                  <c:v>Lou Perac</c:v>
                </c:pt>
                <c:pt idx="83">
                  <c:v>Boursin</c:v>
                </c:pt>
                <c:pt idx="84">
                  <c:v>All Others</c:v>
                </c:pt>
                <c:pt idx="85">
                  <c:v>Philadelphi</c:v>
                </c:pt>
                <c:pt idx="86">
                  <c:v>Boursin</c:v>
                </c:pt>
                <c:pt idx="87">
                  <c:v>Philadelphi</c:v>
                </c:pt>
                <c:pt idx="88">
                  <c:v>Casa Azzurr</c:v>
                </c:pt>
                <c:pt idx="89">
                  <c:v>Coeur De Li</c:v>
                </c:pt>
                <c:pt idx="90">
                  <c:v>Salakis</c:v>
                </c:pt>
                <c:pt idx="91">
                  <c:v>All Others</c:v>
                </c:pt>
                <c:pt idx="92">
                  <c:v>Caprice Des</c:v>
                </c:pt>
                <c:pt idx="93">
                  <c:v>Mini Babybe</c:v>
                </c:pt>
                <c:pt idx="94">
                  <c:v>Galbani</c:v>
                </c:pt>
                <c:pt idx="95">
                  <c:v>All Others</c:v>
                </c:pt>
                <c:pt idx="96">
                  <c:v>Caprice Des</c:v>
                </c:pt>
                <c:pt idx="97">
                  <c:v>Casa Azzurr</c:v>
                </c:pt>
                <c:pt idx="98">
                  <c:v>Salakis</c:v>
                </c:pt>
                <c:pt idx="99">
                  <c:v>Istara</c:v>
                </c:pt>
                <c:pt idx="100">
                  <c:v>Casa Azzurr</c:v>
                </c:pt>
                <c:pt idx="101">
                  <c:v>St Moret</c:v>
                </c:pt>
                <c:pt idx="102">
                  <c:v>Lactalis: A</c:v>
                </c:pt>
                <c:pt idx="103">
                  <c:v>All Others</c:v>
                </c:pt>
                <c:pt idx="104">
                  <c:v>La Vache Qu</c:v>
                </c:pt>
                <c:pt idx="105">
                  <c:v>President</c:v>
                </c:pt>
                <c:pt idx="106">
                  <c:v>Casa Azzurr</c:v>
                </c:pt>
                <c:pt idx="107">
                  <c:v>Le Rustique</c:v>
                </c:pt>
                <c:pt idx="108">
                  <c:v>All Others</c:v>
                </c:pt>
                <c:pt idx="109">
                  <c:v>Paysan Bret</c:v>
                </c:pt>
                <c:pt idx="110">
                  <c:v>Paysan Bret</c:v>
                </c:pt>
                <c:pt idx="111">
                  <c:v>Soignon</c:v>
                </c:pt>
                <c:pt idx="112">
                  <c:v>Paysan Bret</c:v>
                </c:pt>
                <c:pt idx="113">
                  <c:v>Casa Azzurr</c:v>
                </c:pt>
                <c:pt idx="114">
                  <c:v>Casa Azzurr</c:v>
                </c:pt>
                <c:pt idx="115">
                  <c:v>Tartare</c:v>
                </c:pt>
                <c:pt idx="116">
                  <c:v>President</c:v>
                </c:pt>
                <c:pt idx="117">
                  <c:v>Soignon</c:v>
                </c:pt>
                <c:pt idx="118">
                  <c:v>President</c:v>
                </c:pt>
                <c:pt idx="119">
                  <c:v>All Others</c:v>
                </c:pt>
                <c:pt idx="120">
                  <c:v>President</c:v>
                </c:pt>
                <c:pt idx="121">
                  <c:v>Caprice Des</c:v>
                </c:pt>
                <c:pt idx="122">
                  <c:v>Galbani</c:v>
                </c:pt>
                <c:pt idx="123">
                  <c:v>Soignon</c:v>
                </c:pt>
                <c:pt idx="124">
                  <c:v>All Others</c:v>
                </c:pt>
                <c:pt idx="125">
                  <c:v>Le Brebiou</c:v>
                </c:pt>
                <c:pt idx="126">
                  <c:v>Soignon</c:v>
                </c:pt>
                <c:pt idx="127">
                  <c:v>All Others</c:v>
                </c:pt>
                <c:pt idx="128">
                  <c:v>Paysan Bret</c:v>
                </c:pt>
                <c:pt idx="129">
                  <c:v>Galbani</c:v>
                </c:pt>
                <c:pt idx="130">
                  <c:v>Lactalis: A</c:v>
                </c:pt>
                <c:pt idx="131">
                  <c:v>Lactalis: A</c:v>
                </c:pt>
                <c:pt idx="132">
                  <c:v>Laita: All </c:v>
                </c:pt>
                <c:pt idx="133">
                  <c:v>Le Rustique</c:v>
                </c:pt>
                <c:pt idx="134">
                  <c:v>Savencia: A</c:v>
                </c:pt>
                <c:pt idx="135">
                  <c:v>All Others</c:v>
                </c:pt>
                <c:pt idx="136">
                  <c:v>All Others</c:v>
                </c:pt>
                <c:pt idx="137">
                  <c:v>Coeur De Li</c:v>
                </c:pt>
                <c:pt idx="138">
                  <c:v>All Others</c:v>
                </c:pt>
                <c:pt idx="139">
                  <c:v>All Others</c:v>
                </c:pt>
                <c:pt idx="140">
                  <c:v>Lactalis: A</c:v>
                </c:pt>
                <c:pt idx="141">
                  <c:v>All Others</c:v>
                </c:pt>
                <c:pt idx="142">
                  <c:v>Mini Babybe</c:v>
                </c:pt>
                <c:pt idx="143">
                  <c:v>Chavroux</c:v>
                </c:pt>
                <c:pt idx="144">
                  <c:v>Rondele</c:v>
                </c:pt>
                <c:pt idx="145">
                  <c:v>All Others</c:v>
                </c:pt>
                <c:pt idx="146">
                  <c:v>Galbani</c:v>
                </c:pt>
                <c:pt idx="147">
                  <c:v>Ficello</c:v>
                </c:pt>
                <c:pt idx="148">
                  <c:v>Galbani</c:v>
                </c:pt>
                <c:pt idx="149">
                  <c:v>All Others</c:v>
                </c:pt>
                <c:pt idx="150">
                  <c:v>All Others</c:v>
                </c:pt>
                <c:pt idx="151">
                  <c:v>All Others</c:v>
                </c:pt>
                <c:pt idx="152">
                  <c:v>President</c:v>
                </c:pt>
                <c:pt idx="153">
                  <c:v>La Vache Qu</c:v>
                </c:pt>
                <c:pt idx="154">
                  <c:v>Lou Perac</c:v>
                </c:pt>
                <c:pt idx="155">
                  <c:v>Chavroux</c:v>
                </c:pt>
                <c:pt idx="156">
                  <c:v>Etorki</c:v>
                </c:pt>
                <c:pt idx="157">
                  <c:v>All Others</c:v>
                </c:pt>
                <c:pt idx="158">
                  <c:v>Islos</c:v>
                </c:pt>
                <c:pt idx="159">
                  <c:v>President</c:v>
                </c:pt>
                <c:pt idx="160">
                  <c:v>Le Rustique</c:v>
                </c:pt>
                <c:pt idx="161">
                  <c:v>Boursin</c:v>
                </c:pt>
                <c:pt idx="162">
                  <c:v>All Others</c:v>
                </c:pt>
                <c:pt idx="163">
                  <c:v>President</c:v>
                </c:pt>
                <c:pt idx="164">
                  <c:v>Boursin</c:v>
                </c:pt>
                <c:pt idx="165">
                  <c:v>All Others</c:v>
                </c:pt>
                <c:pt idx="166">
                  <c:v>All Others</c:v>
                </c:pt>
                <c:pt idx="167">
                  <c:v>Caprice Des</c:v>
                </c:pt>
                <c:pt idx="168">
                  <c:v>All Others</c:v>
                </c:pt>
                <c:pt idx="169">
                  <c:v>Casa Azzurr</c:v>
                </c:pt>
                <c:pt idx="170">
                  <c:v>Soignon</c:v>
                </c:pt>
                <c:pt idx="171">
                  <c:v>Kiri</c:v>
                </c:pt>
                <c:pt idx="172">
                  <c:v>Soignon</c:v>
                </c:pt>
                <c:pt idx="173">
                  <c:v>Lactalis: A</c:v>
                </c:pt>
                <c:pt idx="174">
                  <c:v>Chavroux</c:v>
                </c:pt>
                <c:pt idx="175">
                  <c:v>All Others</c:v>
                </c:pt>
                <c:pt idx="176">
                  <c:v>All Others</c:v>
                </c:pt>
                <c:pt idx="177">
                  <c:v>Soignon</c:v>
                </c:pt>
                <c:pt idx="178">
                  <c:v>All Others</c:v>
                </c:pt>
                <c:pt idx="179">
                  <c:v>Casa Azzurr</c:v>
                </c:pt>
                <c:pt idx="180">
                  <c:v>Casa Azzurr</c:v>
                </c:pt>
                <c:pt idx="181">
                  <c:v>All Others</c:v>
                </c:pt>
                <c:pt idx="182">
                  <c:v>P'Tit Louis</c:v>
                </c:pt>
                <c:pt idx="183">
                  <c:v>Soignon</c:v>
                </c:pt>
                <c:pt idx="184">
                  <c:v>All Others</c:v>
                </c:pt>
                <c:pt idx="185">
                  <c:v>Mini Babybe</c:v>
                </c:pt>
                <c:pt idx="186">
                  <c:v>Lactalis: A</c:v>
                </c:pt>
                <c:pt idx="187">
                  <c:v>All Others</c:v>
                </c:pt>
                <c:pt idx="188">
                  <c:v>Paysan Bret</c:v>
                </c:pt>
                <c:pt idx="189">
                  <c:v>Caprice Des</c:v>
                </c:pt>
                <c:pt idx="190">
                  <c:v>All Others</c:v>
                </c:pt>
                <c:pt idx="191">
                  <c:v>All Others</c:v>
                </c:pt>
                <c:pt idx="192">
                  <c:v>Soignon</c:v>
                </c:pt>
                <c:pt idx="193">
                  <c:v>All Others</c:v>
                </c:pt>
                <c:pt idx="194">
                  <c:v>All Others</c:v>
                </c:pt>
                <c:pt idx="195">
                  <c:v>Boursin</c:v>
                </c:pt>
                <c:pt idx="196">
                  <c:v>Galbani</c:v>
                </c:pt>
                <c:pt idx="197">
                  <c:v>All Others</c:v>
                </c:pt>
                <c:pt idx="198">
                  <c:v>P'Tit Louis</c:v>
                </c:pt>
                <c:pt idx="199">
                  <c:v>Boursin</c:v>
                </c:pt>
                <c:pt idx="200">
                  <c:v>Boursin</c:v>
                </c:pt>
                <c:pt idx="201">
                  <c:v>All Others</c:v>
                </c:pt>
                <c:pt idx="202">
                  <c:v>Mini Babybe</c:v>
                </c:pt>
                <c:pt idx="203">
                  <c:v>All Others</c:v>
                </c:pt>
                <c:pt idx="204">
                  <c:v>Boursin</c:v>
                </c:pt>
                <c:pt idx="205">
                  <c:v>St Moret</c:v>
                </c:pt>
                <c:pt idx="206">
                  <c:v>President</c:v>
                </c:pt>
                <c:pt idx="207">
                  <c:v>Pave D'Affi</c:v>
                </c:pt>
                <c:pt idx="208">
                  <c:v>P'Tit Louis</c:v>
                </c:pt>
                <c:pt idx="209">
                  <c:v>La Vache Qu</c:v>
                </c:pt>
                <c:pt idx="210">
                  <c:v>Tartare</c:v>
                </c:pt>
                <c:pt idx="211">
                  <c:v>Galbani</c:v>
                </c:pt>
                <c:pt idx="212">
                  <c:v>All Others</c:v>
                </c:pt>
                <c:pt idx="213">
                  <c:v>Caprice Des</c:v>
                </c:pt>
                <c:pt idx="214">
                  <c:v>Lou Perac</c:v>
                </c:pt>
                <c:pt idx="215">
                  <c:v>Rondele</c:v>
                </c:pt>
                <c:pt idx="216">
                  <c:v>Tartare</c:v>
                </c:pt>
                <c:pt idx="217">
                  <c:v>All Others</c:v>
                </c:pt>
                <c:pt idx="218">
                  <c:v>Lactalis: A</c:v>
                </c:pt>
                <c:pt idx="219">
                  <c:v>All Others</c:v>
                </c:pt>
                <c:pt idx="220">
                  <c:v>Islos</c:v>
                </c:pt>
                <c:pt idx="221">
                  <c:v>Savencia: A</c:v>
                </c:pt>
                <c:pt idx="222">
                  <c:v>All Others</c:v>
                </c:pt>
                <c:pt idx="223">
                  <c:v>Tartare</c:v>
                </c:pt>
                <c:pt idx="224">
                  <c:v>All Others</c:v>
                </c:pt>
                <c:pt idx="225">
                  <c:v>All Others</c:v>
                </c:pt>
                <c:pt idx="226">
                  <c:v>Philadelphi</c:v>
                </c:pt>
                <c:pt idx="227">
                  <c:v>All Others</c:v>
                </c:pt>
                <c:pt idx="228">
                  <c:v>All Others</c:v>
                </c:pt>
                <c:pt idx="229">
                  <c:v>All Others</c:v>
                </c:pt>
                <c:pt idx="230">
                  <c:v>Ficello</c:v>
                </c:pt>
                <c:pt idx="231">
                  <c:v>All Others</c:v>
                </c:pt>
                <c:pt idx="232">
                  <c:v>Paysan Bret</c:v>
                </c:pt>
                <c:pt idx="233">
                  <c:v>Boursin</c:v>
                </c:pt>
                <c:pt idx="234">
                  <c:v>All Others</c:v>
                </c:pt>
                <c:pt idx="235">
                  <c:v>All Others</c:v>
                </c:pt>
                <c:pt idx="236">
                  <c:v>Soignon</c:v>
                </c:pt>
                <c:pt idx="237">
                  <c:v>Kiri</c:v>
                </c:pt>
                <c:pt idx="238">
                  <c:v>Salakis</c:v>
                </c:pt>
                <c:pt idx="239">
                  <c:v>All Others</c:v>
                </c:pt>
                <c:pt idx="240">
                  <c:v>All Others</c:v>
                </c:pt>
                <c:pt idx="241">
                  <c:v>Corsica</c:v>
                </c:pt>
                <c:pt idx="242">
                  <c:v>Tartare</c:v>
                </c:pt>
                <c:pt idx="243">
                  <c:v>Lou Perac</c:v>
                </c:pt>
                <c:pt idx="244">
                  <c:v>All Others</c:v>
                </c:pt>
                <c:pt idx="245">
                  <c:v>All Others</c:v>
                </c:pt>
                <c:pt idx="246">
                  <c:v>All Others</c:v>
                </c:pt>
                <c:pt idx="247">
                  <c:v>All Others</c:v>
                </c:pt>
                <c:pt idx="248">
                  <c:v>All Others</c:v>
                </c:pt>
                <c:pt idx="249">
                  <c:v>Boursin</c:v>
                </c:pt>
                <c:pt idx="250">
                  <c:v>All Others</c:v>
                </c:pt>
                <c:pt idx="251">
                  <c:v>All Others</c:v>
                </c:pt>
                <c:pt idx="252">
                  <c:v>Triballat N</c:v>
                </c:pt>
                <c:pt idx="253">
                  <c:v>All Others</c:v>
                </c:pt>
                <c:pt idx="254">
                  <c:v>Corsica</c:v>
                </c:pt>
                <c:pt idx="255">
                  <c:v>President</c:v>
                </c:pt>
                <c:pt idx="256">
                  <c:v>All Others</c:v>
                </c:pt>
                <c:pt idx="257">
                  <c:v>All Others</c:v>
                </c:pt>
                <c:pt idx="258">
                  <c:v>Boursin</c:v>
                </c:pt>
                <c:pt idx="259">
                  <c:v>All Others</c:v>
                </c:pt>
                <c:pt idx="260">
                  <c:v>Chavroux</c:v>
                </c:pt>
                <c:pt idx="261">
                  <c:v>All Others</c:v>
                </c:pt>
                <c:pt idx="262">
                  <c:v>All Others</c:v>
                </c:pt>
                <c:pt idx="263">
                  <c:v>All Others</c:v>
                </c:pt>
                <c:pt idx="264">
                  <c:v>All Others</c:v>
                </c:pt>
                <c:pt idx="265">
                  <c:v>All Others</c:v>
                </c:pt>
                <c:pt idx="266">
                  <c:v>Coeur De Li</c:v>
                </c:pt>
                <c:pt idx="267">
                  <c:v>All Others</c:v>
                </c:pt>
                <c:pt idx="268">
                  <c:v>Savencia: A</c:v>
                </c:pt>
                <c:pt idx="269">
                  <c:v>All Others</c:v>
                </c:pt>
                <c:pt idx="270">
                  <c:v>All Others</c:v>
                </c:pt>
                <c:pt idx="271">
                  <c:v>All Others</c:v>
                </c:pt>
                <c:pt idx="272">
                  <c:v>All Others</c:v>
                </c:pt>
                <c:pt idx="273">
                  <c:v>Paysan Bret</c:v>
                </c:pt>
                <c:pt idx="274">
                  <c:v>St Moret</c:v>
                </c:pt>
                <c:pt idx="275">
                  <c:v>All Others</c:v>
                </c:pt>
                <c:pt idx="276">
                  <c:v>All Others</c:v>
                </c:pt>
                <c:pt idx="277">
                  <c:v>All Others</c:v>
                </c:pt>
                <c:pt idx="278">
                  <c:v>Lou Perac</c:v>
                </c:pt>
                <c:pt idx="279">
                  <c:v>Etoile Du Q</c:v>
                </c:pt>
                <c:pt idx="280">
                  <c:v>President</c:v>
                </c:pt>
                <c:pt idx="281">
                  <c:v>All Others</c:v>
                </c:pt>
                <c:pt idx="282">
                  <c:v>All Others</c:v>
                </c:pt>
                <c:pt idx="283">
                  <c:v>All Others</c:v>
                </c:pt>
                <c:pt idx="284">
                  <c:v>Boursin</c:v>
                </c:pt>
                <c:pt idx="285">
                  <c:v>Istara</c:v>
                </c:pt>
                <c:pt idx="286">
                  <c:v>All Others</c:v>
                </c:pt>
                <c:pt idx="287">
                  <c:v>All Others</c:v>
                </c:pt>
                <c:pt idx="288">
                  <c:v>Etoile Du V</c:v>
                </c:pt>
                <c:pt idx="289">
                  <c:v>All Others</c:v>
                </c:pt>
                <c:pt idx="290">
                  <c:v>All Others</c:v>
                </c:pt>
                <c:pt idx="291">
                  <c:v>Eurial Autr</c:v>
                </c:pt>
                <c:pt idx="292">
                  <c:v>Casa Azzurr</c:v>
                </c:pt>
                <c:pt idx="293">
                  <c:v>All Others</c:v>
                </c:pt>
                <c:pt idx="294">
                  <c:v>All Others</c:v>
                </c:pt>
                <c:pt idx="295">
                  <c:v>Saint Agur</c:v>
                </c:pt>
                <c:pt idx="296">
                  <c:v>Salakis</c:v>
                </c:pt>
                <c:pt idx="297">
                  <c:v>All Others</c:v>
                </c:pt>
                <c:pt idx="298">
                  <c:v>Kiri</c:v>
                </c:pt>
                <c:pt idx="299">
                  <c:v>All Others</c:v>
                </c:pt>
                <c:pt idx="300">
                  <c:v>All Others</c:v>
                </c:pt>
                <c:pt idx="301">
                  <c:v>All Others</c:v>
                </c:pt>
                <c:pt idx="302">
                  <c:v>Boursin</c:v>
                </c:pt>
                <c:pt idx="303">
                  <c:v>All Others</c:v>
                </c:pt>
                <c:pt idx="304">
                  <c:v>Milleret: A</c:v>
                </c:pt>
                <c:pt idx="305">
                  <c:v>Triballat R</c:v>
                </c:pt>
                <c:pt idx="306">
                  <c:v>All Others</c:v>
                </c:pt>
                <c:pt idx="307">
                  <c:v>All Others</c:v>
                </c:pt>
                <c:pt idx="308">
                  <c:v>All Others</c:v>
                </c:pt>
                <c:pt idx="309">
                  <c:v>All Others</c:v>
                </c:pt>
                <c:pt idx="310">
                  <c:v>All Others</c:v>
                </c:pt>
                <c:pt idx="311">
                  <c:v>All Others</c:v>
                </c:pt>
                <c:pt idx="312">
                  <c:v>St Moret</c:v>
                </c:pt>
                <c:pt idx="313">
                  <c:v>Savencia: A</c:v>
                </c:pt>
                <c:pt idx="314">
                  <c:v>Mini Babybe</c:v>
                </c:pt>
                <c:pt idx="315">
                  <c:v>All Others</c:v>
                </c:pt>
                <c:pt idx="316">
                  <c:v>All Others</c:v>
                </c:pt>
                <c:pt idx="317">
                  <c:v>All Others</c:v>
                </c:pt>
                <c:pt idx="318">
                  <c:v>All Others</c:v>
                </c:pt>
                <c:pt idx="319">
                  <c:v>Triballat R</c:v>
                </c:pt>
                <c:pt idx="320">
                  <c:v>All Others</c:v>
                </c:pt>
                <c:pt idx="321">
                  <c:v>All Others</c:v>
                </c:pt>
                <c:pt idx="322">
                  <c:v>Etoile Du Q</c:v>
                </c:pt>
                <c:pt idx="323">
                  <c:v>All Others</c:v>
                </c:pt>
                <c:pt idx="324">
                  <c:v>All Others</c:v>
                </c:pt>
                <c:pt idx="325">
                  <c:v>All Others</c:v>
                </c:pt>
                <c:pt idx="326">
                  <c:v>Boursin</c:v>
                </c:pt>
                <c:pt idx="327">
                  <c:v>All Others</c:v>
                </c:pt>
                <c:pt idx="328">
                  <c:v>All Others</c:v>
                </c:pt>
                <c:pt idx="329">
                  <c:v>All Others</c:v>
                </c:pt>
                <c:pt idx="330">
                  <c:v>All Others</c:v>
                </c:pt>
                <c:pt idx="331">
                  <c:v>All Others</c:v>
                </c:pt>
                <c:pt idx="332">
                  <c:v>All Others</c:v>
                </c:pt>
                <c:pt idx="333">
                  <c:v>Saint Agur</c:v>
                </c:pt>
                <c:pt idx="334">
                  <c:v>All Others</c:v>
                </c:pt>
                <c:pt idx="335">
                  <c:v>Lactalis: A</c:v>
                </c:pt>
                <c:pt idx="336">
                  <c:v>Savencia: A</c:v>
                </c:pt>
                <c:pt idx="337">
                  <c:v>Savencia: A</c:v>
                </c:pt>
                <c:pt idx="338">
                  <c:v>Etoile Du V</c:v>
                </c:pt>
                <c:pt idx="339">
                  <c:v>All Others</c:v>
                </c:pt>
                <c:pt idx="340">
                  <c:v>All Others</c:v>
                </c:pt>
                <c:pt idx="341">
                  <c:v>All Others</c:v>
                </c:pt>
                <c:pt idx="342">
                  <c:v>All Others</c:v>
                </c:pt>
                <c:pt idx="343">
                  <c:v>Triballat N</c:v>
                </c:pt>
                <c:pt idx="344">
                  <c:v>Lactalis: A</c:v>
                </c:pt>
                <c:pt idx="345">
                  <c:v>Soignon</c:v>
                </c:pt>
                <c:pt idx="346">
                  <c:v>All Others</c:v>
                </c:pt>
                <c:pt idx="347">
                  <c:v>All Others</c:v>
                </c:pt>
                <c:pt idx="348">
                  <c:v>All Others</c:v>
                </c:pt>
                <c:pt idx="349">
                  <c:v>All Others</c:v>
                </c:pt>
                <c:pt idx="350">
                  <c:v>All Others</c:v>
                </c:pt>
                <c:pt idx="351">
                  <c:v>All Others</c:v>
                </c:pt>
                <c:pt idx="352">
                  <c:v>Etoile Du Q</c:v>
                </c:pt>
                <c:pt idx="353">
                  <c:v>All Others</c:v>
                </c:pt>
                <c:pt idx="354">
                  <c:v>All Others</c:v>
                </c:pt>
                <c:pt idx="355">
                  <c:v>All Others</c:v>
                </c:pt>
                <c:pt idx="356">
                  <c:v>All Others</c:v>
                </c:pt>
                <c:pt idx="357">
                  <c:v>All Others</c:v>
                </c:pt>
                <c:pt idx="358">
                  <c:v>All Others</c:v>
                </c:pt>
                <c:pt idx="359">
                  <c:v>All Others</c:v>
                </c:pt>
                <c:pt idx="360">
                  <c:v>Triballat N</c:v>
                </c:pt>
                <c:pt idx="361">
                  <c:v>All Others</c:v>
                </c:pt>
                <c:pt idx="362">
                  <c:v>Casa Azzurr</c:v>
                </c:pt>
                <c:pt idx="363">
                  <c:v>Tartare</c:v>
                </c:pt>
                <c:pt idx="364">
                  <c:v>All Others</c:v>
                </c:pt>
                <c:pt idx="365">
                  <c:v>All Others</c:v>
                </c:pt>
                <c:pt idx="366">
                  <c:v>All Others</c:v>
                </c:pt>
                <c:pt idx="367">
                  <c:v>All Others</c:v>
                </c:pt>
                <c:pt idx="368">
                  <c:v>Eurial Autr</c:v>
                </c:pt>
                <c:pt idx="369">
                  <c:v>All Others</c:v>
                </c:pt>
                <c:pt idx="370">
                  <c:v>All Others</c:v>
                </c:pt>
                <c:pt idx="371">
                  <c:v>All Others</c:v>
                </c:pt>
                <c:pt idx="372">
                  <c:v>All Others</c:v>
                </c:pt>
                <c:pt idx="373">
                  <c:v>All Others</c:v>
                </c:pt>
                <c:pt idx="374">
                  <c:v>Lactalis: A</c:v>
                </c:pt>
                <c:pt idx="375">
                  <c:v>Private Lab</c:v>
                </c:pt>
                <c:pt idx="376">
                  <c:v>All Others</c:v>
                </c:pt>
                <c:pt idx="377">
                  <c:v>All Others</c:v>
                </c:pt>
                <c:pt idx="378">
                  <c:v>Paysan Bret</c:v>
                </c:pt>
                <c:pt idx="379">
                  <c:v>Philadelphi</c:v>
                </c:pt>
                <c:pt idx="380">
                  <c:v>All Others</c:v>
                </c:pt>
                <c:pt idx="381">
                  <c:v>Boursin</c:v>
                </c:pt>
                <c:pt idx="382">
                  <c:v>All Others</c:v>
                </c:pt>
                <c:pt idx="383">
                  <c:v>All Others</c:v>
                </c:pt>
                <c:pt idx="384">
                  <c:v>All Others</c:v>
                </c:pt>
                <c:pt idx="385">
                  <c:v>Tartare</c:v>
                </c:pt>
                <c:pt idx="386">
                  <c:v>All Others</c:v>
                </c:pt>
                <c:pt idx="387">
                  <c:v>All Others</c:v>
                </c:pt>
                <c:pt idx="388">
                  <c:v>Boursin</c:v>
                </c:pt>
                <c:pt idx="389">
                  <c:v>All Others</c:v>
                </c:pt>
                <c:pt idx="390">
                  <c:v>Savencia: A</c:v>
                </c:pt>
                <c:pt idx="391">
                  <c:v>All Others</c:v>
                </c:pt>
                <c:pt idx="392">
                  <c:v>All Others</c:v>
                </c:pt>
                <c:pt idx="393">
                  <c:v>All Others</c:v>
                </c:pt>
                <c:pt idx="394">
                  <c:v>All Others</c:v>
                </c:pt>
                <c:pt idx="395">
                  <c:v>All Others</c:v>
                </c:pt>
                <c:pt idx="396">
                  <c:v>All Others</c:v>
                </c:pt>
                <c:pt idx="397">
                  <c:v>Etoile Du V</c:v>
                </c:pt>
                <c:pt idx="398">
                  <c:v>All Others</c:v>
                </c:pt>
                <c:pt idx="399">
                  <c:v>All Others</c:v>
                </c:pt>
                <c:pt idx="400">
                  <c:v>Etoile Du V</c:v>
                </c:pt>
                <c:pt idx="401">
                  <c:v>Salakis</c:v>
                </c:pt>
                <c:pt idx="402">
                  <c:v>Soignon</c:v>
                </c:pt>
                <c:pt idx="403">
                  <c:v>All Others</c:v>
                </c:pt>
                <c:pt idx="404">
                  <c:v>All Others</c:v>
                </c:pt>
                <c:pt idx="405">
                  <c:v>Lactalis: A</c:v>
                </c:pt>
                <c:pt idx="406">
                  <c:v>All Others</c:v>
                </c:pt>
                <c:pt idx="407">
                  <c:v>All Others</c:v>
                </c:pt>
                <c:pt idx="408">
                  <c:v>All Others</c:v>
                </c:pt>
                <c:pt idx="409">
                  <c:v>All Others</c:v>
                </c:pt>
                <c:pt idx="410">
                  <c:v>Etoile Du V</c:v>
                </c:pt>
                <c:pt idx="411">
                  <c:v>Etoile Du V</c:v>
                </c:pt>
                <c:pt idx="412">
                  <c:v>All Others</c:v>
                </c:pt>
                <c:pt idx="413">
                  <c:v>Etoile Du Q</c:v>
                </c:pt>
                <c:pt idx="414">
                  <c:v>All Others</c:v>
                </c:pt>
                <c:pt idx="415">
                  <c:v>Triballat R</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Milleret: A</c:v>
                </c:pt>
                <c:pt idx="430">
                  <c:v>Lactalis: A</c:v>
                </c:pt>
                <c:pt idx="431">
                  <c:v>Lactalis: A</c:v>
                </c:pt>
                <c:pt idx="432">
                  <c:v>Salakis</c:v>
                </c:pt>
                <c:pt idx="433">
                  <c:v>All Others</c:v>
                </c:pt>
                <c:pt idx="434">
                  <c:v>All Others</c:v>
                </c:pt>
                <c:pt idx="435">
                  <c:v>Triballat N</c:v>
                </c:pt>
                <c:pt idx="436">
                  <c:v>All Others</c:v>
                </c:pt>
                <c:pt idx="437">
                  <c:v>Boursin</c:v>
                </c:pt>
                <c:pt idx="438">
                  <c:v>All Others</c:v>
                </c:pt>
                <c:pt idx="439">
                  <c:v>All Others</c:v>
                </c:pt>
                <c:pt idx="440">
                  <c:v>All Others</c:v>
                </c:pt>
                <c:pt idx="441">
                  <c:v>All Others</c:v>
                </c:pt>
                <c:pt idx="442">
                  <c:v>All Others</c:v>
                </c:pt>
                <c:pt idx="443">
                  <c:v>Tartare</c:v>
                </c:pt>
                <c:pt idx="444">
                  <c:v>All Others</c:v>
                </c:pt>
                <c:pt idx="445">
                  <c:v>La Vache Qu</c:v>
                </c:pt>
                <c:pt idx="446">
                  <c:v>All Others</c:v>
                </c:pt>
                <c:pt idx="447">
                  <c:v>All Others</c:v>
                </c:pt>
                <c:pt idx="448">
                  <c:v>All Others</c:v>
                </c:pt>
                <c:pt idx="449">
                  <c:v>All Others</c:v>
                </c:pt>
                <c:pt idx="450">
                  <c:v>All Others</c:v>
                </c:pt>
                <c:pt idx="451">
                  <c:v>All Others</c:v>
                </c:pt>
                <c:pt idx="452">
                  <c:v>All Others</c:v>
                </c:pt>
                <c:pt idx="453">
                  <c:v>All Others</c:v>
                </c:pt>
                <c:pt idx="454">
                  <c:v>Tartare</c:v>
                </c:pt>
                <c:pt idx="455">
                  <c:v>All Others</c:v>
                </c:pt>
                <c:pt idx="456">
                  <c:v>All Others</c:v>
                </c:pt>
                <c:pt idx="457">
                  <c:v>All Others</c:v>
                </c:pt>
                <c:pt idx="458">
                  <c:v>All Others</c:v>
                </c:pt>
                <c:pt idx="459">
                  <c:v>Islos</c:v>
                </c:pt>
                <c:pt idx="460">
                  <c:v>All Others</c:v>
                </c:pt>
                <c:pt idx="461">
                  <c:v>All Others</c:v>
                </c:pt>
                <c:pt idx="462">
                  <c:v>All Others</c:v>
                </c:pt>
                <c:pt idx="463">
                  <c:v>All Others</c:v>
                </c:pt>
                <c:pt idx="464">
                  <c:v>Triballat N</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Casa Azzurr</c:v>
                </c:pt>
                <c:pt idx="484">
                  <c:v>All Others</c:v>
                </c:pt>
                <c:pt idx="485">
                  <c:v>All Others</c:v>
                </c:pt>
                <c:pt idx="486">
                  <c:v>All Others</c:v>
                </c:pt>
                <c:pt idx="487">
                  <c:v>All Others</c:v>
                </c:pt>
                <c:pt idx="488">
                  <c:v>All Others</c:v>
                </c:pt>
                <c:pt idx="489">
                  <c:v>Eurial Autr</c:v>
                </c:pt>
                <c:pt idx="490">
                  <c:v>All Others</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All Others</c:v>
                </c:pt>
                <c:pt idx="503">
                  <c:v>All Others</c:v>
                </c:pt>
                <c:pt idx="504">
                  <c:v>All Others</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All Others</c:v>
                </c:pt>
                <c:pt idx="531">
                  <c:v>Triballat R</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All Others</c:v>
                </c:pt>
                <c:pt idx="542">
                  <c:v>All Others</c:v>
                </c:pt>
                <c:pt idx="543">
                  <c:v>Kiri</c:v>
                </c:pt>
                <c:pt idx="544">
                  <c:v>All Others</c:v>
                </c:pt>
                <c:pt idx="545">
                  <c:v>All Others</c:v>
                </c:pt>
                <c:pt idx="546">
                  <c:v>All Others</c:v>
                </c:pt>
                <c:pt idx="547">
                  <c:v>All Others</c:v>
                </c:pt>
                <c:pt idx="548">
                  <c:v>All Others</c:v>
                </c:pt>
                <c:pt idx="549">
                  <c:v>All Others</c:v>
                </c:pt>
                <c:pt idx="550">
                  <c:v>All Others</c:v>
                </c:pt>
                <c:pt idx="551">
                  <c:v>All Others</c:v>
                </c:pt>
                <c:pt idx="552">
                  <c:v>All Others</c:v>
                </c:pt>
                <c:pt idx="553">
                  <c:v>Triballat N</c:v>
                </c:pt>
                <c:pt idx="554">
                  <c:v>Mini Babybe</c:v>
                </c:pt>
                <c:pt idx="555">
                  <c:v>Lactalis: A</c:v>
                </c:pt>
                <c:pt idx="556">
                  <c:v>All Others</c:v>
                </c:pt>
                <c:pt idx="557">
                  <c:v>All Others</c:v>
                </c:pt>
                <c:pt idx="558">
                  <c:v>All Others</c:v>
                </c:pt>
                <c:pt idx="559">
                  <c:v>All Others</c:v>
                </c:pt>
                <c:pt idx="560">
                  <c:v>All Others</c:v>
                </c:pt>
                <c:pt idx="561">
                  <c:v>Triballat R</c:v>
                </c:pt>
                <c:pt idx="562">
                  <c:v>Lactalis: A</c:v>
                </c:pt>
                <c:pt idx="563">
                  <c:v>All Others</c:v>
                </c:pt>
                <c:pt idx="564">
                  <c:v>All Others</c:v>
                </c:pt>
                <c:pt idx="565">
                  <c:v>All Others</c:v>
                </c:pt>
                <c:pt idx="566">
                  <c:v>All Others</c:v>
                </c:pt>
                <c:pt idx="567">
                  <c:v>All Others</c:v>
                </c:pt>
                <c:pt idx="568">
                  <c:v>All Others</c:v>
                </c:pt>
                <c:pt idx="569">
                  <c:v>All Others</c:v>
                </c:pt>
                <c:pt idx="570">
                  <c:v>All Others</c:v>
                </c:pt>
                <c:pt idx="571">
                  <c:v>All Others</c:v>
                </c:pt>
                <c:pt idx="572">
                  <c:v>All Others</c:v>
                </c:pt>
                <c:pt idx="573">
                  <c:v>All Others</c:v>
                </c:pt>
                <c:pt idx="574">
                  <c:v>Soignon</c:v>
                </c:pt>
                <c:pt idx="575">
                  <c:v>All Others</c:v>
                </c:pt>
                <c:pt idx="576">
                  <c:v>Eurial Autr</c:v>
                </c:pt>
                <c:pt idx="577">
                  <c:v>All Others</c:v>
                </c:pt>
                <c:pt idx="578">
                  <c:v>All Others</c:v>
                </c:pt>
                <c:pt idx="579">
                  <c:v>All Others</c:v>
                </c:pt>
                <c:pt idx="580">
                  <c:v>All Others</c:v>
                </c:pt>
                <c:pt idx="581">
                  <c:v>All Others</c:v>
                </c:pt>
                <c:pt idx="582">
                  <c:v>All Others</c:v>
                </c:pt>
                <c:pt idx="583">
                  <c:v>All Others</c:v>
                </c:pt>
                <c:pt idx="584">
                  <c:v>All Others</c:v>
                </c:pt>
                <c:pt idx="585">
                  <c:v>All Others</c:v>
                </c:pt>
                <c:pt idx="586">
                  <c:v>All Others</c:v>
                </c:pt>
                <c:pt idx="587">
                  <c:v>All Others</c:v>
                </c:pt>
                <c:pt idx="588">
                  <c:v>All Others</c:v>
                </c:pt>
                <c:pt idx="589">
                  <c:v>All Others</c:v>
                </c:pt>
                <c:pt idx="590">
                  <c:v>All Others</c:v>
                </c:pt>
                <c:pt idx="591">
                  <c:v>All Others</c:v>
                </c:pt>
                <c:pt idx="592">
                  <c:v>All Others</c:v>
                </c:pt>
                <c:pt idx="593">
                  <c:v>All Others</c:v>
                </c:pt>
                <c:pt idx="594">
                  <c:v>All Others</c:v>
                </c:pt>
                <c:pt idx="595">
                  <c:v>All Others</c:v>
                </c:pt>
                <c:pt idx="596">
                  <c:v>All Others</c:v>
                </c:pt>
                <c:pt idx="597">
                  <c:v>President</c:v>
                </c:pt>
                <c:pt idx="598">
                  <c:v>Lou Perac</c:v>
                </c:pt>
                <c:pt idx="599">
                  <c:v>All Others</c:v>
                </c:pt>
                <c:pt idx="600">
                  <c:v>All Others</c:v>
                </c:pt>
                <c:pt idx="601">
                  <c:v>All Others</c:v>
                </c:pt>
                <c:pt idx="602">
                  <c:v>All Others</c:v>
                </c:pt>
                <c:pt idx="603">
                  <c:v>All Others</c:v>
                </c:pt>
                <c:pt idx="604">
                  <c:v>All Others</c:v>
                </c:pt>
                <c:pt idx="605">
                  <c:v>All Others</c:v>
                </c:pt>
                <c:pt idx="606">
                  <c:v>Lactalis: A</c:v>
                </c:pt>
                <c:pt idx="607">
                  <c:v>All Others</c:v>
                </c:pt>
                <c:pt idx="608">
                  <c:v>All Others</c:v>
                </c:pt>
                <c:pt idx="609">
                  <c:v>All Others</c:v>
                </c:pt>
                <c:pt idx="610">
                  <c:v>All Others</c:v>
                </c:pt>
                <c:pt idx="611">
                  <c:v>All Others</c:v>
                </c:pt>
                <c:pt idx="612">
                  <c:v>All Others</c:v>
                </c:pt>
                <c:pt idx="613">
                  <c:v>All Others</c:v>
                </c:pt>
                <c:pt idx="614">
                  <c:v>All Others</c:v>
                </c:pt>
                <c:pt idx="615">
                  <c:v>All Others</c:v>
                </c:pt>
                <c:pt idx="616">
                  <c:v>All Others</c:v>
                </c:pt>
                <c:pt idx="617">
                  <c:v>All Others</c:v>
                </c:pt>
                <c:pt idx="618">
                  <c:v>All Others</c:v>
                </c:pt>
                <c:pt idx="619">
                  <c:v>All Others</c:v>
                </c:pt>
                <c:pt idx="620">
                  <c:v>All Others</c:v>
                </c:pt>
                <c:pt idx="621">
                  <c:v>Eurial Autr</c:v>
                </c:pt>
                <c:pt idx="622">
                  <c:v>All Others</c:v>
                </c:pt>
                <c:pt idx="623">
                  <c:v>All Others</c:v>
                </c:pt>
                <c:pt idx="624">
                  <c:v>Eurial Autr</c:v>
                </c:pt>
                <c:pt idx="625">
                  <c:v>All Others</c:v>
                </c:pt>
                <c:pt idx="626">
                  <c:v>All Others</c:v>
                </c:pt>
                <c:pt idx="627">
                  <c:v>All Others</c:v>
                </c:pt>
                <c:pt idx="628">
                  <c:v>All Others</c:v>
                </c:pt>
                <c:pt idx="629">
                  <c:v>All Others</c:v>
                </c:pt>
                <c:pt idx="630">
                  <c:v>Savencia: A</c:v>
                </c:pt>
                <c:pt idx="631">
                  <c:v>All Others</c:v>
                </c:pt>
                <c:pt idx="632">
                  <c:v>All Others</c:v>
                </c:pt>
                <c:pt idx="633">
                  <c:v>Milleret: A</c:v>
                </c:pt>
                <c:pt idx="634">
                  <c:v>All Others</c:v>
                </c:pt>
                <c:pt idx="635">
                  <c:v>All Others</c:v>
                </c:pt>
                <c:pt idx="636">
                  <c:v>All Others</c:v>
                </c:pt>
                <c:pt idx="637">
                  <c:v>Lactalis: A</c:v>
                </c:pt>
                <c:pt idx="638">
                  <c:v>All Others</c:v>
                </c:pt>
                <c:pt idx="639">
                  <c:v>All Others</c:v>
                </c:pt>
                <c:pt idx="640">
                  <c:v>All Others</c:v>
                </c:pt>
                <c:pt idx="641">
                  <c:v>All Others</c:v>
                </c:pt>
                <c:pt idx="642">
                  <c:v>All Others</c:v>
                </c:pt>
                <c:pt idx="643">
                  <c:v>All Others</c:v>
                </c:pt>
                <c:pt idx="644">
                  <c:v>Lactalis: A</c:v>
                </c:pt>
                <c:pt idx="645">
                  <c:v>All Others</c:v>
                </c:pt>
                <c:pt idx="646">
                  <c:v>All Others</c:v>
                </c:pt>
                <c:pt idx="647">
                  <c:v>All Others</c:v>
                </c:pt>
                <c:pt idx="648">
                  <c:v>All Others</c:v>
                </c:pt>
                <c:pt idx="649">
                  <c:v>All Others</c:v>
                </c:pt>
                <c:pt idx="650">
                  <c:v>All Others</c:v>
                </c:pt>
                <c:pt idx="651">
                  <c:v>All Others</c:v>
                </c:pt>
                <c:pt idx="652">
                  <c:v>All Others</c:v>
                </c:pt>
                <c:pt idx="653">
                  <c:v>All Others</c:v>
                </c:pt>
                <c:pt idx="654">
                  <c:v>All Others</c:v>
                </c:pt>
                <c:pt idx="655">
                  <c:v>All Others</c:v>
                </c:pt>
                <c:pt idx="656">
                  <c:v>All Others</c:v>
                </c:pt>
                <c:pt idx="657">
                  <c:v>Corsica</c:v>
                </c:pt>
                <c:pt idx="658">
                  <c:v>All Others</c:v>
                </c:pt>
                <c:pt idx="659">
                  <c:v>All Others</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Savencia: A</c:v>
                </c:pt>
                <c:pt idx="671">
                  <c:v>All Others</c:v>
                </c:pt>
                <c:pt idx="672">
                  <c:v>All Others</c:v>
                </c:pt>
                <c:pt idx="673">
                  <c:v>All Others</c:v>
                </c:pt>
                <c:pt idx="674">
                  <c:v>All Others</c:v>
                </c:pt>
                <c:pt idx="675">
                  <c:v>All Others</c:v>
                </c:pt>
                <c:pt idx="676">
                  <c:v>All Others</c:v>
                </c:pt>
                <c:pt idx="677">
                  <c:v>All Others</c:v>
                </c:pt>
                <c:pt idx="678">
                  <c:v>Kiri</c:v>
                </c:pt>
                <c:pt idx="679">
                  <c:v>All Others</c:v>
                </c:pt>
                <c:pt idx="680">
                  <c:v>All Others</c:v>
                </c:pt>
                <c:pt idx="681">
                  <c:v>All Others</c:v>
                </c:pt>
                <c:pt idx="682">
                  <c:v>All Others</c:v>
                </c:pt>
                <c:pt idx="683">
                  <c:v>Savencia: A</c:v>
                </c:pt>
                <c:pt idx="684">
                  <c:v>All Others</c:v>
                </c:pt>
                <c:pt idx="685">
                  <c:v>All Others</c:v>
                </c:pt>
                <c:pt idx="686">
                  <c:v>All Others</c:v>
                </c:pt>
                <c:pt idx="687">
                  <c:v>All Others</c:v>
                </c:pt>
                <c:pt idx="688">
                  <c:v>Etorki</c:v>
                </c:pt>
                <c:pt idx="689">
                  <c:v>All Others</c:v>
                </c:pt>
                <c:pt idx="690">
                  <c:v>All Others</c:v>
                </c:pt>
                <c:pt idx="691">
                  <c:v>All Others</c:v>
                </c:pt>
                <c:pt idx="692">
                  <c:v>All Others</c:v>
                </c:pt>
                <c:pt idx="693">
                  <c:v>All Others</c:v>
                </c:pt>
                <c:pt idx="694">
                  <c:v>All Others</c:v>
                </c:pt>
                <c:pt idx="695">
                  <c:v>All Others</c:v>
                </c:pt>
                <c:pt idx="696">
                  <c:v>All Others</c:v>
                </c:pt>
                <c:pt idx="697">
                  <c:v>All Others</c:v>
                </c:pt>
                <c:pt idx="698">
                  <c:v>All Others</c:v>
                </c:pt>
                <c:pt idx="699">
                  <c:v>All Others</c:v>
                </c:pt>
                <c:pt idx="700">
                  <c:v>All Others</c:v>
                </c:pt>
                <c:pt idx="701">
                  <c:v>All Others</c:v>
                </c:pt>
                <c:pt idx="702">
                  <c:v>Caprice Des</c:v>
                </c:pt>
                <c:pt idx="703">
                  <c:v>All Others</c:v>
                </c:pt>
                <c:pt idx="704">
                  <c:v>All Others</c:v>
                </c:pt>
                <c:pt idx="705">
                  <c:v>All Others</c:v>
                </c:pt>
                <c:pt idx="706">
                  <c:v>All Others</c:v>
                </c:pt>
                <c:pt idx="707">
                  <c:v>All Others</c:v>
                </c:pt>
                <c:pt idx="708">
                  <c:v>All Others</c:v>
                </c:pt>
                <c:pt idx="709">
                  <c:v>All Others</c:v>
                </c:pt>
                <c:pt idx="710">
                  <c:v>All Others</c:v>
                </c:pt>
                <c:pt idx="711">
                  <c:v>All Others</c:v>
                </c:pt>
                <c:pt idx="712">
                  <c:v>All Others</c:v>
                </c:pt>
                <c:pt idx="713">
                  <c:v>All Others</c:v>
                </c:pt>
                <c:pt idx="714">
                  <c:v>All Others</c:v>
                </c:pt>
                <c:pt idx="715">
                  <c:v>All Others</c:v>
                </c:pt>
                <c:pt idx="716">
                  <c:v>All Others</c:v>
                </c:pt>
                <c:pt idx="717">
                  <c:v>All Others</c:v>
                </c:pt>
                <c:pt idx="718">
                  <c:v>All Others</c:v>
                </c:pt>
                <c:pt idx="719">
                  <c:v>All Others</c:v>
                </c:pt>
                <c:pt idx="720">
                  <c:v>All Others</c:v>
                </c:pt>
                <c:pt idx="721">
                  <c:v>Petit Billy</c:v>
                </c:pt>
                <c:pt idx="722">
                  <c:v>All Others</c:v>
                </c:pt>
                <c:pt idx="723">
                  <c:v>Mini Babybe</c:v>
                </c:pt>
                <c:pt idx="724">
                  <c:v>All Others</c:v>
                </c:pt>
                <c:pt idx="725">
                  <c:v>All Others</c:v>
                </c:pt>
                <c:pt idx="726">
                  <c:v>All Others</c:v>
                </c:pt>
                <c:pt idx="727">
                  <c:v>All Others</c:v>
                </c:pt>
                <c:pt idx="728">
                  <c:v>Soignon</c:v>
                </c:pt>
                <c:pt idx="729">
                  <c:v>All Others</c:v>
                </c:pt>
                <c:pt idx="730">
                  <c:v>Soignon</c:v>
                </c:pt>
                <c:pt idx="731">
                  <c:v>Mini Babybe</c:v>
                </c:pt>
                <c:pt idx="732">
                  <c:v>All Others</c:v>
                </c:pt>
                <c:pt idx="733">
                  <c:v>All Others</c:v>
                </c:pt>
                <c:pt idx="734">
                  <c:v>All Others</c:v>
                </c:pt>
                <c:pt idx="735">
                  <c:v>All Others</c:v>
                </c:pt>
                <c:pt idx="736">
                  <c:v>La Vache Qu</c:v>
                </c:pt>
                <c:pt idx="737">
                  <c:v>All Others</c:v>
                </c:pt>
                <c:pt idx="738">
                  <c:v>All Others</c:v>
                </c:pt>
                <c:pt idx="739">
                  <c:v>All Others</c:v>
                </c:pt>
                <c:pt idx="740">
                  <c:v>All Others</c:v>
                </c:pt>
                <c:pt idx="741">
                  <c:v>All Others</c:v>
                </c:pt>
                <c:pt idx="742">
                  <c:v>All Others</c:v>
                </c:pt>
                <c:pt idx="743">
                  <c:v>All Others</c:v>
                </c:pt>
                <c:pt idx="744">
                  <c:v>Eurial Autr</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All Others</c:v>
                </c:pt>
                <c:pt idx="756">
                  <c:v>All Others</c:v>
                </c:pt>
                <c:pt idx="757">
                  <c:v>All Others</c:v>
                </c:pt>
                <c:pt idx="758">
                  <c:v>All Others</c:v>
                </c:pt>
                <c:pt idx="759">
                  <c:v>All Others</c:v>
                </c:pt>
                <c:pt idx="760">
                  <c:v>All Others</c:v>
                </c:pt>
                <c:pt idx="761">
                  <c:v>All Others</c:v>
                </c:pt>
                <c:pt idx="762">
                  <c:v>President</c:v>
                </c:pt>
                <c:pt idx="763">
                  <c:v>All Others</c:v>
                </c:pt>
                <c:pt idx="764">
                  <c:v>All Others</c:v>
                </c:pt>
                <c:pt idx="765">
                  <c:v>All Others</c:v>
                </c:pt>
                <c:pt idx="766">
                  <c:v>All Others</c:v>
                </c:pt>
                <c:pt idx="767">
                  <c:v>All Others</c:v>
                </c:pt>
                <c:pt idx="768">
                  <c:v>All Others</c:v>
                </c:pt>
                <c:pt idx="769">
                  <c:v>All Others</c:v>
                </c:pt>
                <c:pt idx="770">
                  <c:v>Triballat R</c:v>
                </c:pt>
                <c:pt idx="771">
                  <c:v>All Others</c:v>
                </c:pt>
                <c:pt idx="772">
                  <c:v>All Others</c:v>
                </c:pt>
                <c:pt idx="773">
                  <c:v>All Others</c:v>
                </c:pt>
                <c:pt idx="774">
                  <c:v>Triballat R</c:v>
                </c:pt>
                <c:pt idx="775">
                  <c:v>All Others</c:v>
                </c:pt>
                <c:pt idx="776">
                  <c:v>Eurial Autr</c:v>
                </c:pt>
                <c:pt idx="777">
                  <c:v>All Others</c:v>
                </c:pt>
                <c:pt idx="778">
                  <c:v>Lactalis: A</c:v>
                </c:pt>
                <c:pt idx="779">
                  <c:v>All Others</c:v>
                </c:pt>
                <c:pt idx="780">
                  <c:v>All Others</c:v>
                </c:pt>
                <c:pt idx="781">
                  <c:v>All Others</c:v>
                </c:pt>
                <c:pt idx="782">
                  <c:v>All Others</c:v>
                </c:pt>
                <c:pt idx="783">
                  <c:v>Lactalis: A</c:v>
                </c:pt>
                <c:pt idx="784">
                  <c:v>All Others</c:v>
                </c:pt>
                <c:pt idx="785">
                  <c:v>All Others</c:v>
                </c:pt>
                <c:pt idx="786">
                  <c:v>All Others</c:v>
                </c:pt>
                <c:pt idx="787">
                  <c:v>All Others</c:v>
                </c:pt>
                <c:pt idx="788">
                  <c:v>Soignon</c:v>
                </c:pt>
                <c:pt idx="789">
                  <c:v>All Others</c:v>
                </c:pt>
                <c:pt idx="790">
                  <c:v>All Others</c:v>
                </c:pt>
                <c:pt idx="791">
                  <c:v>All Others</c:v>
                </c:pt>
                <c:pt idx="792">
                  <c:v>Triballat R</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Salakis</c:v>
                </c:pt>
                <c:pt idx="803">
                  <c:v>All Others</c:v>
                </c:pt>
                <c:pt idx="804">
                  <c:v>Societe</c:v>
                </c:pt>
                <c:pt idx="805">
                  <c:v>All Others</c:v>
                </c:pt>
                <c:pt idx="806">
                  <c:v>Lactalis: A</c:v>
                </c:pt>
                <c:pt idx="807">
                  <c:v>All Others</c:v>
                </c:pt>
                <c:pt idx="808">
                  <c:v>All Others</c:v>
                </c:pt>
                <c:pt idx="809">
                  <c:v>Lactalis: A</c:v>
                </c:pt>
                <c:pt idx="810">
                  <c:v>All Others</c:v>
                </c:pt>
                <c:pt idx="811">
                  <c:v>All Others</c:v>
                </c:pt>
                <c:pt idx="812">
                  <c:v>All Others</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All Others</c:v>
                </c:pt>
                <c:pt idx="828">
                  <c:v>All Others</c:v>
                </c:pt>
                <c:pt idx="829">
                  <c:v>All Others</c:v>
                </c:pt>
                <c:pt idx="830">
                  <c:v>All Others</c:v>
                </c:pt>
                <c:pt idx="831">
                  <c:v>All Others</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All Others</c:v>
                </c:pt>
                <c:pt idx="842">
                  <c:v>All Others</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Limiano</c:v>
                </c:pt>
                <c:pt idx="868">
                  <c:v>All Others</c:v>
                </c:pt>
                <c:pt idx="869">
                  <c:v>Mini Babybe</c:v>
                </c:pt>
                <c:pt idx="870">
                  <c:v>Petit Billy</c:v>
                </c:pt>
                <c:pt idx="871">
                  <c:v>Petit Billy</c:v>
                </c:pt>
                <c:pt idx="872">
                  <c:v>All Others</c:v>
                </c:pt>
                <c:pt idx="873">
                  <c:v>All Others</c:v>
                </c:pt>
                <c:pt idx="874">
                  <c:v>All Others</c:v>
                </c:pt>
                <c:pt idx="875">
                  <c:v>All Others</c:v>
                </c:pt>
                <c:pt idx="876">
                  <c:v>Savencia: A</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Mini Babybe</c:v>
                </c:pt>
                <c:pt idx="889">
                  <c:v>All Others</c:v>
                </c:pt>
                <c:pt idx="890">
                  <c:v>All Others</c:v>
                </c:pt>
                <c:pt idx="891">
                  <c:v>All Others</c:v>
                </c:pt>
                <c:pt idx="892">
                  <c:v>All Others</c:v>
                </c:pt>
                <c:pt idx="893">
                  <c:v>All Others</c:v>
                </c:pt>
                <c:pt idx="894">
                  <c:v>President</c:v>
                </c:pt>
                <c:pt idx="895">
                  <c:v>All Others</c:v>
                </c:pt>
                <c:pt idx="896">
                  <c:v>All Others</c:v>
                </c:pt>
                <c:pt idx="897">
                  <c:v>All Others</c:v>
                </c:pt>
                <c:pt idx="898">
                  <c:v>All Others</c:v>
                </c:pt>
                <c:pt idx="899">
                  <c:v>All Others</c:v>
                </c:pt>
                <c:pt idx="900">
                  <c:v>All Others</c:v>
                </c:pt>
                <c:pt idx="901">
                  <c:v>All Others</c:v>
                </c:pt>
                <c:pt idx="902">
                  <c:v>All Others</c:v>
                </c:pt>
                <c:pt idx="903">
                  <c:v>All Others</c:v>
                </c:pt>
                <c:pt idx="904">
                  <c:v>All Others</c:v>
                </c:pt>
                <c:pt idx="905">
                  <c:v>Le Brebiou</c:v>
                </c:pt>
                <c:pt idx="906">
                  <c:v>All Others</c:v>
                </c:pt>
                <c:pt idx="907">
                  <c:v>All Others</c:v>
                </c:pt>
                <c:pt idx="908">
                  <c:v>All Others</c:v>
                </c:pt>
                <c:pt idx="909">
                  <c:v>All Others</c:v>
                </c:pt>
                <c:pt idx="910">
                  <c:v>All Others</c:v>
                </c:pt>
                <c:pt idx="911">
                  <c:v>Lactalis: A</c:v>
                </c:pt>
                <c:pt idx="912">
                  <c:v>All Others</c:v>
                </c:pt>
                <c:pt idx="913">
                  <c:v>All Others</c:v>
                </c:pt>
                <c:pt idx="914">
                  <c:v>All Others</c:v>
                </c:pt>
                <c:pt idx="915">
                  <c:v>All Others</c:v>
                </c:pt>
              </c:strCache>
            </c:strRef>
          </c:cat>
          <c:val>
            <c:numRef>
              <c:f>Sheet1!$C$2:$C$917</c:f>
              <c:numCache>
                <c:formatCode>General</c:formatCode>
                <c:ptCount val="916"/>
                <c:pt idx="0">
                  <c:v>0.15135153804190754</c:v>
                </c:pt>
                <c:pt idx="1">
                  <c:v>0.18848082928555451</c:v>
                </c:pt>
                <c:pt idx="2">
                  <c:v>0.19998019037910436</c:v>
                </c:pt>
                <c:pt idx="3">
                  <c:v>0.21137068041566578</c:v>
                </c:pt>
                <c:pt idx="4">
                  <c:v>0.22273777797237113</c:v>
                </c:pt>
                <c:pt idx="5">
                  <c:v>0.23324149467430685</c:v>
                </c:pt>
                <c:pt idx="6">
                  <c:v>0.24373012013082621</c:v>
                </c:pt>
                <c:pt idx="7">
                  <c:v>0.25305119952680238</c:v>
                </c:pt>
                <c:pt idx="8">
                  <c:v>0.26231286895038491</c:v>
                </c:pt>
                <c:pt idx="9">
                  <c:v>0.27147878557620742</c:v>
                </c:pt>
                <c:pt idx="10">
                  <c:v>0.28911587581911591</c:v>
                </c:pt>
                <c:pt idx="11">
                  <c:v>0.30589883095635895</c:v>
                </c:pt>
                <c:pt idx="12">
                  <c:v>0.33650481068079846</c:v>
                </c:pt>
                <c:pt idx="13">
                  <c:v>0.34378412223203547</c:v>
                </c:pt>
                <c:pt idx="14">
                  <c:v>0.35820180275735941</c:v>
                </c:pt>
                <c:pt idx="15">
                  <c:v>0.36507073318150224</c:v>
                </c:pt>
                <c:pt idx="16">
                  <c:v>0.37866732611980897</c:v>
                </c:pt>
                <c:pt idx="17">
                  <c:v>0.38540896745100667</c:v>
                </c:pt>
                <c:pt idx="18">
                  <c:v>0.39186927984209557</c:v>
                </c:pt>
                <c:pt idx="19">
                  <c:v>0.39812461156178508</c:v>
                </c:pt>
                <c:pt idx="20">
                  <c:v>0.42872974122302654</c:v>
                </c:pt>
                <c:pt idx="21">
                  <c:v>0.43470597935397981</c:v>
                </c:pt>
                <c:pt idx="22">
                  <c:v>0.44058945565027713</c:v>
                </c:pt>
                <c:pt idx="23">
                  <c:v>0.44641797168771108</c:v>
                </c:pt>
                <c:pt idx="24">
                  <c:v>0.4578914320902403</c:v>
                </c:pt>
                <c:pt idx="25">
                  <c:v>0.46350255233574106</c:v>
                </c:pt>
                <c:pt idx="26">
                  <c:v>0.46901048960145486</c:v>
                </c:pt>
                <c:pt idx="27">
                  <c:v>0.47440686919069025</c:v>
                </c:pt>
                <c:pt idx="28">
                  <c:v>0.4797640409267438</c:v>
                </c:pt>
                <c:pt idx="29">
                  <c:v>0.48511909275210602</c:v>
                </c:pt>
                <c:pt idx="30">
                  <c:v>0.49046987327226349</c:v>
                </c:pt>
                <c:pt idx="31">
                  <c:v>0.51576810036681464</c:v>
                </c:pt>
                <c:pt idx="32">
                  <c:v>0.52061336614395348</c:v>
                </c:pt>
                <c:pt idx="33">
                  <c:v>0.52538228365238293</c:v>
                </c:pt>
                <c:pt idx="34">
                  <c:v>0.53013811438540615</c:v>
                </c:pt>
                <c:pt idx="35">
                  <c:v>0.53485223954869043</c:v>
                </c:pt>
                <c:pt idx="36">
                  <c:v>0.53946503927769451</c:v>
                </c:pt>
                <c:pt idx="37">
                  <c:v>0.54406033400158416</c:v>
                </c:pt>
                <c:pt idx="38">
                  <c:v>0.54858992198865053</c:v>
                </c:pt>
                <c:pt idx="39">
                  <c:v>0.55738593518805413</c:v>
                </c:pt>
                <c:pt idx="40">
                  <c:v>0.5659970438999814</c:v>
                </c:pt>
                <c:pt idx="41">
                  <c:v>0.57458042585920344</c:v>
                </c:pt>
                <c:pt idx="42">
                  <c:v>0.57882228319565765</c:v>
                </c:pt>
                <c:pt idx="43">
                  <c:v>0.58295698009612673</c:v>
                </c:pt>
                <c:pt idx="44">
                  <c:v>0.58706545097274643</c:v>
                </c:pt>
                <c:pt idx="45">
                  <c:v>0.59115304807528191</c:v>
                </c:pt>
                <c:pt idx="46">
                  <c:v>0.59521005339729671</c:v>
                </c:pt>
                <c:pt idx="47">
                  <c:v>0.59905916054705965</c:v>
                </c:pt>
                <c:pt idx="48">
                  <c:v>0.6027448981436957</c:v>
                </c:pt>
                <c:pt idx="49">
                  <c:v>0.6063414945452229</c:v>
                </c:pt>
                <c:pt idx="50">
                  <c:v>0.60990384704286027</c:v>
                </c:pt>
                <c:pt idx="51">
                  <c:v>0.61345855946632299</c:v>
                </c:pt>
                <c:pt idx="52">
                  <c:v>0.62036659279757378</c:v>
                </c:pt>
                <c:pt idx="53">
                  <c:v>0.62379228451787327</c:v>
                </c:pt>
                <c:pt idx="54">
                  <c:v>0.62712757569017785</c:v>
                </c:pt>
                <c:pt idx="55">
                  <c:v>0.63042947302179064</c:v>
                </c:pt>
                <c:pt idx="56">
                  <c:v>0.63367938006842939</c:v>
                </c:pt>
                <c:pt idx="57">
                  <c:v>0.63690678667683953</c:v>
                </c:pt>
                <c:pt idx="58">
                  <c:v>0.64011112613822252</c:v>
                </c:pt>
                <c:pt idx="59">
                  <c:v>0.64319533382889538</c:v>
                </c:pt>
                <c:pt idx="60">
                  <c:v>0.64932178127531759</c:v>
                </c:pt>
                <c:pt idx="61">
                  <c:v>0.65237421129483553</c:v>
                </c:pt>
                <c:pt idx="62">
                  <c:v>0.6553817453839702</c:v>
                </c:pt>
                <c:pt idx="63">
                  <c:v>0.65836973851415825</c:v>
                </c:pt>
                <c:pt idx="64">
                  <c:v>0.66123013820778709</c:v>
                </c:pt>
                <c:pt idx="65">
                  <c:v>0.66404949349194209</c:v>
                </c:pt>
                <c:pt idx="66">
                  <c:v>0.66685841713635863</c:v>
                </c:pt>
                <c:pt idx="67">
                  <c:v>0.67230588447433315</c:v>
                </c:pt>
                <c:pt idx="68">
                  <c:v>0.67494873095691799</c:v>
                </c:pt>
                <c:pt idx="69">
                  <c:v>0.67757517436816372</c:v>
                </c:pt>
                <c:pt idx="70">
                  <c:v>0.68018326271109697</c:v>
                </c:pt>
                <c:pt idx="71">
                  <c:v>0.68278406779650669</c:v>
                </c:pt>
                <c:pt idx="72">
                  <c:v>0.68537153423593289</c:v>
                </c:pt>
                <c:pt idx="73">
                  <c:v>0.68795147604186568</c:v>
                </c:pt>
                <c:pt idx="74">
                  <c:v>0.69303133827243801</c:v>
                </c:pt>
                <c:pt idx="75">
                  <c:v>0.69555311896425576</c:v>
                </c:pt>
                <c:pt idx="76">
                  <c:v>0.69807479470999967</c:v>
                </c:pt>
                <c:pt idx="77">
                  <c:v>0.70057999392215276</c:v>
                </c:pt>
                <c:pt idx="78">
                  <c:v>0.70305170484214752</c:v>
                </c:pt>
                <c:pt idx="79">
                  <c:v>0.70549978190631635</c:v>
                </c:pt>
                <c:pt idx="80">
                  <c:v>0.70789109363915204</c:v>
                </c:pt>
                <c:pt idx="81">
                  <c:v>0.71026044015873568</c:v>
                </c:pt>
                <c:pt idx="82">
                  <c:v>0.71493264986013338</c:v>
                </c:pt>
                <c:pt idx="83">
                  <c:v>0.71956797101658077</c:v>
                </c:pt>
                <c:pt idx="84">
                  <c:v>0.72187375169924717</c:v>
                </c:pt>
                <c:pt idx="85">
                  <c:v>0.72644848748727409</c:v>
                </c:pt>
                <c:pt idx="86">
                  <c:v>0.72872981573473883</c:v>
                </c:pt>
                <c:pt idx="87">
                  <c:v>0.73099154005561262</c:v>
                </c:pt>
                <c:pt idx="88">
                  <c:v>0.73325091358443262</c:v>
                </c:pt>
                <c:pt idx="89">
                  <c:v>0.7354894238337758</c:v>
                </c:pt>
                <c:pt idx="90">
                  <c:v>0.73772176325397787</c:v>
                </c:pt>
                <c:pt idx="91">
                  <c:v>0.73993446726376688</c:v>
                </c:pt>
                <c:pt idx="92">
                  <c:v>0.74212506963040792</c:v>
                </c:pt>
                <c:pt idx="93">
                  <c:v>0.74430867209392459</c:v>
                </c:pt>
                <c:pt idx="94">
                  <c:v>0.74864589392766556</c:v>
                </c:pt>
                <c:pt idx="95">
                  <c:v>0.75075034606230173</c:v>
                </c:pt>
                <c:pt idx="96">
                  <c:v>0.75283580295757524</c:v>
                </c:pt>
                <c:pt idx="97">
                  <c:v>0.75692120668716767</c:v>
                </c:pt>
                <c:pt idx="98">
                  <c:v>0.75894404226018841</c:v>
                </c:pt>
                <c:pt idx="99">
                  <c:v>0.76095994089772911</c:v>
                </c:pt>
                <c:pt idx="100">
                  <c:v>0.76295868085219909</c:v>
                </c:pt>
                <c:pt idx="101">
                  <c:v>0.76693461533218232</c:v>
                </c:pt>
                <c:pt idx="102">
                  <c:v>0.76891758189175607</c:v>
                </c:pt>
                <c:pt idx="103">
                  <c:v>0.77085874843012436</c:v>
                </c:pt>
                <c:pt idx="104">
                  <c:v>0.77279866611021419</c:v>
                </c:pt>
                <c:pt idx="105">
                  <c:v>0.77472069048471648</c:v>
                </c:pt>
                <c:pt idx="106">
                  <c:v>0.78039484134215797</c:v>
                </c:pt>
                <c:pt idx="107">
                  <c:v>0.78224493567765896</c:v>
                </c:pt>
                <c:pt idx="108">
                  <c:v>0.78589320752593872</c:v>
                </c:pt>
                <c:pt idx="109">
                  <c:v>0.78766732090398883</c:v>
                </c:pt>
                <c:pt idx="110">
                  <c:v>0.78943283919859242</c:v>
                </c:pt>
                <c:pt idx="111">
                  <c:v>0.79119211320180338</c:v>
                </c:pt>
                <c:pt idx="112">
                  <c:v>0.792932129600467</c:v>
                </c:pt>
                <c:pt idx="113">
                  <c:v>0.79467035142126818</c:v>
                </c:pt>
                <c:pt idx="114">
                  <c:v>0.79639473085493151</c:v>
                </c:pt>
                <c:pt idx="115">
                  <c:v>0.79810475366569533</c:v>
                </c:pt>
                <c:pt idx="116">
                  <c:v>0.79981409432697925</c:v>
                </c:pt>
                <c:pt idx="117">
                  <c:v>0.80320670704480834</c:v>
                </c:pt>
                <c:pt idx="118">
                  <c:v>0.80489001058517573</c:v>
                </c:pt>
                <c:pt idx="119">
                  <c:v>0.80657274741674445</c:v>
                </c:pt>
                <c:pt idx="120">
                  <c:v>0.8082494603436754</c:v>
                </c:pt>
                <c:pt idx="121">
                  <c:v>0.80991308649520011</c:v>
                </c:pt>
                <c:pt idx="122">
                  <c:v>0.8115654099545736</c:v>
                </c:pt>
                <c:pt idx="123">
                  <c:v>0.81318791823437275</c:v>
                </c:pt>
                <c:pt idx="124">
                  <c:v>0.81480759297017857</c:v>
                </c:pt>
                <c:pt idx="125">
                  <c:v>0.81642541016047765</c:v>
                </c:pt>
                <c:pt idx="126">
                  <c:v>0.81802616311917242</c:v>
                </c:pt>
                <c:pt idx="127">
                  <c:v>0.81960549658419912</c:v>
                </c:pt>
                <c:pt idx="128">
                  <c:v>0.82114504499263785</c:v>
                </c:pt>
                <c:pt idx="129">
                  <c:v>0.82266689949302929</c:v>
                </c:pt>
                <c:pt idx="130">
                  <c:v>0.82418335976522605</c:v>
                </c:pt>
                <c:pt idx="131">
                  <c:v>0.82566846215056322</c:v>
                </c:pt>
                <c:pt idx="132">
                  <c:v>0.82714555715046734</c:v>
                </c:pt>
                <c:pt idx="133">
                  <c:v>0.82858519689662247</c:v>
                </c:pt>
                <c:pt idx="134">
                  <c:v>0.83001272586585795</c:v>
                </c:pt>
                <c:pt idx="135">
                  <c:v>0.83274401040485713</c:v>
                </c:pt>
                <c:pt idx="136">
                  <c:v>0.83410454180056126</c:v>
                </c:pt>
                <c:pt idx="137">
                  <c:v>0.83543727298130854</c:v>
                </c:pt>
                <c:pt idx="138">
                  <c:v>0.83675937312477722</c:v>
                </c:pt>
                <c:pt idx="139">
                  <c:v>0.83806301325385968</c:v>
                </c:pt>
                <c:pt idx="140">
                  <c:v>0.83936087085427424</c:v>
                </c:pt>
                <c:pt idx="141">
                  <c:v>0.84065776295080952</c:v>
                </c:pt>
                <c:pt idx="142">
                  <c:v>0.84194421291299903</c:v>
                </c:pt>
                <c:pt idx="143">
                  <c:v>0.84576147942396285</c:v>
                </c:pt>
                <c:pt idx="144">
                  <c:v>0.84702485174451769</c:v>
                </c:pt>
                <c:pt idx="145">
                  <c:v>0.84827555707396163</c:v>
                </c:pt>
                <c:pt idx="146">
                  <c:v>0.84951839144786856</c:v>
                </c:pt>
                <c:pt idx="147">
                  <c:v>0.85074908356103363</c:v>
                </c:pt>
                <c:pt idx="148">
                  <c:v>0.85196533509444006</c:v>
                </c:pt>
                <c:pt idx="149">
                  <c:v>0.85317636031336985</c:v>
                </c:pt>
                <c:pt idx="150">
                  <c:v>0.85438484583731311</c:v>
                </c:pt>
                <c:pt idx="151">
                  <c:v>0.85559265970638387</c:v>
                </c:pt>
                <c:pt idx="152">
                  <c:v>0.85679506885265244</c:v>
                </c:pt>
                <c:pt idx="153">
                  <c:v>0.85799483335786064</c:v>
                </c:pt>
                <c:pt idx="154">
                  <c:v>0.85917900287649807</c:v>
                </c:pt>
                <c:pt idx="155">
                  <c:v>0.86036288904073621</c:v>
                </c:pt>
                <c:pt idx="156">
                  <c:v>0.8615281787606921</c:v>
                </c:pt>
                <c:pt idx="157">
                  <c:v>0.86385072982595612</c:v>
                </c:pt>
                <c:pt idx="158">
                  <c:v>0.86499447411695529</c:v>
                </c:pt>
                <c:pt idx="159">
                  <c:v>0.86612851089612541</c:v>
                </c:pt>
                <c:pt idx="160">
                  <c:v>0.86725613547018476</c:v>
                </c:pt>
                <c:pt idx="161">
                  <c:v>0.8683823852506769</c:v>
                </c:pt>
                <c:pt idx="162">
                  <c:v>0.86948728899975258</c:v>
                </c:pt>
                <c:pt idx="163">
                  <c:v>0.87059016728960337</c:v>
                </c:pt>
                <c:pt idx="164">
                  <c:v>0.87167581343413181</c:v>
                </c:pt>
                <c:pt idx="165">
                  <c:v>0.87275923472189509</c:v>
                </c:pt>
                <c:pt idx="166">
                  <c:v>0.87383928724068849</c:v>
                </c:pt>
                <c:pt idx="167">
                  <c:v>0.87488616630554505</c:v>
                </c:pt>
                <c:pt idx="168">
                  <c:v>0.87592260323605586</c:v>
                </c:pt>
                <c:pt idx="169">
                  <c:v>0.87695738201860018</c:v>
                </c:pt>
                <c:pt idx="170">
                  <c:v>0.87795826321929826</c:v>
                </c:pt>
                <c:pt idx="171">
                  <c:v>0.87895580713484867</c:v>
                </c:pt>
                <c:pt idx="172">
                  <c:v>0.87994517575124787</c:v>
                </c:pt>
                <c:pt idx="173">
                  <c:v>0.88092590730577114</c:v>
                </c:pt>
                <c:pt idx="174">
                  <c:v>0.88190155947032112</c:v>
                </c:pt>
                <c:pt idx="175">
                  <c:v>0.88286942463619311</c:v>
                </c:pt>
                <c:pt idx="176">
                  <c:v>0.8838307621562731</c:v>
                </c:pt>
                <c:pt idx="177">
                  <c:v>0.88478712523245362</c:v>
                </c:pt>
                <c:pt idx="178">
                  <c:v>0.88573516608497971</c:v>
                </c:pt>
                <c:pt idx="179">
                  <c:v>0.88667943937345539</c:v>
                </c:pt>
                <c:pt idx="180">
                  <c:v>0.88762321941538402</c:v>
                </c:pt>
                <c:pt idx="181">
                  <c:v>0.88855056490215134</c:v>
                </c:pt>
                <c:pt idx="182">
                  <c:v>0.88947595839194549</c:v>
                </c:pt>
                <c:pt idx="183">
                  <c:v>0.89039901158429324</c:v>
                </c:pt>
                <c:pt idx="184">
                  <c:v>0.89311838474391303</c:v>
                </c:pt>
                <c:pt idx="185">
                  <c:v>0.8940049691756059</c:v>
                </c:pt>
                <c:pt idx="186">
                  <c:v>0.89488735576434564</c:v>
                </c:pt>
                <c:pt idx="187">
                  <c:v>0.89661607996546544</c:v>
                </c:pt>
                <c:pt idx="188">
                  <c:v>0.89746675185069458</c:v>
                </c:pt>
                <c:pt idx="189">
                  <c:v>0.89831410743999074</c:v>
                </c:pt>
                <c:pt idx="190">
                  <c:v>0.89915724419711907</c:v>
                </c:pt>
                <c:pt idx="191">
                  <c:v>0.89999890121460646</c:v>
                </c:pt>
                <c:pt idx="192">
                  <c:v>0.90083603505631182</c:v>
                </c:pt>
                <c:pt idx="193">
                  <c:v>0.90167066068685275</c:v>
                </c:pt>
                <c:pt idx="194">
                  <c:v>0.90250038533574595</c:v>
                </c:pt>
                <c:pt idx="195">
                  <c:v>0.90332184023402151</c:v>
                </c:pt>
                <c:pt idx="196">
                  <c:v>0.90414107027553203</c:v>
                </c:pt>
                <c:pt idx="197">
                  <c:v>0.90494505165251538</c:v>
                </c:pt>
                <c:pt idx="198">
                  <c:v>0.90573966134510597</c:v>
                </c:pt>
                <c:pt idx="199">
                  <c:v>0.90653379878036433</c:v>
                </c:pt>
                <c:pt idx="200">
                  <c:v>0.90809803050536719</c:v>
                </c:pt>
                <c:pt idx="201">
                  <c:v>0.90887234362727964</c:v>
                </c:pt>
                <c:pt idx="202">
                  <c:v>0.90964121004796039</c:v>
                </c:pt>
                <c:pt idx="203">
                  <c:v>0.91040586813108071</c:v>
                </c:pt>
                <c:pt idx="204">
                  <c:v>0.91116609748988553</c:v>
                </c:pt>
                <c:pt idx="205">
                  <c:v>0.9119094725092336</c:v>
                </c:pt>
                <c:pt idx="206">
                  <c:v>0.91265154619726629</c:v>
                </c:pt>
                <c:pt idx="207">
                  <c:v>0.91338743856155058</c:v>
                </c:pt>
                <c:pt idx="208">
                  <c:v>0.91412183019697912</c:v>
                </c:pt>
                <c:pt idx="209">
                  <c:v>0.9148328293525515</c:v>
                </c:pt>
                <c:pt idx="210">
                  <c:v>0.91554334575618435</c:v>
                </c:pt>
                <c:pt idx="211">
                  <c:v>0.91624369288526331</c:v>
                </c:pt>
                <c:pt idx="212">
                  <c:v>0.91693845688321463</c:v>
                </c:pt>
                <c:pt idx="213">
                  <c:v>0.91762451035703829</c:v>
                </c:pt>
                <c:pt idx="214">
                  <c:v>0.91831040641175121</c:v>
                </c:pt>
                <c:pt idx="215">
                  <c:v>0.918992104623511</c:v>
                </c:pt>
                <c:pt idx="216">
                  <c:v>0.91967314167500569</c:v>
                </c:pt>
                <c:pt idx="217">
                  <c:v>0.92035201683737955</c:v>
                </c:pt>
                <c:pt idx="218">
                  <c:v>0.92103066111839105</c:v>
                </c:pt>
                <c:pt idx="219">
                  <c:v>0.92170904303421797</c:v>
                </c:pt>
                <c:pt idx="220">
                  <c:v>0.92238685824124622</c:v>
                </c:pt>
                <c:pt idx="221">
                  <c:v>0.92306450553455632</c:v>
                </c:pt>
                <c:pt idx="222">
                  <c:v>0.9237414077107422</c:v>
                </c:pt>
                <c:pt idx="223">
                  <c:v>0.92441750180215965</c:v>
                </c:pt>
                <c:pt idx="224">
                  <c:v>0.92509097224173142</c:v>
                </c:pt>
                <c:pt idx="225">
                  <c:v>0.92575887004478297</c:v>
                </c:pt>
                <c:pt idx="226">
                  <c:v>0.92707802120357707</c:v>
                </c:pt>
                <c:pt idx="227">
                  <c:v>0.9277247513835376</c:v>
                </c:pt>
                <c:pt idx="228">
                  <c:v>0.92836270807172627</c:v>
                </c:pt>
                <c:pt idx="229">
                  <c:v>0.92899245797694163</c:v>
                </c:pt>
                <c:pt idx="230">
                  <c:v>0.92961182871545545</c:v>
                </c:pt>
                <c:pt idx="231">
                  <c:v>0.93022291920874434</c:v>
                </c:pt>
                <c:pt idx="232">
                  <c:v>0.93082076550751613</c:v>
                </c:pt>
                <c:pt idx="233">
                  <c:v>0.93141356390013685</c:v>
                </c:pt>
                <c:pt idx="234">
                  <c:v>0.93200379111394882</c:v>
                </c:pt>
                <c:pt idx="235">
                  <c:v>0.93258673507023715</c:v>
                </c:pt>
                <c:pt idx="236">
                  <c:v>0.93315944678432738</c:v>
                </c:pt>
                <c:pt idx="237">
                  <c:v>0.9337218842777899</c:v>
                </c:pt>
                <c:pt idx="238">
                  <c:v>0.93428292598847051</c:v>
                </c:pt>
                <c:pt idx="239">
                  <c:v>0.93483754499943295</c:v>
                </c:pt>
                <c:pt idx="240">
                  <c:v>0.93539100960358323</c:v>
                </c:pt>
                <c:pt idx="241">
                  <c:v>0.9359433722739583</c:v>
                </c:pt>
                <c:pt idx="242">
                  <c:v>0.93703736163135587</c:v>
                </c:pt>
                <c:pt idx="243">
                  <c:v>0.93757752956795226</c:v>
                </c:pt>
                <c:pt idx="244">
                  <c:v>0.93811291196358215</c:v>
                </c:pt>
                <c:pt idx="245">
                  <c:v>0.93864278469033602</c:v>
                </c:pt>
                <c:pt idx="246">
                  <c:v>0.93917111470980463</c:v>
                </c:pt>
                <c:pt idx="247">
                  <c:v>0.93969792301120281</c:v>
                </c:pt>
                <c:pt idx="248">
                  <c:v>0.94022340899207069</c:v>
                </c:pt>
                <c:pt idx="249">
                  <c:v>0.941248259876031</c:v>
                </c:pt>
                <c:pt idx="250">
                  <c:v>0.94174271330286818</c:v>
                </c:pt>
                <c:pt idx="251">
                  <c:v>0.94223014583736631</c:v>
                </c:pt>
                <c:pt idx="252">
                  <c:v>0.94270850053647837</c:v>
                </c:pt>
                <c:pt idx="253">
                  <c:v>0.94318625704296966</c:v>
                </c:pt>
                <c:pt idx="254">
                  <c:v>0.94366294309950793</c:v>
                </c:pt>
                <c:pt idx="255">
                  <c:v>0.94413905195264014</c:v>
                </c:pt>
                <c:pt idx="256">
                  <c:v>0.94461265259460792</c:v>
                </c:pt>
                <c:pt idx="257">
                  <c:v>0.94508139423335746</c:v>
                </c:pt>
                <c:pt idx="258">
                  <c:v>0.94554716589821763</c:v>
                </c:pt>
                <c:pt idx="259">
                  <c:v>0.94600864526865835</c:v>
                </c:pt>
                <c:pt idx="260">
                  <c:v>0.94646250555413913</c:v>
                </c:pt>
                <c:pt idx="261">
                  <c:v>0.94690147399174385</c:v>
                </c:pt>
                <c:pt idx="262">
                  <c:v>0.94733771383142906</c:v>
                </c:pt>
                <c:pt idx="263">
                  <c:v>0.94777312459713103</c:v>
                </c:pt>
                <c:pt idx="264">
                  <c:v>0.94864019955369938</c:v>
                </c:pt>
                <c:pt idx="265">
                  <c:v>0.94907136000341141</c:v>
                </c:pt>
                <c:pt idx="266">
                  <c:v>0.94949758798765349</c:v>
                </c:pt>
                <c:pt idx="267">
                  <c:v>0.95033089129766424</c:v>
                </c:pt>
                <c:pt idx="268">
                  <c:v>0.95074201754188259</c:v>
                </c:pt>
                <c:pt idx="269">
                  <c:v>0.95114672108638276</c:v>
                </c:pt>
                <c:pt idx="270">
                  <c:v>0.95194977893791644</c:v>
                </c:pt>
                <c:pt idx="271">
                  <c:v>0.95234580344211106</c:v>
                </c:pt>
                <c:pt idx="272">
                  <c:v>0.95273588799852704</c:v>
                </c:pt>
                <c:pt idx="273">
                  <c:v>0.95312370571974836</c:v>
                </c:pt>
                <c:pt idx="274">
                  <c:v>0.953508186155822</c:v>
                </c:pt>
                <c:pt idx="275">
                  <c:v>0.9538904522297379</c:v>
                </c:pt>
                <c:pt idx="276">
                  <c:v>0.95427137499390879</c:v>
                </c:pt>
                <c:pt idx="277">
                  <c:v>0.95464990498759639</c:v>
                </c:pt>
                <c:pt idx="278">
                  <c:v>0.95540031139389103</c:v>
                </c:pt>
                <c:pt idx="279">
                  <c:v>0.9557698999820885</c:v>
                </c:pt>
                <c:pt idx="280">
                  <c:v>0.95613023232657446</c:v>
                </c:pt>
                <c:pt idx="281">
                  <c:v>0.95649038626273486</c:v>
                </c:pt>
                <c:pt idx="282">
                  <c:v>0.95684285814629111</c:v>
                </c:pt>
                <c:pt idx="283">
                  <c:v>0.95719482628869301</c:v>
                </c:pt>
                <c:pt idx="284">
                  <c:v>0.95754654256051774</c:v>
                </c:pt>
                <c:pt idx="285">
                  <c:v>0.95789609694322164</c:v>
                </c:pt>
                <c:pt idx="286">
                  <c:v>0.95824444444607648</c:v>
                </c:pt>
                <c:pt idx="287">
                  <c:v>0.95859226721856217</c:v>
                </c:pt>
                <c:pt idx="288">
                  <c:v>0.95893928190627942</c:v>
                </c:pt>
                <c:pt idx="289">
                  <c:v>0.95928586631509394</c:v>
                </c:pt>
                <c:pt idx="290">
                  <c:v>0.95962645830309301</c:v>
                </c:pt>
                <c:pt idx="291">
                  <c:v>0.9599660742926055</c:v>
                </c:pt>
                <c:pt idx="292">
                  <c:v>0.96030560632525885</c:v>
                </c:pt>
                <c:pt idx="293">
                  <c:v>0.96064200047030479</c:v>
                </c:pt>
                <c:pt idx="294">
                  <c:v>0.96097696734874671</c:v>
                </c:pt>
                <c:pt idx="295">
                  <c:v>0.96129963454733602</c:v>
                </c:pt>
                <c:pt idx="296">
                  <c:v>0.96161877555784481</c:v>
                </c:pt>
                <c:pt idx="297">
                  <c:v>0.96193431691802123</c:v>
                </c:pt>
                <c:pt idx="298">
                  <c:v>0.96254757979503824</c:v>
                </c:pt>
                <c:pt idx="299">
                  <c:v>0.96285306732134202</c:v>
                </c:pt>
                <c:pt idx="300">
                  <c:v>0.96315778874130686</c:v>
                </c:pt>
                <c:pt idx="301">
                  <c:v>0.96345883704868773</c:v>
                </c:pt>
                <c:pt idx="302">
                  <c:v>0.96375635916798807</c:v>
                </c:pt>
                <c:pt idx="303">
                  <c:v>0.96404886486495944</c:v>
                </c:pt>
                <c:pt idx="304">
                  <c:v>0.96433508429210857</c:v>
                </c:pt>
                <c:pt idx="305">
                  <c:v>0.96461727379002271</c:v>
                </c:pt>
                <c:pt idx="306">
                  <c:v>0.96489889657913819</c:v>
                </c:pt>
                <c:pt idx="307">
                  <c:v>0.96517979524034425</c:v>
                </c:pt>
                <c:pt idx="308">
                  <c:v>0.96545972839767114</c:v>
                </c:pt>
                <c:pt idx="309">
                  <c:v>0.96573852813740069</c:v>
                </c:pt>
                <c:pt idx="310">
                  <c:v>0.96601451532235161</c:v>
                </c:pt>
                <c:pt idx="311">
                  <c:v>0.96629026113133276</c:v>
                </c:pt>
                <c:pt idx="312">
                  <c:v>0.96656269064438094</c:v>
                </c:pt>
                <c:pt idx="313">
                  <c:v>0.96683501521135529</c:v>
                </c:pt>
                <c:pt idx="314">
                  <c:v>0.96709927991985978</c:v>
                </c:pt>
                <c:pt idx="315">
                  <c:v>0.96761592944131147</c:v>
                </c:pt>
                <c:pt idx="316">
                  <c:v>0.96786804139446669</c:v>
                </c:pt>
                <c:pt idx="317">
                  <c:v>0.96811938724128299</c:v>
                </c:pt>
                <c:pt idx="318">
                  <c:v>0.96861172075742885</c:v>
                </c:pt>
                <c:pt idx="319">
                  <c:v>0.96885367393063759</c:v>
                </c:pt>
                <c:pt idx="320">
                  <c:v>0.96909079958445032</c:v>
                </c:pt>
                <c:pt idx="321">
                  <c:v>0.96932607818736372</c:v>
                </c:pt>
                <c:pt idx="322">
                  <c:v>0.96955976160995494</c:v>
                </c:pt>
                <c:pt idx="323">
                  <c:v>0.96979172391693536</c:v>
                </c:pt>
                <c:pt idx="324">
                  <c:v>0.97002257379553325</c:v>
                </c:pt>
                <c:pt idx="325">
                  <c:v>0.97025166058009082</c:v>
                </c:pt>
                <c:pt idx="326">
                  <c:v>0.97047862745395708</c:v>
                </c:pt>
                <c:pt idx="327">
                  <c:v>0.97070484921069911</c:v>
                </c:pt>
                <c:pt idx="328">
                  <c:v>0.97092555080395782</c:v>
                </c:pt>
                <c:pt idx="329">
                  <c:v>0.97114483562521992</c:v>
                </c:pt>
                <c:pt idx="330">
                  <c:v>0.97136194806275378</c:v>
                </c:pt>
                <c:pt idx="331">
                  <c:v>0.97157865121059972</c:v>
                </c:pt>
                <c:pt idx="332">
                  <c:v>0.97179494506875774</c:v>
                </c:pt>
                <c:pt idx="333">
                  <c:v>0.97201019996078486</c:v>
                </c:pt>
                <c:pt idx="334">
                  <c:v>0.97222147739661391</c:v>
                </c:pt>
                <c:pt idx="335">
                  <c:v>0.97243140102809056</c:v>
                </c:pt>
                <c:pt idx="336">
                  <c:v>0.97264020173657728</c:v>
                </c:pt>
                <c:pt idx="337">
                  <c:v>0.97284760666228209</c:v>
                </c:pt>
                <c:pt idx="338">
                  <c:v>0.9730549696095574</c:v>
                </c:pt>
                <c:pt idx="339">
                  <c:v>0.97326037006525212</c:v>
                </c:pt>
                <c:pt idx="340">
                  <c:v>0.97346377654554417</c:v>
                </c:pt>
                <c:pt idx="341">
                  <c:v>0.97366574526462479</c:v>
                </c:pt>
                <c:pt idx="342">
                  <c:v>0.97386442917159455</c:v>
                </c:pt>
                <c:pt idx="343">
                  <c:v>0.97406181174724893</c:v>
                </c:pt>
                <c:pt idx="344">
                  <c:v>0.974256444735769</c:v>
                </c:pt>
                <c:pt idx="345">
                  <c:v>0.97444870594302058</c:v>
                </c:pt>
                <c:pt idx="346">
                  <c:v>0.97463913059398022</c:v>
                </c:pt>
                <c:pt idx="347">
                  <c:v>0.97482890457928206</c:v>
                </c:pt>
                <c:pt idx="348">
                  <c:v>0.97501773404991943</c:v>
                </c:pt>
                <c:pt idx="349">
                  <c:v>0.97520433866379175</c:v>
                </c:pt>
                <c:pt idx="350">
                  <c:v>0.97539061794483517</c:v>
                </c:pt>
                <c:pt idx="351">
                  <c:v>0.97557574281906645</c:v>
                </c:pt>
                <c:pt idx="352">
                  <c:v>0.97575956636198236</c:v>
                </c:pt>
                <c:pt idx="353">
                  <c:v>0.97611293028716617</c:v>
                </c:pt>
                <c:pt idx="354">
                  <c:v>0.97628854704710877</c:v>
                </c:pt>
                <c:pt idx="355">
                  <c:v>0.97646389094725938</c:v>
                </c:pt>
                <c:pt idx="356">
                  <c:v>0.97681321444860092</c:v>
                </c:pt>
                <c:pt idx="357">
                  <c:v>0.97698408764600653</c:v>
                </c:pt>
                <c:pt idx="358">
                  <c:v>0.97715362802827443</c:v>
                </c:pt>
                <c:pt idx="359">
                  <c:v>0.97749194268647144</c:v>
                </c:pt>
                <c:pt idx="360">
                  <c:v>0.97765867051396083</c:v>
                </c:pt>
                <c:pt idx="361">
                  <c:v>0.9778253458684133</c:v>
                </c:pt>
                <c:pt idx="362">
                  <c:v>0.97799085632144633</c:v>
                </c:pt>
                <c:pt idx="363">
                  <c:v>0.97815590501175453</c:v>
                </c:pt>
                <c:pt idx="364">
                  <c:v>0.97831767938455927</c:v>
                </c:pt>
                <c:pt idx="365">
                  <c:v>0.9784780789637969</c:v>
                </c:pt>
                <c:pt idx="366">
                  <c:v>0.97863506779563514</c:v>
                </c:pt>
                <c:pt idx="367">
                  <c:v>0.97879192019757744</c:v>
                </c:pt>
                <c:pt idx="368">
                  <c:v>0.97894840528826133</c:v>
                </c:pt>
                <c:pt idx="369">
                  <c:v>0.97910095490117666</c:v>
                </c:pt>
                <c:pt idx="370">
                  <c:v>0.97925055552941742</c:v>
                </c:pt>
                <c:pt idx="371">
                  <c:v>0.97939924312681592</c:v>
                </c:pt>
                <c:pt idx="372">
                  <c:v>0.97954776281049627</c:v>
                </c:pt>
                <c:pt idx="373">
                  <c:v>0.97969602012899204</c:v>
                </c:pt>
                <c:pt idx="374">
                  <c:v>0.97984317551371269</c:v>
                </c:pt>
                <c:pt idx="375">
                  <c:v>0.97999002655481915</c:v>
                </c:pt>
                <c:pt idx="376">
                  <c:v>0.98013498856659675</c:v>
                </c:pt>
                <c:pt idx="377">
                  <c:v>0.98027994008376695</c:v>
                </c:pt>
                <c:pt idx="378">
                  <c:v>0.98042281366867545</c:v>
                </c:pt>
                <c:pt idx="379">
                  <c:v>0.9806988743158781</c:v>
                </c:pt>
                <c:pt idx="380">
                  <c:v>0.98083613328583674</c:v>
                </c:pt>
                <c:pt idx="381">
                  <c:v>0.98097232180584237</c:v>
                </c:pt>
                <c:pt idx="382">
                  <c:v>0.98110692564013324</c:v>
                </c:pt>
                <c:pt idx="383">
                  <c:v>0.98123948302598452</c:v>
                </c:pt>
                <c:pt idx="384">
                  <c:v>0.98137086501580884</c:v>
                </c:pt>
                <c:pt idx="385">
                  <c:v>0.98150046292237814</c:v>
                </c:pt>
                <c:pt idx="386">
                  <c:v>0.98162918977653468</c:v>
                </c:pt>
                <c:pt idx="387">
                  <c:v>0.9817571295351375</c:v>
                </c:pt>
                <c:pt idx="388">
                  <c:v>0.98188479643394833</c:v>
                </c:pt>
                <c:pt idx="389">
                  <c:v>0.98201161326956121</c:v>
                </c:pt>
                <c:pt idx="390">
                  <c:v>0.98213766399883518</c:v>
                </c:pt>
                <c:pt idx="391">
                  <c:v>0.98226228746150501</c:v>
                </c:pt>
                <c:pt idx="392">
                  <c:v>0.98238635470998359</c:v>
                </c:pt>
                <c:pt idx="393">
                  <c:v>0.98250654944833793</c:v>
                </c:pt>
                <c:pt idx="394">
                  <c:v>0.9827445251653486</c:v>
                </c:pt>
                <c:pt idx="395">
                  <c:v>0.9828618443812801</c:v>
                </c:pt>
                <c:pt idx="396">
                  <c:v>0.982976760332121</c:v>
                </c:pt>
                <c:pt idx="397">
                  <c:v>0.9830906688006531</c:v>
                </c:pt>
                <c:pt idx="398">
                  <c:v>0.98320356978687651</c:v>
                </c:pt>
                <c:pt idx="399">
                  <c:v>0.98331632384859657</c:v>
                </c:pt>
                <c:pt idx="400">
                  <c:v>0.98342591903349441</c:v>
                </c:pt>
                <c:pt idx="401">
                  <c:v>0.98353328936162709</c:v>
                </c:pt>
                <c:pt idx="402">
                  <c:v>0.98363906450943761</c:v>
                </c:pt>
                <c:pt idx="403">
                  <c:v>0.98374312903624472</c:v>
                </c:pt>
                <c:pt idx="404">
                  <c:v>0.98384696268168947</c:v>
                </c:pt>
                <c:pt idx="405">
                  <c:v>0.98395063890802348</c:v>
                </c:pt>
                <c:pt idx="406">
                  <c:v>0.98405390584466956</c:v>
                </c:pt>
                <c:pt idx="407">
                  <c:v>0.98415683695387934</c:v>
                </c:pt>
                <c:pt idx="408">
                  <c:v>0.98425951619251195</c:v>
                </c:pt>
                <c:pt idx="409">
                  <c:v>0.98436152377627206</c:v>
                </c:pt>
                <c:pt idx="410">
                  <c:v>0.98446272327526374</c:v>
                </c:pt>
                <c:pt idx="411">
                  <c:v>0.98456229611011103</c:v>
                </c:pt>
                <c:pt idx="412">
                  <c:v>0.98466063058128717</c:v>
                </c:pt>
                <c:pt idx="413">
                  <c:v>0.98475750630203718</c:v>
                </c:pt>
                <c:pt idx="414">
                  <c:v>0.9848537418517368</c:v>
                </c:pt>
                <c:pt idx="415">
                  <c:v>0.98494806738289276</c:v>
                </c:pt>
                <c:pt idx="416">
                  <c:v>0.98504136444252521</c:v>
                </c:pt>
                <c:pt idx="417">
                  <c:v>0.98513456705069125</c:v>
                </c:pt>
                <c:pt idx="418">
                  <c:v>0.98522719245545121</c:v>
                </c:pt>
                <c:pt idx="419">
                  <c:v>0.98531977588178166</c:v>
                </c:pt>
                <c:pt idx="420">
                  <c:v>0.98541169814784701</c:v>
                </c:pt>
                <c:pt idx="421">
                  <c:v>0.98550300123207679</c:v>
                </c:pt>
                <c:pt idx="422">
                  <c:v>0.98559404195112199</c:v>
                </c:pt>
                <c:pt idx="423">
                  <c:v>0.98568468387508656</c:v>
                </c:pt>
                <c:pt idx="424">
                  <c:v>0.98577467513339345</c:v>
                </c:pt>
                <c:pt idx="425">
                  <c:v>0.98586343852263658</c:v>
                </c:pt>
                <c:pt idx="426">
                  <c:v>0.98595154075161462</c:v>
                </c:pt>
                <c:pt idx="427">
                  <c:v>0.98603950655069661</c:v>
                </c:pt>
                <c:pt idx="428">
                  <c:v>0.98612744086595649</c:v>
                </c:pt>
                <c:pt idx="429">
                  <c:v>0.98621452511801833</c:v>
                </c:pt>
                <c:pt idx="430">
                  <c:v>0.98630133651028828</c:v>
                </c:pt>
                <c:pt idx="431">
                  <c:v>0.98638729783936019</c:v>
                </c:pt>
                <c:pt idx="432">
                  <c:v>0.98647317521157307</c:v>
                </c:pt>
                <c:pt idx="433">
                  <c:v>0.98655727899513823</c:v>
                </c:pt>
                <c:pt idx="434">
                  <c:v>0.98664131981105907</c:v>
                </c:pt>
                <c:pt idx="435">
                  <c:v>0.98672458402603358</c:v>
                </c:pt>
                <c:pt idx="436">
                  <c:v>0.98680595921167924</c:v>
                </c:pt>
                <c:pt idx="437">
                  <c:v>0.98688649482873425</c:v>
                </c:pt>
                <c:pt idx="438">
                  <c:v>0.98696640076934639</c:v>
                </c:pt>
                <c:pt idx="439">
                  <c:v>0.98704405036937115</c:v>
                </c:pt>
                <c:pt idx="440">
                  <c:v>0.98712074496012414</c:v>
                </c:pt>
                <c:pt idx="441">
                  <c:v>0.98719725064794428</c:v>
                </c:pt>
                <c:pt idx="442">
                  <c:v>0.9872736933681201</c:v>
                </c:pt>
                <c:pt idx="443">
                  <c:v>0.98734922305745354</c:v>
                </c:pt>
                <c:pt idx="444">
                  <c:v>0.9874998101787883</c:v>
                </c:pt>
                <c:pt idx="445">
                  <c:v>0.98757481513775269</c:v>
                </c:pt>
                <c:pt idx="446">
                  <c:v>0.98764897003351904</c:v>
                </c:pt>
                <c:pt idx="447">
                  <c:v>0.98772303047781895</c:v>
                </c:pt>
                <c:pt idx="448">
                  <c:v>0.98779673410546787</c:v>
                </c:pt>
                <c:pt idx="449">
                  <c:v>0.98787002844342886</c:v>
                </c:pt>
                <c:pt idx="450">
                  <c:v>0.98794331228678245</c:v>
                </c:pt>
                <c:pt idx="451">
                  <c:v>0.98801639673259578</c:v>
                </c:pt>
                <c:pt idx="452">
                  <c:v>0.98808874655589229</c:v>
                </c:pt>
                <c:pt idx="453">
                  <c:v>0.98823287949368666</c:v>
                </c:pt>
                <c:pt idx="454">
                  <c:v>0.9883046521135771</c:v>
                </c:pt>
                <c:pt idx="455">
                  <c:v>0.98837608890603135</c:v>
                </c:pt>
                <c:pt idx="456">
                  <c:v>0.98851781857873511</c:v>
                </c:pt>
                <c:pt idx="457">
                  <c:v>0.9885883843187766</c:v>
                </c:pt>
                <c:pt idx="458">
                  <c:v>0.98865880313431476</c:v>
                </c:pt>
                <c:pt idx="459">
                  <c:v>0.98872895958466833</c:v>
                </c:pt>
                <c:pt idx="460">
                  <c:v>0.98879905306737759</c:v>
                </c:pt>
                <c:pt idx="461">
                  <c:v>0.98886830698149619</c:v>
                </c:pt>
                <c:pt idx="462">
                  <c:v>0.98893748743336318</c:v>
                </c:pt>
                <c:pt idx="463">
                  <c:v>0.98900651046611943</c:v>
                </c:pt>
                <c:pt idx="464">
                  <c:v>0.98907551250966086</c:v>
                </c:pt>
                <c:pt idx="465">
                  <c:v>0.98914373795225596</c:v>
                </c:pt>
                <c:pt idx="466">
                  <c:v>0.98921134421301549</c:v>
                </c:pt>
                <c:pt idx="467">
                  <c:v>0.9892789294845602</c:v>
                </c:pt>
                <c:pt idx="468">
                  <c:v>0.98934597953112846</c:v>
                </c:pt>
                <c:pt idx="469">
                  <c:v>0.98941251534193497</c:v>
                </c:pt>
                <c:pt idx="470">
                  <c:v>0.98947820108954343</c:v>
                </c:pt>
                <c:pt idx="471">
                  <c:v>0.9895435615043231</c:v>
                </c:pt>
                <c:pt idx="472">
                  <c:v>0.98960875400538462</c:v>
                </c:pt>
                <c:pt idx="473">
                  <c:v>0.98973717651592708</c:v>
                </c:pt>
                <c:pt idx="474">
                  <c:v>0.98980078433127383</c:v>
                </c:pt>
                <c:pt idx="475">
                  <c:v>0.98986355257802994</c:v>
                </c:pt>
                <c:pt idx="476">
                  <c:v>0.98998816554609248</c:v>
                </c:pt>
                <c:pt idx="477">
                  <c:v>0.99005009422425794</c:v>
                </c:pt>
                <c:pt idx="478">
                  <c:v>0.99011150866666164</c:v>
                </c:pt>
                <c:pt idx="479">
                  <c:v>0.99017259777623645</c:v>
                </c:pt>
                <c:pt idx="480">
                  <c:v>0.99023362391816705</c:v>
                </c:pt>
                <c:pt idx="481">
                  <c:v>0.99029405186747677</c:v>
                </c:pt>
                <c:pt idx="482">
                  <c:v>0.99035341986144088</c:v>
                </c:pt>
                <c:pt idx="483">
                  <c:v>0.99041210570592508</c:v>
                </c:pt>
                <c:pt idx="484">
                  <c:v>0.99047027731464754</c:v>
                </c:pt>
                <c:pt idx="485">
                  <c:v>0.99052753589252773</c:v>
                </c:pt>
                <c:pt idx="486">
                  <c:v>0.99058451111600854</c:v>
                </c:pt>
                <c:pt idx="487">
                  <c:v>0.9906413708988081</c:v>
                </c:pt>
                <c:pt idx="488">
                  <c:v>0.99069622621159759</c:v>
                </c:pt>
                <c:pt idx="489">
                  <c:v>0.99075106053517237</c:v>
                </c:pt>
                <c:pt idx="490">
                  <c:v>0.99075106053517237</c:v>
                </c:pt>
                <c:pt idx="491">
                  <c:v>0.99080519172005244</c:v>
                </c:pt>
                <c:pt idx="492">
                  <c:v>0.99085907103435533</c:v>
                </c:pt>
                <c:pt idx="493">
                  <c:v>0.9909125305643629</c:v>
                </c:pt>
                <c:pt idx="494">
                  <c:v>0.9909653814071423</c:v>
                </c:pt>
                <c:pt idx="495">
                  <c:v>0.99101812730384786</c:v>
                </c:pt>
                <c:pt idx="496">
                  <c:v>0.99106977126677831</c:v>
                </c:pt>
                <c:pt idx="497">
                  <c:v>0.99112136275667184</c:v>
                </c:pt>
                <c:pt idx="498">
                  <c:v>0.99117156895839076</c:v>
                </c:pt>
                <c:pt idx="499">
                  <c:v>0.99122107202141507</c:v>
                </c:pt>
                <c:pt idx="500">
                  <c:v>0.99126967254820453</c:v>
                </c:pt>
                <c:pt idx="501">
                  <c:v>0.99131815763431275</c:v>
                </c:pt>
                <c:pt idx="502">
                  <c:v>0.99136635936602158</c:v>
                </c:pt>
                <c:pt idx="503">
                  <c:v>0.99141405735657606</c:v>
                </c:pt>
                <c:pt idx="504">
                  <c:v>0.99146172386330844</c:v>
                </c:pt>
                <c:pt idx="505">
                  <c:v>0.99150927492935959</c:v>
                </c:pt>
                <c:pt idx="506">
                  <c:v>0.99155659511404826</c:v>
                </c:pt>
                <c:pt idx="507">
                  <c:v>0.99160385233109272</c:v>
                </c:pt>
                <c:pt idx="508">
                  <c:v>0.99165077372070087</c:v>
                </c:pt>
                <c:pt idx="509">
                  <c:v>0.99169748521816137</c:v>
                </c:pt>
                <c:pt idx="510">
                  <c:v>0.99174265400833661</c:v>
                </c:pt>
                <c:pt idx="511">
                  <c:v>0.99178758142254209</c:v>
                </c:pt>
                <c:pt idx="512">
                  <c:v>0.99187649173628856</c:v>
                </c:pt>
                <c:pt idx="513">
                  <c:v>0.99192069502258462</c:v>
                </c:pt>
                <c:pt idx="514">
                  <c:v>0.99196484583584377</c:v>
                </c:pt>
                <c:pt idx="515">
                  <c:v>0.992008944176066</c:v>
                </c:pt>
                <c:pt idx="516">
                  <c:v>0.99205270668885193</c:v>
                </c:pt>
                <c:pt idx="517">
                  <c:v>0.99209618584723858</c:v>
                </c:pt>
                <c:pt idx="518">
                  <c:v>0.9921392347267225</c:v>
                </c:pt>
                <c:pt idx="519">
                  <c:v>0.99222361137007964</c:v>
                </c:pt>
                <c:pt idx="520">
                  <c:v>0.99226568425107697</c:v>
                </c:pt>
                <c:pt idx="521">
                  <c:v>0.99230764169139307</c:v>
                </c:pt>
                <c:pt idx="522">
                  <c:v>0.99234899044448099</c:v>
                </c:pt>
                <c:pt idx="523">
                  <c:v>0.99239016078924347</c:v>
                </c:pt>
                <c:pt idx="524">
                  <c:v>0.99243101629578445</c:v>
                </c:pt>
                <c:pt idx="525">
                  <c:v>0.99247160943714086</c:v>
                </c:pt>
                <c:pt idx="526">
                  <c:v>0.99251168834273551</c:v>
                </c:pt>
                <c:pt idx="527">
                  <c:v>0.99255176724833016</c:v>
                </c:pt>
                <c:pt idx="528">
                  <c:v>0.99259152082109592</c:v>
                </c:pt>
                <c:pt idx="529">
                  <c:v>0.99263100153406969</c:v>
                </c:pt>
                <c:pt idx="530">
                  <c:v>0.99267026186028851</c:v>
                </c:pt>
                <c:pt idx="531">
                  <c:v>0.99270914438064151</c:v>
                </c:pt>
                <c:pt idx="532">
                  <c:v>0.99274761761130659</c:v>
                </c:pt>
                <c:pt idx="533">
                  <c:v>0.9927858389713945</c:v>
                </c:pt>
                <c:pt idx="534">
                  <c:v>0.99290015672961451</c:v>
                </c:pt>
                <c:pt idx="535">
                  <c:v>0.99293818918676957</c:v>
                </c:pt>
                <c:pt idx="536">
                  <c:v>0.99297592779491783</c:v>
                </c:pt>
                <c:pt idx="537">
                  <c:v>0.99301318365112656</c:v>
                </c:pt>
                <c:pt idx="538">
                  <c:v>0.99305040802351308</c:v>
                </c:pt>
                <c:pt idx="539">
                  <c:v>0.99308691876259758</c:v>
                </c:pt>
                <c:pt idx="540">
                  <c:v>0.99312327208257134</c:v>
                </c:pt>
                <c:pt idx="541">
                  <c:v>0.99315952045647127</c:v>
                </c:pt>
                <c:pt idx="542">
                  <c:v>0.99323076834599267</c:v>
                </c:pt>
                <c:pt idx="543">
                  <c:v>0.99326606171062082</c:v>
                </c:pt>
                <c:pt idx="544">
                  <c:v>0.99330117666692341</c:v>
                </c:pt>
                <c:pt idx="545">
                  <c:v>0.99333614469872267</c:v>
                </c:pt>
                <c:pt idx="546">
                  <c:v>0.99337110223591452</c:v>
                </c:pt>
                <c:pt idx="547">
                  <c:v>0.99340605977310636</c:v>
                </c:pt>
                <c:pt idx="548">
                  <c:v>0.99344085989118747</c:v>
                </c:pt>
                <c:pt idx="549">
                  <c:v>0.99347549209555042</c:v>
                </c:pt>
                <c:pt idx="550">
                  <c:v>0.99350964154797383</c:v>
                </c:pt>
                <c:pt idx="551">
                  <c:v>0.99354378050578984</c:v>
                </c:pt>
                <c:pt idx="552">
                  <c:v>0.99357787748517634</c:v>
                </c:pt>
                <c:pt idx="553">
                  <c:v>0.99361165962634135</c:v>
                </c:pt>
                <c:pt idx="554">
                  <c:v>0.99367827939400688</c:v>
                </c:pt>
                <c:pt idx="555">
                  <c:v>0.99371136889108458</c:v>
                </c:pt>
                <c:pt idx="556">
                  <c:v>0.99374440591512536</c:v>
                </c:pt>
                <c:pt idx="557">
                  <c:v>0.99377743244455885</c:v>
                </c:pt>
                <c:pt idx="558">
                  <c:v>0.99381022809262987</c:v>
                </c:pt>
                <c:pt idx="559">
                  <c:v>0.99384287681619754</c:v>
                </c:pt>
                <c:pt idx="560">
                  <c:v>0.99390770200600065</c:v>
                </c:pt>
                <c:pt idx="561">
                  <c:v>0.9939396056124441</c:v>
                </c:pt>
                <c:pt idx="562">
                  <c:v>0.99397147773506545</c:v>
                </c:pt>
                <c:pt idx="563">
                  <c:v>0.99400296155721368</c:v>
                </c:pt>
                <c:pt idx="564">
                  <c:v>0.99403426697103636</c:v>
                </c:pt>
                <c:pt idx="565">
                  <c:v>0.99406539397653348</c:v>
                </c:pt>
                <c:pt idx="566">
                  <c:v>0.99409594377862465</c:v>
                </c:pt>
                <c:pt idx="567">
                  <c:v>0.99415540622405518</c:v>
                </c:pt>
                <c:pt idx="568">
                  <c:v>0.99418482260854901</c:v>
                </c:pt>
                <c:pt idx="569">
                  <c:v>0.99421391366021394</c:v>
                </c:pt>
                <c:pt idx="570">
                  <c:v>0.99424280531433862</c:v>
                </c:pt>
                <c:pt idx="571">
                  <c:v>0.99427129817338278</c:v>
                </c:pt>
                <c:pt idx="572">
                  <c:v>0.99432779064492405</c:v>
                </c:pt>
                <c:pt idx="573">
                  <c:v>0.99435589520349499</c:v>
                </c:pt>
                <c:pt idx="574">
                  <c:v>0.99438399976206593</c:v>
                </c:pt>
                <c:pt idx="575">
                  <c:v>0.99441210432063687</c:v>
                </c:pt>
                <c:pt idx="576">
                  <c:v>0.9944401773953857</c:v>
                </c:pt>
                <c:pt idx="577">
                  <c:v>0.99446822948091973</c:v>
                </c:pt>
                <c:pt idx="578">
                  <c:v>0.99452409227601801</c:v>
                </c:pt>
                <c:pt idx="579">
                  <c:v>0.99455188199636746</c:v>
                </c:pt>
                <c:pt idx="580">
                  <c:v>0.99457959825446529</c:v>
                </c:pt>
                <c:pt idx="581">
                  <c:v>0.99460717808266708</c:v>
                </c:pt>
                <c:pt idx="582">
                  <c:v>0.99474124669198138</c:v>
                </c:pt>
                <c:pt idx="583">
                  <c:v>0.9947675566726899</c:v>
                </c:pt>
                <c:pt idx="584">
                  <c:v>0.99479359379360643</c:v>
                </c:pt>
                <c:pt idx="585">
                  <c:v>0.99481956794687865</c:v>
                </c:pt>
                <c:pt idx="586">
                  <c:v>0.99484547913250665</c:v>
                </c:pt>
                <c:pt idx="587">
                  <c:v>0.99487136932891984</c:v>
                </c:pt>
                <c:pt idx="588">
                  <c:v>0.9948971440846518</c:v>
                </c:pt>
                <c:pt idx="589">
                  <c:v>0.99492291884038375</c:v>
                </c:pt>
                <c:pt idx="590">
                  <c:v>0.9949486621122936</c:v>
                </c:pt>
                <c:pt idx="591">
                  <c:v>0.99497424796509271</c:v>
                </c:pt>
                <c:pt idx="592">
                  <c:v>0.99502518878932855</c:v>
                </c:pt>
                <c:pt idx="593">
                  <c:v>0.99505021842793639</c:v>
                </c:pt>
                <c:pt idx="594">
                  <c:v>0.99509996286693059</c:v>
                </c:pt>
                <c:pt idx="595">
                  <c:v>0.99512457272124311</c:v>
                </c:pt>
                <c:pt idx="596">
                  <c:v>0.99514916158634081</c:v>
                </c:pt>
                <c:pt idx="597">
                  <c:v>0.99527063666679594</c:v>
                </c:pt>
                <c:pt idx="598">
                  <c:v>0.9952947112961319</c:v>
                </c:pt>
                <c:pt idx="599">
                  <c:v>0.99534262967344145</c:v>
                </c:pt>
                <c:pt idx="600">
                  <c:v>0.99536642094837813</c:v>
                </c:pt>
                <c:pt idx="601">
                  <c:v>0.99539003381498925</c:v>
                </c:pt>
                <c:pt idx="602">
                  <c:v>0.99541338431641579</c:v>
                </c:pt>
                <c:pt idx="603">
                  <c:v>0.99545953959968503</c:v>
                </c:pt>
                <c:pt idx="604">
                  <c:v>0.99548235487613512</c:v>
                </c:pt>
                <c:pt idx="605">
                  <c:v>0.99550505471190398</c:v>
                </c:pt>
                <c:pt idx="606">
                  <c:v>0.99552745020405875</c:v>
                </c:pt>
                <c:pt idx="607">
                  <c:v>0.99557199981239841</c:v>
                </c:pt>
                <c:pt idx="608">
                  <c:v>0.99559395453104305</c:v>
                </c:pt>
                <c:pt idx="609">
                  <c:v>0.99561586727125817</c:v>
                </c:pt>
                <c:pt idx="610">
                  <c:v>0.99565951434336297</c:v>
                </c:pt>
                <c:pt idx="611">
                  <c:v>0.99568125916985994</c:v>
                </c:pt>
                <c:pt idx="612">
                  <c:v>0.99570277311499455</c:v>
                </c:pt>
                <c:pt idx="613">
                  <c:v>0.99572422409248484</c:v>
                </c:pt>
                <c:pt idx="614">
                  <c:v>0.99574547567243488</c:v>
                </c:pt>
                <c:pt idx="615">
                  <c:v>0.99576664329552589</c:v>
                </c:pt>
                <c:pt idx="616">
                  <c:v>0.99578778992940209</c:v>
                </c:pt>
                <c:pt idx="617">
                  <c:v>0.99580890507945619</c:v>
                </c:pt>
                <c:pt idx="618">
                  <c:v>0.99582997825108066</c:v>
                </c:pt>
                <c:pt idx="619">
                  <c:v>0.99585101993888303</c:v>
                </c:pt>
                <c:pt idx="620">
                  <c:v>0.9958720301428633</c:v>
                </c:pt>
                <c:pt idx="621">
                  <c:v>0.99589296688459183</c:v>
                </c:pt>
                <c:pt idx="622">
                  <c:v>0.99591390362632037</c:v>
                </c:pt>
                <c:pt idx="623">
                  <c:v>0.99593469344354557</c:v>
                </c:pt>
                <c:pt idx="624">
                  <c:v>0.99595546227155596</c:v>
                </c:pt>
                <c:pt idx="625">
                  <c:v>0.99597563290694557</c:v>
                </c:pt>
                <c:pt idx="626">
                  <c:v>0.99599558315558012</c:v>
                </c:pt>
                <c:pt idx="627">
                  <c:v>0.99601545994196306</c:v>
                </c:pt>
                <c:pt idx="628">
                  <c:v>0.99603465457886609</c:v>
                </c:pt>
                <c:pt idx="629">
                  <c:v>0.99605361833440664</c:v>
                </c:pt>
                <c:pt idx="630">
                  <c:v>0.99607238269240694</c:v>
                </c:pt>
                <c:pt idx="631">
                  <c:v>0.99609112606119254</c:v>
                </c:pt>
                <c:pt idx="632">
                  <c:v>0.99610979596772642</c:v>
                </c:pt>
                <c:pt idx="633">
                  <c:v>0.99614673698571365</c:v>
                </c:pt>
                <c:pt idx="634">
                  <c:v>0.99618335267087199</c:v>
                </c:pt>
                <c:pt idx="635">
                  <c:v>0.99620158180389584</c:v>
                </c:pt>
                <c:pt idx="636">
                  <c:v>0.99621973747466797</c:v>
                </c:pt>
                <c:pt idx="637">
                  <c:v>0.99623775671554415</c:v>
                </c:pt>
                <c:pt idx="638">
                  <c:v>0.99627358530514876</c:v>
                </c:pt>
                <c:pt idx="639">
                  <c:v>0.99629140514848458</c:v>
                </c:pt>
                <c:pt idx="640">
                  <c:v>0.9963269398890825</c:v>
                </c:pt>
                <c:pt idx="641">
                  <c:v>0.99634466528095189</c:v>
                </c:pt>
                <c:pt idx="642">
                  <c:v>0.99637960182892893</c:v>
                </c:pt>
                <c:pt idx="643">
                  <c:v>0.99639703337179164</c:v>
                </c:pt>
                <c:pt idx="644">
                  <c:v>0.99643142420018482</c:v>
                </c:pt>
                <c:pt idx="645">
                  <c:v>0.99644849892639653</c:v>
                </c:pt>
                <c:pt idx="646">
                  <c:v>0.99646553167417873</c:v>
                </c:pt>
                <c:pt idx="647">
                  <c:v>0.99648254343274612</c:v>
                </c:pt>
                <c:pt idx="648">
                  <c:v>0.99651607370333395</c:v>
                </c:pt>
                <c:pt idx="649">
                  <c:v>0.99654902677051571</c:v>
                </c:pt>
                <c:pt idx="650">
                  <c:v>0.99656529341195899</c:v>
                </c:pt>
                <c:pt idx="651">
                  <c:v>0.99661396740100017</c:v>
                </c:pt>
                <c:pt idx="652">
                  <c:v>0.9966301186017622</c:v>
                </c:pt>
                <c:pt idx="653">
                  <c:v>0.99664607040498399</c:v>
                </c:pt>
                <c:pt idx="654">
                  <c:v>0.99666198022977615</c:v>
                </c:pt>
                <c:pt idx="655">
                  <c:v>0.99669367394407204</c:v>
                </c:pt>
                <c:pt idx="656">
                  <c:v>0.99670944733896827</c:v>
                </c:pt>
                <c:pt idx="657">
                  <c:v>0.99672518925004239</c:v>
                </c:pt>
                <c:pt idx="658">
                  <c:v>0.99674086819347218</c:v>
                </c:pt>
                <c:pt idx="659">
                  <c:v>0.99675653664229458</c:v>
                </c:pt>
                <c:pt idx="660">
                  <c:v>0.99677215261808005</c:v>
                </c:pt>
                <c:pt idx="661">
                  <c:v>0.99678775809925813</c:v>
                </c:pt>
                <c:pt idx="662">
                  <c:v>0.99681883263171833</c:v>
                </c:pt>
                <c:pt idx="663">
                  <c:v>0.99683428069378566</c:v>
                </c:pt>
                <c:pt idx="664">
                  <c:v>0.99686509286106129</c:v>
                </c:pt>
                <c:pt idx="665">
                  <c:v>0.99688042548244749</c:v>
                </c:pt>
                <c:pt idx="666">
                  <c:v>0.99691098577914605</c:v>
                </c:pt>
                <c:pt idx="667">
                  <c:v>0.996941504097415</c:v>
                </c:pt>
                <c:pt idx="668">
                  <c:v>0.99695672127811996</c:v>
                </c:pt>
                <c:pt idx="669">
                  <c:v>0.9969718440073585</c:v>
                </c:pt>
                <c:pt idx="670">
                  <c:v>0.99698691426356012</c:v>
                </c:pt>
                <c:pt idx="671">
                  <c:v>0.99701705477596336</c:v>
                </c:pt>
                <c:pt idx="672">
                  <c:v>0.99703211453755758</c:v>
                </c:pt>
                <c:pt idx="673">
                  <c:v>0.99704709034229277</c:v>
                </c:pt>
                <c:pt idx="674">
                  <c:v>0.99706205565242056</c:v>
                </c:pt>
                <c:pt idx="675">
                  <c:v>0.99707702096254835</c:v>
                </c:pt>
                <c:pt idx="676">
                  <c:v>0.99709193379963923</c:v>
                </c:pt>
                <c:pt idx="677">
                  <c:v>0.99712172798999876</c:v>
                </c:pt>
                <c:pt idx="678">
                  <c:v>0.99713625252661642</c:v>
                </c:pt>
                <c:pt idx="679">
                  <c:v>0.99716500775084516</c:v>
                </c:pt>
                <c:pt idx="680">
                  <c:v>0.99717935387913736</c:v>
                </c:pt>
                <c:pt idx="681">
                  <c:v>0.9971934481368524</c:v>
                </c:pt>
                <c:pt idx="682">
                  <c:v>0.99722141626552741</c:v>
                </c:pt>
                <c:pt idx="683">
                  <c:v>0.99723514321198403</c:v>
                </c:pt>
                <c:pt idx="684">
                  <c:v>0.99724883867461844</c:v>
                </c:pt>
                <c:pt idx="685">
                  <c:v>0.99726247116960864</c:v>
                </c:pt>
                <c:pt idx="686">
                  <c:v>0.99727609316999144</c:v>
                </c:pt>
                <c:pt idx="687">
                  <c:v>0.99730305381635775</c:v>
                </c:pt>
                <c:pt idx="688">
                  <c:v>0.99732984654900592</c:v>
                </c:pt>
                <c:pt idx="689">
                  <c:v>0.99734316420577462</c:v>
                </c:pt>
                <c:pt idx="690">
                  <c:v>0.9973563979056842</c:v>
                </c:pt>
                <c:pt idx="691">
                  <c:v>0.99738253997267456</c:v>
                </c:pt>
                <c:pt idx="692">
                  <c:v>0.99740855610437629</c:v>
                </c:pt>
                <c:pt idx="693">
                  <c:v>0.99742152743910129</c:v>
                </c:pt>
                <c:pt idx="694">
                  <c:v>0.99744743862472929</c:v>
                </c:pt>
                <c:pt idx="695">
                  <c:v>0.99746036798102478</c:v>
                </c:pt>
                <c:pt idx="696">
                  <c:v>0.99747317140203173</c:v>
                </c:pt>
                <c:pt idx="697">
                  <c:v>0.99751113039693518</c:v>
                </c:pt>
                <c:pt idx="698">
                  <c:v>0.99752376590422398</c:v>
                </c:pt>
                <c:pt idx="699">
                  <c:v>0.99753639091690538</c:v>
                </c:pt>
                <c:pt idx="700">
                  <c:v>0.99754899494037208</c:v>
                </c:pt>
                <c:pt idx="701">
                  <c:v>0.99758659711862441</c:v>
                </c:pt>
                <c:pt idx="702">
                  <c:v>0.99759907520680247</c:v>
                </c:pt>
                <c:pt idx="703">
                  <c:v>0.99761154280037312</c:v>
                </c:pt>
                <c:pt idx="704">
                  <c:v>0.99762397891012167</c:v>
                </c:pt>
                <c:pt idx="705">
                  <c:v>0.99766069954135383</c:v>
                </c:pt>
                <c:pt idx="706">
                  <c:v>0.99767282081288089</c:v>
                </c:pt>
                <c:pt idx="707">
                  <c:v>0.99769701088289808</c:v>
                </c:pt>
                <c:pt idx="708">
                  <c:v>0.99770905869217341</c:v>
                </c:pt>
                <c:pt idx="709">
                  <c:v>0.99774501321706666</c:v>
                </c:pt>
                <c:pt idx="710">
                  <c:v>0.99776875201896642</c:v>
                </c:pt>
                <c:pt idx="711">
                  <c:v>0.99778053746305717</c:v>
                </c:pt>
                <c:pt idx="712">
                  <c:v>0.9977922179610742</c:v>
                </c:pt>
                <c:pt idx="713">
                  <c:v>0.99780383549144691</c:v>
                </c:pt>
                <c:pt idx="714">
                  <c:v>0.99782687115465196</c:v>
                </c:pt>
                <c:pt idx="715">
                  <c:v>0.99783827879287701</c:v>
                </c:pt>
                <c:pt idx="716">
                  <c:v>0.99784967593649465</c:v>
                </c:pt>
                <c:pt idx="717">
                  <c:v>0.99786099961786057</c:v>
                </c:pt>
                <c:pt idx="718">
                  <c:v>0.9978949286835288</c:v>
                </c:pt>
                <c:pt idx="719">
                  <c:v>0.9979061789026431</c:v>
                </c:pt>
                <c:pt idx="720">
                  <c:v>0.99791736615411308</c:v>
                </c:pt>
                <c:pt idx="721">
                  <c:v>0.99792836450265021</c:v>
                </c:pt>
                <c:pt idx="722">
                  <c:v>0.99795025625365064</c:v>
                </c:pt>
                <c:pt idx="723">
                  <c:v>0.99796114965611393</c:v>
                </c:pt>
                <c:pt idx="724">
                  <c:v>0.99798282102035918</c:v>
                </c:pt>
                <c:pt idx="725">
                  <c:v>0.99799353601449692</c:v>
                </c:pt>
                <c:pt idx="726">
                  <c:v>0.99800424051402725</c:v>
                </c:pt>
                <c:pt idx="727">
                  <c:v>0.99801492402434289</c:v>
                </c:pt>
                <c:pt idx="728">
                  <c:v>0.99804688010382314</c:v>
                </c:pt>
                <c:pt idx="729">
                  <c:v>0.99805752163570927</c:v>
                </c:pt>
                <c:pt idx="730">
                  <c:v>0.99806816316759539</c:v>
                </c:pt>
                <c:pt idx="731">
                  <c:v>0.99809966797895833</c:v>
                </c:pt>
                <c:pt idx="732">
                  <c:v>0.99811012060791149</c:v>
                </c:pt>
                <c:pt idx="733">
                  <c:v>0.99812054175304254</c:v>
                </c:pt>
                <c:pt idx="734">
                  <c:v>0.99814132107566034</c:v>
                </c:pt>
                <c:pt idx="735">
                  <c:v>0.99815160579089546</c:v>
                </c:pt>
                <c:pt idx="736">
                  <c:v>0.99816180654927145</c:v>
                </c:pt>
                <c:pt idx="737">
                  <c:v>0.99818217658220132</c:v>
                </c:pt>
                <c:pt idx="738">
                  <c:v>0.99822266477748378</c:v>
                </c:pt>
                <c:pt idx="739">
                  <c:v>0.99826236587721273</c:v>
                </c:pt>
                <c:pt idx="740">
                  <c:v>0.99827207338904178</c:v>
                </c:pt>
                <c:pt idx="741">
                  <c:v>0.99829120505830049</c:v>
                </c:pt>
                <c:pt idx="742">
                  <c:v>0.99830066069955237</c:v>
                </c:pt>
                <c:pt idx="743">
                  <c:v>0.99831948802519699</c:v>
                </c:pt>
                <c:pt idx="744">
                  <c:v>0.99832878624733812</c:v>
                </c:pt>
                <c:pt idx="745">
                  <c:v>0.99833806348026444</c:v>
                </c:pt>
                <c:pt idx="746">
                  <c:v>0.99834726725093914</c:v>
                </c:pt>
                <c:pt idx="747">
                  <c:v>0.99836562231925152</c:v>
                </c:pt>
                <c:pt idx="748">
                  <c:v>0.9983747526276745</c:v>
                </c:pt>
                <c:pt idx="749">
                  <c:v>0.99838376749541624</c:v>
                </c:pt>
                <c:pt idx="750">
                  <c:v>0.99839277186855058</c:v>
                </c:pt>
                <c:pt idx="751">
                  <c:v>0.99840174475786281</c:v>
                </c:pt>
                <c:pt idx="752">
                  <c:v>0.99841070715256763</c:v>
                </c:pt>
                <c:pt idx="753">
                  <c:v>0.99841965905266505</c:v>
                </c:pt>
                <c:pt idx="754">
                  <c:v>0.99843740543374926</c:v>
                </c:pt>
                <c:pt idx="755">
                  <c:v>0.99845495241729321</c:v>
                </c:pt>
                <c:pt idx="756">
                  <c:v>0.99847247841162234</c:v>
                </c:pt>
                <c:pt idx="757">
                  <c:v>0.99849859948939801</c:v>
                </c:pt>
                <c:pt idx="758">
                  <c:v>0.99850720506745183</c:v>
                </c:pt>
                <c:pt idx="759">
                  <c:v>0.99851581064550565</c:v>
                </c:pt>
                <c:pt idx="760">
                  <c:v>0.99853294833936168</c:v>
                </c:pt>
                <c:pt idx="761">
                  <c:v>0.99854151193898599</c:v>
                </c:pt>
                <c:pt idx="762">
                  <c:v>0.9985500755386103</c:v>
                </c:pt>
                <c:pt idx="763">
                  <c:v>0.99857567188601681</c:v>
                </c:pt>
                <c:pt idx="764">
                  <c:v>0.99859253672008086</c:v>
                </c:pt>
                <c:pt idx="765">
                  <c:v>0.99861769229397723</c:v>
                </c:pt>
                <c:pt idx="766">
                  <c:v>0.99864274292179989</c:v>
                </c:pt>
                <c:pt idx="767">
                  <c:v>0.99865927192842763</c:v>
                </c:pt>
                <c:pt idx="768">
                  <c:v>0.99867561203212252</c:v>
                </c:pt>
                <c:pt idx="769">
                  <c:v>0.99868369287980718</c:v>
                </c:pt>
                <c:pt idx="770">
                  <c:v>0.99869968666145847</c:v>
                </c:pt>
                <c:pt idx="771">
                  <c:v>0.99871543906714</c:v>
                </c:pt>
                <c:pt idx="772">
                  <c:v>0.9987232890334623</c:v>
                </c:pt>
                <c:pt idx="773">
                  <c:v>0.9987311285051772</c:v>
                </c:pt>
                <c:pt idx="774">
                  <c:v>0.99874667101871106</c:v>
                </c:pt>
                <c:pt idx="775">
                  <c:v>0.99875437406053003</c:v>
                </c:pt>
                <c:pt idx="776">
                  <c:v>0.99876205611313418</c:v>
                </c:pt>
                <c:pt idx="777">
                  <c:v>0.99879245899072189</c:v>
                </c:pt>
                <c:pt idx="778">
                  <c:v>0.99882973583614532</c:v>
                </c:pt>
                <c:pt idx="779">
                  <c:v>0.99883713453435019</c:v>
                </c:pt>
                <c:pt idx="780">
                  <c:v>0.99885172203861217</c:v>
                </c:pt>
                <c:pt idx="781">
                  <c:v>0.99886604717768956</c:v>
                </c:pt>
                <c:pt idx="782">
                  <c:v>0.99888020440304881</c:v>
                </c:pt>
                <c:pt idx="783">
                  <c:v>0.99890824599397543</c:v>
                </c:pt>
                <c:pt idx="784">
                  <c:v>0.99893557395160004</c:v>
                </c:pt>
                <c:pt idx="785">
                  <c:v>0.99894893358679826</c:v>
                </c:pt>
                <c:pt idx="786">
                  <c:v>0.99895555568405681</c:v>
                </c:pt>
                <c:pt idx="787">
                  <c:v>0.99896865295407045</c:v>
                </c:pt>
                <c:pt idx="788">
                  <c:v>0.99898165577261766</c:v>
                </c:pt>
                <c:pt idx="789">
                  <c:v>0.99898814143998016</c:v>
                </c:pt>
                <c:pt idx="790">
                  <c:v>0.99899462710734266</c:v>
                </c:pt>
                <c:pt idx="791">
                  <c:v>0.99900111277470516</c:v>
                </c:pt>
                <c:pt idx="792">
                  <c:v>0.99900759844206766</c:v>
                </c:pt>
                <c:pt idx="793">
                  <c:v>0.99901402114178584</c:v>
                </c:pt>
                <c:pt idx="794">
                  <c:v>0.99903947056468878</c:v>
                </c:pt>
                <c:pt idx="795">
                  <c:v>0.99904575683451102</c:v>
                </c:pt>
                <c:pt idx="796">
                  <c:v>0.99905201162051116</c:v>
                </c:pt>
                <c:pt idx="797">
                  <c:v>0.99907672642089751</c:v>
                </c:pt>
                <c:pt idx="798">
                  <c:v>0.99913070018666683</c:v>
                </c:pt>
                <c:pt idx="799">
                  <c:v>0.99913653518837164</c:v>
                </c:pt>
                <c:pt idx="800">
                  <c:v>0.99914233870625424</c:v>
                </c:pt>
                <c:pt idx="801">
                  <c:v>0.99914805826727782</c:v>
                </c:pt>
                <c:pt idx="802">
                  <c:v>0.99915945541089546</c:v>
                </c:pt>
                <c:pt idx="803">
                  <c:v>0.99916513299348952</c:v>
                </c:pt>
                <c:pt idx="804">
                  <c:v>0.99917081057608359</c:v>
                </c:pt>
                <c:pt idx="805">
                  <c:v>0.99917646716946285</c:v>
                </c:pt>
                <c:pt idx="806">
                  <c:v>0.99918773837779196</c:v>
                </c:pt>
                <c:pt idx="807">
                  <c:v>0.99919337398195651</c:v>
                </c:pt>
                <c:pt idx="808">
                  <c:v>0.99919897810229885</c:v>
                </c:pt>
                <c:pt idx="809">
                  <c:v>0.99920442480353044</c:v>
                </c:pt>
                <c:pt idx="810">
                  <c:v>0.99924194302492364</c:v>
                </c:pt>
                <c:pt idx="811">
                  <c:v>0.99925231169701778</c:v>
                </c:pt>
                <c:pt idx="812">
                  <c:v>0.99926250196078636</c:v>
                </c:pt>
                <c:pt idx="813">
                  <c:v>0.9992775932062028</c:v>
                </c:pt>
                <c:pt idx="814">
                  <c:v>0.99928254666088745</c:v>
                </c:pt>
                <c:pt idx="815">
                  <c:v>0.99928747912635729</c:v>
                </c:pt>
                <c:pt idx="816">
                  <c:v>0.99929239060261243</c:v>
                </c:pt>
                <c:pt idx="817">
                  <c:v>0.99929730207886758</c:v>
                </c:pt>
                <c:pt idx="818">
                  <c:v>0.99930220306051531</c:v>
                </c:pt>
                <c:pt idx="819">
                  <c:v>0.99932149214888466</c:v>
                </c:pt>
                <c:pt idx="820">
                  <c:v>0.99933098976856605</c:v>
                </c:pt>
                <c:pt idx="821">
                  <c:v>0.99933572283649563</c:v>
                </c:pt>
                <c:pt idx="822">
                  <c:v>0.99934042442060311</c:v>
                </c:pt>
                <c:pt idx="823">
                  <c:v>0.99934512600471059</c:v>
                </c:pt>
                <c:pt idx="824">
                  <c:v>0.99935905234870737</c:v>
                </c:pt>
                <c:pt idx="825">
                  <c:v>0.99938174168986882</c:v>
                </c:pt>
                <c:pt idx="826">
                  <c:v>0.99938619140339913</c:v>
                </c:pt>
                <c:pt idx="827">
                  <c:v>0.99939932015723498</c:v>
                </c:pt>
                <c:pt idx="828">
                  <c:v>0.99941218654588615</c:v>
                </c:pt>
                <c:pt idx="829">
                  <c:v>0.99941644735648349</c:v>
                </c:pt>
                <c:pt idx="830">
                  <c:v>0.99942483254778225</c:v>
                </c:pt>
                <c:pt idx="831">
                  <c:v>0.99942899890691317</c:v>
                </c:pt>
                <c:pt idx="832">
                  <c:v>0.99943313378222198</c:v>
                </c:pt>
                <c:pt idx="833">
                  <c:v>0.99943725816292339</c:v>
                </c:pt>
                <c:pt idx="834">
                  <c:v>0.9994413825436248</c:v>
                </c:pt>
                <c:pt idx="835">
                  <c:v>0.9994495683373833</c:v>
                </c:pt>
                <c:pt idx="836">
                  <c:v>0.99946566706510842</c:v>
                </c:pt>
                <c:pt idx="837">
                  <c:v>0.99947764141213202</c:v>
                </c:pt>
                <c:pt idx="838">
                  <c:v>0.99948157688990058</c:v>
                </c:pt>
                <c:pt idx="839">
                  <c:v>0.99950501134818626</c:v>
                </c:pt>
                <c:pt idx="840">
                  <c:v>0.9995126514223609</c:v>
                </c:pt>
                <c:pt idx="841">
                  <c:v>0.99952399609294174</c:v>
                </c:pt>
                <c:pt idx="842">
                  <c:v>0.99953142627496872</c:v>
                </c:pt>
                <c:pt idx="843">
                  <c:v>0.99954208879606954</c:v>
                </c:pt>
                <c:pt idx="844">
                  <c:v>0.99954553102729105</c:v>
                </c:pt>
                <c:pt idx="845">
                  <c:v>0.99955575277488173</c:v>
                </c:pt>
                <c:pt idx="846">
                  <c:v>0.99957574500194579</c:v>
                </c:pt>
                <c:pt idx="847">
                  <c:v>0.9995887373258856</c:v>
                </c:pt>
                <c:pt idx="848">
                  <c:v>0.99959194867574475</c:v>
                </c:pt>
                <c:pt idx="849">
                  <c:v>0.99959513903638908</c:v>
                </c:pt>
                <c:pt idx="850">
                  <c:v>0.99960150926307034</c:v>
                </c:pt>
                <c:pt idx="851">
                  <c:v>0.99961709375503371</c:v>
                </c:pt>
                <c:pt idx="852">
                  <c:v>0.99962016867499681</c:v>
                </c:pt>
                <c:pt idx="853">
                  <c:v>0.99962937244567152</c:v>
                </c:pt>
                <c:pt idx="854">
                  <c:v>0.9996323948925977</c:v>
                </c:pt>
                <c:pt idx="855">
                  <c:v>0.99963540684491659</c:v>
                </c:pt>
                <c:pt idx="856">
                  <c:v>0.99963841879723547</c:v>
                </c:pt>
                <c:pt idx="857">
                  <c:v>0.99964139926573214</c:v>
                </c:pt>
                <c:pt idx="858">
                  <c:v>0.99964437973422882</c:v>
                </c:pt>
                <c:pt idx="859">
                  <c:v>0.99965887278702437</c:v>
                </c:pt>
                <c:pt idx="860">
                  <c:v>0.99966455036961843</c:v>
                </c:pt>
                <c:pt idx="861">
                  <c:v>0.99967845572440051</c:v>
                </c:pt>
                <c:pt idx="862">
                  <c:v>0.99969205673556838</c:v>
                </c:pt>
                <c:pt idx="863">
                  <c:v>0.99970287667577984</c:v>
                </c:pt>
                <c:pt idx="864">
                  <c:v>0.99971611037568942</c:v>
                </c:pt>
                <c:pt idx="865">
                  <c:v>0.99972128421712914</c:v>
                </c:pt>
                <c:pt idx="866">
                  <c:v>0.99972893478591118</c:v>
                </c:pt>
                <c:pt idx="867">
                  <c:v>0.99973399318666967</c:v>
                </c:pt>
                <c:pt idx="868">
                  <c:v>0.99973895713596173</c:v>
                </c:pt>
                <c:pt idx="869">
                  <c:v>0.99974868563700547</c:v>
                </c:pt>
                <c:pt idx="870">
                  <c:v>0.99975108890209607</c:v>
                </c:pt>
                <c:pt idx="871">
                  <c:v>0.99975348167257938</c:v>
                </c:pt>
                <c:pt idx="872">
                  <c:v>0.99976051305952585</c:v>
                </c:pt>
                <c:pt idx="873">
                  <c:v>0.99976963287334142</c:v>
                </c:pt>
                <c:pt idx="874">
                  <c:v>0.99977182624628436</c:v>
                </c:pt>
                <c:pt idx="875">
                  <c:v>0.99977401961922729</c:v>
                </c:pt>
                <c:pt idx="876">
                  <c:v>0.99979917519312378</c:v>
                </c:pt>
                <c:pt idx="877">
                  <c:v>0.99980888270495283</c:v>
                </c:pt>
                <c:pt idx="878">
                  <c:v>0.99982014341867453</c:v>
                </c:pt>
                <c:pt idx="879">
                  <c:v>0.9998237850474363</c:v>
                </c:pt>
                <c:pt idx="880">
                  <c:v>0.99984586570136946</c:v>
                </c:pt>
                <c:pt idx="881">
                  <c:v>0.99984745038708422</c:v>
                </c:pt>
                <c:pt idx="882">
                  <c:v>0.99985201554129555</c:v>
                </c:pt>
                <c:pt idx="883">
                  <c:v>0.99985353725936599</c:v>
                </c:pt>
                <c:pt idx="884">
                  <c:v>0.99985952968018155</c:v>
                </c:pt>
                <c:pt idx="885">
                  <c:v>0.99986834515038292</c:v>
                </c:pt>
                <c:pt idx="886">
                  <c:v>0.99987397025994007</c:v>
                </c:pt>
                <c:pt idx="887">
                  <c:v>0.99988746632503422</c:v>
                </c:pt>
                <c:pt idx="888">
                  <c:v>0.99989003750384298</c:v>
                </c:pt>
                <c:pt idx="889">
                  <c:v>0.99989130735133624</c:v>
                </c:pt>
                <c:pt idx="890">
                  <c:v>0.99989381556250079</c:v>
                </c:pt>
                <c:pt idx="891">
                  <c:v>0.99989998639164179</c:v>
                </c:pt>
                <c:pt idx="892">
                  <c:v>0.9999047824272157</c:v>
                </c:pt>
                <c:pt idx="893">
                  <c:v>0.9999105649558836</c:v>
                </c:pt>
                <c:pt idx="894">
                  <c:v>0.99991393372485338</c:v>
                </c:pt>
                <c:pt idx="895">
                  <c:v>0.99991615858161842</c:v>
                </c:pt>
                <c:pt idx="896">
                  <c:v>0.99992755572523606</c:v>
                </c:pt>
                <c:pt idx="897">
                  <c:v>0.99992853172372265</c:v>
                </c:pt>
                <c:pt idx="898">
                  <c:v>0.99993238324463196</c:v>
                </c:pt>
                <c:pt idx="899">
                  <c:v>0.99993329627547423</c:v>
                </c:pt>
                <c:pt idx="900">
                  <c:v>0.99993419881170909</c:v>
                </c:pt>
                <c:pt idx="901">
                  <c:v>0.99993941463157832</c:v>
                </c:pt>
                <c:pt idx="902">
                  <c:v>0.99994109376875961</c:v>
                </c:pt>
                <c:pt idx="903">
                  <c:v>0.99994439957008519</c:v>
                </c:pt>
                <c:pt idx="904">
                  <c:v>0.99995766475381731</c:v>
                </c:pt>
                <c:pt idx="905">
                  <c:v>0.99996868409156925</c:v>
                </c:pt>
                <c:pt idx="906">
                  <c:v>0.99997461354474038</c:v>
                </c:pt>
                <c:pt idx="907">
                  <c:v>0.99997615625202563</c:v>
                </c:pt>
                <c:pt idx="908">
                  <c:v>0.99997664949857257</c:v>
                </c:pt>
                <c:pt idx="909">
                  <c:v>0.99997858050633115</c:v>
                </c:pt>
                <c:pt idx="910">
                  <c:v>0.99998623107511331</c:v>
                </c:pt>
                <c:pt idx="911">
                  <c:v>0.99999061782099918</c:v>
                </c:pt>
                <c:pt idx="912">
                  <c:v>0.99999198211995877</c:v>
                </c:pt>
                <c:pt idx="913">
                  <c:v>0.99999231794739496</c:v>
                </c:pt>
                <c:pt idx="914">
                  <c:v>0.99999393411693205</c:v>
                </c:pt>
                <c:pt idx="915">
                  <c:v>0.9999982998736032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01</c:f>
              <c:strCache>
                <c:ptCount val="600"/>
                <c:pt idx="0">
                  <c:v>Caprice Des</c:v>
                </c:pt>
                <c:pt idx="1">
                  <c:v>Coeur De Li</c:v>
                </c:pt>
                <c:pt idx="2">
                  <c:v>Galbani</c:v>
                </c:pt>
                <c:pt idx="3">
                  <c:v>Mini Babybe</c:v>
                </c:pt>
                <c:pt idx="4">
                  <c:v>President</c:v>
                </c:pt>
                <c:pt idx="5">
                  <c:v>Caprice Des</c:v>
                </c:pt>
                <c:pt idx="6">
                  <c:v>Coeur De Li</c:v>
                </c:pt>
                <c:pt idx="7">
                  <c:v>Islos</c:v>
                </c:pt>
                <c:pt idx="8">
                  <c:v>Soignon</c:v>
                </c:pt>
                <c:pt idx="9">
                  <c:v>Salakis</c:v>
                </c:pt>
                <c:pt idx="10">
                  <c:v>St Moret</c:v>
                </c:pt>
                <c:pt idx="11">
                  <c:v>Le Rustique</c:v>
                </c:pt>
                <c:pt idx="12">
                  <c:v>Soignon</c:v>
                </c:pt>
                <c:pt idx="13">
                  <c:v>Casa Azzurr</c:v>
                </c:pt>
                <c:pt idx="14">
                  <c:v>Soignon</c:v>
                </c:pt>
                <c:pt idx="15">
                  <c:v>Mini Babybe</c:v>
                </c:pt>
                <c:pt idx="16">
                  <c:v>Tartare</c:v>
                </c:pt>
                <c:pt idx="17">
                  <c:v>La Vache Qu</c:v>
                </c:pt>
                <c:pt idx="18">
                  <c:v>Ficello</c:v>
                </c:pt>
                <c:pt idx="19">
                  <c:v>All Others</c:v>
                </c:pt>
                <c:pt idx="20">
                  <c:v>Casa Azzurr</c:v>
                </c:pt>
                <c:pt idx="21">
                  <c:v>Mini Babybe</c:v>
                </c:pt>
                <c:pt idx="22">
                  <c:v>President</c:v>
                </c:pt>
                <c:pt idx="23">
                  <c:v>La Vache Qu</c:v>
                </c:pt>
                <c:pt idx="24">
                  <c:v>Paysan Bret</c:v>
                </c:pt>
                <c:pt idx="25">
                  <c:v>All Others</c:v>
                </c:pt>
                <c:pt idx="26">
                  <c:v>Galbani</c:v>
                </c:pt>
                <c:pt idx="27">
                  <c:v>St Moret</c:v>
                </c:pt>
                <c:pt idx="28">
                  <c:v>St Moret</c:v>
                </c:pt>
                <c:pt idx="29">
                  <c:v>La Vache Qu</c:v>
                </c:pt>
                <c:pt idx="30">
                  <c:v>Kiri</c:v>
                </c:pt>
                <c:pt idx="31">
                  <c:v>President</c:v>
                </c:pt>
                <c:pt idx="32">
                  <c:v>Paysan Bret</c:v>
                </c:pt>
                <c:pt idx="33">
                  <c:v>Carre Frais</c:v>
                </c:pt>
                <c:pt idx="34">
                  <c:v>Kiri</c:v>
                </c:pt>
                <c:pt idx="35">
                  <c:v>Casa Azzurr</c:v>
                </c:pt>
                <c:pt idx="36">
                  <c:v>St Moret</c:v>
                </c:pt>
                <c:pt idx="37">
                  <c:v>Galbani</c:v>
                </c:pt>
                <c:pt idx="38">
                  <c:v>Salakis</c:v>
                </c:pt>
                <c:pt idx="39">
                  <c:v>Casa Azzurr</c:v>
                </c:pt>
                <c:pt idx="40">
                  <c:v>Galbani</c:v>
                </c:pt>
                <c:pt idx="41">
                  <c:v>St Moret</c:v>
                </c:pt>
                <c:pt idx="42">
                  <c:v>Lepetit</c:v>
                </c:pt>
                <c:pt idx="43">
                  <c:v>Coeur De Li</c:v>
                </c:pt>
                <c:pt idx="44">
                  <c:v>Galbani</c:v>
                </c:pt>
                <c:pt idx="45">
                  <c:v>Carre Frais</c:v>
                </c:pt>
                <c:pt idx="46">
                  <c:v>Casa Azzurr</c:v>
                </c:pt>
                <c:pt idx="47">
                  <c:v>President</c:v>
                </c:pt>
                <c:pt idx="48">
                  <c:v>Salakis</c:v>
                </c:pt>
                <c:pt idx="49">
                  <c:v>Casa Azzurr</c:v>
                </c:pt>
                <c:pt idx="50">
                  <c:v>Philadelphi</c:v>
                </c:pt>
                <c:pt idx="51">
                  <c:v>Kiri</c:v>
                </c:pt>
                <c:pt idx="52">
                  <c:v>Caprice Des</c:v>
                </c:pt>
                <c:pt idx="53">
                  <c:v>Kiri</c:v>
                </c:pt>
                <c:pt idx="54">
                  <c:v>La Vache Qu</c:v>
                </c:pt>
                <c:pt idx="55">
                  <c:v>Casa Azzurr</c:v>
                </c:pt>
                <c:pt idx="56">
                  <c:v>All Others</c:v>
                </c:pt>
                <c:pt idx="57">
                  <c:v>Boursin</c:v>
                </c:pt>
                <c:pt idx="58">
                  <c:v>Petit Billy</c:v>
                </c:pt>
                <c:pt idx="59">
                  <c:v>Galbani</c:v>
                </c:pt>
                <c:pt idx="60">
                  <c:v>Boursin</c:v>
                </c:pt>
                <c:pt idx="61">
                  <c:v>Tartare</c:v>
                </c:pt>
                <c:pt idx="62">
                  <c:v>President</c:v>
                </c:pt>
                <c:pt idx="63">
                  <c:v>All Others</c:v>
                </c:pt>
                <c:pt idx="64">
                  <c:v>Le Rustique</c:v>
                </c:pt>
                <c:pt idx="65">
                  <c:v>Istara</c:v>
                </c:pt>
                <c:pt idx="66">
                  <c:v>Boursin</c:v>
                </c:pt>
                <c:pt idx="67">
                  <c:v>St Moret</c:v>
                </c:pt>
                <c:pt idx="68">
                  <c:v>St Moret</c:v>
                </c:pt>
                <c:pt idx="69">
                  <c:v>Lou Perac</c:v>
                </c:pt>
                <c:pt idx="70">
                  <c:v>All Others</c:v>
                </c:pt>
                <c:pt idx="71">
                  <c:v>St Moret</c:v>
                </c:pt>
                <c:pt idx="72">
                  <c:v>All Others</c:v>
                </c:pt>
                <c:pt idx="73">
                  <c:v>Coeur De Li</c:v>
                </c:pt>
                <c:pt idx="74">
                  <c:v>President</c:v>
                </c:pt>
                <c:pt idx="75">
                  <c:v>Galbani</c:v>
                </c:pt>
                <c:pt idx="76">
                  <c:v>Boursin</c:v>
                </c:pt>
                <c:pt idx="77">
                  <c:v>Philadelphi</c:v>
                </c:pt>
                <c:pt idx="78">
                  <c:v>Casa Azzurr</c:v>
                </c:pt>
                <c:pt idx="79">
                  <c:v>Le Brebiou</c:v>
                </c:pt>
                <c:pt idx="80">
                  <c:v>All Others</c:v>
                </c:pt>
                <c:pt idx="81">
                  <c:v>All Others</c:v>
                </c:pt>
                <c:pt idx="82">
                  <c:v>Le Rustique</c:v>
                </c:pt>
                <c:pt idx="83">
                  <c:v>Paysan Bret</c:v>
                </c:pt>
                <c:pt idx="84">
                  <c:v>Ficello</c:v>
                </c:pt>
                <c:pt idx="85">
                  <c:v>Salakis</c:v>
                </c:pt>
                <c:pt idx="86">
                  <c:v>Caprice Des</c:v>
                </c:pt>
                <c:pt idx="87">
                  <c:v>Galbani</c:v>
                </c:pt>
                <c:pt idx="88">
                  <c:v>Coeur De Li</c:v>
                </c:pt>
                <c:pt idx="89">
                  <c:v>Kiri</c:v>
                </c:pt>
                <c:pt idx="90">
                  <c:v>Casa Azzurr</c:v>
                </c:pt>
                <c:pt idx="91">
                  <c:v>All Others</c:v>
                </c:pt>
                <c:pt idx="92">
                  <c:v>All Others</c:v>
                </c:pt>
                <c:pt idx="93">
                  <c:v>All Others</c:v>
                </c:pt>
                <c:pt idx="94">
                  <c:v>Etorki</c:v>
                </c:pt>
                <c:pt idx="95">
                  <c:v>All Others</c:v>
                </c:pt>
                <c:pt idx="96">
                  <c:v>Chavroux</c:v>
                </c:pt>
                <c:pt idx="97">
                  <c:v>Salakis</c:v>
                </c:pt>
                <c:pt idx="98">
                  <c:v>All Others</c:v>
                </c:pt>
                <c:pt idx="99">
                  <c:v>Soignon</c:v>
                </c:pt>
                <c:pt idx="100">
                  <c:v>Lactalis: A</c:v>
                </c:pt>
                <c:pt idx="101">
                  <c:v>Soignon</c:v>
                </c:pt>
                <c:pt idx="102">
                  <c:v>President</c:v>
                </c:pt>
                <c:pt idx="103">
                  <c:v>Soignon</c:v>
                </c:pt>
                <c:pt idx="104">
                  <c:v>President</c:v>
                </c:pt>
                <c:pt idx="105">
                  <c:v>All Others</c:v>
                </c:pt>
                <c:pt idx="106">
                  <c:v>Lactalis: A</c:v>
                </c:pt>
                <c:pt idx="107">
                  <c:v>Lou Perac</c:v>
                </c:pt>
                <c:pt idx="108">
                  <c:v>La Vache Qu</c:v>
                </c:pt>
                <c:pt idx="109">
                  <c:v>All Others</c:v>
                </c:pt>
                <c:pt idx="110">
                  <c:v>Galbani</c:v>
                </c:pt>
                <c:pt idx="111">
                  <c:v>President</c:v>
                </c:pt>
                <c:pt idx="112">
                  <c:v>All Others</c:v>
                </c:pt>
                <c:pt idx="113">
                  <c:v>Rondele</c:v>
                </c:pt>
                <c:pt idx="114">
                  <c:v>Paysan Bret</c:v>
                </c:pt>
                <c:pt idx="115">
                  <c:v>Kiri</c:v>
                </c:pt>
                <c:pt idx="116">
                  <c:v>All Others</c:v>
                </c:pt>
                <c:pt idx="117">
                  <c:v>La Vache Qu</c:v>
                </c:pt>
                <c:pt idx="118">
                  <c:v>All Others</c:v>
                </c:pt>
                <c:pt idx="119">
                  <c:v>Salakis</c:v>
                </c:pt>
                <c:pt idx="120">
                  <c:v>Tartare</c:v>
                </c:pt>
                <c:pt idx="121">
                  <c:v>Galbani</c:v>
                </c:pt>
                <c:pt idx="122">
                  <c:v>Paysan Bret</c:v>
                </c:pt>
                <c:pt idx="123">
                  <c:v>President</c:v>
                </c:pt>
                <c:pt idx="124">
                  <c:v>Islos</c:v>
                </c:pt>
                <c:pt idx="125">
                  <c:v>Paysan Bret</c:v>
                </c:pt>
                <c:pt idx="126">
                  <c:v>Chavroux</c:v>
                </c:pt>
                <c:pt idx="127">
                  <c:v>President</c:v>
                </c:pt>
                <c:pt idx="128">
                  <c:v>Boursin</c:v>
                </c:pt>
                <c:pt idx="129">
                  <c:v>All Others</c:v>
                </c:pt>
                <c:pt idx="130">
                  <c:v>Soignon</c:v>
                </c:pt>
                <c:pt idx="131">
                  <c:v>P'Tit Louis</c:v>
                </c:pt>
                <c:pt idx="132">
                  <c:v>Philadelphi</c:v>
                </c:pt>
                <c:pt idx="133">
                  <c:v>All Others</c:v>
                </c:pt>
                <c:pt idx="134">
                  <c:v>All Others</c:v>
                </c:pt>
                <c:pt idx="135">
                  <c:v>Casa Azzurr</c:v>
                </c:pt>
                <c:pt idx="136">
                  <c:v>All Others</c:v>
                </c:pt>
                <c:pt idx="137">
                  <c:v>Casa Azzurr</c:v>
                </c:pt>
                <c:pt idx="138">
                  <c:v>All Others</c:v>
                </c:pt>
                <c:pt idx="139">
                  <c:v>Soignon</c:v>
                </c:pt>
                <c:pt idx="140">
                  <c:v>All Others</c:v>
                </c:pt>
                <c:pt idx="141">
                  <c:v>All Others</c:v>
                </c:pt>
                <c:pt idx="142">
                  <c:v>Soignon</c:v>
                </c:pt>
                <c:pt idx="143">
                  <c:v>All Others</c:v>
                </c:pt>
                <c:pt idx="144">
                  <c:v>President</c:v>
                </c:pt>
                <c:pt idx="145">
                  <c:v>All Others</c:v>
                </c:pt>
                <c:pt idx="146">
                  <c:v>Lactalis: A</c:v>
                </c:pt>
                <c:pt idx="147">
                  <c:v>Boursin</c:v>
                </c:pt>
                <c:pt idx="148">
                  <c:v>Boursin</c:v>
                </c:pt>
                <c:pt idx="149">
                  <c:v>All Others</c:v>
                </c:pt>
                <c:pt idx="150">
                  <c:v>Istara</c:v>
                </c:pt>
                <c:pt idx="151">
                  <c:v>All Others</c:v>
                </c:pt>
                <c:pt idx="152">
                  <c:v>Le Rustique</c:v>
                </c:pt>
                <c:pt idx="153">
                  <c:v>All Others</c:v>
                </c:pt>
                <c:pt idx="154">
                  <c:v>Rondele</c:v>
                </c:pt>
                <c:pt idx="155">
                  <c:v>Lou Perac</c:v>
                </c:pt>
                <c:pt idx="156">
                  <c:v>Mini Babybe</c:v>
                </c:pt>
                <c:pt idx="157">
                  <c:v>All Others</c:v>
                </c:pt>
                <c:pt idx="158">
                  <c:v>Savencia: A</c:v>
                </c:pt>
                <c:pt idx="159">
                  <c:v>Soignon</c:v>
                </c:pt>
                <c:pt idx="160">
                  <c:v>All Others</c:v>
                </c:pt>
                <c:pt idx="161">
                  <c:v>All Others</c:v>
                </c:pt>
                <c:pt idx="162">
                  <c:v>Chavroux</c:v>
                </c:pt>
                <c:pt idx="163">
                  <c:v>All Others</c:v>
                </c:pt>
                <c:pt idx="164">
                  <c:v>All Others</c:v>
                </c:pt>
                <c:pt idx="165">
                  <c:v>Paysan Bret</c:v>
                </c:pt>
                <c:pt idx="166">
                  <c:v>All Others</c:v>
                </c:pt>
                <c:pt idx="167">
                  <c:v>All Others</c:v>
                </c:pt>
                <c:pt idx="168">
                  <c:v>Boursin</c:v>
                </c:pt>
                <c:pt idx="169">
                  <c:v>All Others</c:v>
                </c:pt>
                <c:pt idx="170">
                  <c:v>Tartare</c:v>
                </c:pt>
                <c:pt idx="171">
                  <c:v>Casa Azzurr</c:v>
                </c:pt>
                <c:pt idx="172">
                  <c:v>Salakis</c:v>
                </c:pt>
                <c:pt idx="173">
                  <c:v>Lactalis: A</c:v>
                </c:pt>
                <c:pt idx="174">
                  <c:v>St Moret</c:v>
                </c:pt>
                <c:pt idx="175">
                  <c:v>All Others</c:v>
                </c:pt>
                <c:pt idx="176">
                  <c:v>Caprice Des</c:v>
                </c:pt>
                <c:pt idx="177">
                  <c:v>All Others</c:v>
                </c:pt>
                <c:pt idx="178">
                  <c:v>All Others</c:v>
                </c:pt>
                <c:pt idx="179">
                  <c:v>All Others</c:v>
                </c:pt>
                <c:pt idx="180">
                  <c:v>Savencia: A</c:v>
                </c:pt>
                <c:pt idx="181">
                  <c:v>All Others</c:v>
                </c:pt>
                <c:pt idx="182">
                  <c:v>Triballat N</c:v>
                </c:pt>
                <c:pt idx="183">
                  <c:v>All Others</c:v>
                </c:pt>
                <c:pt idx="184">
                  <c:v>Etoile Du Q</c:v>
                </c:pt>
                <c:pt idx="185">
                  <c:v>All Others</c:v>
                </c:pt>
                <c:pt idx="186">
                  <c:v>Boursin</c:v>
                </c:pt>
                <c:pt idx="187">
                  <c:v>All Others</c:v>
                </c:pt>
                <c:pt idx="188">
                  <c:v>Paysan Bret</c:v>
                </c:pt>
                <c:pt idx="189">
                  <c:v>All Others</c:v>
                </c:pt>
                <c:pt idx="190">
                  <c:v>Boursin</c:v>
                </c:pt>
                <c:pt idx="191">
                  <c:v>Philadelphi</c:v>
                </c:pt>
                <c:pt idx="192">
                  <c:v>President</c:v>
                </c:pt>
                <c:pt idx="193">
                  <c:v>Boursin</c:v>
                </c:pt>
                <c:pt idx="194">
                  <c:v>Soignon</c:v>
                </c:pt>
                <c:pt idx="195">
                  <c:v>Boursin</c:v>
                </c:pt>
                <c:pt idx="196">
                  <c:v>All Others</c:v>
                </c:pt>
                <c:pt idx="197">
                  <c:v>All Others</c:v>
                </c:pt>
                <c:pt idx="198">
                  <c:v>Soignon</c:v>
                </c:pt>
                <c:pt idx="199">
                  <c:v>All Others</c:v>
                </c:pt>
                <c:pt idx="200">
                  <c:v>All Others</c:v>
                </c:pt>
                <c:pt idx="201">
                  <c:v>Ficello</c:v>
                </c:pt>
                <c:pt idx="202">
                  <c:v>Mini Babybe</c:v>
                </c:pt>
                <c:pt idx="203">
                  <c:v>All Others</c:v>
                </c:pt>
                <c:pt idx="204">
                  <c:v>Pave D'Affi</c:v>
                </c:pt>
                <c:pt idx="205">
                  <c:v>All Others</c:v>
                </c:pt>
                <c:pt idx="206">
                  <c:v>Caprice Des</c:v>
                </c:pt>
                <c:pt idx="207">
                  <c:v>All Others</c:v>
                </c:pt>
                <c:pt idx="208">
                  <c:v>All Others</c:v>
                </c:pt>
                <c:pt idx="209">
                  <c:v>All Others</c:v>
                </c:pt>
                <c:pt idx="210">
                  <c:v>All Others</c:v>
                </c:pt>
                <c:pt idx="211">
                  <c:v>All Others</c:v>
                </c:pt>
                <c:pt idx="212">
                  <c:v>All Others</c:v>
                </c:pt>
                <c:pt idx="213">
                  <c:v>All Others</c:v>
                </c:pt>
                <c:pt idx="214">
                  <c:v>Mini Babybe</c:v>
                </c:pt>
                <c:pt idx="215">
                  <c:v>All Others</c:v>
                </c:pt>
                <c:pt idx="216">
                  <c:v>All Others</c:v>
                </c:pt>
                <c:pt idx="217">
                  <c:v>Savencia: A</c:v>
                </c:pt>
                <c:pt idx="218">
                  <c:v>Soignon</c:v>
                </c:pt>
                <c:pt idx="219">
                  <c:v>All Others</c:v>
                </c:pt>
                <c:pt idx="220">
                  <c:v>All Others</c:v>
                </c:pt>
                <c:pt idx="221">
                  <c:v>Triballat R</c:v>
                </c:pt>
                <c:pt idx="222">
                  <c:v>All Others</c:v>
                </c:pt>
                <c:pt idx="223">
                  <c:v>Lou Perac</c:v>
                </c:pt>
                <c:pt idx="224">
                  <c:v>Kiri</c:v>
                </c:pt>
                <c:pt idx="225">
                  <c:v>Kiri</c:v>
                </c:pt>
                <c:pt idx="226">
                  <c:v>All Others</c:v>
                </c:pt>
                <c:pt idx="227">
                  <c:v>Kiri</c:v>
                </c:pt>
                <c:pt idx="228">
                  <c:v>Lactalis: A</c:v>
                </c:pt>
                <c:pt idx="229">
                  <c:v>All Others</c:v>
                </c:pt>
                <c:pt idx="230">
                  <c:v>All Others</c:v>
                </c:pt>
                <c:pt idx="231">
                  <c:v>All Others</c:v>
                </c:pt>
                <c:pt idx="232">
                  <c:v>All Others</c:v>
                </c:pt>
                <c:pt idx="233">
                  <c:v>Tartare</c:v>
                </c:pt>
                <c:pt idx="234">
                  <c:v>All Others</c:v>
                </c:pt>
                <c:pt idx="235">
                  <c:v>All Others</c:v>
                </c:pt>
                <c:pt idx="236">
                  <c:v>All Others</c:v>
                </c:pt>
                <c:pt idx="237">
                  <c:v>All Others</c:v>
                </c:pt>
                <c:pt idx="238">
                  <c:v>All Others</c:v>
                </c:pt>
                <c:pt idx="239">
                  <c:v>All Others</c:v>
                </c:pt>
                <c:pt idx="240">
                  <c:v>All Others</c:v>
                </c:pt>
                <c:pt idx="241">
                  <c:v>Saint Agur</c:v>
                </c:pt>
                <c:pt idx="242">
                  <c:v>All Others</c:v>
                </c:pt>
                <c:pt idx="243">
                  <c:v>All Others</c:v>
                </c:pt>
                <c:pt idx="244">
                  <c:v>All Others</c:v>
                </c:pt>
                <c:pt idx="245">
                  <c:v>Savencia: A</c:v>
                </c:pt>
                <c:pt idx="246">
                  <c:v>Corsica</c:v>
                </c:pt>
                <c:pt idx="247">
                  <c:v>All Others</c:v>
                </c:pt>
                <c:pt idx="248">
                  <c:v>Chavroux</c:v>
                </c:pt>
                <c:pt idx="249">
                  <c:v>Eurial Autr</c:v>
                </c:pt>
                <c:pt idx="250">
                  <c:v>All Others</c:v>
                </c:pt>
                <c:pt idx="251">
                  <c:v>All Others</c:v>
                </c:pt>
                <c:pt idx="252">
                  <c:v>All Others</c:v>
                </c:pt>
                <c:pt idx="253">
                  <c:v>Lou Perac</c:v>
                </c:pt>
                <c:pt idx="254">
                  <c:v>Lactalis: A</c:v>
                </c:pt>
                <c:pt idx="255">
                  <c:v>All Others</c:v>
                </c:pt>
                <c:pt idx="256">
                  <c:v>La Vache Qu</c:v>
                </c:pt>
                <c:pt idx="257">
                  <c:v>All Others</c:v>
                </c:pt>
                <c:pt idx="258">
                  <c:v>All Others</c:v>
                </c:pt>
                <c:pt idx="259">
                  <c:v>Salakis</c:v>
                </c:pt>
                <c:pt idx="260">
                  <c:v>Etoile Du Q</c:v>
                </c:pt>
                <c:pt idx="261">
                  <c:v>All Others</c:v>
                </c:pt>
                <c:pt idx="262">
                  <c:v>Etoile Du V</c:v>
                </c:pt>
                <c:pt idx="263">
                  <c:v>All Others</c:v>
                </c:pt>
                <c:pt idx="264">
                  <c:v>All Others</c:v>
                </c:pt>
                <c:pt idx="265">
                  <c:v>Triballat R</c:v>
                </c:pt>
                <c:pt idx="266">
                  <c:v>Lactalis: A</c:v>
                </c:pt>
                <c:pt idx="267">
                  <c:v>All Others</c:v>
                </c:pt>
                <c:pt idx="268">
                  <c:v>All Others</c:v>
                </c:pt>
                <c:pt idx="269">
                  <c:v>All Others</c:v>
                </c:pt>
                <c:pt idx="270">
                  <c:v>All Others</c:v>
                </c:pt>
                <c:pt idx="271">
                  <c:v>All Others</c:v>
                </c:pt>
                <c:pt idx="272">
                  <c:v>Savencia: A</c:v>
                </c:pt>
                <c:pt idx="273">
                  <c:v>All Others</c:v>
                </c:pt>
                <c:pt idx="274">
                  <c:v>All Others</c:v>
                </c:pt>
                <c:pt idx="275">
                  <c:v>All Others</c:v>
                </c:pt>
                <c:pt idx="276">
                  <c:v>All Others</c:v>
                </c:pt>
                <c:pt idx="277">
                  <c:v>All Others</c:v>
                </c:pt>
                <c:pt idx="278">
                  <c:v>All Others</c:v>
                </c:pt>
                <c:pt idx="279">
                  <c:v>All Others</c:v>
                </c:pt>
                <c:pt idx="280">
                  <c:v>All Others</c:v>
                </c:pt>
                <c:pt idx="281">
                  <c:v>All Others</c:v>
                </c:pt>
                <c:pt idx="282">
                  <c:v>All Others</c:v>
                </c:pt>
                <c:pt idx="283">
                  <c:v>All Others</c:v>
                </c:pt>
                <c:pt idx="284">
                  <c:v>All Others</c:v>
                </c:pt>
                <c:pt idx="285">
                  <c:v>All Others</c:v>
                </c:pt>
                <c:pt idx="286">
                  <c:v>Islos</c:v>
                </c:pt>
                <c:pt idx="287">
                  <c:v>All Others</c:v>
                </c:pt>
                <c:pt idx="288">
                  <c:v>All Others</c:v>
                </c:pt>
                <c:pt idx="289">
                  <c:v>Philadelphi</c:v>
                </c:pt>
                <c:pt idx="290">
                  <c:v>All Others</c:v>
                </c:pt>
                <c:pt idx="291">
                  <c:v>Triballat R</c:v>
                </c:pt>
                <c:pt idx="292">
                  <c:v>All Others</c:v>
                </c:pt>
                <c:pt idx="293">
                  <c:v>All Others</c:v>
                </c:pt>
                <c:pt idx="294">
                  <c:v>Lactalis: A</c:v>
                </c:pt>
                <c:pt idx="295">
                  <c:v>All Others</c:v>
                </c:pt>
                <c:pt idx="296">
                  <c:v>All Others</c:v>
                </c:pt>
                <c:pt idx="297">
                  <c:v>All Others</c:v>
                </c:pt>
                <c:pt idx="298">
                  <c:v>All Others</c:v>
                </c:pt>
                <c:pt idx="299">
                  <c:v>All Others</c:v>
                </c:pt>
                <c:pt idx="300">
                  <c:v>Triballat N</c:v>
                </c:pt>
                <c:pt idx="301">
                  <c:v>All Others</c:v>
                </c:pt>
                <c:pt idx="302">
                  <c:v>All Others</c:v>
                </c:pt>
                <c:pt idx="303">
                  <c:v>All Others</c:v>
                </c:pt>
                <c:pt idx="304">
                  <c:v>All Others</c:v>
                </c:pt>
                <c:pt idx="305">
                  <c:v>All Others</c:v>
                </c:pt>
                <c:pt idx="306">
                  <c:v>Paysan Bret</c:v>
                </c:pt>
                <c:pt idx="307">
                  <c:v>Savencia: A</c:v>
                </c:pt>
                <c:pt idx="308">
                  <c:v>All Others</c:v>
                </c:pt>
                <c:pt idx="309">
                  <c:v>All Others</c:v>
                </c:pt>
                <c:pt idx="310">
                  <c:v>All Others</c:v>
                </c:pt>
                <c:pt idx="311">
                  <c:v>All Others</c:v>
                </c:pt>
                <c:pt idx="312">
                  <c:v>Lactalis: A</c:v>
                </c:pt>
                <c:pt idx="313">
                  <c:v>All Others</c:v>
                </c:pt>
                <c:pt idx="314">
                  <c:v>All Others</c:v>
                </c:pt>
                <c:pt idx="315">
                  <c:v>All Others</c:v>
                </c:pt>
                <c:pt idx="316">
                  <c:v>All Others</c:v>
                </c:pt>
                <c:pt idx="317">
                  <c:v>Corsica</c:v>
                </c:pt>
                <c:pt idx="318">
                  <c:v>All Others</c:v>
                </c:pt>
                <c:pt idx="319">
                  <c:v>Casa Azzurr</c:v>
                </c:pt>
                <c:pt idx="320">
                  <c:v>All Others</c:v>
                </c:pt>
                <c:pt idx="321">
                  <c:v>Paysan Bret</c:v>
                </c:pt>
                <c:pt idx="322">
                  <c:v>Etoile Du V</c:v>
                </c:pt>
                <c:pt idx="323">
                  <c:v>All Others</c:v>
                </c:pt>
                <c:pt idx="324">
                  <c:v>All Others</c:v>
                </c:pt>
                <c:pt idx="325">
                  <c:v>All Others</c:v>
                </c:pt>
                <c:pt idx="326">
                  <c:v>All Others</c:v>
                </c:pt>
                <c:pt idx="327">
                  <c:v>All Others</c:v>
                </c:pt>
                <c:pt idx="328">
                  <c:v>All Others</c:v>
                </c:pt>
                <c:pt idx="329">
                  <c:v>Caprice Des</c:v>
                </c:pt>
                <c:pt idx="330">
                  <c:v>All Others</c:v>
                </c:pt>
                <c:pt idx="331">
                  <c:v>All Others</c:v>
                </c:pt>
                <c:pt idx="332">
                  <c:v>All Others</c:v>
                </c:pt>
                <c:pt idx="333">
                  <c:v>All Others</c:v>
                </c:pt>
                <c:pt idx="334">
                  <c:v>All Others</c:v>
                </c:pt>
                <c:pt idx="335">
                  <c:v>Milleret: A</c:v>
                </c:pt>
                <c:pt idx="336">
                  <c:v>Paysan Bret</c:v>
                </c:pt>
                <c:pt idx="337">
                  <c:v>All Others</c:v>
                </c:pt>
                <c:pt idx="338">
                  <c:v>All Others</c:v>
                </c:pt>
                <c:pt idx="339">
                  <c:v>All Others</c:v>
                </c:pt>
                <c:pt idx="340">
                  <c:v>All Others</c:v>
                </c:pt>
                <c:pt idx="341">
                  <c:v>All Others</c:v>
                </c:pt>
                <c:pt idx="342">
                  <c:v>All Others</c:v>
                </c:pt>
                <c:pt idx="343">
                  <c:v>All Others</c:v>
                </c:pt>
                <c:pt idx="344">
                  <c:v>All Others</c:v>
                </c:pt>
                <c:pt idx="345">
                  <c:v>Tartare</c:v>
                </c:pt>
                <c:pt idx="346">
                  <c:v>Tartare</c:v>
                </c:pt>
                <c:pt idx="347">
                  <c:v>All Others</c:v>
                </c:pt>
                <c:pt idx="348">
                  <c:v>All Others</c:v>
                </c:pt>
                <c:pt idx="349">
                  <c:v>All Others</c:v>
                </c:pt>
                <c:pt idx="350">
                  <c:v>All Others</c:v>
                </c:pt>
                <c:pt idx="351">
                  <c:v>President</c:v>
                </c:pt>
                <c:pt idx="352">
                  <c:v>All Others</c:v>
                </c:pt>
                <c:pt idx="353">
                  <c:v>All Others</c:v>
                </c:pt>
                <c:pt idx="354">
                  <c:v>All Others</c:v>
                </c:pt>
                <c:pt idx="355">
                  <c:v>All Others</c:v>
                </c:pt>
                <c:pt idx="356">
                  <c:v>Tartare</c:v>
                </c:pt>
                <c:pt idx="357">
                  <c:v>Triballat R</c:v>
                </c:pt>
                <c:pt idx="358">
                  <c:v>All Others</c:v>
                </c:pt>
                <c:pt idx="359">
                  <c:v>All Others</c:v>
                </c:pt>
                <c:pt idx="360">
                  <c:v>All Others</c:v>
                </c:pt>
                <c:pt idx="361">
                  <c:v>All Others</c:v>
                </c:pt>
                <c:pt idx="362">
                  <c:v>All Others</c:v>
                </c:pt>
                <c:pt idx="363">
                  <c:v>All Others</c:v>
                </c:pt>
                <c:pt idx="364">
                  <c:v>All Others</c:v>
                </c:pt>
                <c:pt idx="365">
                  <c:v>All Others</c:v>
                </c:pt>
                <c:pt idx="366">
                  <c:v>All Others</c:v>
                </c:pt>
                <c:pt idx="367">
                  <c:v>All Others</c:v>
                </c:pt>
                <c:pt idx="368">
                  <c:v>All Others</c:v>
                </c:pt>
                <c:pt idx="369">
                  <c:v>Triballat N</c:v>
                </c:pt>
                <c:pt idx="370">
                  <c:v>All Others</c:v>
                </c:pt>
                <c:pt idx="371">
                  <c:v>All Others</c:v>
                </c:pt>
                <c:pt idx="372">
                  <c:v>All Others</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All Others</c:v>
                </c:pt>
                <c:pt idx="392">
                  <c:v>All Others</c:v>
                </c:pt>
                <c:pt idx="393">
                  <c:v>Lactalis: A</c:v>
                </c:pt>
                <c:pt idx="394">
                  <c:v>All Others</c:v>
                </c:pt>
                <c:pt idx="395">
                  <c:v>All Others</c:v>
                </c:pt>
                <c:pt idx="396">
                  <c:v>All Others</c:v>
                </c:pt>
                <c:pt idx="397">
                  <c:v>All Others</c:v>
                </c:pt>
                <c:pt idx="398">
                  <c:v>All Others</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Boursin</c:v>
                </c:pt>
                <c:pt idx="412">
                  <c:v>All Others</c:v>
                </c:pt>
                <c:pt idx="413">
                  <c:v>Ficello</c:v>
                </c:pt>
                <c:pt idx="414">
                  <c:v>All Others</c:v>
                </c:pt>
                <c:pt idx="415">
                  <c:v>All Others</c:v>
                </c:pt>
                <c:pt idx="416">
                  <c:v>All Others</c:v>
                </c:pt>
                <c:pt idx="417">
                  <c:v>All Others</c:v>
                </c:pt>
                <c:pt idx="418">
                  <c:v>All Others</c:v>
                </c:pt>
                <c:pt idx="419">
                  <c:v>Tartare</c:v>
                </c:pt>
                <c:pt idx="420">
                  <c:v>All Others</c:v>
                </c:pt>
                <c:pt idx="421">
                  <c:v>All Others</c:v>
                </c:pt>
                <c:pt idx="422">
                  <c:v>All Others</c:v>
                </c:pt>
                <c:pt idx="423">
                  <c:v>All Others</c:v>
                </c:pt>
                <c:pt idx="424">
                  <c:v>All Others</c:v>
                </c:pt>
                <c:pt idx="425">
                  <c:v>Kiri</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Istara</c:v>
                </c:pt>
                <c:pt idx="440">
                  <c:v>All Others</c:v>
                </c:pt>
                <c:pt idx="441">
                  <c:v>All Others</c:v>
                </c:pt>
                <c:pt idx="442">
                  <c:v>All Others</c:v>
                </c:pt>
                <c:pt idx="443">
                  <c:v>All Others</c:v>
                </c:pt>
                <c:pt idx="444">
                  <c:v>Triballat R</c:v>
                </c:pt>
                <c:pt idx="445">
                  <c:v>All Others</c:v>
                </c:pt>
                <c:pt idx="446">
                  <c:v>All Others</c:v>
                </c:pt>
                <c:pt idx="447">
                  <c:v>All Others</c:v>
                </c:pt>
                <c:pt idx="448">
                  <c:v>Milleret: A</c:v>
                </c:pt>
                <c:pt idx="449">
                  <c:v>Eurial Autr</c:v>
                </c:pt>
                <c:pt idx="450">
                  <c:v>All Others</c:v>
                </c:pt>
                <c:pt idx="451">
                  <c:v>All Others</c:v>
                </c:pt>
                <c:pt idx="452">
                  <c:v>All Others</c:v>
                </c:pt>
                <c:pt idx="453">
                  <c:v>All Others</c:v>
                </c:pt>
                <c:pt idx="454">
                  <c:v>All Others</c:v>
                </c:pt>
                <c:pt idx="455">
                  <c:v>All Others</c:v>
                </c:pt>
                <c:pt idx="456">
                  <c:v>Eurial Autr</c:v>
                </c:pt>
                <c:pt idx="457">
                  <c:v>All Others</c:v>
                </c:pt>
                <c:pt idx="458">
                  <c:v>All Others</c:v>
                </c:pt>
                <c:pt idx="459">
                  <c:v>All Others</c:v>
                </c:pt>
                <c:pt idx="460">
                  <c:v>All Others</c:v>
                </c:pt>
                <c:pt idx="461">
                  <c:v>Soignon</c:v>
                </c:pt>
                <c:pt idx="462">
                  <c:v>Saint Agur</c:v>
                </c:pt>
                <c:pt idx="463">
                  <c:v>All Others</c:v>
                </c:pt>
                <c:pt idx="464">
                  <c:v>Boursin</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All Others</c:v>
                </c:pt>
                <c:pt idx="484">
                  <c:v>All Others</c:v>
                </c:pt>
                <c:pt idx="485">
                  <c:v>All Others</c:v>
                </c:pt>
                <c:pt idx="486">
                  <c:v>All Others</c:v>
                </c:pt>
                <c:pt idx="487">
                  <c:v>All Others</c:v>
                </c:pt>
                <c:pt idx="488">
                  <c:v>All Others</c:v>
                </c:pt>
                <c:pt idx="489">
                  <c:v>All Others</c:v>
                </c:pt>
                <c:pt idx="490">
                  <c:v>All Others</c:v>
                </c:pt>
                <c:pt idx="491">
                  <c:v>All Others</c:v>
                </c:pt>
                <c:pt idx="492">
                  <c:v>All Others</c:v>
                </c:pt>
                <c:pt idx="493">
                  <c:v>All Others</c:v>
                </c:pt>
                <c:pt idx="494">
                  <c:v>La Vache Qu</c:v>
                </c:pt>
                <c:pt idx="495">
                  <c:v>All Others</c:v>
                </c:pt>
                <c:pt idx="496">
                  <c:v>All Others</c:v>
                </c:pt>
                <c:pt idx="497">
                  <c:v>All Others</c:v>
                </c:pt>
                <c:pt idx="498">
                  <c:v>All Others</c:v>
                </c:pt>
                <c:pt idx="499">
                  <c:v>All Others</c:v>
                </c:pt>
                <c:pt idx="500">
                  <c:v>All Others</c:v>
                </c:pt>
                <c:pt idx="501">
                  <c:v>All Others</c:v>
                </c:pt>
                <c:pt idx="502">
                  <c:v>Eurial Autr</c:v>
                </c:pt>
                <c:pt idx="503">
                  <c:v>All Others</c:v>
                </c:pt>
                <c:pt idx="504">
                  <c:v>Mini Babybe</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St Moret</c:v>
                </c:pt>
                <c:pt idx="522">
                  <c:v>All Others</c:v>
                </c:pt>
                <c:pt idx="523">
                  <c:v>All Others</c:v>
                </c:pt>
                <c:pt idx="524">
                  <c:v>All Others</c:v>
                </c:pt>
                <c:pt idx="525">
                  <c:v>All Others</c:v>
                </c:pt>
                <c:pt idx="526">
                  <c:v>All Others</c:v>
                </c:pt>
                <c:pt idx="527">
                  <c:v>Kiri</c:v>
                </c:pt>
                <c:pt idx="528">
                  <c:v>Lactalis: A</c:v>
                </c:pt>
                <c:pt idx="529">
                  <c:v>All Others</c:v>
                </c:pt>
                <c:pt idx="530">
                  <c:v>All Others</c:v>
                </c:pt>
                <c:pt idx="531">
                  <c:v>All Others</c:v>
                </c:pt>
                <c:pt idx="532">
                  <c:v>All Others</c:v>
                </c:pt>
                <c:pt idx="533">
                  <c:v>All Others</c:v>
                </c:pt>
                <c:pt idx="534">
                  <c:v>All Others</c:v>
                </c:pt>
                <c:pt idx="535">
                  <c:v>Boursin</c:v>
                </c:pt>
                <c:pt idx="536">
                  <c:v>All Others</c:v>
                </c:pt>
                <c:pt idx="537">
                  <c:v>All Others</c:v>
                </c:pt>
                <c:pt idx="538">
                  <c:v>All Others</c:v>
                </c:pt>
                <c:pt idx="539">
                  <c:v>All Others</c:v>
                </c:pt>
                <c:pt idx="540">
                  <c:v>Triballat R</c:v>
                </c:pt>
                <c:pt idx="541">
                  <c:v>All Others</c:v>
                </c:pt>
                <c:pt idx="542">
                  <c:v>All Others</c:v>
                </c:pt>
                <c:pt idx="543">
                  <c:v>Lactalis: A</c:v>
                </c:pt>
                <c:pt idx="544">
                  <c:v>Lactalis: A</c:v>
                </c:pt>
                <c:pt idx="545">
                  <c:v>All Others</c:v>
                </c:pt>
                <c:pt idx="546">
                  <c:v>All Others</c:v>
                </c:pt>
                <c:pt idx="547">
                  <c:v>Lactalis: A</c:v>
                </c:pt>
                <c:pt idx="548">
                  <c:v>All Others</c:v>
                </c:pt>
                <c:pt idx="549">
                  <c:v>All Others</c:v>
                </c:pt>
                <c:pt idx="550">
                  <c:v>All Others</c:v>
                </c:pt>
                <c:pt idx="551">
                  <c:v>All Others</c:v>
                </c:pt>
                <c:pt idx="552">
                  <c:v>All Others</c:v>
                </c:pt>
                <c:pt idx="553">
                  <c:v>All Others</c:v>
                </c:pt>
                <c:pt idx="554">
                  <c:v>All Others</c:v>
                </c:pt>
                <c:pt idx="555">
                  <c:v>All Others</c:v>
                </c:pt>
                <c:pt idx="556">
                  <c:v>All Others</c:v>
                </c:pt>
                <c:pt idx="557">
                  <c:v>All Others</c:v>
                </c:pt>
                <c:pt idx="558">
                  <c:v>All Others</c:v>
                </c:pt>
                <c:pt idx="559">
                  <c:v>All Others</c:v>
                </c:pt>
                <c:pt idx="560">
                  <c:v>All Others</c:v>
                </c:pt>
                <c:pt idx="561">
                  <c:v>All Others</c:v>
                </c:pt>
                <c:pt idx="562">
                  <c:v>All Others</c:v>
                </c:pt>
                <c:pt idx="563">
                  <c:v>Triballat R</c:v>
                </c:pt>
                <c:pt idx="564">
                  <c:v>All Others</c:v>
                </c:pt>
                <c:pt idx="565">
                  <c:v>All Others</c:v>
                </c:pt>
                <c:pt idx="566">
                  <c:v>Istara</c:v>
                </c:pt>
                <c:pt idx="567">
                  <c:v>All Others</c:v>
                </c:pt>
                <c:pt idx="568">
                  <c:v>All Others</c:v>
                </c:pt>
                <c:pt idx="569">
                  <c:v>Mini Babybe</c:v>
                </c:pt>
                <c:pt idx="570">
                  <c:v>St Moret</c:v>
                </c:pt>
                <c:pt idx="571">
                  <c:v>All Others</c:v>
                </c:pt>
                <c:pt idx="572">
                  <c:v>Islos</c:v>
                </c:pt>
                <c:pt idx="573">
                  <c:v>St Moret</c:v>
                </c:pt>
                <c:pt idx="574">
                  <c:v>All Others</c:v>
                </c:pt>
                <c:pt idx="575">
                  <c:v>Eurial Autr</c:v>
                </c:pt>
                <c:pt idx="576">
                  <c:v>All Others</c:v>
                </c:pt>
                <c:pt idx="577">
                  <c:v>All Others</c:v>
                </c:pt>
                <c:pt idx="578">
                  <c:v>All Others</c:v>
                </c:pt>
                <c:pt idx="579">
                  <c:v>All Others</c:v>
                </c:pt>
                <c:pt idx="580">
                  <c:v>Le Brebiou</c:v>
                </c:pt>
                <c:pt idx="581">
                  <c:v>Etorki</c:v>
                </c:pt>
                <c:pt idx="582">
                  <c:v>All Others</c:v>
                </c:pt>
                <c:pt idx="583">
                  <c:v>All Others</c:v>
                </c:pt>
                <c:pt idx="584">
                  <c:v>All Others</c:v>
                </c:pt>
                <c:pt idx="585">
                  <c:v>All Others</c:v>
                </c:pt>
                <c:pt idx="586">
                  <c:v>All Others</c:v>
                </c:pt>
                <c:pt idx="587">
                  <c:v>Tartare</c:v>
                </c:pt>
                <c:pt idx="588">
                  <c:v>Boursin</c:v>
                </c:pt>
                <c:pt idx="589">
                  <c:v>All Others</c:v>
                </c:pt>
                <c:pt idx="590">
                  <c:v>All Others</c:v>
                </c:pt>
                <c:pt idx="591">
                  <c:v>All Others</c:v>
                </c:pt>
                <c:pt idx="592">
                  <c:v>All Others</c:v>
                </c:pt>
                <c:pt idx="593">
                  <c:v>All Others</c:v>
                </c:pt>
                <c:pt idx="594">
                  <c:v>All Others</c:v>
                </c:pt>
                <c:pt idx="595">
                  <c:v>P'Tit Louis</c:v>
                </c:pt>
                <c:pt idx="596">
                  <c:v>All Others</c:v>
                </c:pt>
                <c:pt idx="597">
                  <c:v>President</c:v>
                </c:pt>
                <c:pt idx="598">
                  <c:v>Petit Billy</c:v>
                </c:pt>
                <c:pt idx="599">
                  <c:v>Caprice Des</c:v>
                </c:pt>
              </c:strCache>
            </c:strRef>
          </c:cat>
          <c:val>
            <c:numRef>
              <c:f>Sheet1!$B$2:$B$601</c:f>
              <c:numCache>
                <c:formatCode>General</c:formatCode>
                <c:ptCount val="600"/>
                <c:pt idx="0">
                  <c:v>0.99</c:v>
                </c:pt>
                <c:pt idx="1">
                  <c:v>0.99</c:v>
                </c:pt>
                <c:pt idx="2">
                  <c:v>0.99</c:v>
                </c:pt>
                <c:pt idx="3">
                  <c:v>0.99</c:v>
                </c:pt>
                <c:pt idx="4">
                  <c:v>0.99</c:v>
                </c:pt>
                <c:pt idx="5">
                  <c:v>0.99</c:v>
                </c:pt>
                <c:pt idx="6">
                  <c:v>0.99</c:v>
                </c:pt>
                <c:pt idx="7">
                  <c:v>0.95</c:v>
                </c:pt>
                <c:pt idx="8">
                  <c:v>0.99</c:v>
                </c:pt>
                <c:pt idx="9">
                  <c:v>0.99</c:v>
                </c:pt>
                <c:pt idx="10">
                  <c:v>0.95</c:v>
                </c:pt>
                <c:pt idx="11">
                  <c:v>0.99</c:v>
                </c:pt>
                <c:pt idx="12">
                  <c:v>0.99</c:v>
                </c:pt>
                <c:pt idx="13">
                  <c:v>0.93</c:v>
                </c:pt>
                <c:pt idx="14">
                  <c:v>0.98</c:v>
                </c:pt>
                <c:pt idx="15">
                  <c:v>0.94</c:v>
                </c:pt>
                <c:pt idx="16">
                  <c:v>0.99</c:v>
                </c:pt>
                <c:pt idx="17">
                  <c:v>0.95</c:v>
                </c:pt>
                <c:pt idx="18">
                  <c:v>0.98</c:v>
                </c:pt>
                <c:pt idx="19">
                  <c:v>0.89</c:v>
                </c:pt>
                <c:pt idx="20">
                  <c:v>0.92</c:v>
                </c:pt>
                <c:pt idx="21">
                  <c:v>0.99</c:v>
                </c:pt>
                <c:pt idx="22">
                  <c:v>0.99</c:v>
                </c:pt>
                <c:pt idx="23">
                  <c:v>0.91</c:v>
                </c:pt>
                <c:pt idx="24">
                  <c:v>0.94</c:v>
                </c:pt>
                <c:pt idx="25">
                  <c:v>0.93</c:v>
                </c:pt>
                <c:pt idx="26">
                  <c:v>0.98</c:v>
                </c:pt>
                <c:pt idx="27">
                  <c:v>0.99</c:v>
                </c:pt>
                <c:pt idx="28">
                  <c:v>0.98</c:v>
                </c:pt>
                <c:pt idx="29">
                  <c:v>0.99</c:v>
                </c:pt>
                <c:pt idx="30">
                  <c:v>0.84</c:v>
                </c:pt>
                <c:pt idx="31">
                  <c:v>0.99</c:v>
                </c:pt>
                <c:pt idx="32">
                  <c:v>0.99</c:v>
                </c:pt>
                <c:pt idx="33">
                  <c:v>0.98</c:v>
                </c:pt>
                <c:pt idx="34">
                  <c:v>0.97</c:v>
                </c:pt>
                <c:pt idx="35">
                  <c:v>0.77</c:v>
                </c:pt>
                <c:pt idx="36">
                  <c:v>0.93</c:v>
                </c:pt>
                <c:pt idx="37">
                  <c:v>0.84</c:v>
                </c:pt>
                <c:pt idx="38">
                  <c:v>0.93</c:v>
                </c:pt>
                <c:pt idx="39">
                  <c:v>0.82</c:v>
                </c:pt>
                <c:pt idx="40">
                  <c:v>0.63</c:v>
                </c:pt>
                <c:pt idx="41">
                  <c:v>0.88</c:v>
                </c:pt>
                <c:pt idx="42">
                  <c:v>0.99</c:v>
                </c:pt>
                <c:pt idx="43">
                  <c:v>0.95</c:v>
                </c:pt>
                <c:pt idx="44">
                  <c:v>0.91</c:v>
                </c:pt>
                <c:pt idx="45">
                  <c:v>0.98</c:v>
                </c:pt>
                <c:pt idx="46">
                  <c:v>0.82</c:v>
                </c:pt>
                <c:pt idx="47">
                  <c:v>0.89</c:v>
                </c:pt>
                <c:pt idx="48">
                  <c:v>0.81</c:v>
                </c:pt>
                <c:pt idx="49">
                  <c:v>0.94</c:v>
                </c:pt>
                <c:pt idx="50">
                  <c:v>0.97</c:v>
                </c:pt>
                <c:pt idx="51">
                  <c:v>0.99</c:v>
                </c:pt>
                <c:pt idx="52">
                  <c:v>0.95</c:v>
                </c:pt>
                <c:pt idx="53">
                  <c:v>0.99</c:v>
                </c:pt>
                <c:pt idx="54">
                  <c:v>0.78</c:v>
                </c:pt>
                <c:pt idx="55">
                  <c:v>0.69</c:v>
                </c:pt>
                <c:pt idx="56">
                  <c:v>0.77</c:v>
                </c:pt>
                <c:pt idx="57">
                  <c:v>0.99</c:v>
                </c:pt>
                <c:pt idx="58">
                  <c:v>0.98</c:v>
                </c:pt>
                <c:pt idx="59">
                  <c:v>0.9</c:v>
                </c:pt>
                <c:pt idx="60">
                  <c:v>0.97</c:v>
                </c:pt>
                <c:pt idx="61">
                  <c:v>0.98</c:v>
                </c:pt>
                <c:pt idx="62">
                  <c:v>0.98</c:v>
                </c:pt>
                <c:pt idx="63">
                  <c:v>0.72</c:v>
                </c:pt>
                <c:pt idx="64">
                  <c:v>0.93</c:v>
                </c:pt>
                <c:pt idx="65">
                  <c:v>0.94</c:v>
                </c:pt>
                <c:pt idx="66">
                  <c:v>0.99</c:v>
                </c:pt>
                <c:pt idx="67">
                  <c:v>0.98</c:v>
                </c:pt>
                <c:pt idx="68">
                  <c:v>0.83</c:v>
                </c:pt>
                <c:pt idx="69">
                  <c:v>0.96</c:v>
                </c:pt>
                <c:pt idx="70">
                  <c:v>0.87</c:v>
                </c:pt>
                <c:pt idx="71">
                  <c:v>0.93</c:v>
                </c:pt>
                <c:pt idx="72">
                  <c:v>0.96</c:v>
                </c:pt>
                <c:pt idx="73">
                  <c:v>0.97</c:v>
                </c:pt>
                <c:pt idx="74">
                  <c:v>0.89</c:v>
                </c:pt>
                <c:pt idx="75">
                  <c:v>0.79</c:v>
                </c:pt>
                <c:pt idx="76">
                  <c:v>0.92</c:v>
                </c:pt>
                <c:pt idx="77">
                  <c:v>0.98</c:v>
                </c:pt>
                <c:pt idx="78">
                  <c:v>0.54</c:v>
                </c:pt>
                <c:pt idx="79">
                  <c:v>0.97</c:v>
                </c:pt>
                <c:pt idx="80">
                  <c:v>0.75</c:v>
                </c:pt>
                <c:pt idx="81">
                  <c:v>0.71</c:v>
                </c:pt>
                <c:pt idx="82">
                  <c:v>0.93</c:v>
                </c:pt>
                <c:pt idx="83">
                  <c:v>0.93</c:v>
                </c:pt>
                <c:pt idx="84">
                  <c:v>0.93</c:v>
                </c:pt>
                <c:pt idx="85">
                  <c:v>0.8</c:v>
                </c:pt>
                <c:pt idx="86">
                  <c:v>0.75</c:v>
                </c:pt>
                <c:pt idx="87">
                  <c:v>0.67</c:v>
                </c:pt>
                <c:pt idx="88">
                  <c:v>0.92</c:v>
                </c:pt>
                <c:pt idx="89">
                  <c:v>0.72</c:v>
                </c:pt>
                <c:pt idx="90">
                  <c:v>0.53</c:v>
                </c:pt>
                <c:pt idx="91">
                  <c:v>0.78</c:v>
                </c:pt>
                <c:pt idx="92">
                  <c:v>0.83</c:v>
                </c:pt>
                <c:pt idx="93">
                  <c:v>0.48</c:v>
                </c:pt>
                <c:pt idx="94">
                  <c:v>0.91</c:v>
                </c:pt>
                <c:pt idx="95">
                  <c:v>0.87</c:v>
                </c:pt>
                <c:pt idx="96">
                  <c:v>0.98</c:v>
                </c:pt>
                <c:pt idx="97">
                  <c:v>0.59</c:v>
                </c:pt>
                <c:pt idx="98">
                  <c:v>0.41</c:v>
                </c:pt>
                <c:pt idx="99">
                  <c:v>0.94</c:v>
                </c:pt>
                <c:pt idx="100">
                  <c:v>0.86</c:v>
                </c:pt>
                <c:pt idx="101">
                  <c:v>0.92</c:v>
                </c:pt>
                <c:pt idx="102">
                  <c:v>0.63</c:v>
                </c:pt>
                <c:pt idx="103">
                  <c:v>0.92</c:v>
                </c:pt>
                <c:pt idx="104">
                  <c:v>0.93</c:v>
                </c:pt>
                <c:pt idx="105">
                  <c:v>0.81</c:v>
                </c:pt>
                <c:pt idx="106">
                  <c:v>0.82</c:v>
                </c:pt>
                <c:pt idx="107">
                  <c:v>0.61</c:v>
                </c:pt>
                <c:pt idx="108">
                  <c:v>0.97</c:v>
                </c:pt>
                <c:pt idx="109">
                  <c:v>0.64</c:v>
                </c:pt>
                <c:pt idx="110">
                  <c:v>0.93</c:v>
                </c:pt>
                <c:pt idx="111">
                  <c:v>0.75</c:v>
                </c:pt>
                <c:pt idx="112">
                  <c:v>0.73</c:v>
                </c:pt>
                <c:pt idx="113">
                  <c:v>0.94</c:v>
                </c:pt>
                <c:pt idx="114">
                  <c:v>0.43</c:v>
                </c:pt>
                <c:pt idx="115">
                  <c:v>0.71</c:v>
                </c:pt>
                <c:pt idx="116">
                  <c:v>0.59</c:v>
                </c:pt>
                <c:pt idx="117">
                  <c:v>0.64</c:v>
                </c:pt>
                <c:pt idx="118">
                  <c:v>0.54</c:v>
                </c:pt>
                <c:pt idx="119">
                  <c:v>0.52</c:v>
                </c:pt>
                <c:pt idx="120">
                  <c:v>0.77</c:v>
                </c:pt>
                <c:pt idx="121">
                  <c:v>0.45</c:v>
                </c:pt>
                <c:pt idx="122">
                  <c:v>0.74</c:v>
                </c:pt>
                <c:pt idx="123">
                  <c:v>0.75</c:v>
                </c:pt>
                <c:pt idx="124">
                  <c:v>0.86</c:v>
                </c:pt>
                <c:pt idx="125">
                  <c:v>0.67</c:v>
                </c:pt>
                <c:pt idx="126">
                  <c:v>0.8</c:v>
                </c:pt>
                <c:pt idx="127">
                  <c:v>0.9</c:v>
                </c:pt>
                <c:pt idx="128">
                  <c:v>0.89</c:v>
                </c:pt>
                <c:pt idx="129">
                  <c:v>0.67</c:v>
                </c:pt>
                <c:pt idx="130">
                  <c:v>0.72</c:v>
                </c:pt>
                <c:pt idx="131">
                  <c:v>0.8</c:v>
                </c:pt>
                <c:pt idx="132">
                  <c:v>0.67</c:v>
                </c:pt>
                <c:pt idx="133">
                  <c:v>0.8</c:v>
                </c:pt>
                <c:pt idx="134">
                  <c:v>0.67</c:v>
                </c:pt>
                <c:pt idx="135">
                  <c:v>0.81</c:v>
                </c:pt>
                <c:pt idx="136">
                  <c:v>0.56000000000000005</c:v>
                </c:pt>
                <c:pt idx="137">
                  <c:v>0.54</c:v>
                </c:pt>
                <c:pt idx="138">
                  <c:v>0.52</c:v>
                </c:pt>
                <c:pt idx="139">
                  <c:v>0.71</c:v>
                </c:pt>
                <c:pt idx="140">
                  <c:v>0.64</c:v>
                </c:pt>
                <c:pt idx="141">
                  <c:v>0.71</c:v>
                </c:pt>
                <c:pt idx="142">
                  <c:v>0.71</c:v>
                </c:pt>
                <c:pt idx="143">
                  <c:v>0.6</c:v>
                </c:pt>
                <c:pt idx="144">
                  <c:v>0.6</c:v>
                </c:pt>
                <c:pt idx="145">
                  <c:v>0.56000000000000005</c:v>
                </c:pt>
                <c:pt idx="146">
                  <c:v>0.67</c:v>
                </c:pt>
                <c:pt idx="147">
                  <c:v>0.83</c:v>
                </c:pt>
                <c:pt idx="148">
                  <c:v>0.91</c:v>
                </c:pt>
                <c:pt idx="149">
                  <c:v>0.51</c:v>
                </c:pt>
                <c:pt idx="150">
                  <c:v>0.51</c:v>
                </c:pt>
                <c:pt idx="151">
                  <c:v>0.48</c:v>
                </c:pt>
                <c:pt idx="152">
                  <c:v>0.61</c:v>
                </c:pt>
                <c:pt idx="153">
                  <c:v>0.46</c:v>
                </c:pt>
                <c:pt idx="154">
                  <c:v>0.83</c:v>
                </c:pt>
                <c:pt idx="155">
                  <c:v>0.69</c:v>
                </c:pt>
                <c:pt idx="156">
                  <c:v>0.66</c:v>
                </c:pt>
                <c:pt idx="157">
                  <c:v>0.27</c:v>
                </c:pt>
                <c:pt idx="158">
                  <c:v>0.64</c:v>
                </c:pt>
                <c:pt idx="159">
                  <c:v>0.74</c:v>
                </c:pt>
                <c:pt idx="160">
                  <c:v>0.59</c:v>
                </c:pt>
                <c:pt idx="161">
                  <c:v>0.56000000000000005</c:v>
                </c:pt>
                <c:pt idx="162">
                  <c:v>0.56000000000000005</c:v>
                </c:pt>
                <c:pt idx="163">
                  <c:v>0.5</c:v>
                </c:pt>
                <c:pt idx="164">
                  <c:v>0.64</c:v>
                </c:pt>
                <c:pt idx="165">
                  <c:v>0.74</c:v>
                </c:pt>
                <c:pt idx="166">
                  <c:v>0.38</c:v>
                </c:pt>
                <c:pt idx="167">
                  <c:v>0.72</c:v>
                </c:pt>
                <c:pt idx="168">
                  <c:v>0.88</c:v>
                </c:pt>
                <c:pt idx="169">
                  <c:v>0.5</c:v>
                </c:pt>
                <c:pt idx="170">
                  <c:v>0.73</c:v>
                </c:pt>
                <c:pt idx="171">
                  <c:v>0.48</c:v>
                </c:pt>
                <c:pt idx="172">
                  <c:v>0.76</c:v>
                </c:pt>
                <c:pt idx="173">
                  <c:v>0.15</c:v>
                </c:pt>
                <c:pt idx="174">
                  <c:v>0.57999999999999996</c:v>
                </c:pt>
                <c:pt idx="175">
                  <c:v>0.74</c:v>
                </c:pt>
                <c:pt idx="176">
                  <c:v>0.66</c:v>
                </c:pt>
                <c:pt idx="177">
                  <c:v>0.66</c:v>
                </c:pt>
                <c:pt idx="178">
                  <c:v>0.4</c:v>
                </c:pt>
                <c:pt idx="179">
                  <c:v>0.49</c:v>
                </c:pt>
                <c:pt idx="180">
                  <c:v>0.6</c:v>
                </c:pt>
                <c:pt idx="181">
                  <c:v>0.72</c:v>
                </c:pt>
                <c:pt idx="182">
                  <c:v>0.3</c:v>
                </c:pt>
                <c:pt idx="183">
                  <c:v>0.71</c:v>
                </c:pt>
                <c:pt idx="184">
                  <c:v>0.33</c:v>
                </c:pt>
                <c:pt idx="185">
                  <c:v>0.31</c:v>
                </c:pt>
                <c:pt idx="186">
                  <c:v>0.84</c:v>
                </c:pt>
                <c:pt idx="187">
                  <c:v>0.39</c:v>
                </c:pt>
                <c:pt idx="188">
                  <c:v>0.78</c:v>
                </c:pt>
                <c:pt idx="189">
                  <c:v>0.35</c:v>
                </c:pt>
                <c:pt idx="190">
                  <c:v>0.65</c:v>
                </c:pt>
                <c:pt idx="191">
                  <c:v>0.59</c:v>
                </c:pt>
                <c:pt idx="192">
                  <c:v>0.52</c:v>
                </c:pt>
                <c:pt idx="193">
                  <c:v>0.71</c:v>
                </c:pt>
                <c:pt idx="194">
                  <c:v>0.51</c:v>
                </c:pt>
                <c:pt idx="195">
                  <c:v>0.72</c:v>
                </c:pt>
                <c:pt idx="196">
                  <c:v>0.28999999999999998</c:v>
                </c:pt>
                <c:pt idx="197">
                  <c:v>0.61</c:v>
                </c:pt>
                <c:pt idx="198">
                  <c:v>0.47</c:v>
                </c:pt>
                <c:pt idx="199">
                  <c:v>0.49</c:v>
                </c:pt>
                <c:pt idx="200">
                  <c:v>0.45</c:v>
                </c:pt>
                <c:pt idx="201">
                  <c:v>0.5</c:v>
                </c:pt>
                <c:pt idx="202">
                  <c:v>0.56999999999999995</c:v>
                </c:pt>
                <c:pt idx="203">
                  <c:v>0.24</c:v>
                </c:pt>
                <c:pt idx="204">
                  <c:v>0.55000000000000004</c:v>
                </c:pt>
                <c:pt idx="205">
                  <c:v>0.31</c:v>
                </c:pt>
                <c:pt idx="206">
                  <c:v>0.63</c:v>
                </c:pt>
                <c:pt idx="207">
                  <c:v>0.28999999999999998</c:v>
                </c:pt>
                <c:pt idx="208">
                  <c:v>0.09</c:v>
                </c:pt>
                <c:pt idx="209">
                  <c:v>0.46</c:v>
                </c:pt>
                <c:pt idx="210">
                  <c:v>0.1</c:v>
                </c:pt>
                <c:pt idx="211">
                  <c:v>0.4</c:v>
                </c:pt>
                <c:pt idx="212">
                  <c:v>0.56000000000000005</c:v>
                </c:pt>
                <c:pt idx="213">
                  <c:v>0.44</c:v>
                </c:pt>
                <c:pt idx="214">
                  <c:v>0.44</c:v>
                </c:pt>
                <c:pt idx="215">
                  <c:v>0.18</c:v>
                </c:pt>
                <c:pt idx="216">
                  <c:v>0.16</c:v>
                </c:pt>
                <c:pt idx="217">
                  <c:v>0.5</c:v>
                </c:pt>
                <c:pt idx="218">
                  <c:v>0.48</c:v>
                </c:pt>
                <c:pt idx="219">
                  <c:v>0.56000000000000005</c:v>
                </c:pt>
                <c:pt idx="220">
                  <c:v>0.13</c:v>
                </c:pt>
                <c:pt idx="221">
                  <c:v>0.42</c:v>
                </c:pt>
                <c:pt idx="222">
                  <c:v>0.19</c:v>
                </c:pt>
                <c:pt idx="223">
                  <c:v>0.47</c:v>
                </c:pt>
                <c:pt idx="224">
                  <c:v>0.39</c:v>
                </c:pt>
                <c:pt idx="225">
                  <c:v>0.56999999999999995</c:v>
                </c:pt>
                <c:pt idx="226">
                  <c:v>0.44</c:v>
                </c:pt>
                <c:pt idx="227">
                  <c:v>0.47</c:v>
                </c:pt>
                <c:pt idx="228">
                  <c:v>0.25</c:v>
                </c:pt>
                <c:pt idx="229">
                  <c:v>0.48</c:v>
                </c:pt>
                <c:pt idx="230">
                  <c:v>0.28999999999999998</c:v>
                </c:pt>
                <c:pt idx="231">
                  <c:v>7.0000000000000007E-2</c:v>
                </c:pt>
                <c:pt idx="232">
                  <c:v>0.55000000000000004</c:v>
                </c:pt>
                <c:pt idx="233">
                  <c:v>0.44</c:v>
                </c:pt>
                <c:pt idx="234">
                  <c:v>0.44</c:v>
                </c:pt>
                <c:pt idx="235">
                  <c:v>0.52</c:v>
                </c:pt>
                <c:pt idx="236">
                  <c:v>0.41</c:v>
                </c:pt>
                <c:pt idx="237">
                  <c:v>0.56000000000000005</c:v>
                </c:pt>
                <c:pt idx="238">
                  <c:v>0.14000000000000001</c:v>
                </c:pt>
                <c:pt idx="239">
                  <c:v>0.56000000000000005</c:v>
                </c:pt>
                <c:pt idx="240">
                  <c:v>0.28999999999999998</c:v>
                </c:pt>
                <c:pt idx="241">
                  <c:v>0.39</c:v>
                </c:pt>
                <c:pt idx="242">
                  <c:v>0.12</c:v>
                </c:pt>
                <c:pt idx="243">
                  <c:v>0.31</c:v>
                </c:pt>
                <c:pt idx="244">
                  <c:v>0.35</c:v>
                </c:pt>
                <c:pt idx="245">
                  <c:v>0.17</c:v>
                </c:pt>
                <c:pt idx="246">
                  <c:v>0.19</c:v>
                </c:pt>
                <c:pt idx="247">
                  <c:v>0.02</c:v>
                </c:pt>
                <c:pt idx="248">
                  <c:v>0.5</c:v>
                </c:pt>
                <c:pt idx="249">
                  <c:v>0.17</c:v>
                </c:pt>
                <c:pt idx="250">
                  <c:v>0.46</c:v>
                </c:pt>
                <c:pt idx="251">
                  <c:v>0.3</c:v>
                </c:pt>
                <c:pt idx="252">
                  <c:v>0.18</c:v>
                </c:pt>
                <c:pt idx="253">
                  <c:v>0.25</c:v>
                </c:pt>
                <c:pt idx="254">
                  <c:v>0.16</c:v>
                </c:pt>
                <c:pt idx="255">
                  <c:v>0.34</c:v>
                </c:pt>
                <c:pt idx="256">
                  <c:v>0.27</c:v>
                </c:pt>
                <c:pt idx="257">
                  <c:v>0.17</c:v>
                </c:pt>
                <c:pt idx="258">
                  <c:v>0.11</c:v>
                </c:pt>
                <c:pt idx="259">
                  <c:v>0.37</c:v>
                </c:pt>
                <c:pt idx="260">
                  <c:v>0.15</c:v>
                </c:pt>
                <c:pt idx="261">
                  <c:v>0.03</c:v>
                </c:pt>
                <c:pt idx="262">
                  <c:v>0.3</c:v>
                </c:pt>
                <c:pt idx="263">
                  <c:v>0.24</c:v>
                </c:pt>
                <c:pt idx="264">
                  <c:v>0.01</c:v>
                </c:pt>
                <c:pt idx="265">
                  <c:v>0.15</c:v>
                </c:pt>
                <c:pt idx="266">
                  <c:v>0.53</c:v>
                </c:pt>
                <c:pt idx="267">
                  <c:v>0.09</c:v>
                </c:pt>
                <c:pt idx="268">
                  <c:v>0.22</c:v>
                </c:pt>
                <c:pt idx="269">
                  <c:v>0.39</c:v>
                </c:pt>
                <c:pt idx="270">
                  <c:v>0.41</c:v>
                </c:pt>
                <c:pt idx="271">
                  <c:v>0.18</c:v>
                </c:pt>
                <c:pt idx="272">
                  <c:v>0.39</c:v>
                </c:pt>
                <c:pt idx="273">
                  <c:v>0.3</c:v>
                </c:pt>
                <c:pt idx="274">
                  <c:v>0.34</c:v>
                </c:pt>
                <c:pt idx="275">
                  <c:v>0.48</c:v>
                </c:pt>
                <c:pt idx="276">
                  <c:v>0.01</c:v>
                </c:pt>
                <c:pt idx="277">
                  <c:v>0.09</c:v>
                </c:pt>
                <c:pt idx="278">
                  <c:v>0.21</c:v>
                </c:pt>
                <c:pt idx="279">
                  <c:v>0.22</c:v>
                </c:pt>
                <c:pt idx="280">
                  <c:v>0.13</c:v>
                </c:pt>
                <c:pt idx="281">
                  <c:v>0.08</c:v>
                </c:pt>
                <c:pt idx="282">
                  <c:v>0.01</c:v>
                </c:pt>
                <c:pt idx="283">
                  <c:v>0.01</c:v>
                </c:pt>
                <c:pt idx="284">
                  <c:v>0.02</c:v>
                </c:pt>
                <c:pt idx="285">
                  <c:v>0.01</c:v>
                </c:pt>
                <c:pt idx="286">
                  <c:v>0.32</c:v>
                </c:pt>
                <c:pt idx="287">
                  <c:v>0.18</c:v>
                </c:pt>
                <c:pt idx="288">
                  <c:v>0.16</c:v>
                </c:pt>
                <c:pt idx="289">
                  <c:v>0.36</c:v>
                </c:pt>
                <c:pt idx="290">
                  <c:v>0.6</c:v>
                </c:pt>
                <c:pt idx="291">
                  <c:v>0.2</c:v>
                </c:pt>
                <c:pt idx="292">
                  <c:v>0.06</c:v>
                </c:pt>
                <c:pt idx="293">
                  <c:v>0.06</c:v>
                </c:pt>
                <c:pt idx="294">
                  <c:v>0.32</c:v>
                </c:pt>
                <c:pt idx="295">
                  <c:v>0.13</c:v>
                </c:pt>
                <c:pt idx="296">
                  <c:v>0.02</c:v>
                </c:pt>
                <c:pt idx="297">
                  <c:v>0.15</c:v>
                </c:pt>
                <c:pt idx="298">
                  <c:v>0.12</c:v>
                </c:pt>
                <c:pt idx="299">
                  <c:v>0.04</c:v>
                </c:pt>
                <c:pt idx="300">
                  <c:v>0.19</c:v>
                </c:pt>
                <c:pt idx="301">
                  <c:v>0.04</c:v>
                </c:pt>
                <c:pt idx="302">
                  <c:v>0.14000000000000001</c:v>
                </c:pt>
                <c:pt idx="303">
                  <c:v>0.13</c:v>
                </c:pt>
                <c:pt idx="304">
                  <c:v>7.0000000000000007E-2</c:v>
                </c:pt>
                <c:pt idx="305">
                  <c:v>0.04</c:v>
                </c:pt>
                <c:pt idx="306">
                  <c:v>0.04</c:v>
                </c:pt>
                <c:pt idx="307">
                  <c:v>0.11</c:v>
                </c:pt>
                <c:pt idx="308">
                  <c:v>0.1</c:v>
                </c:pt>
                <c:pt idx="309">
                  <c:v>0.13</c:v>
                </c:pt>
                <c:pt idx="310">
                  <c:v>0.03</c:v>
                </c:pt>
                <c:pt idx="311">
                  <c:v>0.01</c:v>
                </c:pt>
                <c:pt idx="312">
                  <c:v>0.13</c:v>
                </c:pt>
                <c:pt idx="313">
                  <c:v>0.18</c:v>
                </c:pt>
                <c:pt idx="314">
                  <c:v>0.01</c:v>
                </c:pt>
                <c:pt idx="315">
                  <c:v>0.06</c:v>
                </c:pt>
                <c:pt idx="316">
                  <c:v>0.05</c:v>
                </c:pt>
                <c:pt idx="317">
                  <c:v>0.13</c:v>
                </c:pt>
                <c:pt idx="318">
                  <c:v>0.06</c:v>
                </c:pt>
                <c:pt idx="319">
                  <c:v>0.34</c:v>
                </c:pt>
                <c:pt idx="320">
                  <c:v>0.08</c:v>
                </c:pt>
                <c:pt idx="321">
                  <c:v>0.09</c:v>
                </c:pt>
                <c:pt idx="322">
                  <c:v>0.12</c:v>
                </c:pt>
                <c:pt idx="323">
                  <c:v>0.05</c:v>
                </c:pt>
                <c:pt idx="324">
                  <c:v>0.09</c:v>
                </c:pt>
                <c:pt idx="325">
                  <c:v>0.08</c:v>
                </c:pt>
                <c:pt idx="326">
                  <c:v>0.23</c:v>
                </c:pt>
                <c:pt idx="327">
                  <c:v>0.03</c:v>
                </c:pt>
                <c:pt idx="328">
                  <c:v>0.21</c:v>
                </c:pt>
                <c:pt idx="329">
                  <c:v>0.13</c:v>
                </c:pt>
                <c:pt idx="330">
                  <c:v>0.1</c:v>
                </c:pt>
                <c:pt idx="331">
                  <c:v>0.02</c:v>
                </c:pt>
                <c:pt idx="332">
                  <c:v>0.04</c:v>
                </c:pt>
                <c:pt idx="333">
                  <c:v>0.01</c:v>
                </c:pt>
                <c:pt idx="334">
                  <c:v>0.03</c:v>
                </c:pt>
                <c:pt idx="335">
                  <c:v>0.1</c:v>
                </c:pt>
                <c:pt idx="336">
                  <c:v>0.02</c:v>
                </c:pt>
                <c:pt idx="337">
                  <c:v>0.04</c:v>
                </c:pt>
                <c:pt idx="338">
                  <c:v>0.08</c:v>
                </c:pt>
                <c:pt idx="339">
                  <c:v>0.02</c:v>
                </c:pt>
                <c:pt idx="340">
                  <c:v>0.02</c:v>
                </c:pt>
                <c:pt idx="341">
                  <c:v>0.01</c:v>
                </c:pt>
                <c:pt idx="342">
                  <c:v>0.15</c:v>
                </c:pt>
                <c:pt idx="343">
                  <c:v>0.2</c:v>
                </c:pt>
                <c:pt idx="344">
                  <c:v>0.04</c:v>
                </c:pt>
                <c:pt idx="345">
                  <c:v>0.36</c:v>
                </c:pt>
                <c:pt idx="346">
                  <c:v>0.34</c:v>
                </c:pt>
                <c:pt idx="347">
                  <c:v>0.22</c:v>
                </c:pt>
                <c:pt idx="348">
                  <c:v>0.08</c:v>
                </c:pt>
                <c:pt idx="349">
                  <c:v>0.04</c:v>
                </c:pt>
                <c:pt idx="350">
                  <c:v>0.08</c:v>
                </c:pt>
                <c:pt idx="351">
                  <c:v>0.52</c:v>
                </c:pt>
                <c:pt idx="352">
                  <c:v>0.04</c:v>
                </c:pt>
                <c:pt idx="353">
                  <c:v>7.0000000000000007E-2</c:v>
                </c:pt>
                <c:pt idx="354">
                  <c:v>0.06</c:v>
                </c:pt>
                <c:pt idx="355">
                  <c:v>0.02</c:v>
                </c:pt>
                <c:pt idx="356">
                  <c:v>0.3</c:v>
                </c:pt>
                <c:pt idx="357">
                  <c:v>0.05</c:v>
                </c:pt>
                <c:pt idx="358">
                  <c:v>0.05</c:v>
                </c:pt>
                <c:pt idx="359">
                  <c:v>0.01</c:v>
                </c:pt>
                <c:pt idx="360">
                  <c:v>0.05</c:v>
                </c:pt>
                <c:pt idx="361">
                  <c:v>7.0000000000000007E-2</c:v>
                </c:pt>
                <c:pt idx="362">
                  <c:v>0.11</c:v>
                </c:pt>
                <c:pt idx="363">
                  <c:v>0.02</c:v>
                </c:pt>
                <c:pt idx="364">
                  <c:v>0.19</c:v>
                </c:pt>
                <c:pt idx="365">
                  <c:v>0.08</c:v>
                </c:pt>
                <c:pt idx="366">
                  <c:v>0.02</c:v>
                </c:pt>
                <c:pt idx="367">
                  <c:v>0.01</c:v>
                </c:pt>
                <c:pt idx="368">
                  <c:v>0.01</c:v>
                </c:pt>
                <c:pt idx="369">
                  <c:v>0.12</c:v>
                </c:pt>
                <c:pt idx="370">
                  <c:v>0.23</c:v>
                </c:pt>
                <c:pt idx="371">
                  <c:v>0.03</c:v>
                </c:pt>
                <c:pt idx="372">
                  <c:v>0.05</c:v>
                </c:pt>
                <c:pt idx="373">
                  <c:v>0.08</c:v>
                </c:pt>
                <c:pt idx="374">
                  <c:v>0.34</c:v>
                </c:pt>
                <c:pt idx="375">
                  <c:v>0.04</c:v>
                </c:pt>
                <c:pt idx="376">
                  <c:v>0.02</c:v>
                </c:pt>
                <c:pt idx="377">
                  <c:v>0.03</c:v>
                </c:pt>
                <c:pt idx="378">
                  <c:v>0.01</c:v>
                </c:pt>
                <c:pt idx="379">
                  <c:v>0.01</c:v>
                </c:pt>
                <c:pt idx="380">
                  <c:v>0.03</c:v>
                </c:pt>
                <c:pt idx="381">
                  <c:v>0.04</c:v>
                </c:pt>
                <c:pt idx="382">
                  <c:v>0.01</c:v>
                </c:pt>
                <c:pt idx="383">
                  <c:v>0.06</c:v>
                </c:pt>
                <c:pt idx="384">
                  <c:v>0.01</c:v>
                </c:pt>
                <c:pt idx="385">
                  <c:v>7.0000000000000007E-2</c:v>
                </c:pt>
                <c:pt idx="386">
                  <c:v>0.02</c:v>
                </c:pt>
                <c:pt idx="387">
                  <c:v>0.04</c:v>
                </c:pt>
                <c:pt idx="388">
                  <c:v>0.02</c:v>
                </c:pt>
                <c:pt idx="389">
                  <c:v>0.02</c:v>
                </c:pt>
                <c:pt idx="390">
                  <c:v>0.08</c:v>
                </c:pt>
                <c:pt idx="391">
                  <c:v>0.06</c:v>
                </c:pt>
                <c:pt idx="392">
                  <c:v>0.03</c:v>
                </c:pt>
                <c:pt idx="393">
                  <c:v>0.03</c:v>
                </c:pt>
                <c:pt idx="394">
                  <c:v>0.04</c:v>
                </c:pt>
                <c:pt idx="395">
                  <c:v>0.02</c:v>
                </c:pt>
                <c:pt idx="396">
                  <c:v>0.04</c:v>
                </c:pt>
                <c:pt idx="397">
                  <c:v>0.01</c:v>
                </c:pt>
                <c:pt idx="398">
                  <c:v>0.02</c:v>
                </c:pt>
                <c:pt idx="399">
                  <c:v>0.04</c:v>
                </c:pt>
                <c:pt idx="400">
                  <c:v>0.02</c:v>
                </c:pt>
                <c:pt idx="401">
                  <c:v>0.02</c:v>
                </c:pt>
                <c:pt idx="402">
                  <c:v>0.06</c:v>
                </c:pt>
                <c:pt idx="403">
                  <c:v>0.01</c:v>
                </c:pt>
                <c:pt idx="404">
                  <c:v>0.02</c:v>
                </c:pt>
                <c:pt idx="405">
                  <c:v>0.04</c:v>
                </c:pt>
                <c:pt idx="406">
                  <c:v>0.02</c:v>
                </c:pt>
                <c:pt idx="407">
                  <c:v>0.06</c:v>
                </c:pt>
                <c:pt idx="408">
                  <c:v>0.01</c:v>
                </c:pt>
                <c:pt idx="409">
                  <c:v>0.01</c:v>
                </c:pt>
                <c:pt idx="410">
                  <c:v>0.25</c:v>
                </c:pt>
                <c:pt idx="411">
                  <c:v>0.1</c:v>
                </c:pt>
                <c:pt idx="412">
                  <c:v>0.01</c:v>
                </c:pt>
                <c:pt idx="413">
                  <c:v>0.25</c:v>
                </c:pt>
                <c:pt idx="414">
                  <c:v>0.02</c:v>
                </c:pt>
                <c:pt idx="415">
                  <c:v>0.01</c:v>
                </c:pt>
                <c:pt idx="416">
                  <c:v>0.01</c:v>
                </c:pt>
                <c:pt idx="417">
                  <c:v>0.02</c:v>
                </c:pt>
                <c:pt idx="418">
                  <c:v>0.01</c:v>
                </c:pt>
                <c:pt idx="419">
                  <c:v>0.28000000000000003</c:v>
                </c:pt>
                <c:pt idx="420">
                  <c:v>0.01</c:v>
                </c:pt>
                <c:pt idx="421">
                  <c:v>0.01</c:v>
                </c:pt>
                <c:pt idx="422">
                  <c:v>0.01</c:v>
                </c:pt>
                <c:pt idx="423">
                  <c:v>0.01</c:v>
                </c:pt>
                <c:pt idx="424">
                  <c:v>0.03</c:v>
                </c:pt>
                <c:pt idx="425">
                  <c:v>0.33</c:v>
                </c:pt>
                <c:pt idx="426">
                  <c:v>0.01</c:v>
                </c:pt>
                <c:pt idx="427">
                  <c:v>0.01</c:v>
                </c:pt>
                <c:pt idx="428">
                  <c:v>0.02</c:v>
                </c:pt>
                <c:pt idx="429">
                  <c:v>0.06</c:v>
                </c:pt>
                <c:pt idx="430">
                  <c:v>0.01</c:v>
                </c:pt>
                <c:pt idx="431">
                  <c:v>0.01</c:v>
                </c:pt>
                <c:pt idx="432">
                  <c:v>0.01</c:v>
                </c:pt>
                <c:pt idx="433">
                  <c:v>0.01</c:v>
                </c:pt>
                <c:pt idx="434">
                  <c:v>0.01</c:v>
                </c:pt>
                <c:pt idx="435">
                  <c:v>0.01</c:v>
                </c:pt>
                <c:pt idx="436">
                  <c:v>0.01</c:v>
                </c:pt>
                <c:pt idx="437">
                  <c:v>0.02</c:v>
                </c:pt>
                <c:pt idx="438">
                  <c:v>0.01</c:v>
                </c:pt>
                <c:pt idx="439">
                  <c:v>0.02</c:v>
                </c:pt>
                <c:pt idx="440">
                  <c:v>0.03</c:v>
                </c:pt>
                <c:pt idx="441">
                  <c:v>0.05</c:v>
                </c:pt>
                <c:pt idx="442">
                  <c:v>0.01</c:v>
                </c:pt>
                <c:pt idx="443">
                  <c:v>0.01</c:v>
                </c:pt>
                <c:pt idx="444">
                  <c:v>0.01</c:v>
                </c:pt>
                <c:pt idx="445">
                  <c:v>0.01</c:v>
                </c:pt>
                <c:pt idx="446">
                  <c:v>0.01</c:v>
                </c:pt>
                <c:pt idx="447">
                  <c:v>0.01</c:v>
                </c:pt>
                <c:pt idx="448">
                  <c:v>0.01</c:v>
                </c:pt>
                <c:pt idx="449">
                  <c:v>0.01</c:v>
                </c:pt>
                <c:pt idx="450">
                  <c:v>0.01</c:v>
                </c:pt>
                <c:pt idx="451">
                  <c:v>0.02</c:v>
                </c:pt>
                <c:pt idx="452">
                  <c:v>0.01</c:v>
                </c:pt>
                <c:pt idx="453">
                  <c:v>0.01</c:v>
                </c:pt>
                <c:pt idx="454">
                  <c:v>0.01</c:v>
                </c:pt>
                <c:pt idx="455">
                  <c:v>0.02</c:v>
                </c:pt>
                <c:pt idx="456">
                  <c:v>0.01</c:v>
                </c:pt>
                <c:pt idx="457">
                  <c:v>0.01</c:v>
                </c:pt>
                <c:pt idx="458">
                  <c:v>0.25</c:v>
                </c:pt>
                <c:pt idx="459">
                  <c:v>0.01</c:v>
                </c:pt>
                <c:pt idx="460">
                  <c:v>0.02</c:v>
                </c:pt>
                <c:pt idx="461">
                  <c:v>0.17</c:v>
                </c:pt>
                <c:pt idx="462">
                  <c:v>0.06</c:v>
                </c:pt>
                <c:pt idx="463">
                  <c:v>0.01</c:v>
                </c:pt>
                <c:pt idx="464">
                  <c:v>0.05</c:v>
                </c:pt>
                <c:pt idx="465">
                  <c:v>0.02</c:v>
                </c:pt>
                <c:pt idx="466">
                  <c:v>0.01</c:v>
                </c:pt>
                <c:pt idx="467">
                  <c:v>0.03</c:v>
                </c:pt>
                <c:pt idx="468">
                  <c:v>0.02</c:v>
                </c:pt>
                <c:pt idx="469">
                  <c:v>0.01</c:v>
                </c:pt>
                <c:pt idx="470">
                  <c:v>0.02</c:v>
                </c:pt>
                <c:pt idx="471">
                  <c:v>0.01</c:v>
                </c:pt>
                <c:pt idx="472">
                  <c:v>0.02</c:v>
                </c:pt>
                <c:pt idx="473">
                  <c:v>0.03</c:v>
                </c:pt>
                <c:pt idx="474">
                  <c:v>0.01</c:v>
                </c:pt>
                <c:pt idx="475">
                  <c:v>0.05</c:v>
                </c:pt>
                <c:pt idx="476">
                  <c:v>0.03</c:v>
                </c:pt>
                <c:pt idx="477">
                  <c:v>0.02</c:v>
                </c:pt>
                <c:pt idx="478">
                  <c:v>0.01</c:v>
                </c:pt>
                <c:pt idx="479">
                  <c:v>0.01</c:v>
                </c:pt>
                <c:pt idx="480">
                  <c:v>0.01</c:v>
                </c:pt>
                <c:pt idx="481">
                  <c:v>0.02</c:v>
                </c:pt>
                <c:pt idx="482">
                  <c:v>0.01</c:v>
                </c:pt>
                <c:pt idx="483">
                  <c:v>0.03</c:v>
                </c:pt>
                <c:pt idx="484">
                  <c:v>0.01</c:v>
                </c:pt>
                <c:pt idx="485">
                  <c:v>0.01</c:v>
                </c:pt>
                <c:pt idx="486">
                  <c:v>0.01</c:v>
                </c:pt>
                <c:pt idx="487">
                  <c:v>0.02</c:v>
                </c:pt>
                <c:pt idx="488">
                  <c:v>0.01</c:v>
                </c:pt>
                <c:pt idx="489">
                  <c:v>0.01</c:v>
                </c:pt>
                <c:pt idx="490">
                  <c:v>0.03</c:v>
                </c:pt>
                <c:pt idx="491">
                  <c:v>0.02</c:v>
                </c:pt>
                <c:pt idx="492">
                  <c:v>0.01</c:v>
                </c:pt>
                <c:pt idx="493">
                  <c:v>0.03</c:v>
                </c:pt>
                <c:pt idx="494">
                  <c:v>0.16</c:v>
                </c:pt>
                <c:pt idx="495">
                  <c:v>0.03</c:v>
                </c:pt>
                <c:pt idx="496">
                  <c:v>0.01</c:v>
                </c:pt>
                <c:pt idx="497">
                  <c:v>0.01</c:v>
                </c:pt>
                <c:pt idx="498">
                  <c:v>0.02</c:v>
                </c:pt>
                <c:pt idx="499">
                  <c:v>0.01</c:v>
                </c:pt>
                <c:pt idx="500">
                  <c:v>0.01</c:v>
                </c:pt>
                <c:pt idx="501">
                  <c:v>0.02</c:v>
                </c:pt>
                <c:pt idx="502">
                  <c:v>0.01</c:v>
                </c:pt>
                <c:pt idx="503">
                  <c:v>0.14000000000000001</c:v>
                </c:pt>
                <c:pt idx="504">
                  <c:v>0.05</c:v>
                </c:pt>
                <c:pt idx="505">
                  <c:v>0.03</c:v>
                </c:pt>
                <c:pt idx="506">
                  <c:v>0.01</c:v>
                </c:pt>
                <c:pt idx="507">
                  <c:v>0.01</c:v>
                </c:pt>
                <c:pt idx="508">
                  <c:v>0.04</c:v>
                </c:pt>
                <c:pt idx="509">
                  <c:v>0.01</c:v>
                </c:pt>
                <c:pt idx="510">
                  <c:v>0.01</c:v>
                </c:pt>
                <c:pt idx="511">
                  <c:v>0.01</c:v>
                </c:pt>
                <c:pt idx="512">
                  <c:v>0.01</c:v>
                </c:pt>
                <c:pt idx="513">
                  <c:v>0.01</c:v>
                </c:pt>
                <c:pt idx="514">
                  <c:v>0.01</c:v>
                </c:pt>
                <c:pt idx="515">
                  <c:v>0.02</c:v>
                </c:pt>
                <c:pt idx="516">
                  <c:v>0.01</c:v>
                </c:pt>
                <c:pt idx="517">
                  <c:v>0.02</c:v>
                </c:pt>
                <c:pt idx="518">
                  <c:v>0.01</c:v>
                </c:pt>
                <c:pt idx="519">
                  <c:v>0.01</c:v>
                </c:pt>
                <c:pt idx="520">
                  <c:v>0.01</c:v>
                </c:pt>
                <c:pt idx="521">
                  <c:v>0.03</c:v>
                </c:pt>
                <c:pt idx="522">
                  <c:v>0.01</c:v>
                </c:pt>
                <c:pt idx="523">
                  <c:v>0.01</c:v>
                </c:pt>
                <c:pt idx="524">
                  <c:v>0.01</c:v>
                </c:pt>
                <c:pt idx="525">
                  <c:v>0.01</c:v>
                </c:pt>
                <c:pt idx="526">
                  <c:v>0.01</c:v>
                </c:pt>
                <c:pt idx="527">
                  <c:v>0.03</c:v>
                </c:pt>
                <c:pt idx="528">
                  <c:v>0.02</c:v>
                </c:pt>
                <c:pt idx="529">
                  <c:v>0.03</c:v>
                </c:pt>
                <c:pt idx="530">
                  <c:v>0.02</c:v>
                </c:pt>
                <c:pt idx="531">
                  <c:v>0.01</c:v>
                </c:pt>
                <c:pt idx="532">
                  <c:v>0.01</c:v>
                </c:pt>
                <c:pt idx="533">
                  <c:v>0.02</c:v>
                </c:pt>
                <c:pt idx="534">
                  <c:v>0.01</c:v>
                </c:pt>
                <c:pt idx="535">
                  <c:v>0.02</c:v>
                </c:pt>
                <c:pt idx="536">
                  <c:v>0.01</c:v>
                </c:pt>
                <c:pt idx="537">
                  <c:v>0.01</c:v>
                </c:pt>
                <c:pt idx="538">
                  <c:v>0.01</c:v>
                </c:pt>
                <c:pt idx="539">
                  <c:v>0.01</c:v>
                </c:pt>
                <c:pt idx="540">
                  <c:v>0.05</c:v>
                </c:pt>
                <c:pt idx="541">
                  <c:v>0.01</c:v>
                </c:pt>
                <c:pt idx="542">
                  <c:v>0.01</c:v>
                </c:pt>
                <c:pt idx="543">
                  <c:v>0.21</c:v>
                </c:pt>
                <c:pt idx="544">
                  <c:v>0.01</c:v>
                </c:pt>
                <c:pt idx="545">
                  <c:v>0.01</c:v>
                </c:pt>
                <c:pt idx="546">
                  <c:v>0.01</c:v>
                </c:pt>
                <c:pt idx="547">
                  <c:v>0.02</c:v>
                </c:pt>
                <c:pt idx="548">
                  <c:v>0.01</c:v>
                </c:pt>
                <c:pt idx="549">
                  <c:v>0.01</c:v>
                </c:pt>
                <c:pt idx="550">
                  <c:v>0.01</c:v>
                </c:pt>
                <c:pt idx="551">
                  <c:v>0.01</c:v>
                </c:pt>
                <c:pt idx="552">
                  <c:v>0.02</c:v>
                </c:pt>
                <c:pt idx="553">
                  <c:v>0.01</c:v>
                </c:pt>
                <c:pt idx="554">
                  <c:v>0.01</c:v>
                </c:pt>
                <c:pt idx="555">
                  <c:v>0.01</c:v>
                </c:pt>
                <c:pt idx="556">
                  <c:v>0.01</c:v>
                </c:pt>
                <c:pt idx="557">
                  <c:v>0.01</c:v>
                </c:pt>
                <c:pt idx="558">
                  <c:v>0.01</c:v>
                </c:pt>
                <c:pt idx="559">
                  <c:v>0.01</c:v>
                </c:pt>
                <c:pt idx="560">
                  <c:v>0.01</c:v>
                </c:pt>
                <c:pt idx="561">
                  <c:v>0.06</c:v>
                </c:pt>
                <c:pt idx="562">
                  <c:v>0.01</c:v>
                </c:pt>
                <c:pt idx="563">
                  <c:v>0.02</c:v>
                </c:pt>
                <c:pt idx="564">
                  <c:v>0.01</c:v>
                </c:pt>
                <c:pt idx="565">
                  <c:v>0.01</c:v>
                </c:pt>
                <c:pt idx="566">
                  <c:v>7.0000000000000007E-2</c:v>
                </c:pt>
                <c:pt idx="567">
                  <c:v>0.01</c:v>
                </c:pt>
                <c:pt idx="568">
                  <c:v>0.01</c:v>
                </c:pt>
                <c:pt idx="569">
                  <c:v>0.05</c:v>
                </c:pt>
                <c:pt idx="570">
                  <c:v>0.03</c:v>
                </c:pt>
                <c:pt idx="571">
                  <c:v>0.01</c:v>
                </c:pt>
                <c:pt idx="572">
                  <c:v>0.02</c:v>
                </c:pt>
                <c:pt idx="573">
                  <c:v>0.02</c:v>
                </c:pt>
                <c:pt idx="574">
                  <c:v>0.01</c:v>
                </c:pt>
                <c:pt idx="575">
                  <c:v>0.01</c:v>
                </c:pt>
                <c:pt idx="576">
                  <c:v>0.01</c:v>
                </c:pt>
                <c:pt idx="577">
                  <c:v>0.02</c:v>
                </c:pt>
                <c:pt idx="578">
                  <c:v>0.01</c:v>
                </c:pt>
                <c:pt idx="579">
                  <c:v>0.01</c:v>
                </c:pt>
                <c:pt idx="580">
                  <c:v>7.0000000000000007E-2</c:v>
                </c:pt>
                <c:pt idx="581">
                  <c:v>0.04</c:v>
                </c:pt>
                <c:pt idx="582">
                  <c:v>0.01</c:v>
                </c:pt>
                <c:pt idx="583">
                  <c:v>0.05</c:v>
                </c:pt>
                <c:pt idx="584">
                  <c:v>0.01</c:v>
                </c:pt>
                <c:pt idx="585">
                  <c:v>0.01</c:v>
                </c:pt>
                <c:pt idx="586">
                  <c:v>0.01</c:v>
                </c:pt>
                <c:pt idx="587">
                  <c:v>0.05</c:v>
                </c:pt>
                <c:pt idx="588">
                  <c:v>0.03</c:v>
                </c:pt>
                <c:pt idx="589">
                  <c:v>0.06</c:v>
                </c:pt>
                <c:pt idx="590">
                  <c:v>0.01</c:v>
                </c:pt>
                <c:pt idx="591">
                  <c:v>0.01</c:v>
                </c:pt>
                <c:pt idx="592">
                  <c:v>0.06</c:v>
                </c:pt>
                <c:pt idx="593">
                  <c:v>0.01</c:v>
                </c:pt>
                <c:pt idx="594">
                  <c:v>0.01</c:v>
                </c:pt>
                <c:pt idx="595">
                  <c:v>0.03</c:v>
                </c:pt>
                <c:pt idx="596">
                  <c:v>0.01</c:v>
                </c:pt>
                <c:pt idx="597">
                  <c:v>0.01</c:v>
                </c:pt>
                <c:pt idx="598">
                  <c:v>0.03</c:v>
                </c:pt>
                <c:pt idx="599">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7775-4A9C-B2E5-37C768AAA5A6}"/>
              </c:ext>
            </c:extLst>
          </c:dPt>
          <c:dPt>
            <c:idx val="211"/>
            <c:invertIfNegative val="1"/>
            <c:bubble3D val="0"/>
            <c:spPr>
              <a:solidFill>
                <a:srgbClr val="7ECAC4"/>
              </a:solidFill>
            </c:spPr>
            <c:extLst>
              <c:ext xmlns:c16="http://schemas.microsoft.com/office/drawing/2014/chart" uri="{C3380CC4-5D6E-409C-BE32-E72D297353CC}">
                <c16:uniqueId val="{000001A9-7775-4A9C-B2E5-37C768AAA5A6}"/>
              </c:ext>
            </c:extLst>
          </c:dPt>
          <c:dPt>
            <c:idx val="212"/>
            <c:invertIfNegative val="1"/>
            <c:bubble3D val="0"/>
            <c:spPr>
              <a:solidFill>
                <a:srgbClr val="7ECAC4"/>
              </a:solidFill>
            </c:spPr>
            <c:extLst>
              <c:ext xmlns:c16="http://schemas.microsoft.com/office/drawing/2014/chart" uri="{C3380CC4-5D6E-409C-BE32-E72D297353CC}">
                <c16:uniqueId val="{000001AB-7775-4A9C-B2E5-37C768AAA5A6}"/>
              </c:ext>
            </c:extLst>
          </c:dPt>
          <c:dPt>
            <c:idx val="213"/>
            <c:invertIfNegative val="1"/>
            <c:bubble3D val="0"/>
            <c:spPr>
              <a:solidFill>
                <a:srgbClr val="7ECAC4"/>
              </a:solidFill>
            </c:spPr>
            <c:extLst>
              <c:ext xmlns:c16="http://schemas.microsoft.com/office/drawing/2014/chart" uri="{C3380CC4-5D6E-409C-BE32-E72D297353CC}">
                <c16:uniqueId val="{000001AD-7775-4A9C-B2E5-37C768AAA5A6}"/>
              </c:ext>
            </c:extLst>
          </c:dPt>
          <c:dPt>
            <c:idx val="214"/>
            <c:invertIfNegative val="1"/>
            <c:bubble3D val="0"/>
            <c:spPr>
              <a:solidFill>
                <a:srgbClr val="7ECAC4"/>
              </a:solidFill>
            </c:spPr>
            <c:extLst>
              <c:ext xmlns:c16="http://schemas.microsoft.com/office/drawing/2014/chart" uri="{C3380CC4-5D6E-409C-BE32-E72D297353CC}">
                <c16:uniqueId val="{000001AF-7775-4A9C-B2E5-37C768AAA5A6}"/>
              </c:ext>
            </c:extLst>
          </c:dPt>
          <c:dPt>
            <c:idx val="215"/>
            <c:invertIfNegative val="1"/>
            <c:bubble3D val="0"/>
            <c:spPr>
              <a:solidFill>
                <a:srgbClr val="7ECAC4"/>
              </a:solidFill>
            </c:spPr>
            <c:extLst>
              <c:ext xmlns:c16="http://schemas.microsoft.com/office/drawing/2014/chart" uri="{C3380CC4-5D6E-409C-BE32-E72D297353CC}">
                <c16:uniqueId val="{000001B1-7775-4A9C-B2E5-37C768AAA5A6}"/>
              </c:ext>
            </c:extLst>
          </c:dPt>
          <c:dPt>
            <c:idx val="216"/>
            <c:invertIfNegative val="1"/>
            <c:bubble3D val="0"/>
            <c:spPr>
              <a:solidFill>
                <a:srgbClr val="7ECAC4"/>
              </a:solidFill>
            </c:spPr>
            <c:extLst>
              <c:ext xmlns:c16="http://schemas.microsoft.com/office/drawing/2014/chart" uri="{C3380CC4-5D6E-409C-BE32-E72D297353CC}">
                <c16:uniqueId val="{000001B3-7775-4A9C-B2E5-37C768AAA5A6}"/>
              </c:ext>
            </c:extLst>
          </c:dPt>
          <c:dPt>
            <c:idx val="217"/>
            <c:invertIfNegative val="1"/>
            <c:bubble3D val="0"/>
            <c:spPr>
              <a:solidFill>
                <a:srgbClr val="7ECAC4"/>
              </a:solidFill>
            </c:spPr>
            <c:extLst>
              <c:ext xmlns:c16="http://schemas.microsoft.com/office/drawing/2014/chart" uri="{C3380CC4-5D6E-409C-BE32-E72D297353CC}">
                <c16:uniqueId val="{000001B5-7775-4A9C-B2E5-37C768AAA5A6}"/>
              </c:ext>
            </c:extLst>
          </c:dPt>
          <c:dPt>
            <c:idx val="218"/>
            <c:invertIfNegative val="1"/>
            <c:bubble3D val="0"/>
            <c:spPr>
              <a:solidFill>
                <a:srgbClr val="7ECAC4"/>
              </a:solidFill>
            </c:spPr>
            <c:extLst>
              <c:ext xmlns:c16="http://schemas.microsoft.com/office/drawing/2014/chart" uri="{C3380CC4-5D6E-409C-BE32-E72D297353CC}">
                <c16:uniqueId val="{000001B7-7775-4A9C-B2E5-37C768AAA5A6}"/>
              </c:ext>
            </c:extLst>
          </c:dPt>
          <c:dPt>
            <c:idx val="219"/>
            <c:invertIfNegative val="1"/>
            <c:bubble3D val="0"/>
            <c:spPr>
              <a:solidFill>
                <a:srgbClr val="7ECAC4"/>
              </a:solidFill>
            </c:spPr>
            <c:extLst>
              <c:ext xmlns:c16="http://schemas.microsoft.com/office/drawing/2014/chart" uri="{C3380CC4-5D6E-409C-BE32-E72D297353CC}">
                <c16:uniqueId val="{000001B9-7775-4A9C-B2E5-37C768AAA5A6}"/>
              </c:ext>
            </c:extLst>
          </c:dPt>
          <c:dPt>
            <c:idx val="220"/>
            <c:invertIfNegative val="1"/>
            <c:bubble3D val="0"/>
            <c:spPr>
              <a:solidFill>
                <a:srgbClr val="7ECAC4"/>
              </a:solidFill>
            </c:spPr>
            <c:extLst>
              <c:ext xmlns:c16="http://schemas.microsoft.com/office/drawing/2014/chart" uri="{C3380CC4-5D6E-409C-BE32-E72D297353CC}">
                <c16:uniqueId val="{000001BB-7775-4A9C-B2E5-37C768AAA5A6}"/>
              </c:ext>
            </c:extLst>
          </c:dPt>
          <c:dPt>
            <c:idx val="221"/>
            <c:invertIfNegative val="1"/>
            <c:bubble3D val="0"/>
            <c:spPr>
              <a:solidFill>
                <a:srgbClr val="AEABAB"/>
              </a:solidFill>
            </c:spPr>
            <c:extLst>
              <c:ext xmlns:c16="http://schemas.microsoft.com/office/drawing/2014/chart" uri="{C3380CC4-5D6E-409C-BE32-E72D297353CC}">
                <c16:uniqueId val="{000001BD-7775-4A9C-B2E5-37C768AAA5A6}"/>
              </c:ext>
            </c:extLst>
          </c:dPt>
          <c:dPt>
            <c:idx val="222"/>
            <c:invertIfNegative val="1"/>
            <c:bubble3D val="0"/>
            <c:spPr>
              <a:solidFill>
                <a:srgbClr val="AEABAB"/>
              </a:solidFill>
            </c:spPr>
            <c:extLst>
              <c:ext xmlns:c16="http://schemas.microsoft.com/office/drawing/2014/chart" uri="{C3380CC4-5D6E-409C-BE32-E72D297353CC}">
                <c16:uniqueId val="{000001BF-7775-4A9C-B2E5-37C768AAA5A6}"/>
              </c:ext>
            </c:extLst>
          </c:dPt>
          <c:dPt>
            <c:idx val="223"/>
            <c:invertIfNegative val="1"/>
            <c:bubble3D val="0"/>
            <c:spPr>
              <a:solidFill>
                <a:srgbClr val="AEABAB"/>
              </a:solidFill>
            </c:spPr>
            <c:extLst>
              <c:ext xmlns:c16="http://schemas.microsoft.com/office/drawing/2014/chart" uri="{C3380CC4-5D6E-409C-BE32-E72D297353CC}">
                <c16:uniqueId val="{000001C1-7775-4A9C-B2E5-37C768AAA5A6}"/>
              </c:ext>
            </c:extLst>
          </c:dPt>
          <c:dPt>
            <c:idx val="224"/>
            <c:invertIfNegative val="1"/>
            <c:bubble3D val="0"/>
            <c:spPr>
              <a:solidFill>
                <a:srgbClr val="AEABAB"/>
              </a:solidFill>
            </c:spPr>
            <c:extLst>
              <c:ext xmlns:c16="http://schemas.microsoft.com/office/drawing/2014/chart" uri="{C3380CC4-5D6E-409C-BE32-E72D297353CC}">
                <c16:uniqueId val="{000001C3-7775-4A9C-B2E5-37C768AAA5A6}"/>
              </c:ext>
            </c:extLst>
          </c:dPt>
          <c:dPt>
            <c:idx val="225"/>
            <c:invertIfNegative val="1"/>
            <c:bubble3D val="0"/>
            <c:spPr>
              <a:solidFill>
                <a:srgbClr val="AEABAB"/>
              </a:solidFill>
            </c:spPr>
            <c:extLst>
              <c:ext xmlns:c16="http://schemas.microsoft.com/office/drawing/2014/chart" uri="{C3380CC4-5D6E-409C-BE32-E72D297353CC}">
                <c16:uniqueId val="{000001C5-7775-4A9C-B2E5-37C768AAA5A6}"/>
              </c:ext>
            </c:extLst>
          </c:dPt>
          <c:dPt>
            <c:idx val="226"/>
            <c:invertIfNegative val="1"/>
            <c:bubble3D val="0"/>
            <c:spPr>
              <a:solidFill>
                <a:srgbClr val="AEABAB"/>
              </a:solidFill>
            </c:spPr>
            <c:extLst>
              <c:ext xmlns:c16="http://schemas.microsoft.com/office/drawing/2014/chart" uri="{C3380CC4-5D6E-409C-BE32-E72D297353CC}">
                <c16:uniqueId val="{000001C7-7775-4A9C-B2E5-37C768AAA5A6}"/>
              </c:ext>
            </c:extLst>
          </c:dPt>
          <c:dPt>
            <c:idx val="227"/>
            <c:invertIfNegative val="1"/>
            <c:bubble3D val="0"/>
            <c:spPr>
              <a:solidFill>
                <a:srgbClr val="AEABAB"/>
              </a:solidFill>
            </c:spPr>
            <c:extLst>
              <c:ext xmlns:c16="http://schemas.microsoft.com/office/drawing/2014/chart" uri="{C3380CC4-5D6E-409C-BE32-E72D297353CC}">
                <c16:uniqueId val="{000001C9-7775-4A9C-B2E5-37C768AAA5A6}"/>
              </c:ext>
            </c:extLst>
          </c:dPt>
          <c:dPt>
            <c:idx val="228"/>
            <c:invertIfNegative val="1"/>
            <c:bubble3D val="0"/>
            <c:spPr>
              <a:solidFill>
                <a:srgbClr val="AEABAB"/>
              </a:solidFill>
            </c:spPr>
            <c:extLst>
              <c:ext xmlns:c16="http://schemas.microsoft.com/office/drawing/2014/chart" uri="{C3380CC4-5D6E-409C-BE32-E72D297353CC}">
                <c16:uniqueId val="{000001CB-7775-4A9C-B2E5-37C768AAA5A6}"/>
              </c:ext>
            </c:extLst>
          </c:dPt>
          <c:dPt>
            <c:idx val="229"/>
            <c:invertIfNegative val="1"/>
            <c:bubble3D val="0"/>
            <c:spPr>
              <a:solidFill>
                <a:srgbClr val="AEABAB"/>
              </a:solidFill>
            </c:spPr>
            <c:extLst>
              <c:ext xmlns:c16="http://schemas.microsoft.com/office/drawing/2014/chart" uri="{C3380CC4-5D6E-409C-BE32-E72D297353CC}">
                <c16:uniqueId val="{000001CD-7775-4A9C-B2E5-37C768AAA5A6}"/>
              </c:ext>
            </c:extLst>
          </c:dPt>
          <c:dPt>
            <c:idx val="230"/>
            <c:invertIfNegative val="1"/>
            <c:bubble3D val="0"/>
            <c:spPr>
              <a:solidFill>
                <a:srgbClr val="AEABAB"/>
              </a:solidFill>
            </c:spPr>
            <c:extLst>
              <c:ext xmlns:c16="http://schemas.microsoft.com/office/drawing/2014/chart" uri="{C3380CC4-5D6E-409C-BE32-E72D297353CC}">
                <c16:uniqueId val="{000001CF-7775-4A9C-B2E5-37C768AAA5A6}"/>
              </c:ext>
            </c:extLst>
          </c:dPt>
          <c:dPt>
            <c:idx val="231"/>
            <c:invertIfNegative val="1"/>
            <c:bubble3D val="0"/>
            <c:spPr>
              <a:solidFill>
                <a:srgbClr val="AEABAB"/>
              </a:solidFill>
            </c:spPr>
            <c:extLst>
              <c:ext xmlns:c16="http://schemas.microsoft.com/office/drawing/2014/chart" uri="{C3380CC4-5D6E-409C-BE32-E72D297353CC}">
                <c16:uniqueId val="{000001D1-7775-4A9C-B2E5-37C768AAA5A6}"/>
              </c:ext>
            </c:extLst>
          </c:dPt>
          <c:dPt>
            <c:idx val="232"/>
            <c:invertIfNegative val="1"/>
            <c:bubble3D val="0"/>
            <c:spPr>
              <a:solidFill>
                <a:srgbClr val="AEABAB"/>
              </a:solidFill>
            </c:spPr>
            <c:extLst>
              <c:ext xmlns:c16="http://schemas.microsoft.com/office/drawing/2014/chart" uri="{C3380CC4-5D6E-409C-BE32-E72D297353CC}">
                <c16:uniqueId val="{000001D3-7775-4A9C-B2E5-37C768AAA5A6}"/>
              </c:ext>
            </c:extLst>
          </c:dPt>
          <c:dPt>
            <c:idx val="233"/>
            <c:invertIfNegative val="1"/>
            <c:bubble3D val="0"/>
            <c:spPr>
              <a:solidFill>
                <a:srgbClr val="AEABAB"/>
              </a:solidFill>
            </c:spPr>
            <c:extLst>
              <c:ext xmlns:c16="http://schemas.microsoft.com/office/drawing/2014/chart" uri="{C3380CC4-5D6E-409C-BE32-E72D297353CC}">
                <c16:uniqueId val="{000001D5-7775-4A9C-B2E5-37C768AAA5A6}"/>
              </c:ext>
            </c:extLst>
          </c:dPt>
          <c:dPt>
            <c:idx val="234"/>
            <c:invertIfNegative val="1"/>
            <c:bubble3D val="0"/>
            <c:spPr>
              <a:solidFill>
                <a:srgbClr val="AEABAB"/>
              </a:solidFill>
            </c:spPr>
            <c:extLst>
              <c:ext xmlns:c16="http://schemas.microsoft.com/office/drawing/2014/chart" uri="{C3380CC4-5D6E-409C-BE32-E72D297353CC}">
                <c16:uniqueId val="{000001D7-7775-4A9C-B2E5-37C768AAA5A6}"/>
              </c:ext>
            </c:extLst>
          </c:dPt>
          <c:dPt>
            <c:idx val="235"/>
            <c:invertIfNegative val="1"/>
            <c:bubble3D val="0"/>
            <c:spPr>
              <a:solidFill>
                <a:srgbClr val="AEABAB"/>
              </a:solidFill>
            </c:spPr>
            <c:extLst>
              <c:ext xmlns:c16="http://schemas.microsoft.com/office/drawing/2014/chart" uri="{C3380CC4-5D6E-409C-BE32-E72D297353CC}">
                <c16:uniqueId val="{000001D9-7775-4A9C-B2E5-37C768AAA5A6}"/>
              </c:ext>
            </c:extLst>
          </c:dPt>
          <c:dPt>
            <c:idx val="236"/>
            <c:invertIfNegative val="1"/>
            <c:bubble3D val="0"/>
            <c:spPr>
              <a:solidFill>
                <a:srgbClr val="AEABAB"/>
              </a:solidFill>
            </c:spPr>
            <c:extLst>
              <c:ext xmlns:c16="http://schemas.microsoft.com/office/drawing/2014/chart" uri="{C3380CC4-5D6E-409C-BE32-E72D297353CC}">
                <c16:uniqueId val="{000001DB-7775-4A9C-B2E5-37C768AAA5A6}"/>
              </c:ext>
            </c:extLst>
          </c:dPt>
          <c:dPt>
            <c:idx val="237"/>
            <c:invertIfNegative val="1"/>
            <c:bubble3D val="0"/>
            <c:spPr>
              <a:solidFill>
                <a:srgbClr val="AEABAB"/>
              </a:solidFill>
            </c:spPr>
            <c:extLst>
              <c:ext xmlns:c16="http://schemas.microsoft.com/office/drawing/2014/chart" uri="{C3380CC4-5D6E-409C-BE32-E72D297353CC}">
                <c16:uniqueId val="{000001DD-7775-4A9C-B2E5-37C768AAA5A6}"/>
              </c:ext>
            </c:extLst>
          </c:dPt>
          <c:dPt>
            <c:idx val="238"/>
            <c:invertIfNegative val="1"/>
            <c:bubble3D val="0"/>
            <c:spPr>
              <a:solidFill>
                <a:srgbClr val="AEABAB"/>
              </a:solidFill>
            </c:spPr>
            <c:extLst>
              <c:ext xmlns:c16="http://schemas.microsoft.com/office/drawing/2014/chart" uri="{C3380CC4-5D6E-409C-BE32-E72D297353CC}">
                <c16:uniqueId val="{000001DF-7775-4A9C-B2E5-37C768AAA5A6}"/>
              </c:ext>
            </c:extLst>
          </c:dPt>
          <c:dPt>
            <c:idx val="239"/>
            <c:invertIfNegative val="1"/>
            <c:bubble3D val="0"/>
            <c:spPr>
              <a:solidFill>
                <a:srgbClr val="AEABAB"/>
              </a:solidFill>
            </c:spPr>
            <c:extLst>
              <c:ext xmlns:c16="http://schemas.microsoft.com/office/drawing/2014/chart" uri="{C3380CC4-5D6E-409C-BE32-E72D297353CC}">
                <c16:uniqueId val="{000001E1-7775-4A9C-B2E5-37C768AAA5A6}"/>
              </c:ext>
            </c:extLst>
          </c:dPt>
          <c:dPt>
            <c:idx val="240"/>
            <c:invertIfNegative val="1"/>
            <c:bubble3D val="0"/>
            <c:spPr>
              <a:solidFill>
                <a:srgbClr val="AEABAB"/>
              </a:solidFill>
            </c:spPr>
            <c:extLst>
              <c:ext xmlns:c16="http://schemas.microsoft.com/office/drawing/2014/chart" uri="{C3380CC4-5D6E-409C-BE32-E72D297353CC}">
                <c16:uniqueId val="{000001E3-7775-4A9C-B2E5-37C768AAA5A6}"/>
              </c:ext>
            </c:extLst>
          </c:dPt>
          <c:dPt>
            <c:idx val="241"/>
            <c:invertIfNegative val="1"/>
            <c:bubble3D val="0"/>
            <c:spPr>
              <a:solidFill>
                <a:srgbClr val="AEABAB"/>
              </a:solidFill>
            </c:spPr>
            <c:extLst>
              <c:ext xmlns:c16="http://schemas.microsoft.com/office/drawing/2014/chart" uri="{C3380CC4-5D6E-409C-BE32-E72D297353CC}">
                <c16:uniqueId val="{000001E5-7775-4A9C-B2E5-37C768AAA5A6}"/>
              </c:ext>
            </c:extLst>
          </c:dPt>
          <c:dPt>
            <c:idx val="242"/>
            <c:invertIfNegative val="1"/>
            <c:bubble3D val="0"/>
            <c:spPr>
              <a:solidFill>
                <a:srgbClr val="AEABAB"/>
              </a:solidFill>
            </c:spPr>
            <c:extLst>
              <c:ext xmlns:c16="http://schemas.microsoft.com/office/drawing/2014/chart" uri="{C3380CC4-5D6E-409C-BE32-E72D297353CC}">
                <c16:uniqueId val="{000001E7-7775-4A9C-B2E5-37C768AAA5A6}"/>
              </c:ext>
            </c:extLst>
          </c:dPt>
          <c:dPt>
            <c:idx val="243"/>
            <c:invertIfNegative val="1"/>
            <c:bubble3D val="0"/>
            <c:spPr>
              <a:solidFill>
                <a:srgbClr val="AEABAB"/>
              </a:solidFill>
            </c:spPr>
            <c:extLst>
              <c:ext xmlns:c16="http://schemas.microsoft.com/office/drawing/2014/chart" uri="{C3380CC4-5D6E-409C-BE32-E72D297353CC}">
                <c16:uniqueId val="{000001E9-7775-4A9C-B2E5-37C768AAA5A6}"/>
              </c:ext>
            </c:extLst>
          </c:dPt>
          <c:dPt>
            <c:idx val="244"/>
            <c:invertIfNegative val="1"/>
            <c:bubble3D val="0"/>
            <c:spPr>
              <a:solidFill>
                <a:srgbClr val="AEABAB"/>
              </a:solidFill>
            </c:spPr>
            <c:extLst>
              <c:ext xmlns:c16="http://schemas.microsoft.com/office/drawing/2014/chart" uri="{C3380CC4-5D6E-409C-BE32-E72D297353CC}">
                <c16:uniqueId val="{000001EB-7775-4A9C-B2E5-37C768AAA5A6}"/>
              </c:ext>
            </c:extLst>
          </c:dPt>
          <c:dPt>
            <c:idx val="245"/>
            <c:invertIfNegative val="1"/>
            <c:bubble3D val="0"/>
            <c:spPr>
              <a:solidFill>
                <a:srgbClr val="AEABAB"/>
              </a:solidFill>
            </c:spPr>
            <c:extLst>
              <c:ext xmlns:c16="http://schemas.microsoft.com/office/drawing/2014/chart" uri="{C3380CC4-5D6E-409C-BE32-E72D297353CC}">
                <c16:uniqueId val="{000001ED-7775-4A9C-B2E5-37C768AAA5A6}"/>
              </c:ext>
            </c:extLst>
          </c:dPt>
          <c:dPt>
            <c:idx val="246"/>
            <c:invertIfNegative val="1"/>
            <c:bubble3D val="0"/>
            <c:spPr>
              <a:solidFill>
                <a:srgbClr val="AEABAB"/>
              </a:solidFill>
            </c:spPr>
            <c:extLst>
              <c:ext xmlns:c16="http://schemas.microsoft.com/office/drawing/2014/chart" uri="{C3380CC4-5D6E-409C-BE32-E72D297353CC}">
                <c16:uniqueId val="{000001EF-7775-4A9C-B2E5-37C768AAA5A6}"/>
              </c:ext>
            </c:extLst>
          </c:dPt>
          <c:dPt>
            <c:idx val="247"/>
            <c:invertIfNegative val="1"/>
            <c:bubble3D val="0"/>
            <c:spPr>
              <a:solidFill>
                <a:srgbClr val="AEABAB"/>
              </a:solidFill>
            </c:spPr>
            <c:extLst>
              <c:ext xmlns:c16="http://schemas.microsoft.com/office/drawing/2014/chart" uri="{C3380CC4-5D6E-409C-BE32-E72D297353CC}">
                <c16:uniqueId val="{000001F1-7775-4A9C-B2E5-37C768AAA5A6}"/>
              </c:ext>
            </c:extLst>
          </c:dPt>
          <c:dPt>
            <c:idx val="248"/>
            <c:invertIfNegative val="1"/>
            <c:bubble3D val="0"/>
            <c:spPr>
              <a:solidFill>
                <a:srgbClr val="AEABAB"/>
              </a:solidFill>
            </c:spPr>
            <c:extLst>
              <c:ext xmlns:c16="http://schemas.microsoft.com/office/drawing/2014/chart" uri="{C3380CC4-5D6E-409C-BE32-E72D297353CC}">
                <c16:uniqueId val="{000001F3-7775-4A9C-B2E5-37C768AAA5A6}"/>
              </c:ext>
            </c:extLst>
          </c:dPt>
          <c:dPt>
            <c:idx val="249"/>
            <c:invertIfNegative val="1"/>
            <c:bubble3D val="0"/>
            <c:spPr>
              <a:solidFill>
                <a:srgbClr val="AEABAB"/>
              </a:solidFill>
            </c:spPr>
            <c:extLst>
              <c:ext xmlns:c16="http://schemas.microsoft.com/office/drawing/2014/chart" uri="{C3380CC4-5D6E-409C-BE32-E72D297353CC}">
                <c16:uniqueId val="{000001F5-7775-4A9C-B2E5-37C768AAA5A6}"/>
              </c:ext>
            </c:extLst>
          </c:dPt>
          <c:dPt>
            <c:idx val="250"/>
            <c:invertIfNegative val="1"/>
            <c:bubble3D val="0"/>
            <c:spPr>
              <a:solidFill>
                <a:srgbClr val="AEABAB"/>
              </a:solidFill>
            </c:spPr>
            <c:extLst>
              <c:ext xmlns:c16="http://schemas.microsoft.com/office/drawing/2014/chart" uri="{C3380CC4-5D6E-409C-BE32-E72D297353CC}">
                <c16:uniqueId val="{000001F7-7775-4A9C-B2E5-37C768AAA5A6}"/>
              </c:ext>
            </c:extLst>
          </c:dPt>
          <c:dPt>
            <c:idx val="251"/>
            <c:invertIfNegative val="1"/>
            <c:bubble3D val="0"/>
            <c:spPr>
              <a:solidFill>
                <a:srgbClr val="AEABAB"/>
              </a:solidFill>
            </c:spPr>
            <c:extLst>
              <c:ext xmlns:c16="http://schemas.microsoft.com/office/drawing/2014/chart" uri="{C3380CC4-5D6E-409C-BE32-E72D297353CC}">
                <c16:uniqueId val="{000001F9-7775-4A9C-B2E5-37C768AAA5A6}"/>
              </c:ext>
            </c:extLst>
          </c:dPt>
          <c:dPt>
            <c:idx val="252"/>
            <c:invertIfNegative val="1"/>
            <c:bubble3D val="0"/>
            <c:spPr>
              <a:solidFill>
                <a:srgbClr val="AEABAB"/>
              </a:solidFill>
            </c:spPr>
            <c:extLst>
              <c:ext xmlns:c16="http://schemas.microsoft.com/office/drawing/2014/chart" uri="{C3380CC4-5D6E-409C-BE32-E72D297353CC}">
                <c16:uniqueId val="{000001FB-7775-4A9C-B2E5-37C768AAA5A6}"/>
              </c:ext>
            </c:extLst>
          </c:dPt>
          <c:dPt>
            <c:idx val="253"/>
            <c:invertIfNegative val="1"/>
            <c:bubble3D val="0"/>
            <c:spPr>
              <a:solidFill>
                <a:srgbClr val="AEABAB"/>
              </a:solidFill>
            </c:spPr>
            <c:extLst>
              <c:ext xmlns:c16="http://schemas.microsoft.com/office/drawing/2014/chart" uri="{C3380CC4-5D6E-409C-BE32-E72D297353CC}">
                <c16:uniqueId val="{000001FD-7775-4A9C-B2E5-37C768AAA5A6}"/>
              </c:ext>
            </c:extLst>
          </c:dPt>
          <c:dPt>
            <c:idx val="254"/>
            <c:invertIfNegative val="1"/>
            <c:bubble3D val="0"/>
            <c:spPr>
              <a:solidFill>
                <a:srgbClr val="AEABAB"/>
              </a:solidFill>
            </c:spPr>
            <c:extLst>
              <c:ext xmlns:c16="http://schemas.microsoft.com/office/drawing/2014/chart" uri="{C3380CC4-5D6E-409C-BE32-E72D297353CC}">
                <c16:uniqueId val="{000001FF-7775-4A9C-B2E5-37C768AAA5A6}"/>
              </c:ext>
            </c:extLst>
          </c:dPt>
          <c:dPt>
            <c:idx val="255"/>
            <c:invertIfNegative val="1"/>
            <c:bubble3D val="0"/>
            <c:spPr>
              <a:solidFill>
                <a:srgbClr val="AEABAB"/>
              </a:solidFill>
            </c:spPr>
            <c:extLst>
              <c:ext xmlns:c16="http://schemas.microsoft.com/office/drawing/2014/chart" uri="{C3380CC4-5D6E-409C-BE32-E72D297353CC}">
                <c16:uniqueId val="{00000201-7775-4A9C-B2E5-37C768AAA5A6}"/>
              </c:ext>
            </c:extLst>
          </c:dPt>
          <c:dPt>
            <c:idx val="256"/>
            <c:invertIfNegative val="1"/>
            <c:bubble3D val="0"/>
            <c:spPr>
              <a:solidFill>
                <a:srgbClr val="AEABAB"/>
              </a:solidFill>
            </c:spPr>
            <c:extLst>
              <c:ext xmlns:c16="http://schemas.microsoft.com/office/drawing/2014/chart" uri="{C3380CC4-5D6E-409C-BE32-E72D297353CC}">
                <c16:uniqueId val="{00000203-7775-4A9C-B2E5-37C768AAA5A6}"/>
              </c:ext>
            </c:extLst>
          </c:dPt>
          <c:dPt>
            <c:idx val="257"/>
            <c:invertIfNegative val="1"/>
            <c:bubble3D val="0"/>
            <c:spPr>
              <a:solidFill>
                <a:srgbClr val="AEABAB"/>
              </a:solidFill>
            </c:spPr>
            <c:extLst>
              <c:ext xmlns:c16="http://schemas.microsoft.com/office/drawing/2014/chart" uri="{C3380CC4-5D6E-409C-BE32-E72D297353CC}">
                <c16:uniqueId val="{00000205-7775-4A9C-B2E5-37C768AAA5A6}"/>
              </c:ext>
            </c:extLst>
          </c:dPt>
          <c:dPt>
            <c:idx val="258"/>
            <c:invertIfNegative val="1"/>
            <c:bubble3D val="0"/>
            <c:spPr>
              <a:solidFill>
                <a:srgbClr val="AEABAB"/>
              </a:solidFill>
            </c:spPr>
            <c:extLst>
              <c:ext xmlns:c16="http://schemas.microsoft.com/office/drawing/2014/chart" uri="{C3380CC4-5D6E-409C-BE32-E72D297353CC}">
                <c16:uniqueId val="{00000207-7775-4A9C-B2E5-37C768AAA5A6}"/>
              </c:ext>
            </c:extLst>
          </c:dPt>
          <c:dPt>
            <c:idx val="259"/>
            <c:invertIfNegative val="1"/>
            <c:bubble3D val="0"/>
            <c:spPr>
              <a:solidFill>
                <a:srgbClr val="AEABAB"/>
              </a:solidFill>
            </c:spPr>
            <c:extLst>
              <c:ext xmlns:c16="http://schemas.microsoft.com/office/drawing/2014/chart" uri="{C3380CC4-5D6E-409C-BE32-E72D297353CC}">
                <c16:uniqueId val="{00000209-7775-4A9C-B2E5-37C768AAA5A6}"/>
              </c:ext>
            </c:extLst>
          </c:dPt>
          <c:dPt>
            <c:idx val="260"/>
            <c:invertIfNegative val="1"/>
            <c:bubble3D val="0"/>
            <c:spPr>
              <a:solidFill>
                <a:srgbClr val="AEABAB"/>
              </a:solidFill>
            </c:spPr>
            <c:extLst>
              <c:ext xmlns:c16="http://schemas.microsoft.com/office/drawing/2014/chart" uri="{C3380CC4-5D6E-409C-BE32-E72D297353CC}">
                <c16:uniqueId val="{0000020B-7775-4A9C-B2E5-37C768AAA5A6}"/>
              </c:ext>
            </c:extLst>
          </c:dPt>
          <c:dPt>
            <c:idx val="261"/>
            <c:invertIfNegative val="1"/>
            <c:bubble3D val="0"/>
            <c:spPr>
              <a:solidFill>
                <a:srgbClr val="AEABAB"/>
              </a:solidFill>
            </c:spPr>
            <c:extLst>
              <c:ext xmlns:c16="http://schemas.microsoft.com/office/drawing/2014/chart" uri="{C3380CC4-5D6E-409C-BE32-E72D297353CC}">
                <c16:uniqueId val="{0000020D-7775-4A9C-B2E5-37C768AAA5A6}"/>
              </c:ext>
            </c:extLst>
          </c:dPt>
          <c:dPt>
            <c:idx val="262"/>
            <c:invertIfNegative val="1"/>
            <c:bubble3D val="0"/>
            <c:spPr>
              <a:solidFill>
                <a:srgbClr val="AEABAB"/>
              </a:solidFill>
            </c:spPr>
            <c:extLst>
              <c:ext xmlns:c16="http://schemas.microsoft.com/office/drawing/2014/chart" uri="{C3380CC4-5D6E-409C-BE32-E72D297353CC}">
                <c16:uniqueId val="{0000020F-7775-4A9C-B2E5-37C768AAA5A6}"/>
              </c:ext>
            </c:extLst>
          </c:dPt>
          <c:dPt>
            <c:idx val="263"/>
            <c:invertIfNegative val="1"/>
            <c:bubble3D val="0"/>
            <c:spPr>
              <a:solidFill>
                <a:srgbClr val="AEABAB"/>
              </a:solidFill>
            </c:spPr>
            <c:extLst>
              <c:ext xmlns:c16="http://schemas.microsoft.com/office/drawing/2014/chart" uri="{C3380CC4-5D6E-409C-BE32-E72D297353CC}">
                <c16:uniqueId val="{00000211-7775-4A9C-B2E5-37C768AAA5A6}"/>
              </c:ext>
            </c:extLst>
          </c:dPt>
          <c:dPt>
            <c:idx val="264"/>
            <c:invertIfNegative val="1"/>
            <c:bubble3D val="0"/>
            <c:spPr>
              <a:solidFill>
                <a:srgbClr val="AEABAB"/>
              </a:solidFill>
            </c:spPr>
            <c:extLst>
              <c:ext xmlns:c16="http://schemas.microsoft.com/office/drawing/2014/chart" uri="{C3380CC4-5D6E-409C-BE32-E72D297353CC}">
                <c16:uniqueId val="{00000213-7775-4A9C-B2E5-37C768AAA5A6}"/>
              </c:ext>
            </c:extLst>
          </c:dPt>
          <c:dPt>
            <c:idx val="265"/>
            <c:invertIfNegative val="1"/>
            <c:bubble3D val="0"/>
            <c:spPr>
              <a:solidFill>
                <a:srgbClr val="AEABAB"/>
              </a:solidFill>
            </c:spPr>
            <c:extLst>
              <c:ext xmlns:c16="http://schemas.microsoft.com/office/drawing/2014/chart" uri="{C3380CC4-5D6E-409C-BE32-E72D297353CC}">
                <c16:uniqueId val="{00000215-7775-4A9C-B2E5-37C768AAA5A6}"/>
              </c:ext>
            </c:extLst>
          </c:dPt>
          <c:dPt>
            <c:idx val="266"/>
            <c:invertIfNegative val="1"/>
            <c:bubble3D val="0"/>
            <c:spPr>
              <a:solidFill>
                <a:srgbClr val="AEABAB"/>
              </a:solidFill>
            </c:spPr>
            <c:extLst>
              <c:ext xmlns:c16="http://schemas.microsoft.com/office/drawing/2014/chart" uri="{C3380CC4-5D6E-409C-BE32-E72D297353CC}">
                <c16:uniqueId val="{00000217-7775-4A9C-B2E5-37C768AAA5A6}"/>
              </c:ext>
            </c:extLst>
          </c:dPt>
          <c:dPt>
            <c:idx val="267"/>
            <c:invertIfNegative val="1"/>
            <c:bubble3D val="0"/>
            <c:spPr>
              <a:solidFill>
                <a:srgbClr val="AEABAB"/>
              </a:solidFill>
            </c:spPr>
            <c:extLst>
              <c:ext xmlns:c16="http://schemas.microsoft.com/office/drawing/2014/chart" uri="{C3380CC4-5D6E-409C-BE32-E72D297353CC}">
                <c16:uniqueId val="{00000219-7775-4A9C-B2E5-37C768AAA5A6}"/>
              </c:ext>
            </c:extLst>
          </c:dPt>
          <c:dPt>
            <c:idx val="268"/>
            <c:invertIfNegative val="1"/>
            <c:bubble3D val="0"/>
            <c:spPr>
              <a:solidFill>
                <a:srgbClr val="AEABAB"/>
              </a:solidFill>
            </c:spPr>
            <c:extLst>
              <c:ext xmlns:c16="http://schemas.microsoft.com/office/drawing/2014/chart" uri="{C3380CC4-5D6E-409C-BE32-E72D297353CC}">
                <c16:uniqueId val="{0000021B-7775-4A9C-B2E5-37C768AAA5A6}"/>
              </c:ext>
            </c:extLst>
          </c:dPt>
          <c:dPt>
            <c:idx val="269"/>
            <c:invertIfNegative val="1"/>
            <c:bubble3D val="0"/>
            <c:spPr>
              <a:solidFill>
                <a:srgbClr val="AEABAB"/>
              </a:solidFill>
            </c:spPr>
            <c:extLst>
              <c:ext xmlns:c16="http://schemas.microsoft.com/office/drawing/2014/chart" uri="{C3380CC4-5D6E-409C-BE32-E72D297353CC}">
                <c16:uniqueId val="{0000021D-7775-4A9C-B2E5-37C768AAA5A6}"/>
              </c:ext>
            </c:extLst>
          </c:dPt>
          <c:dPt>
            <c:idx val="270"/>
            <c:invertIfNegative val="1"/>
            <c:bubble3D val="0"/>
            <c:spPr>
              <a:solidFill>
                <a:srgbClr val="AEABAB"/>
              </a:solidFill>
            </c:spPr>
            <c:extLst>
              <c:ext xmlns:c16="http://schemas.microsoft.com/office/drawing/2014/chart" uri="{C3380CC4-5D6E-409C-BE32-E72D297353CC}">
                <c16:uniqueId val="{0000021F-7775-4A9C-B2E5-37C768AAA5A6}"/>
              </c:ext>
            </c:extLst>
          </c:dPt>
          <c:dPt>
            <c:idx val="271"/>
            <c:invertIfNegative val="1"/>
            <c:bubble3D val="0"/>
            <c:spPr>
              <a:solidFill>
                <a:srgbClr val="AEABAB"/>
              </a:solidFill>
            </c:spPr>
            <c:extLst>
              <c:ext xmlns:c16="http://schemas.microsoft.com/office/drawing/2014/chart" uri="{C3380CC4-5D6E-409C-BE32-E72D297353CC}">
                <c16:uniqueId val="{00000221-7775-4A9C-B2E5-37C768AAA5A6}"/>
              </c:ext>
            </c:extLst>
          </c:dPt>
          <c:dPt>
            <c:idx val="272"/>
            <c:invertIfNegative val="1"/>
            <c:bubble3D val="0"/>
            <c:spPr>
              <a:solidFill>
                <a:srgbClr val="AEABAB"/>
              </a:solidFill>
            </c:spPr>
            <c:extLst>
              <c:ext xmlns:c16="http://schemas.microsoft.com/office/drawing/2014/chart" uri="{C3380CC4-5D6E-409C-BE32-E72D297353CC}">
                <c16:uniqueId val="{00000223-7775-4A9C-B2E5-37C768AAA5A6}"/>
              </c:ext>
            </c:extLst>
          </c:dPt>
          <c:dPt>
            <c:idx val="273"/>
            <c:invertIfNegative val="1"/>
            <c:bubble3D val="0"/>
            <c:spPr>
              <a:solidFill>
                <a:srgbClr val="AEABAB"/>
              </a:solidFill>
            </c:spPr>
            <c:extLst>
              <c:ext xmlns:c16="http://schemas.microsoft.com/office/drawing/2014/chart" uri="{C3380CC4-5D6E-409C-BE32-E72D297353CC}">
                <c16:uniqueId val="{00000225-7775-4A9C-B2E5-37C768AAA5A6}"/>
              </c:ext>
            </c:extLst>
          </c:dPt>
          <c:dPt>
            <c:idx val="274"/>
            <c:invertIfNegative val="1"/>
            <c:bubble3D val="0"/>
            <c:spPr>
              <a:solidFill>
                <a:srgbClr val="AEABAB"/>
              </a:solidFill>
            </c:spPr>
            <c:extLst>
              <c:ext xmlns:c16="http://schemas.microsoft.com/office/drawing/2014/chart" uri="{C3380CC4-5D6E-409C-BE32-E72D297353CC}">
                <c16:uniqueId val="{00000227-7775-4A9C-B2E5-37C768AAA5A6}"/>
              </c:ext>
            </c:extLst>
          </c:dPt>
          <c:dPt>
            <c:idx val="275"/>
            <c:invertIfNegative val="1"/>
            <c:bubble3D val="0"/>
            <c:spPr>
              <a:solidFill>
                <a:srgbClr val="AEABAB"/>
              </a:solidFill>
            </c:spPr>
            <c:extLst>
              <c:ext xmlns:c16="http://schemas.microsoft.com/office/drawing/2014/chart" uri="{C3380CC4-5D6E-409C-BE32-E72D297353CC}">
                <c16:uniqueId val="{00000229-7775-4A9C-B2E5-37C768AAA5A6}"/>
              </c:ext>
            </c:extLst>
          </c:dPt>
          <c:dPt>
            <c:idx val="276"/>
            <c:invertIfNegative val="1"/>
            <c:bubble3D val="0"/>
            <c:spPr>
              <a:solidFill>
                <a:srgbClr val="AEABAB"/>
              </a:solidFill>
            </c:spPr>
            <c:extLst>
              <c:ext xmlns:c16="http://schemas.microsoft.com/office/drawing/2014/chart" uri="{C3380CC4-5D6E-409C-BE32-E72D297353CC}">
                <c16:uniqueId val="{0000022B-7775-4A9C-B2E5-37C768AAA5A6}"/>
              </c:ext>
            </c:extLst>
          </c:dPt>
          <c:dPt>
            <c:idx val="277"/>
            <c:invertIfNegative val="1"/>
            <c:bubble3D val="0"/>
            <c:spPr>
              <a:solidFill>
                <a:srgbClr val="AEABAB"/>
              </a:solidFill>
            </c:spPr>
            <c:extLst>
              <c:ext xmlns:c16="http://schemas.microsoft.com/office/drawing/2014/chart" uri="{C3380CC4-5D6E-409C-BE32-E72D297353CC}">
                <c16:uniqueId val="{0000022D-7775-4A9C-B2E5-37C768AAA5A6}"/>
              </c:ext>
            </c:extLst>
          </c:dPt>
          <c:dPt>
            <c:idx val="278"/>
            <c:invertIfNegative val="1"/>
            <c:bubble3D val="0"/>
            <c:spPr>
              <a:solidFill>
                <a:srgbClr val="AEABAB"/>
              </a:solidFill>
            </c:spPr>
            <c:extLst>
              <c:ext xmlns:c16="http://schemas.microsoft.com/office/drawing/2014/chart" uri="{C3380CC4-5D6E-409C-BE32-E72D297353CC}">
                <c16:uniqueId val="{0000022F-7775-4A9C-B2E5-37C768AAA5A6}"/>
              </c:ext>
            </c:extLst>
          </c:dPt>
          <c:dPt>
            <c:idx val="279"/>
            <c:invertIfNegative val="1"/>
            <c:bubble3D val="0"/>
            <c:spPr>
              <a:solidFill>
                <a:srgbClr val="AEABAB"/>
              </a:solidFill>
            </c:spPr>
            <c:extLst>
              <c:ext xmlns:c16="http://schemas.microsoft.com/office/drawing/2014/chart" uri="{C3380CC4-5D6E-409C-BE32-E72D297353CC}">
                <c16:uniqueId val="{00000231-7775-4A9C-B2E5-37C768AAA5A6}"/>
              </c:ext>
            </c:extLst>
          </c:dPt>
          <c:dPt>
            <c:idx val="280"/>
            <c:invertIfNegative val="1"/>
            <c:bubble3D val="0"/>
            <c:spPr>
              <a:solidFill>
                <a:srgbClr val="AEABAB"/>
              </a:solidFill>
            </c:spPr>
            <c:extLst>
              <c:ext xmlns:c16="http://schemas.microsoft.com/office/drawing/2014/chart" uri="{C3380CC4-5D6E-409C-BE32-E72D297353CC}">
                <c16:uniqueId val="{00000233-7775-4A9C-B2E5-37C768AAA5A6}"/>
              </c:ext>
            </c:extLst>
          </c:dPt>
          <c:dPt>
            <c:idx val="281"/>
            <c:invertIfNegative val="1"/>
            <c:bubble3D val="0"/>
            <c:spPr>
              <a:solidFill>
                <a:srgbClr val="AEABAB"/>
              </a:solidFill>
            </c:spPr>
            <c:extLst>
              <c:ext xmlns:c16="http://schemas.microsoft.com/office/drawing/2014/chart" uri="{C3380CC4-5D6E-409C-BE32-E72D297353CC}">
                <c16:uniqueId val="{00000235-7775-4A9C-B2E5-37C768AAA5A6}"/>
              </c:ext>
            </c:extLst>
          </c:dPt>
          <c:dPt>
            <c:idx val="282"/>
            <c:invertIfNegative val="1"/>
            <c:bubble3D val="0"/>
            <c:spPr>
              <a:solidFill>
                <a:srgbClr val="AEABAB"/>
              </a:solidFill>
            </c:spPr>
            <c:extLst>
              <c:ext xmlns:c16="http://schemas.microsoft.com/office/drawing/2014/chart" uri="{C3380CC4-5D6E-409C-BE32-E72D297353CC}">
                <c16:uniqueId val="{00000237-7775-4A9C-B2E5-37C768AAA5A6}"/>
              </c:ext>
            </c:extLst>
          </c:dPt>
          <c:dPt>
            <c:idx val="283"/>
            <c:invertIfNegative val="1"/>
            <c:bubble3D val="0"/>
            <c:spPr>
              <a:solidFill>
                <a:srgbClr val="AEABAB"/>
              </a:solidFill>
            </c:spPr>
            <c:extLst>
              <c:ext xmlns:c16="http://schemas.microsoft.com/office/drawing/2014/chart" uri="{C3380CC4-5D6E-409C-BE32-E72D297353CC}">
                <c16:uniqueId val="{00000239-7775-4A9C-B2E5-37C768AAA5A6}"/>
              </c:ext>
            </c:extLst>
          </c:dPt>
          <c:dPt>
            <c:idx val="284"/>
            <c:invertIfNegative val="1"/>
            <c:bubble3D val="0"/>
            <c:spPr>
              <a:solidFill>
                <a:srgbClr val="AEABAB"/>
              </a:solidFill>
            </c:spPr>
            <c:extLst>
              <c:ext xmlns:c16="http://schemas.microsoft.com/office/drawing/2014/chart" uri="{C3380CC4-5D6E-409C-BE32-E72D297353CC}">
                <c16:uniqueId val="{0000023B-7775-4A9C-B2E5-37C768AAA5A6}"/>
              </c:ext>
            </c:extLst>
          </c:dPt>
          <c:dPt>
            <c:idx val="285"/>
            <c:invertIfNegative val="1"/>
            <c:bubble3D val="0"/>
            <c:spPr>
              <a:solidFill>
                <a:srgbClr val="AEABAB"/>
              </a:solidFill>
            </c:spPr>
            <c:extLst>
              <c:ext xmlns:c16="http://schemas.microsoft.com/office/drawing/2014/chart" uri="{C3380CC4-5D6E-409C-BE32-E72D297353CC}">
                <c16:uniqueId val="{0000023D-7775-4A9C-B2E5-37C768AAA5A6}"/>
              </c:ext>
            </c:extLst>
          </c:dPt>
          <c:dPt>
            <c:idx val="286"/>
            <c:invertIfNegative val="1"/>
            <c:bubble3D val="0"/>
            <c:spPr>
              <a:solidFill>
                <a:srgbClr val="AEABAB"/>
              </a:solidFill>
            </c:spPr>
            <c:extLst>
              <c:ext xmlns:c16="http://schemas.microsoft.com/office/drawing/2014/chart" uri="{C3380CC4-5D6E-409C-BE32-E72D297353CC}">
                <c16:uniqueId val="{0000023F-7775-4A9C-B2E5-37C768AAA5A6}"/>
              </c:ext>
            </c:extLst>
          </c:dPt>
          <c:dPt>
            <c:idx val="287"/>
            <c:invertIfNegative val="1"/>
            <c:bubble3D val="0"/>
            <c:spPr>
              <a:solidFill>
                <a:srgbClr val="AEABAB"/>
              </a:solidFill>
            </c:spPr>
            <c:extLst>
              <c:ext xmlns:c16="http://schemas.microsoft.com/office/drawing/2014/chart" uri="{C3380CC4-5D6E-409C-BE32-E72D297353CC}">
                <c16:uniqueId val="{00000241-7775-4A9C-B2E5-37C768AAA5A6}"/>
              </c:ext>
            </c:extLst>
          </c:dPt>
          <c:dPt>
            <c:idx val="288"/>
            <c:invertIfNegative val="1"/>
            <c:bubble3D val="0"/>
            <c:spPr>
              <a:solidFill>
                <a:srgbClr val="AEABAB"/>
              </a:solidFill>
            </c:spPr>
            <c:extLst>
              <c:ext xmlns:c16="http://schemas.microsoft.com/office/drawing/2014/chart" uri="{C3380CC4-5D6E-409C-BE32-E72D297353CC}">
                <c16:uniqueId val="{00000243-7775-4A9C-B2E5-37C768AAA5A6}"/>
              </c:ext>
            </c:extLst>
          </c:dPt>
          <c:dPt>
            <c:idx val="289"/>
            <c:invertIfNegative val="1"/>
            <c:bubble3D val="0"/>
            <c:spPr>
              <a:solidFill>
                <a:srgbClr val="AEABAB"/>
              </a:solidFill>
            </c:spPr>
            <c:extLst>
              <c:ext xmlns:c16="http://schemas.microsoft.com/office/drawing/2014/chart" uri="{C3380CC4-5D6E-409C-BE32-E72D297353CC}">
                <c16:uniqueId val="{00000245-7775-4A9C-B2E5-37C768AAA5A6}"/>
              </c:ext>
            </c:extLst>
          </c:dPt>
          <c:dPt>
            <c:idx val="290"/>
            <c:invertIfNegative val="1"/>
            <c:bubble3D val="0"/>
            <c:spPr>
              <a:solidFill>
                <a:srgbClr val="AEABAB"/>
              </a:solidFill>
            </c:spPr>
            <c:extLst>
              <c:ext xmlns:c16="http://schemas.microsoft.com/office/drawing/2014/chart" uri="{C3380CC4-5D6E-409C-BE32-E72D297353CC}">
                <c16:uniqueId val="{00000247-7775-4A9C-B2E5-37C768AAA5A6}"/>
              </c:ext>
            </c:extLst>
          </c:dPt>
          <c:dPt>
            <c:idx val="291"/>
            <c:invertIfNegative val="1"/>
            <c:bubble3D val="0"/>
            <c:spPr>
              <a:solidFill>
                <a:srgbClr val="AEABAB"/>
              </a:solidFill>
            </c:spPr>
            <c:extLst>
              <c:ext xmlns:c16="http://schemas.microsoft.com/office/drawing/2014/chart" uri="{C3380CC4-5D6E-409C-BE32-E72D297353CC}">
                <c16:uniqueId val="{00000249-7775-4A9C-B2E5-37C768AAA5A6}"/>
              </c:ext>
            </c:extLst>
          </c:dPt>
          <c:dPt>
            <c:idx val="292"/>
            <c:invertIfNegative val="1"/>
            <c:bubble3D val="0"/>
            <c:spPr>
              <a:solidFill>
                <a:srgbClr val="AEABAB"/>
              </a:solidFill>
            </c:spPr>
            <c:extLst>
              <c:ext xmlns:c16="http://schemas.microsoft.com/office/drawing/2014/chart" uri="{C3380CC4-5D6E-409C-BE32-E72D297353CC}">
                <c16:uniqueId val="{0000024B-7775-4A9C-B2E5-37C768AAA5A6}"/>
              </c:ext>
            </c:extLst>
          </c:dPt>
          <c:dPt>
            <c:idx val="293"/>
            <c:invertIfNegative val="1"/>
            <c:bubble3D val="0"/>
            <c:spPr>
              <a:solidFill>
                <a:srgbClr val="AEABAB"/>
              </a:solidFill>
            </c:spPr>
            <c:extLst>
              <c:ext xmlns:c16="http://schemas.microsoft.com/office/drawing/2014/chart" uri="{C3380CC4-5D6E-409C-BE32-E72D297353CC}">
                <c16:uniqueId val="{0000024D-7775-4A9C-B2E5-37C768AAA5A6}"/>
              </c:ext>
            </c:extLst>
          </c:dPt>
          <c:dPt>
            <c:idx val="294"/>
            <c:invertIfNegative val="1"/>
            <c:bubble3D val="0"/>
            <c:spPr>
              <a:solidFill>
                <a:srgbClr val="AEABAB"/>
              </a:solidFill>
            </c:spPr>
            <c:extLst>
              <c:ext xmlns:c16="http://schemas.microsoft.com/office/drawing/2014/chart" uri="{C3380CC4-5D6E-409C-BE32-E72D297353CC}">
                <c16:uniqueId val="{0000024F-7775-4A9C-B2E5-37C768AAA5A6}"/>
              </c:ext>
            </c:extLst>
          </c:dPt>
          <c:dPt>
            <c:idx val="295"/>
            <c:invertIfNegative val="1"/>
            <c:bubble3D val="0"/>
            <c:spPr>
              <a:solidFill>
                <a:srgbClr val="AEABAB"/>
              </a:solidFill>
            </c:spPr>
            <c:extLst>
              <c:ext xmlns:c16="http://schemas.microsoft.com/office/drawing/2014/chart" uri="{C3380CC4-5D6E-409C-BE32-E72D297353CC}">
                <c16:uniqueId val="{00000251-7775-4A9C-B2E5-37C768AAA5A6}"/>
              </c:ext>
            </c:extLst>
          </c:dPt>
          <c:dPt>
            <c:idx val="296"/>
            <c:invertIfNegative val="1"/>
            <c:bubble3D val="0"/>
            <c:spPr>
              <a:solidFill>
                <a:srgbClr val="AEABAB"/>
              </a:solidFill>
            </c:spPr>
            <c:extLst>
              <c:ext xmlns:c16="http://schemas.microsoft.com/office/drawing/2014/chart" uri="{C3380CC4-5D6E-409C-BE32-E72D297353CC}">
                <c16:uniqueId val="{00000253-7775-4A9C-B2E5-37C768AAA5A6}"/>
              </c:ext>
            </c:extLst>
          </c:dPt>
          <c:dPt>
            <c:idx val="297"/>
            <c:invertIfNegative val="1"/>
            <c:bubble3D val="0"/>
            <c:spPr>
              <a:solidFill>
                <a:srgbClr val="AEABAB"/>
              </a:solidFill>
            </c:spPr>
            <c:extLst>
              <c:ext xmlns:c16="http://schemas.microsoft.com/office/drawing/2014/chart" uri="{C3380CC4-5D6E-409C-BE32-E72D297353CC}">
                <c16:uniqueId val="{00000255-7775-4A9C-B2E5-37C768AAA5A6}"/>
              </c:ext>
            </c:extLst>
          </c:dPt>
          <c:dPt>
            <c:idx val="298"/>
            <c:invertIfNegative val="1"/>
            <c:bubble3D val="0"/>
            <c:spPr>
              <a:solidFill>
                <a:srgbClr val="AEABAB"/>
              </a:solidFill>
            </c:spPr>
            <c:extLst>
              <c:ext xmlns:c16="http://schemas.microsoft.com/office/drawing/2014/chart" uri="{C3380CC4-5D6E-409C-BE32-E72D297353CC}">
                <c16:uniqueId val="{00000257-7775-4A9C-B2E5-37C768AAA5A6}"/>
              </c:ext>
            </c:extLst>
          </c:dPt>
          <c:dPt>
            <c:idx val="299"/>
            <c:invertIfNegative val="1"/>
            <c:bubble3D val="0"/>
            <c:spPr>
              <a:solidFill>
                <a:srgbClr val="AEABAB"/>
              </a:solidFill>
            </c:spPr>
            <c:extLst>
              <c:ext xmlns:c16="http://schemas.microsoft.com/office/drawing/2014/chart" uri="{C3380CC4-5D6E-409C-BE32-E72D297353CC}">
                <c16:uniqueId val="{00000259-7775-4A9C-B2E5-37C768AAA5A6}"/>
              </c:ext>
            </c:extLst>
          </c:dPt>
          <c:dPt>
            <c:idx val="300"/>
            <c:invertIfNegative val="1"/>
            <c:bubble3D val="0"/>
            <c:spPr>
              <a:solidFill>
                <a:srgbClr val="AEABAB"/>
              </a:solidFill>
            </c:spPr>
            <c:extLst>
              <c:ext xmlns:c16="http://schemas.microsoft.com/office/drawing/2014/chart" uri="{C3380CC4-5D6E-409C-BE32-E72D297353CC}">
                <c16:uniqueId val="{0000025B-7775-4A9C-B2E5-37C768AAA5A6}"/>
              </c:ext>
            </c:extLst>
          </c:dPt>
          <c:dPt>
            <c:idx val="301"/>
            <c:invertIfNegative val="1"/>
            <c:bubble3D val="0"/>
            <c:spPr>
              <a:solidFill>
                <a:srgbClr val="AEABAB"/>
              </a:solidFill>
            </c:spPr>
            <c:extLst>
              <c:ext xmlns:c16="http://schemas.microsoft.com/office/drawing/2014/chart" uri="{C3380CC4-5D6E-409C-BE32-E72D297353CC}">
                <c16:uniqueId val="{0000025D-7775-4A9C-B2E5-37C768AAA5A6}"/>
              </c:ext>
            </c:extLst>
          </c:dPt>
          <c:dPt>
            <c:idx val="302"/>
            <c:invertIfNegative val="1"/>
            <c:bubble3D val="0"/>
            <c:spPr>
              <a:solidFill>
                <a:srgbClr val="AEABAB"/>
              </a:solidFill>
            </c:spPr>
            <c:extLst>
              <c:ext xmlns:c16="http://schemas.microsoft.com/office/drawing/2014/chart" uri="{C3380CC4-5D6E-409C-BE32-E72D297353CC}">
                <c16:uniqueId val="{0000025F-7775-4A9C-B2E5-37C768AAA5A6}"/>
              </c:ext>
            </c:extLst>
          </c:dPt>
          <c:dPt>
            <c:idx val="303"/>
            <c:invertIfNegative val="1"/>
            <c:bubble3D val="0"/>
            <c:spPr>
              <a:solidFill>
                <a:srgbClr val="AEABAB"/>
              </a:solidFill>
            </c:spPr>
            <c:extLst>
              <c:ext xmlns:c16="http://schemas.microsoft.com/office/drawing/2014/chart" uri="{C3380CC4-5D6E-409C-BE32-E72D297353CC}">
                <c16:uniqueId val="{00000261-7775-4A9C-B2E5-37C768AAA5A6}"/>
              </c:ext>
            </c:extLst>
          </c:dPt>
          <c:dPt>
            <c:idx val="304"/>
            <c:invertIfNegative val="1"/>
            <c:bubble3D val="0"/>
            <c:spPr>
              <a:solidFill>
                <a:srgbClr val="AEABAB"/>
              </a:solidFill>
            </c:spPr>
            <c:extLst>
              <c:ext xmlns:c16="http://schemas.microsoft.com/office/drawing/2014/chart" uri="{C3380CC4-5D6E-409C-BE32-E72D297353CC}">
                <c16:uniqueId val="{00000263-7775-4A9C-B2E5-37C768AAA5A6}"/>
              </c:ext>
            </c:extLst>
          </c:dPt>
          <c:dPt>
            <c:idx val="305"/>
            <c:invertIfNegative val="1"/>
            <c:bubble3D val="0"/>
            <c:spPr>
              <a:solidFill>
                <a:srgbClr val="AEABAB"/>
              </a:solidFill>
            </c:spPr>
            <c:extLst>
              <c:ext xmlns:c16="http://schemas.microsoft.com/office/drawing/2014/chart" uri="{C3380CC4-5D6E-409C-BE32-E72D297353CC}">
                <c16:uniqueId val="{00000265-7775-4A9C-B2E5-37C768AAA5A6}"/>
              </c:ext>
            </c:extLst>
          </c:dPt>
          <c:dPt>
            <c:idx val="306"/>
            <c:invertIfNegative val="1"/>
            <c:bubble3D val="0"/>
            <c:spPr>
              <a:solidFill>
                <a:srgbClr val="AEABAB"/>
              </a:solidFill>
            </c:spPr>
            <c:extLst>
              <c:ext xmlns:c16="http://schemas.microsoft.com/office/drawing/2014/chart" uri="{C3380CC4-5D6E-409C-BE32-E72D297353CC}">
                <c16:uniqueId val="{00000267-7775-4A9C-B2E5-37C768AAA5A6}"/>
              </c:ext>
            </c:extLst>
          </c:dPt>
          <c:dPt>
            <c:idx val="307"/>
            <c:invertIfNegative val="1"/>
            <c:bubble3D val="0"/>
            <c:spPr>
              <a:solidFill>
                <a:srgbClr val="AEABAB"/>
              </a:solidFill>
            </c:spPr>
            <c:extLst>
              <c:ext xmlns:c16="http://schemas.microsoft.com/office/drawing/2014/chart" uri="{C3380CC4-5D6E-409C-BE32-E72D297353CC}">
                <c16:uniqueId val="{00000269-7775-4A9C-B2E5-37C768AAA5A6}"/>
              </c:ext>
            </c:extLst>
          </c:dPt>
          <c:dPt>
            <c:idx val="308"/>
            <c:invertIfNegative val="1"/>
            <c:bubble3D val="0"/>
            <c:spPr>
              <a:solidFill>
                <a:srgbClr val="AEABAB"/>
              </a:solidFill>
            </c:spPr>
            <c:extLst>
              <c:ext xmlns:c16="http://schemas.microsoft.com/office/drawing/2014/chart" uri="{C3380CC4-5D6E-409C-BE32-E72D297353CC}">
                <c16:uniqueId val="{0000026B-7775-4A9C-B2E5-37C768AAA5A6}"/>
              </c:ext>
            </c:extLst>
          </c:dPt>
          <c:dPt>
            <c:idx val="309"/>
            <c:invertIfNegative val="1"/>
            <c:bubble3D val="0"/>
            <c:spPr>
              <a:solidFill>
                <a:srgbClr val="AEABAB"/>
              </a:solidFill>
            </c:spPr>
            <c:extLst>
              <c:ext xmlns:c16="http://schemas.microsoft.com/office/drawing/2014/chart" uri="{C3380CC4-5D6E-409C-BE32-E72D297353CC}">
                <c16:uniqueId val="{0000026D-7775-4A9C-B2E5-37C768AAA5A6}"/>
              </c:ext>
            </c:extLst>
          </c:dPt>
          <c:dPt>
            <c:idx val="310"/>
            <c:invertIfNegative val="1"/>
            <c:bubble3D val="0"/>
            <c:spPr>
              <a:solidFill>
                <a:srgbClr val="AEABAB"/>
              </a:solidFill>
            </c:spPr>
            <c:extLst>
              <c:ext xmlns:c16="http://schemas.microsoft.com/office/drawing/2014/chart" uri="{C3380CC4-5D6E-409C-BE32-E72D297353CC}">
                <c16:uniqueId val="{0000026F-7775-4A9C-B2E5-37C768AAA5A6}"/>
              </c:ext>
            </c:extLst>
          </c:dPt>
          <c:dPt>
            <c:idx val="311"/>
            <c:invertIfNegative val="1"/>
            <c:bubble3D val="0"/>
            <c:spPr>
              <a:solidFill>
                <a:srgbClr val="AEABAB"/>
              </a:solidFill>
            </c:spPr>
            <c:extLst>
              <c:ext xmlns:c16="http://schemas.microsoft.com/office/drawing/2014/chart" uri="{C3380CC4-5D6E-409C-BE32-E72D297353CC}">
                <c16:uniqueId val="{00000271-7775-4A9C-B2E5-37C768AAA5A6}"/>
              </c:ext>
            </c:extLst>
          </c:dPt>
          <c:dPt>
            <c:idx val="312"/>
            <c:invertIfNegative val="1"/>
            <c:bubble3D val="0"/>
            <c:spPr>
              <a:solidFill>
                <a:srgbClr val="AEABAB"/>
              </a:solidFill>
            </c:spPr>
            <c:extLst>
              <c:ext xmlns:c16="http://schemas.microsoft.com/office/drawing/2014/chart" uri="{C3380CC4-5D6E-409C-BE32-E72D297353CC}">
                <c16:uniqueId val="{00000273-7775-4A9C-B2E5-37C768AAA5A6}"/>
              </c:ext>
            </c:extLst>
          </c:dPt>
          <c:dPt>
            <c:idx val="313"/>
            <c:invertIfNegative val="1"/>
            <c:bubble3D val="0"/>
            <c:spPr>
              <a:solidFill>
                <a:srgbClr val="AEABAB"/>
              </a:solidFill>
            </c:spPr>
            <c:extLst>
              <c:ext xmlns:c16="http://schemas.microsoft.com/office/drawing/2014/chart" uri="{C3380CC4-5D6E-409C-BE32-E72D297353CC}">
                <c16:uniqueId val="{00000275-7775-4A9C-B2E5-37C768AAA5A6}"/>
              </c:ext>
            </c:extLst>
          </c:dPt>
          <c:dPt>
            <c:idx val="314"/>
            <c:invertIfNegative val="1"/>
            <c:bubble3D val="0"/>
            <c:spPr>
              <a:solidFill>
                <a:srgbClr val="AEABAB"/>
              </a:solidFill>
            </c:spPr>
            <c:extLst>
              <c:ext xmlns:c16="http://schemas.microsoft.com/office/drawing/2014/chart" uri="{C3380CC4-5D6E-409C-BE32-E72D297353CC}">
                <c16:uniqueId val="{00000277-7775-4A9C-B2E5-37C768AAA5A6}"/>
              </c:ext>
            </c:extLst>
          </c:dPt>
          <c:dPt>
            <c:idx val="315"/>
            <c:invertIfNegative val="1"/>
            <c:bubble3D val="0"/>
            <c:spPr>
              <a:solidFill>
                <a:srgbClr val="AEABAB"/>
              </a:solidFill>
            </c:spPr>
            <c:extLst>
              <c:ext xmlns:c16="http://schemas.microsoft.com/office/drawing/2014/chart" uri="{C3380CC4-5D6E-409C-BE32-E72D297353CC}">
                <c16:uniqueId val="{00000279-7775-4A9C-B2E5-37C768AAA5A6}"/>
              </c:ext>
            </c:extLst>
          </c:dPt>
          <c:dPt>
            <c:idx val="316"/>
            <c:invertIfNegative val="1"/>
            <c:bubble3D val="0"/>
            <c:spPr>
              <a:solidFill>
                <a:srgbClr val="AEABAB"/>
              </a:solidFill>
            </c:spPr>
            <c:extLst>
              <c:ext xmlns:c16="http://schemas.microsoft.com/office/drawing/2014/chart" uri="{C3380CC4-5D6E-409C-BE32-E72D297353CC}">
                <c16:uniqueId val="{0000027B-7775-4A9C-B2E5-37C768AAA5A6}"/>
              </c:ext>
            </c:extLst>
          </c:dPt>
          <c:dPt>
            <c:idx val="317"/>
            <c:invertIfNegative val="1"/>
            <c:bubble3D val="0"/>
            <c:spPr>
              <a:solidFill>
                <a:srgbClr val="AEABAB"/>
              </a:solidFill>
            </c:spPr>
            <c:extLst>
              <c:ext xmlns:c16="http://schemas.microsoft.com/office/drawing/2014/chart" uri="{C3380CC4-5D6E-409C-BE32-E72D297353CC}">
                <c16:uniqueId val="{0000027D-7775-4A9C-B2E5-37C768AAA5A6}"/>
              </c:ext>
            </c:extLst>
          </c:dPt>
          <c:dPt>
            <c:idx val="318"/>
            <c:invertIfNegative val="1"/>
            <c:bubble3D val="0"/>
            <c:spPr>
              <a:solidFill>
                <a:srgbClr val="AEABAB"/>
              </a:solidFill>
            </c:spPr>
            <c:extLst>
              <c:ext xmlns:c16="http://schemas.microsoft.com/office/drawing/2014/chart" uri="{C3380CC4-5D6E-409C-BE32-E72D297353CC}">
                <c16:uniqueId val="{0000027F-7775-4A9C-B2E5-37C768AAA5A6}"/>
              </c:ext>
            </c:extLst>
          </c:dPt>
          <c:dPt>
            <c:idx val="319"/>
            <c:invertIfNegative val="1"/>
            <c:bubble3D val="0"/>
            <c:spPr>
              <a:solidFill>
                <a:srgbClr val="AEABAB"/>
              </a:solidFill>
            </c:spPr>
            <c:extLst>
              <c:ext xmlns:c16="http://schemas.microsoft.com/office/drawing/2014/chart" uri="{C3380CC4-5D6E-409C-BE32-E72D297353CC}">
                <c16:uniqueId val="{00000281-7775-4A9C-B2E5-37C768AAA5A6}"/>
              </c:ext>
            </c:extLst>
          </c:dPt>
          <c:dPt>
            <c:idx val="320"/>
            <c:invertIfNegative val="1"/>
            <c:bubble3D val="0"/>
            <c:spPr>
              <a:solidFill>
                <a:srgbClr val="AEABAB"/>
              </a:solidFill>
            </c:spPr>
            <c:extLst>
              <c:ext xmlns:c16="http://schemas.microsoft.com/office/drawing/2014/chart" uri="{C3380CC4-5D6E-409C-BE32-E72D297353CC}">
                <c16:uniqueId val="{00000283-7775-4A9C-B2E5-37C768AAA5A6}"/>
              </c:ext>
            </c:extLst>
          </c:dPt>
          <c:dPt>
            <c:idx val="321"/>
            <c:invertIfNegative val="1"/>
            <c:bubble3D val="0"/>
            <c:spPr>
              <a:solidFill>
                <a:srgbClr val="AEABAB"/>
              </a:solidFill>
            </c:spPr>
            <c:extLst>
              <c:ext xmlns:c16="http://schemas.microsoft.com/office/drawing/2014/chart" uri="{C3380CC4-5D6E-409C-BE32-E72D297353CC}">
                <c16:uniqueId val="{00000285-7775-4A9C-B2E5-37C768AAA5A6}"/>
              </c:ext>
            </c:extLst>
          </c:dPt>
          <c:dPt>
            <c:idx val="322"/>
            <c:invertIfNegative val="1"/>
            <c:bubble3D val="0"/>
            <c:spPr>
              <a:solidFill>
                <a:srgbClr val="AEABAB"/>
              </a:solidFill>
            </c:spPr>
            <c:extLst>
              <c:ext xmlns:c16="http://schemas.microsoft.com/office/drawing/2014/chart" uri="{C3380CC4-5D6E-409C-BE32-E72D297353CC}">
                <c16:uniqueId val="{00000287-7775-4A9C-B2E5-37C768AAA5A6}"/>
              </c:ext>
            </c:extLst>
          </c:dPt>
          <c:dPt>
            <c:idx val="323"/>
            <c:invertIfNegative val="1"/>
            <c:bubble3D val="0"/>
            <c:spPr>
              <a:solidFill>
                <a:srgbClr val="AEABAB"/>
              </a:solidFill>
            </c:spPr>
            <c:extLst>
              <c:ext xmlns:c16="http://schemas.microsoft.com/office/drawing/2014/chart" uri="{C3380CC4-5D6E-409C-BE32-E72D297353CC}">
                <c16:uniqueId val="{00000289-7775-4A9C-B2E5-37C768AAA5A6}"/>
              </c:ext>
            </c:extLst>
          </c:dPt>
          <c:dPt>
            <c:idx val="324"/>
            <c:invertIfNegative val="1"/>
            <c:bubble3D val="0"/>
            <c:spPr>
              <a:solidFill>
                <a:srgbClr val="AEABAB"/>
              </a:solidFill>
            </c:spPr>
            <c:extLst>
              <c:ext xmlns:c16="http://schemas.microsoft.com/office/drawing/2014/chart" uri="{C3380CC4-5D6E-409C-BE32-E72D297353CC}">
                <c16:uniqueId val="{0000028B-7775-4A9C-B2E5-37C768AAA5A6}"/>
              </c:ext>
            </c:extLst>
          </c:dPt>
          <c:dPt>
            <c:idx val="325"/>
            <c:invertIfNegative val="1"/>
            <c:bubble3D val="0"/>
            <c:spPr>
              <a:solidFill>
                <a:srgbClr val="AEABAB"/>
              </a:solidFill>
            </c:spPr>
            <c:extLst>
              <c:ext xmlns:c16="http://schemas.microsoft.com/office/drawing/2014/chart" uri="{C3380CC4-5D6E-409C-BE32-E72D297353CC}">
                <c16:uniqueId val="{0000028D-7775-4A9C-B2E5-37C768AAA5A6}"/>
              </c:ext>
            </c:extLst>
          </c:dPt>
          <c:dPt>
            <c:idx val="326"/>
            <c:invertIfNegative val="1"/>
            <c:bubble3D val="0"/>
            <c:spPr>
              <a:solidFill>
                <a:srgbClr val="AEABAB"/>
              </a:solidFill>
            </c:spPr>
            <c:extLst>
              <c:ext xmlns:c16="http://schemas.microsoft.com/office/drawing/2014/chart" uri="{C3380CC4-5D6E-409C-BE32-E72D297353CC}">
                <c16:uniqueId val="{0000028F-7775-4A9C-B2E5-37C768AAA5A6}"/>
              </c:ext>
            </c:extLst>
          </c:dPt>
          <c:dPt>
            <c:idx val="327"/>
            <c:invertIfNegative val="1"/>
            <c:bubble3D val="0"/>
            <c:spPr>
              <a:solidFill>
                <a:srgbClr val="AEABAB"/>
              </a:solidFill>
            </c:spPr>
            <c:extLst>
              <c:ext xmlns:c16="http://schemas.microsoft.com/office/drawing/2014/chart" uri="{C3380CC4-5D6E-409C-BE32-E72D297353CC}">
                <c16:uniqueId val="{00000291-7775-4A9C-B2E5-37C768AAA5A6}"/>
              </c:ext>
            </c:extLst>
          </c:dPt>
          <c:dPt>
            <c:idx val="328"/>
            <c:invertIfNegative val="1"/>
            <c:bubble3D val="0"/>
            <c:spPr>
              <a:solidFill>
                <a:srgbClr val="AEABAB"/>
              </a:solidFill>
            </c:spPr>
            <c:extLst>
              <c:ext xmlns:c16="http://schemas.microsoft.com/office/drawing/2014/chart" uri="{C3380CC4-5D6E-409C-BE32-E72D297353CC}">
                <c16:uniqueId val="{00000293-7775-4A9C-B2E5-37C768AAA5A6}"/>
              </c:ext>
            </c:extLst>
          </c:dPt>
          <c:dPt>
            <c:idx val="329"/>
            <c:invertIfNegative val="1"/>
            <c:bubble3D val="0"/>
            <c:spPr>
              <a:solidFill>
                <a:srgbClr val="AEABAB"/>
              </a:solidFill>
            </c:spPr>
            <c:extLst>
              <c:ext xmlns:c16="http://schemas.microsoft.com/office/drawing/2014/chart" uri="{C3380CC4-5D6E-409C-BE32-E72D297353CC}">
                <c16:uniqueId val="{00000295-7775-4A9C-B2E5-37C768AAA5A6}"/>
              </c:ext>
            </c:extLst>
          </c:dPt>
          <c:dPt>
            <c:idx val="330"/>
            <c:invertIfNegative val="1"/>
            <c:bubble3D val="0"/>
            <c:spPr>
              <a:solidFill>
                <a:srgbClr val="AEABAB"/>
              </a:solidFill>
            </c:spPr>
            <c:extLst>
              <c:ext xmlns:c16="http://schemas.microsoft.com/office/drawing/2014/chart" uri="{C3380CC4-5D6E-409C-BE32-E72D297353CC}">
                <c16:uniqueId val="{00000297-7775-4A9C-B2E5-37C768AAA5A6}"/>
              </c:ext>
            </c:extLst>
          </c:dPt>
          <c:dPt>
            <c:idx val="331"/>
            <c:invertIfNegative val="1"/>
            <c:bubble3D val="0"/>
            <c:spPr>
              <a:solidFill>
                <a:srgbClr val="AEABAB"/>
              </a:solidFill>
            </c:spPr>
            <c:extLst>
              <c:ext xmlns:c16="http://schemas.microsoft.com/office/drawing/2014/chart" uri="{C3380CC4-5D6E-409C-BE32-E72D297353CC}">
                <c16:uniqueId val="{00000299-7775-4A9C-B2E5-37C768AAA5A6}"/>
              </c:ext>
            </c:extLst>
          </c:dPt>
          <c:dPt>
            <c:idx val="332"/>
            <c:invertIfNegative val="1"/>
            <c:bubble3D val="0"/>
            <c:spPr>
              <a:solidFill>
                <a:srgbClr val="AEABAB"/>
              </a:solidFill>
            </c:spPr>
            <c:extLst>
              <c:ext xmlns:c16="http://schemas.microsoft.com/office/drawing/2014/chart" uri="{C3380CC4-5D6E-409C-BE32-E72D297353CC}">
                <c16:uniqueId val="{0000029B-7775-4A9C-B2E5-37C768AAA5A6}"/>
              </c:ext>
            </c:extLst>
          </c:dPt>
          <c:dPt>
            <c:idx val="333"/>
            <c:invertIfNegative val="1"/>
            <c:bubble3D val="0"/>
            <c:spPr>
              <a:solidFill>
                <a:srgbClr val="AEABAB"/>
              </a:solidFill>
            </c:spPr>
            <c:extLst>
              <c:ext xmlns:c16="http://schemas.microsoft.com/office/drawing/2014/chart" uri="{C3380CC4-5D6E-409C-BE32-E72D297353CC}">
                <c16:uniqueId val="{0000029D-7775-4A9C-B2E5-37C768AAA5A6}"/>
              </c:ext>
            </c:extLst>
          </c:dPt>
          <c:dPt>
            <c:idx val="334"/>
            <c:invertIfNegative val="1"/>
            <c:bubble3D val="0"/>
            <c:spPr>
              <a:solidFill>
                <a:srgbClr val="AEABAB"/>
              </a:solidFill>
            </c:spPr>
            <c:extLst>
              <c:ext xmlns:c16="http://schemas.microsoft.com/office/drawing/2014/chart" uri="{C3380CC4-5D6E-409C-BE32-E72D297353CC}">
                <c16:uniqueId val="{0000029F-7775-4A9C-B2E5-37C768AAA5A6}"/>
              </c:ext>
            </c:extLst>
          </c:dPt>
          <c:dPt>
            <c:idx val="335"/>
            <c:invertIfNegative val="1"/>
            <c:bubble3D val="0"/>
            <c:spPr>
              <a:solidFill>
                <a:srgbClr val="AEABAB"/>
              </a:solidFill>
            </c:spPr>
            <c:extLst>
              <c:ext xmlns:c16="http://schemas.microsoft.com/office/drawing/2014/chart" uri="{C3380CC4-5D6E-409C-BE32-E72D297353CC}">
                <c16:uniqueId val="{000002A1-7775-4A9C-B2E5-37C768AAA5A6}"/>
              </c:ext>
            </c:extLst>
          </c:dPt>
          <c:dPt>
            <c:idx val="336"/>
            <c:invertIfNegative val="1"/>
            <c:bubble3D val="0"/>
            <c:spPr>
              <a:solidFill>
                <a:srgbClr val="AEABAB"/>
              </a:solidFill>
            </c:spPr>
            <c:extLst>
              <c:ext xmlns:c16="http://schemas.microsoft.com/office/drawing/2014/chart" uri="{C3380CC4-5D6E-409C-BE32-E72D297353CC}">
                <c16:uniqueId val="{000002A3-7775-4A9C-B2E5-37C768AAA5A6}"/>
              </c:ext>
            </c:extLst>
          </c:dPt>
          <c:dPt>
            <c:idx val="337"/>
            <c:invertIfNegative val="1"/>
            <c:bubble3D val="0"/>
            <c:spPr>
              <a:solidFill>
                <a:srgbClr val="AEABAB"/>
              </a:solidFill>
            </c:spPr>
            <c:extLst>
              <c:ext xmlns:c16="http://schemas.microsoft.com/office/drawing/2014/chart" uri="{C3380CC4-5D6E-409C-BE32-E72D297353CC}">
                <c16:uniqueId val="{000002A5-7775-4A9C-B2E5-37C768AAA5A6}"/>
              </c:ext>
            </c:extLst>
          </c:dPt>
          <c:dPt>
            <c:idx val="338"/>
            <c:invertIfNegative val="1"/>
            <c:bubble3D val="0"/>
            <c:spPr>
              <a:solidFill>
                <a:srgbClr val="AEABAB"/>
              </a:solidFill>
            </c:spPr>
            <c:extLst>
              <c:ext xmlns:c16="http://schemas.microsoft.com/office/drawing/2014/chart" uri="{C3380CC4-5D6E-409C-BE32-E72D297353CC}">
                <c16:uniqueId val="{000002A7-7775-4A9C-B2E5-37C768AAA5A6}"/>
              </c:ext>
            </c:extLst>
          </c:dPt>
          <c:dPt>
            <c:idx val="339"/>
            <c:invertIfNegative val="1"/>
            <c:bubble3D val="0"/>
            <c:spPr>
              <a:solidFill>
                <a:srgbClr val="AEABAB"/>
              </a:solidFill>
            </c:spPr>
            <c:extLst>
              <c:ext xmlns:c16="http://schemas.microsoft.com/office/drawing/2014/chart" uri="{C3380CC4-5D6E-409C-BE32-E72D297353CC}">
                <c16:uniqueId val="{000002A9-7775-4A9C-B2E5-37C768AAA5A6}"/>
              </c:ext>
            </c:extLst>
          </c:dPt>
          <c:dPt>
            <c:idx val="340"/>
            <c:invertIfNegative val="1"/>
            <c:bubble3D val="0"/>
            <c:spPr>
              <a:solidFill>
                <a:srgbClr val="AEABAB"/>
              </a:solidFill>
            </c:spPr>
            <c:extLst>
              <c:ext xmlns:c16="http://schemas.microsoft.com/office/drawing/2014/chart" uri="{C3380CC4-5D6E-409C-BE32-E72D297353CC}">
                <c16:uniqueId val="{000002AB-7775-4A9C-B2E5-37C768AAA5A6}"/>
              </c:ext>
            </c:extLst>
          </c:dPt>
          <c:dPt>
            <c:idx val="341"/>
            <c:invertIfNegative val="1"/>
            <c:bubble3D val="0"/>
            <c:spPr>
              <a:solidFill>
                <a:srgbClr val="AEABAB"/>
              </a:solidFill>
            </c:spPr>
            <c:extLst>
              <c:ext xmlns:c16="http://schemas.microsoft.com/office/drawing/2014/chart" uri="{C3380CC4-5D6E-409C-BE32-E72D297353CC}">
                <c16:uniqueId val="{000002AD-7775-4A9C-B2E5-37C768AAA5A6}"/>
              </c:ext>
            </c:extLst>
          </c:dPt>
          <c:dPt>
            <c:idx val="342"/>
            <c:invertIfNegative val="1"/>
            <c:bubble3D val="0"/>
            <c:spPr>
              <a:solidFill>
                <a:srgbClr val="AEABAB"/>
              </a:solidFill>
            </c:spPr>
            <c:extLst>
              <c:ext xmlns:c16="http://schemas.microsoft.com/office/drawing/2014/chart" uri="{C3380CC4-5D6E-409C-BE32-E72D297353CC}">
                <c16:uniqueId val="{000002AF-7775-4A9C-B2E5-37C768AAA5A6}"/>
              </c:ext>
            </c:extLst>
          </c:dPt>
          <c:dPt>
            <c:idx val="343"/>
            <c:invertIfNegative val="1"/>
            <c:bubble3D val="0"/>
            <c:spPr>
              <a:solidFill>
                <a:srgbClr val="AEABAB"/>
              </a:solidFill>
            </c:spPr>
            <c:extLst>
              <c:ext xmlns:c16="http://schemas.microsoft.com/office/drawing/2014/chart" uri="{C3380CC4-5D6E-409C-BE32-E72D297353CC}">
                <c16:uniqueId val="{000002B1-7775-4A9C-B2E5-37C768AAA5A6}"/>
              </c:ext>
            </c:extLst>
          </c:dPt>
          <c:dPt>
            <c:idx val="344"/>
            <c:invertIfNegative val="1"/>
            <c:bubble3D val="0"/>
            <c:spPr>
              <a:solidFill>
                <a:srgbClr val="AEABAB"/>
              </a:solidFill>
            </c:spPr>
            <c:extLst>
              <c:ext xmlns:c16="http://schemas.microsoft.com/office/drawing/2014/chart" uri="{C3380CC4-5D6E-409C-BE32-E72D297353CC}">
                <c16:uniqueId val="{000002B3-7775-4A9C-B2E5-37C768AAA5A6}"/>
              </c:ext>
            </c:extLst>
          </c:dPt>
          <c:dPt>
            <c:idx val="345"/>
            <c:invertIfNegative val="1"/>
            <c:bubble3D val="0"/>
            <c:spPr>
              <a:solidFill>
                <a:srgbClr val="AEABAB"/>
              </a:solidFill>
            </c:spPr>
            <c:extLst>
              <c:ext xmlns:c16="http://schemas.microsoft.com/office/drawing/2014/chart" uri="{C3380CC4-5D6E-409C-BE32-E72D297353CC}">
                <c16:uniqueId val="{000002B5-7775-4A9C-B2E5-37C768AAA5A6}"/>
              </c:ext>
            </c:extLst>
          </c:dPt>
          <c:dPt>
            <c:idx val="346"/>
            <c:invertIfNegative val="1"/>
            <c:bubble3D val="0"/>
            <c:spPr>
              <a:solidFill>
                <a:srgbClr val="AEABAB"/>
              </a:solidFill>
            </c:spPr>
            <c:extLst>
              <c:ext xmlns:c16="http://schemas.microsoft.com/office/drawing/2014/chart" uri="{C3380CC4-5D6E-409C-BE32-E72D297353CC}">
                <c16:uniqueId val="{000002B7-7775-4A9C-B2E5-37C768AAA5A6}"/>
              </c:ext>
            </c:extLst>
          </c:dPt>
          <c:dPt>
            <c:idx val="347"/>
            <c:invertIfNegative val="1"/>
            <c:bubble3D val="0"/>
            <c:spPr>
              <a:solidFill>
                <a:srgbClr val="AEABAB"/>
              </a:solidFill>
            </c:spPr>
            <c:extLst>
              <c:ext xmlns:c16="http://schemas.microsoft.com/office/drawing/2014/chart" uri="{C3380CC4-5D6E-409C-BE32-E72D297353CC}">
                <c16:uniqueId val="{000002B9-7775-4A9C-B2E5-37C768AAA5A6}"/>
              </c:ext>
            </c:extLst>
          </c:dPt>
          <c:dPt>
            <c:idx val="348"/>
            <c:invertIfNegative val="1"/>
            <c:bubble3D val="0"/>
            <c:spPr>
              <a:solidFill>
                <a:srgbClr val="AEABAB"/>
              </a:solidFill>
            </c:spPr>
            <c:extLst>
              <c:ext xmlns:c16="http://schemas.microsoft.com/office/drawing/2014/chart" uri="{C3380CC4-5D6E-409C-BE32-E72D297353CC}">
                <c16:uniqueId val="{000002BB-7775-4A9C-B2E5-37C768AAA5A6}"/>
              </c:ext>
            </c:extLst>
          </c:dPt>
          <c:dPt>
            <c:idx val="349"/>
            <c:invertIfNegative val="1"/>
            <c:bubble3D val="0"/>
            <c:spPr>
              <a:solidFill>
                <a:srgbClr val="AEABAB"/>
              </a:solidFill>
            </c:spPr>
            <c:extLst>
              <c:ext xmlns:c16="http://schemas.microsoft.com/office/drawing/2014/chart" uri="{C3380CC4-5D6E-409C-BE32-E72D297353CC}">
                <c16:uniqueId val="{000002BD-7775-4A9C-B2E5-37C768AAA5A6}"/>
              </c:ext>
            </c:extLst>
          </c:dPt>
          <c:dPt>
            <c:idx val="350"/>
            <c:invertIfNegative val="1"/>
            <c:bubble3D val="0"/>
            <c:spPr>
              <a:solidFill>
                <a:srgbClr val="AEABAB"/>
              </a:solidFill>
            </c:spPr>
            <c:extLst>
              <c:ext xmlns:c16="http://schemas.microsoft.com/office/drawing/2014/chart" uri="{C3380CC4-5D6E-409C-BE32-E72D297353CC}">
                <c16:uniqueId val="{000002BF-7775-4A9C-B2E5-37C768AAA5A6}"/>
              </c:ext>
            </c:extLst>
          </c:dPt>
          <c:dPt>
            <c:idx val="351"/>
            <c:invertIfNegative val="1"/>
            <c:bubble3D val="0"/>
            <c:spPr>
              <a:solidFill>
                <a:srgbClr val="AEABAB"/>
              </a:solidFill>
            </c:spPr>
            <c:extLst>
              <c:ext xmlns:c16="http://schemas.microsoft.com/office/drawing/2014/chart" uri="{C3380CC4-5D6E-409C-BE32-E72D297353CC}">
                <c16:uniqueId val="{000002C1-7775-4A9C-B2E5-37C768AAA5A6}"/>
              </c:ext>
            </c:extLst>
          </c:dPt>
          <c:dPt>
            <c:idx val="352"/>
            <c:invertIfNegative val="1"/>
            <c:bubble3D val="0"/>
            <c:spPr>
              <a:solidFill>
                <a:srgbClr val="AEABAB"/>
              </a:solidFill>
            </c:spPr>
            <c:extLst>
              <c:ext xmlns:c16="http://schemas.microsoft.com/office/drawing/2014/chart" uri="{C3380CC4-5D6E-409C-BE32-E72D297353CC}">
                <c16:uniqueId val="{000002C3-7775-4A9C-B2E5-37C768AAA5A6}"/>
              </c:ext>
            </c:extLst>
          </c:dPt>
          <c:dPt>
            <c:idx val="353"/>
            <c:invertIfNegative val="1"/>
            <c:bubble3D val="0"/>
            <c:spPr>
              <a:solidFill>
                <a:srgbClr val="AEABAB"/>
              </a:solidFill>
            </c:spPr>
            <c:extLst>
              <c:ext xmlns:c16="http://schemas.microsoft.com/office/drawing/2014/chart" uri="{C3380CC4-5D6E-409C-BE32-E72D297353CC}">
                <c16:uniqueId val="{000002C5-7775-4A9C-B2E5-37C768AAA5A6}"/>
              </c:ext>
            </c:extLst>
          </c:dPt>
          <c:dPt>
            <c:idx val="354"/>
            <c:invertIfNegative val="1"/>
            <c:bubble3D val="0"/>
            <c:spPr>
              <a:solidFill>
                <a:srgbClr val="AEABAB"/>
              </a:solidFill>
            </c:spPr>
            <c:extLst>
              <c:ext xmlns:c16="http://schemas.microsoft.com/office/drawing/2014/chart" uri="{C3380CC4-5D6E-409C-BE32-E72D297353CC}">
                <c16:uniqueId val="{000002C7-7775-4A9C-B2E5-37C768AAA5A6}"/>
              </c:ext>
            </c:extLst>
          </c:dPt>
          <c:dPt>
            <c:idx val="355"/>
            <c:invertIfNegative val="1"/>
            <c:bubble3D val="0"/>
            <c:spPr>
              <a:solidFill>
                <a:srgbClr val="AEABAB"/>
              </a:solidFill>
            </c:spPr>
            <c:extLst>
              <c:ext xmlns:c16="http://schemas.microsoft.com/office/drawing/2014/chart" uri="{C3380CC4-5D6E-409C-BE32-E72D297353CC}">
                <c16:uniqueId val="{000002C9-7775-4A9C-B2E5-37C768AAA5A6}"/>
              </c:ext>
            </c:extLst>
          </c:dPt>
          <c:dPt>
            <c:idx val="356"/>
            <c:invertIfNegative val="1"/>
            <c:bubble3D val="0"/>
            <c:spPr>
              <a:solidFill>
                <a:srgbClr val="AEABAB"/>
              </a:solidFill>
            </c:spPr>
            <c:extLst>
              <c:ext xmlns:c16="http://schemas.microsoft.com/office/drawing/2014/chart" uri="{C3380CC4-5D6E-409C-BE32-E72D297353CC}">
                <c16:uniqueId val="{000002CB-7775-4A9C-B2E5-37C768AAA5A6}"/>
              </c:ext>
            </c:extLst>
          </c:dPt>
          <c:dPt>
            <c:idx val="357"/>
            <c:invertIfNegative val="1"/>
            <c:bubble3D val="0"/>
            <c:spPr>
              <a:solidFill>
                <a:srgbClr val="AEABAB"/>
              </a:solidFill>
            </c:spPr>
            <c:extLst>
              <c:ext xmlns:c16="http://schemas.microsoft.com/office/drawing/2014/chart" uri="{C3380CC4-5D6E-409C-BE32-E72D297353CC}">
                <c16:uniqueId val="{000002CD-7775-4A9C-B2E5-37C768AAA5A6}"/>
              </c:ext>
            </c:extLst>
          </c:dPt>
          <c:dPt>
            <c:idx val="358"/>
            <c:invertIfNegative val="1"/>
            <c:bubble3D val="0"/>
            <c:spPr>
              <a:solidFill>
                <a:srgbClr val="AEABAB"/>
              </a:solidFill>
            </c:spPr>
            <c:extLst>
              <c:ext xmlns:c16="http://schemas.microsoft.com/office/drawing/2014/chart" uri="{C3380CC4-5D6E-409C-BE32-E72D297353CC}">
                <c16:uniqueId val="{000002CF-7775-4A9C-B2E5-37C768AAA5A6}"/>
              </c:ext>
            </c:extLst>
          </c:dPt>
          <c:dPt>
            <c:idx val="359"/>
            <c:invertIfNegative val="1"/>
            <c:bubble3D val="0"/>
            <c:spPr>
              <a:solidFill>
                <a:srgbClr val="AEABAB"/>
              </a:solidFill>
            </c:spPr>
            <c:extLst>
              <c:ext xmlns:c16="http://schemas.microsoft.com/office/drawing/2014/chart" uri="{C3380CC4-5D6E-409C-BE32-E72D297353CC}">
                <c16:uniqueId val="{000002D1-7775-4A9C-B2E5-37C768AAA5A6}"/>
              </c:ext>
            </c:extLst>
          </c:dPt>
          <c:dPt>
            <c:idx val="360"/>
            <c:invertIfNegative val="1"/>
            <c:bubble3D val="0"/>
            <c:spPr>
              <a:solidFill>
                <a:srgbClr val="AEABAB"/>
              </a:solidFill>
            </c:spPr>
            <c:extLst>
              <c:ext xmlns:c16="http://schemas.microsoft.com/office/drawing/2014/chart" uri="{C3380CC4-5D6E-409C-BE32-E72D297353CC}">
                <c16:uniqueId val="{000002D3-7775-4A9C-B2E5-37C768AAA5A6}"/>
              </c:ext>
            </c:extLst>
          </c:dPt>
          <c:dPt>
            <c:idx val="361"/>
            <c:invertIfNegative val="1"/>
            <c:bubble3D val="0"/>
            <c:spPr>
              <a:solidFill>
                <a:srgbClr val="AEABAB"/>
              </a:solidFill>
            </c:spPr>
            <c:extLst>
              <c:ext xmlns:c16="http://schemas.microsoft.com/office/drawing/2014/chart" uri="{C3380CC4-5D6E-409C-BE32-E72D297353CC}">
                <c16:uniqueId val="{000002D5-7775-4A9C-B2E5-37C768AAA5A6}"/>
              </c:ext>
            </c:extLst>
          </c:dPt>
          <c:dPt>
            <c:idx val="362"/>
            <c:invertIfNegative val="1"/>
            <c:bubble3D val="0"/>
            <c:spPr>
              <a:solidFill>
                <a:srgbClr val="AEABAB"/>
              </a:solidFill>
            </c:spPr>
            <c:extLst>
              <c:ext xmlns:c16="http://schemas.microsoft.com/office/drawing/2014/chart" uri="{C3380CC4-5D6E-409C-BE32-E72D297353CC}">
                <c16:uniqueId val="{000002D7-7775-4A9C-B2E5-37C768AAA5A6}"/>
              </c:ext>
            </c:extLst>
          </c:dPt>
          <c:dPt>
            <c:idx val="363"/>
            <c:invertIfNegative val="1"/>
            <c:bubble3D val="0"/>
            <c:spPr>
              <a:solidFill>
                <a:srgbClr val="AEABAB"/>
              </a:solidFill>
            </c:spPr>
            <c:extLst>
              <c:ext xmlns:c16="http://schemas.microsoft.com/office/drawing/2014/chart" uri="{C3380CC4-5D6E-409C-BE32-E72D297353CC}">
                <c16:uniqueId val="{000002D9-7775-4A9C-B2E5-37C768AAA5A6}"/>
              </c:ext>
            </c:extLst>
          </c:dPt>
          <c:dPt>
            <c:idx val="364"/>
            <c:invertIfNegative val="1"/>
            <c:bubble3D val="0"/>
            <c:spPr>
              <a:solidFill>
                <a:srgbClr val="AEABAB"/>
              </a:solidFill>
            </c:spPr>
            <c:extLst>
              <c:ext xmlns:c16="http://schemas.microsoft.com/office/drawing/2014/chart" uri="{C3380CC4-5D6E-409C-BE32-E72D297353CC}">
                <c16:uniqueId val="{000002DB-7775-4A9C-B2E5-37C768AAA5A6}"/>
              </c:ext>
            </c:extLst>
          </c:dPt>
          <c:dPt>
            <c:idx val="365"/>
            <c:invertIfNegative val="1"/>
            <c:bubble3D val="0"/>
            <c:spPr>
              <a:solidFill>
                <a:srgbClr val="AEABAB"/>
              </a:solidFill>
            </c:spPr>
            <c:extLst>
              <c:ext xmlns:c16="http://schemas.microsoft.com/office/drawing/2014/chart" uri="{C3380CC4-5D6E-409C-BE32-E72D297353CC}">
                <c16:uniqueId val="{000002DD-7775-4A9C-B2E5-37C768AAA5A6}"/>
              </c:ext>
            </c:extLst>
          </c:dPt>
          <c:dPt>
            <c:idx val="366"/>
            <c:invertIfNegative val="1"/>
            <c:bubble3D val="0"/>
            <c:spPr>
              <a:solidFill>
                <a:srgbClr val="AEABAB"/>
              </a:solidFill>
            </c:spPr>
            <c:extLst>
              <c:ext xmlns:c16="http://schemas.microsoft.com/office/drawing/2014/chart" uri="{C3380CC4-5D6E-409C-BE32-E72D297353CC}">
                <c16:uniqueId val="{000002DF-7775-4A9C-B2E5-37C768AAA5A6}"/>
              </c:ext>
            </c:extLst>
          </c:dPt>
          <c:dPt>
            <c:idx val="367"/>
            <c:invertIfNegative val="1"/>
            <c:bubble3D val="0"/>
            <c:spPr>
              <a:solidFill>
                <a:srgbClr val="AEABAB"/>
              </a:solidFill>
            </c:spPr>
            <c:extLst>
              <c:ext xmlns:c16="http://schemas.microsoft.com/office/drawing/2014/chart" uri="{C3380CC4-5D6E-409C-BE32-E72D297353CC}">
                <c16:uniqueId val="{000002E1-7775-4A9C-B2E5-37C768AAA5A6}"/>
              </c:ext>
            </c:extLst>
          </c:dPt>
          <c:dPt>
            <c:idx val="368"/>
            <c:invertIfNegative val="1"/>
            <c:bubble3D val="0"/>
            <c:spPr>
              <a:solidFill>
                <a:srgbClr val="AEABAB"/>
              </a:solidFill>
            </c:spPr>
            <c:extLst>
              <c:ext xmlns:c16="http://schemas.microsoft.com/office/drawing/2014/chart" uri="{C3380CC4-5D6E-409C-BE32-E72D297353CC}">
                <c16:uniqueId val="{000002E3-7775-4A9C-B2E5-37C768AAA5A6}"/>
              </c:ext>
            </c:extLst>
          </c:dPt>
          <c:dPt>
            <c:idx val="369"/>
            <c:invertIfNegative val="1"/>
            <c:bubble3D val="0"/>
            <c:spPr>
              <a:solidFill>
                <a:srgbClr val="AEABAB"/>
              </a:solidFill>
            </c:spPr>
            <c:extLst>
              <c:ext xmlns:c16="http://schemas.microsoft.com/office/drawing/2014/chart" uri="{C3380CC4-5D6E-409C-BE32-E72D297353CC}">
                <c16:uniqueId val="{000002E5-7775-4A9C-B2E5-37C768AAA5A6}"/>
              </c:ext>
            </c:extLst>
          </c:dPt>
          <c:dPt>
            <c:idx val="370"/>
            <c:invertIfNegative val="1"/>
            <c:bubble3D val="0"/>
            <c:spPr>
              <a:solidFill>
                <a:srgbClr val="AEABAB"/>
              </a:solidFill>
            </c:spPr>
            <c:extLst>
              <c:ext xmlns:c16="http://schemas.microsoft.com/office/drawing/2014/chart" uri="{C3380CC4-5D6E-409C-BE32-E72D297353CC}">
                <c16:uniqueId val="{000002E7-7775-4A9C-B2E5-37C768AAA5A6}"/>
              </c:ext>
            </c:extLst>
          </c:dPt>
          <c:dPt>
            <c:idx val="371"/>
            <c:invertIfNegative val="1"/>
            <c:bubble3D val="0"/>
            <c:spPr>
              <a:solidFill>
                <a:srgbClr val="AEABAB"/>
              </a:solidFill>
            </c:spPr>
            <c:extLst>
              <c:ext xmlns:c16="http://schemas.microsoft.com/office/drawing/2014/chart" uri="{C3380CC4-5D6E-409C-BE32-E72D297353CC}">
                <c16:uniqueId val="{000002E9-7775-4A9C-B2E5-37C768AAA5A6}"/>
              </c:ext>
            </c:extLst>
          </c:dPt>
          <c:dPt>
            <c:idx val="372"/>
            <c:invertIfNegative val="1"/>
            <c:bubble3D val="0"/>
            <c:spPr>
              <a:solidFill>
                <a:srgbClr val="AEABAB"/>
              </a:solidFill>
            </c:spPr>
            <c:extLst>
              <c:ext xmlns:c16="http://schemas.microsoft.com/office/drawing/2014/chart" uri="{C3380CC4-5D6E-409C-BE32-E72D297353CC}">
                <c16:uniqueId val="{000002EB-7775-4A9C-B2E5-37C768AAA5A6}"/>
              </c:ext>
            </c:extLst>
          </c:dPt>
          <c:dPt>
            <c:idx val="373"/>
            <c:invertIfNegative val="1"/>
            <c:bubble3D val="0"/>
            <c:spPr>
              <a:solidFill>
                <a:srgbClr val="AEABAB"/>
              </a:solidFill>
            </c:spPr>
            <c:extLst>
              <c:ext xmlns:c16="http://schemas.microsoft.com/office/drawing/2014/chart" uri="{C3380CC4-5D6E-409C-BE32-E72D297353CC}">
                <c16:uniqueId val="{000002ED-7775-4A9C-B2E5-37C768AAA5A6}"/>
              </c:ext>
            </c:extLst>
          </c:dPt>
          <c:dPt>
            <c:idx val="374"/>
            <c:invertIfNegative val="1"/>
            <c:bubble3D val="0"/>
            <c:spPr>
              <a:solidFill>
                <a:srgbClr val="AEABAB"/>
              </a:solidFill>
            </c:spPr>
            <c:extLst>
              <c:ext xmlns:c16="http://schemas.microsoft.com/office/drawing/2014/chart" uri="{C3380CC4-5D6E-409C-BE32-E72D297353CC}">
                <c16:uniqueId val="{000002EF-7775-4A9C-B2E5-37C768AAA5A6}"/>
              </c:ext>
            </c:extLst>
          </c:dPt>
          <c:dPt>
            <c:idx val="375"/>
            <c:invertIfNegative val="1"/>
            <c:bubble3D val="0"/>
            <c:spPr>
              <a:solidFill>
                <a:srgbClr val="AEABAB"/>
              </a:solidFill>
            </c:spPr>
            <c:extLst>
              <c:ext xmlns:c16="http://schemas.microsoft.com/office/drawing/2014/chart" uri="{C3380CC4-5D6E-409C-BE32-E72D297353CC}">
                <c16:uniqueId val="{000002F1-7775-4A9C-B2E5-37C768AAA5A6}"/>
              </c:ext>
            </c:extLst>
          </c:dPt>
          <c:dPt>
            <c:idx val="376"/>
            <c:invertIfNegative val="1"/>
            <c:bubble3D val="0"/>
            <c:spPr>
              <a:solidFill>
                <a:srgbClr val="AEABAB"/>
              </a:solidFill>
            </c:spPr>
            <c:extLst>
              <c:ext xmlns:c16="http://schemas.microsoft.com/office/drawing/2014/chart" uri="{C3380CC4-5D6E-409C-BE32-E72D297353CC}">
                <c16:uniqueId val="{000002F3-7775-4A9C-B2E5-37C768AAA5A6}"/>
              </c:ext>
            </c:extLst>
          </c:dPt>
          <c:dPt>
            <c:idx val="377"/>
            <c:invertIfNegative val="1"/>
            <c:bubble3D val="0"/>
            <c:spPr>
              <a:solidFill>
                <a:srgbClr val="AEABAB"/>
              </a:solidFill>
            </c:spPr>
            <c:extLst>
              <c:ext xmlns:c16="http://schemas.microsoft.com/office/drawing/2014/chart" uri="{C3380CC4-5D6E-409C-BE32-E72D297353CC}">
                <c16:uniqueId val="{000002F5-7775-4A9C-B2E5-37C768AAA5A6}"/>
              </c:ext>
            </c:extLst>
          </c:dPt>
          <c:dPt>
            <c:idx val="378"/>
            <c:invertIfNegative val="1"/>
            <c:bubble3D val="0"/>
            <c:spPr>
              <a:solidFill>
                <a:srgbClr val="AEABAB"/>
              </a:solidFill>
            </c:spPr>
            <c:extLst>
              <c:ext xmlns:c16="http://schemas.microsoft.com/office/drawing/2014/chart" uri="{C3380CC4-5D6E-409C-BE32-E72D297353CC}">
                <c16:uniqueId val="{000002F7-7775-4A9C-B2E5-37C768AAA5A6}"/>
              </c:ext>
            </c:extLst>
          </c:dPt>
          <c:dPt>
            <c:idx val="379"/>
            <c:invertIfNegative val="1"/>
            <c:bubble3D val="0"/>
            <c:spPr>
              <a:solidFill>
                <a:srgbClr val="AEABAB"/>
              </a:solidFill>
            </c:spPr>
            <c:extLst>
              <c:ext xmlns:c16="http://schemas.microsoft.com/office/drawing/2014/chart" uri="{C3380CC4-5D6E-409C-BE32-E72D297353CC}">
                <c16:uniqueId val="{000002F9-7775-4A9C-B2E5-37C768AAA5A6}"/>
              </c:ext>
            </c:extLst>
          </c:dPt>
          <c:dPt>
            <c:idx val="380"/>
            <c:invertIfNegative val="1"/>
            <c:bubble3D val="0"/>
            <c:spPr>
              <a:solidFill>
                <a:srgbClr val="AEABAB"/>
              </a:solidFill>
            </c:spPr>
            <c:extLst>
              <c:ext xmlns:c16="http://schemas.microsoft.com/office/drawing/2014/chart" uri="{C3380CC4-5D6E-409C-BE32-E72D297353CC}">
                <c16:uniqueId val="{000002FB-7775-4A9C-B2E5-37C768AAA5A6}"/>
              </c:ext>
            </c:extLst>
          </c:dPt>
          <c:dPt>
            <c:idx val="381"/>
            <c:invertIfNegative val="1"/>
            <c:bubble3D val="0"/>
            <c:spPr>
              <a:solidFill>
                <a:srgbClr val="AEABAB"/>
              </a:solidFill>
            </c:spPr>
            <c:extLst>
              <c:ext xmlns:c16="http://schemas.microsoft.com/office/drawing/2014/chart" uri="{C3380CC4-5D6E-409C-BE32-E72D297353CC}">
                <c16:uniqueId val="{000002FD-7775-4A9C-B2E5-37C768AAA5A6}"/>
              </c:ext>
            </c:extLst>
          </c:dPt>
          <c:dPt>
            <c:idx val="382"/>
            <c:invertIfNegative val="1"/>
            <c:bubble3D val="0"/>
            <c:spPr>
              <a:solidFill>
                <a:srgbClr val="AEABAB"/>
              </a:solidFill>
            </c:spPr>
            <c:extLst>
              <c:ext xmlns:c16="http://schemas.microsoft.com/office/drawing/2014/chart" uri="{C3380CC4-5D6E-409C-BE32-E72D297353CC}">
                <c16:uniqueId val="{000002FF-7775-4A9C-B2E5-37C768AAA5A6}"/>
              </c:ext>
            </c:extLst>
          </c:dPt>
          <c:dPt>
            <c:idx val="383"/>
            <c:invertIfNegative val="1"/>
            <c:bubble3D val="0"/>
            <c:spPr>
              <a:solidFill>
                <a:srgbClr val="AEABAB"/>
              </a:solidFill>
            </c:spPr>
            <c:extLst>
              <c:ext xmlns:c16="http://schemas.microsoft.com/office/drawing/2014/chart" uri="{C3380CC4-5D6E-409C-BE32-E72D297353CC}">
                <c16:uniqueId val="{00000301-7775-4A9C-B2E5-37C768AAA5A6}"/>
              </c:ext>
            </c:extLst>
          </c:dPt>
          <c:dPt>
            <c:idx val="384"/>
            <c:invertIfNegative val="1"/>
            <c:bubble3D val="0"/>
            <c:spPr>
              <a:solidFill>
                <a:srgbClr val="AEABAB"/>
              </a:solidFill>
            </c:spPr>
            <c:extLst>
              <c:ext xmlns:c16="http://schemas.microsoft.com/office/drawing/2014/chart" uri="{C3380CC4-5D6E-409C-BE32-E72D297353CC}">
                <c16:uniqueId val="{00000303-7775-4A9C-B2E5-37C768AAA5A6}"/>
              </c:ext>
            </c:extLst>
          </c:dPt>
          <c:dPt>
            <c:idx val="385"/>
            <c:invertIfNegative val="1"/>
            <c:bubble3D val="0"/>
            <c:spPr>
              <a:solidFill>
                <a:srgbClr val="AEABAB"/>
              </a:solidFill>
            </c:spPr>
            <c:extLst>
              <c:ext xmlns:c16="http://schemas.microsoft.com/office/drawing/2014/chart" uri="{C3380CC4-5D6E-409C-BE32-E72D297353CC}">
                <c16:uniqueId val="{00000305-7775-4A9C-B2E5-37C768AAA5A6}"/>
              </c:ext>
            </c:extLst>
          </c:dPt>
          <c:dPt>
            <c:idx val="386"/>
            <c:invertIfNegative val="1"/>
            <c:bubble3D val="0"/>
            <c:spPr>
              <a:solidFill>
                <a:srgbClr val="AEABAB"/>
              </a:solidFill>
            </c:spPr>
            <c:extLst>
              <c:ext xmlns:c16="http://schemas.microsoft.com/office/drawing/2014/chart" uri="{C3380CC4-5D6E-409C-BE32-E72D297353CC}">
                <c16:uniqueId val="{00000307-7775-4A9C-B2E5-37C768AAA5A6}"/>
              </c:ext>
            </c:extLst>
          </c:dPt>
          <c:dPt>
            <c:idx val="387"/>
            <c:invertIfNegative val="1"/>
            <c:bubble3D val="0"/>
            <c:spPr>
              <a:solidFill>
                <a:srgbClr val="AEABAB"/>
              </a:solidFill>
            </c:spPr>
            <c:extLst>
              <c:ext xmlns:c16="http://schemas.microsoft.com/office/drawing/2014/chart" uri="{C3380CC4-5D6E-409C-BE32-E72D297353CC}">
                <c16:uniqueId val="{00000309-7775-4A9C-B2E5-37C768AAA5A6}"/>
              </c:ext>
            </c:extLst>
          </c:dPt>
          <c:dPt>
            <c:idx val="388"/>
            <c:invertIfNegative val="1"/>
            <c:bubble3D val="0"/>
            <c:spPr>
              <a:solidFill>
                <a:srgbClr val="AEABAB"/>
              </a:solidFill>
            </c:spPr>
            <c:extLst>
              <c:ext xmlns:c16="http://schemas.microsoft.com/office/drawing/2014/chart" uri="{C3380CC4-5D6E-409C-BE32-E72D297353CC}">
                <c16:uniqueId val="{0000030B-7775-4A9C-B2E5-37C768AAA5A6}"/>
              </c:ext>
            </c:extLst>
          </c:dPt>
          <c:dPt>
            <c:idx val="389"/>
            <c:invertIfNegative val="1"/>
            <c:bubble3D val="0"/>
            <c:spPr>
              <a:solidFill>
                <a:srgbClr val="AEABAB"/>
              </a:solidFill>
            </c:spPr>
            <c:extLst>
              <c:ext xmlns:c16="http://schemas.microsoft.com/office/drawing/2014/chart" uri="{C3380CC4-5D6E-409C-BE32-E72D297353CC}">
                <c16:uniqueId val="{0000030D-7775-4A9C-B2E5-37C768AAA5A6}"/>
              </c:ext>
            </c:extLst>
          </c:dPt>
          <c:dPt>
            <c:idx val="390"/>
            <c:invertIfNegative val="1"/>
            <c:bubble3D val="0"/>
            <c:spPr>
              <a:solidFill>
                <a:srgbClr val="AEABAB"/>
              </a:solidFill>
            </c:spPr>
            <c:extLst>
              <c:ext xmlns:c16="http://schemas.microsoft.com/office/drawing/2014/chart" uri="{C3380CC4-5D6E-409C-BE32-E72D297353CC}">
                <c16:uniqueId val="{0000030F-7775-4A9C-B2E5-37C768AAA5A6}"/>
              </c:ext>
            </c:extLst>
          </c:dPt>
          <c:dPt>
            <c:idx val="391"/>
            <c:invertIfNegative val="1"/>
            <c:bubble3D val="0"/>
            <c:spPr>
              <a:solidFill>
                <a:srgbClr val="AEABAB"/>
              </a:solidFill>
            </c:spPr>
            <c:extLst>
              <c:ext xmlns:c16="http://schemas.microsoft.com/office/drawing/2014/chart" uri="{C3380CC4-5D6E-409C-BE32-E72D297353CC}">
                <c16:uniqueId val="{00000311-7775-4A9C-B2E5-37C768AAA5A6}"/>
              </c:ext>
            </c:extLst>
          </c:dPt>
          <c:dPt>
            <c:idx val="392"/>
            <c:invertIfNegative val="1"/>
            <c:bubble3D val="0"/>
            <c:spPr>
              <a:solidFill>
                <a:srgbClr val="AEABAB"/>
              </a:solidFill>
            </c:spPr>
            <c:extLst>
              <c:ext xmlns:c16="http://schemas.microsoft.com/office/drawing/2014/chart" uri="{C3380CC4-5D6E-409C-BE32-E72D297353CC}">
                <c16:uniqueId val="{00000313-7775-4A9C-B2E5-37C768AAA5A6}"/>
              </c:ext>
            </c:extLst>
          </c:dPt>
          <c:dPt>
            <c:idx val="393"/>
            <c:invertIfNegative val="1"/>
            <c:bubble3D val="0"/>
            <c:spPr>
              <a:solidFill>
                <a:srgbClr val="AEABAB"/>
              </a:solidFill>
            </c:spPr>
            <c:extLst>
              <c:ext xmlns:c16="http://schemas.microsoft.com/office/drawing/2014/chart" uri="{C3380CC4-5D6E-409C-BE32-E72D297353CC}">
                <c16:uniqueId val="{00000315-7775-4A9C-B2E5-37C768AAA5A6}"/>
              </c:ext>
            </c:extLst>
          </c:dPt>
          <c:dPt>
            <c:idx val="394"/>
            <c:invertIfNegative val="1"/>
            <c:bubble3D val="0"/>
            <c:spPr>
              <a:solidFill>
                <a:srgbClr val="AEABAB"/>
              </a:solidFill>
            </c:spPr>
            <c:extLst>
              <c:ext xmlns:c16="http://schemas.microsoft.com/office/drawing/2014/chart" uri="{C3380CC4-5D6E-409C-BE32-E72D297353CC}">
                <c16:uniqueId val="{00000317-7775-4A9C-B2E5-37C768AAA5A6}"/>
              </c:ext>
            </c:extLst>
          </c:dPt>
          <c:dPt>
            <c:idx val="395"/>
            <c:invertIfNegative val="1"/>
            <c:bubble3D val="0"/>
            <c:spPr>
              <a:solidFill>
                <a:srgbClr val="AEABAB"/>
              </a:solidFill>
            </c:spPr>
            <c:extLst>
              <c:ext xmlns:c16="http://schemas.microsoft.com/office/drawing/2014/chart" uri="{C3380CC4-5D6E-409C-BE32-E72D297353CC}">
                <c16:uniqueId val="{00000319-7775-4A9C-B2E5-37C768AAA5A6}"/>
              </c:ext>
            </c:extLst>
          </c:dPt>
          <c:dPt>
            <c:idx val="396"/>
            <c:invertIfNegative val="1"/>
            <c:bubble3D val="0"/>
            <c:spPr>
              <a:solidFill>
                <a:srgbClr val="AEABAB"/>
              </a:solidFill>
            </c:spPr>
            <c:extLst>
              <c:ext xmlns:c16="http://schemas.microsoft.com/office/drawing/2014/chart" uri="{C3380CC4-5D6E-409C-BE32-E72D297353CC}">
                <c16:uniqueId val="{0000031B-7775-4A9C-B2E5-37C768AAA5A6}"/>
              </c:ext>
            </c:extLst>
          </c:dPt>
          <c:dPt>
            <c:idx val="397"/>
            <c:invertIfNegative val="1"/>
            <c:bubble3D val="0"/>
            <c:spPr>
              <a:solidFill>
                <a:srgbClr val="AEABAB"/>
              </a:solidFill>
            </c:spPr>
            <c:extLst>
              <c:ext xmlns:c16="http://schemas.microsoft.com/office/drawing/2014/chart" uri="{C3380CC4-5D6E-409C-BE32-E72D297353CC}">
                <c16:uniqueId val="{0000031D-7775-4A9C-B2E5-37C768AAA5A6}"/>
              </c:ext>
            </c:extLst>
          </c:dPt>
          <c:dPt>
            <c:idx val="398"/>
            <c:invertIfNegative val="1"/>
            <c:bubble3D val="0"/>
            <c:spPr>
              <a:solidFill>
                <a:srgbClr val="AEABAB"/>
              </a:solidFill>
            </c:spPr>
            <c:extLst>
              <c:ext xmlns:c16="http://schemas.microsoft.com/office/drawing/2014/chart" uri="{C3380CC4-5D6E-409C-BE32-E72D297353CC}">
                <c16:uniqueId val="{0000031F-7775-4A9C-B2E5-37C768AAA5A6}"/>
              </c:ext>
            </c:extLst>
          </c:dPt>
          <c:dPt>
            <c:idx val="399"/>
            <c:invertIfNegative val="1"/>
            <c:bubble3D val="0"/>
            <c:spPr>
              <a:solidFill>
                <a:srgbClr val="AEABAB"/>
              </a:solidFill>
            </c:spPr>
            <c:extLst>
              <c:ext xmlns:c16="http://schemas.microsoft.com/office/drawing/2014/chart" uri="{C3380CC4-5D6E-409C-BE32-E72D297353CC}">
                <c16:uniqueId val="{00000321-7775-4A9C-B2E5-37C768AAA5A6}"/>
              </c:ext>
            </c:extLst>
          </c:dPt>
          <c:dPt>
            <c:idx val="400"/>
            <c:invertIfNegative val="1"/>
            <c:bubble3D val="0"/>
            <c:spPr>
              <a:solidFill>
                <a:srgbClr val="AEABAB"/>
              </a:solidFill>
            </c:spPr>
            <c:extLst>
              <c:ext xmlns:c16="http://schemas.microsoft.com/office/drawing/2014/chart" uri="{C3380CC4-5D6E-409C-BE32-E72D297353CC}">
                <c16:uniqueId val="{00000323-7775-4A9C-B2E5-37C768AAA5A6}"/>
              </c:ext>
            </c:extLst>
          </c:dPt>
          <c:dPt>
            <c:idx val="401"/>
            <c:invertIfNegative val="1"/>
            <c:bubble3D val="0"/>
            <c:spPr>
              <a:solidFill>
                <a:srgbClr val="AEABAB"/>
              </a:solidFill>
            </c:spPr>
            <c:extLst>
              <c:ext xmlns:c16="http://schemas.microsoft.com/office/drawing/2014/chart" uri="{C3380CC4-5D6E-409C-BE32-E72D297353CC}">
                <c16:uniqueId val="{00000325-7775-4A9C-B2E5-37C768AAA5A6}"/>
              </c:ext>
            </c:extLst>
          </c:dPt>
          <c:dPt>
            <c:idx val="402"/>
            <c:invertIfNegative val="1"/>
            <c:bubble3D val="0"/>
            <c:spPr>
              <a:solidFill>
                <a:srgbClr val="AEABAB"/>
              </a:solidFill>
            </c:spPr>
            <c:extLst>
              <c:ext xmlns:c16="http://schemas.microsoft.com/office/drawing/2014/chart" uri="{C3380CC4-5D6E-409C-BE32-E72D297353CC}">
                <c16:uniqueId val="{00000327-7775-4A9C-B2E5-37C768AAA5A6}"/>
              </c:ext>
            </c:extLst>
          </c:dPt>
          <c:dPt>
            <c:idx val="403"/>
            <c:invertIfNegative val="1"/>
            <c:bubble3D val="0"/>
            <c:spPr>
              <a:solidFill>
                <a:srgbClr val="AEABAB"/>
              </a:solidFill>
            </c:spPr>
            <c:extLst>
              <c:ext xmlns:c16="http://schemas.microsoft.com/office/drawing/2014/chart" uri="{C3380CC4-5D6E-409C-BE32-E72D297353CC}">
                <c16:uniqueId val="{00000329-7775-4A9C-B2E5-37C768AAA5A6}"/>
              </c:ext>
            </c:extLst>
          </c:dPt>
          <c:dPt>
            <c:idx val="404"/>
            <c:invertIfNegative val="1"/>
            <c:bubble3D val="0"/>
            <c:spPr>
              <a:solidFill>
                <a:srgbClr val="AEABAB"/>
              </a:solidFill>
            </c:spPr>
            <c:extLst>
              <c:ext xmlns:c16="http://schemas.microsoft.com/office/drawing/2014/chart" uri="{C3380CC4-5D6E-409C-BE32-E72D297353CC}">
                <c16:uniqueId val="{0000032B-7775-4A9C-B2E5-37C768AAA5A6}"/>
              </c:ext>
            </c:extLst>
          </c:dPt>
          <c:dPt>
            <c:idx val="405"/>
            <c:invertIfNegative val="1"/>
            <c:bubble3D val="0"/>
            <c:spPr>
              <a:solidFill>
                <a:srgbClr val="AEABAB"/>
              </a:solidFill>
            </c:spPr>
            <c:extLst>
              <c:ext xmlns:c16="http://schemas.microsoft.com/office/drawing/2014/chart" uri="{C3380CC4-5D6E-409C-BE32-E72D297353CC}">
                <c16:uniqueId val="{0000032D-7775-4A9C-B2E5-37C768AAA5A6}"/>
              </c:ext>
            </c:extLst>
          </c:dPt>
          <c:dPt>
            <c:idx val="406"/>
            <c:invertIfNegative val="1"/>
            <c:bubble3D val="0"/>
            <c:spPr>
              <a:solidFill>
                <a:srgbClr val="AEABAB"/>
              </a:solidFill>
            </c:spPr>
            <c:extLst>
              <c:ext xmlns:c16="http://schemas.microsoft.com/office/drawing/2014/chart" uri="{C3380CC4-5D6E-409C-BE32-E72D297353CC}">
                <c16:uniqueId val="{0000032F-7775-4A9C-B2E5-37C768AAA5A6}"/>
              </c:ext>
            </c:extLst>
          </c:dPt>
          <c:dPt>
            <c:idx val="407"/>
            <c:invertIfNegative val="1"/>
            <c:bubble3D val="0"/>
            <c:spPr>
              <a:solidFill>
                <a:srgbClr val="AEABAB"/>
              </a:solidFill>
            </c:spPr>
            <c:extLst>
              <c:ext xmlns:c16="http://schemas.microsoft.com/office/drawing/2014/chart" uri="{C3380CC4-5D6E-409C-BE32-E72D297353CC}">
                <c16:uniqueId val="{00000331-7775-4A9C-B2E5-37C768AAA5A6}"/>
              </c:ext>
            </c:extLst>
          </c:dPt>
          <c:dPt>
            <c:idx val="408"/>
            <c:invertIfNegative val="1"/>
            <c:bubble3D val="0"/>
            <c:spPr>
              <a:solidFill>
                <a:srgbClr val="AEABAB"/>
              </a:solidFill>
            </c:spPr>
            <c:extLst>
              <c:ext xmlns:c16="http://schemas.microsoft.com/office/drawing/2014/chart" uri="{C3380CC4-5D6E-409C-BE32-E72D297353CC}">
                <c16:uniqueId val="{00000333-7775-4A9C-B2E5-37C768AAA5A6}"/>
              </c:ext>
            </c:extLst>
          </c:dPt>
          <c:dPt>
            <c:idx val="409"/>
            <c:invertIfNegative val="1"/>
            <c:bubble3D val="0"/>
            <c:spPr>
              <a:solidFill>
                <a:srgbClr val="AEABAB"/>
              </a:solidFill>
            </c:spPr>
            <c:extLst>
              <c:ext xmlns:c16="http://schemas.microsoft.com/office/drawing/2014/chart" uri="{C3380CC4-5D6E-409C-BE32-E72D297353CC}">
                <c16:uniqueId val="{00000335-7775-4A9C-B2E5-37C768AAA5A6}"/>
              </c:ext>
            </c:extLst>
          </c:dPt>
          <c:dPt>
            <c:idx val="410"/>
            <c:invertIfNegative val="1"/>
            <c:bubble3D val="0"/>
            <c:spPr>
              <a:solidFill>
                <a:srgbClr val="AEABAB"/>
              </a:solidFill>
            </c:spPr>
            <c:extLst>
              <c:ext xmlns:c16="http://schemas.microsoft.com/office/drawing/2014/chart" uri="{C3380CC4-5D6E-409C-BE32-E72D297353CC}">
                <c16:uniqueId val="{00000337-7775-4A9C-B2E5-37C768AAA5A6}"/>
              </c:ext>
            </c:extLst>
          </c:dPt>
          <c:dPt>
            <c:idx val="411"/>
            <c:invertIfNegative val="1"/>
            <c:bubble3D val="0"/>
            <c:spPr>
              <a:solidFill>
                <a:srgbClr val="AEABAB"/>
              </a:solidFill>
            </c:spPr>
            <c:extLst>
              <c:ext xmlns:c16="http://schemas.microsoft.com/office/drawing/2014/chart" uri="{C3380CC4-5D6E-409C-BE32-E72D297353CC}">
                <c16:uniqueId val="{00000339-7775-4A9C-B2E5-37C768AAA5A6}"/>
              </c:ext>
            </c:extLst>
          </c:dPt>
          <c:dPt>
            <c:idx val="412"/>
            <c:invertIfNegative val="1"/>
            <c:bubble3D val="0"/>
            <c:spPr>
              <a:solidFill>
                <a:srgbClr val="AEABAB"/>
              </a:solidFill>
            </c:spPr>
            <c:extLst>
              <c:ext xmlns:c16="http://schemas.microsoft.com/office/drawing/2014/chart" uri="{C3380CC4-5D6E-409C-BE32-E72D297353CC}">
                <c16:uniqueId val="{0000033B-7775-4A9C-B2E5-37C768AAA5A6}"/>
              </c:ext>
            </c:extLst>
          </c:dPt>
          <c:dPt>
            <c:idx val="413"/>
            <c:invertIfNegative val="1"/>
            <c:bubble3D val="0"/>
            <c:spPr>
              <a:solidFill>
                <a:srgbClr val="AEABAB"/>
              </a:solidFill>
            </c:spPr>
            <c:extLst>
              <c:ext xmlns:c16="http://schemas.microsoft.com/office/drawing/2014/chart" uri="{C3380CC4-5D6E-409C-BE32-E72D297353CC}">
                <c16:uniqueId val="{0000033D-7775-4A9C-B2E5-37C768AAA5A6}"/>
              </c:ext>
            </c:extLst>
          </c:dPt>
          <c:dPt>
            <c:idx val="414"/>
            <c:invertIfNegative val="1"/>
            <c:bubble3D val="0"/>
            <c:spPr>
              <a:solidFill>
                <a:srgbClr val="AEABAB"/>
              </a:solidFill>
            </c:spPr>
            <c:extLst>
              <c:ext xmlns:c16="http://schemas.microsoft.com/office/drawing/2014/chart" uri="{C3380CC4-5D6E-409C-BE32-E72D297353CC}">
                <c16:uniqueId val="{0000033F-7775-4A9C-B2E5-37C768AAA5A6}"/>
              </c:ext>
            </c:extLst>
          </c:dPt>
          <c:dPt>
            <c:idx val="415"/>
            <c:invertIfNegative val="1"/>
            <c:bubble3D val="0"/>
            <c:spPr>
              <a:solidFill>
                <a:srgbClr val="AEABAB"/>
              </a:solidFill>
            </c:spPr>
            <c:extLst>
              <c:ext xmlns:c16="http://schemas.microsoft.com/office/drawing/2014/chart" uri="{C3380CC4-5D6E-409C-BE32-E72D297353CC}">
                <c16:uniqueId val="{00000341-7775-4A9C-B2E5-37C768AAA5A6}"/>
              </c:ext>
            </c:extLst>
          </c:dPt>
          <c:dPt>
            <c:idx val="416"/>
            <c:invertIfNegative val="1"/>
            <c:bubble3D val="0"/>
            <c:spPr>
              <a:solidFill>
                <a:srgbClr val="AEABAB"/>
              </a:solidFill>
            </c:spPr>
            <c:extLst>
              <c:ext xmlns:c16="http://schemas.microsoft.com/office/drawing/2014/chart" uri="{C3380CC4-5D6E-409C-BE32-E72D297353CC}">
                <c16:uniqueId val="{00000343-7775-4A9C-B2E5-37C768AAA5A6}"/>
              </c:ext>
            </c:extLst>
          </c:dPt>
          <c:dPt>
            <c:idx val="417"/>
            <c:invertIfNegative val="1"/>
            <c:bubble3D val="0"/>
            <c:spPr>
              <a:solidFill>
                <a:srgbClr val="AEABAB"/>
              </a:solidFill>
            </c:spPr>
            <c:extLst>
              <c:ext xmlns:c16="http://schemas.microsoft.com/office/drawing/2014/chart" uri="{C3380CC4-5D6E-409C-BE32-E72D297353CC}">
                <c16:uniqueId val="{00000345-7775-4A9C-B2E5-37C768AAA5A6}"/>
              </c:ext>
            </c:extLst>
          </c:dPt>
          <c:dPt>
            <c:idx val="418"/>
            <c:invertIfNegative val="1"/>
            <c:bubble3D val="0"/>
            <c:spPr>
              <a:solidFill>
                <a:srgbClr val="AEABAB"/>
              </a:solidFill>
            </c:spPr>
            <c:extLst>
              <c:ext xmlns:c16="http://schemas.microsoft.com/office/drawing/2014/chart" uri="{C3380CC4-5D6E-409C-BE32-E72D297353CC}">
                <c16:uniqueId val="{00000347-7775-4A9C-B2E5-37C768AAA5A6}"/>
              </c:ext>
            </c:extLst>
          </c:dPt>
          <c:dPt>
            <c:idx val="419"/>
            <c:invertIfNegative val="1"/>
            <c:bubble3D val="0"/>
            <c:spPr>
              <a:solidFill>
                <a:srgbClr val="AEABAB"/>
              </a:solidFill>
            </c:spPr>
            <c:extLst>
              <c:ext xmlns:c16="http://schemas.microsoft.com/office/drawing/2014/chart" uri="{C3380CC4-5D6E-409C-BE32-E72D297353CC}">
                <c16:uniqueId val="{00000349-7775-4A9C-B2E5-37C768AAA5A6}"/>
              </c:ext>
            </c:extLst>
          </c:dPt>
          <c:dPt>
            <c:idx val="420"/>
            <c:invertIfNegative val="1"/>
            <c:bubble3D val="0"/>
            <c:spPr>
              <a:solidFill>
                <a:srgbClr val="AEABAB"/>
              </a:solidFill>
            </c:spPr>
            <c:extLst>
              <c:ext xmlns:c16="http://schemas.microsoft.com/office/drawing/2014/chart" uri="{C3380CC4-5D6E-409C-BE32-E72D297353CC}">
                <c16:uniqueId val="{0000034B-7775-4A9C-B2E5-37C768AAA5A6}"/>
              </c:ext>
            </c:extLst>
          </c:dPt>
          <c:dPt>
            <c:idx val="421"/>
            <c:invertIfNegative val="1"/>
            <c:bubble3D val="0"/>
            <c:spPr>
              <a:solidFill>
                <a:srgbClr val="AEABAB"/>
              </a:solidFill>
            </c:spPr>
            <c:extLst>
              <c:ext xmlns:c16="http://schemas.microsoft.com/office/drawing/2014/chart" uri="{C3380CC4-5D6E-409C-BE32-E72D297353CC}">
                <c16:uniqueId val="{0000034D-7775-4A9C-B2E5-37C768AAA5A6}"/>
              </c:ext>
            </c:extLst>
          </c:dPt>
          <c:dPt>
            <c:idx val="422"/>
            <c:invertIfNegative val="1"/>
            <c:bubble3D val="0"/>
            <c:spPr>
              <a:solidFill>
                <a:srgbClr val="AEABAB"/>
              </a:solidFill>
            </c:spPr>
            <c:extLst>
              <c:ext xmlns:c16="http://schemas.microsoft.com/office/drawing/2014/chart" uri="{C3380CC4-5D6E-409C-BE32-E72D297353CC}">
                <c16:uniqueId val="{0000034F-7775-4A9C-B2E5-37C768AAA5A6}"/>
              </c:ext>
            </c:extLst>
          </c:dPt>
          <c:dPt>
            <c:idx val="423"/>
            <c:invertIfNegative val="1"/>
            <c:bubble3D val="0"/>
            <c:spPr>
              <a:solidFill>
                <a:srgbClr val="AEABAB"/>
              </a:solidFill>
            </c:spPr>
            <c:extLst>
              <c:ext xmlns:c16="http://schemas.microsoft.com/office/drawing/2014/chart" uri="{C3380CC4-5D6E-409C-BE32-E72D297353CC}">
                <c16:uniqueId val="{00000351-7775-4A9C-B2E5-37C768AAA5A6}"/>
              </c:ext>
            </c:extLst>
          </c:dPt>
          <c:dPt>
            <c:idx val="424"/>
            <c:invertIfNegative val="1"/>
            <c:bubble3D val="0"/>
            <c:spPr>
              <a:solidFill>
                <a:srgbClr val="AEABAB"/>
              </a:solidFill>
            </c:spPr>
            <c:extLst>
              <c:ext xmlns:c16="http://schemas.microsoft.com/office/drawing/2014/chart" uri="{C3380CC4-5D6E-409C-BE32-E72D297353CC}">
                <c16:uniqueId val="{00000353-7775-4A9C-B2E5-37C768AAA5A6}"/>
              </c:ext>
            </c:extLst>
          </c:dPt>
          <c:dPt>
            <c:idx val="425"/>
            <c:invertIfNegative val="1"/>
            <c:bubble3D val="0"/>
            <c:spPr>
              <a:solidFill>
                <a:srgbClr val="AEABAB"/>
              </a:solidFill>
            </c:spPr>
            <c:extLst>
              <c:ext xmlns:c16="http://schemas.microsoft.com/office/drawing/2014/chart" uri="{C3380CC4-5D6E-409C-BE32-E72D297353CC}">
                <c16:uniqueId val="{00000355-7775-4A9C-B2E5-37C768AAA5A6}"/>
              </c:ext>
            </c:extLst>
          </c:dPt>
          <c:dPt>
            <c:idx val="426"/>
            <c:invertIfNegative val="1"/>
            <c:bubble3D val="0"/>
            <c:spPr>
              <a:solidFill>
                <a:srgbClr val="AEABAB"/>
              </a:solidFill>
            </c:spPr>
            <c:extLst>
              <c:ext xmlns:c16="http://schemas.microsoft.com/office/drawing/2014/chart" uri="{C3380CC4-5D6E-409C-BE32-E72D297353CC}">
                <c16:uniqueId val="{00000357-7775-4A9C-B2E5-37C768AAA5A6}"/>
              </c:ext>
            </c:extLst>
          </c:dPt>
          <c:dPt>
            <c:idx val="427"/>
            <c:invertIfNegative val="1"/>
            <c:bubble3D val="0"/>
            <c:spPr>
              <a:solidFill>
                <a:srgbClr val="AEABAB"/>
              </a:solidFill>
            </c:spPr>
            <c:extLst>
              <c:ext xmlns:c16="http://schemas.microsoft.com/office/drawing/2014/chart" uri="{C3380CC4-5D6E-409C-BE32-E72D297353CC}">
                <c16:uniqueId val="{00000359-7775-4A9C-B2E5-37C768AAA5A6}"/>
              </c:ext>
            </c:extLst>
          </c:dPt>
          <c:dPt>
            <c:idx val="428"/>
            <c:invertIfNegative val="1"/>
            <c:bubble3D val="0"/>
            <c:spPr>
              <a:solidFill>
                <a:srgbClr val="AEABAB"/>
              </a:solidFill>
            </c:spPr>
            <c:extLst>
              <c:ext xmlns:c16="http://schemas.microsoft.com/office/drawing/2014/chart" uri="{C3380CC4-5D6E-409C-BE32-E72D297353CC}">
                <c16:uniqueId val="{0000035B-7775-4A9C-B2E5-37C768AAA5A6}"/>
              </c:ext>
            </c:extLst>
          </c:dPt>
          <c:dPt>
            <c:idx val="429"/>
            <c:invertIfNegative val="1"/>
            <c:bubble3D val="0"/>
            <c:spPr>
              <a:solidFill>
                <a:srgbClr val="AEABAB"/>
              </a:solidFill>
            </c:spPr>
            <c:extLst>
              <c:ext xmlns:c16="http://schemas.microsoft.com/office/drawing/2014/chart" uri="{C3380CC4-5D6E-409C-BE32-E72D297353CC}">
                <c16:uniqueId val="{0000035D-7775-4A9C-B2E5-37C768AAA5A6}"/>
              </c:ext>
            </c:extLst>
          </c:dPt>
          <c:dPt>
            <c:idx val="430"/>
            <c:invertIfNegative val="1"/>
            <c:bubble3D val="0"/>
            <c:spPr>
              <a:solidFill>
                <a:srgbClr val="AEABAB"/>
              </a:solidFill>
            </c:spPr>
            <c:extLst>
              <c:ext xmlns:c16="http://schemas.microsoft.com/office/drawing/2014/chart" uri="{C3380CC4-5D6E-409C-BE32-E72D297353CC}">
                <c16:uniqueId val="{0000035F-7775-4A9C-B2E5-37C768AAA5A6}"/>
              </c:ext>
            </c:extLst>
          </c:dPt>
          <c:dPt>
            <c:idx val="431"/>
            <c:invertIfNegative val="1"/>
            <c:bubble3D val="0"/>
            <c:spPr>
              <a:solidFill>
                <a:srgbClr val="AEABAB"/>
              </a:solidFill>
            </c:spPr>
            <c:extLst>
              <c:ext xmlns:c16="http://schemas.microsoft.com/office/drawing/2014/chart" uri="{C3380CC4-5D6E-409C-BE32-E72D297353CC}">
                <c16:uniqueId val="{00000361-7775-4A9C-B2E5-37C768AAA5A6}"/>
              </c:ext>
            </c:extLst>
          </c:dPt>
          <c:dPt>
            <c:idx val="432"/>
            <c:invertIfNegative val="1"/>
            <c:bubble3D val="0"/>
            <c:spPr>
              <a:solidFill>
                <a:srgbClr val="AEABAB"/>
              </a:solidFill>
            </c:spPr>
            <c:extLst>
              <c:ext xmlns:c16="http://schemas.microsoft.com/office/drawing/2014/chart" uri="{C3380CC4-5D6E-409C-BE32-E72D297353CC}">
                <c16:uniqueId val="{00000363-7775-4A9C-B2E5-37C768AAA5A6}"/>
              </c:ext>
            </c:extLst>
          </c:dPt>
          <c:dPt>
            <c:idx val="433"/>
            <c:invertIfNegative val="1"/>
            <c:bubble3D val="0"/>
            <c:spPr>
              <a:solidFill>
                <a:srgbClr val="AEABAB"/>
              </a:solidFill>
            </c:spPr>
            <c:extLst>
              <c:ext xmlns:c16="http://schemas.microsoft.com/office/drawing/2014/chart" uri="{C3380CC4-5D6E-409C-BE32-E72D297353CC}">
                <c16:uniqueId val="{00000365-7775-4A9C-B2E5-37C768AAA5A6}"/>
              </c:ext>
            </c:extLst>
          </c:dPt>
          <c:dPt>
            <c:idx val="434"/>
            <c:invertIfNegative val="1"/>
            <c:bubble3D val="0"/>
            <c:spPr>
              <a:solidFill>
                <a:srgbClr val="AEABAB"/>
              </a:solidFill>
            </c:spPr>
            <c:extLst>
              <c:ext xmlns:c16="http://schemas.microsoft.com/office/drawing/2014/chart" uri="{C3380CC4-5D6E-409C-BE32-E72D297353CC}">
                <c16:uniqueId val="{00000367-7775-4A9C-B2E5-37C768AAA5A6}"/>
              </c:ext>
            </c:extLst>
          </c:dPt>
          <c:dPt>
            <c:idx val="435"/>
            <c:invertIfNegative val="1"/>
            <c:bubble3D val="0"/>
            <c:spPr>
              <a:solidFill>
                <a:srgbClr val="AEABAB"/>
              </a:solidFill>
            </c:spPr>
            <c:extLst>
              <c:ext xmlns:c16="http://schemas.microsoft.com/office/drawing/2014/chart" uri="{C3380CC4-5D6E-409C-BE32-E72D297353CC}">
                <c16:uniqueId val="{00000369-7775-4A9C-B2E5-37C768AAA5A6}"/>
              </c:ext>
            </c:extLst>
          </c:dPt>
          <c:dPt>
            <c:idx val="436"/>
            <c:invertIfNegative val="1"/>
            <c:bubble3D val="0"/>
            <c:spPr>
              <a:solidFill>
                <a:srgbClr val="AEABAB"/>
              </a:solidFill>
            </c:spPr>
            <c:extLst>
              <c:ext xmlns:c16="http://schemas.microsoft.com/office/drawing/2014/chart" uri="{C3380CC4-5D6E-409C-BE32-E72D297353CC}">
                <c16:uniqueId val="{0000036B-7775-4A9C-B2E5-37C768AAA5A6}"/>
              </c:ext>
            </c:extLst>
          </c:dPt>
          <c:dPt>
            <c:idx val="437"/>
            <c:invertIfNegative val="1"/>
            <c:bubble3D val="0"/>
            <c:spPr>
              <a:solidFill>
                <a:srgbClr val="AEABAB"/>
              </a:solidFill>
            </c:spPr>
            <c:extLst>
              <c:ext xmlns:c16="http://schemas.microsoft.com/office/drawing/2014/chart" uri="{C3380CC4-5D6E-409C-BE32-E72D297353CC}">
                <c16:uniqueId val="{0000036D-7775-4A9C-B2E5-37C768AAA5A6}"/>
              </c:ext>
            </c:extLst>
          </c:dPt>
          <c:dPt>
            <c:idx val="438"/>
            <c:invertIfNegative val="1"/>
            <c:bubble3D val="0"/>
            <c:spPr>
              <a:solidFill>
                <a:srgbClr val="AEABAB"/>
              </a:solidFill>
            </c:spPr>
            <c:extLst>
              <c:ext xmlns:c16="http://schemas.microsoft.com/office/drawing/2014/chart" uri="{C3380CC4-5D6E-409C-BE32-E72D297353CC}">
                <c16:uniqueId val="{0000036F-7775-4A9C-B2E5-37C768AAA5A6}"/>
              </c:ext>
            </c:extLst>
          </c:dPt>
          <c:dPt>
            <c:idx val="439"/>
            <c:invertIfNegative val="1"/>
            <c:bubble3D val="0"/>
            <c:spPr>
              <a:solidFill>
                <a:srgbClr val="AEABAB"/>
              </a:solidFill>
            </c:spPr>
            <c:extLst>
              <c:ext xmlns:c16="http://schemas.microsoft.com/office/drawing/2014/chart" uri="{C3380CC4-5D6E-409C-BE32-E72D297353CC}">
                <c16:uniqueId val="{00000371-7775-4A9C-B2E5-37C768AAA5A6}"/>
              </c:ext>
            </c:extLst>
          </c:dPt>
          <c:dPt>
            <c:idx val="440"/>
            <c:invertIfNegative val="1"/>
            <c:bubble3D val="0"/>
            <c:spPr>
              <a:solidFill>
                <a:srgbClr val="AEABAB"/>
              </a:solidFill>
            </c:spPr>
            <c:extLst>
              <c:ext xmlns:c16="http://schemas.microsoft.com/office/drawing/2014/chart" uri="{C3380CC4-5D6E-409C-BE32-E72D297353CC}">
                <c16:uniqueId val="{00000373-7775-4A9C-B2E5-37C768AAA5A6}"/>
              </c:ext>
            </c:extLst>
          </c:dPt>
          <c:dPt>
            <c:idx val="441"/>
            <c:invertIfNegative val="1"/>
            <c:bubble3D val="0"/>
            <c:spPr>
              <a:solidFill>
                <a:srgbClr val="AEABAB"/>
              </a:solidFill>
            </c:spPr>
            <c:extLst>
              <c:ext xmlns:c16="http://schemas.microsoft.com/office/drawing/2014/chart" uri="{C3380CC4-5D6E-409C-BE32-E72D297353CC}">
                <c16:uniqueId val="{00000375-7775-4A9C-B2E5-37C768AAA5A6}"/>
              </c:ext>
            </c:extLst>
          </c:dPt>
          <c:dPt>
            <c:idx val="442"/>
            <c:invertIfNegative val="1"/>
            <c:bubble3D val="0"/>
            <c:spPr>
              <a:solidFill>
                <a:srgbClr val="AEABAB"/>
              </a:solidFill>
            </c:spPr>
            <c:extLst>
              <c:ext xmlns:c16="http://schemas.microsoft.com/office/drawing/2014/chart" uri="{C3380CC4-5D6E-409C-BE32-E72D297353CC}">
                <c16:uniqueId val="{00000377-7775-4A9C-B2E5-37C768AAA5A6}"/>
              </c:ext>
            </c:extLst>
          </c:dPt>
          <c:dPt>
            <c:idx val="443"/>
            <c:invertIfNegative val="1"/>
            <c:bubble3D val="0"/>
            <c:spPr>
              <a:solidFill>
                <a:srgbClr val="AEABAB"/>
              </a:solidFill>
            </c:spPr>
            <c:extLst>
              <c:ext xmlns:c16="http://schemas.microsoft.com/office/drawing/2014/chart" uri="{C3380CC4-5D6E-409C-BE32-E72D297353CC}">
                <c16:uniqueId val="{00000379-7775-4A9C-B2E5-37C768AAA5A6}"/>
              </c:ext>
            </c:extLst>
          </c:dPt>
          <c:dPt>
            <c:idx val="444"/>
            <c:invertIfNegative val="1"/>
            <c:bubble3D val="0"/>
            <c:spPr>
              <a:solidFill>
                <a:srgbClr val="AEABAB"/>
              </a:solidFill>
            </c:spPr>
            <c:extLst>
              <c:ext xmlns:c16="http://schemas.microsoft.com/office/drawing/2014/chart" uri="{C3380CC4-5D6E-409C-BE32-E72D297353CC}">
                <c16:uniqueId val="{0000037B-7775-4A9C-B2E5-37C768AAA5A6}"/>
              </c:ext>
            </c:extLst>
          </c:dPt>
          <c:dPt>
            <c:idx val="445"/>
            <c:invertIfNegative val="1"/>
            <c:bubble3D val="0"/>
            <c:spPr>
              <a:solidFill>
                <a:srgbClr val="AEABAB"/>
              </a:solidFill>
            </c:spPr>
            <c:extLst>
              <c:ext xmlns:c16="http://schemas.microsoft.com/office/drawing/2014/chart" uri="{C3380CC4-5D6E-409C-BE32-E72D297353CC}">
                <c16:uniqueId val="{0000037D-7775-4A9C-B2E5-37C768AAA5A6}"/>
              </c:ext>
            </c:extLst>
          </c:dPt>
          <c:dPt>
            <c:idx val="446"/>
            <c:invertIfNegative val="1"/>
            <c:bubble3D val="0"/>
            <c:spPr>
              <a:solidFill>
                <a:srgbClr val="AEABAB"/>
              </a:solidFill>
            </c:spPr>
            <c:extLst>
              <c:ext xmlns:c16="http://schemas.microsoft.com/office/drawing/2014/chart" uri="{C3380CC4-5D6E-409C-BE32-E72D297353CC}">
                <c16:uniqueId val="{0000037F-7775-4A9C-B2E5-37C768AAA5A6}"/>
              </c:ext>
            </c:extLst>
          </c:dPt>
          <c:dPt>
            <c:idx val="447"/>
            <c:invertIfNegative val="1"/>
            <c:bubble3D val="0"/>
            <c:spPr>
              <a:solidFill>
                <a:srgbClr val="AEABAB"/>
              </a:solidFill>
            </c:spPr>
            <c:extLst>
              <c:ext xmlns:c16="http://schemas.microsoft.com/office/drawing/2014/chart" uri="{C3380CC4-5D6E-409C-BE32-E72D297353CC}">
                <c16:uniqueId val="{00000381-7775-4A9C-B2E5-37C768AAA5A6}"/>
              </c:ext>
            </c:extLst>
          </c:dPt>
          <c:dPt>
            <c:idx val="448"/>
            <c:invertIfNegative val="1"/>
            <c:bubble3D val="0"/>
            <c:spPr>
              <a:solidFill>
                <a:srgbClr val="AEABAB"/>
              </a:solidFill>
            </c:spPr>
            <c:extLst>
              <c:ext xmlns:c16="http://schemas.microsoft.com/office/drawing/2014/chart" uri="{C3380CC4-5D6E-409C-BE32-E72D297353CC}">
                <c16:uniqueId val="{00000383-7775-4A9C-B2E5-37C768AAA5A6}"/>
              </c:ext>
            </c:extLst>
          </c:dPt>
          <c:dPt>
            <c:idx val="449"/>
            <c:invertIfNegative val="1"/>
            <c:bubble3D val="0"/>
            <c:spPr>
              <a:solidFill>
                <a:srgbClr val="AEABAB"/>
              </a:solidFill>
            </c:spPr>
            <c:extLst>
              <c:ext xmlns:c16="http://schemas.microsoft.com/office/drawing/2014/chart" uri="{C3380CC4-5D6E-409C-BE32-E72D297353CC}">
                <c16:uniqueId val="{00000385-7775-4A9C-B2E5-37C768AAA5A6}"/>
              </c:ext>
            </c:extLst>
          </c:dPt>
          <c:dPt>
            <c:idx val="450"/>
            <c:invertIfNegative val="1"/>
            <c:bubble3D val="0"/>
            <c:spPr>
              <a:solidFill>
                <a:srgbClr val="AEABAB"/>
              </a:solidFill>
            </c:spPr>
            <c:extLst>
              <c:ext xmlns:c16="http://schemas.microsoft.com/office/drawing/2014/chart" uri="{C3380CC4-5D6E-409C-BE32-E72D297353CC}">
                <c16:uniqueId val="{00000387-7775-4A9C-B2E5-37C768AAA5A6}"/>
              </c:ext>
            </c:extLst>
          </c:dPt>
          <c:dPt>
            <c:idx val="451"/>
            <c:invertIfNegative val="1"/>
            <c:bubble3D val="0"/>
            <c:spPr>
              <a:solidFill>
                <a:srgbClr val="AEABAB"/>
              </a:solidFill>
            </c:spPr>
            <c:extLst>
              <c:ext xmlns:c16="http://schemas.microsoft.com/office/drawing/2014/chart" uri="{C3380CC4-5D6E-409C-BE32-E72D297353CC}">
                <c16:uniqueId val="{00000389-7775-4A9C-B2E5-37C768AAA5A6}"/>
              </c:ext>
            </c:extLst>
          </c:dPt>
          <c:dPt>
            <c:idx val="452"/>
            <c:invertIfNegative val="1"/>
            <c:bubble3D val="0"/>
            <c:spPr>
              <a:solidFill>
                <a:srgbClr val="AEABAB"/>
              </a:solidFill>
            </c:spPr>
            <c:extLst>
              <c:ext xmlns:c16="http://schemas.microsoft.com/office/drawing/2014/chart" uri="{C3380CC4-5D6E-409C-BE32-E72D297353CC}">
                <c16:uniqueId val="{0000038B-7775-4A9C-B2E5-37C768AAA5A6}"/>
              </c:ext>
            </c:extLst>
          </c:dPt>
          <c:dPt>
            <c:idx val="453"/>
            <c:invertIfNegative val="1"/>
            <c:bubble3D val="0"/>
            <c:spPr>
              <a:solidFill>
                <a:srgbClr val="AEABAB"/>
              </a:solidFill>
            </c:spPr>
            <c:extLst>
              <c:ext xmlns:c16="http://schemas.microsoft.com/office/drawing/2014/chart" uri="{C3380CC4-5D6E-409C-BE32-E72D297353CC}">
                <c16:uniqueId val="{0000038D-7775-4A9C-B2E5-37C768AAA5A6}"/>
              </c:ext>
            </c:extLst>
          </c:dPt>
          <c:dPt>
            <c:idx val="454"/>
            <c:invertIfNegative val="1"/>
            <c:bubble3D val="0"/>
            <c:spPr>
              <a:solidFill>
                <a:srgbClr val="AEABAB"/>
              </a:solidFill>
            </c:spPr>
            <c:extLst>
              <c:ext xmlns:c16="http://schemas.microsoft.com/office/drawing/2014/chart" uri="{C3380CC4-5D6E-409C-BE32-E72D297353CC}">
                <c16:uniqueId val="{0000038F-7775-4A9C-B2E5-37C768AAA5A6}"/>
              </c:ext>
            </c:extLst>
          </c:dPt>
          <c:dPt>
            <c:idx val="455"/>
            <c:invertIfNegative val="1"/>
            <c:bubble3D val="0"/>
            <c:spPr>
              <a:solidFill>
                <a:srgbClr val="AEABAB"/>
              </a:solidFill>
            </c:spPr>
            <c:extLst>
              <c:ext xmlns:c16="http://schemas.microsoft.com/office/drawing/2014/chart" uri="{C3380CC4-5D6E-409C-BE32-E72D297353CC}">
                <c16:uniqueId val="{00000391-7775-4A9C-B2E5-37C768AAA5A6}"/>
              </c:ext>
            </c:extLst>
          </c:dPt>
          <c:dPt>
            <c:idx val="456"/>
            <c:invertIfNegative val="1"/>
            <c:bubble3D val="0"/>
            <c:spPr>
              <a:solidFill>
                <a:srgbClr val="AEABAB"/>
              </a:solidFill>
            </c:spPr>
            <c:extLst>
              <c:ext xmlns:c16="http://schemas.microsoft.com/office/drawing/2014/chart" uri="{C3380CC4-5D6E-409C-BE32-E72D297353CC}">
                <c16:uniqueId val="{00000393-7775-4A9C-B2E5-37C768AAA5A6}"/>
              </c:ext>
            </c:extLst>
          </c:dPt>
          <c:dPt>
            <c:idx val="457"/>
            <c:invertIfNegative val="1"/>
            <c:bubble3D val="0"/>
            <c:spPr>
              <a:solidFill>
                <a:srgbClr val="AEABAB"/>
              </a:solidFill>
            </c:spPr>
            <c:extLst>
              <c:ext xmlns:c16="http://schemas.microsoft.com/office/drawing/2014/chart" uri="{C3380CC4-5D6E-409C-BE32-E72D297353CC}">
                <c16:uniqueId val="{00000395-7775-4A9C-B2E5-37C768AAA5A6}"/>
              </c:ext>
            </c:extLst>
          </c:dPt>
          <c:dPt>
            <c:idx val="458"/>
            <c:invertIfNegative val="1"/>
            <c:bubble3D val="0"/>
            <c:spPr>
              <a:solidFill>
                <a:srgbClr val="AEABAB"/>
              </a:solidFill>
            </c:spPr>
            <c:extLst>
              <c:ext xmlns:c16="http://schemas.microsoft.com/office/drawing/2014/chart" uri="{C3380CC4-5D6E-409C-BE32-E72D297353CC}">
                <c16:uniqueId val="{00000397-7775-4A9C-B2E5-37C768AAA5A6}"/>
              </c:ext>
            </c:extLst>
          </c:dPt>
          <c:dPt>
            <c:idx val="459"/>
            <c:invertIfNegative val="1"/>
            <c:bubble3D val="0"/>
            <c:spPr>
              <a:solidFill>
                <a:srgbClr val="AEABAB"/>
              </a:solidFill>
            </c:spPr>
            <c:extLst>
              <c:ext xmlns:c16="http://schemas.microsoft.com/office/drawing/2014/chart" uri="{C3380CC4-5D6E-409C-BE32-E72D297353CC}">
                <c16:uniqueId val="{00000399-7775-4A9C-B2E5-37C768AAA5A6}"/>
              </c:ext>
            </c:extLst>
          </c:dPt>
          <c:dPt>
            <c:idx val="460"/>
            <c:invertIfNegative val="1"/>
            <c:bubble3D val="0"/>
            <c:spPr>
              <a:solidFill>
                <a:srgbClr val="AEABAB"/>
              </a:solidFill>
            </c:spPr>
            <c:extLst>
              <c:ext xmlns:c16="http://schemas.microsoft.com/office/drawing/2014/chart" uri="{C3380CC4-5D6E-409C-BE32-E72D297353CC}">
                <c16:uniqueId val="{0000039B-7775-4A9C-B2E5-37C768AAA5A6}"/>
              </c:ext>
            </c:extLst>
          </c:dPt>
          <c:dPt>
            <c:idx val="461"/>
            <c:invertIfNegative val="1"/>
            <c:bubble3D val="0"/>
            <c:spPr>
              <a:solidFill>
                <a:srgbClr val="AEABAB"/>
              </a:solidFill>
            </c:spPr>
            <c:extLst>
              <c:ext xmlns:c16="http://schemas.microsoft.com/office/drawing/2014/chart" uri="{C3380CC4-5D6E-409C-BE32-E72D297353CC}">
                <c16:uniqueId val="{0000039D-7775-4A9C-B2E5-37C768AAA5A6}"/>
              </c:ext>
            </c:extLst>
          </c:dPt>
          <c:dPt>
            <c:idx val="462"/>
            <c:invertIfNegative val="1"/>
            <c:bubble3D val="0"/>
            <c:spPr>
              <a:solidFill>
                <a:srgbClr val="AEABAB"/>
              </a:solidFill>
            </c:spPr>
            <c:extLst>
              <c:ext xmlns:c16="http://schemas.microsoft.com/office/drawing/2014/chart" uri="{C3380CC4-5D6E-409C-BE32-E72D297353CC}">
                <c16:uniqueId val="{0000039F-7775-4A9C-B2E5-37C768AAA5A6}"/>
              </c:ext>
            </c:extLst>
          </c:dPt>
          <c:dPt>
            <c:idx val="463"/>
            <c:invertIfNegative val="1"/>
            <c:bubble3D val="0"/>
            <c:spPr>
              <a:solidFill>
                <a:srgbClr val="AEABAB"/>
              </a:solidFill>
            </c:spPr>
            <c:extLst>
              <c:ext xmlns:c16="http://schemas.microsoft.com/office/drawing/2014/chart" uri="{C3380CC4-5D6E-409C-BE32-E72D297353CC}">
                <c16:uniqueId val="{000003A1-7775-4A9C-B2E5-37C768AAA5A6}"/>
              </c:ext>
            </c:extLst>
          </c:dPt>
          <c:dPt>
            <c:idx val="464"/>
            <c:invertIfNegative val="1"/>
            <c:bubble3D val="0"/>
            <c:spPr>
              <a:solidFill>
                <a:srgbClr val="AEABAB"/>
              </a:solidFill>
            </c:spPr>
            <c:extLst>
              <c:ext xmlns:c16="http://schemas.microsoft.com/office/drawing/2014/chart" uri="{C3380CC4-5D6E-409C-BE32-E72D297353CC}">
                <c16:uniqueId val="{000003A3-7775-4A9C-B2E5-37C768AAA5A6}"/>
              </c:ext>
            </c:extLst>
          </c:dPt>
          <c:dPt>
            <c:idx val="465"/>
            <c:invertIfNegative val="1"/>
            <c:bubble3D val="0"/>
            <c:spPr>
              <a:solidFill>
                <a:srgbClr val="AEABAB"/>
              </a:solidFill>
            </c:spPr>
            <c:extLst>
              <c:ext xmlns:c16="http://schemas.microsoft.com/office/drawing/2014/chart" uri="{C3380CC4-5D6E-409C-BE32-E72D297353CC}">
                <c16:uniqueId val="{000003A5-7775-4A9C-B2E5-37C768AAA5A6}"/>
              </c:ext>
            </c:extLst>
          </c:dPt>
          <c:dPt>
            <c:idx val="466"/>
            <c:invertIfNegative val="1"/>
            <c:bubble3D val="0"/>
            <c:spPr>
              <a:solidFill>
                <a:srgbClr val="AEABAB"/>
              </a:solidFill>
            </c:spPr>
            <c:extLst>
              <c:ext xmlns:c16="http://schemas.microsoft.com/office/drawing/2014/chart" uri="{C3380CC4-5D6E-409C-BE32-E72D297353CC}">
                <c16:uniqueId val="{000003A7-7775-4A9C-B2E5-37C768AAA5A6}"/>
              </c:ext>
            </c:extLst>
          </c:dPt>
          <c:dPt>
            <c:idx val="467"/>
            <c:invertIfNegative val="1"/>
            <c:bubble3D val="0"/>
            <c:spPr>
              <a:solidFill>
                <a:srgbClr val="AEABAB"/>
              </a:solidFill>
            </c:spPr>
            <c:extLst>
              <c:ext xmlns:c16="http://schemas.microsoft.com/office/drawing/2014/chart" uri="{C3380CC4-5D6E-409C-BE32-E72D297353CC}">
                <c16:uniqueId val="{000003A9-7775-4A9C-B2E5-37C768AAA5A6}"/>
              </c:ext>
            </c:extLst>
          </c:dPt>
          <c:dPt>
            <c:idx val="468"/>
            <c:invertIfNegative val="1"/>
            <c:bubble3D val="0"/>
            <c:spPr>
              <a:solidFill>
                <a:srgbClr val="AEABAB"/>
              </a:solidFill>
            </c:spPr>
            <c:extLst>
              <c:ext xmlns:c16="http://schemas.microsoft.com/office/drawing/2014/chart" uri="{C3380CC4-5D6E-409C-BE32-E72D297353CC}">
                <c16:uniqueId val="{000003AB-7775-4A9C-B2E5-37C768AAA5A6}"/>
              </c:ext>
            </c:extLst>
          </c:dPt>
          <c:dPt>
            <c:idx val="469"/>
            <c:invertIfNegative val="1"/>
            <c:bubble3D val="0"/>
            <c:spPr>
              <a:solidFill>
                <a:srgbClr val="AEABAB"/>
              </a:solidFill>
            </c:spPr>
            <c:extLst>
              <c:ext xmlns:c16="http://schemas.microsoft.com/office/drawing/2014/chart" uri="{C3380CC4-5D6E-409C-BE32-E72D297353CC}">
                <c16:uniqueId val="{000003AD-7775-4A9C-B2E5-37C768AAA5A6}"/>
              </c:ext>
            </c:extLst>
          </c:dPt>
          <c:dPt>
            <c:idx val="470"/>
            <c:invertIfNegative val="1"/>
            <c:bubble3D val="0"/>
            <c:spPr>
              <a:solidFill>
                <a:srgbClr val="AEABAB"/>
              </a:solidFill>
            </c:spPr>
            <c:extLst>
              <c:ext xmlns:c16="http://schemas.microsoft.com/office/drawing/2014/chart" uri="{C3380CC4-5D6E-409C-BE32-E72D297353CC}">
                <c16:uniqueId val="{000003AF-7775-4A9C-B2E5-37C768AAA5A6}"/>
              </c:ext>
            </c:extLst>
          </c:dPt>
          <c:dPt>
            <c:idx val="471"/>
            <c:invertIfNegative val="1"/>
            <c:bubble3D val="0"/>
            <c:spPr>
              <a:solidFill>
                <a:srgbClr val="AEABAB"/>
              </a:solidFill>
            </c:spPr>
            <c:extLst>
              <c:ext xmlns:c16="http://schemas.microsoft.com/office/drawing/2014/chart" uri="{C3380CC4-5D6E-409C-BE32-E72D297353CC}">
                <c16:uniqueId val="{000003B1-7775-4A9C-B2E5-37C768AAA5A6}"/>
              </c:ext>
            </c:extLst>
          </c:dPt>
          <c:dPt>
            <c:idx val="472"/>
            <c:invertIfNegative val="1"/>
            <c:bubble3D val="0"/>
            <c:spPr>
              <a:solidFill>
                <a:srgbClr val="AEABAB"/>
              </a:solidFill>
            </c:spPr>
            <c:extLst>
              <c:ext xmlns:c16="http://schemas.microsoft.com/office/drawing/2014/chart" uri="{C3380CC4-5D6E-409C-BE32-E72D297353CC}">
                <c16:uniqueId val="{000003B3-7775-4A9C-B2E5-37C768AAA5A6}"/>
              </c:ext>
            </c:extLst>
          </c:dPt>
          <c:dPt>
            <c:idx val="473"/>
            <c:invertIfNegative val="1"/>
            <c:bubble3D val="0"/>
            <c:spPr>
              <a:solidFill>
                <a:srgbClr val="AEABAB"/>
              </a:solidFill>
            </c:spPr>
            <c:extLst>
              <c:ext xmlns:c16="http://schemas.microsoft.com/office/drawing/2014/chart" uri="{C3380CC4-5D6E-409C-BE32-E72D297353CC}">
                <c16:uniqueId val="{000003B5-7775-4A9C-B2E5-37C768AAA5A6}"/>
              </c:ext>
            </c:extLst>
          </c:dPt>
          <c:dPt>
            <c:idx val="474"/>
            <c:invertIfNegative val="1"/>
            <c:bubble3D val="0"/>
            <c:spPr>
              <a:solidFill>
                <a:srgbClr val="AEABAB"/>
              </a:solidFill>
            </c:spPr>
            <c:extLst>
              <c:ext xmlns:c16="http://schemas.microsoft.com/office/drawing/2014/chart" uri="{C3380CC4-5D6E-409C-BE32-E72D297353CC}">
                <c16:uniqueId val="{000003B7-7775-4A9C-B2E5-37C768AAA5A6}"/>
              </c:ext>
            </c:extLst>
          </c:dPt>
          <c:dPt>
            <c:idx val="475"/>
            <c:invertIfNegative val="1"/>
            <c:bubble3D val="0"/>
            <c:spPr>
              <a:solidFill>
                <a:srgbClr val="AEABAB"/>
              </a:solidFill>
            </c:spPr>
            <c:extLst>
              <c:ext xmlns:c16="http://schemas.microsoft.com/office/drawing/2014/chart" uri="{C3380CC4-5D6E-409C-BE32-E72D297353CC}">
                <c16:uniqueId val="{000003B9-7775-4A9C-B2E5-37C768AAA5A6}"/>
              </c:ext>
            </c:extLst>
          </c:dPt>
          <c:dPt>
            <c:idx val="476"/>
            <c:invertIfNegative val="1"/>
            <c:bubble3D val="0"/>
            <c:spPr>
              <a:solidFill>
                <a:srgbClr val="AEABAB"/>
              </a:solidFill>
            </c:spPr>
            <c:extLst>
              <c:ext xmlns:c16="http://schemas.microsoft.com/office/drawing/2014/chart" uri="{C3380CC4-5D6E-409C-BE32-E72D297353CC}">
                <c16:uniqueId val="{000003BB-7775-4A9C-B2E5-37C768AAA5A6}"/>
              </c:ext>
            </c:extLst>
          </c:dPt>
          <c:dPt>
            <c:idx val="477"/>
            <c:invertIfNegative val="1"/>
            <c:bubble3D val="0"/>
            <c:spPr>
              <a:solidFill>
                <a:srgbClr val="AEABAB"/>
              </a:solidFill>
            </c:spPr>
            <c:extLst>
              <c:ext xmlns:c16="http://schemas.microsoft.com/office/drawing/2014/chart" uri="{C3380CC4-5D6E-409C-BE32-E72D297353CC}">
                <c16:uniqueId val="{000003BD-7775-4A9C-B2E5-37C768AAA5A6}"/>
              </c:ext>
            </c:extLst>
          </c:dPt>
          <c:dPt>
            <c:idx val="478"/>
            <c:invertIfNegative val="1"/>
            <c:bubble3D val="0"/>
            <c:spPr>
              <a:solidFill>
                <a:srgbClr val="AEABAB"/>
              </a:solidFill>
            </c:spPr>
            <c:extLst>
              <c:ext xmlns:c16="http://schemas.microsoft.com/office/drawing/2014/chart" uri="{C3380CC4-5D6E-409C-BE32-E72D297353CC}">
                <c16:uniqueId val="{000003BF-7775-4A9C-B2E5-37C768AAA5A6}"/>
              </c:ext>
            </c:extLst>
          </c:dPt>
          <c:dPt>
            <c:idx val="479"/>
            <c:invertIfNegative val="1"/>
            <c:bubble3D val="0"/>
            <c:spPr>
              <a:solidFill>
                <a:srgbClr val="AEABAB"/>
              </a:solidFill>
            </c:spPr>
            <c:extLst>
              <c:ext xmlns:c16="http://schemas.microsoft.com/office/drawing/2014/chart" uri="{C3380CC4-5D6E-409C-BE32-E72D297353CC}">
                <c16:uniqueId val="{000003C1-7775-4A9C-B2E5-37C768AAA5A6}"/>
              </c:ext>
            </c:extLst>
          </c:dPt>
          <c:dPt>
            <c:idx val="480"/>
            <c:invertIfNegative val="1"/>
            <c:bubble3D val="0"/>
            <c:spPr>
              <a:solidFill>
                <a:srgbClr val="AEABAB"/>
              </a:solidFill>
            </c:spPr>
            <c:extLst>
              <c:ext xmlns:c16="http://schemas.microsoft.com/office/drawing/2014/chart" uri="{C3380CC4-5D6E-409C-BE32-E72D297353CC}">
                <c16:uniqueId val="{000003C3-7775-4A9C-B2E5-37C768AAA5A6}"/>
              </c:ext>
            </c:extLst>
          </c:dPt>
          <c:dPt>
            <c:idx val="481"/>
            <c:invertIfNegative val="1"/>
            <c:bubble3D val="0"/>
            <c:spPr>
              <a:solidFill>
                <a:srgbClr val="AEABAB"/>
              </a:solidFill>
            </c:spPr>
            <c:extLst>
              <c:ext xmlns:c16="http://schemas.microsoft.com/office/drawing/2014/chart" uri="{C3380CC4-5D6E-409C-BE32-E72D297353CC}">
                <c16:uniqueId val="{000003C5-7775-4A9C-B2E5-37C768AAA5A6}"/>
              </c:ext>
            </c:extLst>
          </c:dPt>
          <c:dPt>
            <c:idx val="482"/>
            <c:invertIfNegative val="1"/>
            <c:bubble3D val="0"/>
            <c:spPr>
              <a:solidFill>
                <a:srgbClr val="AEABAB"/>
              </a:solidFill>
            </c:spPr>
            <c:extLst>
              <c:ext xmlns:c16="http://schemas.microsoft.com/office/drawing/2014/chart" uri="{C3380CC4-5D6E-409C-BE32-E72D297353CC}">
                <c16:uniqueId val="{000003C7-7775-4A9C-B2E5-37C768AAA5A6}"/>
              </c:ext>
            </c:extLst>
          </c:dPt>
          <c:dPt>
            <c:idx val="483"/>
            <c:invertIfNegative val="1"/>
            <c:bubble3D val="0"/>
            <c:spPr>
              <a:solidFill>
                <a:srgbClr val="AEABAB"/>
              </a:solidFill>
            </c:spPr>
            <c:extLst>
              <c:ext xmlns:c16="http://schemas.microsoft.com/office/drawing/2014/chart" uri="{C3380CC4-5D6E-409C-BE32-E72D297353CC}">
                <c16:uniqueId val="{000003C9-7775-4A9C-B2E5-37C768AAA5A6}"/>
              </c:ext>
            </c:extLst>
          </c:dPt>
          <c:dPt>
            <c:idx val="484"/>
            <c:invertIfNegative val="1"/>
            <c:bubble3D val="0"/>
            <c:spPr>
              <a:solidFill>
                <a:srgbClr val="AEABAB"/>
              </a:solidFill>
            </c:spPr>
            <c:extLst>
              <c:ext xmlns:c16="http://schemas.microsoft.com/office/drawing/2014/chart" uri="{C3380CC4-5D6E-409C-BE32-E72D297353CC}">
                <c16:uniqueId val="{000003CB-7775-4A9C-B2E5-37C768AAA5A6}"/>
              </c:ext>
            </c:extLst>
          </c:dPt>
          <c:dPt>
            <c:idx val="485"/>
            <c:invertIfNegative val="1"/>
            <c:bubble3D val="0"/>
            <c:spPr>
              <a:solidFill>
                <a:srgbClr val="AEABAB"/>
              </a:solidFill>
            </c:spPr>
            <c:extLst>
              <c:ext xmlns:c16="http://schemas.microsoft.com/office/drawing/2014/chart" uri="{C3380CC4-5D6E-409C-BE32-E72D297353CC}">
                <c16:uniqueId val="{000003CD-7775-4A9C-B2E5-37C768AAA5A6}"/>
              </c:ext>
            </c:extLst>
          </c:dPt>
          <c:dPt>
            <c:idx val="486"/>
            <c:invertIfNegative val="1"/>
            <c:bubble3D val="0"/>
            <c:spPr>
              <a:solidFill>
                <a:srgbClr val="AEABAB"/>
              </a:solidFill>
            </c:spPr>
            <c:extLst>
              <c:ext xmlns:c16="http://schemas.microsoft.com/office/drawing/2014/chart" uri="{C3380CC4-5D6E-409C-BE32-E72D297353CC}">
                <c16:uniqueId val="{000003CF-7775-4A9C-B2E5-37C768AAA5A6}"/>
              </c:ext>
            </c:extLst>
          </c:dPt>
          <c:dPt>
            <c:idx val="487"/>
            <c:invertIfNegative val="1"/>
            <c:bubble3D val="0"/>
            <c:spPr>
              <a:solidFill>
                <a:srgbClr val="AEABAB"/>
              </a:solidFill>
            </c:spPr>
            <c:extLst>
              <c:ext xmlns:c16="http://schemas.microsoft.com/office/drawing/2014/chart" uri="{C3380CC4-5D6E-409C-BE32-E72D297353CC}">
                <c16:uniqueId val="{000003D1-7775-4A9C-B2E5-37C768AAA5A6}"/>
              </c:ext>
            </c:extLst>
          </c:dPt>
          <c:dPt>
            <c:idx val="488"/>
            <c:invertIfNegative val="1"/>
            <c:bubble3D val="0"/>
            <c:spPr>
              <a:solidFill>
                <a:srgbClr val="AEABAB"/>
              </a:solidFill>
            </c:spPr>
            <c:extLst>
              <c:ext xmlns:c16="http://schemas.microsoft.com/office/drawing/2014/chart" uri="{C3380CC4-5D6E-409C-BE32-E72D297353CC}">
                <c16:uniqueId val="{000003D3-7775-4A9C-B2E5-37C768AAA5A6}"/>
              </c:ext>
            </c:extLst>
          </c:dPt>
          <c:dPt>
            <c:idx val="489"/>
            <c:invertIfNegative val="1"/>
            <c:bubble3D val="0"/>
            <c:spPr>
              <a:solidFill>
                <a:srgbClr val="AEABAB"/>
              </a:solidFill>
            </c:spPr>
            <c:extLst>
              <c:ext xmlns:c16="http://schemas.microsoft.com/office/drawing/2014/chart" uri="{C3380CC4-5D6E-409C-BE32-E72D297353CC}">
                <c16:uniqueId val="{000003D5-7775-4A9C-B2E5-37C768AAA5A6}"/>
              </c:ext>
            </c:extLst>
          </c:dPt>
          <c:dPt>
            <c:idx val="490"/>
            <c:invertIfNegative val="1"/>
            <c:bubble3D val="0"/>
            <c:spPr>
              <a:solidFill>
                <a:srgbClr val="AEABAB"/>
              </a:solidFill>
            </c:spPr>
            <c:extLst>
              <c:ext xmlns:c16="http://schemas.microsoft.com/office/drawing/2014/chart" uri="{C3380CC4-5D6E-409C-BE32-E72D297353CC}">
                <c16:uniqueId val="{000003D7-7775-4A9C-B2E5-37C768AAA5A6}"/>
              </c:ext>
            </c:extLst>
          </c:dPt>
          <c:dPt>
            <c:idx val="491"/>
            <c:invertIfNegative val="1"/>
            <c:bubble3D val="0"/>
            <c:spPr>
              <a:solidFill>
                <a:srgbClr val="AEABAB"/>
              </a:solidFill>
            </c:spPr>
            <c:extLst>
              <c:ext xmlns:c16="http://schemas.microsoft.com/office/drawing/2014/chart" uri="{C3380CC4-5D6E-409C-BE32-E72D297353CC}">
                <c16:uniqueId val="{000003D9-7775-4A9C-B2E5-37C768AAA5A6}"/>
              </c:ext>
            </c:extLst>
          </c:dPt>
          <c:dPt>
            <c:idx val="492"/>
            <c:invertIfNegative val="1"/>
            <c:bubble3D val="0"/>
            <c:spPr>
              <a:solidFill>
                <a:srgbClr val="AEABAB"/>
              </a:solidFill>
            </c:spPr>
            <c:extLst>
              <c:ext xmlns:c16="http://schemas.microsoft.com/office/drawing/2014/chart" uri="{C3380CC4-5D6E-409C-BE32-E72D297353CC}">
                <c16:uniqueId val="{000003DB-7775-4A9C-B2E5-37C768AAA5A6}"/>
              </c:ext>
            </c:extLst>
          </c:dPt>
          <c:dPt>
            <c:idx val="493"/>
            <c:invertIfNegative val="1"/>
            <c:bubble3D val="0"/>
            <c:spPr>
              <a:solidFill>
                <a:srgbClr val="AEABAB"/>
              </a:solidFill>
            </c:spPr>
            <c:extLst>
              <c:ext xmlns:c16="http://schemas.microsoft.com/office/drawing/2014/chart" uri="{C3380CC4-5D6E-409C-BE32-E72D297353CC}">
                <c16:uniqueId val="{000003DD-7775-4A9C-B2E5-37C768AAA5A6}"/>
              </c:ext>
            </c:extLst>
          </c:dPt>
          <c:dPt>
            <c:idx val="494"/>
            <c:invertIfNegative val="1"/>
            <c:bubble3D val="0"/>
            <c:spPr>
              <a:solidFill>
                <a:srgbClr val="AEABAB"/>
              </a:solidFill>
            </c:spPr>
            <c:extLst>
              <c:ext xmlns:c16="http://schemas.microsoft.com/office/drawing/2014/chart" uri="{C3380CC4-5D6E-409C-BE32-E72D297353CC}">
                <c16:uniqueId val="{000003DF-7775-4A9C-B2E5-37C768AAA5A6}"/>
              </c:ext>
            </c:extLst>
          </c:dPt>
          <c:dPt>
            <c:idx val="495"/>
            <c:invertIfNegative val="1"/>
            <c:bubble3D val="0"/>
            <c:spPr>
              <a:solidFill>
                <a:srgbClr val="AEABAB"/>
              </a:solidFill>
            </c:spPr>
            <c:extLst>
              <c:ext xmlns:c16="http://schemas.microsoft.com/office/drawing/2014/chart" uri="{C3380CC4-5D6E-409C-BE32-E72D297353CC}">
                <c16:uniqueId val="{000003E1-7775-4A9C-B2E5-37C768AAA5A6}"/>
              </c:ext>
            </c:extLst>
          </c:dPt>
          <c:dPt>
            <c:idx val="496"/>
            <c:invertIfNegative val="1"/>
            <c:bubble3D val="0"/>
            <c:spPr>
              <a:solidFill>
                <a:srgbClr val="AEABAB"/>
              </a:solidFill>
            </c:spPr>
            <c:extLst>
              <c:ext xmlns:c16="http://schemas.microsoft.com/office/drawing/2014/chart" uri="{C3380CC4-5D6E-409C-BE32-E72D297353CC}">
                <c16:uniqueId val="{000003E3-7775-4A9C-B2E5-37C768AAA5A6}"/>
              </c:ext>
            </c:extLst>
          </c:dPt>
          <c:dPt>
            <c:idx val="497"/>
            <c:invertIfNegative val="1"/>
            <c:bubble3D val="0"/>
            <c:spPr>
              <a:solidFill>
                <a:srgbClr val="AEABAB"/>
              </a:solidFill>
            </c:spPr>
            <c:extLst>
              <c:ext xmlns:c16="http://schemas.microsoft.com/office/drawing/2014/chart" uri="{C3380CC4-5D6E-409C-BE32-E72D297353CC}">
                <c16:uniqueId val="{000003E5-7775-4A9C-B2E5-37C768AAA5A6}"/>
              </c:ext>
            </c:extLst>
          </c:dPt>
          <c:dPt>
            <c:idx val="498"/>
            <c:invertIfNegative val="1"/>
            <c:bubble3D val="0"/>
            <c:spPr>
              <a:solidFill>
                <a:srgbClr val="AEABAB"/>
              </a:solidFill>
            </c:spPr>
            <c:extLst>
              <c:ext xmlns:c16="http://schemas.microsoft.com/office/drawing/2014/chart" uri="{C3380CC4-5D6E-409C-BE32-E72D297353CC}">
                <c16:uniqueId val="{000003E7-7775-4A9C-B2E5-37C768AAA5A6}"/>
              </c:ext>
            </c:extLst>
          </c:dPt>
          <c:dPt>
            <c:idx val="499"/>
            <c:invertIfNegative val="1"/>
            <c:bubble3D val="0"/>
            <c:spPr>
              <a:solidFill>
                <a:srgbClr val="AEABAB"/>
              </a:solidFill>
            </c:spPr>
            <c:extLst>
              <c:ext xmlns:c16="http://schemas.microsoft.com/office/drawing/2014/chart" uri="{C3380CC4-5D6E-409C-BE32-E72D297353CC}">
                <c16:uniqueId val="{000003E9-7775-4A9C-B2E5-37C768AAA5A6}"/>
              </c:ext>
            </c:extLst>
          </c:dPt>
          <c:dPt>
            <c:idx val="500"/>
            <c:invertIfNegative val="1"/>
            <c:bubble3D val="0"/>
            <c:spPr>
              <a:solidFill>
                <a:srgbClr val="AEABAB"/>
              </a:solidFill>
            </c:spPr>
            <c:extLst>
              <c:ext xmlns:c16="http://schemas.microsoft.com/office/drawing/2014/chart" uri="{C3380CC4-5D6E-409C-BE32-E72D297353CC}">
                <c16:uniqueId val="{000003EB-7775-4A9C-B2E5-37C768AAA5A6}"/>
              </c:ext>
            </c:extLst>
          </c:dPt>
          <c:dPt>
            <c:idx val="501"/>
            <c:invertIfNegative val="1"/>
            <c:bubble3D val="0"/>
            <c:spPr>
              <a:solidFill>
                <a:srgbClr val="AEABAB"/>
              </a:solidFill>
            </c:spPr>
            <c:extLst>
              <c:ext xmlns:c16="http://schemas.microsoft.com/office/drawing/2014/chart" uri="{C3380CC4-5D6E-409C-BE32-E72D297353CC}">
                <c16:uniqueId val="{000003ED-7775-4A9C-B2E5-37C768AAA5A6}"/>
              </c:ext>
            </c:extLst>
          </c:dPt>
          <c:dPt>
            <c:idx val="502"/>
            <c:invertIfNegative val="1"/>
            <c:bubble3D val="0"/>
            <c:spPr>
              <a:solidFill>
                <a:srgbClr val="AEABAB"/>
              </a:solidFill>
            </c:spPr>
            <c:extLst>
              <c:ext xmlns:c16="http://schemas.microsoft.com/office/drawing/2014/chart" uri="{C3380CC4-5D6E-409C-BE32-E72D297353CC}">
                <c16:uniqueId val="{000003EF-7775-4A9C-B2E5-37C768AAA5A6}"/>
              </c:ext>
            </c:extLst>
          </c:dPt>
          <c:dPt>
            <c:idx val="503"/>
            <c:invertIfNegative val="1"/>
            <c:bubble3D val="0"/>
            <c:spPr>
              <a:solidFill>
                <a:srgbClr val="AEABAB"/>
              </a:solidFill>
            </c:spPr>
            <c:extLst>
              <c:ext xmlns:c16="http://schemas.microsoft.com/office/drawing/2014/chart" uri="{C3380CC4-5D6E-409C-BE32-E72D297353CC}">
                <c16:uniqueId val="{000003F1-7775-4A9C-B2E5-37C768AAA5A6}"/>
              </c:ext>
            </c:extLst>
          </c:dPt>
          <c:dPt>
            <c:idx val="504"/>
            <c:invertIfNegative val="1"/>
            <c:bubble3D val="0"/>
            <c:spPr>
              <a:solidFill>
                <a:srgbClr val="AEABAB"/>
              </a:solidFill>
            </c:spPr>
            <c:extLst>
              <c:ext xmlns:c16="http://schemas.microsoft.com/office/drawing/2014/chart" uri="{C3380CC4-5D6E-409C-BE32-E72D297353CC}">
                <c16:uniqueId val="{000003F3-7775-4A9C-B2E5-37C768AAA5A6}"/>
              </c:ext>
            </c:extLst>
          </c:dPt>
          <c:dPt>
            <c:idx val="505"/>
            <c:invertIfNegative val="1"/>
            <c:bubble3D val="0"/>
            <c:spPr>
              <a:solidFill>
                <a:srgbClr val="AEABAB"/>
              </a:solidFill>
            </c:spPr>
            <c:extLst>
              <c:ext xmlns:c16="http://schemas.microsoft.com/office/drawing/2014/chart" uri="{C3380CC4-5D6E-409C-BE32-E72D297353CC}">
                <c16:uniqueId val="{000003F5-7775-4A9C-B2E5-37C768AAA5A6}"/>
              </c:ext>
            </c:extLst>
          </c:dPt>
          <c:dPt>
            <c:idx val="506"/>
            <c:invertIfNegative val="1"/>
            <c:bubble3D val="0"/>
            <c:spPr>
              <a:solidFill>
                <a:srgbClr val="AEABAB"/>
              </a:solidFill>
            </c:spPr>
            <c:extLst>
              <c:ext xmlns:c16="http://schemas.microsoft.com/office/drawing/2014/chart" uri="{C3380CC4-5D6E-409C-BE32-E72D297353CC}">
                <c16:uniqueId val="{000003F7-7775-4A9C-B2E5-37C768AAA5A6}"/>
              </c:ext>
            </c:extLst>
          </c:dPt>
          <c:dPt>
            <c:idx val="507"/>
            <c:invertIfNegative val="1"/>
            <c:bubble3D val="0"/>
            <c:spPr>
              <a:solidFill>
                <a:srgbClr val="AEABAB"/>
              </a:solidFill>
            </c:spPr>
            <c:extLst>
              <c:ext xmlns:c16="http://schemas.microsoft.com/office/drawing/2014/chart" uri="{C3380CC4-5D6E-409C-BE32-E72D297353CC}">
                <c16:uniqueId val="{000003F9-7775-4A9C-B2E5-37C768AAA5A6}"/>
              </c:ext>
            </c:extLst>
          </c:dPt>
          <c:dPt>
            <c:idx val="508"/>
            <c:invertIfNegative val="1"/>
            <c:bubble3D val="0"/>
            <c:spPr>
              <a:solidFill>
                <a:srgbClr val="AEABAB"/>
              </a:solidFill>
            </c:spPr>
            <c:extLst>
              <c:ext xmlns:c16="http://schemas.microsoft.com/office/drawing/2014/chart" uri="{C3380CC4-5D6E-409C-BE32-E72D297353CC}">
                <c16:uniqueId val="{000003FB-7775-4A9C-B2E5-37C768AAA5A6}"/>
              </c:ext>
            </c:extLst>
          </c:dPt>
          <c:dPt>
            <c:idx val="509"/>
            <c:invertIfNegative val="1"/>
            <c:bubble3D val="0"/>
            <c:spPr>
              <a:solidFill>
                <a:srgbClr val="AEABAB"/>
              </a:solidFill>
            </c:spPr>
            <c:extLst>
              <c:ext xmlns:c16="http://schemas.microsoft.com/office/drawing/2014/chart" uri="{C3380CC4-5D6E-409C-BE32-E72D297353CC}">
                <c16:uniqueId val="{000003FD-7775-4A9C-B2E5-37C768AAA5A6}"/>
              </c:ext>
            </c:extLst>
          </c:dPt>
          <c:dPt>
            <c:idx val="510"/>
            <c:invertIfNegative val="1"/>
            <c:bubble3D val="0"/>
            <c:spPr>
              <a:solidFill>
                <a:srgbClr val="AEABAB"/>
              </a:solidFill>
            </c:spPr>
            <c:extLst>
              <c:ext xmlns:c16="http://schemas.microsoft.com/office/drawing/2014/chart" uri="{C3380CC4-5D6E-409C-BE32-E72D297353CC}">
                <c16:uniqueId val="{000003FF-7775-4A9C-B2E5-37C768AAA5A6}"/>
              </c:ext>
            </c:extLst>
          </c:dPt>
          <c:dPt>
            <c:idx val="511"/>
            <c:invertIfNegative val="1"/>
            <c:bubble3D val="0"/>
            <c:spPr>
              <a:solidFill>
                <a:srgbClr val="AEABAB"/>
              </a:solidFill>
            </c:spPr>
            <c:extLst>
              <c:ext xmlns:c16="http://schemas.microsoft.com/office/drawing/2014/chart" uri="{C3380CC4-5D6E-409C-BE32-E72D297353CC}">
                <c16:uniqueId val="{00000401-7775-4A9C-B2E5-37C768AAA5A6}"/>
              </c:ext>
            </c:extLst>
          </c:dPt>
          <c:dPt>
            <c:idx val="512"/>
            <c:invertIfNegative val="1"/>
            <c:bubble3D val="0"/>
            <c:spPr>
              <a:solidFill>
                <a:srgbClr val="AEABAB"/>
              </a:solidFill>
            </c:spPr>
            <c:extLst>
              <c:ext xmlns:c16="http://schemas.microsoft.com/office/drawing/2014/chart" uri="{C3380CC4-5D6E-409C-BE32-E72D297353CC}">
                <c16:uniqueId val="{00000403-7775-4A9C-B2E5-37C768AAA5A6}"/>
              </c:ext>
            </c:extLst>
          </c:dPt>
          <c:dPt>
            <c:idx val="513"/>
            <c:invertIfNegative val="1"/>
            <c:bubble3D val="0"/>
            <c:spPr>
              <a:solidFill>
                <a:srgbClr val="AEABAB"/>
              </a:solidFill>
            </c:spPr>
            <c:extLst>
              <c:ext xmlns:c16="http://schemas.microsoft.com/office/drawing/2014/chart" uri="{C3380CC4-5D6E-409C-BE32-E72D297353CC}">
                <c16:uniqueId val="{00000405-7775-4A9C-B2E5-37C768AAA5A6}"/>
              </c:ext>
            </c:extLst>
          </c:dPt>
          <c:dPt>
            <c:idx val="514"/>
            <c:invertIfNegative val="1"/>
            <c:bubble3D val="0"/>
            <c:spPr>
              <a:solidFill>
                <a:srgbClr val="AEABAB"/>
              </a:solidFill>
            </c:spPr>
            <c:extLst>
              <c:ext xmlns:c16="http://schemas.microsoft.com/office/drawing/2014/chart" uri="{C3380CC4-5D6E-409C-BE32-E72D297353CC}">
                <c16:uniqueId val="{00000407-7775-4A9C-B2E5-37C768AAA5A6}"/>
              </c:ext>
            </c:extLst>
          </c:dPt>
          <c:dPt>
            <c:idx val="515"/>
            <c:invertIfNegative val="1"/>
            <c:bubble3D val="0"/>
            <c:spPr>
              <a:solidFill>
                <a:srgbClr val="AEABAB"/>
              </a:solidFill>
            </c:spPr>
            <c:extLst>
              <c:ext xmlns:c16="http://schemas.microsoft.com/office/drawing/2014/chart" uri="{C3380CC4-5D6E-409C-BE32-E72D297353CC}">
                <c16:uniqueId val="{00000409-7775-4A9C-B2E5-37C768AAA5A6}"/>
              </c:ext>
            </c:extLst>
          </c:dPt>
          <c:dPt>
            <c:idx val="516"/>
            <c:invertIfNegative val="1"/>
            <c:bubble3D val="0"/>
            <c:spPr>
              <a:solidFill>
                <a:srgbClr val="AEABAB"/>
              </a:solidFill>
            </c:spPr>
            <c:extLst>
              <c:ext xmlns:c16="http://schemas.microsoft.com/office/drawing/2014/chart" uri="{C3380CC4-5D6E-409C-BE32-E72D297353CC}">
                <c16:uniqueId val="{0000040B-7775-4A9C-B2E5-37C768AAA5A6}"/>
              </c:ext>
            </c:extLst>
          </c:dPt>
          <c:dPt>
            <c:idx val="517"/>
            <c:invertIfNegative val="1"/>
            <c:bubble3D val="0"/>
            <c:spPr>
              <a:solidFill>
                <a:srgbClr val="AEABAB"/>
              </a:solidFill>
            </c:spPr>
            <c:extLst>
              <c:ext xmlns:c16="http://schemas.microsoft.com/office/drawing/2014/chart" uri="{C3380CC4-5D6E-409C-BE32-E72D297353CC}">
                <c16:uniqueId val="{0000040D-7775-4A9C-B2E5-37C768AAA5A6}"/>
              </c:ext>
            </c:extLst>
          </c:dPt>
          <c:dPt>
            <c:idx val="518"/>
            <c:invertIfNegative val="1"/>
            <c:bubble3D val="0"/>
            <c:spPr>
              <a:solidFill>
                <a:srgbClr val="AEABAB"/>
              </a:solidFill>
            </c:spPr>
            <c:extLst>
              <c:ext xmlns:c16="http://schemas.microsoft.com/office/drawing/2014/chart" uri="{C3380CC4-5D6E-409C-BE32-E72D297353CC}">
                <c16:uniqueId val="{0000040F-7775-4A9C-B2E5-37C768AAA5A6}"/>
              </c:ext>
            </c:extLst>
          </c:dPt>
          <c:dPt>
            <c:idx val="519"/>
            <c:invertIfNegative val="1"/>
            <c:bubble3D val="0"/>
            <c:spPr>
              <a:solidFill>
                <a:srgbClr val="AEABAB"/>
              </a:solidFill>
            </c:spPr>
            <c:extLst>
              <c:ext xmlns:c16="http://schemas.microsoft.com/office/drawing/2014/chart" uri="{C3380CC4-5D6E-409C-BE32-E72D297353CC}">
                <c16:uniqueId val="{00000411-7775-4A9C-B2E5-37C768AAA5A6}"/>
              </c:ext>
            </c:extLst>
          </c:dPt>
          <c:dPt>
            <c:idx val="520"/>
            <c:invertIfNegative val="1"/>
            <c:bubble3D val="0"/>
            <c:spPr>
              <a:solidFill>
                <a:srgbClr val="AEABAB"/>
              </a:solidFill>
            </c:spPr>
            <c:extLst>
              <c:ext xmlns:c16="http://schemas.microsoft.com/office/drawing/2014/chart" uri="{C3380CC4-5D6E-409C-BE32-E72D297353CC}">
                <c16:uniqueId val="{00000413-7775-4A9C-B2E5-37C768AAA5A6}"/>
              </c:ext>
            </c:extLst>
          </c:dPt>
          <c:dPt>
            <c:idx val="521"/>
            <c:invertIfNegative val="1"/>
            <c:bubble3D val="0"/>
            <c:spPr>
              <a:solidFill>
                <a:srgbClr val="AEABAB"/>
              </a:solidFill>
            </c:spPr>
            <c:extLst>
              <c:ext xmlns:c16="http://schemas.microsoft.com/office/drawing/2014/chart" uri="{C3380CC4-5D6E-409C-BE32-E72D297353CC}">
                <c16:uniqueId val="{00000415-7775-4A9C-B2E5-37C768AAA5A6}"/>
              </c:ext>
            </c:extLst>
          </c:dPt>
          <c:dPt>
            <c:idx val="522"/>
            <c:invertIfNegative val="1"/>
            <c:bubble3D val="0"/>
            <c:spPr>
              <a:solidFill>
                <a:srgbClr val="AEABAB"/>
              </a:solidFill>
            </c:spPr>
            <c:extLst>
              <c:ext xmlns:c16="http://schemas.microsoft.com/office/drawing/2014/chart" uri="{C3380CC4-5D6E-409C-BE32-E72D297353CC}">
                <c16:uniqueId val="{00000417-7775-4A9C-B2E5-37C768AAA5A6}"/>
              </c:ext>
            </c:extLst>
          </c:dPt>
          <c:dPt>
            <c:idx val="523"/>
            <c:invertIfNegative val="1"/>
            <c:bubble3D val="0"/>
            <c:spPr>
              <a:solidFill>
                <a:srgbClr val="AEABAB"/>
              </a:solidFill>
            </c:spPr>
            <c:extLst>
              <c:ext xmlns:c16="http://schemas.microsoft.com/office/drawing/2014/chart" uri="{C3380CC4-5D6E-409C-BE32-E72D297353CC}">
                <c16:uniqueId val="{00000419-7775-4A9C-B2E5-37C768AAA5A6}"/>
              </c:ext>
            </c:extLst>
          </c:dPt>
          <c:dPt>
            <c:idx val="524"/>
            <c:invertIfNegative val="1"/>
            <c:bubble3D val="0"/>
            <c:spPr>
              <a:solidFill>
                <a:srgbClr val="AEABAB"/>
              </a:solidFill>
            </c:spPr>
            <c:extLst>
              <c:ext xmlns:c16="http://schemas.microsoft.com/office/drawing/2014/chart" uri="{C3380CC4-5D6E-409C-BE32-E72D297353CC}">
                <c16:uniqueId val="{0000041B-7775-4A9C-B2E5-37C768AAA5A6}"/>
              </c:ext>
            </c:extLst>
          </c:dPt>
          <c:dPt>
            <c:idx val="525"/>
            <c:invertIfNegative val="1"/>
            <c:bubble3D val="0"/>
            <c:spPr>
              <a:solidFill>
                <a:srgbClr val="AEABAB"/>
              </a:solidFill>
            </c:spPr>
            <c:extLst>
              <c:ext xmlns:c16="http://schemas.microsoft.com/office/drawing/2014/chart" uri="{C3380CC4-5D6E-409C-BE32-E72D297353CC}">
                <c16:uniqueId val="{0000041D-7775-4A9C-B2E5-37C768AAA5A6}"/>
              </c:ext>
            </c:extLst>
          </c:dPt>
          <c:dPt>
            <c:idx val="526"/>
            <c:invertIfNegative val="1"/>
            <c:bubble3D val="0"/>
            <c:spPr>
              <a:solidFill>
                <a:srgbClr val="AEABAB"/>
              </a:solidFill>
            </c:spPr>
            <c:extLst>
              <c:ext xmlns:c16="http://schemas.microsoft.com/office/drawing/2014/chart" uri="{C3380CC4-5D6E-409C-BE32-E72D297353CC}">
                <c16:uniqueId val="{0000041F-7775-4A9C-B2E5-37C768AAA5A6}"/>
              </c:ext>
            </c:extLst>
          </c:dPt>
          <c:dPt>
            <c:idx val="527"/>
            <c:invertIfNegative val="1"/>
            <c:bubble3D val="0"/>
            <c:spPr>
              <a:solidFill>
                <a:srgbClr val="AEABAB"/>
              </a:solidFill>
            </c:spPr>
            <c:extLst>
              <c:ext xmlns:c16="http://schemas.microsoft.com/office/drawing/2014/chart" uri="{C3380CC4-5D6E-409C-BE32-E72D297353CC}">
                <c16:uniqueId val="{00000421-7775-4A9C-B2E5-37C768AAA5A6}"/>
              </c:ext>
            </c:extLst>
          </c:dPt>
          <c:dPt>
            <c:idx val="528"/>
            <c:invertIfNegative val="1"/>
            <c:bubble3D val="0"/>
            <c:spPr>
              <a:solidFill>
                <a:srgbClr val="AEABAB"/>
              </a:solidFill>
            </c:spPr>
            <c:extLst>
              <c:ext xmlns:c16="http://schemas.microsoft.com/office/drawing/2014/chart" uri="{C3380CC4-5D6E-409C-BE32-E72D297353CC}">
                <c16:uniqueId val="{00000423-7775-4A9C-B2E5-37C768AAA5A6}"/>
              </c:ext>
            </c:extLst>
          </c:dPt>
          <c:dPt>
            <c:idx val="529"/>
            <c:invertIfNegative val="1"/>
            <c:bubble3D val="0"/>
            <c:spPr>
              <a:solidFill>
                <a:srgbClr val="AEABAB"/>
              </a:solidFill>
            </c:spPr>
            <c:extLst>
              <c:ext xmlns:c16="http://schemas.microsoft.com/office/drawing/2014/chart" uri="{C3380CC4-5D6E-409C-BE32-E72D297353CC}">
                <c16:uniqueId val="{00000425-7775-4A9C-B2E5-37C768AAA5A6}"/>
              </c:ext>
            </c:extLst>
          </c:dPt>
          <c:dPt>
            <c:idx val="530"/>
            <c:invertIfNegative val="1"/>
            <c:bubble3D val="0"/>
            <c:spPr>
              <a:solidFill>
                <a:srgbClr val="AEABAB"/>
              </a:solidFill>
            </c:spPr>
            <c:extLst>
              <c:ext xmlns:c16="http://schemas.microsoft.com/office/drawing/2014/chart" uri="{C3380CC4-5D6E-409C-BE32-E72D297353CC}">
                <c16:uniqueId val="{00000427-7775-4A9C-B2E5-37C768AAA5A6}"/>
              </c:ext>
            </c:extLst>
          </c:dPt>
          <c:dPt>
            <c:idx val="531"/>
            <c:invertIfNegative val="1"/>
            <c:bubble3D val="0"/>
            <c:spPr>
              <a:solidFill>
                <a:srgbClr val="AEABAB"/>
              </a:solidFill>
            </c:spPr>
            <c:extLst>
              <c:ext xmlns:c16="http://schemas.microsoft.com/office/drawing/2014/chart" uri="{C3380CC4-5D6E-409C-BE32-E72D297353CC}">
                <c16:uniqueId val="{00000429-7775-4A9C-B2E5-37C768AAA5A6}"/>
              </c:ext>
            </c:extLst>
          </c:dPt>
          <c:dPt>
            <c:idx val="532"/>
            <c:invertIfNegative val="1"/>
            <c:bubble3D val="0"/>
            <c:spPr>
              <a:solidFill>
                <a:srgbClr val="AEABAB"/>
              </a:solidFill>
            </c:spPr>
            <c:extLst>
              <c:ext xmlns:c16="http://schemas.microsoft.com/office/drawing/2014/chart" uri="{C3380CC4-5D6E-409C-BE32-E72D297353CC}">
                <c16:uniqueId val="{0000042B-7775-4A9C-B2E5-37C768AAA5A6}"/>
              </c:ext>
            </c:extLst>
          </c:dPt>
          <c:dPt>
            <c:idx val="533"/>
            <c:invertIfNegative val="1"/>
            <c:bubble3D val="0"/>
            <c:spPr>
              <a:solidFill>
                <a:srgbClr val="AEABAB"/>
              </a:solidFill>
            </c:spPr>
            <c:extLst>
              <c:ext xmlns:c16="http://schemas.microsoft.com/office/drawing/2014/chart" uri="{C3380CC4-5D6E-409C-BE32-E72D297353CC}">
                <c16:uniqueId val="{0000042D-7775-4A9C-B2E5-37C768AAA5A6}"/>
              </c:ext>
            </c:extLst>
          </c:dPt>
          <c:dPt>
            <c:idx val="534"/>
            <c:invertIfNegative val="1"/>
            <c:bubble3D val="0"/>
            <c:spPr>
              <a:solidFill>
                <a:srgbClr val="AEABAB"/>
              </a:solidFill>
            </c:spPr>
            <c:extLst>
              <c:ext xmlns:c16="http://schemas.microsoft.com/office/drawing/2014/chart" uri="{C3380CC4-5D6E-409C-BE32-E72D297353CC}">
                <c16:uniqueId val="{0000042F-7775-4A9C-B2E5-37C768AAA5A6}"/>
              </c:ext>
            </c:extLst>
          </c:dPt>
          <c:dPt>
            <c:idx val="535"/>
            <c:invertIfNegative val="1"/>
            <c:bubble3D val="0"/>
            <c:spPr>
              <a:solidFill>
                <a:srgbClr val="AEABAB"/>
              </a:solidFill>
            </c:spPr>
            <c:extLst>
              <c:ext xmlns:c16="http://schemas.microsoft.com/office/drawing/2014/chart" uri="{C3380CC4-5D6E-409C-BE32-E72D297353CC}">
                <c16:uniqueId val="{00000431-7775-4A9C-B2E5-37C768AAA5A6}"/>
              </c:ext>
            </c:extLst>
          </c:dPt>
          <c:dPt>
            <c:idx val="536"/>
            <c:invertIfNegative val="1"/>
            <c:bubble3D val="0"/>
            <c:spPr>
              <a:solidFill>
                <a:srgbClr val="AEABAB"/>
              </a:solidFill>
            </c:spPr>
            <c:extLst>
              <c:ext xmlns:c16="http://schemas.microsoft.com/office/drawing/2014/chart" uri="{C3380CC4-5D6E-409C-BE32-E72D297353CC}">
                <c16:uniqueId val="{00000433-7775-4A9C-B2E5-37C768AAA5A6}"/>
              </c:ext>
            </c:extLst>
          </c:dPt>
          <c:dPt>
            <c:idx val="537"/>
            <c:invertIfNegative val="1"/>
            <c:bubble3D val="0"/>
            <c:spPr>
              <a:solidFill>
                <a:srgbClr val="AEABAB"/>
              </a:solidFill>
            </c:spPr>
            <c:extLst>
              <c:ext xmlns:c16="http://schemas.microsoft.com/office/drawing/2014/chart" uri="{C3380CC4-5D6E-409C-BE32-E72D297353CC}">
                <c16:uniqueId val="{00000435-7775-4A9C-B2E5-37C768AAA5A6}"/>
              </c:ext>
            </c:extLst>
          </c:dPt>
          <c:dPt>
            <c:idx val="538"/>
            <c:invertIfNegative val="1"/>
            <c:bubble3D val="0"/>
            <c:spPr>
              <a:solidFill>
                <a:srgbClr val="AEABAB"/>
              </a:solidFill>
            </c:spPr>
            <c:extLst>
              <c:ext xmlns:c16="http://schemas.microsoft.com/office/drawing/2014/chart" uri="{C3380CC4-5D6E-409C-BE32-E72D297353CC}">
                <c16:uniqueId val="{00000437-7775-4A9C-B2E5-37C768AAA5A6}"/>
              </c:ext>
            </c:extLst>
          </c:dPt>
          <c:dPt>
            <c:idx val="539"/>
            <c:invertIfNegative val="1"/>
            <c:bubble3D val="0"/>
            <c:spPr>
              <a:solidFill>
                <a:srgbClr val="AEABAB"/>
              </a:solidFill>
            </c:spPr>
            <c:extLst>
              <c:ext xmlns:c16="http://schemas.microsoft.com/office/drawing/2014/chart" uri="{C3380CC4-5D6E-409C-BE32-E72D297353CC}">
                <c16:uniqueId val="{00000439-7775-4A9C-B2E5-37C768AAA5A6}"/>
              </c:ext>
            </c:extLst>
          </c:dPt>
          <c:dPt>
            <c:idx val="540"/>
            <c:invertIfNegative val="1"/>
            <c:bubble3D val="0"/>
            <c:spPr>
              <a:solidFill>
                <a:srgbClr val="AEABAB"/>
              </a:solidFill>
            </c:spPr>
            <c:extLst>
              <c:ext xmlns:c16="http://schemas.microsoft.com/office/drawing/2014/chart" uri="{C3380CC4-5D6E-409C-BE32-E72D297353CC}">
                <c16:uniqueId val="{0000043B-7775-4A9C-B2E5-37C768AAA5A6}"/>
              </c:ext>
            </c:extLst>
          </c:dPt>
          <c:dPt>
            <c:idx val="541"/>
            <c:invertIfNegative val="1"/>
            <c:bubble3D val="0"/>
            <c:spPr>
              <a:solidFill>
                <a:srgbClr val="AEABAB"/>
              </a:solidFill>
            </c:spPr>
            <c:extLst>
              <c:ext xmlns:c16="http://schemas.microsoft.com/office/drawing/2014/chart" uri="{C3380CC4-5D6E-409C-BE32-E72D297353CC}">
                <c16:uniqueId val="{0000043D-7775-4A9C-B2E5-37C768AAA5A6}"/>
              </c:ext>
            </c:extLst>
          </c:dPt>
          <c:dPt>
            <c:idx val="542"/>
            <c:invertIfNegative val="1"/>
            <c:bubble3D val="0"/>
            <c:spPr>
              <a:solidFill>
                <a:srgbClr val="AEABAB"/>
              </a:solidFill>
            </c:spPr>
            <c:extLst>
              <c:ext xmlns:c16="http://schemas.microsoft.com/office/drawing/2014/chart" uri="{C3380CC4-5D6E-409C-BE32-E72D297353CC}">
                <c16:uniqueId val="{0000043F-7775-4A9C-B2E5-37C768AAA5A6}"/>
              </c:ext>
            </c:extLst>
          </c:dPt>
          <c:dPt>
            <c:idx val="543"/>
            <c:invertIfNegative val="1"/>
            <c:bubble3D val="0"/>
            <c:spPr>
              <a:solidFill>
                <a:srgbClr val="AEABAB"/>
              </a:solidFill>
            </c:spPr>
            <c:extLst>
              <c:ext xmlns:c16="http://schemas.microsoft.com/office/drawing/2014/chart" uri="{C3380CC4-5D6E-409C-BE32-E72D297353CC}">
                <c16:uniqueId val="{00000441-7775-4A9C-B2E5-37C768AAA5A6}"/>
              </c:ext>
            </c:extLst>
          </c:dPt>
          <c:dPt>
            <c:idx val="544"/>
            <c:invertIfNegative val="1"/>
            <c:bubble3D val="0"/>
            <c:spPr>
              <a:solidFill>
                <a:srgbClr val="AEABAB"/>
              </a:solidFill>
            </c:spPr>
            <c:extLst>
              <c:ext xmlns:c16="http://schemas.microsoft.com/office/drawing/2014/chart" uri="{C3380CC4-5D6E-409C-BE32-E72D297353CC}">
                <c16:uniqueId val="{00000443-7775-4A9C-B2E5-37C768AAA5A6}"/>
              </c:ext>
            </c:extLst>
          </c:dPt>
          <c:dPt>
            <c:idx val="545"/>
            <c:invertIfNegative val="1"/>
            <c:bubble3D val="0"/>
            <c:spPr>
              <a:solidFill>
                <a:srgbClr val="AEABAB"/>
              </a:solidFill>
            </c:spPr>
            <c:extLst>
              <c:ext xmlns:c16="http://schemas.microsoft.com/office/drawing/2014/chart" uri="{C3380CC4-5D6E-409C-BE32-E72D297353CC}">
                <c16:uniqueId val="{00000445-7775-4A9C-B2E5-37C768AAA5A6}"/>
              </c:ext>
            </c:extLst>
          </c:dPt>
          <c:dPt>
            <c:idx val="546"/>
            <c:invertIfNegative val="1"/>
            <c:bubble3D val="0"/>
            <c:spPr>
              <a:solidFill>
                <a:srgbClr val="AEABAB"/>
              </a:solidFill>
            </c:spPr>
            <c:extLst>
              <c:ext xmlns:c16="http://schemas.microsoft.com/office/drawing/2014/chart" uri="{C3380CC4-5D6E-409C-BE32-E72D297353CC}">
                <c16:uniqueId val="{00000447-7775-4A9C-B2E5-37C768AAA5A6}"/>
              </c:ext>
            </c:extLst>
          </c:dPt>
          <c:dPt>
            <c:idx val="547"/>
            <c:invertIfNegative val="1"/>
            <c:bubble3D val="0"/>
            <c:spPr>
              <a:solidFill>
                <a:srgbClr val="AEABAB"/>
              </a:solidFill>
            </c:spPr>
            <c:extLst>
              <c:ext xmlns:c16="http://schemas.microsoft.com/office/drawing/2014/chart" uri="{C3380CC4-5D6E-409C-BE32-E72D297353CC}">
                <c16:uniqueId val="{00000449-7775-4A9C-B2E5-37C768AAA5A6}"/>
              </c:ext>
            </c:extLst>
          </c:dPt>
          <c:dPt>
            <c:idx val="548"/>
            <c:invertIfNegative val="1"/>
            <c:bubble3D val="0"/>
            <c:spPr>
              <a:solidFill>
                <a:srgbClr val="AEABAB"/>
              </a:solidFill>
            </c:spPr>
            <c:extLst>
              <c:ext xmlns:c16="http://schemas.microsoft.com/office/drawing/2014/chart" uri="{C3380CC4-5D6E-409C-BE32-E72D297353CC}">
                <c16:uniqueId val="{0000044B-7775-4A9C-B2E5-37C768AAA5A6}"/>
              </c:ext>
            </c:extLst>
          </c:dPt>
          <c:dPt>
            <c:idx val="549"/>
            <c:invertIfNegative val="1"/>
            <c:bubble3D val="0"/>
            <c:spPr>
              <a:solidFill>
                <a:srgbClr val="AEABAB"/>
              </a:solidFill>
            </c:spPr>
            <c:extLst>
              <c:ext xmlns:c16="http://schemas.microsoft.com/office/drawing/2014/chart" uri="{C3380CC4-5D6E-409C-BE32-E72D297353CC}">
                <c16:uniqueId val="{0000044D-7775-4A9C-B2E5-37C768AAA5A6}"/>
              </c:ext>
            </c:extLst>
          </c:dPt>
          <c:dPt>
            <c:idx val="550"/>
            <c:invertIfNegative val="1"/>
            <c:bubble3D val="0"/>
            <c:spPr>
              <a:solidFill>
                <a:srgbClr val="AEABAB"/>
              </a:solidFill>
            </c:spPr>
            <c:extLst>
              <c:ext xmlns:c16="http://schemas.microsoft.com/office/drawing/2014/chart" uri="{C3380CC4-5D6E-409C-BE32-E72D297353CC}">
                <c16:uniqueId val="{0000044F-7775-4A9C-B2E5-37C768AAA5A6}"/>
              </c:ext>
            </c:extLst>
          </c:dPt>
          <c:dPt>
            <c:idx val="551"/>
            <c:invertIfNegative val="1"/>
            <c:bubble3D val="0"/>
            <c:spPr>
              <a:solidFill>
                <a:srgbClr val="AEABAB"/>
              </a:solidFill>
            </c:spPr>
            <c:extLst>
              <c:ext xmlns:c16="http://schemas.microsoft.com/office/drawing/2014/chart" uri="{C3380CC4-5D6E-409C-BE32-E72D297353CC}">
                <c16:uniqueId val="{00000451-7775-4A9C-B2E5-37C768AAA5A6}"/>
              </c:ext>
            </c:extLst>
          </c:dPt>
          <c:dPt>
            <c:idx val="552"/>
            <c:invertIfNegative val="1"/>
            <c:bubble3D val="0"/>
            <c:spPr>
              <a:solidFill>
                <a:srgbClr val="AEABAB"/>
              </a:solidFill>
            </c:spPr>
            <c:extLst>
              <c:ext xmlns:c16="http://schemas.microsoft.com/office/drawing/2014/chart" uri="{C3380CC4-5D6E-409C-BE32-E72D297353CC}">
                <c16:uniqueId val="{00000453-7775-4A9C-B2E5-37C768AAA5A6}"/>
              </c:ext>
            </c:extLst>
          </c:dPt>
          <c:dPt>
            <c:idx val="553"/>
            <c:invertIfNegative val="1"/>
            <c:bubble3D val="0"/>
            <c:spPr>
              <a:solidFill>
                <a:srgbClr val="AEABAB"/>
              </a:solidFill>
            </c:spPr>
            <c:extLst>
              <c:ext xmlns:c16="http://schemas.microsoft.com/office/drawing/2014/chart" uri="{C3380CC4-5D6E-409C-BE32-E72D297353CC}">
                <c16:uniqueId val="{00000455-7775-4A9C-B2E5-37C768AAA5A6}"/>
              </c:ext>
            </c:extLst>
          </c:dPt>
          <c:dPt>
            <c:idx val="554"/>
            <c:invertIfNegative val="1"/>
            <c:bubble3D val="0"/>
            <c:spPr>
              <a:solidFill>
                <a:srgbClr val="AEABAB"/>
              </a:solidFill>
            </c:spPr>
            <c:extLst>
              <c:ext xmlns:c16="http://schemas.microsoft.com/office/drawing/2014/chart" uri="{C3380CC4-5D6E-409C-BE32-E72D297353CC}">
                <c16:uniqueId val="{00000457-7775-4A9C-B2E5-37C768AAA5A6}"/>
              </c:ext>
            </c:extLst>
          </c:dPt>
          <c:dPt>
            <c:idx val="555"/>
            <c:invertIfNegative val="1"/>
            <c:bubble3D val="0"/>
            <c:spPr>
              <a:solidFill>
                <a:srgbClr val="AEABAB"/>
              </a:solidFill>
            </c:spPr>
            <c:extLst>
              <c:ext xmlns:c16="http://schemas.microsoft.com/office/drawing/2014/chart" uri="{C3380CC4-5D6E-409C-BE32-E72D297353CC}">
                <c16:uniqueId val="{00000459-7775-4A9C-B2E5-37C768AAA5A6}"/>
              </c:ext>
            </c:extLst>
          </c:dPt>
          <c:dPt>
            <c:idx val="556"/>
            <c:invertIfNegative val="1"/>
            <c:bubble3D val="0"/>
            <c:spPr>
              <a:solidFill>
                <a:srgbClr val="AEABAB"/>
              </a:solidFill>
            </c:spPr>
            <c:extLst>
              <c:ext xmlns:c16="http://schemas.microsoft.com/office/drawing/2014/chart" uri="{C3380CC4-5D6E-409C-BE32-E72D297353CC}">
                <c16:uniqueId val="{0000045B-7775-4A9C-B2E5-37C768AAA5A6}"/>
              </c:ext>
            </c:extLst>
          </c:dPt>
          <c:dPt>
            <c:idx val="557"/>
            <c:invertIfNegative val="1"/>
            <c:bubble3D val="0"/>
            <c:spPr>
              <a:solidFill>
                <a:srgbClr val="AEABAB"/>
              </a:solidFill>
            </c:spPr>
            <c:extLst>
              <c:ext xmlns:c16="http://schemas.microsoft.com/office/drawing/2014/chart" uri="{C3380CC4-5D6E-409C-BE32-E72D297353CC}">
                <c16:uniqueId val="{0000045D-7775-4A9C-B2E5-37C768AAA5A6}"/>
              </c:ext>
            </c:extLst>
          </c:dPt>
          <c:dPt>
            <c:idx val="558"/>
            <c:invertIfNegative val="1"/>
            <c:bubble3D val="0"/>
            <c:spPr>
              <a:solidFill>
                <a:srgbClr val="AEABAB"/>
              </a:solidFill>
            </c:spPr>
            <c:extLst>
              <c:ext xmlns:c16="http://schemas.microsoft.com/office/drawing/2014/chart" uri="{C3380CC4-5D6E-409C-BE32-E72D297353CC}">
                <c16:uniqueId val="{0000045F-7775-4A9C-B2E5-37C768AAA5A6}"/>
              </c:ext>
            </c:extLst>
          </c:dPt>
          <c:dPt>
            <c:idx val="559"/>
            <c:invertIfNegative val="1"/>
            <c:bubble3D val="0"/>
            <c:spPr>
              <a:solidFill>
                <a:srgbClr val="AEABAB"/>
              </a:solidFill>
            </c:spPr>
            <c:extLst>
              <c:ext xmlns:c16="http://schemas.microsoft.com/office/drawing/2014/chart" uri="{C3380CC4-5D6E-409C-BE32-E72D297353CC}">
                <c16:uniqueId val="{00000461-7775-4A9C-B2E5-37C768AAA5A6}"/>
              </c:ext>
            </c:extLst>
          </c:dPt>
          <c:dPt>
            <c:idx val="560"/>
            <c:invertIfNegative val="1"/>
            <c:bubble3D val="0"/>
            <c:spPr>
              <a:solidFill>
                <a:srgbClr val="AEABAB"/>
              </a:solidFill>
            </c:spPr>
            <c:extLst>
              <c:ext xmlns:c16="http://schemas.microsoft.com/office/drawing/2014/chart" uri="{C3380CC4-5D6E-409C-BE32-E72D297353CC}">
                <c16:uniqueId val="{00000463-7775-4A9C-B2E5-37C768AAA5A6}"/>
              </c:ext>
            </c:extLst>
          </c:dPt>
          <c:dPt>
            <c:idx val="561"/>
            <c:invertIfNegative val="1"/>
            <c:bubble3D val="0"/>
            <c:spPr>
              <a:solidFill>
                <a:srgbClr val="AEABAB"/>
              </a:solidFill>
            </c:spPr>
            <c:extLst>
              <c:ext xmlns:c16="http://schemas.microsoft.com/office/drawing/2014/chart" uri="{C3380CC4-5D6E-409C-BE32-E72D297353CC}">
                <c16:uniqueId val="{00000465-7775-4A9C-B2E5-37C768AAA5A6}"/>
              </c:ext>
            </c:extLst>
          </c:dPt>
          <c:dPt>
            <c:idx val="562"/>
            <c:invertIfNegative val="1"/>
            <c:bubble3D val="0"/>
            <c:spPr>
              <a:solidFill>
                <a:srgbClr val="AEABAB"/>
              </a:solidFill>
            </c:spPr>
            <c:extLst>
              <c:ext xmlns:c16="http://schemas.microsoft.com/office/drawing/2014/chart" uri="{C3380CC4-5D6E-409C-BE32-E72D297353CC}">
                <c16:uniqueId val="{00000467-7775-4A9C-B2E5-37C768AAA5A6}"/>
              </c:ext>
            </c:extLst>
          </c:dPt>
          <c:dPt>
            <c:idx val="563"/>
            <c:invertIfNegative val="1"/>
            <c:bubble3D val="0"/>
            <c:spPr>
              <a:solidFill>
                <a:srgbClr val="AEABAB"/>
              </a:solidFill>
            </c:spPr>
            <c:extLst>
              <c:ext xmlns:c16="http://schemas.microsoft.com/office/drawing/2014/chart" uri="{C3380CC4-5D6E-409C-BE32-E72D297353CC}">
                <c16:uniqueId val="{00000469-7775-4A9C-B2E5-37C768AAA5A6}"/>
              </c:ext>
            </c:extLst>
          </c:dPt>
          <c:dPt>
            <c:idx val="564"/>
            <c:invertIfNegative val="1"/>
            <c:bubble3D val="0"/>
            <c:spPr>
              <a:solidFill>
                <a:srgbClr val="AEABAB"/>
              </a:solidFill>
            </c:spPr>
            <c:extLst>
              <c:ext xmlns:c16="http://schemas.microsoft.com/office/drawing/2014/chart" uri="{C3380CC4-5D6E-409C-BE32-E72D297353CC}">
                <c16:uniqueId val="{0000046B-7775-4A9C-B2E5-37C768AAA5A6}"/>
              </c:ext>
            </c:extLst>
          </c:dPt>
          <c:dPt>
            <c:idx val="565"/>
            <c:invertIfNegative val="1"/>
            <c:bubble3D val="0"/>
            <c:spPr>
              <a:solidFill>
                <a:srgbClr val="AEABAB"/>
              </a:solidFill>
            </c:spPr>
            <c:extLst>
              <c:ext xmlns:c16="http://schemas.microsoft.com/office/drawing/2014/chart" uri="{C3380CC4-5D6E-409C-BE32-E72D297353CC}">
                <c16:uniqueId val="{0000046D-7775-4A9C-B2E5-37C768AAA5A6}"/>
              </c:ext>
            </c:extLst>
          </c:dPt>
          <c:dPt>
            <c:idx val="566"/>
            <c:invertIfNegative val="1"/>
            <c:bubble3D val="0"/>
            <c:spPr>
              <a:solidFill>
                <a:srgbClr val="AEABAB"/>
              </a:solidFill>
            </c:spPr>
            <c:extLst>
              <c:ext xmlns:c16="http://schemas.microsoft.com/office/drawing/2014/chart" uri="{C3380CC4-5D6E-409C-BE32-E72D297353CC}">
                <c16:uniqueId val="{0000046F-7775-4A9C-B2E5-37C768AAA5A6}"/>
              </c:ext>
            </c:extLst>
          </c:dPt>
          <c:dPt>
            <c:idx val="567"/>
            <c:invertIfNegative val="1"/>
            <c:bubble3D val="0"/>
            <c:spPr>
              <a:solidFill>
                <a:srgbClr val="AEABAB"/>
              </a:solidFill>
            </c:spPr>
            <c:extLst>
              <c:ext xmlns:c16="http://schemas.microsoft.com/office/drawing/2014/chart" uri="{C3380CC4-5D6E-409C-BE32-E72D297353CC}">
                <c16:uniqueId val="{00000471-7775-4A9C-B2E5-37C768AAA5A6}"/>
              </c:ext>
            </c:extLst>
          </c:dPt>
          <c:dPt>
            <c:idx val="568"/>
            <c:invertIfNegative val="1"/>
            <c:bubble3D val="0"/>
            <c:spPr>
              <a:solidFill>
                <a:srgbClr val="AEABAB"/>
              </a:solidFill>
            </c:spPr>
            <c:extLst>
              <c:ext xmlns:c16="http://schemas.microsoft.com/office/drawing/2014/chart" uri="{C3380CC4-5D6E-409C-BE32-E72D297353CC}">
                <c16:uniqueId val="{00000473-7775-4A9C-B2E5-37C768AAA5A6}"/>
              </c:ext>
            </c:extLst>
          </c:dPt>
          <c:dPt>
            <c:idx val="569"/>
            <c:invertIfNegative val="1"/>
            <c:bubble3D val="0"/>
            <c:spPr>
              <a:solidFill>
                <a:srgbClr val="AEABAB"/>
              </a:solidFill>
            </c:spPr>
            <c:extLst>
              <c:ext xmlns:c16="http://schemas.microsoft.com/office/drawing/2014/chart" uri="{C3380CC4-5D6E-409C-BE32-E72D297353CC}">
                <c16:uniqueId val="{00000475-7775-4A9C-B2E5-37C768AAA5A6}"/>
              </c:ext>
            </c:extLst>
          </c:dPt>
          <c:dPt>
            <c:idx val="570"/>
            <c:invertIfNegative val="1"/>
            <c:bubble3D val="0"/>
            <c:spPr>
              <a:solidFill>
                <a:srgbClr val="AEABAB"/>
              </a:solidFill>
            </c:spPr>
            <c:extLst>
              <c:ext xmlns:c16="http://schemas.microsoft.com/office/drawing/2014/chart" uri="{C3380CC4-5D6E-409C-BE32-E72D297353CC}">
                <c16:uniqueId val="{00000477-7775-4A9C-B2E5-37C768AAA5A6}"/>
              </c:ext>
            </c:extLst>
          </c:dPt>
          <c:dPt>
            <c:idx val="571"/>
            <c:invertIfNegative val="1"/>
            <c:bubble3D val="0"/>
            <c:spPr>
              <a:solidFill>
                <a:srgbClr val="AEABAB"/>
              </a:solidFill>
            </c:spPr>
            <c:extLst>
              <c:ext xmlns:c16="http://schemas.microsoft.com/office/drawing/2014/chart" uri="{C3380CC4-5D6E-409C-BE32-E72D297353CC}">
                <c16:uniqueId val="{00000479-7775-4A9C-B2E5-37C768AAA5A6}"/>
              </c:ext>
            </c:extLst>
          </c:dPt>
          <c:dPt>
            <c:idx val="572"/>
            <c:invertIfNegative val="1"/>
            <c:bubble3D val="0"/>
            <c:spPr>
              <a:solidFill>
                <a:srgbClr val="AEABAB"/>
              </a:solidFill>
            </c:spPr>
            <c:extLst>
              <c:ext xmlns:c16="http://schemas.microsoft.com/office/drawing/2014/chart" uri="{C3380CC4-5D6E-409C-BE32-E72D297353CC}">
                <c16:uniqueId val="{0000047B-7775-4A9C-B2E5-37C768AAA5A6}"/>
              </c:ext>
            </c:extLst>
          </c:dPt>
          <c:dPt>
            <c:idx val="573"/>
            <c:invertIfNegative val="1"/>
            <c:bubble3D val="0"/>
            <c:spPr>
              <a:solidFill>
                <a:srgbClr val="AEABAB"/>
              </a:solidFill>
            </c:spPr>
            <c:extLst>
              <c:ext xmlns:c16="http://schemas.microsoft.com/office/drawing/2014/chart" uri="{C3380CC4-5D6E-409C-BE32-E72D297353CC}">
                <c16:uniqueId val="{0000047D-7775-4A9C-B2E5-37C768AAA5A6}"/>
              </c:ext>
            </c:extLst>
          </c:dPt>
          <c:dPt>
            <c:idx val="574"/>
            <c:invertIfNegative val="1"/>
            <c:bubble3D val="0"/>
            <c:spPr>
              <a:solidFill>
                <a:srgbClr val="AEABAB"/>
              </a:solidFill>
            </c:spPr>
            <c:extLst>
              <c:ext xmlns:c16="http://schemas.microsoft.com/office/drawing/2014/chart" uri="{C3380CC4-5D6E-409C-BE32-E72D297353CC}">
                <c16:uniqueId val="{0000047F-7775-4A9C-B2E5-37C768AAA5A6}"/>
              </c:ext>
            </c:extLst>
          </c:dPt>
          <c:dPt>
            <c:idx val="575"/>
            <c:invertIfNegative val="1"/>
            <c:bubble3D val="0"/>
            <c:spPr>
              <a:solidFill>
                <a:srgbClr val="AEABAB"/>
              </a:solidFill>
            </c:spPr>
            <c:extLst>
              <c:ext xmlns:c16="http://schemas.microsoft.com/office/drawing/2014/chart" uri="{C3380CC4-5D6E-409C-BE32-E72D297353CC}">
                <c16:uniqueId val="{00000481-7775-4A9C-B2E5-37C768AAA5A6}"/>
              </c:ext>
            </c:extLst>
          </c:dPt>
          <c:dPt>
            <c:idx val="576"/>
            <c:invertIfNegative val="1"/>
            <c:bubble3D val="0"/>
            <c:spPr>
              <a:solidFill>
                <a:srgbClr val="AEABAB"/>
              </a:solidFill>
            </c:spPr>
            <c:extLst>
              <c:ext xmlns:c16="http://schemas.microsoft.com/office/drawing/2014/chart" uri="{C3380CC4-5D6E-409C-BE32-E72D297353CC}">
                <c16:uniqueId val="{00000483-7775-4A9C-B2E5-37C768AAA5A6}"/>
              </c:ext>
            </c:extLst>
          </c:dPt>
          <c:dPt>
            <c:idx val="577"/>
            <c:invertIfNegative val="1"/>
            <c:bubble3D val="0"/>
            <c:spPr>
              <a:solidFill>
                <a:srgbClr val="AEABAB"/>
              </a:solidFill>
            </c:spPr>
            <c:extLst>
              <c:ext xmlns:c16="http://schemas.microsoft.com/office/drawing/2014/chart" uri="{C3380CC4-5D6E-409C-BE32-E72D297353CC}">
                <c16:uniqueId val="{00000485-7775-4A9C-B2E5-37C768AAA5A6}"/>
              </c:ext>
            </c:extLst>
          </c:dPt>
          <c:dPt>
            <c:idx val="578"/>
            <c:invertIfNegative val="1"/>
            <c:bubble3D val="0"/>
            <c:spPr>
              <a:solidFill>
                <a:srgbClr val="AEABAB"/>
              </a:solidFill>
            </c:spPr>
            <c:extLst>
              <c:ext xmlns:c16="http://schemas.microsoft.com/office/drawing/2014/chart" uri="{C3380CC4-5D6E-409C-BE32-E72D297353CC}">
                <c16:uniqueId val="{00000487-7775-4A9C-B2E5-37C768AAA5A6}"/>
              </c:ext>
            </c:extLst>
          </c:dPt>
          <c:dPt>
            <c:idx val="579"/>
            <c:invertIfNegative val="1"/>
            <c:bubble3D val="0"/>
            <c:spPr>
              <a:solidFill>
                <a:srgbClr val="AEABAB"/>
              </a:solidFill>
            </c:spPr>
            <c:extLst>
              <c:ext xmlns:c16="http://schemas.microsoft.com/office/drawing/2014/chart" uri="{C3380CC4-5D6E-409C-BE32-E72D297353CC}">
                <c16:uniqueId val="{00000489-7775-4A9C-B2E5-37C768AAA5A6}"/>
              </c:ext>
            </c:extLst>
          </c:dPt>
          <c:dPt>
            <c:idx val="580"/>
            <c:invertIfNegative val="1"/>
            <c:bubble3D val="0"/>
            <c:spPr>
              <a:solidFill>
                <a:srgbClr val="AEABAB"/>
              </a:solidFill>
            </c:spPr>
            <c:extLst>
              <c:ext xmlns:c16="http://schemas.microsoft.com/office/drawing/2014/chart" uri="{C3380CC4-5D6E-409C-BE32-E72D297353CC}">
                <c16:uniqueId val="{0000048B-7775-4A9C-B2E5-37C768AAA5A6}"/>
              </c:ext>
            </c:extLst>
          </c:dPt>
          <c:dPt>
            <c:idx val="581"/>
            <c:invertIfNegative val="1"/>
            <c:bubble3D val="0"/>
            <c:spPr>
              <a:solidFill>
                <a:srgbClr val="AEABAB"/>
              </a:solidFill>
            </c:spPr>
            <c:extLst>
              <c:ext xmlns:c16="http://schemas.microsoft.com/office/drawing/2014/chart" uri="{C3380CC4-5D6E-409C-BE32-E72D297353CC}">
                <c16:uniqueId val="{0000048D-7775-4A9C-B2E5-37C768AAA5A6}"/>
              </c:ext>
            </c:extLst>
          </c:dPt>
          <c:dPt>
            <c:idx val="582"/>
            <c:invertIfNegative val="1"/>
            <c:bubble3D val="0"/>
            <c:spPr>
              <a:solidFill>
                <a:srgbClr val="AEABAB"/>
              </a:solidFill>
            </c:spPr>
            <c:extLst>
              <c:ext xmlns:c16="http://schemas.microsoft.com/office/drawing/2014/chart" uri="{C3380CC4-5D6E-409C-BE32-E72D297353CC}">
                <c16:uniqueId val="{0000048F-7775-4A9C-B2E5-37C768AAA5A6}"/>
              </c:ext>
            </c:extLst>
          </c:dPt>
          <c:dPt>
            <c:idx val="583"/>
            <c:invertIfNegative val="1"/>
            <c:bubble3D val="0"/>
            <c:spPr>
              <a:solidFill>
                <a:srgbClr val="AEABAB"/>
              </a:solidFill>
            </c:spPr>
            <c:extLst>
              <c:ext xmlns:c16="http://schemas.microsoft.com/office/drawing/2014/chart" uri="{C3380CC4-5D6E-409C-BE32-E72D297353CC}">
                <c16:uniqueId val="{00000491-7775-4A9C-B2E5-37C768AAA5A6}"/>
              </c:ext>
            </c:extLst>
          </c:dPt>
          <c:dPt>
            <c:idx val="584"/>
            <c:invertIfNegative val="1"/>
            <c:bubble3D val="0"/>
            <c:spPr>
              <a:solidFill>
                <a:srgbClr val="AEABAB"/>
              </a:solidFill>
            </c:spPr>
            <c:extLst>
              <c:ext xmlns:c16="http://schemas.microsoft.com/office/drawing/2014/chart" uri="{C3380CC4-5D6E-409C-BE32-E72D297353CC}">
                <c16:uniqueId val="{00000493-7775-4A9C-B2E5-37C768AAA5A6}"/>
              </c:ext>
            </c:extLst>
          </c:dPt>
          <c:dPt>
            <c:idx val="585"/>
            <c:invertIfNegative val="1"/>
            <c:bubble3D val="0"/>
            <c:spPr>
              <a:solidFill>
                <a:srgbClr val="AEABAB"/>
              </a:solidFill>
            </c:spPr>
            <c:extLst>
              <c:ext xmlns:c16="http://schemas.microsoft.com/office/drawing/2014/chart" uri="{C3380CC4-5D6E-409C-BE32-E72D297353CC}">
                <c16:uniqueId val="{00000495-7775-4A9C-B2E5-37C768AAA5A6}"/>
              </c:ext>
            </c:extLst>
          </c:dPt>
          <c:dPt>
            <c:idx val="586"/>
            <c:invertIfNegative val="1"/>
            <c:bubble3D val="0"/>
            <c:spPr>
              <a:solidFill>
                <a:srgbClr val="AEABAB"/>
              </a:solidFill>
            </c:spPr>
            <c:extLst>
              <c:ext xmlns:c16="http://schemas.microsoft.com/office/drawing/2014/chart" uri="{C3380CC4-5D6E-409C-BE32-E72D297353CC}">
                <c16:uniqueId val="{00000497-7775-4A9C-B2E5-37C768AAA5A6}"/>
              </c:ext>
            </c:extLst>
          </c:dPt>
          <c:dPt>
            <c:idx val="587"/>
            <c:invertIfNegative val="1"/>
            <c:bubble3D val="0"/>
            <c:spPr>
              <a:solidFill>
                <a:srgbClr val="AEABAB"/>
              </a:solidFill>
            </c:spPr>
            <c:extLst>
              <c:ext xmlns:c16="http://schemas.microsoft.com/office/drawing/2014/chart" uri="{C3380CC4-5D6E-409C-BE32-E72D297353CC}">
                <c16:uniqueId val="{00000499-7775-4A9C-B2E5-37C768AAA5A6}"/>
              </c:ext>
            </c:extLst>
          </c:dPt>
          <c:dPt>
            <c:idx val="588"/>
            <c:invertIfNegative val="1"/>
            <c:bubble3D val="0"/>
            <c:spPr>
              <a:solidFill>
                <a:srgbClr val="AEABAB"/>
              </a:solidFill>
            </c:spPr>
            <c:extLst>
              <c:ext xmlns:c16="http://schemas.microsoft.com/office/drawing/2014/chart" uri="{C3380CC4-5D6E-409C-BE32-E72D297353CC}">
                <c16:uniqueId val="{0000049B-7775-4A9C-B2E5-37C768AAA5A6}"/>
              </c:ext>
            </c:extLst>
          </c:dPt>
          <c:dPt>
            <c:idx val="589"/>
            <c:invertIfNegative val="1"/>
            <c:bubble3D val="0"/>
            <c:spPr>
              <a:solidFill>
                <a:srgbClr val="AEABAB"/>
              </a:solidFill>
            </c:spPr>
            <c:extLst>
              <c:ext xmlns:c16="http://schemas.microsoft.com/office/drawing/2014/chart" uri="{C3380CC4-5D6E-409C-BE32-E72D297353CC}">
                <c16:uniqueId val="{0000049D-7775-4A9C-B2E5-37C768AAA5A6}"/>
              </c:ext>
            </c:extLst>
          </c:dPt>
          <c:dPt>
            <c:idx val="590"/>
            <c:invertIfNegative val="1"/>
            <c:bubble3D val="0"/>
            <c:spPr>
              <a:solidFill>
                <a:srgbClr val="AEABAB"/>
              </a:solidFill>
            </c:spPr>
            <c:extLst>
              <c:ext xmlns:c16="http://schemas.microsoft.com/office/drawing/2014/chart" uri="{C3380CC4-5D6E-409C-BE32-E72D297353CC}">
                <c16:uniqueId val="{0000049F-7775-4A9C-B2E5-37C768AAA5A6}"/>
              </c:ext>
            </c:extLst>
          </c:dPt>
          <c:dPt>
            <c:idx val="591"/>
            <c:invertIfNegative val="1"/>
            <c:bubble3D val="0"/>
            <c:spPr>
              <a:solidFill>
                <a:srgbClr val="AEABAB"/>
              </a:solidFill>
            </c:spPr>
            <c:extLst>
              <c:ext xmlns:c16="http://schemas.microsoft.com/office/drawing/2014/chart" uri="{C3380CC4-5D6E-409C-BE32-E72D297353CC}">
                <c16:uniqueId val="{000004A1-7775-4A9C-B2E5-37C768AAA5A6}"/>
              </c:ext>
            </c:extLst>
          </c:dPt>
          <c:dPt>
            <c:idx val="592"/>
            <c:invertIfNegative val="1"/>
            <c:bubble3D val="0"/>
            <c:spPr>
              <a:solidFill>
                <a:srgbClr val="AEABAB"/>
              </a:solidFill>
            </c:spPr>
            <c:extLst>
              <c:ext xmlns:c16="http://schemas.microsoft.com/office/drawing/2014/chart" uri="{C3380CC4-5D6E-409C-BE32-E72D297353CC}">
                <c16:uniqueId val="{000004A3-7775-4A9C-B2E5-37C768AAA5A6}"/>
              </c:ext>
            </c:extLst>
          </c:dPt>
          <c:dPt>
            <c:idx val="593"/>
            <c:invertIfNegative val="1"/>
            <c:bubble3D val="0"/>
            <c:spPr>
              <a:solidFill>
                <a:srgbClr val="AEABAB"/>
              </a:solidFill>
            </c:spPr>
            <c:extLst>
              <c:ext xmlns:c16="http://schemas.microsoft.com/office/drawing/2014/chart" uri="{C3380CC4-5D6E-409C-BE32-E72D297353CC}">
                <c16:uniqueId val="{000004A5-7775-4A9C-B2E5-37C768AAA5A6}"/>
              </c:ext>
            </c:extLst>
          </c:dPt>
          <c:dPt>
            <c:idx val="594"/>
            <c:invertIfNegative val="1"/>
            <c:bubble3D val="0"/>
            <c:spPr>
              <a:solidFill>
                <a:srgbClr val="AEABAB"/>
              </a:solidFill>
            </c:spPr>
            <c:extLst>
              <c:ext xmlns:c16="http://schemas.microsoft.com/office/drawing/2014/chart" uri="{C3380CC4-5D6E-409C-BE32-E72D297353CC}">
                <c16:uniqueId val="{000004A7-7775-4A9C-B2E5-37C768AAA5A6}"/>
              </c:ext>
            </c:extLst>
          </c:dPt>
          <c:dPt>
            <c:idx val="595"/>
            <c:invertIfNegative val="1"/>
            <c:bubble3D val="0"/>
            <c:spPr>
              <a:solidFill>
                <a:srgbClr val="AEABAB"/>
              </a:solidFill>
            </c:spPr>
            <c:extLst>
              <c:ext xmlns:c16="http://schemas.microsoft.com/office/drawing/2014/chart" uri="{C3380CC4-5D6E-409C-BE32-E72D297353CC}">
                <c16:uniqueId val="{000004A9-7775-4A9C-B2E5-37C768AAA5A6}"/>
              </c:ext>
            </c:extLst>
          </c:dPt>
          <c:dPt>
            <c:idx val="596"/>
            <c:invertIfNegative val="1"/>
            <c:bubble3D val="0"/>
            <c:spPr>
              <a:solidFill>
                <a:srgbClr val="AEABAB"/>
              </a:solidFill>
            </c:spPr>
            <c:extLst>
              <c:ext xmlns:c16="http://schemas.microsoft.com/office/drawing/2014/chart" uri="{C3380CC4-5D6E-409C-BE32-E72D297353CC}">
                <c16:uniqueId val="{000004AB-7775-4A9C-B2E5-37C768AAA5A6}"/>
              </c:ext>
            </c:extLst>
          </c:dPt>
          <c:dPt>
            <c:idx val="597"/>
            <c:invertIfNegative val="1"/>
            <c:bubble3D val="0"/>
            <c:spPr>
              <a:solidFill>
                <a:srgbClr val="AEABAB"/>
              </a:solidFill>
            </c:spPr>
            <c:extLst>
              <c:ext xmlns:c16="http://schemas.microsoft.com/office/drawing/2014/chart" uri="{C3380CC4-5D6E-409C-BE32-E72D297353CC}">
                <c16:uniqueId val="{000004AD-7775-4A9C-B2E5-37C768AAA5A6}"/>
              </c:ext>
            </c:extLst>
          </c:dPt>
          <c:dPt>
            <c:idx val="598"/>
            <c:invertIfNegative val="1"/>
            <c:bubble3D val="0"/>
            <c:spPr>
              <a:solidFill>
                <a:srgbClr val="AEABAB"/>
              </a:solidFill>
            </c:spPr>
            <c:extLst>
              <c:ext xmlns:c16="http://schemas.microsoft.com/office/drawing/2014/chart" uri="{C3380CC4-5D6E-409C-BE32-E72D297353CC}">
                <c16:uniqueId val="{000004AF-7775-4A9C-B2E5-37C768AAA5A6}"/>
              </c:ext>
            </c:extLst>
          </c:dPt>
          <c:dPt>
            <c:idx val="599"/>
            <c:invertIfNegative val="1"/>
            <c:bubble3D val="0"/>
            <c:spPr>
              <a:solidFill>
                <a:srgbClr val="AEABAB"/>
              </a:solidFill>
            </c:spPr>
            <c:extLst>
              <c:ext xmlns:c16="http://schemas.microsoft.com/office/drawing/2014/chart" uri="{C3380CC4-5D6E-409C-BE32-E72D297353CC}">
                <c16:uniqueId val="{000004B1-7775-4A9C-B2E5-37C768AAA5A6}"/>
              </c:ext>
            </c:extLst>
          </c:dPt>
          <c:cat>
            <c:strRef>
              <c:f>Sheet1!$A$2:$A$601</c:f>
              <c:strCache>
                <c:ptCount val="600"/>
                <c:pt idx="0">
                  <c:v>Caprice Des</c:v>
                </c:pt>
                <c:pt idx="1">
                  <c:v>Coeur De Li</c:v>
                </c:pt>
                <c:pt idx="2">
                  <c:v>Galbani</c:v>
                </c:pt>
                <c:pt idx="3">
                  <c:v>Mini Babybe</c:v>
                </c:pt>
                <c:pt idx="4">
                  <c:v>President</c:v>
                </c:pt>
                <c:pt idx="5">
                  <c:v>Caprice Des</c:v>
                </c:pt>
                <c:pt idx="6">
                  <c:v>Coeur De Li</c:v>
                </c:pt>
                <c:pt idx="7">
                  <c:v>Islos</c:v>
                </c:pt>
                <c:pt idx="8">
                  <c:v>Soignon</c:v>
                </c:pt>
                <c:pt idx="9">
                  <c:v>Salakis</c:v>
                </c:pt>
                <c:pt idx="10">
                  <c:v>St Moret</c:v>
                </c:pt>
                <c:pt idx="11">
                  <c:v>Le Rustique</c:v>
                </c:pt>
                <c:pt idx="12">
                  <c:v>Soignon</c:v>
                </c:pt>
                <c:pt idx="13">
                  <c:v>Casa Azzurr</c:v>
                </c:pt>
                <c:pt idx="14">
                  <c:v>Soignon</c:v>
                </c:pt>
                <c:pt idx="15">
                  <c:v>Mini Babybe</c:v>
                </c:pt>
                <c:pt idx="16">
                  <c:v>Tartare</c:v>
                </c:pt>
                <c:pt idx="17">
                  <c:v>La Vache Qu</c:v>
                </c:pt>
                <c:pt idx="18">
                  <c:v>Ficello</c:v>
                </c:pt>
                <c:pt idx="19">
                  <c:v>All Others</c:v>
                </c:pt>
                <c:pt idx="20">
                  <c:v>Casa Azzurr</c:v>
                </c:pt>
                <c:pt idx="21">
                  <c:v>Mini Babybe</c:v>
                </c:pt>
                <c:pt idx="22">
                  <c:v>President</c:v>
                </c:pt>
                <c:pt idx="23">
                  <c:v>La Vache Qu</c:v>
                </c:pt>
                <c:pt idx="24">
                  <c:v>Paysan Bret</c:v>
                </c:pt>
                <c:pt idx="25">
                  <c:v>All Others</c:v>
                </c:pt>
                <c:pt idx="26">
                  <c:v>Galbani</c:v>
                </c:pt>
                <c:pt idx="27">
                  <c:v>St Moret</c:v>
                </c:pt>
                <c:pt idx="28">
                  <c:v>St Moret</c:v>
                </c:pt>
                <c:pt idx="29">
                  <c:v>La Vache Qu</c:v>
                </c:pt>
                <c:pt idx="30">
                  <c:v>Kiri</c:v>
                </c:pt>
                <c:pt idx="31">
                  <c:v>President</c:v>
                </c:pt>
                <c:pt idx="32">
                  <c:v>Paysan Bret</c:v>
                </c:pt>
                <c:pt idx="33">
                  <c:v>Carre Frais</c:v>
                </c:pt>
                <c:pt idx="34">
                  <c:v>Kiri</c:v>
                </c:pt>
                <c:pt idx="35">
                  <c:v>Casa Azzurr</c:v>
                </c:pt>
                <c:pt idx="36">
                  <c:v>St Moret</c:v>
                </c:pt>
                <c:pt idx="37">
                  <c:v>Galbani</c:v>
                </c:pt>
                <c:pt idx="38">
                  <c:v>Salakis</c:v>
                </c:pt>
                <c:pt idx="39">
                  <c:v>Casa Azzurr</c:v>
                </c:pt>
                <c:pt idx="40">
                  <c:v>Galbani</c:v>
                </c:pt>
                <c:pt idx="41">
                  <c:v>St Moret</c:v>
                </c:pt>
                <c:pt idx="42">
                  <c:v>Lepetit</c:v>
                </c:pt>
                <c:pt idx="43">
                  <c:v>Coeur De Li</c:v>
                </c:pt>
                <c:pt idx="44">
                  <c:v>Galbani</c:v>
                </c:pt>
                <c:pt idx="45">
                  <c:v>Carre Frais</c:v>
                </c:pt>
                <c:pt idx="46">
                  <c:v>Casa Azzurr</c:v>
                </c:pt>
                <c:pt idx="47">
                  <c:v>President</c:v>
                </c:pt>
                <c:pt idx="48">
                  <c:v>Salakis</c:v>
                </c:pt>
                <c:pt idx="49">
                  <c:v>Casa Azzurr</c:v>
                </c:pt>
                <c:pt idx="50">
                  <c:v>Philadelphi</c:v>
                </c:pt>
                <c:pt idx="51">
                  <c:v>Kiri</c:v>
                </c:pt>
                <c:pt idx="52">
                  <c:v>Caprice Des</c:v>
                </c:pt>
                <c:pt idx="53">
                  <c:v>Kiri</c:v>
                </c:pt>
                <c:pt idx="54">
                  <c:v>La Vache Qu</c:v>
                </c:pt>
                <c:pt idx="55">
                  <c:v>Casa Azzurr</c:v>
                </c:pt>
                <c:pt idx="56">
                  <c:v>All Others</c:v>
                </c:pt>
                <c:pt idx="57">
                  <c:v>Boursin</c:v>
                </c:pt>
                <c:pt idx="58">
                  <c:v>Petit Billy</c:v>
                </c:pt>
                <c:pt idx="59">
                  <c:v>Galbani</c:v>
                </c:pt>
                <c:pt idx="60">
                  <c:v>Boursin</c:v>
                </c:pt>
                <c:pt idx="61">
                  <c:v>Tartare</c:v>
                </c:pt>
                <c:pt idx="62">
                  <c:v>President</c:v>
                </c:pt>
                <c:pt idx="63">
                  <c:v>All Others</c:v>
                </c:pt>
                <c:pt idx="64">
                  <c:v>Le Rustique</c:v>
                </c:pt>
                <c:pt idx="65">
                  <c:v>Istara</c:v>
                </c:pt>
                <c:pt idx="66">
                  <c:v>Boursin</c:v>
                </c:pt>
                <c:pt idx="67">
                  <c:v>St Moret</c:v>
                </c:pt>
                <c:pt idx="68">
                  <c:v>St Moret</c:v>
                </c:pt>
                <c:pt idx="69">
                  <c:v>Lou Perac</c:v>
                </c:pt>
                <c:pt idx="70">
                  <c:v>All Others</c:v>
                </c:pt>
                <c:pt idx="71">
                  <c:v>St Moret</c:v>
                </c:pt>
                <c:pt idx="72">
                  <c:v>All Others</c:v>
                </c:pt>
                <c:pt idx="73">
                  <c:v>Coeur De Li</c:v>
                </c:pt>
                <c:pt idx="74">
                  <c:v>President</c:v>
                </c:pt>
                <c:pt idx="75">
                  <c:v>Galbani</c:v>
                </c:pt>
                <c:pt idx="76">
                  <c:v>Boursin</c:v>
                </c:pt>
                <c:pt idx="77">
                  <c:v>Philadelphi</c:v>
                </c:pt>
                <c:pt idx="78">
                  <c:v>Casa Azzurr</c:v>
                </c:pt>
                <c:pt idx="79">
                  <c:v>Le Brebiou</c:v>
                </c:pt>
                <c:pt idx="80">
                  <c:v>All Others</c:v>
                </c:pt>
                <c:pt idx="81">
                  <c:v>All Others</c:v>
                </c:pt>
                <c:pt idx="82">
                  <c:v>Le Rustique</c:v>
                </c:pt>
                <c:pt idx="83">
                  <c:v>Paysan Bret</c:v>
                </c:pt>
                <c:pt idx="84">
                  <c:v>Ficello</c:v>
                </c:pt>
                <c:pt idx="85">
                  <c:v>Salakis</c:v>
                </c:pt>
                <c:pt idx="86">
                  <c:v>Caprice Des</c:v>
                </c:pt>
                <c:pt idx="87">
                  <c:v>Galbani</c:v>
                </c:pt>
                <c:pt idx="88">
                  <c:v>Coeur De Li</c:v>
                </c:pt>
                <c:pt idx="89">
                  <c:v>Kiri</c:v>
                </c:pt>
                <c:pt idx="90">
                  <c:v>Casa Azzurr</c:v>
                </c:pt>
                <c:pt idx="91">
                  <c:v>All Others</c:v>
                </c:pt>
                <c:pt idx="92">
                  <c:v>All Others</c:v>
                </c:pt>
                <c:pt idx="93">
                  <c:v>All Others</c:v>
                </c:pt>
                <c:pt idx="94">
                  <c:v>Etorki</c:v>
                </c:pt>
                <c:pt idx="95">
                  <c:v>All Others</c:v>
                </c:pt>
                <c:pt idx="96">
                  <c:v>Chavroux</c:v>
                </c:pt>
                <c:pt idx="97">
                  <c:v>Salakis</c:v>
                </c:pt>
                <c:pt idx="98">
                  <c:v>All Others</c:v>
                </c:pt>
                <c:pt idx="99">
                  <c:v>Soignon</c:v>
                </c:pt>
                <c:pt idx="100">
                  <c:v>Lactalis: A</c:v>
                </c:pt>
                <c:pt idx="101">
                  <c:v>Soignon</c:v>
                </c:pt>
                <c:pt idx="102">
                  <c:v>President</c:v>
                </c:pt>
                <c:pt idx="103">
                  <c:v>Soignon</c:v>
                </c:pt>
                <c:pt idx="104">
                  <c:v>President</c:v>
                </c:pt>
                <c:pt idx="105">
                  <c:v>All Others</c:v>
                </c:pt>
                <c:pt idx="106">
                  <c:v>Lactalis: A</c:v>
                </c:pt>
                <c:pt idx="107">
                  <c:v>Lou Perac</c:v>
                </c:pt>
                <c:pt idx="108">
                  <c:v>La Vache Qu</c:v>
                </c:pt>
                <c:pt idx="109">
                  <c:v>All Others</c:v>
                </c:pt>
                <c:pt idx="110">
                  <c:v>Galbani</c:v>
                </c:pt>
                <c:pt idx="111">
                  <c:v>President</c:v>
                </c:pt>
                <c:pt idx="112">
                  <c:v>All Others</c:v>
                </c:pt>
                <c:pt idx="113">
                  <c:v>Rondele</c:v>
                </c:pt>
                <c:pt idx="114">
                  <c:v>Paysan Bret</c:v>
                </c:pt>
                <c:pt idx="115">
                  <c:v>Kiri</c:v>
                </c:pt>
                <c:pt idx="116">
                  <c:v>All Others</c:v>
                </c:pt>
                <c:pt idx="117">
                  <c:v>La Vache Qu</c:v>
                </c:pt>
                <c:pt idx="118">
                  <c:v>All Others</c:v>
                </c:pt>
                <c:pt idx="119">
                  <c:v>Salakis</c:v>
                </c:pt>
                <c:pt idx="120">
                  <c:v>Tartare</c:v>
                </c:pt>
                <c:pt idx="121">
                  <c:v>Galbani</c:v>
                </c:pt>
                <c:pt idx="122">
                  <c:v>Paysan Bret</c:v>
                </c:pt>
                <c:pt idx="123">
                  <c:v>President</c:v>
                </c:pt>
                <c:pt idx="124">
                  <c:v>Islos</c:v>
                </c:pt>
                <c:pt idx="125">
                  <c:v>Paysan Bret</c:v>
                </c:pt>
                <c:pt idx="126">
                  <c:v>Chavroux</c:v>
                </c:pt>
                <c:pt idx="127">
                  <c:v>President</c:v>
                </c:pt>
                <c:pt idx="128">
                  <c:v>Boursin</c:v>
                </c:pt>
                <c:pt idx="129">
                  <c:v>All Others</c:v>
                </c:pt>
                <c:pt idx="130">
                  <c:v>Soignon</c:v>
                </c:pt>
                <c:pt idx="131">
                  <c:v>P'Tit Louis</c:v>
                </c:pt>
                <c:pt idx="132">
                  <c:v>Philadelphi</c:v>
                </c:pt>
                <c:pt idx="133">
                  <c:v>All Others</c:v>
                </c:pt>
                <c:pt idx="134">
                  <c:v>All Others</c:v>
                </c:pt>
                <c:pt idx="135">
                  <c:v>Casa Azzurr</c:v>
                </c:pt>
                <c:pt idx="136">
                  <c:v>All Others</c:v>
                </c:pt>
                <c:pt idx="137">
                  <c:v>Casa Azzurr</c:v>
                </c:pt>
                <c:pt idx="138">
                  <c:v>All Others</c:v>
                </c:pt>
                <c:pt idx="139">
                  <c:v>Soignon</c:v>
                </c:pt>
                <c:pt idx="140">
                  <c:v>All Others</c:v>
                </c:pt>
                <c:pt idx="141">
                  <c:v>All Others</c:v>
                </c:pt>
                <c:pt idx="142">
                  <c:v>Soignon</c:v>
                </c:pt>
                <c:pt idx="143">
                  <c:v>All Others</c:v>
                </c:pt>
                <c:pt idx="144">
                  <c:v>President</c:v>
                </c:pt>
                <c:pt idx="145">
                  <c:v>All Others</c:v>
                </c:pt>
                <c:pt idx="146">
                  <c:v>Lactalis: A</c:v>
                </c:pt>
                <c:pt idx="147">
                  <c:v>Boursin</c:v>
                </c:pt>
                <c:pt idx="148">
                  <c:v>Boursin</c:v>
                </c:pt>
                <c:pt idx="149">
                  <c:v>All Others</c:v>
                </c:pt>
                <c:pt idx="150">
                  <c:v>Istara</c:v>
                </c:pt>
                <c:pt idx="151">
                  <c:v>All Others</c:v>
                </c:pt>
                <c:pt idx="152">
                  <c:v>Le Rustique</c:v>
                </c:pt>
                <c:pt idx="153">
                  <c:v>All Others</c:v>
                </c:pt>
                <c:pt idx="154">
                  <c:v>Rondele</c:v>
                </c:pt>
                <c:pt idx="155">
                  <c:v>Lou Perac</c:v>
                </c:pt>
                <c:pt idx="156">
                  <c:v>Mini Babybe</c:v>
                </c:pt>
                <c:pt idx="157">
                  <c:v>All Others</c:v>
                </c:pt>
                <c:pt idx="158">
                  <c:v>Savencia: A</c:v>
                </c:pt>
                <c:pt idx="159">
                  <c:v>Soignon</c:v>
                </c:pt>
                <c:pt idx="160">
                  <c:v>All Others</c:v>
                </c:pt>
                <c:pt idx="161">
                  <c:v>All Others</c:v>
                </c:pt>
                <c:pt idx="162">
                  <c:v>Chavroux</c:v>
                </c:pt>
                <c:pt idx="163">
                  <c:v>All Others</c:v>
                </c:pt>
                <c:pt idx="164">
                  <c:v>All Others</c:v>
                </c:pt>
                <c:pt idx="165">
                  <c:v>Paysan Bret</c:v>
                </c:pt>
                <c:pt idx="166">
                  <c:v>All Others</c:v>
                </c:pt>
                <c:pt idx="167">
                  <c:v>All Others</c:v>
                </c:pt>
                <c:pt idx="168">
                  <c:v>Boursin</c:v>
                </c:pt>
                <c:pt idx="169">
                  <c:v>All Others</c:v>
                </c:pt>
                <c:pt idx="170">
                  <c:v>Tartare</c:v>
                </c:pt>
                <c:pt idx="171">
                  <c:v>Casa Azzurr</c:v>
                </c:pt>
                <c:pt idx="172">
                  <c:v>Salakis</c:v>
                </c:pt>
                <c:pt idx="173">
                  <c:v>Lactalis: A</c:v>
                </c:pt>
                <c:pt idx="174">
                  <c:v>St Moret</c:v>
                </c:pt>
                <c:pt idx="175">
                  <c:v>All Others</c:v>
                </c:pt>
                <c:pt idx="176">
                  <c:v>Caprice Des</c:v>
                </c:pt>
                <c:pt idx="177">
                  <c:v>All Others</c:v>
                </c:pt>
                <c:pt idx="178">
                  <c:v>All Others</c:v>
                </c:pt>
                <c:pt idx="179">
                  <c:v>All Others</c:v>
                </c:pt>
                <c:pt idx="180">
                  <c:v>Savencia: A</c:v>
                </c:pt>
                <c:pt idx="181">
                  <c:v>All Others</c:v>
                </c:pt>
                <c:pt idx="182">
                  <c:v>Triballat N</c:v>
                </c:pt>
                <c:pt idx="183">
                  <c:v>All Others</c:v>
                </c:pt>
                <c:pt idx="184">
                  <c:v>Etoile Du Q</c:v>
                </c:pt>
                <c:pt idx="185">
                  <c:v>All Others</c:v>
                </c:pt>
                <c:pt idx="186">
                  <c:v>Boursin</c:v>
                </c:pt>
                <c:pt idx="187">
                  <c:v>All Others</c:v>
                </c:pt>
                <c:pt idx="188">
                  <c:v>Paysan Bret</c:v>
                </c:pt>
                <c:pt idx="189">
                  <c:v>All Others</c:v>
                </c:pt>
                <c:pt idx="190">
                  <c:v>Boursin</c:v>
                </c:pt>
                <c:pt idx="191">
                  <c:v>Philadelphi</c:v>
                </c:pt>
                <c:pt idx="192">
                  <c:v>President</c:v>
                </c:pt>
                <c:pt idx="193">
                  <c:v>Boursin</c:v>
                </c:pt>
                <c:pt idx="194">
                  <c:v>Soignon</c:v>
                </c:pt>
                <c:pt idx="195">
                  <c:v>Boursin</c:v>
                </c:pt>
                <c:pt idx="196">
                  <c:v>All Others</c:v>
                </c:pt>
                <c:pt idx="197">
                  <c:v>All Others</c:v>
                </c:pt>
                <c:pt idx="198">
                  <c:v>Soignon</c:v>
                </c:pt>
                <c:pt idx="199">
                  <c:v>All Others</c:v>
                </c:pt>
                <c:pt idx="200">
                  <c:v>All Others</c:v>
                </c:pt>
                <c:pt idx="201">
                  <c:v>Ficello</c:v>
                </c:pt>
                <c:pt idx="202">
                  <c:v>Mini Babybe</c:v>
                </c:pt>
                <c:pt idx="203">
                  <c:v>All Others</c:v>
                </c:pt>
                <c:pt idx="204">
                  <c:v>Pave D'Affi</c:v>
                </c:pt>
                <c:pt idx="205">
                  <c:v>All Others</c:v>
                </c:pt>
                <c:pt idx="206">
                  <c:v>Caprice Des</c:v>
                </c:pt>
                <c:pt idx="207">
                  <c:v>All Others</c:v>
                </c:pt>
                <c:pt idx="208">
                  <c:v>All Others</c:v>
                </c:pt>
                <c:pt idx="209">
                  <c:v>All Others</c:v>
                </c:pt>
                <c:pt idx="210">
                  <c:v>All Others</c:v>
                </c:pt>
                <c:pt idx="211">
                  <c:v>All Others</c:v>
                </c:pt>
                <c:pt idx="212">
                  <c:v>All Others</c:v>
                </c:pt>
                <c:pt idx="213">
                  <c:v>All Others</c:v>
                </c:pt>
                <c:pt idx="214">
                  <c:v>Mini Babybe</c:v>
                </c:pt>
                <c:pt idx="215">
                  <c:v>All Others</c:v>
                </c:pt>
                <c:pt idx="216">
                  <c:v>All Others</c:v>
                </c:pt>
                <c:pt idx="217">
                  <c:v>Savencia: A</c:v>
                </c:pt>
                <c:pt idx="218">
                  <c:v>Soignon</c:v>
                </c:pt>
                <c:pt idx="219">
                  <c:v>All Others</c:v>
                </c:pt>
                <c:pt idx="220">
                  <c:v>All Others</c:v>
                </c:pt>
                <c:pt idx="221">
                  <c:v>Triballat R</c:v>
                </c:pt>
                <c:pt idx="222">
                  <c:v>All Others</c:v>
                </c:pt>
                <c:pt idx="223">
                  <c:v>Lou Perac</c:v>
                </c:pt>
                <c:pt idx="224">
                  <c:v>Kiri</c:v>
                </c:pt>
                <c:pt idx="225">
                  <c:v>Kiri</c:v>
                </c:pt>
                <c:pt idx="226">
                  <c:v>All Others</c:v>
                </c:pt>
                <c:pt idx="227">
                  <c:v>Kiri</c:v>
                </c:pt>
                <c:pt idx="228">
                  <c:v>Lactalis: A</c:v>
                </c:pt>
                <c:pt idx="229">
                  <c:v>All Others</c:v>
                </c:pt>
                <c:pt idx="230">
                  <c:v>All Others</c:v>
                </c:pt>
                <c:pt idx="231">
                  <c:v>All Others</c:v>
                </c:pt>
                <c:pt idx="232">
                  <c:v>All Others</c:v>
                </c:pt>
                <c:pt idx="233">
                  <c:v>Tartare</c:v>
                </c:pt>
                <c:pt idx="234">
                  <c:v>All Others</c:v>
                </c:pt>
                <c:pt idx="235">
                  <c:v>All Others</c:v>
                </c:pt>
                <c:pt idx="236">
                  <c:v>All Others</c:v>
                </c:pt>
                <c:pt idx="237">
                  <c:v>All Others</c:v>
                </c:pt>
                <c:pt idx="238">
                  <c:v>All Others</c:v>
                </c:pt>
                <c:pt idx="239">
                  <c:v>All Others</c:v>
                </c:pt>
                <c:pt idx="240">
                  <c:v>All Others</c:v>
                </c:pt>
                <c:pt idx="241">
                  <c:v>Saint Agur</c:v>
                </c:pt>
                <c:pt idx="242">
                  <c:v>All Others</c:v>
                </c:pt>
                <c:pt idx="243">
                  <c:v>All Others</c:v>
                </c:pt>
                <c:pt idx="244">
                  <c:v>All Others</c:v>
                </c:pt>
                <c:pt idx="245">
                  <c:v>Savencia: A</c:v>
                </c:pt>
                <c:pt idx="246">
                  <c:v>Corsica</c:v>
                </c:pt>
                <c:pt idx="247">
                  <c:v>All Others</c:v>
                </c:pt>
                <c:pt idx="248">
                  <c:v>Chavroux</c:v>
                </c:pt>
                <c:pt idx="249">
                  <c:v>Eurial Autr</c:v>
                </c:pt>
                <c:pt idx="250">
                  <c:v>All Others</c:v>
                </c:pt>
                <c:pt idx="251">
                  <c:v>All Others</c:v>
                </c:pt>
                <c:pt idx="252">
                  <c:v>All Others</c:v>
                </c:pt>
                <c:pt idx="253">
                  <c:v>Lou Perac</c:v>
                </c:pt>
                <c:pt idx="254">
                  <c:v>Lactalis: A</c:v>
                </c:pt>
                <c:pt idx="255">
                  <c:v>All Others</c:v>
                </c:pt>
                <c:pt idx="256">
                  <c:v>La Vache Qu</c:v>
                </c:pt>
                <c:pt idx="257">
                  <c:v>All Others</c:v>
                </c:pt>
                <c:pt idx="258">
                  <c:v>All Others</c:v>
                </c:pt>
                <c:pt idx="259">
                  <c:v>Salakis</c:v>
                </c:pt>
                <c:pt idx="260">
                  <c:v>Etoile Du Q</c:v>
                </c:pt>
                <c:pt idx="261">
                  <c:v>All Others</c:v>
                </c:pt>
                <c:pt idx="262">
                  <c:v>Etoile Du V</c:v>
                </c:pt>
                <c:pt idx="263">
                  <c:v>All Others</c:v>
                </c:pt>
                <c:pt idx="264">
                  <c:v>All Others</c:v>
                </c:pt>
                <c:pt idx="265">
                  <c:v>Triballat R</c:v>
                </c:pt>
                <c:pt idx="266">
                  <c:v>Lactalis: A</c:v>
                </c:pt>
                <c:pt idx="267">
                  <c:v>All Others</c:v>
                </c:pt>
                <c:pt idx="268">
                  <c:v>All Others</c:v>
                </c:pt>
                <c:pt idx="269">
                  <c:v>All Others</c:v>
                </c:pt>
                <c:pt idx="270">
                  <c:v>All Others</c:v>
                </c:pt>
                <c:pt idx="271">
                  <c:v>All Others</c:v>
                </c:pt>
                <c:pt idx="272">
                  <c:v>Savencia: A</c:v>
                </c:pt>
                <c:pt idx="273">
                  <c:v>All Others</c:v>
                </c:pt>
                <c:pt idx="274">
                  <c:v>All Others</c:v>
                </c:pt>
                <c:pt idx="275">
                  <c:v>All Others</c:v>
                </c:pt>
                <c:pt idx="276">
                  <c:v>All Others</c:v>
                </c:pt>
                <c:pt idx="277">
                  <c:v>All Others</c:v>
                </c:pt>
                <c:pt idx="278">
                  <c:v>All Others</c:v>
                </c:pt>
                <c:pt idx="279">
                  <c:v>All Others</c:v>
                </c:pt>
                <c:pt idx="280">
                  <c:v>All Others</c:v>
                </c:pt>
                <c:pt idx="281">
                  <c:v>All Others</c:v>
                </c:pt>
                <c:pt idx="282">
                  <c:v>All Others</c:v>
                </c:pt>
                <c:pt idx="283">
                  <c:v>All Others</c:v>
                </c:pt>
                <c:pt idx="284">
                  <c:v>All Others</c:v>
                </c:pt>
                <c:pt idx="285">
                  <c:v>All Others</c:v>
                </c:pt>
                <c:pt idx="286">
                  <c:v>Islos</c:v>
                </c:pt>
                <c:pt idx="287">
                  <c:v>All Others</c:v>
                </c:pt>
                <c:pt idx="288">
                  <c:v>All Others</c:v>
                </c:pt>
                <c:pt idx="289">
                  <c:v>Philadelphi</c:v>
                </c:pt>
                <c:pt idx="290">
                  <c:v>All Others</c:v>
                </c:pt>
                <c:pt idx="291">
                  <c:v>Triballat R</c:v>
                </c:pt>
                <c:pt idx="292">
                  <c:v>All Others</c:v>
                </c:pt>
                <c:pt idx="293">
                  <c:v>All Others</c:v>
                </c:pt>
                <c:pt idx="294">
                  <c:v>Lactalis: A</c:v>
                </c:pt>
                <c:pt idx="295">
                  <c:v>All Others</c:v>
                </c:pt>
                <c:pt idx="296">
                  <c:v>All Others</c:v>
                </c:pt>
                <c:pt idx="297">
                  <c:v>All Others</c:v>
                </c:pt>
                <c:pt idx="298">
                  <c:v>All Others</c:v>
                </c:pt>
                <c:pt idx="299">
                  <c:v>All Others</c:v>
                </c:pt>
                <c:pt idx="300">
                  <c:v>Triballat N</c:v>
                </c:pt>
                <c:pt idx="301">
                  <c:v>All Others</c:v>
                </c:pt>
                <c:pt idx="302">
                  <c:v>All Others</c:v>
                </c:pt>
                <c:pt idx="303">
                  <c:v>All Others</c:v>
                </c:pt>
                <c:pt idx="304">
                  <c:v>All Others</c:v>
                </c:pt>
                <c:pt idx="305">
                  <c:v>All Others</c:v>
                </c:pt>
                <c:pt idx="306">
                  <c:v>Paysan Bret</c:v>
                </c:pt>
                <c:pt idx="307">
                  <c:v>Savencia: A</c:v>
                </c:pt>
                <c:pt idx="308">
                  <c:v>All Others</c:v>
                </c:pt>
                <c:pt idx="309">
                  <c:v>All Others</c:v>
                </c:pt>
                <c:pt idx="310">
                  <c:v>All Others</c:v>
                </c:pt>
                <c:pt idx="311">
                  <c:v>All Others</c:v>
                </c:pt>
                <c:pt idx="312">
                  <c:v>Lactalis: A</c:v>
                </c:pt>
                <c:pt idx="313">
                  <c:v>All Others</c:v>
                </c:pt>
                <c:pt idx="314">
                  <c:v>All Others</c:v>
                </c:pt>
                <c:pt idx="315">
                  <c:v>All Others</c:v>
                </c:pt>
                <c:pt idx="316">
                  <c:v>All Others</c:v>
                </c:pt>
                <c:pt idx="317">
                  <c:v>Corsica</c:v>
                </c:pt>
                <c:pt idx="318">
                  <c:v>All Others</c:v>
                </c:pt>
                <c:pt idx="319">
                  <c:v>Casa Azzurr</c:v>
                </c:pt>
                <c:pt idx="320">
                  <c:v>All Others</c:v>
                </c:pt>
                <c:pt idx="321">
                  <c:v>Paysan Bret</c:v>
                </c:pt>
                <c:pt idx="322">
                  <c:v>Etoile Du V</c:v>
                </c:pt>
                <c:pt idx="323">
                  <c:v>All Others</c:v>
                </c:pt>
                <c:pt idx="324">
                  <c:v>All Others</c:v>
                </c:pt>
                <c:pt idx="325">
                  <c:v>All Others</c:v>
                </c:pt>
                <c:pt idx="326">
                  <c:v>All Others</c:v>
                </c:pt>
                <c:pt idx="327">
                  <c:v>All Others</c:v>
                </c:pt>
                <c:pt idx="328">
                  <c:v>All Others</c:v>
                </c:pt>
                <c:pt idx="329">
                  <c:v>Caprice Des</c:v>
                </c:pt>
                <c:pt idx="330">
                  <c:v>All Others</c:v>
                </c:pt>
                <c:pt idx="331">
                  <c:v>All Others</c:v>
                </c:pt>
                <c:pt idx="332">
                  <c:v>All Others</c:v>
                </c:pt>
                <c:pt idx="333">
                  <c:v>All Others</c:v>
                </c:pt>
                <c:pt idx="334">
                  <c:v>All Others</c:v>
                </c:pt>
                <c:pt idx="335">
                  <c:v>Milleret: A</c:v>
                </c:pt>
                <c:pt idx="336">
                  <c:v>Paysan Bret</c:v>
                </c:pt>
                <c:pt idx="337">
                  <c:v>All Others</c:v>
                </c:pt>
                <c:pt idx="338">
                  <c:v>All Others</c:v>
                </c:pt>
                <c:pt idx="339">
                  <c:v>All Others</c:v>
                </c:pt>
                <c:pt idx="340">
                  <c:v>All Others</c:v>
                </c:pt>
                <c:pt idx="341">
                  <c:v>All Others</c:v>
                </c:pt>
                <c:pt idx="342">
                  <c:v>All Others</c:v>
                </c:pt>
                <c:pt idx="343">
                  <c:v>All Others</c:v>
                </c:pt>
                <c:pt idx="344">
                  <c:v>All Others</c:v>
                </c:pt>
                <c:pt idx="345">
                  <c:v>Tartare</c:v>
                </c:pt>
                <c:pt idx="346">
                  <c:v>Tartare</c:v>
                </c:pt>
                <c:pt idx="347">
                  <c:v>All Others</c:v>
                </c:pt>
                <c:pt idx="348">
                  <c:v>All Others</c:v>
                </c:pt>
                <c:pt idx="349">
                  <c:v>All Others</c:v>
                </c:pt>
                <c:pt idx="350">
                  <c:v>All Others</c:v>
                </c:pt>
                <c:pt idx="351">
                  <c:v>President</c:v>
                </c:pt>
                <c:pt idx="352">
                  <c:v>All Others</c:v>
                </c:pt>
                <c:pt idx="353">
                  <c:v>All Others</c:v>
                </c:pt>
                <c:pt idx="354">
                  <c:v>All Others</c:v>
                </c:pt>
                <c:pt idx="355">
                  <c:v>All Others</c:v>
                </c:pt>
                <c:pt idx="356">
                  <c:v>Tartare</c:v>
                </c:pt>
                <c:pt idx="357">
                  <c:v>Triballat R</c:v>
                </c:pt>
                <c:pt idx="358">
                  <c:v>All Others</c:v>
                </c:pt>
                <c:pt idx="359">
                  <c:v>All Others</c:v>
                </c:pt>
                <c:pt idx="360">
                  <c:v>All Others</c:v>
                </c:pt>
                <c:pt idx="361">
                  <c:v>All Others</c:v>
                </c:pt>
                <c:pt idx="362">
                  <c:v>All Others</c:v>
                </c:pt>
                <c:pt idx="363">
                  <c:v>All Others</c:v>
                </c:pt>
                <c:pt idx="364">
                  <c:v>All Others</c:v>
                </c:pt>
                <c:pt idx="365">
                  <c:v>All Others</c:v>
                </c:pt>
                <c:pt idx="366">
                  <c:v>All Others</c:v>
                </c:pt>
                <c:pt idx="367">
                  <c:v>All Others</c:v>
                </c:pt>
                <c:pt idx="368">
                  <c:v>All Others</c:v>
                </c:pt>
                <c:pt idx="369">
                  <c:v>Triballat N</c:v>
                </c:pt>
                <c:pt idx="370">
                  <c:v>All Others</c:v>
                </c:pt>
                <c:pt idx="371">
                  <c:v>All Others</c:v>
                </c:pt>
                <c:pt idx="372">
                  <c:v>All Others</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All Others</c:v>
                </c:pt>
                <c:pt idx="392">
                  <c:v>All Others</c:v>
                </c:pt>
                <c:pt idx="393">
                  <c:v>Lactalis: A</c:v>
                </c:pt>
                <c:pt idx="394">
                  <c:v>All Others</c:v>
                </c:pt>
                <c:pt idx="395">
                  <c:v>All Others</c:v>
                </c:pt>
                <c:pt idx="396">
                  <c:v>All Others</c:v>
                </c:pt>
                <c:pt idx="397">
                  <c:v>All Others</c:v>
                </c:pt>
                <c:pt idx="398">
                  <c:v>All Others</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Boursin</c:v>
                </c:pt>
                <c:pt idx="412">
                  <c:v>All Others</c:v>
                </c:pt>
                <c:pt idx="413">
                  <c:v>Ficello</c:v>
                </c:pt>
                <c:pt idx="414">
                  <c:v>All Others</c:v>
                </c:pt>
                <c:pt idx="415">
                  <c:v>All Others</c:v>
                </c:pt>
                <c:pt idx="416">
                  <c:v>All Others</c:v>
                </c:pt>
                <c:pt idx="417">
                  <c:v>All Others</c:v>
                </c:pt>
                <c:pt idx="418">
                  <c:v>All Others</c:v>
                </c:pt>
                <c:pt idx="419">
                  <c:v>Tartare</c:v>
                </c:pt>
                <c:pt idx="420">
                  <c:v>All Others</c:v>
                </c:pt>
                <c:pt idx="421">
                  <c:v>All Others</c:v>
                </c:pt>
                <c:pt idx="422">
                  <c:v>All Others</c:v>
                </c:pt>
                <c:pt idx="423">
                  <c:v>All Others</c:v>
                </c:pt>
                <c:pt idx="424">
                  <c:v>All Others</c:v>
                </c:pt>
                <c:pt idx="425">
                  <c:v>Kiri</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Istara</c:v>
                </c:pt>
                <c:pt idx="440">
                  <c:v>All Others</c:v>
                </c:pt>
                <c:pt idx="441">
                  <c:v>All Others</c:v>
                </c:pt>
                <c:pt idx="442">
                  <c:v>All Others</c:v>
                </c:pt>
                <c:pt idx="443">
                  <c:v>All Others</c:v>
                </c:pt>
                <c:pt idx="444">
                  <c:v>Triballat R</c:v>
                </c:pt>
                <c:pt idx="445">
                  <c:v>All Others</c:v>
                </c:pt>
                <c:pt idx="446">
                  <c:v>All Others</c:v>
                </c:pt>
                <c:pt idx="447">
                  <c:v>All Others</c:v>
                </c:pt>
                <c:pt idx="448">
                  <c:v>Milleret: A</c:v>
                </c:pt>
                <c:pt idx="449">
                  <c:v>Eurial Autr</c:v>
                </c:pt>
                <c:pt idx="450">
                  <c:v>All Others</c:v>
                </c:pt>
                <c:pt idx="451">
                  <c:v>All Others</c:v>
                </c:pt>
                <c:pt idx="452">
                  <c:v>All Others</c:v>
                </c:pt>
                <c:pt idx="453">
                  <c:v>All Others</c:v>
                </c:pt>
                <c:pt idx="454">
                  <c:v>All Others</c:v>
                </c:pt>
                <c:pt idx="455">
                  <c:v>All Others</c:v>
                </c:pt>
                <c:pt idx="456">
                  <c:v>Eurial Autr</c:v>
                </c:pt>
                <c:pt idx="457">
                  <c:v>All Others</c:v>
                </c:pt>
                <c:pt idx="458">
                  <c:v>All Others</c:v>
                </c:pt>
                <c:pt idx="459">
                  <c:v>All Others</c:v>
                </c:pt>
                <c:pt idx="460">
                  <c:v>All Others</c:v>
                </c:pt>
                <c:pt idx="461">
                  <c:v>Soignon</c:v>
                </c:pt>
                <c:pt idx="462">
                  <c:v>Saint Agur</c:v>
                </c:pt>
                <c:pt idx="463">
                  <c:v>All Others</c:v>
                </c:pt>
                <c:pt idx="464">
                  <c:v>Boursin</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All Others</c:v>
                </c:pt>
                <c:pt idx="484">
                  <c:v>All Others</c:v>
                </c:pt>
                <c:pt idx="485">
                  <c:v>All Others</c:v>
                </c:pt>
                <c:pt idx="486">
                  <c:v>All Others</c:v>
                </c:pt>
                <c:pt idx="487">
                  <c:v>All Others</c:v>
                </c:pt>
                <c:pt idx="488">
                  <c:v>All Others</c:v>
                </c:pt>
                <c:pt idx="489">
                  <c:v>All Others</c:v>
                </c:pt>
                <c:pt idx="490">
                  <c:v>All Others</c:v>
                </c:pt>
                <c:pt idx="491">
                  <c:v>All Others</c:v>
                </c:pt>
                <c:pt idx="492">
                  <c:v>All Others</c:v>
                </c:pt>
                <c:pt idx="493">
                  <c:v>All Others</c:v>
                </c:pt>
                <c:pt idx="494">
                  <c:v>La Vache Qu</c:v>
                </c:pt>
                <c:pt idx="495">
                  <c:v>All Others</c:v>
                </c:pt>
                <c:pt idx="496">
                  <c:v>All Others</c:v>
                </c:pt>
                <c:pt idx="497">
                  <c:v>All Others</c:v>
                </c:pt>
                <c:pt idx="498">
                  <c:v>All Others</c:v>
                </c:pt>
                <c:pt idx="499">
                  <c:v>All Others</c:v>
                </c:pt>
                <c:pt idx="500">
                  <c:v>All Others</c:v>
                </c:pt>
                <c:pt idx="501">
                  <c:v>All Others</c:v>
                </c:pt>
                <c:pt idx="502">
                  <c:v>Eurial Autr</c:v>
                </c:pt>
                <c:pt idx="503">
                  <c:v>All Others</c:v>
                </c:pt>
                <c:pt idx="504">
                  <c:v>Mini Babybe</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St Moret</c:v>
                </c:pt>
                <c:pt idx="522">
                  <c:v>All Others</c:v>
                </c:pt>
                <c:pt idx="523">
                  <c:v>All Others</c:v>
                </c:pt>
                <c:pt idx="524">
                  <c:v>All Others</c:v>
                </c:pt>
                <c:pt idx="525">
                  <c:v>All Others</c:v>
                </c:pt>
                <c:pt idx="526">
                  <c:v>All Others</c:v>
                </c:pt>
                <c:pt idx="527">
                  <c:v>Kiri</c:v>
                </c:pt>
                <c:pt idx="528">
                  <c:v>Lactalis: A</c:v>
                </c:pt>
                <c:pt idx="529">
                  <c:v>All Others</c:v>
                </c:pt>
                <c:pt idx="530">
                  <c:v>All Others</c:v>
                </c:pt>
                <c:pt idx="531">
                  <c:v>All Others</c:v>
                </c:pt>
                <c:pt idx="532">
                  <c:v>All Others</c:v>
                </c:pt>
                <c:pt idx="533">
                  <c:v>All Others</c:v>
                </c:pt>
                <c:pt idx="534">
                  <c:v>All Others</c:v>
                </c:pt>
                <c:pt idx="535">
                  <c:v>Boursin</c:v>
                </c:pt>
                <c:pt idx="536">
                  <c:v>All Others</c:v>
                </c:pt>
                <c:pt idx="537">
                  <c:v>All Others</c:v>
                </c:pt>
                <c:pt idx="538">
                  <c:v>All Others</c:v>
                </c:pt>
                <c:pt idx="539">
                  <c:v>All Others</c:v>
                </c:pt>
                <c:pt idx="540">
                  <c:v>Triballat R</c:v>
                </c:pt>
                <c:pt idx="541">
                  <c:v>All Others</c:v>
                </c:pt>
                <c:pt idx="542">
                  <c:v>All Others</c:v>
                </c:pt>
                <c:pt idx="543">
                  <c:v>Lactalis: A</c:v>
                </c:pt>
                <c:pt idx="544">
                  <c:v>Lactalis: A</c:v>
                </c:pt>
                <c:pt idx="545">
                  <c:v>All Others</c:v>
                </c:pt>
                <c:pt idx="546">
                  <c:v>All Others</c:v>
                </c:pt>
                <c:pt idx="547">
                  <c:v>Lactalis: A</c:v>
                </c:pt>
                <c:pt idx="548">
                  <c:v>All Others</c:v>
                </c:pt>
                <c:pt idx="549">
                  <c:v>All Others</c:v>
                </c:pt>
                <c:pt idx="550">
                  <c:v>All Others</c:v>
                </c:pt>
                <c:pt idx="551">
                  <c:v>All Others</c:v>
                </c:pt>
                <c:pt idx="552">
                  <c:v>All Others</c:v>
                </c:pt>
                <c:pt idx="553">
                  <c:v>All Others</c:v>
                </c:pt>
                <c:pt idx="554">
                  <c:v>All Others</c:v>
                </c:pt>
                <c:pt idx="555">
                  <c:v>All Others</c:v>
                </c:pt>
                <c:pt idx="556">
                  <c:v>All Others</c:v>
                </c:pt>
                <c:pt idx="557">
                  <c:v>All Others</c:v>
                </c:pt>
                <c:pt idx="558">
                  <c:v>All Others</c:v>
                </c:pt>
                <c:pt idx="559">
                  <c:v>All Others</c:v>
                </c:pt>
                <c:pt idx="560">
                  <c:v>All Others</c:v>
                </c:pt>
                <c:pt idx="561">
                  <c:v>All Others</c:v>
                </c:pt>
                <c:pt idx="562">
                  <c:v>All Others</c:v>
                </c:pt>
                <c:pt idx="563">
                  <c:v>Triballat R</c:v>
                </c:pt>
                <c:pt idx="564">
                  <c:v>All Others</c:v>
                </c:pt>
                <c:pt idx="565">
                  <c:v>All Others</c:v>
                </c:pt>
                <c:pt idx="566">
                  <c:v>Istara</c:v>
                </c:pt>
                <c:pt idx="567">
                  <c:v>All Others</c:v>
                </c:pt>
                <c:pt idx="568">
                  <c:v>All Others</c:v>
                </c:pt>
                <c:pt idx="569">
                  <c:v>Mini Babybe</c:v>
                </c:pt>
                <c:pt idx="570">
                  <c:v>St Moret</c:v>
                </c:pt>
                <c:pt idx="571">
                  <c:v>All Others</c:v>
                </c:pt>
                <c:pt idx="572">
                  <c:v>Islos</c:v>
                </c:pt>
                <c:pt idx="573">
                  <c:v>St Moret</c:v>
                </c:pt>
                <c:pt idx="574">
                  <c:v>All Others</c:v>
                </c:pt>
                <c:pt idx="575">
                  <c:v>Eurial Autr</c:v>
                </c:pt>
                <c:pt idx="576">
                  <c:v>All Others</c:v>
                </c:pt>
                <c:pt idx="577">
                  <c:v>All Others</c:v>
                </c:pt>
                <c:pt idx="578">
                  <c:v>All Others</c:v>
                </c:pt>
                <c:pt idx="579">
                  <c:v>All Others</c:v>
                </c:pt>
                <c:pt idx="580">
                  <c:v>Le Brebiou</c:v>
                </c:pt>
                <c:pt idx="581">
                  <c:v>Etorki</c:v>
                </c:pt>
                <c:pt idx="582">
                  <c:v>All Others</c:v>
                </c:pt>
                <c:pt idx="583">
                  <c:v>All Others</c:v>
                </c:pt>
                <c:pt idx="584">
                  <c:v>All Others</c:v>
                </c:pt>
                <c:pt idx="585">
                  <c:v>All Others</c:v>
                </c:pt>
                <c:pt idx="586">
                  <c:v>All Others</c:v>
                </c:pt>
                <c:pt idx="587">
                  <c:v>Tartare</c:v>
                </c:pt>
                <c:pt idx="588">
                  <c:v>Boursin</c:v>
                </c:pt>
                <c:pt idx="589">
                  <c:v>All Others</c:v>
                </c:pt>
                <c:pt idx="590">
                  <c:v>All Others</c:v>
                </c:pt>
                <c:pt idx="591">
                  <c:v>All Others</c:v>
                </c:pt>
                <c:pt idx="592">
                  <c:v>All Others</c:v>
                </c:pt>
                <c:pt idx="593">
                  <c:v>All Others</c:v>
                </c:pt>
                <c:pt idx="594">
                  <c:v>All Others</c:v>
                </c:pt>
                <c:pt idx="595">
                  <c:v>P'Tit Louis</c:v>
                </c:pt>
                <c:pt idx="596">
                  <c:v>All Others</c:v>
                </c:pt>
                <c:pt idx="597">
                  <c:v>President</c:v>
                </c:pt>
                <c:pt idx="598">
                  <c:v>Petit Billy</c:v>
                </c:pt>
                <c:pt idx="599">
                  <c:v>Caprice Des</c:v>
                </c:pt>
              </c:strCache>
            </c:strRef>
          </c:cat>
          <c:val>
            <c:numRef>
              <c:f>Sheet1!$C$2:$C$601</c:f>
              <c:numCache>
                <c:formatCode>General</c:formatCode>
                <c:ptCount val="600"/>
                <c:pt idx="0">
                  <c:v>0.15447206904907329</c:v>
                </c:pt>
                <c:pt idx="1">
                  <c:v>0.19663394591495947</c:v>
                </c:pt>
                <c:pt idx="2">
                  <c:v>0.20966488444001816</c:v>
                </c:pt>
                <c:pt idx="3">
                  <c:v>0.22148076980322848</c:v>
                </c:pt>
                <c:pt idx="4">
                  <c:v>0.23234855541901978</c:v>
                </c:pt>
                <c:pt idx="5">
                  <c:v>0.24281045064015006</c:v>
                </c:pt>
                <c:pt idx="6">
                  <c:v>0.25268855116618827</c:v>
                </c:pt>
                <c:pt idx="7">
                  <c:v>0.27234170395812951</c:v>
                </c:pt>
                <c:pt idx="8">
                  <c:v>0.28209910881556899</c:v>
                </c:pt>
                <c:pt idx="9">
                  <c:v>0.29183787238577158</c:v>
                </c:pt>
                <c:pt idx="10">
                  <c:v>0.30079856220163637</c:v>
                </c:pt>
                <c:pt idx="11">
                  <c:v>0.30904396231250475</c:v>
                </c:pt>
                <c:pt idx="12">
                  <c:v>0.31718365977968471</c:v>
                </c:pt>
                <c:pt idx="13">
                  <c:v>0.33321743333182391</c:v>
                </c:pt>
                <c:pt idx="14">
                  <c:v>0.34102416928945617</c:v>
                </c:pt>
                <c:pt idx="15">
                  <c:v>0.3773824728654126</c:v>
                </c:pt>
                <c:pt idx="16">
                  <c:v>0.39841372341992426</c:v>
                </c:pt>
                <c:pt idx="17">
                  <c:v>0.41849560157736804</c:v>
                </c:pt>
                <c:pt idx="18">
                  <c:v>0.42491747654858192</c:v>
                </c:pt>
                <c:pt idx="19">
                  <c:v>0.43740042425533515</c:v>
                </c:pt>
                <c:pt idx="20">
                  <c:v>0.44349423438803104</c:v>
                </c:pt>
                <c:pt idx="21">
                  <c:v>0.4553995445998979</c:v>
                </c:pt>
                <c:pt idx="22">
                  <c:v>0.46129828784261306</c:v>
                </c:pt>
                <c:pt idx="23">
                  <c:v>0.46713896189992388</c:v>
                </c:pt>
                <c:pt idx="24">
                  <c:v>0.47854899322989169</c:v>
                </c:pt>
                <c:pt idx="25">
                  <c:v>0.48412698027921497</c:v>
                </c:pt>
                <c:pt idx="26">
                  <c:v>0.48960082822584688</c:v>
                </c:pt>
                <c:pt idx="27">
                  <c:v>0.49504374472577622</c:v>
                </c:pt>
                <c:pt idx="28">
                  <c:v>0.50044111248875101</c:v>
                </c:pt>
                <c:pt idx="29">
                  <c:v>0.50582502652686689</c:v>
                </c:pt>
                <c:pt idx="30">
                  <c:v>0.51117290639921209</c:v>
                </c:pt>
                <c:pt idx="31">
                  <c:v>0.52182131145649391</c:v>
                </c:pt>
                <c:pt idx="32">
                  <c:v>0.5320303614935874</c:v>
                </c:pt>
                <c:pt idx="33">
                  <c:v>0.5370394135475276</c:v>
                </c:pt>
                <c:pt idx="34">
                  <c:v>0.54203230901116428</c:v>
                </c:pt>
                <c:pt idx="35">
                  <c:v>0.5469930124989224</c:v>
                </c:pt>
                <c:pt idx="36">
                  <c:v>0.55186254578993432</c:v>
                </c:pt>
                <c:pt idx="37">
                  <c:v>0.55661861933463641</c:v>
                </c:pt>
                <c:pt idx="38">
                  <c:v>0.56133854962931229</c:v>
                </c:pt>
                <c:pt idx="39">
                  <c:v>0.57074053374102074</c:v>
                </c:pt>
                <c:pt idx="40">
                  <c:v>0.5753255389319768</c:v>
                </c:pt>
                <c:pt idx="41">
                  <c:v>0.57989029081280752</c:v>
                </c:pt>
                <c:pt idx="42">
                  <c:v>0.58444114051128404</c:v>
                </c:pt>
                <c:pt idx="43">
                  <c:v>0.58887899104141894</c:v>
                </c:pt>
                <c:pt idx="44">
                  <c:v>0.60193617039018876</c:v>
                </c:pt>
                <c:pt idx="45">
                  <c:v>0.60623017514858946</c:v>
                </c:pt>
                <c:pt idx="46">
                  <c:v>0.61049740578247369</c:v>
                </c:pt>
                <c:pt idx="47">
                  <c:v>0.6146890531476914</c:v>
                </c:pt>
                <c:pt idx="48">
                  <c:v>0.6227893590781225</c:v>
                </c:pt>
                <c:pt idx="49">
                  <c:v>0.62673319125553439</c:v>
                </c:pt>
                <c:pt idx="50">
                  <c:v>0.6306104699165499</c:v>
                </c:pt>
                <c:pt idx="51">
                  <c:v>0.63439272407045411</c:v>
                </c:pt>
                <c:pt idx="52">
                  <c:v>0.6381609669577486</c:v>
                </c:pt>
                <c:pt idx="53">
                  <c:v>0.64192084671877947</c:v>
                </c:pt>
                <c:pt idx="54">
                  <c:v>0.64560949446089533</c:v>
                </c:pt>
                <c:pt idx="55">
                  <c:v>0.6492900942090416</c:v>
                </c:pt>
                <c:pt idx="56">
                  <c:v>0.65289886803510355</c:v>
                </c:pt>
                <c:pt idx="57">
                  <c:v>0.65648575228720585</c:v>
                </c:pt>
                <c:pt idx="58">
                  <c:v>0.66006519456898083</c:v>
                </c:pt>
                <c:pt idx="59">
                  <c:v>0.66720593478468071</c:v>
                </c:pt>
                <c:pt idx="60">
                  <c:v>0.67075280935591897</c:v>
                </c:pt>
                <c:pt idx="61">
                  <c:v>0.67774135279409375</c:v>
                </c:pt>
                <c:pt idx="62">
                  <c:v>0.68789211547727169</c:v>
                </c:pt>
                <c:pt idx="63">
                  <c:v>0.69121095547238864</c:v>
                </c:pt>
                <c:pt idx="64">
                  <c:v>0.69445177598379693</c:v>
                </c:pt>
                <c:pt idx="65">
                  <c:v>0.69766341039659252</c:v>
                </c:pt>
                <c:pt idx="66">
                  <c:v>0.70082781132670791</c:v>
                </c:pt>
                <c:pt idx="67">
                  <c:v>0.70399205469067627</c:v>
                </c:pt>
                <c:pt idx="68">
                  <c:v>0.70714123230689729</c:v>
                </c:pt>
                <c:pt idx="69">
                  <c:v>0.71024938212253519</c:v>
                </c:pt>
                <c:pt idx="70">
                  <c:v>0.71334490240546777</c:v>
                </c:pt>
                <c:pt idx="71">
                  <c:v>0.71639095903871652</c:v>
                </c:pt>
                <c:pt idx="72">
                  <c:v>0.71937383164701996</c:v>
                </c:pt>
                <c:pt idx="73">
                  <c:v>0.722326548518883</c:v>
                </c:pt>
                <c:pt idx="74">
                  <c:v>0.72526647829189372</c:v>
                </c:pt>
                <c:pt idx="75">
                  <c:v>0.72819516026610354</c:v>
                </c:pt>
                <c:pt idx="76">
                  <c:v>0.7310918563124732</c:v>
                </c:pt>
                <c:pt idx="77">
                  <c:v>0.73390881176799017</c:v>
                </c:pt>
                <c:pt idx="78">
                  <c:v>0.73947682366816125</c:v>
                </c:pt>
                <c:pt idx="79">
                  <c:v>0.74218771286580443</c:v>
                </c:pt>
                <c:pt idx="80">
                  <c:v>0.74486151341653928</c:v>
                </c:pt>
                <c:pt idx="81">
                  <c:v>0.74752141178492004</c:v>
                </c:pt>
                <c:pt idx="82">
                  <c:v>0.75270536226202545</c:v>
                </c:pt>
                <c:pt idx="83">
                  <c:v>0.75529240446812995</c:v>
                </c:pt>
                <c:pt idx="84">
                  <c:v>0.75782109871795467</c:v>
                </c:pt>
                <c:pt idx="85">
                  <c:v>0.7603217098321956</c:v>
                </c:pt>
                <c:pt idx="86">
                  <c:v>0.76280525532066956</c:v>
                </c:pt>
                <c:pt idx="87">
                  <c:v>0.76525194245121941</c:v>
                </c:pt>
                <c:pt idx="88">
                  <c:v>0.76769606004152591</c:v>
                </c:pt>
                <c:pt idx="89">
                  <c:v>0.7701324084087382</c:v>
                </c:pt>
                <c:pt idx="90">
                  <c:v>0.77255861194017861</c:v>
                </c:pt>
                <c:pt idx="91">
                  <c:v>0.77498410036372112</c:v>
                </c:pt>
                <c:pt idx="92">
                  <c:v>0.7773925352819695</c:v>
                </c:pt>
                <c:pt idx="93">
                  <c:v>0.77975113081587588</c:v>
                </c:pt>
                <c:pt idx="94">
                  <c:v>0.78207680714553296</c:v>
                </c:pt>
                <c:pt idx="95">
                  <c:v>0.78439793829787285</c:v>
                </c:pt>
                <c:pt idx="96">
                  <c:v>0.78890332410270481</c:v>
                </c:pt>
                <c:pt idx="97">
                  <c:v>0.79113953922228686</c:v>
                </c:pt>
                <c:pt idx="98">
                  <c:v>0.79548094714998752</c:v>
                </c:pt>
                <c:pt idx="99">
                  <c:v>0.79764171232610426</c:v>
                </c:pt>
                <c:pt idx="100">
                  <c:v>0.79979119334200155</c:v>
                </c:pt>
                <c:pt idx="101">
                  <c:v>0.80191125797030205</c:v>
                </c:pt>
                <c:pt idx="102">
                  <c:v>0.80601095942851131</c:v>
                </c:pt>
                <c:pt idx="103">
                  <c:v>0.80806013141113653</c:v>
                </c:pt>
                <c:pt idx="104">
                  <c:v>0.81010612782987612</c:v>
                </c:pt>
                <c:pt idx="105">
                  <c:v>0.81214730030042315</c:v>
                </c:pt>
                <c:pt idx="106">
                  <c:v>0.81416937090576513</c:v>
                </c:pt>
                <c:pt idx="107">
                  <c:v>0.81615288628698457</c:v>
                </c:pt>
                <c:pt idx="108">
                  <c:v>0.81810745797904816</c:v>
                </c:pt>
                <c:pt idx="109">
                  <c:v>0.82002920743064522</c:v>
                </c:pt>
                <c:pt idx="110">
                  <c:v>0.82382833328275074</c:v>
                </c:pt>
                <c:pt idx="111">
                  <c:v>0.82571372131581033</c:v>
                </c:pt>
                <c:pt idx="112">
                  <c:v>0.82758085591676411</c:v>
                </c:pt>
                <c:pt idx="113">
                  <c:v>0.83130205924894385</c:v>
                </c:pt>
                <c:pt idx="114">
                  <c:v>0.83492398378804356</c:v>
                </c:pt>
                <c:pt idx="115">
                  <c:v>0.83669713624255082</c:v>
                </c:pt>
                <c:pt idx="116">
                  <c:v>0.83846323458186178</c:v>
                </c:pt>
                <c:pt idx="117">
                  <c:v>0.84020577072196045</c:v>
                </c:pt>
                <c:pt idx="118">
                  <c:v>0.84192984738191501</c:v>
                </c:pt>
                <c:pt idx="119">
                  <c:v>0.84365142722446329</c:v>
                </c:pt>
                <c:pt idx="120">
                  <c:v>0.84536924972042937</c:v>
                </c:pt>
                <c:pt idx="121">
                  <c:v>0.84706955813313323</c:v>
                </c:pt>
                <c:pt idx="122">
                  <c:v>0.84867669647107125</c:v>
                </c:pt>
                <c:pt idx="123">
                  <c:v>0.85025781215380924</c:v>
                </c:pt>
                <c:pt idx="124">
                  <c:v>0.85181677161218505</c:v>
                </c:pt>
                <c:pt idx="125">
                  <c:v>0.85336538018675057</c:v>
                </c:pt>
                <c:pt idx="126">
                  <c:v>0.8549138675565876</c:v>
                </c:pt>
                <c:pt idx="127">
                  <c:v>0.8579592212024113</c:v>
                </c:pt>
                <c:pt idx="128">
                  <c:v>0.85945802675405325</c:v>
                </c:pt>
                <c:pt idx="129">
                  <c:v>0.86094793587862639</c:v>
                </c:pt>
                <c:pt idx="130">
                  <c:v>0.8624360996551097</c:v>
                </c:pt>
                <c:pt idx="131">
                  <c:v>0.86391237324773129</c:v>
                </c:pt>
                <c:pt idx="132">
                  <c:v>0.86538606517963668</c:v>
                </c:pt>
                <c:pt idx="133">
                  <c:v>0.86684918805922051</c:v>
                </c:pt>
                <c:pt idx="134">
                  <c:v>0.86829488169885205</c:v>
                </c:pt>
                <c:pt idx="135">
                  <c:v>0.86972388544737489</c:v>
                </c:pt>
                <c:pt idx="136">
                  <c:v>0.87114834401858054</c:v>
                </c:pt>
                <c:pt idx="137">
                  <c:v>0.87256066999646753</c:v>
                </c:pt>
                <c:pt idx="138">
                  <c:v>0.87394659758449633</c:v>
                </c:pt>
                <c:pt idx="139">
                  <c:v>0.87532921628343818</c:v>
                </c:pt>
                <c:pt idx="140">
                  <c:v>0.87668503661691799</c:v>
                </c:pt>
                <c:pt idx="141">
                  <c:v>0.87802173084424706</c:v>
                </c:pt>
                <c:pt idx="142">
                  <c:v>0.879352461798936</c:v>
                </c:pt>
                <c:pt idx="143">
                  <c:v>0.88066952086025485</c:v>
                </c:pt>
                <c:pt idx="144">
                  <c:v>0.88329685151809878</c:v>
                </c:pt>
                <c:pt idx="145">
                  <c:v>0.88459303912517706</c:v>
                </c:pt>
                <c:pt idx="146">
                  <c:v>0.88586513123223787</c:v>
                </c:pt>
                <c:pt idx="147">
                  <c:v>0.88711664277640645</c:v>
                </c:pt>
                <c:pt idx="148">
                  <c:v>0.88836432425115575</c:v>
                </c:pt>
                <c:pt idx="149">
                  <c:v>0.8895955340033076</c:v>
                </c:pt>
                <c:pt idx="150">
                  <c:v>0.89080575109649052</c:v>
                </c:pt>
                <c:pt idx="151">
                  <c:v>0.89199184844871016</c:v>
                </c:pt>
                <c:pt idx="152">
                  <c:v>0.89315681981675954</c:v>
                </c:pt>
                <c:pt idx="153">
                  <c:v>0.89430862835129843</c:v>
                </c:pt>
                <c:pt idx="154">
                  <c:v>0.89545821883930643</c:v>
                </c:pt>
                <c:pt idx="155">
                  <c:v>0.89660622154537173</c:v>
                </c:pt>
                <c:pt idx="156">
                  <c:v>0.8977498487607396</c:v>
                </c:pt>
                <c:pt idx="157">
                  <c:v>0.89888876111217053</c:v>
                </c:pt>
                <c:pt idx="158">
                  <c:v>0.90001420761826967</c:v>
                </c:pt>
                <c:pt idx="159">
                  <c:v>0.90110141403254029</c:v>
                </c:pt>
                <c:pt idx="160">
                  <c:v>0.90216760354689618</c:v>
                </c:pt>
                <c:pt idx="161">
                  <c:v>0.9032216604679334</c:v>
                </c:pt>
                <c:pt idx="162">
                  <c:v>0.90426689368473889</c:v>
                </c:pt>
                <c:pt idx="163">
                  <c:v>0.90633195560726498</c:v>
                </c:pt>
                <c:pt idx="164">
                  <c:v>0.90733669432429254</c:v>
                </c:pt>
                <c:pt idx="165">
                  <c:v>0.90834075429484074</c:v>
                </c:pt>
                <c:pt idx="166">
                  <c:v>0.90934206291805297</c:v>
                </c:pt>
                <c:pt idx="167">
                  <c:v>0.91032568777138312</c:v>
                </c:pt>
                <c:pt idx="168">
                  <c:v>0.91129724063375883</c:v>
                </c:pt>
                <c:pt idx="169">
                  <c:v>0.91322918340301928</c:v>
                </c:pt>
                <c:pt idx="170">
                  <c:v>0.91418073748519935</c:v>
                </c:pt>
                <c:pt idx="171">
                  <c:v>0.91512597680102681</c:v>
                </c:pt>
                <c:pt idx="172">
                  <c:v>0.91606530132610542</c:v>
                </c:pt>
                <c:pt idx="173">
                  <c:v>0.91698276051817018</c:v>
                </c:pt>
                <c:pt idx="174">
                  <c:v>0.91789861980781928</c:v>
                </c:pt>
                <c:pt idx="175">
                  <c:v>0.91880559479087243</c:v>
                </c:pt>
                <c:pt idx="176">
                  <c:v>0.91970989114942669</c:v>
                </c:pt>
                <c:pt idx="177">
                  <c:v>0.92061147252206343</c:v>
                </c:pt>
                <c:pt idx="178">
                  <c:v>0.92150699365827726</c:v>
                </c:pt>
                <c:pt idx="179">
                  <c:v>0.92239920590540425</c:v>
                </c:pt>
                <c:pt idx="180">
                  <c:v>0.9232580020088953</c:v>
                </c:pt>
                <c:pt idx="181">
                  <c:v>0.92409993853465777</c:v>
                </c:pt>
                <c:pt idx="182">
                  <c:v>0.92491262835944321</c:v>
                </c:pt>
                <c:pt idx="183">
                  <c:v>0.92572165780142923</c:v>
                </c:pt>
                <c:pt idx="184">
                  <c:v>0.92650405856457296</c:v>
                </c:pt>
                <c:pt idx="185">
                  <c:v>0.92728214443938362</c:v>
                </c:pt>
                <c:pt idx="186">
                  <c:v>0.9280483522508054</c:v>
                </c:pt>
                <c:pt idx="187">
                  <c:v>0.92877550789871788</c:v>
                </c:pt>
                <c:pt idx="188">
                  <c:v>0.92949370651719732</c:v>
                </c:pt>
                <c:pt idx="189">
                  <c:v>0.93020601458587371</c:v>
                </c:pt>
                <c:pt idx="190">
                  <c:v>0.93091434713945664</c:v>
                </c:pt>
                <c:pt idx="191">
                  <c:v>0.93160734729488959</c:v>
                </c:pt>
                <c:pt idx="192">
                  <c:v>0.93229712340454551</c:v>
                </c:pt>
                <c:pt idx="193">
                  <c:v>0.93297785764145846</c:v>
                </c:pt>
                <c:pt idx="194">
                  <c:v>0.93365203470256186</c:v>
                </c:pt>
                <c:pt idx="195">
                  <c:v>0.93432067270757468</c:v>
                </c:pt>
                <c:pt idx="196">
                  <c:v>0.93498040216504585</c:v>
                </c:pt>
                <c:pt idx="197">
                  <c:v>0.93563843475631858</c:v>
                </c:pt>
                <c:pt idx="198">
                  <c:v>0.93628275909280267</c:v>
                </c:pt>
                <c:pt idx="199">
                  <c:v>0.93691381151152064</c:v>
                </c:pt>
                <c:pt idx="200">
                  <c:v>0.93754056116237827</c:v>
                </c:pt>
                <c:pt idx="201">
                  <c:v>0.93875043888232146</c:v>
                </c:pt>
                <c:pt idx="202">
                  <c:v>0.93935192946776847</c:v>
                </c:pt>
                <c:pt idx="203">
                  <c:v>0.93995165046417994</c:v>
                </c:pt>
                <c:pt idx="204">
                  <c:v>0.94055012305188834</c:v>
                </c:pt>
                <c:pt idx="205">
                  <c:v>0.94113995374245762</c:v>
                </c:pt>
                <c:pt idx="206">
                  <c:v>0.94172207581229694</c:v>
                </c:pt>
                <c:pt idx="207">
                  <c:v>0.942300525378864</c:v>
                </c:pt>
                <c:pt idx="208">
                  <c:v>0.94287406615392844</c:v>
                </c:pt>
                <c:pt idx="209">
                  <c:v>0.94344464953361851</c:v>
                </c:pt>
                <c:pt idx="210">
                  <c:v>0.94400903935168434</c:v>
                </c:pt>
                <c:pt idx="211">
                  <c:v>0.94456218137094927</c:v>
                </c:pt>
                <c:pt idx="212">
                  <c:v>0.94510043944955957</c:v>
                </c:pt>
                <c:pt idx="213">
                  <c:v>0.94563576437374119</c:v>
                </c:pt>
                <c:pt idx="214">
                  <c:v>0.94668714267027954</c:v>
                </c:pt>
                <c:pt idx="215">
                  <c:v>0.94720854117116127</c:v>
                </c:pt>
                <c:pt idx="216">
                  <c:v>0.94772884882948694</c:v>
                </c:pt>
                <c:pt idx="217">
                  <c:v>0.94824035702452647</c:v>
                </c:pt>
                <c:pt idx="218">
                  <c:v>0.94875049560613445</c:v>
                </c:pt>
                <c:pt idx="219">
                  <c:v>0.94925610113089809</c:v>
                </c:pt>
                <c:pt idx="220">
                  <c:v>0.94975716147834455</c:v>
                </c:pt>
                <c:pt idx="221">
                  <c:v>0.95025745823600172</c:v>
                </c:pt>
                <c:pt idx="222">
                  <c:v>0.95075179172101876</c:v>
                </c:pt>
                <c:pt idx="223">
                  <c:v>0.95124497376111539</c:v>
                </c:pt>
                <c:pt idx="224">
                  <c:v>0.95173700435629172</c:v>
                </c:pt>
                <c:pt idx="225">
                  <c:v>0.95268812210144938</c:v>
                </c:pt>
                <c:pt idx="226">
                  <c:v>0.95315251801853718</c:v>
                </c:pt>
                <c:pt idx="227">
                  <c:v>0.95361684121278789</c:v>
                </c:pt>
                <c:pt idx="228">
                  <c:v>0.95408092199758177</c:v>
                </c:pt>
                <c:pt idx="229">
                  <c:v>0.95454249384449652</c:v>
                </c:pt>
                <c:pt idx="230">
                  <c:v>0.95500360511344318</c:v>
                </c:pt>
                <c:pt idx="231">
                  <c:v>0.95546172262559681</c:v>
                </c:pt>
                <c:pt idx="232">
                  <c:v>0.95591807054871503</c:v>
                </c:pt>
                <c:pt idx="233">
                  <c:v>0.95635774070119739</c:v>
                </c:pt>
                <c:pt idx="234">
                  <c:v>0.95678864775181216</c:v>
                </c:pt>
                <c:pt idx="235">
                  <c:v>0.95721633075665002</c:v>
                </c:pt>
                <c:pt idx="236">
                  <c:v>0.95764059578814531</c:v>
                </c:pt>
                <c:pt idx="237">
                  <c:v>0.95805918843834881</c:v>
                </c:pt>
                <c:pt idx="238">
                  <c:v>0.95847315106792519</c:v>
                </c:pt>
                <c:pt idx="239">
                  <c:v>0.95888621678251096</c:v>
                </c:pt>
                <c:pt idx="240">
                  <c:v>0.95928392585800104</c:v>
                </c:pt>
                <c:pt idx="241">
                  <c:v>0.95966899328031297</c:v>
                </c:pt>
                <c:pt idx="242">
                  <c:v>0.96005380617269509</c:v>
                </c:pt>
                <c:pt idx="243">
                  <c:v>0.96043381935783023</c:v>
                </c:pt>
                <c:pt idx="244">
                  <c:v>0.9608132507602688</c:v>
                </c:pt>
                <c:pt idx="245">
                  <c:v>0.96117530140464646</c:v>
                </c:pt>
                <c:pt idx="246">
                  <c:v>0.96153472190641653</c:v>
                </c:pt>
                <c:pt idx="247">
                  <c:v>0.96189053050727857</c:v>
                </c:pt>
                <c:pt idx="248">
                  <c:v>0.96224158788278502</c:v>
                </c:pt>
                <c:pt idx="249">
                  <c:v>0.96259234224647039</c:v>
                </c:pt>
                <c:pt idx="250">
                  <c:v>0.96293389717126576</c:v>
                </c:pt>
                <c:pt idx="251">
                  <c:v>0.96326551330832755</c:v>
                </c:pt>
                <c:pt idx="252">
                  <c:v>0.96359640221701859</c:v>
                </c:pt>
                <c:pt idx="253">
                  <c:v>0.9639215581420536</c:v>
                </c:pt>
                <c:pt idx="254">
                  <c:v>0.96424008416844187</c:v>
                </c:pt>
                <c:pt idx="255">
                  <c:v>0.96485329525113073</c:v>
                </c:pt>
                <c:pt idx="256">
                  <c:v>0.96515652524078765</c:v>
                </c:pt>
                <c:pt idx="257">
                  <c:v>0.96545380407827719</c:v>
                </c:pt>
                <c:pt idx="258">
                  <c:v>0.96574973754328086</c:v>
                </c:pt>
                <c:pt idx="259">
                  <c:v>0.96604448320194569</c:v>
                </c:pt>
                <c:pt idx="260">
                  <c:v>0.96633908341493635</c:v>
                </c:pt>
                <c:pt idx="261">
                  <c:v>0.96663122317193928</c:v>
                </c:pt>
                <c:pt idx="262">
                  <c:v>0.9669220296769292</c:v>
                </c:pt>
                <c:pt idx="263">
                  <c:v>0.96720968485897918</c:v>
                </c:pt>
                <c:pt idx="264">
                  <c:v>0.96748517108629195</c:v>
                </c:pt>
                <c:pt idx="265">
                  <c:v>0.96748517108629195</c:v>
                </c:pt>
                <c:pt idx="266">
                  <c:v>0.96775416074015941</c:v>
                </c:pt>
                <c:pt idx="267">
                  <c:v>0.96802174441917666</c:v>
                </c:pt>
                <c:pt idx="268">
                  <c:v>0.96828741306348431</c:v>
                </c:pt>
                <c:pt idx="269">
                  <c:v>0.96855189390145313</c:v>
                </c:pt>
                <c:pt idx="270">
                  <c:v>0.96881557478821412</c:v>
                </c:pt>
                <c:pt idx="271">
                  <c:v>0.96907438324489104</c:v>
                </c:pt>
                <c:pt idx="272">
                  <c:v>0.9693327674850184</c:v>
                </c:pt>
                <c:pt idx="273">
                  <c:v>0.96959060630386762</c:v>
                </c:pt>
                <c:pt idx="274">
                  <c:v>0.96984503926984722</c:v>
                </c:pt>
                <c:pt idx="275">
                  <c:v>0.97009636939477828</c:v>
                </c:pt>
                <c:pt idx="276">
                  <c:v>0.97034751771261663</c:v>
                </c:pt>
                <c:pt idx="277">
                  <c:v>0.97059744186269759</c:v>
                </c:pt>
                <c:pt idx="278">
                  <c:v>0.97084387531659888</c:v>
                </c:pt>
                <c:pt idx="279">
                  <c:v>0.97109015120435327</c:v>
                </c:pt>
                <c:pt idx="280">
                  <c:v>0.97156425562019055</c:v>
                </c:pt>
                <c:pt idx="281">
                  <c:v>0.97180051999737427</c:v>
                </c:pt>
                <c:pt idx="282">
                  <c:v>0.97202591231041524</c:v>
                </c:pt>
                <c:pt idx="283">
                  <c:v>0.97224485653190229</c:v>
                </c:pt>
                <c:pt idx="284">
                  <c:v>0.9724628189950888</c:v>
                </c:pt>
                <c:pt idx="285">
                  <c:v>0.97267992090470323</c:v>
                </c:pt>
                <c:pt idx="286">
                  <c:v>0.97289693797100774</c:v>
                </c:pt>
                <c:pt idx="287">
                  <c:v>0.97311385807352946</c:v>
                </c:pt>
                <c:pt idx="288">
                  <c:v>0.97332960249018519</c:v>
                </c:pt>
                <c:pt idx="289">
                  <c:v>0.97354508025643827</c:v>
                </c:pt>
                <c:pt idx="290">
                  <c:v>0.97375926113209688</c:v>
                </c:pt>
                <c:pt idx="291">
                  <c:v>0.97397329656208131</c:v>
                </c:pt>
                <c:pt idx="292">
                  <c:v>0.97418676232984203</c:v>
                </c:pt>
                <c:pt idx="293">
                  <c:v>0.97439960995348762</c:v>
                </c:pt>
                <c:pt idx="294">
                  <c:v>0.97461156066214261</c:v>
                </c:pt>
                <c:pt idx="295">
                  <c:v>0.97482229932351294</c:v>
                </c:pt>
                <c:pt idx="296">
                  <c:v>0.97502894126506146</c:v>
                </c:pt>
                <c:pt idx="297">
                  <c:v>0.97523491658060346</c:v>
                </c:pt>
                <c:pt idx="298">
                  <c:v>0.9754369891038891</c:v>
                </c:pt>
                <c:pt idx="299">
                  <c:v>0.97563656480976846</c:v>
                </c:pt>
                <c:pt idx="300">
                  <c:v>0.97583245589190271</c:v>
                </c:pt>
                <c:pt idx="301">
                  <c:v>0.97602566834953797</c:v>
                </c:pt>
                <c:pt idx="302">
                  <c:v>0.97621868687960778</c:v>
                </c:pt>
                <c:pt idx="303">
                  <c:v>0.97641108726556247</c:v>
                </c:pt>
                <c:pt idx="304">
                  <c:v>0.97660182714673727</c:v>
                </c:pt>
                <c:pt idx="305">
                  <c:v>0.9767902762585442</c:v>
                </c:pt>
                <c:pt idx="306">
                  <c:v>0.97716442313482199</c:v>
                </c:pt>
                <c:pt idx="307">
                  <c:v>0.97734876340633414</c:v>
                </c:pt>
                <c:pt idx="308">
                  <c:v>0.97753100683604399</c:v>
                </c:pt>
                <c:pt idx="309">
                  <c:v>0.97771191701374083</c:v>
                </c:pt>
                <c:pt idx="310">
                  <c:v>0.97788949406140502</c:v>
                </c:pt>
                <c:pt idx="311">
                  <c:v>0.97806527727908799</c:v>
                </c:pt>
                <c:pt idx="312">
                  <c:v>0.97840923205750685</c:v>
                </c:pt>
                <c:pt idx="313">
                  <c:v>0.97858056706165542</c:v>
                </c:pt>
                <c:pt idx="314">
                  <c:v>0.97875186570438544</c:v>
                </c:pt>
                <c:pt idx="315">
                  <c:v>0.97908728766992081</c:v>
                </c:pt>
                <c:pt idx="316">
                  <c:v>0.97925236851008102</c:v>
                </c:pt>
                <c:pt idx="317">
                  <c:v>0.97941612821870094</c:v>
                </c:pt>
                <c:pt idx="318">
                  <c:v>0.97972871521339477</c:v>
                </c:pt>
                <c:pt idx="319">
                  <c:v>0.97988173618307328</c:v>
                </c:pt>
                <c:pt idx="320">
                  <c:v>0.98033523579507265</c:v>
                </c:pt>
                <c:pt idx="321">
                  <c:v>0.98048538421268672</c:v>
                </c:pt>
                <c:pt idx="322">
                  <c:v>0.98063153287426164</c:v>
                </c:pt>
                <c:pt idx="323">
                  <c:v>0.98077716035550422</c:v>
                </c:pt>
                <c:pt idx="324">
                  <c:v>0.98092072735636304</c:v>
                </c:pt>
                <c:pt idx="325">
                  <c:v>0.98105806443417909</c:v>
                </c:pt>
                <c:pt idx="326">
                  <c:v>0.98119466216315154</c:v>
                </c:pt>
                <c:pt idx="327">
                  <c:v>0.98132973271254542</c:v>
                </c:pt>
                <c:pt idx="328">
                  <c:v>0.98146350637134483</c:v>
                </c:pt>
                <c:pt idx="329">
                  <c:v>0.98159490441746644</c:v>
                </c:pt>
                <c:pt idx="330">
                  <c:v>0.9817251146572491</c:v>
                </c:pt>
                <c:pt idx="331">
                  <c:v>0.98185511884899346</c:v>
                </c:pt>
                <c:pt idx="332">
                  <c:v>0.98198149901935683</c:v>
                </c:pt>
                <c:pt idx="333">
                  <c:v>0.98210745497317065</c:v>
                </c:pt>
                <c:pt idx="334">
                  <c:v>0.98223241704821107</c:v>
                </c:pt>
                <c:pt idx="335">
                  <c:v>0.98235576710036299</c:v>
                </c:pt>
                <c:pt idx="336">
                  <c:v>0.98247622035950477</c:v>
                </c:pt>
                <c:pt idx="337">
                  <c:v>0.98259511007764944</c:v>
                </c:pt>
                <c:pt idx="338">
                  <c:v>0.98271358769971739</c:v>
                </c:pt>
                <c:pt idx="339">
                  <c:v>0.98294594928464474</c:v>
                </c:pt>
                <c:pt idx="340">
                  <c:v>0.9830585242364368</c:v>
                </c:pt>
                <c:pt idx="341">
                  <c:v>0.98316949928581321</c:v>
                </c:pt>
                <c:pt idx="342">
                  <c:v>0.98327995315485717</c:v>
                </c:pt>
                <c:pt idx="343">
                  <c:v>0.9833877405198751</c:v>
                </c:pt>
                <c:pt idx="344">
                  <c:v>0.98349547940300164</c:v>
                </c:pt>
                <c:pt idx="345">
                  <c:v>0.98360203047978934</c:v>
                </c:pt>
                <c:pt idx="346">
                  <c:v>0.9837054544745828</c:v>
                </c:pt>
                <c:pt idx="347">
                  <c:v>0.98380795731343995</c:v>
                </c:pt>
                <c:pt idx="348">
                  <c:v>0.98391007229716598</c:v>
                </c:pt>
                <c:pt idx="349">
                  <c:v>0.98401149641393981</c:v>
                </c:pt>
                <c:pt idx="350">
                  <c:v>0.98411036311094324</c:v>
                </c:pt>
                <c:pt idx="351">
                  <c:v>0.98420895103707118</c:v>
                </c:pt>
                <c:pt idx="352">
                  <c:v>0.98449905455463604</c:v>
                </c:pt>
                <c:pt idx="353">
                  <c:v>0.98459433359167703</c:v>
                </c:pt>
                <c:pt idx="354">
                  <c:v>0.98468644918530535</c:v>
                </c:pt>
                <c:pt idx="355">
                  <c:v>0.98477708608124648</c:v>
                </c:pt>
                <c:pt idx="356">
                  <c:v>0.98486721391732801</c:v>
                </c:pt>
                <c:pt idx="357">
                  <c:v>0.98522359218041378</c:v>
                </c:pt>
                <c:pt idx="358">
                  <c:v>0.98531201102982413</c:v>
                </c:pt>
                <c:pt idx="359">
                  <c:v>0.98539972689180932</c:v>
                </c:pt>
                <c:pt idx="360">
                  <c:v>0.98548642463407554</c:v>
                </c:pt>
                <c:pt idx="361">
                  <c:v>0.98557284360546626</c:v>
                </c:pt>
                <c:pt idx="362">
                  <c:v>0.98565695968701628</c:v>
                </c:pt>
                <c:pt idx="363">
                  <c:v>0.98573845774643165</c:v>
                </c:pt>
                <c:pt idx="364">
                  <c:v>0.98581868315619814</c:v>
                </c:pt>
                <c:pt idx="365">
                  <c:v>0.98597477060550665</c:v>
                </c:pt>
                <c:pt idx="366">
                  <c:v>0.98605245071597558</c:v>
                </c:pt>
                <c:pt idx="367">
                  <c:v>0.98612996113982465</c:v>
                </c:pt>
                <c:pt idx="368">
                  <c:v>0.98620724127468962</c:v>
                </c:pt>
                <c:pt idx="369">
                  <c:v>0.98636073494280918</c:v>
                </c:pt>
                <c:pt idx="370">
                  <c:v>0.98643688787369954</c:v>
                </c:pt>
                <c:pt idx="371">
                  <c:v>0.98658445463059752</c:v>
                </c:pt>
                <c:pt idx="372">
                  <c:v>0.98665738351571086</c:v>
                </c:pt>
                <c:pt idx="373">
                  <c:v>0.98672816707713051</c:v>
                </c:pt>
                <c:pt idx="374">
                  <c:v>0.98679836885585359</c:v>
                </c:pt>
                <c:pt idx="375">
                  <c:v>0.98686727374398209</c:v>
                </c:pt>
                <c:pt idx="376">
                  <c:v>0.98693552412657692</c:v>
                </c:pt>
                <c:pt idx="377">
                  <c:v>0.98700147161933105</c:v>
                </c:pt>
                <c:pt idx="378">
                  <c:v>0.98706735850972094</c:v>
                </c:pt>
                <c:pt idx="379">
                  <c:v>0.987197774797542</c:v>
                </c:pt>
                <c:pt idx="380">
                  <c:v>0.98726263144774007</c:v>
                </c:pt>
                <c:pt idx="381">
                  <c:v>0.98732739113415535</c:v>
                </c:pt>
                <c:pt idx="382">
                  <c:v>0.98739177508591236</c:v>
                </c:pt>
                <c:pt idx="383">
                  <c:v>0.98745606207388659</c:v>
                </c:pt>
                <c:pt idx="384">
                  <c:v>0.98758247860566861</c:v>
                </c:pt>
                <c:pt idx="385">
                  <c:v>0.98764480207704186</c:v>
                </c:pt>
                <c:pt idx="386">
                  <c:v>0.98770708918699657</c:v>
                </c:pt>
                <c:pt idx="387">
                  <c:v>0.98776902480323869</c:v>
                </c:pt>
                <c:pt idx="388">
                  <c:v>0.98783079073286106</c:v>
                </c:pt>
                <c:pt idx="389">
                  <c:v>0.98801223421136308</c:v>
                </c:pt>
                <c:pt idx="390">
                  <c:v>0.98813113604998071</c:v>
                </c:pt>
                <c:pt idx="391">
                  <c:v>0.98830579206368907</c:v>
                </c:pt>
                <c:pt idx="392">
                  <c:v>0.98836364308058222</c:v>
                </c:pt>
                <c:pt idx="393">
                  <c:v>0.98842068202579469</c:v>
                </c:pt>
                <c:pt idx="394">
                  <c:v>0.98847739371824028</c:v>
                </c:pt>
                <c:pt idx="395">
                  <c:v>0.98853385088075618</c:v>
                </c:pt>
                <c:pt idx="396">
                  <c:v>0.98859028380232639</c:v>
                </c:pt>
                <c:pt idx="397">
                  <c:v>0.98870008316583669</c:v>
                </c:pt>
                <c:pt idx="398">
                  <c:v>0.98880757963950627</c:v>
                </c:pt>
                <c:pt idx="399">
                  <c:v>0.98891440948716947</c:v>
                </c:pt>
                <c:pt idx="400">
                  <c:v>0.98896758200154411</c:v>
                </c:pt>
                <c:pt idx="401">
                  <c:v>0.98907375734367353</c:v>
                </c:pt>
                <c:pt idx="402">
                  <c:v>0.98917804189203906</c:v>
                </c:pt>
                <c:pt idx="403">
                  <c:v>0.98933010534436272</c:v>
                </c:pt>
                <c:pt idx="404">
                  <c:v>0.98938015077674313</c:v>
                </c:pt>
                <c:pt idx="405">
                  <c:v>0.98942966290831835</c:v>
                </c:pt>
                <c:pt idx="406">
                  <c:v>0.98947855689577846</c:v>
                </c:pt>
                <c:pt idx="407">
                  <c:v>0.98952692970290612</c:v>
                </c:pt>
                <c:pt idx="408">
                  <c:v>0.98957512070294118</c:v>
                </c:pt>
                <c:pt idx="409">
                  <c:v>0.98962322685966631</c:v>
                </c:pt>
                <c:pt idx="410">
                  <c:v>0.9896712481730815</c:v>
                </c:pt>
                <c:pt idx="411">
                  <c:v>0.98971901495656689</c:v>
                </c:pt>
                <c:pt idx="412">
                  <c:v>0.98976634540302988</c:v>
                </c:pt>
                <c:pt idx="413">
                  <c:v>0.98981331223530744</c:v>
                </c:pt>
                <c:pt idx="414">
                  <c:v>0.98986024270616646</c:v>
                </c:pt>
                <c:pt idx="415">
                  <c:v>0.98990696712898707</c:v>
                </c:pt>
                <c:pt idx="416">
                  <c:v>0.98999980995098602</c:v>
                </c:pt>
                <c:pt idx="417">
                  <c:v>0.990226147660909</c:v>
                </c:pt>
                <c:pt idx="418">
                  <c:v>0.99031562099145687</c:v>
                </c:pt>
                <c:pt idx="419">
                  <c:v>0.99036030917483941</c:v>
                </c:pt>
                <c:pt idx="420">
                  <c:v>0.99044837653053719</c:v>
                </c:pt>
                <c:pt idx="421">
                  <c:v>0.99049217991940197</c:v>
                </c:pt>
                <c:pt idx="422">
                  <c:v>0.99053574089880991</c:v>
                </c:pt>
                <c:pt idx="423">
                  <c:v>0.99066372097158895</c:v>
                </c:pt>
                <c:pt idx="424">
                  <c:v>0.99070585173520098</c:v>
                </c:pt>
                <c:pt idx="425">
                  <c:v>0.99079006478053377</c:v>
                </c:pt>
                <c:pt idx="426">
                  <c:v>0.99087407177782827</c:v>
                </c:pt>
                <c:pt idx="427">
                  <c:v>0.99091606921623909</c:v>
                </c:pt>
                <c:pt idx="428">
                  <c:v>0.9909992641418528</c:v>
                </c:pt>
                <c:pt idx="429">
                  <c:v>0.9910820227304441</c:v>
                </c:pt>
                <c:pt idx="430">
                  <c:v>0.99116406621113751</c:v>
                </c:pt>
                <c:pt idx="431">
                  <c:v>0.99132743806462642</c:v>
                </c:pt>
                <c:pt idx="432">
                  <c:v>0.99136795680535006</c:v>
                </c:pt>
                <c:pt idx="433">
                  <c:v>0.99144854582930197</c:v>
                </c:pt>
                <c:pt idx="434">
                  <c:v>0.99148874943773158</c:v>
                </c:pt>
                <c:pt idx="435">
                  <c:v>0.99156889000418813</c:v>
                </c:pt>
                <c:pt idx="436">
                  <c:v>0.99160849970944831</c:v>
                </c:pt>
                <c:pt idx="437">
                  <c:v>0.9916477821619416</c:v>
                </c:pt>
                <c:pt idx="438">
                  <c:v>0.99172555923619321</c:v>
                </c:pt>
                <c:pt idx="439">
                  <c:v>0.99176410233984291</c:v>
                </c:pt>
                <c:pt idx="440">
                  <c:v>0.99180256060018268</c:v>
                </c:pt>
                <c:pt idx="441">
                  <c:v>0.99184065524633713</c:v>
                </c:pt>
                <c:pt idx="442">
                  <c:v>0.99187827719405053</c:v>
                </c:pt>
                <c:pt idx="443">
                  <c:v>0.99202663178168338</c:v>
                </c:pt>
                <c:pt idx="444">
                  <c:v>0.99206266594745407</c:v>
                </c:pt>
                <c:pt idx="445">
                  <c:v>0.99209845770376781</c:v>
                </c:pt>
                <c:pt idx="446">
                  <c:v>0.99213376464116765</c:v>
                </c:pt>
                <c:pt idx="447">
                  <c:v>0.99216872008485502</c:v>
                </c:pt>
                <c:pt idx="448">
                  <c:v>0.99220348160097682</c:v>
                </c:pt>
                <c:pt idx="449">
                  <c:v>0.99223773405723914</c:v>
                </c:pt>
                <c:pt idx="450">
                  <c:v>0.9922713320079678</c:v>
                </c:pt>
                <c:pt idx="451">
                  <c:v>0.99230491783822361</c:v>
                </c:pt>
                <c:pt idx="452">
                  <c:v>0.99233839458422379</c:v>
                </c:pt>
                <c:pt idx="453">
                  <c:v>0.99247077438864595</c:v>
                </c:pt>
                <c:pt idx="454">
                  <c:v>0.99250360874958532</c:v>
                </c:pt>
                <c:pt idx="455">
                  <c:v>0.99253632190579621</c:v>
                </c:pt>
                <c:pt idx="456">
                  <c:v>0.9926012876402498</c:v>
                </c:pt>
                <c:pt idx="457">
                  <c:v>0.9926336977846395</c:v>
                </c:pt>
                <c:pt idx="458">
                  <c:v>0.99266604732666497</c:v>
                </c:pt>
                <c:pt idx="459">
                  <c:v>0.99273046763984063</c:v>
                </c:pt>
                <c:pt idx="460">
                  <c:v>0.99276262325430065</c:v>
                </c:pt>
                <c:pt idx="461">
                  <c:v>0.99279477886876066</c:v>
                </c:pt>
                <c:pt idx="462">
                  <c:v>0.99285819318268997</c:v>
                </c:pt>
                <c:pt idx="463">
                  <c:v>0.99288973065303476</c:v>
                </c:pt>
                <c:pt idx="464">
                  <c:v>0.99298387036562841</c:v>
                </c:pt>
                <c:pt idx="465">
                  <c:v>0.9930149472580051</c:v>
                </c:pt>
                <c:pt idx="466">
                  <c:v>0.99307648289864336</c:v>
                </c:pt>
                <c:pt idx="467">
                  <c:v>0.99316747128829697</c:v>
                </c:pt>
                <c:pt idx="468">
                  <c:v>0.99325742943775863</c:v>
                </c:pt>
                <c:pt idx="469">
                  <c:v>0.99331654098382771</c:v>
                </c:pt>
                <c:pt idx="470">
                  <c:v>0.99340446289385131</c:v>
                </c:pt>
                <c:pt idx="471">
                  <c:v>0.99346264116351135</c:v>
                </c:pt>
                <c:pt idx="472">
                  <c:v>0.99351983767487073</c:v>
                </c:pt>
                <c:pt idx="473">
                  <c:v>0.99357559184996147</c:v>
                </c:pt>
                <c:pt idx="474">
                  <c:v>0.99360325076899569</c:v>
                </c:pt>
                <c:pt idx="475">
                  <c:v>0.99365844740233567</c:v>
                </c:pt>
                <c:pt idx="476">
                  <c:v>0.99368593663475002</c:v>
                </c:pt>
                <c:pt idx="477">
                  <c:v>0.99373971517276694</c:v>
                </c:pt>
                <c:pt idx="478">
                  <c:v>0.99384416940775233</c:v>
                </c:pt>
                <c:pt idx="479">
                  <c:v>0.99387008297869672</c:v>
                </c:pt>
                <c:pt idx="480">
                  <c:v>0.99394724190883321</c:v>
                </c:pt>
                <c:pt idx="481">
                  <c:v>0.99404845997756874</c:v>
                </c:pt>
                <c:pt idx="482">
                  <c:v>0.99407347663352252</c:v>
                </c:pt>
                <c:pt idx="483">
                  <c:v>0.99409832360285644</c:v>
                </c:pt>
                <c:pt idx="484">
                  <c:v>0.99414790845726864</c:v>
                </c:pt>
                <c:pt idx="485">
                  <c:v>0.99422111611325736</c:v>
                </c:pt>
                <c:pt idx="486">
                  <c:v>0.99424500556523654</c:v>
                </c:pt>
                <c:pt idx="487">
                  <c:v>0.99426874957154154</c:v>
                </c:pt>
                <c:pt idx="488">
                  <c:v>0.99429242085500946</c:v>
                </c:pt>
                <c:pt idx="489">
                  <c:v>0.99431609213847738</c:v>
                </c:pt>
                <c:pt idx="490">
                  <c:v>0.99443344255657062</c:v>
                </c:pt>
                <c:pt idx="491">
                  <c:v>0.99452597024627565</c:v>
                </c:pt>
                <c:pt idx="492">
                  <c:v>0.99454893854231852</c:v>
                </c:pt>
                <c:pt idx="493">
                  <c:v>0.99457189471788854</c:v>
                </c:pt>
                <c:pt idx="494">
                  <c:v>0.99481458294568059</c:v>
                </c:pt>
                <c:pt idx="495">
                  <c:v>0.99483590285741641</c:v>
                </c:pt>
                <c:pt idx="496">
                  <c:v>0.99487830027143109</c:v>
                </c:pt>
                <c:pt idx="497">
                  <c:v>0.99489945049654704</c:v>
                </c:pt>
                <c:pt idx="498">
                  <c:v>0.99492051587835306</c:v>
                </c:pt>
                <c:pt idx="499">
                  <c:v>0.99494149641684915</c:v>
                </c:pt>
                <c:pt idx="500">
                  <c:v>0.99500434106855462</c:v>
                </c:pt>
                <c:pt idx="501">
                  <c:v>0.99510763173814676</c:v>
                </c:pt>
                <c:pt idx="502">
                  <c:v>0.99514811411745174</c:v>
                </c:pt>
                <c:pt idx="503">
                  <c:v>0.99518851165344679</c:v>
                </c:pt>
                <c:pt idx="504">
                  <c:v>0.99522878798471337</c:v>
                </c:pt>
                <c:pt idx="505">
                  <c:v>0.99526867646084904</c:v>
                </c:pt>
                <c:pt idx="506">
                  <c:v>0.99546445845872744</c:v>
                </c:pt>
                <c:pt idx="507">
                  <c:v>0.99550298944190441</c:v>
                </c:pt>
                <c:pt idx="508">
                  <c:v>0.99556017383279105</c:v>
                </c:pt>
                <c:pt idx="509">
                  <c:v>0.99557910601137622</c:v>
                </c:pt>
                <c:pt idx="510">
                  <c:v>0.99561660675436114</c:v>
                </c:pt>
                <c:pt idx="511">
                  <c:v>0.99567196095384802</c:v>
                </c:pt>
                <c:pt idx="512">
                  <c:v>0.99584813202666211</c:v>
                </c:pt>
                <c:pt idx="513">
                  <c:v>0.99589958343389251</c:v>
                </c:pt>
                <c:pt idx="514">
                  <c:v>0.99606743986233448</c:v>
                </c:pt>
                <c:pt idx="515">
                  <c:v>0.99610017725949096</c:v>
                </c:pt>
                <c:pt idx="516">
                  <c:v>0.99614870763276575</c:v>
                </c:pt>
                <c:pt idx="517">
                  <c:v>0.99619681378949088</c:v>
                </c:pt>
                <c:pt idx="518">
                  <c:v>0.9962126916089189</c:v>
                </c:pt>
                <c:pt idx="519">
                  <c:v>0.99624433816351932</c:v>
                </c:pt>
                <c:pt idx="520">
                  <c:v>0.99641569740861347</c:v>
                </c:pt>
                <c:pt idx="521">
                  <c:v>0.99644626524113067</c:v>
                </c:pt>
                <c:pt idx="522">
                  <c:v>0.99647648157993529</c:v>
                </c:pt>
                <c:pt idx="523">
                  <c:v>0.99659516525004155</c:v>
                </c:pt>
                <c:pt idx="524">
                  <c:v>0.99660981890171219</c:v>
                </c:pt>
                <c:pt idx="525">
                  <c:v>0.99665363441104993</c:v>
                </c:pt>
                <c:pt idx="526">
                  <c:v>0.99666819109893778</c:v>
                </c:pt>
                <c:pt idx="527">
                  <c:v>0.99669720751093072</c:v>
                </c:pt>
                <c:pt idx="528">
                  <c:v>0.99671171571692718</c:v>
                </c:pt>
                <c:pt idx="529">
                  <c:v>0.9967262118024508</c:v>
                </c:pt>
                <c:pt idx="530">
                  <c:v>0.99675519185302519</c:v>
                </c:pt>
                <c:pt idx="531">
                  <c:v>0.99678394161461548</c:v>
                </c:pt>
                <c:pt idx="532">
                  <c:v>0.9968268359680168</c:v>
                </c:pt>
                <c:pt idx="533">
                  <c:v>0.99698040235897334</c:v>
                </c:pt>
                <c:pt idx="534">
                  <c:v>0.99709989810076038</c:v>
                </c:pt>
                <c:pt idx="535">
                  <c:v>0.99711279428386834</c:v>
                </c:pt>
                <c:pt idx="536">
                  <c:v>0.99716222157213363</c:v>
                </c:pt>
                <c:pt idx="537">
                  <c:v>0.99719844966546978</c:v>
                </c:pt>
                <c:pt idx="538">
                  <c:v>0.99731686668517339</c:v>
                </c:pt>
                <c:pt idx="539">
                  <c:v>0.99732853870052396</c:v>
                </c:pt>
                <c:pt idx="540">
                  <c:v>0.997409285290623</c:v>
                </c:pt>
                <c:pt idx="541">
                  <c:v>0.99742065429415239</c:v>
                </c:pt>
                <c:pt idx="542">
                  <c:v>0.99744336806026546</c:v>
                </c:pt>
                <c:pt idx="543">
                  <c:v>0.9974547007023763</c:v>
                </c:pt>
                <c:pt idx="544">
                  <c:v>0.99777612352177447</c:v>
                </c:pt>
                <c:pt idx="545">
                  <c:v>0.99778629259849216</c:v>
                </c:pt>
                <c:pt idx="546">
                  <c:v>0.99785654285910674</c:v>
                </c:pt>
                <c:pt idx="547">
                  <c:v>0.99786643316494894</c:v>
                </c:pt>
                <c:pt idx="548">
                  <c:v>0.99792479324170147</c:v>
                </c:pt>
                <c:pt idx="549">
                  <c:v>0.99799134675809786</c:v>
                </c:pt>
                <c:pt idx="550">
                  <c:v>0.99800066740171633</c:v>
                </c:pt>
                <c:pt idx="551">
                  <c:v>0.99806551193144166</c:v>
                </c:pt>
                <c:pt idx="552">
                  <c:v>0.99807461440654888</c:v>
                </c:pt>
                <c:pt idx="553">
                  <c:v>0.99808358355645477</c:v>
                </c:pt>
                <c:pt idx="554">
                  <c:v>0.99815418531078159</c:v>
                </c:pt>
                <c:pt idx="555">
                  <c:v>0.99817146910505983</c:v>
                </c:pt>
                <c:pt idx="556">
                  <c:v>0.99820583064557789</c:v>
                </c:pt>
                <c:pt idx="557">
                  <c:v>0.99827308714939944</c:v>
                </c:pt>
                <c:pt idx="558">
                  <c:v>0.99828129270951604</c:v>
                </c:pt>
                <c:pt idx="559">
                  <c:v>0.9984909405283301</c:v>
                </c:pt>
                <c:pt idx="560">
                  <c:v>0.99850561842094632</c:v>
                </c:pt>
                <c:pt idx="561">
                  <c:v>0.99852022359072545</c:v>
                </c:pt>
                <c:pt idx="562">
                  <c:v>0.99857806248714542</c:v>
                </c:pt>
                <c:pt idx="563">
                  <c:v>0.99858521356612451</c:v>
                </c:pt>
                <c:pt idx="564">
                  <c:v>0.99863410755358473</c:v>
                </c:pt>
                <c:pt idx="565">
                  <c:v>0.99864089501837838</c:v>
                </c:pt>
                <c:pt idx="566">
                  <c:v>0.99865443358654715</c:v>
                </c:pt>
                <c:pt idx="567">
                  <c:v>0.99868118347011781</c:v>
                </c:pt>
                <c:pt idx="568">
                  <c:v>0.99872018715173549</c:v>
                </c:pt>
                <c:pt idx="569">
                  <c:v>0.99873301061200648</c:v>
                </c:pt>
                <c:pt idx="570">
                  <c:v>0.99873939810119627</c:v>
                </c:pt>
                <c:pt idx="571">
                  <c:v>0.99878351662235532</c:v>
                </c:pt>
                <c:pt idx="572">
                  <c:v>0.9987958310227667</c:v>
                </c:pt>
                <c:pt idx="573">
                  <c:v>0.99904079789945355</c:v>
                </c:pt>
                <c:pt idx="574">
                  <c:v>0.99906183904031387</c:v>
                </c:pt>
                <c:pt idx="575">
                  <c:v>0.99912675629287617</c:v>
                </c:pt>
                <c:pt idx="576">
                  <c:v>0.99918271651600554</c:v>
                </c:pt>
                <c:pt idx="577">
                  <c:v>0.99921004818227288</c:v>
                </c:pt>
                <c:pt idx="578">
                  <c:v>0.99936464481342113</c:v>
                </c:pt>
                <c:pt idx="579">
                  <c:v>0.99940906634640092</c:v>
                </c:pt>
                <c:pt idx="580">
                  <c:v>0.99942315033584761</c:v>
                </c:pt>
                <c:pt idx="581">
                  <c:v>0.99944059169627253</c:v>
                </c:pt>
                <c:pt idx="582">
                  <c:v>0.99946472355770821</c:v>
                </c:pt>
                <c:pt idx="583">
                  <c:v>0.99950474535904565</c:v>
                </c:pt>
                <c:pt idx="584">
                  <c:v>0.99954601556908595</c:v>
                </c:pt>
                <c:pt idx="585">
                  <c:v>0.9996003395283809</c:v>
                </c:pt>
                <c:pt idx="586">
                  <c:v>0.999614629565866</c:v>
                </c:pt>
                <c:pt idx="587">
                  <c:v>0.99963944017378104</c:v>
                </c:pt>
                <c:pt idx="588">
                  <c:v>0.99968366777919571</c:v>
                </c:pt>
                <c:pt idx="589">
                  <c:v>0.99969346112125523</c:v>
                </c:pt>
                <c:pt idx="590">
                  <c:v>0.99970538766653561</c:v>
                </c:pt>
                <c:pt idx="591">
                  <c:v>0.99971004192810842</c:v>
                </c:pt>
                <c:pt idx="592">
                  <c:v>0.99972361685769573</c:v>
                </c:pt>
                <c:pt idx="593">
                  <c:v>0.99976072974554908</c:v>
                </c:pt>
                <c:pt idx="594">
                  <c:v>0.99977967404460699</c:v>
                </c:pt>
                <c:pt idx="595">
                  <c:v>0.99978514037786059</c:v>
                </c:pt>
                <c:pt idx="596">
                  <c:v>0.99986835954442022</c:v>
                </c:pt>
                <c:pt idx="597">
                  <c:v>0.9998938852602326</c:v>
                </c:pt>
                <c:pt idx="598">
                  <c:v>0.99996348101531418</c:v>
                </c:pt>
                <c:pt idx="599">
                  <c:v>0.999996606267601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8</c:f>
              <c:strCache>
                <c:ptCount val="237"/>
                <c:pt idx="0">
                  <c:v>Mini Babybe</c:v>
                </c:pt>
                <c:pt idx="1">
                  <c:v>Galbani</c:v>
                </c:pt>
                <c:pt idx="2">
                  <c:v>St Moret</c:v>
                </c:pt>
                <c:pt idx="3">
                  <c:v>Soignon</c:v>
                </c:pt>
                <c:pt idx="4">
                  <c:v>Caprice Des</c:v>
                </c:pt>
                <c:pt idx="5">
                  <c:v>Le Rustique</c:v>
                </c:pt>
                <c:pt idx="6">
                  <c:v>La Vache Qu</c:v>
                </c:pt>
                <c:pt idx="7">
                  <c:v>Paysan Bret</c:v>
                </c:pt>
                <c:pt idx="8">
                  <c:v>Coeur De Li</c:v>
                </c:pt>
                <c:pt idx="9">
                  <c:v>Kiri</c:v>
                </c:pt>
                <c:pt idx="10">
                  <c:v>President</c:v>
                </c:pt>
                <c:pt idx="11">
                  <c:v>Salakis</c:v>
                </c:pt>
                <c:pt idx="12">
                  <c:v>Philadelphi</c:v>
                </c:pt>
                <c:pt idx="13">
                  <c:v>Coeur De Li</c:v>
                </c:pt>
                <c:pt idx="14">
                  <c:v>Ficello</c:v>
                </c:pt>
                <c:pt idx="15">
                  <c:v>Caprice Des</c:v>
                </c:pt>
                <c:pt idx="16">
                  <c:v>Boursin</c:v>
                </c:pt>
                <c:pt idx="17">
                  <c:v>Soignon</c:v>
                </c:pt>
                <c:pt idx="18">
                  <c:v>Soignon</c:v>
                </c:pt>
                <c:pt idx="19">
                  <c:v>St Moret</c:v>
                </c:pt>
                <c:pt idx="20">
                  <c:v>Petit Billy</c:v>
                </c:pt>
                <c:pt idx="21">
                  <c:v>St Moret</c:v>
                </c:pt>
                <c:pt idx="22">
                  <c:v>Tartare</c:v>
                </c:pt>
                <c:pt idx="23">
                  <c:v>La Vache Qu</c:v>
                </c:pt>
                <c:pt idx="24">
                  <c:v>Casa Azzurr</c:v>
                </c:pt>
                <c:pt idx="25">
                  <c:v>President</c:v>
                </c:pt>
                <c:pt idx="26">
                  <c:v>Kiri</c:v>
                </c:pt>
                <c:pt idx="27">
                  <c:v>Salakis</c:v>
                </c:pt>
                <c:pt idx="28">
                  <c:v>Caprice Des</c:v>
                </c:pt>
                <c:pt idx="29">
                  <c:v>Soignon</c:v>
                </c:pt>
                <c:pt idx="30">
                  <c:v>All Others</c:v>
                </c:pt>
                <c:pt idx="31">
                  <c:v>Boursin</c:v>
                </c:pt>
                <c:pt idx="32">
                  <c:v>Le Brebiou</c:v>
                </c:pt>
                <c:pt idx="33">
                  <c:v>Paysan Bret</c:v>
                </c:pt>
                <c:pt idx="34">
                  <c:v>Carre Frais</c:v>
                </c:pt>
                <c:pt idx="35">
                  <c:v>Chavroux</c:v>
                </c:pt>
                <c:pt idx="36">
                  <c:v>President</c:v>
                </c:pt>
                <c:pt idx="37">
                  <c:v>President</c:v>
                </c:pt>
                <c:pt idx="38">
                  <c:v>All Others</c:v>
                </c:pt>
                <c:pt idx="39">
                  <c:v>Galbani</c:v>
                </c:pt>
                <c:pt idx="40">
                  <c:v>Tartare</c:v>
                </c:pt>
                <c:pt idx="41">
                  <c:v>Etorki</c:v>
                </c:pt>
                <c:pt idx="42">
                  <c:v>Boursin</c:v>
                </c:pt>
                <c:pt idx="43">
                  <c:v>All Others</c:v>
                </c:pt>
                <c:pt idx="44">
                  <c:v>Istara</c:v>
                </c:pt>
                <c:pt idx="45">
                  <c:v>All Others</c:v>
                </c:pt>
                <c:pt idx="46">
                  <c:v>President</c:v>
                </c:pt>
                <c:pt idx="47">
                  <c:v>Tartare</c:v>
                </c:pt>
                <c:pt idx="48">
                  <c:v>Mini Babybe</c:v>
                </c:pt>
                <c:pt idx="49">
                  <c:v>All Others</c:v>
                </c:pt>
                <c:pt idx="50">
                  <c:v>Islos</c:v>
                </c:pt>
                <c:pt idx="51">
                  <c:v>Casa Azzurr</c:v>
                </c:pt>
                <c:pt idx="52">
                  <c:v>St Moret</c:v>
                </c:pt>
                <c:pt idx="53">
                  <c:v>La Vache Qu</c:v>
                </c:pt>
                <c:pt idx="54">
                  <c:v>Lou Perac</c:v>
                </c:pt>
                <c:pt idx="55">
                  <c:v>Lepetit</c:v>
                </c:pt>
                <c:pt idx="56">
                  <c:v>All Others</c:v>
                </c:pt>
                <c:pt idx="57">
                  <c:v>Carre Frais</c:v>
                </c:pt>
                <c:pt idx="58">
                  <c:v>All Others</c:v>
                </c:pt>
                <c:pt idx="59">
                  <c:v>Galbani</c:v>
                </c:pt>
                <c:pt idx="60">
                  <c:v>All Others</c:v>
                </c:pt>
                <c:pt idx="61">
                  <c:v>All Others</c:v>
                </c:pt>
                <c:pt idx="62">
                  <c:v>Soignon</c:v>
                </c:pt>
                <c:pt idx="63">
                  <c:v>All Others</c:v>
                </c:pt>
                <c:pt idx="64">
                  <c:v>Kiri</c:v>
                </c:pt>
                <c:pt idx="65">
                  <c:v>Salakis</c:v>
                </c:pt>
                <c:pt idx="66">
                  <c:v>P'Tit Louis</c:v>
                </c:pt>
                <c:pt idx="67">
                  <c:v>Paysan Bret</c:v>
                </c:pt>
                <c:pt idx="68">
                  <c:v>All Others</c:v>
                </c:pt>
                <c:pt idx="69">
                  <c:v>All Others</c:v>
                </c:pt>
                <c:pt idx="70">
                  <c:v>Galbani</c:v>
                </c:pt>
                <c:pt idx="71">
                  <c:v>All Others</c:v>
                </c:pt>
                <c:pt idx="72">
                  <c:v>Paysan Bret</c:v>
                </c:pt>
                <c:pt idx="73">
                  <c:v>All Others</c:v>
                </c:pt>
                <c:pt idx="74">
                  <c:v>Lactalis: A</c:v>
                </c:pt>
                <c:pt idx="75">
                  <c:v>All Others</c:v>
                </c:pt>
                <c:pt idx="76">
                  <c:v>Istara</c:v>
                </c:pt>
                <c:pt idx="77">
                  <c:v>President</c:v>
                </c:pt>
                <c:pt idx="78">
                  <c:v>All Others</c:v>
                </c:pt>
                <c:pt idx="79">
                  <c:v>Casa Azzurr</c:v>
                </c:pt>
                <c:pt idx="80">
                  <c:v>Casa Azzurr</c:v>
                </c:pt>
                <c:pt idx="81">
                  <c:v>Galbani</c:v>
                </c:pt>
                <c:pt idx="82">
                  <c:v>All Others</c:v>
                </c:pt>
                <c:pt idx="83">
                  <c:v>President</c:v>
                </c:pt>
                <c:pt idx="84">
                  <c:v>All Others</c:v>
                </c:pt>
                <c:pt idx="85">
                  <c:v>Lou Perac</c:v>
                </c:pt>
                <c:pt idx="86">
                  <c:v>Casa Azzurr</c:v>
                </c:pt>
                <c:pt idx="87">
                  <c:v>All Others</c:v>
                </c:pt>
                <c:pt idx="88">
                  <c:v>All Others</c:v>
                </c:pt>
                <c:pt idx="89">
                  <c:v>All Others</c:v>
                </c:pt>
                <c:pt idx="90">
                  <c:v>All Others</c:v>
                </c:pt>
                <c:pt idx="91">
                  <c:v>All Others</c:v>
                </c:pt>
                <c:pt idx="92">
                  <c:v>Soignon</c:v>
                </c:pt>
                <c:pt idx="93">
                  <c:v>Paysan Bret</c:v>
                </c:pt>
                <c:pt idx="94">
                  <c:v>All Others</c:v>
                </c:pt>
                <c:pt idx="95">
                  <c:v>President</c:v>
                </c:pt>
                <c:pt idx="96">
                  <c:v>President</c:v>
                </c:pt>
                <c:pt idx="97">
                  <c:v>All Others</c:v>
                </c:pt>
                <c:pt idx="98">
                  <c:v>Soignon</c:v>
                </c:pt>
                <c:pt idx="99">
                  <c:v>All Others</c:v>
                </c:pt>
                <c:pt idx="100">
                  <c:v>All Others</c:v>
                </c:pt>
                <c:pt idx="101">
                  <c:v>Paysan Bret</c:v>
                </c:pt>
                <c:pt idx="102">
                  <c:v>All Others</c:v>
                </c:pt>
                <c:pt idx="103">
                  <c:v>All Others</c:v>
                </c:pt>
                <c:pt idx="104">
                  <c:v>Soignon</c:v>
                </c:pt>
                <c:pt idx="105">
                  <c:v>All Others</c:v>
                </c:pt>
                <c:pt idx="106">
                  <c:v>All Others</c:v>
                </c:pt>
                <c:pt idx="107">
                  <c:v>All Others</c:v>
                </c:pt>
                <c:pt idx="108">
                  <c:v>Triballat N</c:v>
                </c:pt>
                <c:pt idx="109">
                  <c:v>All Others</c:v>
                </c:pt>
                <c:pt idx="110">
                  <c:v>Lactalis: A</c:v>
                </c:pt>
                <c:pt idx="111">
                  <c:v>La Vache Qu</c:v>
                </c:pt>
                <c:pt idx="112">
                  <c:v>All Others</c:v>
                </c:pt>
                <c:pt idx="113">
                  <c:v>All Others</c:v>
                </c:pt>
                <c:pt idx="114">
                  <c:v>All Others</c:v>
                </c:pt>
                <c:pt idx="115">
                  <c:v>All Others</c:v>
                </c:pt>
                <c:pt idx="116">
                  <c:v>All Others</c:v>
                </c:pt>
                <c:pt idx="117">
                  <c:v>All Others</c:v>
                </c:pt>
                <c:pt idx="118">
                  <c:v>Coeur De Li</c:v>
                </c:pt>
                <c:pt idx="119">
                  <c:v>Savencia: A</c:v>
                </c:pt>
                <c:pt idx="120">
                  <c:v>Soignon</c:v>
                </c:pt>
                <c:pt idx="121">
                  <c:v>All Others</c:v>
                </c:pt>
                <c:pt idx="122">
                  <c:v>All Others</c:v>
                </c:pt>
                <c:pt idx="123">
                  <c:v>St Moret</c:v>
                </c:pt>
                <c:pt idx="124">
                  <c:v>All Others</c:v>
                </c:pt>
                <c:pt idx="125">
                  <c:v>Boursin</c:v>
                </c:pt>
                <c:pt idx="126">
                  <c:v>All Others</c:v>
                </c:pt>
                <c:pt idx="127">
                  <c:v>All Others</c:v>
                </c:pt>
                <c:pt idx="128">
                  <c:v>Milleret: A</c:v>
                </c:pt>
                <c:pt idx="129">
                  <c:v>Paysan Bret</c:v>
                </c:pt>
                <c:pt idx="130">
                  <c:v>All Others</c:v>
                </c:pt>
                <c:pt idx="131">
                  <c:v>Paysan Bret</c:v>
                </c:pt>
                <c:pt idx="132">
                  <c:v>Galbani</c:v>
                </c:pt>
                <c:pt idx="133">
                  <c:v>All Others</c:v>
                </c:pt>
                <c:pt idx="134">
                  <c:v>Milleret: A</c:v>
                </c:pt>
                <c:pt idx="135">
                  <c:v>All Others</c:v>
                </c:pt>
                <c:pt idx="136">
                  <c:v>Boursin</c:v>
                </c:pt>
                <c:pt idx="137">
                  <c:v>Pave D'Affi</c:v>
                </c:pt>
                <c:pt idx="138">
                  <c:v>Mini Babybe</c:v>
                </c:pt>
                <c:pt idx="139">
                  <c:v>All Others</c:v>
                </c:pt>
                <c:pt idx="140">
                  <c:v>All Others</c:v>
                </c:pt>
                <c:pt idx="141">
                  <c:v>Lou Perac</c:v>
                </c:pt>
                <c:pt idx="142">
                  <c:v>Lactalis: A</c:v>
                </c:pt>
                <c:pt idx="143">
                  <c:v>Istara</c:v>
                </c:pt>
                <c:pt idx="144">
                  <c:v>All Others</c:v>
                </c:pt>
                <c:pt idx="145">
                  <c:v>All Others</c:v>
                </c:pt>
                <c:pt idx="146">
                  <c:v>All Others</c:v>
                </c:pt>
                <c:pt idx="147">
                  <c:v>Le Rustique</c:v>
                </c:pt>
                <c:pt idx="148">
                  <c:v>All Others</c:v>
                </c:pt>
                <c:pt idx="149">
                  <c:v>All Others</c:v>
                </c:pt>
                <c:pt idx="150">
                  <c:v>Soignon</c:v>
                </c:pt>
                <c:pt idx="151">
                  <c:v>All Others</c:v>
                </c:pt>
                <c:pt idx="152">
                  <c:v>All Others</c:v>
                </c:pt>
                <c:pt idx="153">
                  <c:v>All Others</c:v>
                </c:pt>
                <c:pt idx="154">
                  <c:v>Mini Babybe</c:v>
                </c:pt>
                <c:pt idx="155">
                  <c:v>Eurial Autr</c:v>
                </c:pt>
                <c:pt idx="156">
                  <c:v>All Others</c:v>
                </c:pt>
                <c:pt idx="157">
                  <c:v>Philadelphi</c:v>
                </c:pt>
                <c:pt idx="158">
                  <c:v>All Others</c:v>
                </c:pt>
                <c:pt idx="159">
                  <c:v>St Moret</c:v>
                </c:pt>
                <c:pt idx="160">
                  <c:v>Mini Babybe</c:v>
                </c:pt>
                <c:pt idx="161">
                  <c:v>All Others</c:v>
                </c:pt>
                <c:pt idx="162">
                  <c:v>All Others</c:v>
                </c:pt>
                <c:pt idx="163">
                  <c:v>Kiri</c:v>
                </c:pt>
                <c:pt idx="164">
                  <c:v>All Others</c:v>
                </c:pt>
                <c:pt idx="165">
                  <c:v>All Others</c:v>
                </c:pt>
                <c:pt idx="166">
                  <c:v>All Others</c:v>
                </c:pt>
                <c:pt idx="167">
                  <c:v>All Others</c:v>
                </c:pt>
                <c:pt idx="168">
                  <c:v>All Others</c:v>
                </c:pt>
                <c:pt idx="169">
                  <c:v>All Others</c:v>
                </c:pt>
                <c:pt idx="170">
                  <c:v>All Others</c:v>
                </c:pt>
                <c:pt idx="171">
                  <c:v>All Others</c:v>
                </c:pt>
                <c:pt idx="172">
                  <c:v>La Vache Qu</c:v>
                </c:pt>
                <c:pt idx="173">
                  <c:v>All Others</c:v>
                </c:pt>
                <c:pt idx="174">
                  <c:v>Ficello</c:v>
                </c:pt>
                <c:pt idx="175">
                  <c:v>All Others</c:v>
                </c:pt>
                <c:pt idx="176">
                  <c:v>All Others</c:v>
                </c:pt>
                <c:pt idx="177">
                  <c:v>All Others</c:v>
                </c:pt>
                <c:pt idx="178">
                  <c:v>All Others</c:v>
                </c:pt>
                <c:pt idx="179">
                  <c:v>All Others</c:v>
                </c:pt>
                <c:pt idx="180">
                  <c:v>All Others</c:v>
                </c:pt>
                <c:pt idx="181">
                  <c:v>Lactalis: A</c:v>
                </c:pt>
                <c:pt idx="182">
                  <c:v>All Others</c:v>
                </c:pt>
                <c:pt idx="183">
                  <c:v>All Others</c:v>
                </c:pt>
                <c:pt idx="184">
                  <c:v>P'Tit Louis</c:v>
                </c:pt>
                <c:pt idx="185">
                  <c:v>All Others</c:v>
                </c:pt>
                <c:pt idx="186">
                  <c:v>Lactalis: A</c:v>
                </c:pt>
                <c:pt idx="187">
                  <c:v>Chavroux</c:v>
                </c:pt>
                <c:pt idx="188">
                  <c:v>All Others</c:v>
                </c:pt>
                <c:pt idx="189">
                  <c:v>Lou Perac</c:v>
                </c:pt>
                <c:pt idx="190">
                  <c:v>Boursin</c:v>
                </c:pt>
                <c:pt idx="191">
                  <c:v>All Others</c:v>
                </c:pt>
                <c:pt idx="192">
                  <c:v>All Others</c:v>
                </c:pt>
                <c:pt idx="193">
                  <c:v>All Others</c:v>
                </c:pt>
                <c:pt idx="194">
                  <c:v>Kiri</c:v>
                </c:pt>
                <c:pt idx="195">
                  <c:v>Tartare</c:v>
                </c:pt>
                <c:pt idx="196">
                  <c:v>All Others</c:v>
                </c:pt>
                <c:pt idx="197">
                  <c:v>All Others</c:v>
                </c:pt>
                <c:pt idx="198">
                  <c:v>Lactalis: A</c:v>
                </c:pt>
                <c:pt idx="199">
                  <c:v>Ficello</c:v>
                </c:pt>
                <c:pt idx="200">
                  <c:v>All Others</c:v>
                </c:pt>
                <c:pt idx="201">
                  <c:v>All Others</c:v>
                </c:pt>
                <c:pt idx="202">
                  <c:v>All Others</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Triballat R</c:v>
                </c:pt>
                <c:pt idx="221">
                  <c:v>All Others</c:v>
                </c:pt>
                <c:pt idx="222">
                  <c:v>All Others</c:v>
                </c:pt>
                <c:pt idx="223">
                  <c:v>All Others</c:v>
                </c:pt>
                <c:pt idx="224">
                  <c:v>All Others</c:v>
                </c:pt>
                <c:pt idx="225">
                  <c:v>All Others</c:v>
                </c:pt>
                <c:pt idx="226">
                  <c:v>All Others</c:v>
                </c:pt>
                <c:pt idx="227">
                  <c:v>All Others</c:v>
                </c:pt>
                <c:pt idx="228">
                  <c:v>All Others</c:v>
                </c:pt>
                <c:pt idx="229">
                  <c:v>Kiri</c:v>
                </c:pt>
                <c:pt idx="230">
                  <c:v>La Vache Qu</c:v>
                </c:pt>
                <c:pt idx="231">
                  <c:v>All Others</c:v>
                </c:pt>
                <c:pt idx="232">
                  <c:v>All Others</c:v>
                </c:pt>
                <c:pt idx="233">
                  <c:v>All Others</c:v>
                </c:pt>
                <c:pt idx="234">
                  <c:v>All Others</c:v>
                </c:pt>
                <c:pt idx="235">
                  <c:v>Carre Frais</c:v>
                </c:pt>
                <c:pt idx="236">
                  <c:v>Mini Babybe</c:v>
                </c:pt>
              </c:strCache>
            </c:strRef>
          </c:cat>
          <c:val>
            <c:numRef>
              <c:f>Sheet1!$B$2:$B$238</c:f>
              <c:numCache>
                <c:formatCode>General</c:formatCode>
                <c:ptCount val="237"/>
                <c:pt idx="0">
                  <c:v>0.96</c:v>
                </c:pt>
                <c:pt idx="1">
                  <c:v>0.74</c:v>
                </c:pt>
                <c:pt idx="2">
                  <c:v>0.96</c:v>
                </c:pt>
                <c:pt idx="3">
                  <c:v>0.92</c:v>
                </c:pt>
                <c:pt idx="4">
                  <c:v>0.95</c:v>
                </c:pt>
                <c:pt idx="5">
                  <c:v>0.93</c:v>
                </c:pt>
                <c:pt idx="6">
                  <c:v>0.89</c:v>
                </c:pt>
                <c:pt idx="7">
                  <c:v>0.86</c:v>
                </c:pt>
                <c:pt idx="8">
                  <c:v>0.76</c:v>
                </c:pt>
                <c:pt idx="9">
                  <c:v>0.96</c:v>
                </c:pt>
                <c:pt idx="10">
                  <c:v>0.94</c:v>
                </c:pt>
                <c:pt idx="11">
                  <c:v>0.66</c:v>
                </c:pt>
                <c:pt idx="12">
                  <c:v>0.91</c:v>
                </c:pt>
                <c:pt idx="13">
                  <c:v>0.85</c:v>
                </c:pt>
                <c:pt idx="14">
                  <c:v>0.83</c:v>
                </c:pt>
                <c:pt idx="15">
                  <c:v>0.47</c:v>
                </c:pt>
                <c:pt idx="16">
                  <c:v>0.83</c:v>
                </c:pt>
                <c:pt idx="17">
                  <c:v>0.77</c:v>
                </c:pt>
                <c:pt idx="18">
                  <c:v>0.48</c:v>
                </c:pt>
                <c:pt idx="19">
                  <c:v>0.65</c:v>
                </c:pt>
                <c:pt idx="20">
                  <c:v>0.78</c:v>
                </c:pt>
                <c:pt idx="21">
                  <c:v>0.75</c:v>
                </c:pt>
                <c:pt idx="22">
                  <c:v>0.74</c:v>
                </c:pt>
                <c:pt idx="23">
                  <c:v>0.45</c:v>
                </c:pt>
                <c:pt idx="24">
                  <c:v>0.35</c:v>
                </c:pt>
                <c:pt idx="25">
                  <c:v>0.52</c:v>
                </c:pt>
                <c:pt idx="26">
                  <c:v>0.71</c:v>
                </c:pt>
                <c:pt idx="27">
                  <c:v>0.68</c:v>
                </c:pt>
                <c:pt idx="28">
                  <c:v>0.56000000000000005</c:v>
                </c:pt>
                <c:pt idx="29">
                  <c:v>0.77</c:v>
                </c:pt>
                <c:pt idx="30">
                  <c:v>0.23</c:v>
                </c:pt>
                <c:pt idx="31">
                  <c:v>0.79</c:v>
                </c:pt>
                <c:pt idx="32">
                  <c:v>0.6</c:v>
                </c:pt>
                <c:pt idx="33">
                  <c:v>0.48</c:v>
                </c:pt>
                <c:pt idx="34">
                  <c:v>0.54</c:v>
                </c:pt>
                <c:pt idx="35">
                  <c:v>0.74</c:v>
                </c:pt>
                <c:pt idx="36">
                  <c:v>0.59</c:v>
                </c:pt>
                <c:pt idx="37">
                  <c:v>0.59</c:v>
                </c:pt>
                <c:pt idx="38">
                  <c:v>0.01</c:v>
                </c:pt>
                <c:pt idx="39">
                  <c:v>0.27</c:v>
                </c:pt>
                <c:pt idx="40">
                  <c:v>0.41</c:v>
                </c:pt>
                <c:pt idx="41">
                  <c:v>0.52</c:v>
                </c:pt>
                <c:pt idx="42">
                  <c:v>0.49</c:v>
                </c:pt>
                <c:pt idx="43">
                  <c:v>0.19</c:v>
                </c:pt>
                <c:pt idx="44">
                  <c:v>0.44</c:v>
                </c:pt>
                <c:pt idx="45">
                  <c:v>0.55000000000000004</c:v>
                </c:pt>
                <c:pt idx="46">
                  <c:v>0.66</c:v>
                </c:pt>
                <c:pt idx="47">
                  <c:v>0.59</c:v>
                </c:pt>
                <c:pt idx="48">
                  <c:v>0.2</c:v>
                </c:pt>
                <c:pt idx="49">
                  <c:v>0.2</c:v>
                </c:pt>
                <c:pt idx="50">
                  <c:v>0.14000000000000001</c:v>
                </c:pt>
                <c:pt idx="51">
                  <c:v>0.22</c:v>
                </c:pt>
                <c:pt idx="52">
                  <c:v>0.19</c:v>
                </c:pt>
                <c:pt idx="53">
                  <c:v>0.51</c:v>
                </c:pt>
                <c:pt idx="54">
                  <c:v>0.48</c:v>
                </c:pt>
                <c:pt idx="55">
                  <c:v>0.47</c:v>
                </c:pt>
                <c:pt idx="56">
                  <c:v>0.16</c:v>
                </c:pt>
                <c:pt idx="57">
                  <c:v>0.28000000000000003</c:v>
                </c:pt>
                <c:pt idx="58">
                  <c:v>0.32</c:v>
                </c:pt>
                <c:pt idx="59">
                  <c:v>0.16</c:v>
                </c:pt>
                <c:pt idx="60">
                  <c:v>0.18</c:v>
                </c:pt>
                <c:pt idx="61">
                  <c:v>0.08</c:v>
                </c:pt>
                <c:pt idx="62">
                  <c:v>0.37</c:v>
                </c:pt>
                <c:pt idx="63">
                  <c:v>0.2</c:v>
                </c:pt>
                <c:pt idx="64">
                  <c:v>0.54</c:v>
                </c:pt>
                <c:pt idx="65">
                  <c:v>0.11</c:v>
                </c:pt>
                <c:pt idx="66">
                  <c:v>0.36</c:v>
                </c:pt>
                <c:pt idx="67">
                  <c:v>0.24</c:v>
                </c:pt>
                <c:pt idx="68">
                  <c:v>0.18</c:v>
                </c:pt>
                <c:pt idx="69">
                  <c:v>0.08</c:v>
                </c:pt>
                <c:pt idx="70">
                  <c:v>0.08</c:v>
                </c:pt>
                <c:pt idx="71">
                  <c:v>0.18</c:v>
                </c:pt>
                <c:pt idx="72">
                  <c:v>0.28999999999999998</c:v>
                </c:pt>
                <c:pt idx="73">
                  <c:v>0.08</c:v>
                </c:pt>
                <c:pt idx="74">
                  <c:v>0.15</c:v>
                </c:pt>
                <c:pt idx="75">
                  <c:v>0.09</c:v>
                </c:pt>
                <c:pt idx="76">
                  <c:v>0.11</c:v>
                </c:pt>
                <c:pt idx="77">
                  <c:v>0.18</c:v>
                </c:pt>
                <c:pt idx="78">
                  <c:v>7.0000000000000007E-2</c:v>
                </c:pt>
                <c:pt idx="79">
                  <c:v>0.08</c:v>
                </c:pt>
                <c:pt idx="80">
                  <c:v>0.09</c:v>
                </c:pt>
                <c:pt idx="81">
                  <c:v>7.0000000000000007E-2</c:v>
                </c:pt>
                <c:pt idx="82">
                  <c:v>0.08</c:v>
                </c:pt>
                <c:pt idx="83">
                  <c:v>0.11</c:v>
                </c:pt>
                <c:pt idx="84">
                  <c:v>0.1</c:v>
                </c:pt>
                <c:pt idx="85">
                  <c:v>0.3</c:v>
                </c:pt>
                <c:pt idx="86">
                  <c:v>0.06</c:v>
                </c:pt>
                <c:pt idx="87">
                  <c:v>0.18</c:v>
                </c:pt>
                <c:pt idx="88">
                  <c:v>7.0000000000000007E-2</c:v>
                </c:pt>
                <c:pt idx="89">
                  <c:v>0.18</c:v>
                </c:pt>
                <c:pt idx="90">
                  <c:v>0.15</c:v>
                </c:pt>
                <c:pt idx="91">
                  <c:v>0.05</c:v>
                </c:pt>
                <c:pt idx="92">
                  <c:v>0.16</c:v>
                </c:pt>
                <c:pt idx="93">
                  <c:v>0.05</c:v>
                </c:pt>
                <c:pt idx="94">
                  <c:v>0.08</c:v>
                </c:pt>
                <c:pt idx="95">
                  <c:v>0.14000000000000001</c:v>
                </c:pt>
                <c:pt idx="96">
                  <c:v>0.19</c:v>
                </c:pt>
                <c:pt idx="97">
                  <c:v>0.1</c:v>
                </c:pt>
                <c:pt idx="98">
                  <c:v>0.18</c:v>
                </c:pt>
                <c:pt idx="99">
                  <c:v>0.13</c:v>
                </c:pt>
                <c:pt idx="100">
                  <c:v>0.04</c:v>
                </c:pt>
                <c:pt idx="101">
                  <c:v>0.06</c:v>
                </c:pt>
                <c:pt idx="102">
                  <c:v>7.0000000000000007E-2</c:v>
                </c:pt>
                <c:pt idx="103">
                  <c:v>0.18</c:v>
                </c:pt>
                <c:pt idx="104">
                  <c:v>0.12</c:v>
                </c:pt>
                <c:pt idx="105">
                  <c:v>0.05</c:v>
                </c:pt>
                <c:pt idx="106">
                  <c:v>0.03</c:v>
                </c:pt>
                <c:pt idx="107">
                  <c:v>0.06</c:v>
                </c:pt>
                <c:pt idx="108">
                  <c:v>0.14000000000000001</c:v>
                </c:pt>
                <c:pt idx="109">
                  <c:v>0.05</c:v>
                </c:pt>
                <c:pt idx="110">
                  <c:v>0.06</c:v>
                </c:pt>
                <c:pt idx="111">
                  <c:v>0.09</c:v>
                </c:pt>
                <c:pt idx="112">
                  <c:v>7.0000000000000007E-2</c:v>
                </c:pt>
                <c:pt idx="113">
                  <c:v>0.02</c:v>
                </c:pt>
                <c:pt idx="114">
                  <c:v>0.06</c:v>
                </c:pt>
                <c:pt idx="115">
                  <c:v>7.0000000000000007E-2</c:v>
                </c:pt>
                <c:pt idx="116">
                  <c:v>0.04</c:v>
                </c:pt>
                <c:pt idx="117">
                  <c:v>0.05</c:v>
                </c:pt>
                <c:pt idx="118">
                  <c:v>0.05</c:v>
                </c:pt>
                <c:pt idx="119">
                  <c:v>0.12</c:v>
                </c:pt>
                <c:pt idx="120">
                  <c:v>0.11</c:v>
                </c:pt>
                <c:pt idx="121">
                  <c:v>0.05</c:v>
                </c:pt>
                <c:pt idx="122">
                  <c:v>0.04</c:v>
                </c:pt>
                <c:pt idx="123">
                  <c:v>0.08</c:v>
                </c:pt>
                <c:pt idx="124">
                  <c:v>0.08</c:v>
                </c:pt>
                <c:pt idx="125">
                  <c:v>0.09</c:v>
                </c:pt>
                <c:pt idx="126">
                  <c:v>0.03</c:v>
                </c:pt>
                <c:pt idx="127">
                  <c:v>0.06</c:v>
                </c:pt>
                <c:pt idx="128">
                  <c:v>0.04</c:v>
                </c:pt>
                <c:pt idx="129">
                  <c:v>0.04</c:v>
                </c:pt>
                <c:pt idx="130">
                  <c:v>0.04</c:v>
                </c:pt>
                <c:pt idx="131">
                  <c:v>0.03</c:v>
                </c:pt>
                <c:pt idx="132">
                  <c:v>0.04</c:v>
                </c:pt>
                <c:pt idx="133">
                  <c:v>0.03</c:v>
                </c:pt>
                <c:pt idx="134">
                  <c:v>0.04</c:v>
                </c:pt>
                <c:pt idx="135">
                  <c:v>0.04</c:v>
                </c:pt>
                <c:pt idx="136">
                  <c:v>0.08</c:v>
                </c:pt>
                <c:pt idx="137">
                  <c:v>7.0000000000000007E-2</c:v>
                </c:pt>
                <c:pt idx="138">
                  <c:v>0.05</c:v>
                </c:pt>
                <c:pt idx="139">
                  <c:v>0.02</c:v>
                </c:pt>
                <c:pt idx="140">
                  <c:v>0.02</c:v>
                </c:pt>
                <c:pt idx="141">
                  <c:v>0.04</c:v>
                </c:pt>
                <c:pt idx="142">
                  <c:v>7.0000000000000007E-2</c:v>
                </c:pt>
                <c:pt idx="143">
                  <c:v>0.05</c:v>
                </c:pt>
                <c:pt idx="144">
                  <c:v>0.03</c:v>
                </c:pt>
                <c:pt idx="145">
                  <c:v>0.05</c:v>
                </c:pt>
                <c:pt idx="146">
                  <c:v>0.02</c:v>
                </c:pt>
                <c:pt idx="147">
                  <c:v>0.06</c:v>
                </c:pt>
                <c:pt idx="148">
                  <c:v>0.02</c:v>
                </c:pt>
                <c:pt idx="149">
                  <c:v>0.16</c:v>
                </c:pt>
                <c:pt idx="150">
                  <c:v>0.1</c:v>
                </c:pt>
                <c:pt idx="151">
                  <c:v>0.04</c:v>
                </c:pt>
                <c:pt idx="152">
                  <c:v>0.04</c:v>
                </c:pt>
                <c:pt idx="153">
                  <c:v>0.01</c:v>
                </c:pt>
                <c:pt idx="154">
                  <c:v>0.08</c:v>
                </c:pt>
                <c:pt idx="155">
                  <c:v>0.02</c:v>
                </c:pt>
                <c:pt idx="156">
                  <c:v>0.03</c:v>
                </c:pt>
                <c:pt idx="157">
                  <c:v>0.03</c:v>
                </c:pt>
                <c:pt idx="158">
                  <c:v>0.04</c:v>
                </c:pt>
                <c:pt idx="159">
                  <c:v>0.03</c:v>
                </c:pt>
                <c:pt idx="160">
                  <c:v>0.06</c:v>
                </c:pt>
                <c:pt idx="161">
                  <c:v>0.01</c:v>
                </c:pt>
                <c:pt idx="162">
                  <c:v>0.02</c:v>
                </c:pt>
                <c:pt idx="163">
                  <c:v>0.02</c:v>
                </c:pt>
                <c:pt idx="164">
                  <c:v>0.02</c:v>
                </c:pt>
                <c:pt idx="165">
                  <c:v>0.03</c:v>
                </c:pt>
                <c:pt idx="166">
                  <c:v>0.03</c:v>
                </c:pt>
                <c:pt idx="167">
                  <c:v>0.01</c:v>
                </c:pt>
                <c:pt idx="168">
                  <c:v>0.01</c:v>
                </c:pt>
                <c:pt idx="169">
                  <c:v>0.02</c:v>
                </c:pt>
                <c:pt idx="170">
                  <c:v>0.02</c:v>
                </c:pt>
                <c:pt idx="171">
                  <c:v>0.02</c:v>
                </c:pt>
                <c:pt idx="172">
                  <c:v>0.05</c:v>
                </c:pt>
                <c:pt idx="173">
                  <c:v>0.02</c:v>
                </c:pt>
                <c:pt idx="174">
                  <c:v>0.03</c:v>
                </c:pt>
                <c:pt idx="175">
                  <c:v>0.02</c:v>
                </c:pt>
                <c:pt idx="176">
                  <c:v>0.02</c:v>
                </c:pt>
                <c:pt idx="177">
                  <c:v>0.03</c:v>
                </c:pt>
                <c:pt idx="178">
                  <c:v>0.02</c:v>
                </c:pt>
                <c:pt idx="179">
                  <c:v>0.02</c:v>
                </c:pt>
                <c:pt idx="180">
                  <c:v>0.01</c:v>
                </c:pt>
                <c:pt idx="181">
                  <c:v>0.03</c:v>
                </c:pt>
                <c:pt idx="182">
                  <c:v>0.04</c:v>
                </c:pt>
                <c:pt idx="183">
                  <c:v>0.03</c:v>
                </c:pt>
                <c:pt idx="184">
                  <c:v>0.05</c:v>
                </c:pt>
                <c:pt idx="185">
                  <c:v>0.02</c:v>
                </c:pt>
                <c:pt idx="186">
                  <c:v>0.01</c:v>
                </c:pt>
                <c:pt idx="187">
                  <c:v>0.05</c:v>
                </c:pt>
                <c:pt idx="188">
                  <c:v>0.01</c:v>
                </c:pt>
                <c:pt idx="189">
                  <c:v>0.03</c:v>
                </c:pt>
                <c:pt idx="190">
                  <c:v>0.11</c:v>
                </c:pt>
                <c:pt idx="191">
                  <c:v>0.01</c:v>
                </c:pt>
                <c:pt idx="192">
                  <c:v>0.01</c:v>
                </c:pt>
                <c:pt idx="193">
                  <c:v>0.01</c:v>
                </c:pt>
                <c:pt idx="194">
                  <c:v>0.02</c:v>
                </c:pt>
                <c:pt idx="195">
                  <c:v>0.03</c:v>
                </c:pt>
                <c:pt idx="196">
                  <c:v>0.02</c:v>
                </c:pt>
                <c:pt idx="197">
                  <c:v>0.02</c:v>
                </c:pt>
                <c:pt idx="198">
                  <c:v>0.02</c:v>
                </c:pt>
                <c:pt idx="199">
                  <c:v>0.02</c:v>
                </c:pt>
                <c:pt idx="200">
                  <c:v>0.01</c:v>
                </c:pt>
                <c:pt idx="201">
                  <c:v>0.01</c:v>
                </c:pt>
                <c:pt idx="202">
                  <c:v>0.01</c:v>
                </c:pt>
                <c:pt idx="203">
                  <c:v>0.01</c:v>
                </c:pt>
                <c:pt idx="204">
                  <c:v>0.01</c:v>
                </c:pt>
                <c:pt idx="205">
                  <c:v>0.01</c:v>
                </c:pt>
                <c:pt idx="206">
                  <c:v>0.01</c:v>
                </c:pt>
                <c:pt idx="207">
                  <c:v>0.01</c:v>
                </c:pt>
                <c:pt idx="208">
                  <c:v>0.04</c:v>
                </c:pt>
                <c:pt idx="209">
                  <c:v>0.02</c:v>
                </c:pt>
                <c:pt idx="210">
                  <c:v>0.01</c:v>
                </c:pt>
                <c:pt idx="211">
                  <c:v>0.01</c:v>
                </c:pt>
                <c:pt idx="212">
                  <c:v>0.01</c:v>
                </c:pt>
                <c:pt idx="213">
                  <c:v>0.01</c:v>
                </c:pt>
                <c:pt idx="214">
                  <c:v>0.01</c:v>
                </c:pt>
                <c:pt idx="215">
                  <c:v>0.01</c:v>
                </c:pt>
                <c:pt idx="216">
                  <c:v>0.01</c:v>
                </c:pt>
                <c:pt idx="217">
                  <c:v>0.01</c:v>
                </c:pt>
                <c:pt idx="218">
                  <c:v>0.01</c:v>
                </c:pt>
                <c:pt idx="219">
                  <c:v>0.01</c:v>
                </c:pt>
                <c:pt idx="220">
                  <c:v>0.01</c:v>
                </c:pt>
                <c:pt idx="221">
                  <c:v>0.01</c:v>
                </c:pt>
                <c:pt idx="222">
                  <c:v>0.01</c:v>
                </c:pt>
                <c:pt idx="223">
                  <c:v>0.01</c:v>
                </c:pt>
                <c:pt idx="224">
                  <c:v>0.01</c:v>
                </c:pt>
                <c:pt idx="225">
                  <c:v>0.01</c:v>
                </c:pt>
                <c:pt idx="226">
                  <c:v>0.01</c:v>
                </c:pt>
                <c:pt idx="227">
                  <c:v>0.01</c:v>
                </c:pt>
                <c:pt idx="228">
                  <c:v>0.01</c:v>
                </c:pt>
                <c:pt idx="229">
                  <c:v>0.1</c:v>
                </c:pt>
                <c:pt idx="230">
                  <c:v>0.05</c:v>
                </c:pt>
                <c:pt idx="231">
                  <c:v>0.01</c:v>
                </c:pt>
                <c:pt idx="232">
                  <c:v>0.01</c:v>
                </c:pt>
                <c:pt idx="233">
                  <c:v>0.02</c:v>
                </c:pt>
                <c:pt idx="234">
                  <c:v>0.01</c:v>
                </c:pt>
                <c:pt idx="235">
                  <c:v>0.01</c:v>
                </c:pt>
                <c:pt idx="236">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2B3C-4EF0-8B25-A9AE3205E563}"/>
              </c:ext>
            </c:extLst>
          </c:dPt>
          <c:dPt>
            <c:idx val="211"/>
            <c:invertIfNegative val="1"/>
            <c:bubble3D val="0"/>
            <c:spPr>
              <a:solidFill>
                <a:srgbClr val="AEABAB"/>
              </a:solidFill>
            </c:spPr>
            <c:extLst>
              <c:ext xmlns:c16="http://schemas.microsoft.com/office/drawing/2014/chart" uri="{C3380CC4-5D6E-409C-BE32-E72D297353CC}">
                <c16:uniqueId val="{000001A9-2B3C-4EF0-8B25-A9AE3205E563}"/>
              </c:ext>
            </c:extLst>
          </c:dPt>
          <c:dPt>
            <c:idx val="212"/>
            <c:invertIfNegative val="1"/>
            <c:bubble3D val="0"/>
            <c:spPr>
              <a:solidFill>
                <a:srgbClr val="AEABAB"/>
              </a:solidFill>
            </c:spPr>
            <c:extLst>
              <c:ext xmlns:c16="http://schemas.microsoft.com/office/drawing/2014/chart" uri="{C3380CC4-5D6E-409C-BE32-E72D297353CC}">
                <c16:uniqueId val="{000001AB-2B3C-4EF0-8B25-A9AE3205E563}"/>
              </c:ext>
            </c:extLst>
          </c:dPt>
          <c:dPt>
            <c:idx val="213"/>
            <c:invertIfNegative val="1"/>
            <c:bubble3D val="0"/>
            <c:spPr>
              <a:solidFill>
                <a:srgbClr val="AEABAB"/>
              </a:solidFill>
            </c:spPr>
            <c:extLst>
              <c:ext xmlns:c16="http://schemas.microsoft.com/office/drawing/2014/chart" uri="{C3380CC4-5D6E-409C-BE32-E72D297353CC}">
                <c16:uniqueId val="{000001AD-2B3C-4EF0-8B25-A9AE3205E563}"/>
              </c:ext>
            </c:extLst>
          </c:dPt>
          <c:dPt>
            <c:idx val="214"/>
            <c:invertIfNegative val="1"/>
            <c:bubble3D val="0"/>
            <c:spPr>
              <a:solidFill>
                <a:srgbClr val="AEABAB"/>
              </a:solidFill>
            </c:spPr>
            <c:extLst>
              <c:ext xmlns:c16="http://schemas.microsoft.com/office/drawing/2014/chart" uri="{C3380CC4-5D6E-409C-BE32-E72D297353CC}">
                <c16:uniqueId val="{000001AF-2B3C-4EF0-8B25-A9AE3205E563}"/>
              </c:ext>
            </c:extLst>
          </c:dPt>
          <c:dPt>
            <c:idx val="215"/>
            <c:invertIfNegative val="1"/>
            <c:bubble3D val="0"/>
            <c:spPr>
              <a:solidFill>
                <a:srgbClr val="AEABAB"/>
              </a:solidFill>
            </c:spPr>
            <c:extLst>
              <c:ext xmlns:c16="http://schemas.microsoft.com/office/drawing/2014/chart" uri="{C3380CC4-5D6E-409C-BE32-E72D297353CC}">
                <c16:uniqueId val="{000001B1-2B3C-4EF0-8B25-A9AE3205E563}"/>
              </c:ext>
            </c:extLst>
          </c:dPt>
          <c:dPt>
            <c:idx val="216"/>
            <c:invertIfNegative val="1"/>
            <c:bubble3D val="0"/>
            <c:spPr>
              <a:solidFill>
                <a:srgbClr val="AEABAB"/>
              </a:solidFill>
            </c:spPr>
            <c:extLst>
              <c:ext xmlns:c16="http://schemas.microsoft.com/office/drawing/2014/chart" uri="{C3380CC4-5D6E-409C-BE32-E72D297353CC}">
                <c16:uniqueId val="{000001B3-2B3C-4EF0-8B25-A9AE3205E563}"/>
              </c:ext>
            </c:extLst>
          </c:dPt>
          <c:dPt>
            <c:idx val="217"/>
            <c:invertIfNegative val="1"/>
            <c:bubble3D val="0"/>
            <c:spPr>
              <a:solidFill>
                <a:srgbClr val="AEABAB"/>
              </a:solidFill>
            </c:spPr>
            <c:extLst>
              <c:ext xmlns:c16="http://schemas.microsoft.com/office/drawing/2014/chart" uri="{C3380CC4-5D6E-409C-BE32-E72D297353CC}">
                <c16:uniqueId val="{000001B5-2B3C-4EF0-8B25-A9AE3205E563}"/>
              </c:ext>
            </c:extLst>
          </c:dPt>
          <c:dPt>
            <c:idx val="218"/>
            <c:invertIfNegative val="1"/>
            <c:bubble3D val="0"/>
            <c:spPr>
              <a:solidFill>
                <a:srgbClr val="AEABAB"/>
              </a:solidFill>
            </c:spPr>
            <c:extLst>
              <c:ext xmlns:c16="http://schemas.microsoft.com/office/drawing/2014/chart" uri="{C3380CC4-5D6E-409C-BE32-E72D297353CC}">
                <c16:uniqueId val="{000001B7-2B3C-4EF0-8B25-A9AE3205E563}"/>
              </c:ext>
            </c:extLst>
          </c:dPt>
          <c:dPt>
            <c:idx val="219"/>
            <c:invertIfNegative val="1"/>
            <c:bubble3D val="0"/>
            <c:spPr>
              <a:solidFill>
                <a:srgbClr val="AEABAB"/>
              </a:solidFill>
            </c:spPr>
            <c:extLst>
              <c:ext xmlns:c16="http://schemas.microsoft.com/office/drawing/2014/chart" uri="{C3380CC4-5D6E-409C-BE32-E72D297353CC}">
                <c16:uniqueId val="{000001B9-2B3C-4EF0-8B25-A9AE3205E563}"/>
              </c:ext>
            </c:extLst>
          </c:dPt>
          <c:dPt>
            <c:idx val="220"/>
            <c:invertIfNegative val="1"/>
            <c:bubble3D val="0"/>
            <c:spPr>
              <a:solidFill>
                <a:srgbClr val="AEABAB"/>
              </a:solidFill>
            </c:spPr>
            <c:extLst>
              <c:ext xmlns:c16="http://schemas.microsoft.com/office/drawing/2014/chart" uri="{C3380CC4-5D6E-409C-BE32-E72D297353CC}">
                <c16:uniqueId val="{000001BB-2B3C-4EF0-8B25-A9AE3205E563}"/>
              </c:ext>
            </c:extLst>
          </c:dPt>
          <c:dPt>
            <c:idx val="221"/>
            <c:invertIfNegative val="1"/>
            <c:bubble3D val="0"/>
            <c:spPr>
              <a:solidFill>
                <a:srgbClr val="AEABAB"/>
              </a:solidFill>
            </c:spPr>
            <c:extLst>
              <c:ext xmlns:c16="http://schemas.microsoft.com/office/drawing/2014/chart" uri="{C3380CC4-5D6E-409C-BE32-E72D297353CC}">
                <c16:uniqueId val="{000001BD-2B3C-4EF0-8B25-A9AE3205E563}"/>
              </c:ext>
            </c:extLst>
          </c:dPt>
          <c:dPt>
            <c:idx val="222"/>
            <c:invertIfNegative val="1"/>
            <c:bubble3D val="0"/>
            <c:spPr>
              <a:solidFill>
                <a:srgbClr val="AEABAB"/>
              </a:solidFill>
            </c:spPr>
            <c:extLst>
              <c:ext xmlns:c16="http://schemas.microsoft.com/office/drawing/2014/chart" uri="{C3380CC4-5D6E-409C-BE32-E72D297353CC}">
                <c16:uniqueId val="{000001BF-2B3C-4EF0-8B25-A9AE3205E563}"/>
              </c:ext>
            </c:extLst>
          </c:dPt>
          <c:dPt>
            <c:idx val="223"/>
            <c:invertIfNegative val="1"/>
            <c:bubble3D val="0"/>
            <c:spPr>
              <a:solidFill>
                <a:srgbClr val="AEABAB"/>
              </a:solidFill>
            </c:spPr>
            <c:extLst>
              <c:ext xmlns:c16="http://schemas.microsoft.com/office/drawing/2014/chart" uri="{C3380CC4-5D6E-409C-BE32-E72D297353CC}">
                <c16:uniqueId val="{000001C1-2B3C-4EF0-8B25-A9AE3205E563}"/>
              </c:ext>
            </c:extLst>
          </c:dPt>
          <c:dPt>
            <c:idx val="224"/>
            <c:invertIfNegative val="1"/>
            <c:bubble3D val="0"/>
            <c:spPr>
              <a:solidFill>
                <a:srgbClr val="AEABAB"/>
              </a:solidFill>
            </c:spPr>
            <c:extLst>
              <c:ext xmlns:c16="http://schemas.microsoft.com/office/drawing/2014/chart" uri="{C3380CC4-5D6E-409C-BE32-E72D297353CC}">
                <c16:uniqueId val="{000001C3-2B3C-4EF0-8B25-A9AE3205E563}"/>
              </c:ext>
            </c:extLst>
          </c:dPt>
          <c:dPt>
            <c:idx val="225"/>
            <c:invertIfNegative val="1"/>
            <c:bubble3D val="0"/>
            <c:spPr>
              <a:solidFill>
                <a:srgbClr val="AEABAB"/>
              </a:solidFill>
            </c:spPr>
            <c:extLst>
              <c:ext xmlns:c16="http://schemas.microsoft.com/office/drawing/2014/chart" uri="{C3380CC4-5D6E-409C-BE32-E72D297353CC}">
                <c16:uniqueId val="{000001C5-2B3C-4EF0-8B25-A9AE3205E563}"/>
              </c:ext>
            </c:extLst>
          </c:dPt>
          <c:dPt>
            <c:idx val="226"/>
            <c:invertIfNegative val="1"/>
            <c:bubble3D val="0"/>
            <c:spPr>
              <a:solidFill>
                <a:srgbClr val="AEABAB"/>
              </a:solidFill>
            </c:spPr>
            <c:extLst>
              <c:ext xmlns:c16="http://schemas.microsoft.com/office/drawing/2014/chart" uri="{C3380CC4-5D6E-409C-BE32-E72D297353CC}">
                <c16:uniqueId val="{000001C7-2B3C-4EF0-8B25-A9AE3205E563}"/>
              </c:ext>
            </c:extLst>
          </c:dPt>
          <c:dPt>
            <c:idx val="227"/>
            <c:invertIfNegative val="1"/>
            <c:bubble3D val="0"/>
            <c:spPr>
              <a:solidFill>
                <a:srgbClr val="AEABAB"/>
              </a:solidFill>
            </c:spPr>
            <c:extLst>
              <c:ext xmlns:c16="http://schemas.microsoft.com/office/drawing/2014/chart" uri="{C3380CC4-5D6E-409C-BE32-E72D297353CC}">
                <c16:uniqueId val="{000001C9-2B3C-4EF0-8B25-A9AE3205E563}"/>
              </c:ext>
            </c:extLst>
          </c:dPt>
          <c:dPt>
            <c:idx val="228"/>
            <c:invertIfNegative val="1"/>
            <c:bubble3D val="0"/>
            <c:spPr>
              <a:solidFill>
                <a:srgbClr val="AEABAB"/>
              </a:solidFill>
            </c:spPr>
            <c:extLst>
              <c:ext xmlns:c16="http://schemas.microsoft.com/office/drawing/2014/chart" uri="{C3380CC4-5D6E-409C-BE32-E72D297353CC}">
                <c16:uniqueId val="{000001CB-2B3C-4EF0-8B25-A9AE3205E563}"/>
              </c:ext>
            </c:extLst>
          </c:dPt>
          <c:dPt>
            <c:idx val="229"/>
            <c:invertIfNegative val="1"/>
            <c:bubble3D val="0"/>
            <c:spPr>
              <a:solidFill>
                <a:srgbClr val="AEABAB"/>
              </a:solidFill>
            </c:spPr>
            <c:extLst>
              <c:ext xmlns:c16="http://schemas.microsoft.com/office/drawing/2014/chart" uri="{C3380CC4-5D6E-409C-BE32-E72D297353CC}">
                <c16:uniqueId val="{000001CD-2B3C-4EF0-8B25-A9AE3205E563}"/>
              </c:ext>
            </c:extLst>
          </c:dPt>
          <c:dPt>
            <c:idx val="230"/>
            <c:invertIfNegative val="1"/>
            <c:bubble3D val="0"/>
            <c:spPr>
              <a:solidFill>
                <a:srgbClr val="AEABAB"/>
              </a:solidFill>
            </c:spPr>
            <c:extLst>
              <c:ext xmlns:c16="http://schemas.microsoft.com/office/drawing/2014/chart" uri="{C3380CC4-5D6E-409C-BE32-E72D297353CC}">
                <c16:uniqueId val="{000001CF-2B3C-4EF0-8B25-A9AE3205E563}"/>
              </c:ext>
            </c:extLst>
          </c:dPt>
          <c:dPt>
            <c:idx val="231"/>
            <c:invertIfNegative val="1"/>
            <c:bubble3D val="0"/>
            <c:spPr>
              <a:solidFill>
                <a:srgbClr val="AEABAB"/>
              </a:solidFill>
            </c:spPr>
            <c:extLst>
              <c:ext xmlns:c16="http://schemas.microsoft.com/office/drawing/2014/chart" uri="{C3380CC4-5D6E-409C-BE32-E72D297353CC}">
                <c16:uniqueId val="{000001D1-2B3C-4EF0-8B25-A9AE3205E563}"/>
              </c:ext>
            </c:extLst>
          </c:dPt>
          <c:dPt>
            <c:idx val="232"/>
            <c:invertIfNegative val="1"/>
            <c:bubble3D val="0"/>
            <c:spPr>
              <a:solidFill>
                <a:srgbClr val="AEABAB"/>
              </a:solidFill>
            </c:spPr>
            <c:extLst>
              <c:ext xmlns:c16="http://schemas.microsoft.com/office/drawing/2014/chart" uri="{C3380CC4-5D6E-409C-BE32-E72D297353CC}">
                <c16:uniqueId val="{000001D3-2B3C-4EF0-8B25-A9AE3205E563}"/>
              </c:ext>
            </c:extLst>
          </c:dPt>
          <c:dPt>
            <c:idx val="233"/>
            <c:invertIfNegative val="1"/>
            <c:bubble3D val="0"/>
            <c:spPr>
              <a:solidFill>
                <a:srgbClr val="AEABAB"/>
              </a:solidFill>
            </c:spPr>
            <c:extLst>
              <c:ext xmlns:c16="http://schemas.microsoft.com/office/drawing/2014/chart" uri="{C3380CC4-5D6E-409C-BE32-E72D297353CC}">
                <c16:uniqueId val="{000001D5-2B3C-4EF0-8B25-A9AE3205E563}"/>
              </c:ext>
            </c:extLst>
          </c:dPt>
          <c:dPt>
            <c:idx val="234"/>
            <c:invertIfNegative val="1"/>
            <c:bubble3D val="0"/>
            <c:spPr>
              <a:solidFill>
                <a:srgbClr val="AEABAB"/>
              </a:solidFill>
            </c:spPr>
            <c:extLst>
              <c:ext xmlns:c16="http://schemas.microsoft.com/office/drawing/2014/chart" uri="{C3380CC4-5D6E-409C-BE32-E72D297353CC}">
                <c16:uniqueId val="{000001D7-2B3C-4EF0-8B25-A9AE3205E563}"/>
              </c:ext>
            </c:extLst>
          </c:dPt>
          <c:dPt>
            <c:idx val="235"/>
            <c:invertIfNegative val="1"/>
            <c:bubble3D val="0"/>
            <c:spPr>
              <a:solidFill>
                <a:srgbClr val="AEABAB"/>
              </a:solidFill>
            </c:spPr>
            <c:extLst>
              <c:ext xmlns:c16="http://schemas.microsoft.com/office/drawing/2014/chart" uri="{C3380CC4-5D6E-409C-BE32-E72D297353CC}">
                <c16:uniqueId val="{000001D9-2B3C-4EF0-8B25-A9AE3205E563}"/>
              </c:ext>
            </c:extLst>
          </c:dPt>
          <c:dPt>
            <c:idx val="236"/>
            <c:invertIfNegative val="1"/>
            <c:bubble3D val="0"/>
            <c:spPr>
              <a:solidFill>
                <a:srgbClr val="AEABAB"/>
              </a:solidFill>
            </c:spPr>
            <c:extLst>
              <c:ext xmlns:c16="http://schemas.microsoft.com/office/drawing/2014/chart" uri="{C3380CC4-5D6E-409C-BE32-E72D297353CC}">
                <c16:uniqueId val="{000001DB-2B3C-4EF0-8B25-A9AE3205E563}"/>
              </c:ext>
            </c:extLst>
          </c:dPt>
          <c:cat>
            <c:strRef>
              <c:f>Sheet1!$A$2:$A$238</c:f>
              <c:strCache>
                <c:ptCount val="237"/>
                <c:pt idx="0">
                  <c:v>Mini Babybe</c:v>
                </c:pt>
                <c:pt idx="1">
                  <c:v>Galbani</c:v>
                </c:pt>
                <c:pt idx="2">
                  <c:v>St Moret</c:v>
                </c:pt>
                <c:pt idx="3">
                  <c:v>Soignon</c:v>
                </c:pt>
                <c:pt idx="4">
                  <c:v>Caprice Des</c:v>
                </c:pt>
                <c:pt idx="5">
                  <c:v>Le Rustique</c:v>
                </c:pt>
                <c:pt idx="6">
                  <c:v>La Vache Qu</c:v>
                </c:pt>
                <c:pt idx="7">
                  <c:v>Paysan Bret</c:v>
                </c:pt>
                <c:pt idx="8">
                  <c:v>Coeur De Li</c:v>
                </c:pt>
                <c:pt idx="9">
                  <c:v>Kiri</c:v>
                </c:pt>
                <c:pt idx="10">
                  <c:v>President</c:v>
                </c:pt>
                <c:pt idx="11">
                  <c:v>Salakis</c:v>
                </c:pt>
                <c:pt idx="12">
                  <c:v>Philadelphi</c:v>
                </c:pt>
                <c:pt idx="13">
                  <c:v>Coeur De Li</c:v>
                </c:pt>
                <c:pt idx="14">
                  <c:v>Ficello</c:v>
                </c:pt>
                <c:pt idx="15">
                  <c:v>Caprice Des</c:v>
                </c:pt>
                <c:pt idx="16">
                  <c:v>Boursin</c:v>
                </c:pt>
                <c:pt idx="17">
                  <c:v>Soignon</c:v>
                </c:pt>
                <c:pt idx="18">
                  <c:v>Soignon</c:v>
                </c:pt>
                <c:pt idx="19">
                  <c:v>St Moret</c:v>
                </c:pt>
                <c:pt idx="20">
                  <c:v>Petit Billy</c:v>
                </c:pt>
                <c:pt idx="21">
                  <c:v>St Moret</c:v>
                </c:pt>
                <c:pt idx="22">
                  <c:v>Tartare</c:v>
                </c:pt>
                <c:pt idx="23">
                  <c:v>La Vache Qu</c:v>
                </c:pt>
                <c:pt idx="24">
                  <c:v>Casa Azzurr</c:v>
                </c:pt>
                <c:pt idx="25">
                  <c:v>President</c:v>
                </c:pt>
                <c:pt idx="26">
                  <c:v>Kiri</c:v>
                </c:pt>
                <c:pt idx="27">
                  <c:v>Salakis</c:v>
                </c:pt>
                <c:pt idx="28">
                  <c:v>Caprice Des</c:v>
                </c:pt>
                <c:pt idx="29">
                  <c:v>Soignon</c:v>
                </c:pt>
                <c:pt idx="30">
                  <c:v>All Others</c:v>
                </c:pt>
                <c:pt idx="31">
                  <c:v>Boursin</c:v>
                </c:pt>
                <c:pt idx="32">
                  <c:v>Le Brebiou</c:v>
                </c:pt>
                <c:pt idx="33">
                  <c:v>Paysan Bret</c:v>
                </c:pt>
                <c:pt idx="34">
                  <c:v>Carre Frais</c:v>
                </c:pt>
                <c:pt idx="35">
                  <c:v>Chavroux</c:v>
                </c:pt>
                <c:pt idx="36">
                  <c:v>President</c:v>
                </c:pt>
                <c:pt idx="37">
                  <c:v>President</c:v>
                </c:pt>
                <c:pt idx="38">
                  <c:v>All Others</c:v>
                </c:pt>
                <c:pt idx="39">
                  <c:v>Galbani</c:v>
                </c:pt>
                <c:pt idx="40">
                  <c:v>Tartare</c:v>
                </c:pt>
                <c:pt idx="41">
                  <c:v>Etorki</c:v>
                </c:pt>
                <c:pt idx="42">
                  <c:v>Boursin</c:v>
                </c:pt>
                <c:pt idx="43">
                  <c:v>All Others</c:v>
                </c:pt>
                <c:pt idx="44">
                  <c:v>Istara</c:v>
                </c:pt>
                <c:pt idx="45">
                  <c:v>All Others</c:v>
                </c:pt>
                <c:pt idx="46">
                  <c:v>President</c:v>
                </c:pt>
                <c:pt idx="47">
                  <c:v>Tartare</c:v>
                </c:pt>
                <c:pt idx="48">
                  <c:v>Mini Babybe</c:v>
                </c:pt>
                <c:pt idx="49">
                  <c:v>All Others</c:v>
                </c:pt>
                <c:pt idx="50">
                  <c:v>Islos</c:v>
                </c:pt>
                <c:pt idx="51">
                  <c:v>Casa Azzurr</c:v>
                </c:pt>
                <c:pt idx="52">
                  <c:v>St Moret</c:v>
                </c:pt>
                <c:pt idx="53">
                  <c:v>La Vache Qu</c:v>
                </c:pt>
                <c:pt idx="54">
                  <c:v>Lou Perac</c:v>
                </c:pt>
                <c:pt idx="55">
                  <c:v>Lepetit</c:v>
                </c:pt>
                <c:pt idx="56">
                  <c:v>All Others</c:v>
                </c:pt>
                <c:pt idx="57">
                  <c:v>Carre Frais</c:v>
                </c:pt>
                <c:pt idx="58">
                  <c:v>All Others</c:v>
                </c:pt>
                <c:pt idx="59">
                  <c:v>Galbani</c:v>
                </c:pt>
                <c:pt idx="60">
                  <c:v>All Others</c:v>
                </c:pt>
                <c:pt idx="61">
                  <c:v>All Others</c:v>
                </c:pt>
                <c:pt idx="62">
                  <c:v>Soignon</c:v>
                </c:pt>
                <c:pt idx="63">
                  <c:v>All Others</c:v>
                </c:pt>
                <c:pt idx="64">
                  <c:v>Kiri</c:v>
                </c:pt>
                <c:pt idx="65">
                  <c:v>Salakis</c:v>
                </c:pt>
                <c:pt idx="66">
                  <c:v>P'Tit Louis</c:v>
                </c:pt>
                <c:pt idx="67">
                  <c:v>Paysan Bret</c:v>
                </c:pt>
                <c:pt idx="68">
                  <c:v>All Others</c:v>
                </c:pt>
                <c:pt idx="69">
                  <c:v>All Others</c:v>
                </c:pt>
                <c:pt idx="70">
                  <c:v>Galbani</c:v>
                </c:pt>
                <c:pt idx="71">
                  <c:v>All Others</c:v>
                </c:pt>
                <c:pt idx="72">
                  <c:v>Paysan Bret</c:v>
                </c:pt>
                <c:pt idx="73">
                  <c:v>All Others</c:v>
                </c:pt>
                <c:pt idx="74">
                  <c:v>Lactalis: A</c:v>
                </c:pt>
                <c:pt idx="75">
                  <c:v>All Others</c:v>
                </c:pt>
                <c:pt idx="76">
                  <c:v>Istara</c:v>
                </c:pt>
                <c:pt idx="77">
                  <c:v>President</c:v>
                </c:pt>
                <c:pt idx="78">
                  <c:v>All Others</c:v>
                </c:pt>
                <c:pt idx="79">
                  <c:v>Casa Azzurr</c:v>
                </c:pt>
                <c:pt idx="80">
                  <c:v>Casa Azzurr</c:v>
                </c:pt>
                <c:pt idx="81">
                  <c:v>Galbani</c:v>
                </c:pt>
                <c:pt idx="82">
                  <c:v>All Others</c:v>
                </c:pt>
                <c:pt idx="83">
                  <c:v>President</c:v>
                </c:pt>
                <c:pt idx="84">
                  <c:v>All Others</c:v>
                </c:pt>
                <c:pt idx="85">
                  <c:v>Lou Perac</c:v>
                </c:pt>
                <c:pt idx="86">
                  <c:v>Casa Azzurr</c:v>
                </c:pt>
                <c:pt idx="87">
                  <c:v>All Others</c:v>
                </c:pt>
                <c:pt idx="88">
                  <c:v>All Others</c:v>
                </c:pt>
                <c:pt idx="89">
                  <c:v>All Others</c:v>
                </c:pt>
                <c:pt idx="90">
                  <c:v>All Others</c:v>
                </c:pt>
                <c:pt idx="91">
                  <c:v>All Others</c:v>
                </c:pt>
                <c:pt idx="92">
                  <c:v>Soignon</c:v>
                </c:pt>
                <c:pt idx="93">
                  <c:v>Paysan Bret</c:v>
                </c:pt>
                <c:pt idx="94">
                  <c:v>All Others</c:v>
                </c:pt>
                <c:pt idx="95">
                  <c:v>President</c:v>
                </c:pt>
                <c:pt idx="96">
                  <c:v>President</c:v>
                </c:pt>
                <c:pt idx="97">
                  <c:v>All Others</c:v>
                </c:pt>
                <c:pt idx="98">
                  <c:v>Soignon</c:v>
                </c:pt>
                <c:pt idx="99">
                  <c:v>All Others</c:v>
                </c:pt>
                <c:pt idx="100">
                  <c:v>All Others</c:v>
                </c:pt>
                <c:pt idx="101">
                  <c:v>Paysan Bret</c:v>
                </c:pt>
                <c:pt idx="102">
                  <c:v>All Others</c:v>
                </c:pt>
                <c:pt idx="103">
                  <c:v>All Others</c:v>
                </c:pt>
                <c:pt idx="104">
                  <c:v>Soignon</c:v>
                </c:pt>
                <c:pt idx="105">
                  <c:v>All Others</c:v>
                </c:pt>
                <c:pt idx="106">
                  <c:v>All Others</c:v>
                </c:pt>
                <c:pt idx="107">
                  <c:v>All Others</c:v>
                </c:pt>
                <c:pt idx="108">
                  <c:v>Triballat N</c:v>
                </c:pt>
                <c:pt idx="109">
                  <c:v>All Others</c:v>
                </c:pt>
                <c:pt idx="110">
                  <c:v>Lactalis: A</c:v>
                </c:pt>
                <c:pt idx="111">
                  <c:v>La Vache Qu</c:v>
                </c:pt>
                <c:pt idx="112">
                  <c:v>All Others</c:v>
                </c:pt>
                <c:pt idx="113">
                  <c:v>All Others</c:v>
                </c:pt>
                <c:pt idx="114">
                  <c:v>All Others</c:v>
                </c:pt>
                <c:pt idx="115">
                  <c:v>All Others</c:v>
                </c:pt>
                <c:pt idx="116">
                  <c:v>All Others</c:v>
                </c:pt>
                <c:pt idx="117">
                  <c:v>All Others</c:v>
                </c:pt>
                <c:pt idx="118">
                  <c:v>Coeur De Li</c:v>
                </c:pt>
                <c:pt idx="119">
                  <c:v>Savencia: A</c:v>
                </c:pt>
                <c:pt idx="120">
                  <c:v>Soignon</c:v>
                </c:pt>
                <c:pt idx="121">
                  <c:v>All Others</c:v>
                </c:pt>
                <c:pt idx="122">
                  <c:v>All Others</c:v>
                </c:pt>
                <c:pt idx="123">
                  <c:v>St Moret</c:v>
                </c:pt>
                <c:pt idx="124">
                  <c:v>All Others</c:v>
                </c:pt>
                <c:pt idx="125">
                  <c:v>Boursin</c:v>
                </c:pt>
                <c:pt idx="126">
                  <c:v>All Others</c:v>
                </c:pt>
                <c:pt idx="127">
                  <c:v>All Others</c:v>
                </c:pt>
                <c:pt idx="128">
                  <c:v>Milleret: A</c:v>
                </c:pt>
                <c:pt idx="129">
                  <c:v>Paysan Bret</c:v>
                </c:pt>
                <c:pt idx="130">
                  <c:v>All Others</c:v>
                </c:pt>
                <c:pt idx="131">
                  <c:v>Paysan Bret</c:v>
                </c:pt>
                <c:pt idx="132">
                  <c:v>Galbani</c:v>
                </c:pt>
                <c:pt idx="133">
                  <c:v>All Others</c:v>
                </c:pt>
                <c:pt idx="134">
                  <c:v>Milleret: A</c:v>
                </c:pt>
                <c:pt idx="135">
                  <c:v>All Others</c:v>
                </c:pt>
                <c:pt idx="136">
                  <c:v>Boursin</c:v>
                </c:pt>
                <c:pt idx="137">
                  <c:v>Pave D'Affi</c:v>
                </c:pt>
                <c:pt idx="138">
                  <c:v>Mini Babybe</c:v>
                </c:pt>
                <c:pt idx="139">
                  <c:v>All Others</c:v>
                </c:pt>
                <c:pt idx="140">
                  <c:v>All Others</c:v>
                </c:pt>
                <c:pt idx="141">
                  <c:v>Lou Perac</c:v>
                </c:pt>
                <c:pt idx="142">
                  <c:v>Lactalis: A</c:v>
                </c:pt>
                <c:pt idx="143">
                  <c:v>Istara</c:v>
                </c:pt>
                <c:pt idx="144">
                  <c:v>All Others</c:v>
                </c:pt>
                <c:pt idx="145">
                  <c:v>All Others</c:v>
                </c:pt>
                <c:pt idx="146">
                  <c:v>All Others</c:v>
                </c:pt>
                <c:pt idx="147">
                  <c:v>Le Rustique</c:v>
                </c:pt>
                <c:pt idx="148">
                  <c:v>All Others</c:v>
                </c:pt>
                <c:pt idx="149">
                  <c:v>All Others</c:v>
                </c:pt>
                <c:pt idx="150">
                  <c:v>Soignon</c:v>
                </c:pt>
                <c:pt idx="151">
                  <c:v>All Others</c:v>
                </c:pt>
                <c:pt idx="152">
                  <c:v>All Others</c:v>
                </c:pt>
                <c:pt idx="153">
                  <c:v>All Others</c:v>
                </c:pt>
                <c:pt idx="154">
                  <c:v>Mini Babybe</c:v>
                </c:pt>
                <c:pt idx="155">
                  <c:v>Eurial Autr</c:v>
                </c:pt>
                <c:pt idx="156">
                  <c:v>All Others</c:v>
                </c:pt>
                <c:pt idx="157">
                  <c:v>Philadelphi</c:v>
                </c:pt>
                <c:pt idx="158">
                  <c:v>All Others</c:v>
                </c:pt>
                <c:pt idx="159">
                  <c:v>St Moret</c:v>
                </c:pt>
                <c:pt idx="160">
                  <c:v>Mini Babybe</c:v>
                </c:pt>
                <c:pt idx="161">
                  <c:v>All Others</c:v>
                </c:pt>
                <c:pt idx="162">
                  <c:v>All Others</c:v>
                </c:pt>
                <c:pt idx="163">
                  <c:v>Kiri</c:v>
                </c:pt>
                <c:pt idx="164">
                  <c:v>All Others</c:v>
                </c:pt>
                <c:pt idx="165">
                  <c:v>All Others</c:v>
                </c:pt>
                <c:pt idx="166">
                  <c:v>All Others</c:v>
                </c:pt>
                <c:pt idx="167">
                  <c:v>All Others</c:v>
                </c:pt>
                <c:pt idx="168">
                  <c:v>All Others</c:v>
                </c:pt>
                <c:pt idx="169">
                  <c:v>All Others</c:v>
                </c:pt>
                <c:pt idx="170">
                  <c:v>All Others</c:v>
                </c:pt>
                <c:pt idx="171">
                  <c:v>All Others</c:v>
                </c:pt>
                <c:pt idx="172">
                  <c:v>La Vache Qu</c:v>
                </c:pt>
                <c:pt idx="173">
                  <c:v>All Others</c:v>
                </c:pt>
                <c:pt idx="174">
                  <c:v>Ficello</c:v>
                </c:pt>
                <c:pt idx="175">
                  <c:v>All Others</c:v>
                </c:pt>
                <c:pt idx="176">
                  <c:v>All Others</c:v>
                </c:pt>
                <c:pt idx="177">
                  <c:v>All Others</c:v>
                </c:pt>
                <c:pt idx="178">
                  <c:v>All Others</c:v>
                </c:pt>
                <c:pt idx="179">
                  <c:v>All Others</c:v>
                </c:pt>
                <c:pt idx="180">
                  <c:v>All Others</c:v>
                </c:pt>
                <c:pt idx="181">
                  <c:v>Lactalis: A</c:v>
                </c:pt>
                <c:pt idx="182">
                  <c:v>All Others</c:v>
                </c:pt>
                <c:pt idx="183">
                  <c:v>All Others</c:v>
                </c:pt>
                <c:pt idx="184">
                  <c:v>P'Tit Louis</c:v>
                </c:pt>
                <c:pt idx="185">
                  <c:v>All Others</c:v>
                </c:pt>
                <c:pt idx="186">
                  <c:v>Lactalis: A</c:v>
                </c:pt>
                <c:pt idx="187">
                  <c:v>Chavroux</c:v>
                </c:pt>
                <c:pt idx="188">
                  <c:v>All Others</c:v>
                </c:pt>
                <c:pt idx="189">
                  <c:v>Lou Perac</c:v>
                </c:pt>
                <c:pt idx="190">
                  <c:v>Boursin</c:v>
                </c:pt>
                <c:pt idx="191">
                  <c:v>All Others</c:v>
                </c:pt>
                <c:pt idx="192">
                  <c:v>All Others</c:v>
                </c:pt>
                <c:pt idx="193">
                  <c:v>All Others</c:v>
                </c:pt>
                <c:pt idx="194">
                  <c:v>Kiri</c:v>
                </c:pt>
                <c:pt idx="195">
                  <c:v>Tartare</c:v>
                </c:pt>
                <c:pt idx="196">
                  <c:v>All Others</c:v>
                </c:pt>
                <c:pt idx="197">
                  <c:v>All Others</c:v>
                </c:pt>
                <c:pt idx="198">
                  <c:v>Lactalis: A</c:v>
                </c:pt>
                <c:pt idx="199">
                  <c:v>Ficello</c:v>
                </c:pt>
                <c:pt idx="200">
                  <c:v>All Others</c:v>
                </c:pt>
                <c:pt idx="201">
                  <c:v>All Others</c:v>
                </c:pt>
                <c:pt idx="202">
                  <c:v>All Others</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Triballat R</c:v>
                </c:pt>
                <c:pt idx="221">
                  <c:v>All Others</c:v>
                </c:pt>
                <c:pt idx="222">
                  <c:v>All Others</c:v>
                </c:pt>
                <c:pt idx="223">
                  <c:v>All Others</c:v>
                </c:pt>
                <c:pt idx="224">
                  <c:v>All Others</c:v>
                </c:pt>
                <c:pt idx="225">
                  <c:v>All Others</c:v>
                </c:pt>
                <c:pt idx="226">
                  <c:v>All Others</c:v>
                </c:pt>
                <c:pt idx="227">
                  <c:v>All Others</c:v>
                </c:pt>
                <c:pt idx="228">
                  <c:v>All Others</c:v>
                </c:pt>
                <c:pt idx="229">
                  <c:v>Kiri</c:v>
                </c:pt>
                <c:pt idx="230">
                  <c:v>La Vache Qu</c:v>
                </c:pt>
                <c:pt idx="231">
                  <c:v>All Others</c:v>
                </c:pt>
                <c:pt idx="232">
                  <c:v>All Others</c:v>
                </c:pt>
                <c:pt idx="233">
                  <c:v>All Others</c:v>
                </c:pt>
                <c:pt idx="234">
                  <c:v>All Others</c:v>
                </c:pt>
                <c:pt idx="235">
                  <c:v>Carre Frais</c:v>
                </c:pt>
                <c:pt idx="236">
                  <c:v>Mini Babybe</c:v>
                </c:pt>
              </c:strCache>
            </c:strRef>
          </c:cat>
          <c:val>
            <c:numRef>
              <c:f>Sheet1!$C$2:$C$238</c:f>
              <c:numCache>
                <c:formatCode>General</c:formatCode>
                <c:ptCount val="237"/>
                <c:pt idx="0">
                  <c:v>0.29846934801386088</c:v>
                </c:pt>
                <c:pt idx="1">
                  <c:v>0.31927194986576923</c:v>
                </c:pt>
                <c:pt idx="2">
                  <c:v>0.35909219452364183</c:v>
                </c:pt>
                <c:pt idx="3">
                  <c:v>0.37854327069305871</c:v>
                </c:pt>
                <c:pt idx="4">
                  <c:v>0.39763887436035761</c:v>
                </c:pt>
                <c:pt idx="5">
                  <c:v>0.44555713908673467</c:v>
                </c:pt>
                <c:pt idx="6">
                  <c:v>0.46078166171875229</c:v>
                </c:pt>
                <c:pt idx="7">
                  <c:v>0.50435645429195297</c:v>
                </c:pt>
                <c:pt idx="8">
                  <c:v>0.51811548053494405</c:v>
                </c:pt>
                <c:pt idx="9">
                  <c:v>0.53155771991556022</c:v>
                </c:pt>
                <c:pt idx="10">
                  <c:v>0.54466938528903952</c:v>
                </c:pt>
                <c:pt idx="11">
                  <c:v>0.55718695624538506</c:v>
                </c:pt>
                <c:pt idx="12">
                  <c:v>0.59153708319029374</c:v>
                </c:pt>
                <c:pt idx="13">
                  <c:v>0.60206120988862111</c:v>
                </c:pt>
                <c:pt idx="14">
                  <c:v>0.61258245670638145</c:v>
                </c:pt>
                <c:pt idx="15">
                  <c:v>0.64096982495156207</c:v>
                </c:pt>
                <c:pt idx="16">
                  <c:v>0.6493504361352358</c:v>
                </c:pt>
                <c:pt idx="17">
                  <c:v>0.65753219950243391</c:v>
                </c:pt>
                <c:pt idx="18">
                  <c:v>0.66563548045512377</c:v>
                </c:pt>
                <c:pt idx="19">
                  <c:v>0.67362256843123469</c:v>
                </c:pt>
                <c:pt idx="20">
                  <c:v>0.68148956312007736</c:v>
                </c:pt>
                <c:pt idx="21">
                  <c:v>0.70388700654805492</c:v>
                </c:pt>
                <c:pt idx="22">
                  <c:v>0.71110165159789962</c:v>
                </c:pt>
                <c:pt idx="23">
                  <c:v>0.71822690696904123</c:v>
                </c:pt>
                <c:pt idx="24">
                  <c:v>0.73100090067697843</c:v>
                </c:pt>
                <c:pt idx="25">
                  <c:v>0.73704896733492076</c:v>
                </c:pt>
                <c:pt idx="26">
                  <c:v>0.74280877382145949</c:v>
                </c:pt>
                <c:pt idx="27">
                  <c:v>0.74849397552795427</c:v>
                </c:pt>
                <c:pt idx="28">
                  <c:v>0.7539513492025034</c:v>
                </c:pt>
                <c:pt idx="29">
                  <c:v>0.75936844990156382</c:v>
                </c:pt>
                <c:pt idx="30">
                  <c:v>0.7644358151834153</c:v>
                </c:pt>
                <c:pt idx="31">
                  <c:v>0.76943732870804871</c:v>
                </c:pt>
                <c:pt idx="32">
                  <c:v>0.77941230526706806</c:v>
                </c:pt>
                <c:pt idx="33">
                  <c:v>0.78414152268265369</c:v>
                </c:pt>
                <c:pt idx="34">
                  <c:v>0.78885711168705197</c:v>
                </c:pt>
                <c:pt idx="35">
                  <c:v>0.79331246833406921</c:v>
                </c:pt>
                <c:pt idx="36">
                  <c:v>0.79768555563701371</c:v>
                </c:pt>
                <c:pt idx="37">
                  <c:v>0.80202263309475763</c:v>
                </c:pt>
                <c:pt idx="38">
                  <c:v>0.80634742003858551</c:v>
                </c:pt>
                <c:pt idx="39">
                  <c:v>0.81055451737498851</c:v>
                </c:pt>
                <c:pt idx="40">
                  <c:v>0.81470422118607511</c:v>
                </c:pt>
                <c:pt idx="41">
                  <c:v>0.81877451285743108</c:v>
                </c:pt>
                <c:pt idx="42">
                  <c:v>0.82283426008419114</c:v>
                </c:pt>
                <c:pt idx="43">
                  <c:v>0.83064411068619171</c:v>
                </c:pt>
                <c:pt idx="44">
                  <c:v>0.83435722913855925</c:v>
                </c:pt>
                <c:pt idx="45">
                  <c:v>0.83792760075494621</c:v>
                </c:pt>
                <c:pt idx="46">
                  <c:v>0.84149207655284941</c:v>
                </c:pt>
                <c:pt idx="47">
                  <c:v>0.84498228771408279</c:v>
                </c:pt>
                <c:pt idx="48">
                  <c:v>0.84842419851619955</c:v>
                </c:pt>
                <c:pt idx="49">
                  <c:v>0.85173565299625176</c:v>
                </c:pt>
                <c:pt idx="50">
                  <c:v>0.85503817304367857</c:v>
                </c:pt>
                <c:pt idx="51">
                  <c:v>0.86440701411012244</c:v>
                </c:pt>
                <c:pt idx="52">
                  <c:v>0.86738703288649022</c:v>
                </c:pt>
                <c:pt idx="53">
                  <c:v>0.87030800277312115</c:v>
                </c:pt>
                <c:pt idx="54">
                  <c:v>0.87316151089056337</c:v>
                </c:pt>
                <c:pt idx="55">
                  <c:v>0.87600699162437778</c:v>
                </c:pt>
                <c:pt idx="56">
                  <c:v>0.87856677460020649</c:v>
                </c:pt>
                <c:pt idx="57">
                  <c:v>0.88590255604366663</c:v>
                </c:pt>
                <c:pt idx="58">
                  <c:v>0.88821691423699822</c:v>
                </c:pt>
                <c:pt idx="59">
                  <c:v>0.89050864155784237</c:v>
                </c:pt>
                <c:pt idx="60">
                  <c:v>0.89456936386227481</c:v>
                </c:pt>
                <c:pt idx="61">
                  <c:v>0.89643772606353855</c:v>
                </c:pt>
                <c:pt idx="62">
                  <c:v>0.89829921736864626</c:v>
                </c:pt>
                <c:pt idx="63">
                  <c:v>0.90010567347583093</c:v>
                </c:pt>
                <c:pt idx="64">
                  <c:v>0.90687878974992031</c:v>
                </c:pt>
                <c:pt idx="65">
                  <c:v>0.91002180523113785</c:v>
                </c:pt>
                <c:pt idx="66">
                  <c:v>0.91148736964883925</c:v>
                </c:pt>
                <c:pt idx="67">
                  <c:v>0.91415633864774126</c:v>
                </c:pt>
                <c:pt idx="68">
                  <c:v>0.91542577639595946</c:v>
                </c:pt>
                <c:pt idx="69">
                  <c:v>0.91661704919681863</c:v>
                </c:pt>
                <c:pt idx="70">
                  <c:v>0.91898467384252813</c:v>
                </c:pt>
                <c:pt idx="71">
                  <c:v>0.9224214371415842</c:v>
                </c:pt>
                <c:pt idx="72">
                  <c:v>0.92354413703823279</c:v>
                </c:pt>
                <c:pt idx="73">
                  <c:v>0.92567957981680871</c:v>
                </c:pt>
                <c:pt idx="74">
                  <c:v>0.92671563385797162</c:v>
                </c:pt>
                <c:pt idx="75">
                  <c:v>0.92773282127998669</c:v>
                </c:pt>
                <c:pt idx="76">
                  <c:v>0.92874606303886265</c:v>
                </c:pt>
                <c:pt idx="77">
                  <c:v>0.92974354482140709</c:v>
                </c:pt>
                <c:pt idx="78">
                  <c:v>0.9307251759227203</c:v>
                </c:pt>
                <c:pt idx="79">
                  <c:v>0.93263671365626466</c:v>
                </c:pt>
                <c:pt idx="80">
                  <c:v>0.9335679355095422</c:v>
                </c:pt>
                <c:pt idx="81">
                  <c:v>0.93449616410112801</c:v>
                </c:pt>
                <c:pt idx="82">
                  <c:v>0.93542198901287044</c:v>
                </c:pt>
                <c:pt idx="83">
                  <c:v>0.93633992259833465</c:v>
                </c:pt>
                <c:pt idx="84">
                  <c:v>0.93723552010223554</c:v>
                </c:pt>
                <c:pt idx="85">
                  <c:v>0.93812828307801932</c:v>
                </c:pt>
                <c:pt idx="86">
                  <c:v>0.93901920927958316</c:v>
                </c:pt>
                <c:pt idx="87">
                  <c:v>0.9398829466874471</c:v>
                </c:pt>
                <c:pt idx="88">
                  <c:v>0.94074437112036746</c:v>
                </c:pt>
                <c:pt idx="89">
                  <c:v>0.94242957745281219</c:v>
                </c:pt>
                <c:pt idx="90">
                  <c:v>0.94325419837265922</c:v>
                </c:pt>
                <c:pt idx="91">
                  <c:v>0.94406968077385645</c:v>
                </c:pt>
                <c:pt idx="92">
                  <c:v>0.94487797481174851</c:v>
                </c:pt>
                <c:pt idx="93">
                  <c:v>0.94645032157267994</c:v>
                </c:pt>
                <c:pt idx="94">
                  <c:v>0.94721983926592912</c:v>
                </c:pt>
                <c:pt idx="95">
                  <c:v>0.94795756489181615</c:v>
                </c:pt>
                <c:pt idx="96">
                  <c:v>0.94869089133006534</c:v>
                </c:pt>
                <c:pt idx="97">
                  <c:v>0.94941154175857456</c:v>
                </c:pt>
                <c:pt idx="98">
                  <c:v>0.95011523037083068</c:v>
                </c:pt>
                <c:pt idx="99">
                  <c:v>0.95081268302122901</c:v>
                </c:pt>
                <c:pt idx="100">
                  <c:v>0.95149829868221003</c:v>
                </c:pt>
                <c:pt idx="101">
                  <c:v>0.95216804098573493</c:v>
                </c:pt>
                <c:pt idx="102">
                  <c:v>0.95283526622829173</c:v>
                </c:pt>
                <c:pt idx="103">
                  <c:v>0.95349766143493686</c:v>
                </c:pt>
                <c:pt idx="104">
                  <c:v>0.95415962579330815</c:v>
                </c:pt>
                <c:pt idx="105">
                  <c:v>0.95481546757094637</c:v>
                </c:pt>
                <c:pt idx="106">
                  <c:v>0.95545931362559278</c:v>
                </c:pt>
                <c:pt idx="107">
                  <c:v>0.95609846570167711</c:v>
                </c:pt>
                <c:pt idx="108">
                  <c:v>0.95728316239730438</c:v>
                </c:pt>
                <c:pt idx="109">
                  <c:v>0.9578675287139401</c:v>
                </c:pt>
                <c:pt idx="110">
                  <c:v>0.95843330052612719</c:v>
                </c:pt>
                <c:pt idx="111">
                  <c:v>0.95898911747556681</c:v>
                </c:pt>
                <c:pt idx="112">
                  <c:v>0.95952253031476831</c:v>
                </c:pt>
                <c:pt idx="113">
                  <c:v>0.96004322179177992</c:v>
                </c:pt>
                <c:pt idx="114">
                  <c:v>0.96055629405721255</c:v>
                </c:pt>
                <c:pt idx="115">
                  <c:v>0.96155137215991371</c:v>
                </c:pt>
                <c:pt idx="116">
                  <c:v>0.96202172241756434</c:v>
                </c:pt>
                <c:pt idx="117">
                  <c:v>0.96248699320082909</c:v>
                </c:pt>
                <c:pt idx="118">
                  <c:v>0.96295153834489577</c:v>
                </c:pt>
                <c:pt idx="119">
                  <c:v>0.9633984413859612</c:v>
                </c:pt>
                <c:pt idx="120">
                  <c:v>0.96427505888958964</c:v>
                </c:pt>
                <c:pt idx="121">
                  <c:v>0.96470091839391325</c:v>
                </c:pt>
                <c:pt idx="122">
                  <c:v>0.96512285491132266</c:v>
                </c:pt>
                <c:pt idx="123">
                  <c:v>0.96553943983964685</c:v>
                </c:pt>
                <c:pt idx="124">
                  <c:v>0.96635072713923065</c:v>
                </c:pt>
                <c:pt idx="125">
                  <c:v>0.96674127976132673</c:v>
                </c:pt>
                <c:pt idx="126">
                  <c:v>0.96712196822557506</c:v>
                </c:pt>
                <c:pt idx="127">
                  <c:v>0.96822133428676305</c:v>
                </c:pt>
                <c:pt idx="128">
                  <c:v>0.96858449402913482</c:v>
                </c:pt>
                <c:pt idx="129">
                  <c:v>0.96893098674617761</c:v>
                </c:pt>
                <c:pt idx="130">
                  <c:v>0.96927410070570474</c:v>
                </c:pt>
                <c:pt idx="131">
                  <c:v>0.96961347308811718</c:v>
                </c:pt>
                <c:pt idx="132">
                  <c:v>0.96995266406073022</c:v>
                </c:pt>
                <c:pt idx="133">
                  <c:v>0.97059163472701504</c:v>
                </c:pt>
                <c:pt idx="134">
                  <c:v>0.97120477717309628</c:v>
                </c:pt>
                <c:pt idx="135">
                  <c:v>0.97150256135897362</c:v>
                </c:pt>
                <c:pt idx="136">
                  <c:v>0.97179585565231341</c:v>
                </c:pt>
                <c:pt idx="137">
                  <c:v>0.97208790275328161</c:v>
                </c:pt>
                <c:pt idx="138">
                  <c:v>0.97237643503938453</c:v>
                </c:pt>
                <c:pt idx="139">
                  <c:v>0.97266118039592298</c:v>
                </c:pt>
                <c:pt idx="140">
                  <c:v>0.97294295516699458</c:v>
                </c:pt>
                <c:pt idx="141">
                  <c:v>0.97322341471701979</c:v>
                </c:pt>
                <c:pt idx="142">
                  <c:v>0.97350054086197924</c:v>
                </c:pt>
                <c:pt idx="143">
                  <c:v>0.97402996268559172</c:v>
                </c:pt>
                <c:pt idx="144">
                  <c:v>0.97428872108835196</c:v>
                </c:pt>
                <c:pt idx="145">
                  <c:v>0.97454260410275062</c:v>
                </c:pt>
                <c:pt idx="146">
                  <c:v>0.97479374329393187</c:v>
                </c:pt>
                <c:pt idx="147">
                  <c:v>0.9750433858542672</c:v>
                </c:pt>
                <c:pt idx="148">
                  <c:v>0.97528679245274474</c:v>
                </c:pt>
                <c:pt idx="149">
                  <c:v>0.975526344092983</c:v>
                </c:pt>
                <c:pt idx="150">
                  <c:v>0.97576471656952446</c:v>
                </c:pt>
                <c:pt idx="151">
                  <c:v>0.97600093480469696</c:v>
                </c:pt>
                <c:pt idx="152">
                  <c:v>0.97623563373279865</c:v>
                </c:pt>
                <c:pt idx="153">
                  <c:v>0.97646881335382951</c:v>
                </c:pt>
                <c:pt idx="154">
                  <c:v>0.97670033761043995</c:v>
                </c:pt>
                <c:pt idx="155">
                  <c:v>0.97716232034108874</c:v>
                </c:pt>
                <c:pt idx="156">
                  <c:v>0.97739259740532758</c:v>
                </c:pt>
                <c:pt idx="157">
                  <c:v>0.97761994923654949</c:v>
                </c:pt>
                <c:pt idx="158">
                  <c:v>0.97804317829878029</c:v>
                </c:pt>
                <c:pt idx="159">
                  <c:v>0.97845815321513396</c:v>
                </c:pt>
                <c:pt idx="160">
                  <c:v>0.97866350910816668</c:v>
                </c:pt>
                <c:pt idx="161">
                  <c:v>0.97886800330465173</c:v>
                </c:pt>
                <c:pt idx="162">
                  <c:v>0.97906936818209545</c:v>
                </c:pt>
                <c:pt idx="163">
                  <c:v>0.97927007544901601</c:v>
                </c:pt>
                <c:pt idx="164">
                  <c:v>0.97946892326549173</c:v>
                </c:pt>
                <c:pt idx="165">
                  <c:v>0.97985958926871253</c:v>
                </c:pt>
                <c:pt idx="166">
                  <c:v>0.98004864095601529</c:v>
                </c:pt>
                <c:pt idx="167">
                  <c:v>0.98023338416057992</c:v>
                </c:pt>
                <c:pt idx="168">
                  <c:v>0.98041359212015711</c:v>
                </c:pt>
                <c:pt idx="169">
                  <c:v>0.98059380007973429</c:v>
                </c:pt>
                <c:pt idx="170">
                  <c:v>0.98076994899504766</c:v>
                </c:pt>
                <c:pt idx="171">
                  <c:v>0.98094215224722192</c:v>
                </c:pt>
                <c:pt idx="172">
                  <c:v>0.9814505985627674</c:v>
                </c:pt>
                <c:pt idx="173">
                  <c:v>0.98177817930821243</c:v>
                </c:pt>
                <c:pt idx="174">
                  <c:v>0.98193827345627016</c:v>
                </c:pt>
                <c:pt idx="175">
                  <c:v>0.98209630406785864</c:v>
                </c:pt>
                <c:pt idx="176">
                  <c:v>0.98240275057166215</c:v>
                </c:pt>
                <c:pt idx="177">
                  <c:v>0.98255254971359829</c:v>
                </c:pt>
                <c:pt idx="178">
                  <c:v>0.98284876923995501</c:v>
                </c:pt>
                <c:pt idx="179">
                  <c:v>0.98328594418052229</c:v>
                </c:pt>
                <c:pt idx="180">
                  <c:v>0.98342987018019967</c:v>
                </c:pt>
                <c:pt idx="181">
                  <c:v>0.98357356941762775</c:v>
                </c:pt>
                <c:pt idx="182">
                  <c:v>0.98371618019625884</c:v>
                </c:pt>
                <c:pt idx="183">
                  <c:v>0.98385554827472388</c:v>
                </c:pt>
                <c:pt idx="184">
                  <c:v>0.98399355577969261</c:v>
                </c:pt>
                <c:pt idx="185">
                  <c:v>0.98413117778883741</c:v>
                </c:pt>
                <c:pt idx="186">
                  <c:v>0.98466620064000943</c:v>
                </c:pt>
                <c:pt idx="187">
                  <c:v>0.98492298621120011</c:v>
                </c:pt>
                <c:pt idx="188">
                  <c:v>0.98504849911622838</c:v>
                </c:pt>
                <c:pt idx="189">
                  <c:v>0.98529827773391332</c:v>
                </c:pt>
                <c:pt idx="190">
                  <c:v>0.98542233936054557</c:v>
                </c:pt>
                <c:pt idx="191">
                  <c:v>0.9856681042864166</c:v>
                </c:pt>
                <c:pt idx="192">
                  <c:v>0.98579017040525441</c:v>
                </c:pt>
                <c:pt idx="193">
                  <c:v>0.9859120324380678</c:v>
                </c:pt>
                <c:pt idx="194">
                  <c:v>0.98603355432750706</c:v>
                </c:pt>
                <c:pt idx="195">
                  <c:v>0.98615507621694631</c:v>
                </c:pt>
                <c:pt idx="196">
                  <c:v>0.98639313122633876</c:v>
                </c:pt>
                <c:pt idx="197">
                  <c:v>0.98651107027223794</c:v>
                </c:pt>
                <c:pt idx="198">
                  <c:v>0.98662817029781447</c:v>
                </c:pt>
                <c:pt idx="199">
                  <c:v>0.9868610097754712</c:v>
                </c:pt>
                <c:pt idx="200">
                  <c:v>0.9869752752729305</c:v>
                </c:pt>
                <c:pt idx="201">
                  <c:v>0.98720226428455349</c:v>
                </c:pt>
                <c:pt idx="202">
                  <c:v>0.98742419649801549</c:v>
                </c:pt>
                <c:pt idx="203">
                  <c:v>0.98753358660711332</c:v>
                </c:pt>
                <c:pt idx="204">
                  <c:v>0.98764295403998614</c:v>
                </c:pt>
                <c:pt idx="205">
                  <c:v>0.98785538491519931</c:v>
                </c:pt>
                <c:pt idx="206">
                  <c:v>0.98796089738983284</c:v>
                </c:pt>
                <c:pt idx="207">
                  <c:v>0.98806602436864244</c:v>
                </c:pt>
                <c:pt idx="208">
                  <c:v>0.98817015359355476</c:v>
                </c:pt>
                <c:pt idx="209">
                  <c:v>0.9885768970402562</c:v>
                </c:pt>
                <c:pt idx="210">
                  <c:v>0.9886704591443477</c:v>
                </c:pt>
                <c:pt idx="211">
                  <c:v>0.9888522997921203</c:v>
                </c:pt>
                <c:pt idx="212">
                  <c:v>0.98902606770381529</c:v>
                </c:pt>
                <c:pt idx="213">
                  <c:v>0.9892793384601406</c:v>
                </c:pt>
                <c:pt idx="214">
                  <c:v>0.9893623787958612</c:v>
                </c:pt>
                <c:pt idx="215">
                  <c:v>0.98967995932610897</c:v>
                </c:pt>
                <c:pt idx="216">
                  <c:v>0.99011903906957111</c:v>
                </c:pt>
                <c:pt idx="217">
                  <c:v>0.99025455218979674</c:v>
                </c:pt>
                <c:pt idx="218">
                  <c:v>0.99032192325408563</c:v>
                </c:pt>
                <c:pt idx="219">
                  <c:v>0.99045466987486896</c:v>
                </c:pt>
                <c:pt idx="220">
                  <c:v>0.99064911850370674</c:v>
                </c:pt>
                <c:pt idx="221">
                  <c:v>0.99089921458854091</c:v>
                </c:pt>
                <c:pt idx="222">
                  <c:v>0.99114593191585942</c:v>
                </c:pt>
                <c:pt idx="223">
                  <c:v>0.99184485852087856</c:v>
                </c:pt>
                <c:pt idx="224">
                  <c:v>0.99190018850972572</c:v>
                </c:pt>
                <c:pt idx="225">
                  <c:v>0.99243006385783705</c:v>
                </c:pt>
                <c:pt idx="226">
                  <c:v>0.99311311710540007</c:v>
                </c:pt>
                <c:pt idx="227">
                  <c:v>0.99355528081545352</c:v>
                </c:pt>
                <c:pt idx="228">
                  <c:v>0.99364002186804445</c:v>
                </c:pt>
                <c:pt idx="229">
                  <c:v>0.99400204779916934</c:v>
                </c:pt>
                <c:pt idx="230">
                  <c:v>0.99429897028849901</c:v>
                </c:pt>
                <c:pt idx="231">
                  <c:v>0.99477204169314215</c:v>
                </c:pt>
                <c:pt idx="232">
                  <c:v>0.99523130327679854</c:v>
                </c:pt>
                <c:pt idx="233">
                  <c:v>0.99543679522718087</c:v>
                </c:pt>
                <c:pt idx="234">
                  <c:v>0.99549455157209632</c:v>
                </c:pt>
                <c:pt idx="235">
                  <c:v>0.99710445016152427</c:v>
                </c:pt>
                <c:pt idx="236">
                  <c:v>0.9985747539102375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07</c:f>
              <c:strCache>
                <c:ptCount val="506"/>
                <c:pt idx="0">
                  <c:v>Private Lab</c:v>
                </c:pt>
                <c:pt idx="1">
                  <c:v>Caprice Des</c:v>
                </c:pt>
                <c:pt idx="2">
                  <c:v>Private Lab</c:v>
                </c:pt>
                <c:pt idx="3">
                  <c:v>Private Lab</c:v>
                </c:pt>
                <c:pt idx="4">
                  <c:v>Private Lab</c:v>
                </c:pt>
                <c:pt idx="5">
                  <c:v>Mini Babybe</c:v>
                </c:pt>
                <c:pt idx="6">
                  <c:v>Coeur De Li</c:v>
                </c:pt>
                <c:pt idx="7">
                  <c:v>Private Lab</c:v>
                </c:pt>
                <c:pt idx="8">
                  <c:v>President</c:v>
                </c:pt>
                <c:pt idx="9">
                  <c:v>Soignon</c:v>
                </c:pt>
                <c:pt idx="10">
                  <c:v>Private Lab</c:v>
                </c:pt>
                <c:pt idx="11">
                  <c:v>Private Lab</c:v>
                </c:pt>
                <c:pt idx="12">
                  <c:v>Galbani</c:v>
                </c:pt>
                <c:pt idx="13">
                  <c:v>Soignon</c:v>
                </c:pt>
                <c:pt idx="14">
                  <c:v>St Moret</c:v>
                </c:pt>
                <c:pt idx="15">
                  <c:v>Galbani</c:v>
                </c:pt>
                <c:pt idx="16">
                  <c:v>Private Lab</c:v>
                </c:pt>
                <c:pt idx="17">
                  <c:v>Galbani</c:v>
                </c:pt>
                <c:pt idx="18">
                  <c:v>Salakis</c:v>
                </c:pt>
                <c:pt idx="19">
                  <c:v>Private Lab</c:v>
                </c:pt>
                <c:pt idx="20">
                  <c:v>Caprice Des</c:v>
                </c:pt>
                <c:pt idx="21">
                  <c:v>St Moret</c:v>
                </c:pt>
                <c:pt idx="22">
                  <c:v>Private Lab</c:v>
                </c:pt>
                <c:pt idx="23">
                  <c:v>President</c:v>
                </c:pt>
                <c:pt idx="24">
                  <c:v>Private Lab</c:v>
                </c:pt>
                <c:pt idx="25">
                  <c:v>La Vache Qu</c:v>
                </c:pt>
                <c:pt idx="26">
                  <c:v>Coeur De Li</c:v>
                </c:pt>
                <c:pt idx="27">
                  <c:v>President</c:v>
                </c:pt>
                <c:pt idx="28">
                  <c:v>La Vache Qu</c:v>
                </c:pt>
                <c:pt idx="29">
                  <c:v>Private Lab</c:v>
                </c:pt>
                <c:pt idx="30">
                  <c:v>St Moret</c:v>
                </c:pt>
                <c:pt idx="31">
                  <c:v>Le Rustique</c:v>
                </c:pt>
                <c:pt idx="32">
                  <c:v>La Vache Qu</c:v>
                </c:pt>
                <c:pt idx="33">
                  <c:v>Private Lab</c:v>
                </c:pt>
                <c:pt idx="34">
                  <c:v>Tartare</c:v>
                </c:pt>
                <c:pt idx="35">
                  <c:v>Mini Babybe</c:v>
                </c:pt>
                <c:pt idx="36">
                  <c:v>Private Lab</c:v>
                </c:pt>
                <c:pt idx="37">
                  <c:v>Private Lab</c:v>
                </c:pt>
                <c:pt idx="38">
                  <c:v>Salakis</c:v>
                </c:pt>
                <c:pt idx="39">
                  <c:v>St Moret</c:v>
                </c:pt>
                <c:pt idx="40">
                  <c:v>Soignon</c:v>
                </c:pt>
                <c:pt idx="41">
                  <c:v>Galbani</c:v>
                </c:pt>
                <c:pt idx="42">
                  <c:v>Galbani</c:v>
                </c:pt>
                <c:pt idx="43">
                  <c:v>Islos</c:v>
                </c:pt>
                <c:pt idx="44">
                  <c:v>Kiri</c:v>
                </c:pt>
                <c:pt idx="45">
                  <c:v>Private Lab</c:v>
                </c:pt>
                <c:pt idx="46">
                  <c:v>Private Lab</c:v>
                </c:pt>
                <c:pt idx="47">
                  <c:v>All Others</c:v>
                </c:pt>
                <c:pt idx="48">
                  <c:v>Private Lab</c:v>
                </c:pt>
                <c:pt idx="49">
                  <c:v>Private Lab</c:v>
                </c:pt>
                <c:pt idx="50">
                  <c:v>Private Lab</c:v>
                </c:pt>
                <c:pt idx="51">
                  <c:v>Private Lab</c:v>
                </c:pt>
                <c:pt idx="52">
                  <c:v>All Others</c:v>
                </c:pt>
                <c:pt idx="53">
                  <c:v>Private Lab</c:v>
                </c:pt>
                <c:pt idx="54">
                  <c:v>Paysan Bret</c:v>
                </c:pt>
                <c:pt idx="55">
                  <c:v>Private Lab</c:v>
                </c:pt>
                <c:pt idx="56">
                  <c:v>Paysan Bret</c:v>
                </c:pt>
                <c:pt idx="57">
                  <c:v>Galbani</c:v>
                </c:pt>
                <c:pt idx="58">
                  <c:v>Kiri</c:v>
                </c:pt>
                <c:pt idx="59">
                  <c:v>Private Lab</c:v>
                </c:pt>
                <c:pt idx="60">
                  <c:v>Istara</c:v>
                </c:pt>
                <c:pt idx="61">
                  <c:v>Ficello</c:v>
                </c:pt>
                <c:pt idx="62">
                  <c:v>Private Lab</c:v>
                </c:pt>
                <c:pt idx="63">
                  <c:v>Private Lab</c:v>
                </c:pt>
                <c:pt idx="64">
                  <c:v>Kiri</c:v>
                </c:pt>
                <c:pt idx="65">
                  <c:v>Casa Azzurr</c:v>
                </c:pt>
                <c:pt idx="66">
                  <c:v>Carre Frais</c:v>
                </c:pt>
                <c:pt idx="67">
                  <c:v>St Moret</c:v>
                </c:pt>
                <c:pt idx="68">
                  <c:v>Coeur De Li</c:v>
                </c:pt>
                <c:pt idx="69">
                  <c:v>Boursin</c:v>
                </c:pt>
                <c:pt idx="70">
                  <c:v>Les Mousque</c:v>
                </c:pt>
                <c:pt idx="71">
                  <c:v>President</c:v>
                </c:pt>
                <c:pt idx="72">
                  <c:v>All Others</c:v>
                </c:pt>
                <c:pt idx="73">
                  <c:v>Carre Frais</c:v>
                </c:pt>
                <c:pt idx="74">
                  <c:v>Boursin</c:v>
                </c:pt>
                <c:pt idx="75">
                  <c:v>Tartare</c:v>
                </c:pt>
                <c:pt idx="76">
                  <c:v>Coeur De Li</c:v>
                </c:pt>
                <c:pt idx="77">
                  <c:v>Kiri</c:v>
                </c:pt>
                <c:pt idx="78">
                  <c:v>Lepetit</c:v>
                </c:pt>
                <c:pt idx="79">
                  <c:v>Private Lab</c:v>
                </c:pt>
                <c:pt idx="80">
                  <c:v>Lou Perac</c:v>
                </c:pt>
                <c:pt idx="81">
                  <c:v>Kiri</c:v>
                </c:pt>
                <c:pt idx="82">
                  <c:v>Salakis</c:v>
                </c:pt>
                <c:pt idx="83">
                  <c:v>Salakis</c:v>
                </c:pt>
                <c:pt idx="84">
                  <c:v>Casa Azzurr</c:v>
                </c:pt>
                <c:pt idx="85">
                  <c:v>President</c:v>
                </c:pt>
                <c:pt idx="86">
                  <c:v>Private Lab</c:v>
                </c:pt>
                <c:pt idx="87">
                  <c:v>Boursin</c:v>
                </c:pt>
                <c:pt idx="88">
                  <c:v>Coeur De Li</c:v>
                </c:pt>
                <c:pt idx="89">
                  <c:v>Private Lab</c:v>
                </c:pt>
                <c:pt idx="90">
                  <c:v>Private Lab</c:v>
                </c:pt>
                <c:pt idx="91">
                  <c:v>Caprice Des</c:v>
                </c:pt>
                <c:pt idx="92">
                  <c:v>St Moret</c:v>
                </c:pt>
                <c:pt idx="93">
                  <c:v>Private Lab</c:v>
                </c:pt>
                <c:pt idx="94">
                  <c:v>Soignon</c:v>
                </c:pt>
                <c:pt idx="95">
                  <c:v>Private Lab</c:v>
                </c:pt>
                <c:pt idx="96">
                  <c:v>President</c:v>
                </c:pt>
                <c:pt idx="97">
                  <c:v>President</c:v>
                </c:pt>
                <c:pt idx="98">
                  <c:v>Petit Billy</c:v>
                </c:pt>
                <c:pt idx="99">
                  <c:v>Casa Azzurr</c:v>
                </c:pt>
                <c:pt idx="100">
                  <c:v>Galbani</c:v>
                </c:pt>
                <c:pt idx="101">
                  <c:v>All Others</c:v>
                </c:pt>
                <c:pt idx="102">
                  <c:v>Istara</c:v>
                </c:pt>
                <c:pt idx="103">
                  <c:v>Philadelphi</c:v>
                </c:pt>
                <c:pt idx="104">
                  <c:v>Private Lab</c:v>
                </c:pt>
                <c:pt idx="105">
                  <c:v>Casa Azzurr</c:v>
                </c:pt>
                <c:pt idx="106">
                  <c:v>Le Rustique</c:v>
                </c:pt>
                <c:pt idx="107">
                  <c:v>President</c:v>
                </c:pt>
                <c:pt idx="108">
                  <c:v>St Moret</c:v>
                </c:pt>
                <c:pt idx="109">
                  <c:v>Ficello</c:v>
                </c:pt>
                <c:pt idx="110">
                  <c:v>Casa Azzurr</c:v>
                </c:pt>
                <c:pt idx="111">
                  <c:v>All Others</c:v>
                </c:pt>
                <c:pt idx="112">
                  <c:v>Private Lab</c:v>
                </c:pt>
                <c:pt idx="113">
                  <c:v>Private Lab</c:v>
                </c:pt>
                <c:pt idx="114">
                  <c:v>Private Lab</c:v>
                </c:pt>
                <c:pt idx="115">
                  <c:v>Boursin</c:v>
                </c:pt>
                <c:pt idx="116">
                  <c:v>Private Lab</c:v>
                </c:pt>
                <c:pt idx="117">
                  <c:v>President</c:v>
                </c:pt>
                <c:pt idx="118">
                  <c:v>Private Lab</c:v>
                </c:pt>
                <c:pt idx="119">
                  <c:v>Coeur De Li</c:v>
                </c:pt>
                <c:pt idx="120">
                  <c:v>Galbani</c:v>
                </c:pt>
                <c:pt idx="121">
                  <c:v>Private Lab</c:v>
                </c:pt>
                <c:pt idx="122">
                  <c:v>Les Mousque</c:v>
                </c:pt>
                <c:pt idx="123">
                  <c:v>Soignon</c:v>
                </c:pt>
                <c:pt idx="124">
                  <c:v>Private Lab</c:v>
                </c:pt>
                <c:pt idx="125">
                  <c:v>Chavroux</c:v>
                </c:pt>
                <c:pt idx="126">
                  <c:v>Etorki</c:v>
                </c:pt>
                <c:pt idx="127">
                  <c:v>Salakis</c:v>
                </c:pt>
                <c:pt idx="128">
                  <c:v>Caprice Des</c:v>
                </c:pt>
                <c:pt idx="129">
                  <c:v>Private Lab</c:v>
                </c:pt>
                <c:pt idx="130">
                  <c:v>Soignon</c:v>
                </c:pt>
                <c:pt idx="131">
                  <c:v>P'Tit Louis</c:v>
                </c:pt>
                <c:pt idx="132">
                  <c:v>Private Lab</c:v>
                </c:pt>
                <c:pt idx="133">
                  <c:v>All Others</c:v>
                </c:pt>
                <c:pt idx="134">
                  <c:v>Lactalis: A</c:v>
                </c:pt>
                <c:pt idx="135">
                  <c:v>Private Lab</c:v>
                </c:pt>
                <c:pt idx="136">
                  <c:v>La Vache Qu</c:v>
                </c:pt>
                <c:pt idx="137">
                  <c:v>Galbani</c:v>
                </c:pt>
                <c:pt idx="138">
                  <c:v>La Vache Qu</c:v>
                </c:pt>
                <c:pt idx="139">
                  <c:v>Casa Azzurr</c:v>
                </c:pt>
                <c:pt idx="140">
                  <c:v>Philadelphi</c:v>
                </c:pt>
                <c:pt idx="141">
                  <c:v>Casa Azzurr</c:v>
                </c:pt>
                <c:pt idx="142">
                  <c:v>Soignon</c:v>
                </c:pt>
                <c:pt idx="143">
                  <c:v>Private Lab</c:v>
                </c:pt>
                <c:pt idx="144">
                  <c:v>Paysan Bret</c:v>
                </c:pt>
                <c:pt idx="145">
                  <c:v>Le Brebiou</c:v>
                </c:pt>
                <c:pt idx="146">
                  <c:v>Tartare</c:v>
                </c:pt>
                <c:pt idx="147">
                  <c:v>Private Lab</c:v>
                </c:pt>
                <c:pt idx="148">
                  <c:v>Soignon</c:v>
                </c:pt>
                <c:pt idx="149">
                  <c:v>President</c:v>
                </c:pt>
                <c:pt idx="150">
                  <c:v>Ficello</c:v>
                </c:pt>
                <c:pt idx="151">
                  <c:v>Private Lab</c:v>
                </c:pt>
                <c:pt idx="152">
                  <c:v>Private Lab</c:v>
                </c:pt>
                <c:pt idx="153">
                  <c:v>Boursin</c:v>
                </c:pt>
                <c:pt idx="154">
                  <c:v>Lactalis: A</c:v>
                </c:pt>
                <c:pt idx="155">
                  <c:v>All Others</c:v>
                </c:pt>
                <c:pt idx="156">
                  <c:v>Carre Frais</c:v>
                </c:pt>
                <c:pt idx="157">
                  <c:v>Private Lab</c:v>
                </c:pt>
                <c:pt idx="158">
                  <c:v>Salakis</c:v>
                </c:pt>
                <c:pt idx="159">
                  <c:v>Private Lab</c:v>
                </c:pt>
                <c:pt idx="160">
                  <c:v>All Others</c:v>
                </c:pt>
                <c:pt idx="161">
                  <c:v>Paysan Bret</c:v>
                </c:pt>
                <c:pt idx="162">
                  <c:v>Paysan Bret</c:v>
                </c:pt>
                <c:pt idx="163">
                  <c:v>Paysan Bret</c:v>
                </c:pt>
                <c:pt idx="164">
                  <c:v>Private Lab</c:v>
                </c:pt>
                <c:pt idx="165">
                  <c:v>President</c:v>
                </c:pt>
                <c:pt idx="166">
                  <c:v>Caprice Des</c:v>
                </c:pt>
                <c:pt idx="167">
                  <c:v>Private Lab</c:v>
                </c:pt>
                <c:pt idx="168">
                  <c:v>Le Rustique</c:v>
                </c:pt>
                <c:pt idx="169">
                  <c:v>Galbani</c:v>
                </c:pt>
                <c:pt idx="170">
                  <c:v>Soignon</c:v>
                </c:pt>
                <c:pt idx="171">
                  <c:v>President</c:v>
                </c:pt>
                <c:pt idx="172">
                  <c:v>Les Mousque</c:v>
                </c:pt>
                <c:pt idx="173">
                  <c:v>Boursin</c:v>
                </c:pt>
                <c:pt idx="174">
                  <c:v>Kiri</c:v>
                </c:pt>
                <c:pt idx="175">
                  <c:v>All Others</c:v>
                </c:pt>
                <c:pt idx="176">
                  <c:v>Chavroux</c:v>
                </c:pt>
                <c:pt idx="177">
                  <c:v>Boursin</c:v>
                </c:pt>
                <c:pt idx="178">
                  <c:v>Mini Babybe</c:v>
                </c:pt>
                <c:pt idx="179">
                  <c:v>La Vache Qu</c:v>
                </c:pt>
                <c:pt idx="180">
                  <c:v>Private Lab</c:v>
                </c:pt>
                <c:pt idx="181">
                  <c:v>All Others</c:v>
                </c:pt>
                <c:pt idx="182">
                  <c:v>Soignon</c:v>
                </c:pt>
                <c:pt idx="183">
                  <c:v>Private Lab</c:v>
                </c:pt>
                <c:pt idx="184">
                  <c:v>Lactalis: A</c:v>
                </c:pt>
                <c:pt idx="185">
                  <c:v>Lou Perac</c:v>
                </c:pt>
                <c:pt idx="186">
                  <c:v>Tartare</c:v>
                </c:pt>
                <c:pt idx="187">
                  <c:v>Paysan Bret</c:v>
                </c:pt>
                <c:pt idx="188">
                  <c:v>Boursin</c:v>
                </c:pt>
                <c:pt idx="189">
                  <c:v>Pave D'Affi</c:v>
                </c:pt>
                <c:pt idx="190">
                  <c:v>St Moret</c:v>
                </c:pt>
                <c:pt idx="191">
                  <c:v>Galbani</c:v>
                </c:pt>
                <c:pt idx="192">
                  <c:v>Le Rustique</c:v>
                </c:pt>
                <c:pt idx="193">
                  <c:v>All Others</c:v>
                </c:pt>
                <c:pt idx="194">
                  <c:v>All Others</c:v>
                </c:pt>
                <c:pt idx="195">
                  <c:v>All Others</c:v>
                </c:pt>
                <c:pt idx="196">
                  <c:v>All Others</c:v>
                </c:pt>
                <c:pt idx="197">
                  <c:v>Galbani</c:v>
                </c:pt>
                <c:pt idx="198">
                  <c:v>Kiri</c:v>
                </c:pt>
                <c:pt idx="199">
                  <c:v>Soignon</c:v>
                </c:pt>
                <c:pt idx="200">
                  <c:v>Tartare</c:v>
                </c:pt>
                <c:pt idx="201">
                  <c:v>All Others</c:v>
                </c:pt>
                <c:pt idx="202">
                  <c:v>Private Lab</c:v>
                </c:pt>
                <c:pt idx="203">
                  <c:v>Etorki</c:v>
                </c:pt>
                <c:pt idx="204">
                  <c:v>Boursin</c:v>
                </c:pt>
                <c:pt idx="205">
                  <c:v>Boursin</c:v>
                </c:pt>
                <c:pt idx="206">
                  <c:v>Boursin</c:v>
                </c:pt>
                <c:pt idx="207">
                  <c:v>Casa Azzurr</c:v>
                </c:pt>
                <c:pt idx="208">
                  <c:v>All Others</c:v>
                </c:pt>
                <c:pt idx="209">
                  <c:v>All Others</c:v>
                </c:pt>
                <c:pt idx="210">
                  <c:v>Salakis</c:v>
                </c:pt>
                <c:pt idx="211">
                  <c:v>Mini Babybe</c:v>
                </c:pt>
                <c:pt idx="212">
                  <c:v>Private Lab</c:v>
                </c:pt>
                <c:pt idx="213">
                  <c:v>St Moret</c:v>
                </c:pt>
                <c:pt idx="214">
                  <c:v>Islos</c:v>
                </c:pt>
                <c:pt idx="215">
                  <c:v>Savencia: A</c:v>
                </c:pt>
                <c:pt idx="216">
                  <c:v>All Others</c:v>
                </c:pt>
                <c:pt idx="217">
                  <c:v>Caprice Des</c:v>
                </c:pt>
                <c:pt idx="218">
                  <c:v>Casa Azzurr</c:v>
                </c:pt>
                <c:pt idx="219">
                  <c:v>Islos</c:v>
                </c:pt>
                <c:pt idx="220">
                  <c:v>Galbani</c:v>
                </c:pt>
                <c:pt idx="221">
                  <c:v>Caprice Des</c:v>
                </c:pt>
                <c:pt idx="222">
                  <c:v>Boursin</c:v>
                </c:pt>
                <c:pt idx="223">
                  <c:v>Saint Agur</c:v>
                </c:pt>
                <c:pt idx="224">
                  <c:v>Private Lab</c:v>
                </c:pt>
                <c:pt idx="225">
                  <c:v>Lou Perac</c:v>
                </c:pt>
                <c:pt idx="226">
                  <c:v>Kiri</c:v>
                </c:pt>
                <c:pt idx="227">
                  <c:v>La Vache Qu</c:v>
                </c:pt>
                <c:pt idx="228">
                  <c:v>Paysan Bret</c:v>
                </c:pt>
                <c:pt idx="229">
                  <c:v>Private Lab</c:v>
                </c:pt>
                <c:pt idx="230">
                  <c:v>Private Lab</c:v>
                </c:pt>
                <c:pt idx="231">
                  <c:v>Tartare</c:v>
                </c:pt>
                <c:pt idx="232">
                  <c:v>Istara</c:v>
                </c:pt>
                <c:pt idx="233">
                  <c:v>All Others</c:v>
                </c:pt>
                <c:pt idx="234">
                  <c:v>Lactalis: A</c:v>
                </c:pt>
                <c:pt idx="235">
                  <c:v>Private Lab</c:v>
                </c:pt>
                <c:pt idx="236">
                  <c:v>Tartare</c:v>
                </c:pt>
                <c:pt idx="237">
                  <c:v>Salakis</c:v>
                </c:pt>
                <c:pt idx="238">
                  <c:v>Paysan Bret</c:v>
                </c:pt>
                <c:pt idx="239">
                  <c:v>All Others</c:v>
                </c:pt>
                <c:pt idx="240">
                  <c:v>All Others</c:v>
                </c:pt>
                <c:pt idx="241">
                  <c:v>Soignon</c:v>
                </c:pt>
                <c:pt idx="242">
                  <c:v>All Others</c:v>
                </c:pt>
                <c:pt idx="243">
                  <c:v>All Others</c:v>
                </c:pt>
                <c:pt idx="244">
                  <c:v>Paysan Bret</c:v>
                </c:pt>
                <c:pt idx="245">
                  <c:v>Corsica</c:v>
                </c:pt>
                <c:pt idx="246">
                  <c:v>All Others</c:v>
                </c:pt>
                <c:pt idx="247">
                  <c:v>Les Mousque</c:v>
                </c:pt>
                <c:pt idx="248">
                  <c:v>All Others</c:v>
                </c:pt>
                <c:pt idx="249">
                  <c:v>Soignon</c:v>
                </c:pt>
                <c:pt idx="250">
                  <c:v>Mini Babybe</c:v>
                </c:pt>
                <c:pt idx="251">
                  <c:v>Boursin</c:v>
                </c:pt>
                <c:pt idx="252">
                  <c:v>All Others</c:v>
                </c:pt>
                <c:pt idx="253">
                  <c:v>Kiri</c:v>
                </c:pt>
                <c:pt idx="254">
                  <c:v>Galbani</c:v>
                </c:pt>
                <c:pt idx="255">
                  <c:v>P'Tit Louis</c:v>
                </c:pt>
                <c:pt idx="256">
                  <c:v>All Others</c:v>
                </c:pt>
                <c:pt idx="257">
                  <c:v>All Others</c:v>
                </c:pt>
                <c:pt idx="258">
                  <c:v>Milleret: A</c:v>
                </c:pt>
                <c:pt idx="259">
                  <c:v>Etoile Du Q</c:v>
                </c:pt>
                <c:pt idx="260">
                  <c:v>All Others</c:v>
                </c:pt>
                <c:pt idx="261">
                  <c:v>All Others</c:v>
                </c:pt>
                <c:pt idx="262">
                  <c:v>Triballat N</c:v>
                </c:pt>
                <c:pt idx="263">
                  <c:v>Boursin</c:v>
                </c:pt>
                <c:pt idx="264">
                  <c:v>All Others</c:v>
                </c:pt>
                <c:pt idx="265">
                  <c:v>All Others</c:v>
                </c:pt>
                <c:pt idx="266">
                  <c:v>Triballat N</c:v>
                </c:pt>
                <c:pt idx="267">
                  <c:v>Soignon</c:v>
                </c:pt>
                <c:pt idx="268">
                  <c:v>Private Lab</c:v>
                </c:pt>
                <c:pt idx="269">
                  <c:v>All Others</c:v>
                </c:pt>
                <c:pt idx="270">
                  <c:v>Caprice Des</c:v>
                </c:pt>
                <c:pt idx="271">
                  <c:v>Chavroux</c:v>
                </c:pt>
                <c:pt idx="272">
                  <c:v>All Others</c:v>
                </c:pt>
                <c:pt idx="273">
                  <c:v>Etorki</c:v>
                </c:pt>
                <c:pt idx="274">
                  <c:v>Paysan Bret</c:v>
                </c:pt>
                <c:pt idx="275">
                  <c:v>All Others</c:v>
                </c:pt>
                <c:pt idx="276">
                  <c:v>All Others</c:v>
                </c:pt>
                <c:pt idx="277">
                  <c:v>Boursin</c:v>
                </c:pt>
                <c:pt idx="278">
                  <c:v>Chavroux</c:v>
                </c:pt>
                <c:pt idx="279">
                  <c:v>Carre Frais</c:v>
                </c:pt>
                <c:pt idx="280">
                  <c:v>Le Brebiou</c:v>
                </c:pt>
                <c:pt idx="281">
                  <c:v>Salakis</c:v>
                </c:pt>
                <c:pt idx="282">
                  <c:v>Triballat N</c:v>
                </c:pt>
                <c:pt idx="283">
                  <c:v>All Others</c:v>
                </c:pt>
                <c:pt idx="284">
                  <c:v>All Others</c:v>
                </c:pt>
                <c:pt idx="285">
                  <c:v>All Others</c:v>
                </c:pt>
                <c:pt idx="286">
                  <c:v>All Others</c:v>
                </c:pt>
                <c:pt idx="287">
                  <c:v>All Others</c:v>
                </c:pt>
                <c:pt idx="288">
                  <c:v>Salakis</c:v>
                </c:pt>
                <c:pt idx="289">
                  <c:v>All Others</c:v>
                </c:pt>
                <c:pt idx="290">
                  <c:v>Milleret: A</c:v>
                </c:pt>
                <c:pt idx="291">
                  <c:v>Istara</c:v>
                </c:pt>
                <c:pt idx="292">
                  <c:v>All Others</c:v>
                </c:pt>
                <c:pt idx="293">
                  <c:v>Lactalis: A</c:v>
                </c:pt>
                <c:pt idx="294">
                  <c:v>All Others</c:v>
                </c:pt>
                <c:pt idx="295">
                  <c:v>All Others</c:v>
                </c:pt>
                <c:pt idx="296">
                  <c:v>All Others</c:v>
                </c:pt>
                <c:pt idx="297">
                  <c:v>All Others</c:v>
                </c:pt>
                <c:pt idx="298">
                  <c:v>All Others</c:v>
                </c:pt>
                <c:pt idx="299">
                  <c:v>All Others</c:v>
                </c:pt>
                <c:pt idx="300">
                  <c:v>All Others</c:v>
                </c:pt>
                <c:pt idx="301">
                  <c:v>All Others</c:v>
                </c:pt>
                <c:pt idx="302">
                  <c:v>All Others</c:v>
                </c:pt>
                <c:pt idx="303">
                  <c:v>All Others</c:v>
                </c:pt>
                <c:pt idx="304">
                  <c:v>All Others</c:v>
                </c:pt>
                <c:pt idx="305">
                  <c:v>All Others</c:v>
                </c:pt>
                <c:pt idx="306">
                  <c:v>All Others</c:v>
                </c:pt>
                <c:pt idx="307">
                  <c:v>Lactalis: A</c:v>
                </c:pt>
                <c:pt idx="308">
                  <c:v>All Others</c:v>
                </c:pt>
                <c:pt idx="309">
                  <c:v>All Others</c:v>
                </c:pt>
                <c:pt idx="310">
                  <c:v>Triballat N</c:v>
                </c:pt>
                <c:pt idx="311">
                  <c:v>All Others</c:v>
                </c:pt>
                <c:pt idx="312">
                  <c:v>All Others</c:v>
                </c:pt>
                <c:pt idx="313">
                  <c:v>All Others</c:v>
                </c:pt>
                <c:pt idx="314">
                  <c:v>All Others</c:v>
                </c:pt>
                <c:pt idx="315">
                  <c:v>All Others</c:v>
                </c:pt>
                <c:pt idx="316">
                  <c:v>All Others</c:v>
                </c:pt>
                <c:pt idx="317">
                  <c:v>All Others</c:v>
                </c:pt>
                <c:pt idx="318">
                  <c:v>Etoile Du V</c:v>
                </c:pt>
                <c:pt idx="319">
                  <c:v>All Others</c:v>
                </c:pt>
                <c:pt idx="320">
                  <c:v>All Others</c:v>
                </c:pt>
                <c:pt idx="321">
                  <c:v>All Others</c:v>
                </c:pt>
                <c:pt idx="322">
                  <c:v>All Others</c:v>
                </c:pt>
                <c:pt idx="323">
                  <c:v>Soignon</c:v>
                </c:pt>
                <c:pt idx="324">
                  <c:v>All Others</c:v>
                </c:pt>
                <c:pt idx="325">
                  <c:v>All Others</c:v>
                </c:pt>
                <c:pt idx="326">
                  <c:v>All Others</c:v>
                </c:pt>
                <c:pt idx="327">
                  <c:v>Private Lab</c:v>
                </c:pt>
                <c:pt idx="328">
                  <c:v>All Others</c:v>
                </c:pt>
                <c:pt idx="329">
                  <c:v>All Others</c:v>
                </c:pt>
                <c:pt idx="330">
                  <c:v>All Others</c:v>
                </c:pt>
                <c:pt idx="331">
                  <c:v>All Others</c:v>
                </c:pt>
                <c:pt idx="332">
                  <c:v>All Others</c:v>
                </c:pt>
                <c:pt idx="333">
                  <c:v>Casa Azzurr</c:v>
                </c:pt>
                <c:pt idx="334">
                  <c:v>All Others</c:v>
                </c:pt>
                <c:pt idx="335">
                  <c:v>All Others</c:v>
                </c:pt>
                <c:pt idx="336">
                  <c:v>All Others</c:v>
                </c:pt>
                <c:pt idx="337">
                  <c:v>All Others</c:v>
                </c:pt>
                <c:pt idx="338">
                  <c:v>All Others</c:v>
                </c:pt>
                <c:pt idx="339">
                  <c:v>All Others</c:v>
                </c:pt>
                <c:pt idx="340">
                  <c:v>All Others</c:v>
                </c:pt>
                <c:pt idx="341">
                  <c:v>All Others</c:v>
                </c:pt>
                <c:pt idx="342">
                  <c:v>All Others</c:v>
                </c:pt>
                <c:pt idx="343">
                  <c:v>All Others</c:v>
                </c:pt>
                <c:pt idx="344">
                  <c:v>All Others</c:v>
                </c:pt>
                <c:pt idx="345">
                  <c:v>All Others</c:v>
                </c:pt>
                <c:pt idx="346">
                  <c:v>All Others</c:v>
                </c:pt>
                <c:pt idx="347">
                  <c:v>All Others</c:v>
                </c:pt>
                <c:pt idx="348">
                  <c:v>All Others</c:v>
                </c:pt>
                <c:pt idx="349">
                  <c:v>All Others</c:v>
                </c:pt>
                <c:pt idx="350">
                  <c:v>All Others</c:v>
                </c:pt>
                <c:pt idx="351">
                  <c:v>Tartare</c:v>
                </c:pt>
                <c:pt idx="352">
                  <c:v>All Others</c:v>
                </c:pt>
                <c:pt idx="353">
                  <c:v>All Others</c:v>
                </c:pt>
                <c:pt idx="354">
                  <c:v>Paysan Bret</c:v>
                </c:pt>
                <c:pt idx="355">
                  <c:v>All Others</c:v>
                </c:pt>
                <c:pt idx="356">
                  <c:v>All Others</c:v>
                </c:pt>
                <c:pt idx="357">
                  <c:v>All Others</c:v>
                </c:pt>
                <c:pt idx="358">
                  <c:v>All Others</c:v>
                </c:pt>
                <c:pt idx="359">
                  <c:v>Petit Billy</c:v>
                </c:pt>
                <c:pt idx="360">
                  <c:v>All Others</c:v>
                </c:pt>
                <c:pt idx="361">
                  <c:v>All Others</c:v>
                </c:pt>
                <c:pt idx="362">
                  <c:v>All Others</c:v>
                </c:pt>
                <c:pt idx="363">
                  <c:v>All Others</c:v>
                </c:pt>
                <c:pt idx="364">
                  <c:v>All Others</c:v>
                </c:pt>
                <c:pt idx="365">
                  <c:v>All Others</c:v>
                </c:pt>
                <c:pt idx="366">
                  <c:v>All Others</c:v>
                </c:pt>
                <c:pt idx="367">
                  <c:v>All Others</c:v>
                </c:pt>
                <c:pt idx="368">
                  <c:v>All Others</c:v>
                </c:pt>
                <c:pt idx="369">
                  <c:v>Corsica</c:v>
                </c:pt>
                <c:pt idx="370">
                  <c:v>All Others</c:v>
                </c:pt>
                <c:pt idx="371">
                  <c:v>Lactalis: A</c:v>
                </c:pt>
                <c:pt idx="372">
                  <c:v>All Others</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All Others</c:v>
                </c:pt>
                <c:pt idx="392">
                  <c:v>All Others</c:v>
                </c:pt>
                <c:pt idx="393">
                  <c:v>All Others</c:v>
                </c:pt>
                <c:pt idx="394">
                  <c:v>Mini Babybe</c:v>
                </c:pt>
                <c:pt idx="395">
                  <c:v>All Others</c:v>
                </c:pt>
                <c:pt idx="396">
                  <c:v>All Others</c:v>
                </c:pt>
                <c:pt idx="397">
                  <c:v>All Others</c:v>
                </c:pt>
                <c:pt idx="398">
                  <c:v>All Others</c:v>
                </c:pt>
                <c:pt idx="399">
                  <c:v>All Others</c:v>
                </c:pt>
                <c:pt idx="400">
                  <c:v>All Others</c:v>
                </c:pt>
                <c:pt idx="401">
                  <c:v>All Others</c:v>
                </c:pt>
                <c:pt idx="402">
                  <c:v>All Others</c:v>
                </c:pt>
                <c:pt idx="403">
                  <c:v>La Table M</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Other Suppl</c:v>
                </c:pt>
                <c:pt idx="449">
                  <c:v>All Others</c:v>
                </c:pt>
                <c:pt idx="450">
                  <c:v>All Others</c:v>
                </c:pt>
                <c:pt idx="451">
                  <c:v>Lactalis: A</c:v>
                </c:pt>
                <c:pt idx="452">
                  <c:v>All Others</c:v>
                </c:pt>
                <c:pt idx="453">
                  <c:v>All Others</c:v>
                </c:pt>
                <c:pt idx="454">
                  <c:v>All Others</c:v>
                </c:pt>
                <c:pt idx="455">
                  <c:v>All Others</c:v>
                </c:pt>
                <c:pt idx="456">
                  <c:v>All Others</c:v>
                </c:pt>
                <c:pt idx="457">
                  <c:v>All Others</c:v>
                </c:pt>
                <c:pt idx="458">
                  <c:v>All Others</c:v>
                </c:pt>
                <c:pt idx="459">
                  <c:v>All Others</c:v>
                </c:pt>
                <c:pt idx="460">
                  <c:v>Other Suppl</c:v>
                </c:pt>
                <c:pt idx="461">
                  <c:v>All Others</c:v>
                </c:pt>
                <c:pt idx="462">
                  <c:v>All Others</c:v>
                </c:pt>
                <c:pt idx="463">
                  <c:v>All Others</c:v>
                </c:pt>
                <c:pt idx="464">
                  <c:v>All Others</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Mini Babybe</c:v>
                </c:pt>
                <c:pt idx="477">
                  <c:v>Lactalis: A</c:v>
                </c:pt>
                <c:pt idx="478">
                  <c:v>All Others</c:v>
                </c:pt>
                <c:pt idx="479">
                  <c:v>All Others</c:v>
                </c:pt>
                <c:pt idx="480">
                  <c:v>All Others</c:v>
                </c:pt>
                <c:pt idx="481">
                  <c:v>All Others</c:v>
                </c:pt>
                <c:pt idx="482">
                  <c:v>All Others</c:v>
                </c:pt>
                <c:pt idx="483">
                  <c:v>All Others</c:v>
                </c:pt>
                <c:pt idx="484">
                  <c:v>All Others</c:v>
                </c:pt>
                <c:pt idx="485">
                  <c:v>All Others</c:v>
                </c:pt>
                <c:pt idx="486">
                  <c:v>Kiri</c:v>
                </c:pt>
                <c:pt idx="487">
                  <c:v>All Others</c:v>
                </c:pt>
                <c:pt idx="488">
                  <c:v>All Others</c:v>
                </c:pt>
                <c:pt idx="489">
                  <c:v>Caprice Des</c:v>
                </c:pt>
                <c:pt idx="490">
                  <c:v>All Others</c:v>
                </c:pt>
                <c:pt idx="491">
                  <c:v>All Others</c:v>
                </c:pt>
                <c:pt idx="492">
                  <c:v>All Others</c:v>
                </c:pt>
                <c:pt idx="493">
                  <c:v>All Others</c:v>
                </c:pt>
                <c:pt idx="494">
                  <c:v>Mini Babybe</c:v>
                </c:pt>
                <c:pt idx="495">
                  <c:v>All Others</c:v>
                </c:pt>
                <c:pt idx="496">
                  <c:v>Boursin</c:v>
                </c:pt>
                <c:pt idx="497">
                  <c:v>All Others</c:v>
                </c:pt>
                <c:pt idx="498">
                  <c:v>All Others</c:v>
                </c:pt>
                <c:pt idx="499">
                  <c:v>All Others</c:v>
                </c:pt>
                <c:pt idx="500">
                  <c:v>All Others</c:v>
                </c:pt>
                <c:pt idx="501">
                  <c:v>All Others</c:v>
                </c:pt>
                <c:pt idx="502">
                  <c:v>All Others</c:v>
                </c:pt>
                <c:pt idx="503">
                  <c:v>All Others</c:v>
                </c:pt>
                <c:pt idx="504">
                  <c:v>Saint Agur</c:v>
                </c:pt>
                <c:pt idx="505">
                  <c:v>Private Lab</c:v>
                </c:pt>
              </c:strCache>
            </c:strRef>
          </c:cat>
          <c:val>
            <c:numRef>
              <c:f>Sheet1!$B$2:$B$507</c:f>
              <c:numCache>
                <c:formatCode>General</c:formatCode>
                <c:ptCount val="506"/>
                <c:pt idx="0">
                  <c:v>1</c:v>
                </c:pt>
                <c:pt idx="1">
                  <c:v>0.99</c:v>
                </c:pt>
                <c:pt idx="2">
                  <c:v>0.99</c:v>
                </c:pt>
                <c:pt idx="3">
                  <c:v>0.98</c:v>
                </c:pt>
                <c:pt idx="4">
                  <c:v>1</c:v>
                </c:pt>
                <c:pt idx="5">
                  <c:v>0.99</c:v>
                </c:pt>
                <c:pt idx="6">
                  <c:v>1</c:v>
                </c:pt>
                <c:pt idx="7">
                  <c:v>1</c:v>
                </c:pt>
                <c:pt idx="8">
                  <c:v>1</c:v>
                </c:pt>
                <c:pt idx="9">
                  <c:v>1</c:v>
                </c:pt>
                <c:pt idx="10">
                  <c:v>1</c:v>
                </c:pt>
                <c:pt idx="11">
                  <c:v>0.97</c:v>
                </c:pt>
                <c:pt idx="12">
                  <c:v>0.99</c:v>
                </c:pt>
                <c:pt idx="13">
                  <c:v>0.99</c:v>
                </c:pt>
                <c:pt idx="14">
                  <c:v>0.98</c:v>
                </c:pt>
                <c:pt idx="15">
                  <c:v>0.97</c:v>
                </c:pt>
                <c:pt idx="16">
                  <c:v>0.99</c:v>
                </c:pt>
                <c:pt idx="17">
                  <c:v>0.97</c:v>
                </c:pt>
                <c:pt idx="18">
                  <c:v>0.98</c:v>
                </c:pt>
                <c:pt idx="19">
                  <c:v>0.99</c:v>
                </c:pt>
                <c:pt idx="20">
                  <c:v>0.99</c:v>
                </c:pt>
                <c:pt idx="21">
                  <c:v>0.99</c:v>
                </c:pt>
                <c:pt idx="22">
                  <c:v>0.99</c:v>
                </c:pt>
                <c:pt idx="23">
                  <c:v>1</c:v>
                </c:pt>
                <c:pt idx="24">
                  <c:v>1</c:v>
                </c:pt>
                <c:pt idx="25">
                  <c:v>0.98</c:v>
                </c:pt>
                <c:pt idx="26">
                  <c:v>0.99</c:v>
                </c:pt>
                <c:pt idx="27">
                  <c:v>1</c:v>
                </c:pt>
                <c:pt idx="28">
                  <c:v>0.97</c:v>
                </c:pt>
                <c:pt idx="29">
                  <c:v>0.99</c:v>
                </c:pt>
                <c:pt idx="30">
                  <c:v>1</c:v>
                </c:pt>
                <c:pt idx="31">
                  <c:v>0.99</c:v>
                </c:pt>
                <c:pt idx="32">
                  <c:v>1</c:v>
                </c:pt>
                <c:pt idx="33">
                  <c:v>0.96</c:v>
                </c:pt>
                <c:pt idx="34">
                  <c:v>0.99</c:v>
                </c:pt>
                <c:pt idx="35">
                  <c:v>0.99</c:v>
                </c:pt>
                <c:pt idx="36">
                  <c:v>0.99</c:v>
                </c:pt>
                <c:pt idx="37">
                  <c:v>0.95</c:v>
                </c:pt>
                <c:pt idx="38">
                  <c:v>1</c:v>
                </c:pt>
                <c:pt idx="39">
                  <c:v>1</c:v>
                </c:pt>
                <c:pt idx="40">
                  <c:v>0.95</c:v>
                </c:pt>
                <c:pt idx="41">
                  <c:v>0.98</c:v>
                </c:pt>
                <c:pt idx="42">
                  <c:v>0.93</c:v>
                </c:pt>
                <c:pt idx="43">
                  <c:v>0.89</c:v>
                </c:pt>
                <c:pt idx="44">
                  <c:v>0.99</c:v>
                </c:pt>
                <c:pt idx="45">
                  <c:v>0.99</c:v>
                </c:pt>
                <c:pt idx="46">
                  <c:v>0.98</c:v>
                </c:pt>
                <c:pt idx="47">
                  <c:v>0.42</c:v>
                </c:pt>
                <c:pt idx="48">
                  <c:v>1</c:v>
                </c:pt>
                <c:pt idx="49">
                  <c:v>0.99</c:v>
                </c:pt>
                <c:pt idx="50">
                  <c:v>0.99</c:v>
                </c:pt>
                <c:pt idx="51">
                  <c:v>0.99</c:v>
                </c:pt>
                <c:pt idx="52">
                  <c:v>0.93</c:v>
                </c:pt>
                <c:pt idx="53">
                  <c:v>0.99</c:v>
                </c:pt>
                <c:pt idx="54">
                  <c:v>0.88</c:v>
                </c:pt>
                <c:pt idx="55">
                  <c:v>0.99</c:v>
                </c:pt>
                <c:pt idx="56">
                  <c:v>1</c:v>
                </c:pt>
                <c:pt idx="57">
                  <c:v>0.96</c:v>
                </c:pt>
                <c:pt idx="58">
                  <c:v>0.89</c:v>
                </c:pt>
                <c:pt idx="59">
                  <c:v>0.75</c:v>
                </c:pt>
                <c:pt idx="60">
                  <c:v>0.97</c:v>
                </c:pt>
                <c:pt idx="61">
                  <c:v>0.71</c:v>
                </c:pt>
                <c:pt idx="62">
                  <c:v>0.99</c:v>
                </c:pt>
                <c:pt idx="63">
                  <c:v>0.99</c:v>
                </c:pt>
                <c:pt idx="64">
                  <c:v>0.96</c:v>
                </c:pt>
                <c:pt idx="65">
                  <c:v>0.94</c:v>
                </c:pt>
                <c:pt idx="66">
                  <c:v>0.99</c:v>
                </c:pt>
                <c:pt idx="67">
                  <c:v>0.88</c:v>
                </c:pt>
                <c:pt idx="68">
                  <c:v>0.95</c:v>
                </c:pt>
                <c:pt idx="69">
                  <c:v>0.99</c:v>
                </c:pt>
                <c:pt idx="70">
                  <c:v>0.92</c:v>
                </c:pt>
                <c:pt idx="71">
                  <c:v>0.92</c:v>
                </c:pt>
                <c:pt idx="72">
                  <c:v>0.7</c:v>
                </c:pt>
                <c:pt idx="73">
                  <c:v>0.97</c:v>
                </c:pt>
                <c:pt idx="74">
                  <c:v>0.99</c:v>
                </c:pt>
                <c:pt idx="75">
                  <c:v>0.97</c:v>
                </c:pt>
                <c:pt idx="76">
                  <c:v>0.98</c:v>
                </c:pt>
                <c:pt idx="77">
                  <c:v>0.99</c:v>
                </c:pt>
                <c:pt idx="78">
                  <c:v>0.96</c:v>
                </c:pt>
                <c:pt idx="79">
                  <c:v>0.99</c:v>
                </c:pt>
                <c:pt idx="80">
                  <c:v>0.96</c:v>
                </c:pt>
                <c:pt idx="81">
                  <c:v>0.99</c:v>
                </c:pt>
                <c:pt idx="82">
                  <c:v>0.97</c:v>
                </c:pt>
                <c:pt idx="83">
                  <c:v>0.9</c:v>
                </c:pt>
                <c:pt idx="84">
                  <c:v>0.67</c:v>
                </c:pt>
                <c:pt idx="85">
                  <c:v>0.89</c:v>
                </c:pt>
                <c:pt idx="86">
                  <c:v>0.9</c:v>
                </c:pt>
                <c:pt idx="87">
                  <c:v>1</c:v>
                </c:pt>
                <c:pt idx="88">
                  <c:v>0.98</c:v>
                </c:pt>
                <c:pt idx="89">
                  <c:v>0.95</c:v>
                </c:pt>
                <c:pt idx="90">
                  <c:v>0.8</c:v>
                </c:pt>
                <c:pt idx="91">
                  <c:v>0.84</c:v>
                </c:pt>
                <c:pt idx="92">
                  <c:v>0.97</c:v>
                </c:pt>
                <c:pt idx="93">
                  <c:v>0.94</c:v>
                </c:pt>
                <c:pt idx="94">
                  <c:v>0.95</c:v>
                </c:pt>
                <c:pt idx="95">
                  <c:v>0.87</c:v>
                </c:pt>
                <c:pt idx="96">
                  <c:v>0.98</c:v>
                </c:pt>
                <c:pt idx="97">
                  <c:v>0.81</c:v>
                </c:pt>
                <c:pt idx="98">
                  <c:v>0.94</c:v>
                </c:pt>
                <c:pt idx="99">
                  <c:v>0.47</c:v>
                </c:pt>
                <c:pt idx="100">
                  <c:v>0.9</c:v>
                </c:pt>
                <c:pt idx="101">
                  <c:v>0.9</c:v>
                </c:pt>
                <c:pt idx="102">
                  <c:v>0.79</c:v>
                </c:pt>
                <c:pt idx="103">
                  <c:v>0.69</c:v>
                </c:pt>
                <c:pt idx="104">
                  <c:v>0.56999999999999995</c:v>
                </c:pt>
                <c:pt idx="105">
                  <c:v>0.61</c:v>
                </c:pt>
                <c:pt idx="106">
                  <c:v>0.94</c:v>
                </c:pt>
                <c:pt idx="107">
                  <c:v>0.96</c:v>
                </c:pt>
                <c:pt idx="108">
                  <c:v>0.9</c:v>
                </c:pt>
                <c:pt idx="109">
                  <c:v>0.84</c:v>
                </c:pt>
                <c:pt idx="110">
                  <c:v>0.68</c:v>
                </c:pt>
                <c:pt idx="111">
                  <c:v>0.89</c:v>
                </c:pt>
                <c:pt idx="112">
                  <c:v>0.97</c:v>
                </c:pt>
                <c:pt idx="113">
                  <c:v>0.98</c:v>
                </c:pt>
                <c:pt idx="114">
                  <c:v>0.95</c:v>
                </c:pt>
                <c:pt idx="115">
                  <c:v>0.98</c:v>
                </c:pt>
                <c:pt idx="116">
                  <c:v>0.94</c:v>
                </c:pt>
                <c:pt idx="117">
                  <c:v>0.98</c:v>
                </c:pt>
                <c:pt idx="118">
                  <c:v>0.94</c:v>
                </c:pt>
                <c:pt idx="119">
                  <c:v>0.94</c:v>
                </c:pt>
                <c:pt idx="120">
                  <c:v>0.87</c:v>
                </c:pt>
                <c:pt idx="121">
                  <c:v>0.86</c:v>
                </c:pt>
                <c:pt idx="122">
                  <c:v>0.62</c:v>
                </c:pt>
                <c:pt idx="123">
                  <c:v>0.91</c:v>
                </c:pt>
                <c:pt idx="124">
                  <c:v>0.92</c:v>
                </c:pt>
                <c:pt idx="125">
                  <c:v>0.99</c:v>
                </c:pt>
                <c:pt idx="126">
                  <c:v>0.9</c:v>
                </c:pt>
                <c:pt idx="127">
                  <c:v>0.95</c:v>
                </c:pt>
                <c:pt idx="128">
                  <c:v>0.77</c:v>
                </c:pt>
                <c:pt idx="129">
                  <c:v>0.97</c:v>
                </c:pt>
                <c:pt idx="130">
                  <c:v>0.95</c:v>
                </c:pt>
                <c:pt idx="131">
                  <c:v>0.92</c:v>
                </c:pt>
                <c:pt idx="132">
                  <c:v>0.98</c:v>
                </c:pt>
                <c:pt idx="133">
                  <c:v>0.67</c:v>
                </c:pt>
                <c:pt idx="134">
                  <c:v>0.84</c:v>
                </c:pt>
                <c:pt idx="135">
                  <c:v>0.77</c:v>
                </c:pt>
                <c:pt idx="136">
                  <c:v>0.95</c:v>
                </c:pt>
                <c:pt idx="137">
                  <c:v>0.44</c:v>
                </c:pt>
                <c:pt idx="138">
                  <c:v>0.86</c:v>
                </c:pt>
                <c:pt idx="139">
                  <c:v>0.33</c:v>
                </c:pt>
                <c:pt idx="140">
                  <c:v>0.74</c:v>
                </c:pt>
                <c:pt idx="141">
                  <c:v>0.4</c:v>
                </c:pt>
                <c:pt idx="142">
                  <c:v>0.93</c:v>
                </c:pt>
                <c:pt idx="143">
                  <c:v>0.89</c:v>
                </c:pt>
                <c:pt idx="144">
                  <c:v>0.71</c:v>
                </c:pt>
                <c:pt idx="145">
                  <c:v>0.87</c:v>
                </c:pt>
                <c:pt idx="146">
                  <c:v>0.82</c:v>
                </c:pt>
                <c:pt idx="147">
                  <c:v>0.92</c:v>
                </c:pt>
                <c:pt idx="148">
                  <c:v>0.86</c:v>
                </c:pt>
                <c:pt idx="149">
                  <c:v>0.97</c:v>
                </c:pt>
                <c:pt idx="150">
                  <c:v>0.9</c:v>
                </c:pt>
                <c:pt idx="151">
                  <c:v>0.87</c:v>
                </c:pt>
                <c:pt idx="152">
                  <c:v>0.92</c:v>
                </c:pt>
                <c:pt idx="153">
                  <c:v>0.97</c:v>
                </c:pt>
                <c:pt idx="154">
                  <c:v>0.62</c:v>
                </c:pt>
                <c:pt idx="155">
                  <c:v>0.86</c:v>
                </c:pt>
                <c:pt idx="156">
                  <c:v>0.78</c:v>
                </c:pt>
                <c:pt idx="157">
                  <c:v>0.45</c:v>
                </c:pt>
                <c:pt idx="158">
                  <c:v>0.5</c:v>
                </c:pt>
                <c:pt idx="159">
                  <c:v>0.72</c:v>
                </c:pt>
                <c:pt idx="160">
                  <c:v>0.87</c:v>
                </c:pt>
                <c:pt idx="161">
                  <c:v>0.42</c:v>
                </c:pt>
                <c:pt idx="162">
                  <c:v>0.53</c:v>
                </c:pt>
                <c:pt idx="163">
                  <c:v>0.67</c:v>
                </c:pt>
                <c:pt idx="164">
                  <c:v>0.85</c:v>
                </c:pt>
                <c:pt idx="165">
                  <c:v>0.9</c:v>
                </c:pt>
                <c:pt idx="166">
                  <c:v>0.9</c:v>
                </c:pt>
                <c:pt idx="167">
                  <c:v>0.79</c:v>
                </c:pt>
                <c:pt idx="168">
                  <c:v>0.71</c:v>
                </c:pt>
                <c:pt idx="169">
                  <c:v>0.33</c:v>
                </c:pt>
                <c:pt idx="170">
                  <c:v>0.85</c:v>
                </c:pt>
                <c:pt idx="171">
                  <c:v>0.86</c:v>
                </c:pt>
                <c:pt idx="172">
                  <c:v>0.89</c:v>
                </c:pt>
                <c:pt idx="173">
                  <c:v>0.9</c:v>
                </c:pt>
                <c:pt idx="174">
                  <c:v>0.83</c:v>
                </c:pt>
                <c:pt idx="175">
                  <c:v>0.73</c:v>
                </c:pt>
                <c:pt idx="176">
                  <c:v>0.85</c:v>
                </c:pt>
                <c:pt idx="177">
                  <c:v>0.95</c:v>
                </c:pt>
                <c:pt idx="178">
                  <c:v>0.73</c:v>
                </c:pt>
                <c:pt idx="179">
                  <c:v>0.84</c:v>
                </c:pt>
                <c:pt idx="180">
                  <c:v>0.66</c:v>
                </c:pt>
                <c:pt idx="181">
                  <c:v>0.59</c:v>
                </c:pt>
                <c:pt idx="182">
                  <c:v>0.81</c:v>
                </c:pt>
                <c:pt idx="183">
                  <c:v>0.93</c:v>
                </c:pt>
                <c:pt idx="184">
                  <c:v>0.56000000000000005</c:v>
                </c:pt>
                <c:pt idx="185">
                  <c:v>0.74</c:v>
                </c:pt>
                <c:pt idx="186">
                  <c:v>0.79</c:v>
                </c:pt>
                <c:pt idx="187">
                  <c:v>0.56999999999999995</c:v>
                </c:pt>
                <c:pt idx="188">
                  <c:v>0.96</c:v>
                </c:pt>
                <c:pt idx="189">
                  <c:v>0.8</c:v>
                </c:pt>
                <c:pt idx="190">
                  <c:v>0.2</c:v>
                </c:pt>
                <c:pt idx="191">
                  <c:v>0.52</c:v>
                </c:pt>
                <c:pt idx="192">
                  <c:v>0.61</c:v>
                </c:pt>
                <c:pt idx="193">
                  <c:v>0.74</c:v>
                </c:pt>
                <c:pt idx="194">
                  <c:v>0.42</c:v>
                </c:pt>
                <c:pt idx="195">
                  <c:v>0.5</c:v>
                </c:pt>
                <c:pt idx="196">
                  <c:v>0.22</c:v>
                </c:pt>
                <c:pt idx="197">
                  <c:v>0.28000000000000003</c:v>
                </c:pt>
                <c:pt idx="198">
                  <c:v>0.87</c:v>
                </c:pt>
                <c:pt idx="199">
                  <c:v>0.81</c:v>
                </c:pt>
                <c:pt idx="200">
                  <c:v>0.79</c:v>
                </c:pt>
                <c:pt idx="201">
                  <c:v>0.2</c:v>
                </c:pt>
                <c:pt idx="202">
                  <c:v>0.61</c:v>
                </c:pt>
                <c:pt idx="203">
                  <c:v>0.45</c:v>
                </c:pt>
                <c:pt idx="204">
                  <c:v>0.84</c:v>
                </c:pt>
                <c:pt idx="205">
                  <c:v>0.86</c:v>
                </c:pt>
                <c:pt idx="206">
                  <c:v>0.86</c:v>
                </c:pt>
                <c:pt idx="207">
                  <c:v>0.3</c:v>
                </c:pt>
                <c:pt idx="208">
                  <c:v>0.39</c:v>
                </c:pt>
                <c:pt idx="209">
                  <c:v>0.11</c:v>
                </c:pt>
                <c:pt idx="210">
                  <c:v>0.43</c:v>
                </c:pt>
                <c:pt idx="211">
                  <c:v>0.75</c:v>
                </c:pt>
                <c:pt idx="212">
                  <c:v>0.86</c:v>
                </c:pt>
                <c:pt idx="213">
                  <c:v>0.66</c:v>
                </c:pt>
                <c:pt idx="214">
                  <c:v>0.46</c:v>
                </c:pt>
                <c:pt idx="215">
                  <c:v>0.47</c:v>
                </c:pt>
                <c:pt idx="216">
                  <c:v>0.21</c:v>
                </c:pt>
                <c:pt idx="217">
                  <c:v>0.62</c:v>
                </c:pt>
                <c:pt idx="218">
                  <c:v>0.51</c:v>
                </c:pt>
                <c:pt idx="219">
                  <c:v>0.56000000000000005</c:v>
                </c:pt>
                <c:pt idx="220">
                  <c:v>0.36</c:v>
                </c:pt>
                <c:pt idx="221">
                  <c:v>0.61</c:v>
                </c:pt>
                <c:pt idx="222">
                  <c:v>0.83</c:v>
                </c:pt>
                <c:pt idx="223">
                  <c:v>0.69</c:v>
                </c:pt>
                <c:pt idx="224">
                  <c:v>0.54</c:v>
                </c:pt>
                <c:pt idx="225">
                  <c:v>0.7</c:v>
                </c:pt>
                <c:pt idx="226">
                  <c:v>0.6</c:v>
                </c:pt>
                <c:pt idx="227">
                  <c:v>0.64</c:v>
                </c:pt>
                <c:pt idx="228">
                  <c:v>0.52</c:v>
                </c:pt>
                <c:pt idx="229">
                  <c:v>0.7</c:v>
                </c:pt>
                <c:pt idx="230">
                  <c:v>0.7</c:v>
                </c:pt>
                <c:pt idx="231">
                  <c:v>0.52</c:v>
                </c:pt>
                <c:pt idx="232">
                  <c:v>0.39</c:v>
                </c:pt>
                <c:pt idx="233">
                  <c:v>0.27</c:v>
                </c:pt>
                <c:pt idx="234">
                  <c:v>0.24</c:v>
                </c:pt>
                <c:pt idx="235">
                  <c:v>0.39</c:v>
                </c:pt>
                <c:pt idx="236">
                  <c:v>0.56000000000000005</c:v>
                </c:pt>
                <c:pt idx="237">
                  <c:v>0.28000000000000003</c:v>
                </c:pt>
                <c:pt idx="238">
                  <c:v>0.5</c:v>
                </c:pt>
                <c:pt idx="239">
                  <c:v>0.31</c:v>
                </c:pt>
                <c:pt idx="240">
                  <c:v>0.31</c:v>
                </c:pt>
                <c:pt idx="241">
                  <c:v>0.72</c:v>
                </c:pt>
                <c:pt idx="242">
                  <c:v>0.06</c:v>
                </c:pt>
                <c:pt idx="243">
                  <c:v>0.15</c:v>
                </c:pt>
                <c:pt idx="244">
                  <c:v>0.18</c:v>
                </c:pt>
                <c:pt idx="245">
                  <c:v>0.23</c:v>
                </c:pt>
                <c:pt idx="246">
                  <c:v>0.08</c:v>
                </c:pt>
                <c:pt idx="247">
                  <c:v>0.56999999999999995</c:v>
                </c:pt>
                <c:pt idx="248">
                  <c:v>0.15</c:v>
                </c:pt>
                <c:pt idx="249">
                  <c:v>0.6</c:v>
                </c:pt>
                <c:pt idx="250">
                  <c:v>0.59</c:v>
                </c:pt>
                <c:pt idx="251">
                  <c:v>0.51</c:v>
                </c:pt>
                <c:pt idx="252">
                  <c:v>0.53</c:v>
                </c:pt>
                <c:pt idx="253">
                  <c:v>0.57999999999999996</c:v>
                </c:pt>
                <c:pt idx="254">
                  <c:v>0.56000000000000005</c:v>
                </c:pt>
                <c:pt idx="255">
                  <c:v>0.35</c:v>
                </c:pt>
                <c:pt idx="256">
                  <c:v>0.23</c:v>
                </c:pt>
                <c:pt idx="257">
                  <c:v>0.18</c:v>
                </c:pt>
                <c:pt idx="258">
                  <c:v>0.13</c:v>
                </c:pt>
                <c:pt idx="259">
                  <c:v>0.19</c:v>
                </c:pt>
                <c:pt idx="260">
                  <c:v>0.1</c:v>
                </c:pt>
                <c:pt idx="261">
                  <c:v>0.37</c:v>
                </c:pt>
                <c:pt idx="262">
                  <c:v>0.6</c:v>
                </c:pt>
                <c:pt idx="263">
                  <c:v>0.67</c:v>
                </c:pt>
                <c:pt idx="264">
                  <c:v>0.28000000000000003</c:v>
                </c:pt>
                <c:pt idx="265">
                  <c:v>0.18</c:v>
                </c:pt>
                <c:pt idx="266">
                  <c:v>0.21</c:v>
                </c:pt>
                <c:pt idx="267">
                  <c:v>0.62</c:v>
                </c:pt>
                <c:pt idx="268">
                  <c:v>0.67</c:v>
                </c:pt>
                <c:pt idx="269">
                  <c:v>7.0000000000000007E-2</c:v>
                </c:pt>
                <c:pt idx="270">
                  <c:v>0.11</c:v>
                </c:pt>
                <c:pt idx="271">
                  <c:v>0.74</c:v>
                </c:pt>
                <c:pt idx="272">
                  <c:v>0.13</c:v>
                </c:pt>
                <c:pt idx="273">
                  <c:v>0.41</c:v>
                </c:pt>
                <c:pt idx="274">
                  <c:v>0.06</c:v>
                </c:pt>
                <c:pt idx="275">
                  <c:v>0.22</c:v>
                </c:pt>
                <c:pt idx="276">
                  <c:v>0.15</c:v>
                </c:pt>
                <c:pt idx="277">
                  <c:v>0.4</c:v>
                </c:pt>
                <c:pt idx="278">
                  <c:v>0.28000000000000003</c:v>
                </c:pt>
                <c:pt idx="279">
                  <c:v>0.26</c:v>
                </c:pt>
                <c:pt idx="280">
                  <c:v>0.44</c:v>
                </c:pt>
                <c:pt idx="281">
                  <c:v>0.24</c:v>
                </c:pt>
                <c:pt idx="282">
                  <c:v>0.53</c:v>
                </c:pt>
                <c:pt idx="283">
                  <c:v>0.15</c:v>
                </c:pt>
                <c:pt idx="284">
                  <c:v>0.05</c:v>
                </c:pt>
                <c:pt idx="285">
                  <c:v>0.44</c:v>
                </c:pt>
                <c:pt idx="286">
                  <c:v>0.06</c:v>
                </c:pt>
                <c:pt idx="287">
                  <c:v>0.18</c:v>
                </c:pt>
                <c:pt idx="288">
                  <c:v>0.23</c:v>
                </c:pt>
                <c:pt idx="289">
                  <c:v>0.16</c:v>
                </c:pt>
                <c:pt idx="290">
                  <c:v>0.1</c:v>
                </c:pt>
                <c:pt idx="291">
                  <c:v>0.14000000000000001</c:v>
                </c:pt>
                <c:pt idx="292">
                  <c:v>0.16</c:v>
                </c:pt>
                <c:pt idx="293">
                  <c:v>0.09</c:v>
                </c:pt>
                <c:pt idx="294">
                  <c:v>0.03</c:v>
                </c:pt>
                <c:pt idx="295">
                  <c:v>7.0000000000000007E-2</c:v>
                </c:pt>
                <c:pt idx="296">
                  <c:v>0.12</c:v>
                </c:pt>
                <c:pt idx="297">
                  <c:v>0.04</c:v>
                </c:pt>
                <c:pt idx="298">
                  <c:v>0.04</c:v>
                </c:pt>
                <c:pt idx="299">
                  <c:v>0.05</c:v>
                </c:pt>
                <c:pt idx="300">
                  <c:v>0.05</c:v>
                </c:pt>
                <c:pt idx="301">
                  <c:v>7.0000000000000007E-2</c:v>
                </c:pt>
                <c:pt idx="302">
                  <c:v>0.04</c:v>
                </c:pt>
                <c:pt idx="303">
                  <c:v>0.15</c:v>
                </c:pt>
                <c:pt idx="304">
                  <c:v>0.1</c:v>
                </c:pt>
                <c:pt idx="305">
                  <c:v>0.05</c:v>
                </c:pt>
                <c:pt idx="306">
                  <c:v>0.05</c:v>
                </c:pt>
                <c:pt idx="307">
                  <c:v>0.28000000000000003</c:v>
                </c:pt>
                <c:pt idx="308">
                  <c:v>0.14000000000000001</c:v>
                </c:pt>
                <c:pt idx="309">
                  <c:v>0.05</c:v>
                </c:pt>
                <c:pt idx="310">
                  <c:v>0.18</c:v>
                </c:pt>
                <c:pt idx="311">
                  <c:v>0.06</c:v>
                </c:pt>
                <c:pt idx="312">
                  <c:v>7.0000000000000007E-2</c:v>
                </c:pt>
                <c:pt idx="313">
                  <c:v>0.05</c:v>
                </c:pt>
                <c:pt idx="314">
                  <c:v>0.36</c:v>
                </c:pt>
                <c:pt idx="315">
                  <c:v>0.03</c:v>
                </c:pt>
                <c:pt idx="316">
                  <c:v>0.06</c:v>
                </c:pt>
                <c:pt idx="317">
                  <c:v>0.1</c:v>
                </c:pt>
                <c:pt idx="318">
                  <c:v>0.09</c:v>
                </c:pt>
                <c:pt idx="319">
                  <c:v>0.14000000000000001</c:v>
                </c:pt>
                <c:pt idx="320">
                  <c:v>0.1</c:v>
                </c:pt>
                <c:pt idx="321">
                  <c:v>0.01</c:v>
                </c:pt>
                <c:pt idx="322">
                  <c:v>0.08</c:v>
                </c:pt>
                <c:pt idx="323">
                  <c:v>0.53</c:v>
                </c:pt>
                <c:pt idx="324">
                  <c:v>0.03</c:v>
                </c:pt>
                <c:pt idx="325">
                  <c:v>0.02</c:v>
                </c:pt>
                <c:pt idx="326">
                  <c:v>0.05</c:v>
                </c:pt>
                <c:pt idx="327">
                  <c:v>0.16</c:v>
                </c:pt>
                <c:pt idx="328">
                  <c:v>0.14000000000000001</c:v>
                </c:pt>
                <c:pt idx="329">
                  <c:v>7.0000000000000007E-2</c:v>
                </c:pt>
                <c:pt idx="330">
                  <c:v>0.05</c:v>
                </c:pt>
                <c:pt idx="331">
                  <c:v>0.11</c:v>
                </c:pt>
                <c:pt idx="332">
                  <c:v>0.12</c:v>
                </c:pt>
                <c:pt idx="333">
                  <c:v>0.06</c:v>
                </c:pt>
                <c:pt idx="334">
                  <c:v>7.0000000000000007E-2</c:v>
                </c:pt>
                <c:pt idx="335">
                  <c:v>0.02</c:v>
                </c:pt>
                <c:pt idx="336">
                  <c:v>7.0000000000000007E-2</c:v>
                </c:pt>
                <c:pt idx="337">
                  <c:v>0.03</c:v>
                </c:pt>
                <c:pt idx="338">
                  <c:v>0.04</c:v>
                </c:pt>
                <c:pt idx="339">
                  <c:v>0.01</c:v>
                </c:pt>
                <c:pt idx="340">
                  <c:v>0.03</c:v>
                </c:pt>
                <c:pt idx="341">
                  <c:v>0.1</c:v>
                </c:pt>
                <c:pt idx="342">
                  <c:v>0.02</c:v>
                </c:pt>
                <c:pt idx="343">
                  <c:v>7.0000000000000007E-2</c:v>
                </c:pt>
                <c:pt idx="344">
                  <c:v>0.03</c:v>
                </c:pt>
                <c:pt idx="345">
                  <c:v>0.06</c:v>
                </c:pt>
                <c:pt idx="346">
                  <c:v>7.0000000000000007E-2</c:v>
                </c:pt>
                <c:pt idx="347">
                  <c:v>0.11</c:v>
                </c:pt>
                <c:pt idx="348">
                  <c:v>0.04</c:v>
                </c:pt>
                <c:pt idx="349">
                  <c:v>0.04</c:v>
                </c:pt>
                <c:pt idx="350">
                  <c:v>0.13</c:v>
                </c:pt>
                <c:pt idx="351">
                  <c:v>0.13</c:v>
                </c:pt>
                <c:pt idx="352">
                  <c:v>0.06</c:v>
                </c:pt>
                <c:pt idx="353">
                  <c:v>0.17</c:v>
                </c:pt>
                <c:pt idx="354">
                  <c:v>0.13</c:v>
                </c:pt>
                <c:pt idx="355">
                  <c:v>0.01</c:v>
                </c:pt>
                <c:pt idx="356">
                  <c:v>0.11</c:v>
                </c:pt>
                <c:pt idx="357">
                  <c:v>0.06</c:v>
                </c:pt>
                <c:pt idx="358">
                  <c:v>0.04</c:v>
                </c:pt>
                <c:pt idx="359">
                  <c:v>0.12</c:v>
                </c:pt>
                <c:pt idx="360">
                  <c:v>0.04</c:v>
                </c:pt>
                <c:pt idx="361">
                  <c:v>0.04</c:v>
                </c:pt>
                <c:pt idx="362">
                  <c:v>0.04</c:v>
                </c:pt>
                <c:pt idx="363">
                  <c:v>0.02</c:v>
                </c:pt>
                <c:pt idx="364">
                  <c:v>0.04</c:v>
                </c:pt>
                <c:pt idx="365">
                  <c:v>0.02</c:v>
                </c:pt>
                <c:pt idx="366">
                  <c:v>0.12</c:v>
                </c:pt>
                <c:pt idx="367">
                  <c:v>0.04</c:v>
                </c:pt>
                <c:pt idx="368">
                  <c:v>0.03</c:v>
                </c:pt>
                <c:pt idx="369">
                  <c:v>0.06</c:v>
                </c:pt>
                <c:pt idx="370">
                  <c:v>0.05</c:v>
                </c:pt>
                <c:pt idx="371">
                  <c:v>0.04</c:v>
                </c:pt>
                <c:pt idx="372">
                  <c:v>7.0000000000000007E-2</c:v>
                </c:pt>
                <c:pt idx="373">
                  <c:v>0.03</c:v>
                </c:pt>
                <c:pt idx="374">
                  <c:v>0.03</c:v>
                </c:pt>
                <c:pt idx="375">
                  <c:v>0.01</c:v>
                </c:pt>
                <c:pt idx="376">
                  <c:v>0.04</c:v>
                </c:pt>
                <c:pt idx="377">
                  <c:v>0.04</c:v>
                </c:pt>
                <c:pt idx="378">
                  <c:v>0.03</c:v>
                </c:pt>
                <c:pt idx="379">
                  <c:v>0.04</c:v>
                </c:pt>
                <c:pt idx="380">
                  <c:v>0.01</c:v>
                </c:pt>
                <c:pt idx="381">
                  <c:v>0.01</c:v>
                </c:pt>
                <c:pt idx="382">
                  <c:v>0.1</c:v>
                </c:pt>
                <c:pt idx="383">
                  <c:v>0.04</c:v>
                </c:pt>
                <c:pt idx="384">
                  <c:v>0.01</c:v>
                </c:pt>
                <c:pt idx="385">
                  <c:v>0.01</c:v>
                </c:pt>
                <c:pt idx="386">
                  <c:v>0.02</c:v>
                </c:pt>
                <c:pt idx="387">
                  <c:v>0.03</c:v>
                </c:pt>
                <c:pt idx="388">
                  <c:v>0.04</c:v>
                </c:pt>
                <c:pt idx="389">
                  <c:v>0.03</c:v>
                </c:pt>
                <c:pt idx="390">
                  <c:v>0.01</c:v>
                </c:pt>
                <c:pt idx="391">
                  <c:v>0.02</c:v>
                </c:pt>
                <c:pt idx="392">
                  <c:v>0.01</c:v>
                </c:pt>
                <c:pt idx="393">
                  <c:v>0.01</c:v>
                </c:pt>
                <c:pt idx="394">
                  <c:v>0.09</c:v>
                </c:pt>
                <c:pt idx="395">
                  <c:v>0.08</c:v>
                </c:pt>
                <c:pt idx="396">
                  <c:v>0.01</c:v>
                </c:pt>
                <c:pt idx="397">
                  <c:v>0.06</c:v>
                </c:pt>
                <c:pt idx="398">
                  <c:v>0.03</c:v>
                </c:pt>
                <c:pt idx="399">
                  <c:v>0.02</c:v>
                </c:pt>
                <c:pt idx="400">
                  <c:v>0.02</c:v>
                </c:pt>
                <c:pt idx="401">
                  <c:v>0.01</c:v>
                </c:pt>
                <c:pt idx="402">
                  <c:v>0.02</c:v>
                </c:pt>
                <c:pt idx="403">
                  <c:v>0.02</c:v>
                </c:pt>
                <c:pt idx="404">
                  <c:v>0.02</c:v>
                </c:pt>
                <c:pt idx="405">
                  <c:v>0.02</c:v>
                </c:pt>
                <c:pt idx="406">
                  <c:v>0.01</c:v>
                </c:pt>
                <c:pt idx="407">
                  <c:v>0.02</c:v>
                </c:pt>
                <c:pt idx="408">
                  <c:v>0.01</c:v>
                </c:pt>
                <c:pt idx="409">
                  <c:v>0.01</c:v>
                </c:pt>
                <c:pt idx="410">
                  <c:v>7.0000000000000007E-2</c:v>
                </c:pt>
                <c:pt idx="411">
                  <c:v>0.01</c:v>
                </c:pt>
                <c:pt idx="412">
                  <c:v>0.01</c:v>
                </c:pt>
                <c:pt idx="413">
                  <c:v>0.02</c:v>
                </c:pt>
                <c:pt idx="414">
                  <c:v>0.01</c:v>
                </c:pt>
                <c:pt idx="415">
                  <c:v>0.01</c:v>
                </c:pt>
                <c:pt idx="416">
                  <c:v>0.01</c:v>
                </c:pt>
                <c:pt idx="417">
                  <c:v>0.01</c:v>
                </c:pt>
                <c:pt idx="418">
                  <c:v>0.01</c:v>
                </c:pt>
                <c:pt idx="419">
                  <c:v>0.01</c:v>
                </c:pt>
                <c:pt idx="420">
                  <c:v>0.01</c:v>
                </c:pt>
                <c:pt idx="421">
                  <c:v>0.01</c:v>
                </c:pt>
                <c:pt idx="422">
                  <c:v>0.02</c:v>
                </c:pt>
                <c:pt idx="423">
                  <c:v>0.05</c:v>
                </c:pt>
                <c:pt idx="424">
                  <c:v>0.01</c:v>
                </c:pt>
                <c:pt idx="425">
                  <c:v>0.02</c:v>
                </c:pt>
                <c:pt idx="426">
                  <c:v>0.01</c:v>
                </c:pt>
                <c:pt idx="427">
                  <c:v>0.02</c:v>
                </c:pt>
                <c:pt idx="428">
                  <c:v>0.02</c:v>
                </c:pt>
                <c:pt idx="429">
                  <c:v>0.02</c:v>
                </c:pt>
                <c:pt idx="430">
                  <c:v>0.01</c:v>
                </c:pt>
                <c:pt idx="431">
                  <c:v>0.02</c:v>
                </c:pt>
                <c:pt idx="432">
                  <c:v>0.01</c:v>
                </c:pt>
                <c:pt idx="433">
                  <c:v>0.02</c:v>
                </c:pt>
                <c:pt idx="434">
                  <c:v>0.01</c:v>
                </c:pt>
                <c:pt idx="435">
                  <c:v>0.02</c:v>
                </c:pt>
                <c:pt idx="436">
                  <c:v>0.01</c:v>
                </c:pt>
                <c:pt idx="437">
                  <c:v>0.02</c:v>
                </c:pt>
                <c:pt idx="438">
                  <c:v>0.01</c:v>
                </c:pt>
                <c:pt idx="439">
                  <c:v>0.02</c:v>
                </c:pt>
                <c:pt idx="440">
                  <c:v>0.02</c:v>
                </c:pt>
                <c:pt idx="441">
                  <c:v>0.02</c:v>
                </c:pt>
                <c:pt idx="442">
                  <c:v>0.02</c:v>
                </c:pt>
                <c:pt idx="443">
                  <c:v>0.01</c:v>
                </c:pt>
                <c:pt idx="444">
                  <c:v>0.04</c:v>
                </c:pt>
                <c:pt idx="445">
                  <c:v>0.01</c:v>
                </c:pt>
                <c:pt idx="446">
                  <c:v>0.01</c:v>
                </c:pt>
                <c:pt idx="447">
                  <c:v>0.01</c:v>
                </c:pt>
                <c:pt idx="448">
                  <c:v>0.04</c:v>
                </c:pt>
                <c:pt idx="449">
                  <c:v>0.02</c:v>
                </c:pt>
                <c:pt idx="450">
                  <c:v>0.02</c:v>
                </c:pt>
                <c:pt idx="451">
                  <c:v>0.02</c:v>
                </c:pt>
                <c:pt idx="452">
                  <c:v>0.01</c:v>
                </c:pt>
                <c:pt idx="453">
                  <c:v>0.01</c:v>
                </c:pt>
                <c:pt idx="454">
                  <c:v>0.02</c:v>
                </c:pt>
                <c:pt idx="455">
                  <c:v>0.01</c:v>
                </c:pt>
                <c:pt idx="456">
                  <c:v>0.02</c:v>
                </c:pt>
                <c:pt idx="457">
                  <c:v>0.01</c:v>
                </c:pt>
                <c:pt idx="458">
                  <c:v>0.03</c:v>
                </c:pt>
                <c:pt idx="459">
                  <c:v>0.01</c:v>
                </c:pt>
                <c:pt idx="460">
                  <c:v>0.02</c:v>
                </c:pt>
                <c:pt idx="461">
                  <c:v>0.01</c:v>
                </c:pt>
                <c:pt idx="462">
                  <c:v>0.01</c:v>
                </c:pt>
                <c:pt idx="463">
                  <c:v>0.01</c:v>
                </c:pt>
                <c:pt idx="464">
                  <c:v>0.01</c:v>
                </c:pt>
                <c:pt idx="465">
                  <c:v>0.04</c:v>
                </c:pt>
                <c:pt idx="466">
                  <c:v>0.01</c:v>
                </c:pt>
                <c:pt idx="467">
                  <c:v>0.01</c:v>
                </c:pt>
                <c:pt idx="468">
                  <c:v>0.01</c:v>
                </c:pt>
                <c:pt idx="469">
                  <c:v>0.01</c:v>
                </c:pt>
                <c:pt idx="470">
                  <c:v>0.01</c:v>
                </c:pt>
                <c:pt idx="471">
                  <c:v>0.01</c:v>
                </c:pt>
                <c:pt idx="472">
                  <c:v>0.04</c:v>
                </c:pt>
                <c:pt idx="473">
                  <c:v>0.03</c:v>
                </c:pt>
                <c:pt idx="474">
                  <c:v>0.02</c:v>
                </c:pt>
                <c:pt idx="475">
                  <c:v>0.03</c:v>
                </c:pt>
                <c:pt idx="476">
                  <c:v>0.11</c:v>
                </c:pt>
                <c:pt idx="477">
                  <c:v>0.01</c:v>
                </c:pt>
                <c:pt idx="478">
                  <c:v>0.01</c:v>
                </c:pt>
                <c:pt idx="479">
                  <c:v>0.01</c:v>
                </c:pt>
                <c:pt idx="480">
                  <c:v>0.01</c:v>
                </c:pt>
                <c:pt idx="481">
                  <c:v>0.01</c:v>
                </c:pt>
                <c:pt idx="482">
                  <c:v>0.01</c:v>
                </c:pt>
                <c:pt idx="483">
                  <c:v>0.01</c:v>
                </c:pt>
                <c:pt idx="484">
                  <c:v>0.01</c:v>
                </c:pt>
                <c:pt idx="485">
                  <c:v>0.01</c:v>
                </c:pt>
                <c:pt idx="486">
                  <c:v>0.09</c:v>
                </c:pt>
                <c:pt idx="487">
                  <c:v>0.01</c:v>
                </c:pt>
                <c:pt idx="488">
                  <c:v>0.01</c:v>
                </c:pt>
                <c:pt idx="489">
                  <c:v>0.04</c:v>
                </c:pt>
                <c:pt idx="490">
                  <c:v>0.01</c:v>
                </c:pt>
                <c:pt idx="491">
                  <c:v>0.01</c:v>
                </c:pt>
                <c:pt idx="492">
                  <c:v>0.02</c:v>
                </c:pt>
                <c:pt idx="493">
                  <c:v>0.01</c:v>
                </c:pt>
                <c:pt idx="494">
                  <c:v>0.02</c:v>
                </c:pt>
                <c:pt idx="495">
                  <c:v>0.01</c:v>
                </c:pt>
                <c:pt idx="496">
                  <c:v>0.06</c:v>
                </c:pt>
                <c:pt idx="497">
                  <c:v>0.01</c:v>
                </c:pt>
                <c:pt idx="498">
                  <c:v>0.01</c:v>
                </c:pt>
                <c:pt idx="499">
                  <c:v>0.01</c:v>
                </c:pt>
                <c:pt idx="500">
                  <c:v>0.01</c:v>
                </c:pt>
                <c:pt idx="501">
                  <c:v>0.01</c:v>
                </c:pt>
                <c:pt idx="502">
                  <c:v>0.01</c:v>
                </c:pt>
                <c:pt idx="503">
                  <c:v>0.01</c:v>
                </c:pt>
                <c:pt idx="504">
                  <c:v>0.01</c:v>
                </c:pt>
                <c:pt idx="50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2D27-4D0B-B5E6-C6853413723E}"/>
              </c:ext>
            </c:extLst>
          </c:dPt>
          <c:dPt>
            <c:idx val="211"/>
            <c:invertIfNegative val="1"/>
            <c:bubble3D val="0"/>
            <c:spPr>
              <a:solidFill>
                <a:srgbClr val="AEABAB"/>
              </a:solidFill>
            </c:spPr>
            <c:extLst>
              <c:ext xmlns:c16="http://schemas.microsoft.com/office/drawing/2014/chart" uri="{C3380CC4-5D6E-409C-BE32-E72D297353CC}">
                <c16:uniqueId val="{000001A9-2D27-4D0B-B5E6-C6853413723E}"/>
              </c:ext>
            </c:extLst>
          </c:dPt>
          <c:dPt>
            <c:idx val="212"/>
            <c:invertIfNegative val="1"/>
            <c:bubble3D val="0"/>
            <c:spPr>
              <a:solidFill>
                <a:srgbClr val="AEABAB"/>
              </a:solidFill>
            </c:spPr>
            <c:extLst>
              <c:ext xmlns:c16="http://schemas.microsoft.com/office/drawing/2014/chart" uri="{C3380CC4-5D6E-409C-BE32-E72D297353CC}">
                <c16:uniqueId val="{000001AB-2D27-4D0B-B5E6-C6853413723E}"/>
              </c:ext>
            </c:extLst>
          </c:dPt>
          <c:dPt>
            <c:idx val="213"/>
            <c:invertIfNegative val="1"/>
            <c:bubble3D val="0"/>
            <c:spPr>
              <a:solidFill>
                <a:srgbClr val="AEABAB"/>
              </a:solidFill>
            </c:spPr>
            <c:extLst>
              <c:ext xmlns:c16="http://schemas.microsoft.com/office/drawing/2014/chart" uri="{C3380CC4-5D6E-409C-BE32-E72D297353CC}">
                <c16:uniqueId val="{000001AD-2D27-4D0B-B5E6-C6853413723E}"/>
              </c:ext>
            </c:extLst>
          </c:dPt>
          <c:dPt>
            <c:idx val="214"/>
            <c:invertIfNegative val="1"/>
            <c:bubble3D val="0"/>
            <c:spPr>
              <a:solidFill>
                <a:srgbClr val="AEABAB"/>
              </a:solidFill>
            </c:spPr>
            <c:extLst>
              <c:ext xmlns:c16="http://schemas.microsoft.com/office/drawing/2014/chart" uri="{C3380CC4-5D6E-409C-BE32-E72D297353CC}">
                <c16:uniqueId val="{000001AF-2D27-4D0B-B5E6-C6853413723E}"/>
              </c:ext>
            </c:extLst>
          </c:dPt>
          <c:dPt>
            <c:idx val="215"/>
            <c:invertIfNegative val="1"/>
            <c:bubble3D val="0"/>
            <c:spPr>
              <a:solidFill>
                <a:srgbClr val="AEABAB"/>
              </a:solidFill>
            </c:spPr>
            <c:extLst>
              <c:ext xmlns:c16="http://schemas.microsoft.com/office/drawing/2014/chart" uri="{C3380CC4-5D6E-409C-BE32-E72D297353CC}">
                <c16:uniqueId val="{000001B1-2D27-4D0B-B5E6-C6853413723E}"/>
              </c:ext>
            </c:extLst>
          </c:dPt>
          <c:dPt>
            <c:idx val="216"/>
            <c:invertIfNegative val="1"/>
            <c:bubble3D val="0"/>
            <c:spPr>
              <a:solidFill>
                <a:srgbClr val="AEABAB"/>
              </a:solidFill>
            </c:spPr>
            <c:extLst>
              <c:ext xmlns:c16="http://schemas.microsoft.com/office/drawing/2014/chart" uri="{C3380CC4-5D6E-409C-BE32-E72D297353CC}">
                <c16:uniqueId val="{000001B3-2D27-4D0B-B5E6-C6853413723E}"/>
              </c:ext>
            </c:extLst>
          </c:dPt>
          <c:dPt>
            <c:idx val="217"/>
            <c:invertIfNegative val="1"/>
            <c:bubble3D val="0"/>
            <c:spPr>
              <a:solidFill>
                <a:srgbClr val="AEABAB"/>
              </a:solidFill>
            </c:spPr>
            <c:extLst>
              <c:ext xmlns:c16="http://schemas.microsoft.com/office/drawing/2014/chart" uri="{C3380CC4-5D6E-409C-BE32-E72D297353CC}">
                <c16:uniqueId val="{000001B5-2D27-4D0B-B5E6-C6853413723E}"/>
              </c:ext>
            </c:extLst>
          </c:dPt>
          <c:dPt>
            <c:idx val="218"/>
            <c:invertIfNegative val="1"/>
            <c:bubble3D val="0"/>
            <c:spPr>
              <a:solidFill>
                <a:srgbClr val="AEABAB"/>
              </a:solidFill>
            </c:spPr>
            <c:extLst>
              <c:ext xmlns:c16="http://schemas.microsoft.com/office/drawing/2014/chart" uri="{C3380CC4-5D6E-409C-BE32-E72D297353CC}">
                <c16:uniqueId val="{000001B7-2D27-4D0B-B5E6-C6853413723E}"/>
              </c:ext>
            </c:extLst>
          </c:dPt>
          <c:dPt>
            <c:idx val="219"/>
            <c:invertIfNegative val="1"/>
            <c:bubble3D val="0"/>
            <c:spPr>
              <a:solidFill>
                <a:srgbClr val="AEABAB"/>
              </a:solidFill>
            </c:spPr>
            <c:extLst>
              <c:ext xmlns:c16="http://schemas.microsoft.com/office/drawing/2014/chart" uri="{C3380CC4-5D6E-409C-BE32-E72D297353CC}">
                <c16:uniqueId val="{000001B9-2D27-4D0B-B5E6-C6853413723E}"/>
              </c:ext>
            </c:extLst>
          </c:dPt>
          <c:dPt>
            <c:idx val="220"/>
            <c:invertIfNegative val="1"/>
            <c:bubble3D val="0"/>
            <c:spPr>
              <a:solidFill>
                <a:srgbClr val="AEABAB"/>
              </a:solidFill>
            </c:spPr>
            <c:extLst>
              <c:ext xmlns:c16="http://schemas.microsoft.com/office/drawing/2014/chart" uri="{C3380CC4-5D6E-409C-BE32-E72D297353CC}">
                <c16:uniqueId val="{000001BB-2D27-4D0B-B5E6-C6853413723E}"/>
              </c:ext>
            </c:extLst>
          </c:dPt>
          <c:dPt>
            <c:idx val="221"/>
            <c:invertIfNegative val="1"/>
            <c:bubble3D val="0"/>
            <c:spPr>
              <a:solidFill>
                <a:srgbClr val="AEABAB"/>
              </a:solidFill>
            </c:spPr>
            <c:extLst>
              <c:ext xmlns:c16="http://schemas.microsoft.com/office/drawing/2014/chart" uri="{C3380CC4-5D6E-409C-BE32-E72D297353CC}">
                <c16:uniqueId val="{000001BD-2D27-4D0B-B5E6-C6853413723E}"/>
              </c:ext>
            </c:extLst>
          </c:dPt>
          <c:dPt>
            <c:idx val="222"/>
            <c:invertIfNegative val="1"/>
            <c:bubble3D val="0"/>
            <c:spPr>
              <a:solidFill>
                <a:srgbClr val="AEABAB"/>
              </a:solidFill>
            </c:spPr>
            <c:extLst>
              <c:ext xmlns:c16="http://schemas.microsoft.com/office/drawing/2014/chart" uri="{C3380CC4-5D6E-409C-BE32-E72D297353CC}">
                <c16:uniqueId val="{000001BF-2D27-4D0B-B5E6-C6853413723E}"/>
              </c:ext>
            </c:extLst>
          </c:dPt>
          <c:dPt>
            <c:idx val="223"/>
            <c:invertIfNegative val="1"/>
            <c:bubble3D val="0"/>
            <c:spPr>
              <a:solidFill>
                <a:srgbClr val="AEABAB"/>
              </a:solidFill>
            </c:spPr>
            <c:extLst>
              <c:ext xmlns:c16="http://schemas.microsoft.com/office/drawing/2014/chart" uri="{C3380CC4-5D6E-409C-BE32-E72D297353CC}">
                <c16:uniqueId val="{000001C1-2D27-4D0B-B5E6-C6853413723E}"/>
              </c:ext>
            </c:extLst>
          </c:dPt>
          <c:dPt>
            <c:idx val="224"/>
            <c:invertIfNegative val="1"/>
            <c:bubble3D val="0"/>
            <c:spPr>
              <a:solidFill>
                <a:srgbClr val="AEABAB"/>
              </a:solidFill>
            </c:spPr>
            <c:extLst>
              <c:ext xmlns:c16="http://schemas.microsoft.com/office/drawing/2014/chart" uri="{C3380CC4-5D6E-409C-BE32-E72D297353CC}">
                <c16:uniqueId val="{000001C3-2D27-4D0B-B5E6-C6853413723E}"/>
              </c:ext>
            </c:extLst>
          </c:dPt>
          <c:dPt>
            <c:idx val="225"/>
            <c:invertIfNegative val="1"/>
            <c:bubble3D val="0"/>
            <c:spPr>
              <a:solidFill>
                <a:srgbClr val="AEABAB"/>
              </a:solidFill>
            </c:spPr>
            <c:extLst>
              <c:ext xmlns:c16="http://schemas.microsoft.com/office/drawing/2014/chart" uri="{C3380CC4-5D6E-409C-BE32-E72D297353CC}">
                <c16:uniqueId val="{000001C5-2D27-4D0B-B5E6-C6853413723E}"/>
              </c:ext>
            </c:extLst>
          </c:dPt>
          <c:dPt>
            <c:idx val="226"/>
            <c:invertIfNegative val="1"/>
            <c:bubble3D val="0"/>
            <c:spPr>
              <a:solidFill>
                <a:srgbClr val="AEABAB"/>
              </a:solidFill>
            </c:spPr>
            <c:extLst>
              <c:ext xmlns:c16="http://schemas.microsoft.com/office/drawing/2014/chart" uri="{C3380CC4-5D6E-409C-BE32-E72D297353CC}">
                <c16:uniqueId val="{000001C7-2D27-4D0B-B5E6-C6853413723E}"/>
              </c:ext>
            </c:extLst>
          </c:dPt>
          <c:dPt>
            <c:idx val="227"/>
            <c:invertIfNegative val="1"/>
            <c:bubble3D val="0"/>
            <c:spPr>
              <a:solidFill>
                <a:srgbClr val="AEABAB"/>
              </a:solidFill>
            </c:spPr>
            <c:extLst>
              <c:ext xmlns:c16="http://schemas.microsoft.com/office/drawing/2014/chart" uri="{C3380CC4-5D6E-409C-BE32-E72D297353CC}">
                <c16:uniqueId val="{000001C9-2D27-4D0B-B5E6-C6853413723E}"/>
              </c:ext>
            </c:extLst>
          </c:dPt>
          <c:dPt>
            <c:idx val="228"/>
            <c:invertIfNegative val="1"/>
            <c:bubble3D val="0"/>
            <c:spPr>
              <a:solidFill>
                <a:srgbClr val="AEABAB"/>
              </a:solidFill>
            </c:spPr>
            <c:extLst>
              <c:ext xmlns:c16="http://schemas.microsoft.com/office/drawing/2014/chart" uri="{C3380CC4-5D6E-409C-BE32-E72D297353CC}">
                <c16:uniqueId val="{000001CB-2D27-4D0B-B5E6-C6853413723E}"/>
              </c:ext>
            </c:extLst>
          </c:dPt>
          <c:dPt>
            <c:idx val="229"/>
            <c:invertIfNegative val="1"/>
            <c:bubble3D val="0"/>
            <c:spPr>
              <a:solidFill>
                <a:srgbClr val="AEABAB"/>
              </a:solidFill>
            </c:spPr>
            <c:extLst>
              <c:ext xmlns:c16="http://schemas.microsoft.com/office/drawing/2014/chart" uri="{C3380CC4-5D6E-409C-BE32-E72D297353CC}">
                <c16:uniqueId val="{000001CD-2D27-4D0B-B5E6-C6853413723E}"/>
              </c:ext>
            </c:extLst>
          </c:dPt>
          <c:dPt>
            <c:idx val="230"/>
            <c:invertIfNegative val="1"/>
            <c:bubble3D val="0"/>
            <c:spPr>
              <a:solidFill>
                <a:srgbClr val="AEABAB"/>
              </a:solidFill>
            </c:spPr>
            <c:extLst>
              <c:ext xmlns:c16="http://schemas.microsoft.com/office/drawing/2014/chart" uri="{C3380CC4-5D6E-409C-BE32-E72D297353CC}">
                <c16:uniqueId val="{000001CF-2D27-4D0B-B5E6-C6853413723E}"/>
              </c:ext>
            </c:extLst>
          </c:dPt>
          <c:dPt>
            <c:idx val="231"/>
            <c:invertIfNegative val="1"/>
            <c:bubble3D val="0"/>
            <c:spPr>
              <a:solidFill>
                <a:srgbClr val="AEABAB"/>
              </a:solidFill>
            </c:spPr>
            <c:extLst>
              <c:ext xmlns:c16="http://schemas.microsoft.com/office/drawing/2014/chart" uri="{C3380CC4-5D6E-409C-BE32-E72D297353CC}">
                <c16:uniqueId val="{000001D1-2D27-4D0B-B5E6-C6853413723E}"/>
              </c:ext>
            </c:extLst>
          </c:dPt>
          <c:dPt>
            <c:idx val="232"/>
            <c:invertIfNegative val="1"/>
            <c:bubble3D val="0"/>
            <c:spPr>
              <a:solidFill>
                <a:srgbClr val="AEABAB"/>
              </a:solidFill>
            </c:spPr>
            <c:extLst>
              <c:ext xmlns:c16="http://schemas.microsoft.com/office/drawing/2014/chart" uri="{C3380CC4-5D6E-409C-BE32-E72D297353CC}">
                <c16:uniqueId val="{000001D3-2D27-4D0B-B5E6-C6853413723E}"/>
              </c:ext>
            </c:extLst>
          </c:dPt>
          <c:dPt>
            <c:idx val="233"/>
            <c:invertIfNegative val="1"/>
            <c:bubble3D val="0"/>
            <c:spPr>
              <a:solidFill>
                <a:srgbClr val="AEABAB"/>
              </a:solidFill>
            </c:spPr>
            <c:extLst>
              <c:ext xmlns:c16="http://schemas.microsoft.com/office/drawing/2014/chart" uri="{C3380CC4-5D6E-409C-BE32-E72D297353CC}">
                <c16:uniqueId val="{000001D5-2D27-4D0B-B5E6-C6853413723E}"/>
              </c:ext>
            </c:extLst>
          </c:dPt>
          <c:dPt>
            <c:idx val="234"/>
            <c:invertIfNegative val="1"/>
            <c:bubble3D val="0"/>
            <c:spPr>
              <a:solidFill>
                <a:srgbClr val="AEABAB"/>
              </a:solidFill>
            </c:spPr>
            <c:extLst>
              <c:ext xmlns:c16="http://schemas.microsoft.com/office/drawing/2014/chart" uri="{C3380CC4-5D6E-409C-BE32-E72D297353CC}">
                <c16:uniqueId val="{000001D7-2D27-4D0B-B5E6-C6853413723E}"/>
              </c:ext>
            </c:extLst>
          </c:dPt>
          <c:dPt>
            <c:idx val="235"/>
            <c:invertIfNegative val="1"/>
            <c:bubble3D val="0"/>
            <c:spPr>
              <a:solidFill>
                <a:srgbClr val="AEABAB"/>
              </a:solidFill>
            </c:spPr>
            <c:extLst>
              <c:ext xmlns:c16="http://schemas.microsoft.com/office/drawing/2014/chart" uri="{C3380CC4-5D6E-409C-BE32-E72D297353CC}">
                <c16:uniqueId val="{000001D9-2D27-4D0B-B5E6-C6853413723E}"/>
              </c:ext>
            </c:extLst>
          </c:dPt>
          <c:dPt>
            <c:idx val="236"/>
            <c:invertIfNegative val="1"/>
            <c:bubble3D val="0"/>
            <c:spPr>
              <a:solidFill>
                <a:srgbClr val="AEABAB"/>
              </a:solidFill>
            </c:spPr>
            <c:extLst>
              <c:ext xmlns:c16="http://schemas.microsoft.com/office/drawing/2014/chart" uri="{C3380CC4-5D6E-409C-BE32-E72D297353CC}">
                <c16:uniqueId val="{000001DB-2D27-4D0B-B5E6-C6853413723E}"/>
              </c:ext>
            </c:extLst>
          </c:dPt>
          <c:dPt>
            <c:idx val="237"/>
            <c:invertIfNegative val="1"/>
            <c:bubble3D val="0"/>
            <c:spPr>
              <a:solidFill>
                <a:srgbClr val="AEABAB"/>
              </a:solidFill>
            </c:spPr>
            <c:extLst>
              <c:ext xmlns:c16="http://schemas.microsoft.com/office/drawing/2014/chart" uri="{C3380CC4-5D6E-409C-BE32-E72D297353CC}">
                <c16:uniqueId val="{000001DD-2D27-4D0B-B5E6-C6853413723E}"/>
              </c:ext>
            </c:extLst>
          </c:dPt>
          <c:dPt>
            <c:idx val="238"/>
            <c:invertIfNegative val="1"/>
            <c:bubble3D val="0"/>
            <c:spPr>
              <a:solidFill>
                <a:srgbClr val="AEABAB"/>
              </a:solidFill>
            </c:spPr>
            <c:extLst>
              <c:ext xmlns:c16="http://schemas.microsoft.com/office/drawing/2014/chart" uri="{C3380CC4-5D6E-409C-BE32-E72D297353CC}">
                <c16:uniqueId val="{000001DF-2D27-4D0B-B5E6-C6853413723E}"/>
              </c:ext>
            </c:extLst>
          </c:dPt>
          <c:dPt>
            <c:idx val="239"/>
            <c:invertIfNegative val="1"/>
            <c:bubble3D val="0"/>
            <c:spPr>
              <a:solidFill>
                <a:srgbClr val="AEABAB"/>
              </a:solidFill>
            </c:spPr>
            <c:extLst>
              <c:ext xmlns:c16="http://schemas.microsoft.com/office/drawing/2014/chart" uri="{C3380CC4-5D6E-409C-BE32-E72D297353CC}">
                <c16:uniqueId val="{000001E1-2D27-4D0B-B5E6-C6853413723E}"/>
              </c:ext>
            </c:extLst>
          </c:dPt>
          <c:dPt>
            <c:idx val="240"/>
            <c:invertIfNegative val="1"/>
            <c:bubble3D val="0"/>
            <c:spPr>
              <a:solidFill>
                <a:srgbClr val="AEABAB"/>
              </a:solidFill>
            </c:spPr>
            <c:extLst>
              <c:ext xmlns:c16="http://schemas.microsoft.com/office/drawing/2014/chart" uri="{C3380CC4-5D6E-409C-BE32-E72D297353CC}">
                <c16:uniqueId val="{000001E3-2D27-4D0B-B5E6-C6853413723E}"/>
              </c:ext>
            </c:extLst>
          </c:dPt>
          <c:dPt>
            <c:idx val="241"/>
            <c:invertIfNegative val="1"/>
            <c:bubble3D val="0"/>
            <c:spPr>
              <a:solidFill>
                <a:srgbClr val="AEABAB"/>
              </a:solidFill>
            </c:spPr>
            <c:extLst>
              <c:ext xmlns:c16="http://schemas.microsoft.com/office/drawing/2014/chart" uri="{C3380CC4-5D6E-409C-BE32-E72D297353CC}">
                <c16:uniqueId val="{000001E5-2D27-4D0B-B5E6-C6853413723E}"/>
              </c:ext>
            </c:extLst>
          </c:dPt>
          <c:dPt>
            <c:idx val="242"/>
            <c:invertIfNegative val="1"/>
            <c:bubble3D val="0"/>
            <c:spPr>
              <a:solidFill>
                <a:srgbClr val="AEABAB"/>
              </a:solidFill>
            </c:spPr>
            <c:extLst>
              <c:ext xmlns:c16="http://schemas.microsoft.com/office/drawing/2014/chart" uri="{C3380CC4-5D6E-409C-BE32-E72D297353CC}">
                <c16:uniqueId val="{000001E7-2D27-4D0B-B5E6-C6853413723E}"/>
              </c:ext>
            </c:extLst>
          </c:dPt>
          <c:dPt>
            <c:idx val="243"/>
            <c:invertIfNegative val="1"/>
            <c:bubble3D val="0"/>
            <c:spPr>
              <a:solidFill>
                <a:srgbClr val="AEABAB"/>
              </a:solidFill>
            </c:spPr>
            <c:extLst>
              <c:ext xmlns:c16="http://schemas.microsoft.com/office/drawing/2014/chart" uri="{C3380CC4-5D6E-409C-BE32-E72D297353CC}">
                <c16:uniqueId val="{000001E9-2D27-4D0B-B5E6-C6853413723E}"/>
              </c:ext>
            </c:extLst>
          </c:dPt>
          <c:dPt>
            <c:idx val="244"/>
            <c:invertIfNegative val="1"/>
            <c:bubble3D val="0"/>
            <c:spPr>
              <a:solidFill>
                <a:srgbClr val="AEABAB"/>
              </a:solidFill>
            </c:spPr>
            <c:extLst>
              <c:ext xmlns:c16="http://schemas.microsoft.com/office/drawing/2014/chart" uri="{C3380CC4-5D6E-409C-BE32-E72D297353CC}">
                <c16:uniqueId val="{000001EB-2D27-4D0B-B5E6-C6853413723E}"/>
              </c:ext>
            </c:extLst>
          </c:dPt>
          <c:dPt>
            <c:idx val="245"/>
            <c:invertIfNegative val="1"/>
            <c:bubble3D val="0"/>
            <c:spPr>
              <a:solidFill>
                <a:srgbClr val="AEABAB"/>
              </a:solidFill>
            </c:spPr>
            <c:extLst>
              <c:ext xmlns:c16="http://schemas.microsoft.com/office/drawing/2014/chart" uri="{C3380CC4-5D6E-409C-BE32-E72D297353CC}">
                <c16:uniqueId val="{000001ED-2D27-4D0B-B5E6-C6853413723E}"/>
              </c:ext>
            </c:extLst>
          </c:dPt>
          <c:dPt>
            <c:idx val="246"/>
            <c:invertIfNegative val="1"/>
            <c:bubble3D val="0"/>
            <c:spPr>
              <a:solidFill>
                <a:srgbClr val="AEABAB"/>
              </a:solidFill>
            </c:spPr>
            <c:extLst>
              <c:ext xmlns:c16="http://schemas.microsoft.com/office/drawing/2014/chart" uri="{C3380CC4-5D6E-409C-BE32-E72D297353CC}">
                <c16:uniqueId val="{000001EF-2D27-4D0B-B5E6-C6853413723E}"/>
              </c:ext>
            </c:extLst>
          </c:dPt>
          <c:dPt>
            <c:idx val="247"/>
            <c:invertIfNegative val="1"/>
            <c:bubble3D val="0"/>
            <c:spPr>
              <a:solidFill>
                <a:srgbClr val="AEABAB"/>
              </a:solidFill>
            </c:spPr>
            <c:extLst>
              <c:ext xmlns:c16="http://schemas.microsoft.com/office/drawing/2014/chart" uri="{C3380CC4-5D6E-409C-BE32-E72D297353CC}">
                <c16:uniqueId val="{000001F1-2D27-4D0B-B5E6-C6853413723E}"/>
              </c:ext>
            </c:extLst>
          </c:dPt>
          <c:dPt>
            <c:idx val="248"/>
            <c:invertIfNegative val="1"/>
            <c:bubble3D val="0"/>
            <c:spPr>
              <a:solidFill>
                <a:srgbClr val="AEABAB"/>
              </a:solidFill>
            </c:spPr>
            <c:extLst>
              <c:ext xmlns:c16="http://schemas.microsoft.com/office/drawing/2014/chart" uri="{C3380CC4-5D6E-409C-BE32-E72D297353CC}">
                <c16:uniqueId val="{000001F3-2D27-4D0B-B5E6-C6853413723E}"/>
              </c:ext>
            </c:extLst>
          </c:dPt>
          <c:dPt>
            <c:idx val="249"/>
            <c:invertIfNegative val="1"/>
            <c:bubble3D val="0"/>
            <c:spPr>
              <a:solidFill>
                <a:srgbClr val="AEABAB"/>
              </a:solidFill>
            </c:spPr>
            <c:extLst>
              <c:ext xmlns:c16="http://schemas.microsoft.com/office/drawing/2014/chart" uri="{C3380CC4-5D6E-409C-BE32-E72D297353CC}">
                <c16:uniqueId val="{000001F5-2D27-4D0B-B5E6-C6853413723E}"/>
              </c:ext>
            </c:extLst>
          </c:dPt>
          <c:dPt>
            <c:idx val="250"/>
            <c:invertIfNegative val="1"/>
            <c:bubble3D val="0"/>
            <c:spPr>
              <a:solidFill>
                <a:srgbClr val="AEABAB"/>
              </a:solidFill>
            </c:spPr>
            <c:extLst>
              <c:ext xmlns:c16="http://schemas.microsoft.com/office/drawing/2014/chart" uri="{C3380CC4-5D6E-409C-BE32-E72D297353CC}">
                <c16:uniqueId val="{000001F7-2D27-4D0B-B5E6-C6853413723E}"/>
              </c:ext>
            </c:extLst>
          </c:dPt>
          <c:dPt>
            <c:idx val="251"/>
            <c:invertIfNegative val="1"/>
            <c:bubble3D val="0"/>
            <c:spPr>
              <a:solidFill>
                <a:srgbClr val="AEABAB"/>
              </a:solidFill>
            </c:spPr>
            <c:extLst>
              <c:ext xmlns:c16="http://schemas.microsoft.com/office/drawing/2014/chart" uri="{C3380CC4-5D6E-409C-BE32-E72D297353CC}">
                <c16:uniqueId val="{000001F9-2D27-4D0B-B5E6-C6853413723E}"/>
              </c:ext>
            </c:extLst>
          </c:dPt>
          <c:dPt>
            <c:idx val="252"/>
            <c:invertIfNegative val="1"/>
            <c:bubble3D val="0"/>
            <c:spPr>
              <a:solidFill>
                <a:srgbClr val="AEABAB"/>
              </a:solidFill>
            </c:spPr>
            <c:extLst>
              <c:ext xmlns:c16="http://schemas.microsoft.com/office/drawing/2014/chart" uri="{C3380CC4-5D6E-409C-BE32-E72D297353CC}">
                <c16:uniqueId val="{000001FB-2D27-4D0B-B5E6-C6853413723E}"/>
              </c:ext>
            </c:extLst>
          </c:dPt>
          <c:dPt>
            <c:idx val="253"/>
            <c:invertIfNegative val="1"/>
            <c:bubble3D val="0"/>
            <c:spPr>
              <a:solidFill>
                <a:srgbClr val="AEABAB"/>
              </a:solidFill>
            </c:spPr>
            <c:extLst>
              <c:ext xmlns:c16="http://schemas.microsoft.com/office/drawing/2014/chart" uri="{C3380CC4-5D6E-409C-BE32-E72D297353CC}">
                <c16:uniqueId val="{000001FD-2D27-4D0B-B5E6-C6853413723E}"/>
              </c:ext>
            </c:extLst>
          </c:dPt>
          <c:dPt>
            <c:idx val="254"/>
            <c:invertIfNegative val="1"/>
            <c:bubble3D val="0"/>
            <c:spPr>
              <a:solidFill>
                <a:srgbClr val="AEABAB"/>
              </a:solidFill>
            </c:spPr>
            <c:extLst>
              <c:ext xmlns:c16="http://schemas.microsoft.com/office/drawing/2014/chart" uri="{C3380CC4-5D6E-409C-BE32-E72D297353CC}">
                <c16:uniqueId val="{000001FF-2D27-4D0B-B5E6-C6853413723E}"/>
              </c:ext>
            </c:extLst>
          </c:dPt>
          <c:dPt>
            <c:idx val="255"/>
            <c:invertIfNegative val="1"/>
            <c:bubble3D val="0"/>
            <c:spPr>
              <a:solidFill>
                <a:srgbClr val="AEABAB"/>
              </a:solidFill>
            </c:spPr>
            <c:extLst>
              <c:ext xmlns:c16="http://schemas.microsoft.com/office/drawing/2014/chart" uri="{C3380CC4-5D6E-409C-BE32-E72D297353CC}">
                <c16:uniqueId val="{00000201-2D27-4D0B-B5E6-C6853413723E}"/>
              </c:ext>
            </c:extLst>
          </c:dPt>
          <c:dPt>
            <c:idx val="256"/>
            <c:invertIfNegative val="1"/>
            <c:bubble3D val="0"/>
            <c:spPr>
              <a:solidFill>
                <a:srgbClr val="AEABAB"/>
              </a:solidFill>
            </c:spPr>
            <c:extLst>
              <c:ext xmlns:c16="http://schemas.microsoft.com/office/drawing/2014/chart" uri="{C3380CC4-5D6E-409C-BE32-E72D297353CC}">
                <c16:uniqueId val="{00000203-2D27-4D0B-B5E6-C6853413723E}"/>
              </c:ext>
            </c:extLst>
          </c:dPt>
          <c:dPt>
            <c:idx val="257"/>
            <c:invertIfNegative val="1"/>
            <c:bubble3D val="0"/>
            <c:spPr>
              <a:solidFill>
                <a:srgbClr val="AEABAB"/>
              </a:solidFill>
            </c:spPr>
            <c:extLst>
              <c:ext xmlns:c16="http://schemas.microsoft.com/office/drawing/2014/chart" uri="{C3380CC4-5D6E-409C-BE32-E72D297353CC}">
                <c16:uniqueId val="{00000205-2D27-4D0B-B5E6-C6853413723E}"/>
              </c:ext>
            </c:extLst>
          </c:dPt>
          <c:dPt>
            <c:idx val="258"/>
            <c:invertIfNegative val="1"/>
            <c:bubble3D val="0"/>
            <c:spPr>
              <a:solidFill>
                <a:srgbClr val="AEABAB"/>
              </a:solidFill>
            </c:spPr>
            <c:extLst>
              <c:ext xmlns:c16="http://schemas.microsoft.com/office/drawing/2014/chart" uri="{C3380CC4-5D6E-409C-BE32-E72D297353CC}">
                <c16:uniqueId val="{00000207-2D27-4D0B-B5E6-C6853413723E}"/>
              </c:ext>
            </c:extLst>
          </c:dPt>
          <c:dPt>
            <c:idx val="259"/>
            <c:invertIfNegative val="1"/>
            <c:bubble3D val="0"/>
            <c:spPr>
              <a:solidFill>
                <a:srgbClr val="AEABAB"/>
              </a:solidFill>
            </c:spPr>
            <c:extLst>
              <c:ext xmlns:c16="http://schemas.microsoft.com/office/drawing/2014/chart" uri="{C3380CC4-5D6E-409C-BE32-E72D297353CC}">
                <c16:uniqueId val="{00000209-2D27-4D0B-B5E6-C6853413723E}"/>
              </c:ext>
            </c:extLst>
          </c:dPt>
          <c:dPt>
            <c:idx val="260"/>
            <c:invertIfNegative val="1"/>
            <c:bubble3D val="0"/>
            <c:spPr>
              <a:solidFill>
                <a:srgbClr val="AEABAB"/>
              </a:solidFill>
            </c:spPr>
            <c:extLst>
              <c:ext xmlns:c16="http://schemas.microsoft.com/office/drawing/2014/chart" uri="{C3380CC4-5D6E-409C-BE32-E72D297353CC}">
                <c16:uniqueId val="{0000020B-2D27-4D0B-B5E6-C6853413723E}"/>
              </c:ext>
            </c:extLst>
          </c:dPt>
          <c:dPt>
            <c:idx val="261"/>
            <c:invertIfNegative val="1"/>
            <c:bubble3D val="0"/>
            <c:spPr>
              <a:solidFill>
                <a:srgbClr val="AEABAB"/>
              </a:solidFill>
            </c:spPr>
            <c:extLst>
              <c:ext xmlns:c16="http://schemas.microsoft.com/office/drawing/2014/chart" uri="{C3380CC4-5D6E-409C-BE32-E72D297353CC}">
                <c16:uniqueId val="{0000020D-2D27-4D0B-B5E6-C6853413723E}"/>
              </c:ext>
            </c:extLst>
          </c:dPt>
          <c:dPt>
            <c:idx val="262"/>
            <c:invertIfNegative val="1"/>
            <c:bubble3D val="0"/>
            <c:spPr>
              <a:solidFill>
                <a:srgbClr val="AEABAB"/>
              </a:solidFill>
            </c:spPr>
            <c:extLst>
              <c:ext xmlns:c16="http://schemas.microsoft.com/office/drawing/2014/chart" uri="{C3380CC4-5D6E-409C-BE32-E72D297353CC}">
                <c16:uniqueId val="{0000020F-2D27-4D0B-B5E6-C6853413723E}"/>
              </c:ext>
            </c:extLst>
          </c:dPt>
          <c:dPt>
            <c:idx val="263"/>
            <c:invertIfNegative val="1"/>
            <c:bubble3D val="0"/>
            <c:spPr>
              <a:solidFill>
                <a:srgbClr val="AEABAB"/>
              </a:solidFill>
            </c:spPr>
            <c:extLst>
              <c:ext xmlns:c16="http://schemas.microsoft.com/office/drawing/2014/chart" uri="{C3380CC4-5D6E-409C-BE32-E72D297353CC}">
                <c16:uniqueId val="{00000211-2D27-4D0B-B5E6-C6853413723E}"/>
              </c:ext>
            </c:extLst>
          </c:dPt>
          <c:dPt>
            <c:idx val="264"/>
            <c:invertIfNegative val="1"/>
            <c:bubble3D val="0"/>
            <c:spPr>
              <a:solidFill>
                <a:srgbClr val="AEABAB"/>
              </a:solidFill>
            </c:spPr>
            <c:extLst>
              <c:ext xmlns:c16="http://schemas.microsoft.com/office/drawing/2014/chart" uri="{C3380CC4-5D6E-409C-BE32-E72D297353CC}">
                <c16:uniqueId val="{00000213-2D27-4D0B-B5E6-C6853413723E}"/>
              </c:ext>
            </c:extLst>
          </c:dPt>
          <c:dPt>
            <c:idx val="265"/>
            <c:invertIfNegative val="1"/>
            <c:bubble3D val="0"/>
            <c:spPr>
              <a:solidFill>
                <a:srgbClr val="AEABAB"/>
              </a:solidFill>
            </c:spPr>
            <c:extLst>
              <c:ext xmlns:c16="http://schemas.microsoft.com/office/drawing/2014/chart" uri="{C3380CC4-5D6E-409C-BE32-E72D297353CC}">
                <c16:uniqueId val="{00000215-2D27-4D0B-B5E6-C6853413723E}"/>
              </c:ext>
            </c:extLst>
          </c:dPt>
          <c:dPt>
            <c:idx val="266"/>
            <c:invertIfNegative val="1"/>
            <c:bubble3D val="0"/>
            <c:spPr>
              <a:solidFill>
                <a:srgbClr val="AEABAB"/>
              </a:solidFill>
            </c:spPr>
            <c:extLst>
              <c:ext xmlns:c16="http://schemas.microsoft.com/office/drawing/2014/chart" uri="{C3380CC4-5D6E-409C-BE32-E72D297353CC}">
                <c16:uniqueId val="{00000217-2D27-4D0B-B5E6-C6853413723E}"/>
              </c:ext>
            </c:extLst>
          </c:dPt>
          <c:dPt>
            <c:idx val="267"/>
            <c:invertIfNegative val="1"/>
            <c:bubble3D val="0"/>
            <c:spPr>
              <a:solidFill>
                <a:srgbClr val="AEABAB"/>
              </a:solidFill>
            </c:spPr>
            <c:extLst>
              <c:ext xmlns:c16="http://schemas.microsoft.com/office/drawing/2014/chart" uri="{C3380CC4-5D6E-409C-BE32-E72D297353CC}">
                <c16:uniqueId val="{00000219-2D27-4D0B-B5E6-C6853413723E}"/>
              </c:ext>
            </c:extLst>
          </c:dPt>
          <c:dPt>
            <c:idx val="268"/>
            <c:invertIfNegative val="1"/>
            <c:bubble3D val="0"/>
            <c:spPr>
              <a:solidFill>
                <a:srgbClr val="AEABAB"/>
              </a:solidFill>
            </c:spPr>
            <c:extLst>
              <c:ext xmlns:c16="http://schemas.microsoft.com/office/drawing/2014/chart" uri="{C3380CC4-5D6E-409C-BE32-E72D297353CC}">
                <c16:uniqueId val="{0000021B-2D27-4D0B-B5E6-C6853413723E}"/>
              </c:ext>
            </c:extLst>
          </c:dPt>
          <c:dPt>
            <c:idx val="269"/>
            <c:invertIfNegative val="1"/>
            <c:bubble3D val="0"/>
            <c:spPr>
              <a:solidFill>
                <a:srgbClr val="AEABAB"/>
              </a:solidFill>
            </c:spPr>
            <c:extLst>
              <c:ext xmlns:c16="http://schemas.microsoft.com/office/drawing/2014/chart" uri="{C3380CC4-5D6E-409C-BE32-E72D297353CC}">
                <c16:uniqueId val="{0000021D-2D27-4D0B-B5E6-C6853413723E}"/>
              </c:ext>
            </c:extLst>
          </c:dPt>
          <c:dPt>
            <c:idx val="270"/>
            <c:invertIfNegative val="1"/>
            <c:bubble3D val="0"/>
            <c:spPr>
              <a:solidFill>
                <a:srgbClr val="AEABAB"/>
              </a:solidFill>
            </c:spPr>
            <c:extLst>
              <c:ext xmlns:c16="http://schemas.microsoft.com/office/drawing/2014/chart" uri="{C3380CC4-5D6E-409C-BE32-E72D297353CC}">
                <c16:uniqueId val="{0000021F-2D27-4D0B-B5E6-C6853413723E}"/>
              </c:ext>
            </c:extLst>
          </c:dPt>
          <c:dPt>
            <c:idx val="271"/>
            <c:invertIfNegative val="1"/>
            <c:bubble3D val="0"/>
            <c:spPr>
              <a:solidFill>
                <a:srgbClr val="AEABAB"/>
              </a:solidFill>
            </c:spPr>
            <c:extLst>
              <c:ext xmlns:c16="http://schemas.microsoft.com/office/drawing/2014/chart" uri="{C3380CC4-5D6E-409C-BE32-E72D297353CC}">
                <c16:uniqueId val="{00000221-2D27-4D0B-B5E6-C6853413723E}"/>
              </c:ext>
            </c:extLst>
          </c:dPt>
          <c:dPt>
            <c:idx val="272"/>
            <c:invertIfNegative val="1"/>
            <c:bubble3D val="0"/>
            <c:spPr>
              <a:solidFill>
                <a:srgbClr val="AEABAB"/>
              </a:solidFill>
            </c:spPr>
            <c:extLst>
              <c:ext xmlns:c16="http://schemas.microsoft.com/office/drawing/2014/chart" uri="{C3380CC4-5D6E-409C-BE32-E72D297353CC}">
                <c16:uniqueId val="{00000223-2D27-4D0B-B5E6-C6853413723E}"/>
              </c:ext>
            </c:extLst>
          </c:dPt>
          <c:dPt>
            <c:idx val="273"/>
            <c:invertIfNegative val="1"/>
            <c:bubble3D val="0"/>
            <c:spPr>
              <a:solidFill>
                <a:srgbClr val="AEABAB"/>
              </a:solidFill>
            </c:spPr>
            <c:extLst>
              <c:ext xmlns:c16="http://schemas.microsoft.com/office/drawing/2014/chart" uri="{C3380CC4-5D6E-409C-BE32-E72D297353CC}">
                <c16:uniqueId val="{00000225-2D27-4D0B-B5E6-C6853413723E}"/>
              </c:ext>
            </c:extLst>
          </c:dPt>
          <c:dPt>
            <c:idx val="274"/>
            <c:invertIfNegative val="1"/>
            <c:bubble3D val="0"/>
            <c:spPr>
              <a:solidFill>
                <a:srgbClr val="AEABAB"/>
              </a:solidFill>
            </c:spPr>
            <c:extLst>
              <c:ext xmlns:c16="http://schemas.microsoft.com/office/drawing/2014/chart" uri="{C3380CC4-5D6E-409C-BE32-E72D297353CC}">
                <c16:uniqueId val="{00000227-2D27-4D0B-B5E6-C6853413723E}"/>
              </c:ext>
            </c:extLst>
          </c:dPt>
          <c:dPt>
            <c:idx val="275"/>
            <c:invertIfNegative val="1"/>
            <c:bubble3D val="0"/>
            <c:spPr>
              <a:solidFill>
                <a:srgbClr val="AEABAB"/>
              </a:solidFill>
            </c:spPr>
            <c:extLst>
              <c:ext xmlns:c16="http://schemas.microsoft.com/office/drawing/2014/chart" uri="{C3380CC4-5D6E-409C-BE32-E72D297353CC}">
                <c16:uniqueId val="{00000229-2D27-4D0B-B5E6-C6853413723E}"/>
              </c:ext>
            </c:extLst>
          </c:dPt>
          <c:dPt>
            <c:idx val="276"/>
            <c:invertIfNegative val="1"/>
            <c:bubble3D val="0"/>
            <c:spPr>
              <a:solidFill>
                <a:srgbClr val="AEABAB"/>
              </a:solidFill>
            </c:spPr>
            <c:extLst>
              <c:ext xmlns:c16="http://schemas.microsoft.com/office/drawing/2014/chart" uri="{C3380CC4-5D6E-409C-BE32-E72D297353CC}">
                <c16:uniqueId val="{0000022B-2D27-4D0B-B5E6-C6853413723E}"/>
              </c:ext>
            </c:extLst>
          </c:dPt>
          <c:dPt>
            <c:idx val="277"/>
            <c:invertIfNegative val="1"/>
            <c:bubble3D val="0"/>
            <c:spPr>
              <a:solidFill>
                <a:srgbClr val="AEABAB"/>
              </a:solidFill>
            </c:spPr>
            <c:extLst>
              <c:ext xmlns:c16="http://schemas.microsoft.com/office/drawing/2014/chart" uri="{C3380CC4-5D6E-409C-BE32-E72D297353CC}">
                <c16:uniqueId val="{0000022D-2D27-4D0B-B5E6-C6853413723E}"/>
              </c:ext>
            </c:extLst>
          </c:dPt>
          <c:dPt>
            <c:idx val="278"/>
            <c:invertIfNegative val="1"/>
            <c:bubble3D val="0"/>
            <c:spPr>
              <a:solidFill>
                <a:srgbClr val="AEABAB"/>
              </a:solidFill>
            </c:spPr>
            <c:extLst>
              <c:ext xmlns:c16="http://schemas.microsoft.com/office/drawing/2014/chart" uri="{C3380CC4-5D6E-409C-BE32-E72D297353CC}">
                <c16:uniqueId val="{0000022F-2D27-4D0B-B5E6-C6853413723E}"/>
              </c:ext>
            </c:extLst>
          </c:dPt>
          <c:dPt>
            <c:idx val="279"/>
            <c:invertIfNegative val="1"/>
            <c:bubble3D val="0"/>
            <c:spPr>
              <a:solidFill>
                <a:srgbClr val="AEABAB"/>
              </a:solidFill>
            </c:spPr>
            <c:extLst>
              <c:ext xmlns:c16="http://schemas.microsoft.com/office/drawing/2014/chart" uri="{C3380CC4-5D6E-409C-BE32-E72D297353CC}">
                <c16:uniqueId val="{00000231-2D27-4D0B-B5E6-C6853413723E}"/>
              </c:ext>
            </c:extLst>
          </c:dPt>
          <c:dPt>
            <c:idx val="280"/>
            <c:invertIfNegative val="1"/>
            <c:bubble3D val="0"/>
            <c:spPr>
              <a:solidFill>
                <a:srgbClr val="AEABAB"/>
              </a:solidFill>
            </c:spPr>
            <c:extLst>
              <c:ext xmlns:c16="http://schemas.microsoft.com/office/drawing/2014/chart" uri="{C3380CC4-5D6E-409C-BE32-E72D297353CC}">
                <c16:uniqueId val="{00000233-2D27-4D0B-B5E6-C6853413723E}"/>
              </c:ext>
            </c:extLst>
          </c:dPt>
          <c:dPt>
            <c:idx val="281"/>
            <c:invertIfNegative val="1"/>
            <c:bubble3D val="0"/>
            <c:spPr>
              <a:solidFill>
                <a:srgbClr val="AEABAB"/>
              </a:solidFill>
            </c:spPr>
            <c:extLst>
              <c:ext xmlns:c16="http://schemas.microsoft.com/office/drawing/2014/chart" uri="{C3380CC4-5D6E-409C-BE32-E72D297353CC}">
                <c16:uniqueId val="{00000235-2D27-4D0B-B5E6-C6853413723E}"/>
              </c:ext>
            </c:extLst>
          </c:dPt>
          <c:dPt>
            <c:idx val="282"/>
            <c:invertIfNegative val="1"/>
            <c:bubble3D val="0"/>
            <c:spPr>
              <a:solidFill>
                <a:srgbClr val="AEABAB"/>
              </a:solidFill>
            </c:spPr>
            <c:extLst>
              <c:ext xmlns:c16="http://schemas.microsoft.com/office/drawing/2014/chart" uri="{C3380CC4-5D6E-409C-BE32-E72D297353CC}">
                <c16:uniqueId val="{00000237-2D27-4D0B-B5E6-C6853413723E}"/>
              </c:ext>
            </c:extLst>
          </c:dPt>
          <c:dPt>
            <c:idx val="283"/>
            <c:invertIfNegative val="1"/>
            <c:bubble3D val="0"/>
            <c:spPr>
              <a:solidFill>
                <a:srgbClr val="AEABAB"/>
              </a:solidFill>
            </c:spPr>
            <c:extLst>
              <c:ext xmlns:c16="http://schemas.microsoft.com/office/drawing/2014/chart" uri="{C3380CC4-5D6E-409C-BE32-E72D297353CC}">
                <c16:uniqueId val="{00000239-2D27-4D0B-B5E6-C6853413723E}"/>
              </c:ext>
            </c:extLst>
          </c:dPt>
          <c:dPt>
            <c:idx val="284"/>
            <c:invertIfNegative val="1"/>
            <c:bubble3D val="0"/>
            <c:spPr>
              <a:solidFill>
                <a:srgbClr val="AEABAB"/>
              </a:solidFill>
            </c:spPr>
            <c:extLst>
              <c:ext xmlns:c16="http://schemas.microsoft.com/office/drawing/2014/chart" uri="{C3380CC4-5D6E-409C-BE32-E72D297353CC}">
                <c16:uniqueId val="{0000023B-2D27-4D0B-B5E6-C6853413723E}"/>
              </c:ext>
            </c:extLst>
          </c:dPt>
          <c:dPt>
            <c:idx val="285"/>
            <c:invertIfNegative val="1"/>
            <c:bubble3D val="0"/>
            <c:spPr>
              <a:solidFill>
                <a:srgbClr val="AEABAB"/>
              </a:solidFill>
            </c:spPr>
            <c:extLst>
              <c:ext xmlns:c16="http://schemas.microsoft.com/office/drawing/2014/chart" uri="{C3380CC4-5D6E-409C-BE32-E72D297353CC}">
                <c16:uniqueId val="{0000023D-2D27-4D0B-B5E6-C6853413723E}"/>
              </c:ext>
            </c:extLst>
          </c:dPt>
          <c:dPt>
            <c:idx val="286"/>
            <c:invertIfNegative val="1"/>
            <c:bubble3D val="0"/>
            <c:spPr>
              <a:solidFill>
                <a:srgbClr val="AEABAB"/>
              </a:solidFill>
            </c:spPr>
            <c:extLst>
              <c:ext xmlns:c16="http://schemas.microsoft.com/office/drawing/2014/chart" uri="{C3380CC4-5D6E-409C-BE32-E72D297353CC}">
                <c16:uniqueId val="{0000023F-2D27-4D0B-B5E6-C6853413723E}"/>
              </c:ext>
            </c:extLst>
          </c:dPt>
          <c:dPt>
            <c:idx val="287"/>
            <c:invertIfNegative val="1"/>
            <c:bubble3D val="0"/>
            <c:spPr>
              <a:solidFill>
                <a:srgbClr val="AEABAB"/>
              </a:solidFill>
            </c:spPr>
            <c:extLst>
              <c:ext xmlns:c16="http://schemas.microsoft.com/office/drawing/2014/chart" uri="{C3380CC4-5D6E-409C-BE32-E72D297353CC}">
                <c16:uniqueId val="{00000241-2D27-4D0B-B5E6-C6853413723E}"/>
              </c:ext>
            </c:extLst>
          </c:dPt>
          <c:dPt>
            <c:idx val="288"/>
            <c:invertIfNegative val="1"/>
            <c:bubble3D val="0"/>
            <c:spPr>
              <a:solidFill>
                <a:srgbClr val="AEABAB"/>
              </a:solidFill>
            </c:spPr>
            <c:extLst>
              <c:ext xmlns:c16="http://schemas.microsoft.com/office/drawing/2014/chart" uri="{C3380CC4-5D6E-409C-BE32-E72D297353CC}">
                <c16:uniqueId val="{00000243-2D27-4D0B-B5E6-C6853413723E}"/>
              </c:ext>
            </c:extLst>
          </c:dPt>
          <c:dPt>
            <c:idx val="289"/>
            <c:invertIfNegative val="1"/>
            <c:bubble3D val="0"/>
            <c:spPr>
              <a:solidFill>
                <a:srgbClr val="AEABAB"/>
              </a:solidFill>
            </c:spPr>
            <c:extLst>
              <c:ext xmlns:c16="http://schemas.microsoft.com/office/drawing/2014/chart" uri="{C3380CC4-5D6E-409C-BE32-E72D297353CC}">
                <c16:uniqueId val="{00000245-2D27-4D0B-B5E6-C6853413723E}"/>
              </c:ext>
            </c:extLst>
          </c:dPt>
          <c:dPt>
            <c:idx val="290"/>
            <c:invertIfNegative val="1"/>
            <c:bubble3D val="0"/>
            <c:spPr>
              <a:solidFill>
                <a:srgbClr val="AEABAB"/>
              </a:solidFill>
            </c:spPr>
            <c:extLst>
              <c:ext xmlns:c16="http://schemas.microsoft.com/office/drawing/2014/chart" uri="{C3380CC4-5D6E-409C-BE32-E72D297353CC}">
                <c16:uniqueId val="{00000247-2D27-4D0B-B5E6-C6853413723E}"/>
              </c:ext>
            </c:extLst>
          </c:dPt>
          <c:dPt>
            <c:idx val="291"/>
            <c:invertIfNegative val="1"/>
            <c:bubble3D val="0"/>
            <c:spPr>
              <a:solidFill>
                <a:srgbClr val="AEABAB"/>
              </a:solidFill>
            </c:spPr>
            <c:extLst>
              <c:ext xmlns:c16="http://schemas.microsoft.com/office/drawing/2014/chart" uri="{C3380CC4-5D6E-409C-BE32-E72D297353CC}">
                <c16:uniqueId val="{00000249-2D27-4D0B-B5E6-C6853413723E}"/>
              </c:ext>
            </c:extLst>
          </c:dPt>
          <c:dPt>
            <c:idx val="292"/>
            <c:invertIfNegative val="1"/>
            <c:bubble3D val="0"/>
            <c:spPr>
              <a:solidFill>
                <a:srgbClr val="AEABAB"/>
              </a:solidFill>
            </c:spPr>
            <c:extLst>
              <c:ext xmlns:c16="http://schemas.microsoft.com/office/drawing/2014/chart" uri="{C3380CC4-5D6E-409C-BE32-E72D297353CC}">
                <c16:uniqueId val="{0000024B-2D27-4D0B-B5E6-C6853413723E}"/>
              </c:ext>
            </c:extLst>
          </c:dPt>
          <c:dPt>
            <c:idx val="293"/>
            <c:invertIfNegative val="1"/>
            <c:bubble3D val="0"/>
            <c:spPr>
              <a:solidFill>
                <a:srgbClr val="AEABAB"/>
              </a:solidFill>
            </c:spPr>
            <c:extLst>
              <c:ext xmlns:c16="http://schemas.microsoft.com/office/drawing/2014/chart" uri="{C3380CC4-5D6E-409C-BE32-E72D297353CC}">
                <c16:uniqueId val="{0000024D-2D27-4D0B-B5E6-C6853413723E}"/>
              </c:ext>
            </c:extLst>
          </c:dPt>
          <c:dPt>
            <c:idx val="294"/>
            <c:invertIfNegative val="1"/>
            <c:bubble3D val="0"/>
            <c:spPr>
              <a:solidFill>
                <a:srgbClr val="AEABAB"/>
              </a:solidFill>
            </c:spPr>
            <c:extLst>
              <c:ext xmlns:c16="http://schemas.microsoft.com/office/drawing/2014/chart" uri="{C3380CC4-5D6E-409C-BE32-E72D297353CC}">
                <c16:uniqueId val="{0000024F-2D27-4D0B-B5E6-C6853413723E}"/>
              </c:ext>
            </c:extLst>
          </c:dPt>
          <c:dPt>
            <c:idx val="295"/>
            <c:invertIfNegative val="1"/>
            <c:bubble3D val="0"/>
            <c:spPr>
              <a:solidFill>
                <a:srgbClr val="AEABAB"/>
              </a:solidFill>
            </c:spPr>
            <c:extLst>
              <c:ext xmlns:c16="http://schemas.microsoft.com/office/drawing/2014/chart" uri="{C3380CC4-5D6E-409C-BE32-E72D297353CC}">
                <c16:uniqueId val="{00000251-2D27-4D0B-B5E6-C6853413723E}"/>
              </c:ext>
            </c:extLst>
          </c:dPt>
          <c:dPt>
            <c:idx val="296"/>
            <c:invertIfNegative val="1"/>
            <c:bubble3D val="0"/>
            <c:spPr>
              <a:solidFill>
                <a:srgbClr val="AEABAB"/>
              </a:solidFill>
            </c:spPr>
            <c:extLst>
              <c:ext xmlns:c16="http://schemas.microsoft.com/office/drawing/2014/chart" uri="{C3380CC4-5D6E-409C-BE32-E72D297353CC}">
                <c16:uniqueId val="{00000253-2D27-4D0B-B5E6-C6853413723E}"/>
              </c:ext>
            </c:extLst>
          </c:dPt>
          <c:dPt>
            <c:idx val="297"/>
            <c:invertIfNegative val="1"/>
            <c:bubble3D val="0"/>
            <c:spPr>
              <a:solidFill>
                <a:srgbClr val="AEABAB"/>
              </a:solidFill>
            </c:spPr>
            <c:extLst>
              <c:ext xmlns:c16="http://schemas.microsoft.com/office/drawing/2014/chart" uri="{C3380CC4-5D6E-409C-BE32-E72D297353CC}">
                <c16:uniqueId val="{00000255-2D27-4D0B-B5E6-C6853413723E}"/>
              </c:ext>
            </c:extLst>
          </c:dPt>
          <c:dPt>
            <c:idx val="298"/>
            <c:invertIfNegative val="1"/>
            <c:bubble3D val="0"/>
            <c:spPr>
              <a:solidFill>
                <a:srgbClr val="AEABAB"/>
              </a:solidFill>
            </c:spPr>
            <c:extLst>
              <c:ext xmlns:c16="http://schemas.microsoft.com/office/drawing/2014/chart" uri="{C3380CC4-5D6E-409C-BE32-E72D297353CC}">
                <c16:uniqueId val="{00000257-2D27-4D0B-B5E6-C6853413723E}"/>
              </c:ext>
            </c:extLst>
          </c:dPt>
          <c:dPt>
            <c:idx val="299"/>
            <c:invertIfNegative val="1"/>
            <c:bubble3D val="0"/>
            <c:spPr>
              <a:solidFill>
                <a:srgbClr val="AEABAB"/>
              </a:solidFill>
            </c:spPr>
            <c:extLst>
              <c:ext xmlns:c16="http://schemas.microsoft.com/office/drawing/2014/chart" uri="{C3380CC4-5D6E-409C-BE32-E72D297353CC}">
                <c16:uniqueId val="{00000259-2D27-4D0B-B5E6-C6853413723E}"/>
              </c:ext>
            </c:extLst>
          </c:dPt>
          <c:dPt>
            <c:idx val="300"/>
            <c:invertIfNegative val="1"/>
            <c:bubble3D val="0"/>
            <c:spPr>
              <a:solidFill>
                <a:srgbClr val="AEABAB"/>
              </a:solidFill>
            </c:spPr>
            <c:extLst>
              <c:ext xmlns:c16="http://schemas.microsoft.com/office/drawing/2014/chart" uri="{C3380CC4-5D6E-409C-BE32-E72D297353CC}">
                <c16:uniqueId val="{0000025B-2D27-4D0B-B5E6-C6853413723E}"/>
              </c:ext>
            </c:extLst>
          </c:dPt>
          <c:dPt>
            <c:idx val="301"/>
            <c:invertIfNegative val="1"/>
            <c:bubble3D val="0"/>
            <c:spPr>
              <a:solidFill>
                <a:srgbClr val="AEABAB"/>
              </a:solidFill>
            </c:spPr>
            <c:extLst>
              <c:ext xmlns:c16="http://schemas.microsoft.com/office/drawing/2014/chart" uri="{C3380CC4-5D6E-409C-BE32-E72D297353CC}">
                <c16:uniqueId val="{0000025D-2D27-4D0B-B5E6-C6853413723E}"/>
              </c:ext>
            </c:extLst>
          </c:dPt>
          <c:dPt>
            <c:idx val="302"/>
            <c:invertIfNegative val="1"/>
            <c:bubble3D val="0"/>
            <c:spPr>
              <a:solidFill>
                <a:srgbClr val="AEABAB"/>
              </a:solidFill>
            </c:spPr>
            <c:extLst>
              <c:ext xmlns:c16="http://schemas.microsoft.com/office/drawing/2014/chart" uri="{C3380CC4-5D6E-409C-BE32-E72D297353CC}">
                <c16:uniqueId val="{0000025F-2D27-4D0B-B5E6-C6853413723E}"/>
              </c:ext>
            </c:extLst>
          </c:dPt>
          <c:dPt>
            <c:idx val="303"/>
            <c:invertIfNegative val="1"/>
            <c:bubble3D val="0"/>
            <c:spPr>
              <a:solidFill>
                <a:srgbClr val="AEABAB"/>
              </a:solidFill>
            </c:spPr>
            <c:extLst>
              <c:ext xmlns:c16="http://schemas.microsoft.com/office/drawing/2014/chart" uri="{C3380CC4-5D6E-409C-BE32-E72D297353CC}">
                <c16:uniqueId val="{00000261-2D27-4D0B-B5E6-C6853413723E}"/>
              </c:ext>
            </c:extLst>
          </c:dPt>
          <c:dPt>
            <c:idx val="304"/>
            <c:invertIfNegative val="1"/>
            <c:bubble3D val="0"/>
            <c:spPr>
              <a:solidFill>
                <a:srgbClr val="AEABAB"/>
              </a:solidFill>
            </c:spPr>
            <c:extLst>
              <c:ext xmlns:c16="http://schemas.microsoft.com/office/drawing/2014/chart" uri="{C3380CC4-5D6E-409C-BE32-E72D297353CC}">
                <c16:uniqueId val="{00000263-2D27-4D0B-B5E6-C6853413723E}"/>
              </c:ext>
            </c:extLst>
          </c:dPt>
          <c:dPt>
            <c:idx val="305"/>
            <c:invertIfNegative val="1"/>
            <c:bubble3D val="0"/>
            <c:spPr>
              <a:solidFill>
                <a:srgbClr val="AEABAB"/>
              </a:solidFill>
            </c:spPr>
            <c:extLst>
              <c:ext xmlns:c16="http://schemas.microsoft.com/office/drawing/2014/chart" uri="{C3380CC4-5D6E-409C-BE32-E72D297353CC}">
                <c16:uniqueId val="{00000265-2D27-4D0B-B5E6-C6853413723E}"/>
              </c:ext>
            </c:extLst>
          </c:dPt>
          <c:dPt>
            <c:idx val="306"/>
            <c:invertIfNegative val="1"/>
            <c:bubble3D val="0"/>
            <c:spPr>
              <a:solidFill>
                <a:srgbClr val="AEABAB"/>
              </a:solidFill>
            </c:spPr>
            <c:extLst>
              <c:ext xmlns:c16="http://schemas.microsoft.com/office/drawing/2014/chart" uri="{C3380CC4-5D6E-409C-BE32-E72D297353CC}">
                <c16:uniqueId val="{00000267-2D27-4D0B-B5E6-C6853413723E}"/>
              </c:ext>
            </c:extLst>
          </c:dPt>
          <c:dPt>
            <c:idx val="307"/>
            <c:invertIfNegative val="1"/>
            <c:bubble3D val="0"/>
            <c:spPr>
              <a:solidFill>
                <a:srgbClr val="AEABAB"/>
              </a:solidFill>
            </c:spPr>
            <c:extLst>
              <c:ext xmlns:c16="http://schemas.microsoft.com/office/drawing/2014/chart" uri="{C3380CC4-5D6E-409C-BE32-E72D297353CC}">
                <c16:uniqueId val="{00000269-2D27-4D0B-B5E6-C6853413723E}"/>
              </c:ext>
            </c:extLst>
          </c:dPt>
          <c:dPt>
            <c:idx val="308"/>
            <c:invertIfNegative val="1"/>
            <c:bubble3D val="0"/>
            <c:spPr>
              <a:solidFill>
                <a:srgbClr val="AEABAB"/>
              </a:solidFill>
            </c:spPr>
            <c:extLst>
              <c:ext xmlns:c16="http://schemas.microsoft.com/office/drawing/2014/chart" uri="{C3380CC4-5D6E-409C-BE32-E72D297353CC}">
                <c16:uniqueId val="{0000026B-2D27-4D0B-B5E6-C6853413723E}"/>
              </c:ext>
            </c:extLst>
          </c:dPt>
          <c:dPt>
            <c:idx val="309"/>
            <c:invertIfNegative val="1"/>
            <c:bubble3D val="0"/>
            <c:spPr>
              <a:solidFill>
                <a:srgbClr val="AEABAB"/>
              </a:solidFill>
            </c:spPr>
            <c:extLst>
              <c:ext xmlns:c16="http://schemas.microsoft.com/office/drawing/2014/chart" uri="{C3380CC4-5D6E-409C-BE32-E72D297353CC}">
                <c16:uniqueId val="{0000026D-2D27-4D0B-B5E6-C6853413723E}"/>
              </c:ext>
            </c:extLst>
          </c:dPt>
          <c:dPt>
            <c:idx val="310"/>
            <c:invertIfNegative val="1"/>
            <c:bubble3D val="0"/>
            <c:spPr>
              <a:solidFill>
                <a:srgbClr val="AEABAB"/>
              </a:solidFill>
            </c:spPr>
            <c:extLst>
              <c:ext xmlns:c16="http://schemas.microsoft.com/office/drawing/2014/chart" uri="{C3380CC4-5D6E-409C-BE32-E72D297353CC}">
                <c16:uniqueId val="{0000026F-2D27-4D0B-B5E6-C6853413723E}"/>
              </c:ext>
            </c:extLst>
          </c:dPt>
          <c:dPt>
            <c:idx val="311"/>
            <c:invertIfNegative val="1"/>
            <c:bubble3D val="0"/>
            <c:spPr>
              <a:solidFill>
                <a:srgbClr val="AEABAB"/>
              </a:solidFill>
            </c:spPr>
            <c:extLst>
              <c:ext xmlns:c16="http://schemas.microsoft.com/office/drawing/2014/chart" uri="{C3380CC4-5D6E-409C-BE32-E72D297353CC}">
                <c16:uniqueId val="{00000271-2D27-4D0B-B5E6-C6853413723E}"/>
              </c:ext>
            </c:extLst>
          </c:dPt>
          <c:dPt>
            <c:idx val="312"/>
            <c:invertIfNegative val="1"/>
            <c:bubble3D val="0"/>
            <c:spPr>
              <a:solidFill>
                <a:srgbClr val="AEABAB"/>
              </a:solidFill>
            </c:spPr>
            <c:extLst>
              <c:ext xmlns:c16="http://schemas.microsoft.com/office/drawing/2014/chart" uri="{C3380CC4-5D6E-409C-BE32-E72D297353CC}">
                <c16:uniqueId val="{00000273-2D27-4D0B-B5E6-C6853413723E}"/>
              </c:ext>
            </c:extLst>
          </c:dPt>
          <c:dPt>
            <c:idx val="313"/>
            <c:invertIfNegative val="1"/>
            <c:bubble3D val="0"/>
            <c:spPr>
              <a:solidFill>
                <a:srgbClr val="AEABAB"/>
              </a:solidFill>
            </c:spPr>
            <c:extLst>
              <c:ext xmlns:c16="http://schemas.microsoft.com/office/drawing/2014/chart" uri="{C3380CC4-5D6E-409C-BE32-E72D297353CC}">
                <c16:uniqueId val="{00000275-2D27-4D0B-B5E6-C6853413723E}"/>
              </c:ext>
            </c:extLst>
          </c:dPt>
          <c:dPt>
            <c:idx val="314"/>
            <c:invertIfNegative val="1"/>
            <c:bubble3D val="0"/>
            <c:spPr>
              <a:solidFill>
                <a:srgbClr val="AEABAB"/>
              </a:solidFill>
            </c:spPr>
            <c:extLst>
              <c:ext xmlns:c16="http://schemas.microsoft.com/office/drawing/2014/chart" uri="{C3380CC4-5D6E-409C-BE32-E72D297353CC}">
                <c16:uniqueId val="{00000277-2D27-4D0B-B5E6-C6853413723E}"/>
              </c:ext>
            </c:extLst>
          </c:dPt>
          <c:dPt>
            <c:idx val="315"/>
            <c:invertIfNegative val="1"/>
            <c:bubble3D val="0"/>
            <c:spPr>
              <a:solidFill>
                <a:srgbClr val="AEABAB"/>
              </a:solidFill>
            </c:spPr>
            <c:extLst>
              <c:ext xmlns:c16="http://schemas.microsoft.com/office/drawing/2014/chart" uri="{C3380CC4-5D6E-409C-BE32-E72D297353CC}">
                <c16:uniqueId val="{00000279-2D27-4D0B-B5E6-C6853413723E}"/>
              </c:ext>
            </c:extLst>
          </c:dPt>
          <c:dPt>
            <c:idx val="316"/>
            <c:invertIfNegative val="1"/>
            <c:bubble3D val="0"/>
            <c:spPr>
              <a:solidFill>
                <a:srgbClr val="AEABAB"/>
              </a:solidFill>
            </c:spPr>
            <c:extLst>
              <c:ext xmlns:c16="http://schemas.microsoft.com/office/drawing/2014/chart" uri="{C3380CC4-5D6E-409C-BE32-E72D297353CC}">
                <c16:uniqueId val="{0000027B-2D27-4D0B-B5E6-C6853413723E}"/>
              </c:ext>
            </c:extLst>
          </c:dPt>
          <c:dPt>
            <c:idx val="317"/>
            <c:invertIfNegative val="1"/>
            <c:bubble3D val="0"/>
            <c:spPr>
              <a:solidFill>
                <a:srgbClr val="AEABAB"/>
              </a:solidFill>
            </c:spPr>
            <c:extLst>
              <c:ext xmlns:c16="http://schemas.microsoft.com/office/drawing/2014/chart" uri="{C3380CC4-5D6E-409C-BE32-E72D297353CC}">
                <c16:uniqueId val="{0000027D-2D27-4D0B-B5E6-C6853413723E}"/>
              </c:ext>
            </c:extLst>
          </c:dPt>
          <c:dPt>
            <c:idx val="318"/>
            <c:invertIfNegative val="1"/>
            <c:bubble3D val="0"/>
            <c:spPr>
              <a:solidFill>
                <a:srgbClr val="AEABAB"/>
              </a:solidFill>
            </c:spPr>
            <c:extLst>
              <c:ext xmlns:c16="http://schemas.microsoft.com/office/drawing/2014/chart" uri="{C3380CC4-5D6E-409C-BE32-E72D297353CC}">
                <c16:uniqueId val="{0000027F-2D27-4D0B-B5E6-C6853413723E}"/>
              </c:ext>
            </c:extLst>
          </c:dPt>
          <c:dPt>
            <c:idx val="319"/>
            <c:invertIfNegative val="1"/>
            <c:bubble3D val="0"/>
            <c:spPr>
              <a:solidFill>
                <a:srgbClr val="AEABAB"/>
              </a:solidFill>
            </c:spPr>
            <c:extLst>
              <c:ext xmlns:c16="http://schemas.microsoft.com/office/drawing/2014/chart" uri="{C3380CC4-5D6E-409C-BE32-E72D297353CC}">
                <c16:uniqueId val="{00000281-2D27-4D0B-B5E6-C6853413723E}"/>
              </c:ext>
            </c:extLst>
          </c:dPt>
          <c:dPt>
            <c:idx val="320"/>
            <c:invertIfNegative val="1"/>
            <c:bubble3D val="0"/>
            <c:spPr>
              <a:solidFill>
                <a:srgbClr val="AEABAB"/>
              </a:solidFill>
            </c:spPr>
            <c:extLst>
              <c:ext xmlns:c16="http://schemas.microsoft.com/office/drawing/2014/chart" uri="{C3380CC4-5D6E-409C-BE32-E72D297353CC}">
                <c16:uniqueId val="{00000283-2D27-4D0B-B5E6-C6853413723E}"/>
              </c:ext>
            </c:extLst>
          </c:dPt>
          <c:dPt>
            <c:idx val="321"/>
            <c:invertIfNegative val="1"/>
            <c:bubble3D val="0"/>
            <c:spPr>
              <a:solidFill>
                <a:srgbClr val="AEABAB"/>
              </a:solidFill>
            </c:spPr>
            <c:extLst>
              <c:ext xmlns:c16="http://schemas.microsoft.com/office/drawing/2014/chart" uri="{C3380CC4-5D6E-409C-BE32-E72D297353CC}">
                <c16:uniqueId val="{00000285-2D27-4D0B-B5E6-C6853413723E}"/>
              </c:ext>
            </c:extLst>
          </c:dPt>
          <c:dPt>
            <c:idx val="322"/>
            <c:invertIfNegative val="1"/>
            <c:bubble3D val="0"/>
            <c:spPr>
              <a:solidFill>
                <a:srgbClr val="AEABAB"/>
              </a:solidFill>
            </c:spPr>
            <c:extLst>
              <c:ext xmlns:c16="http://schemas.microsoft.com/office/drawing/2014/chart" uri="{C3380CC4-5D6E-409C-BE32-E72D297353CC}">
                <c16:uniqueId val="{00000287-2D27-4D0B-B5E6-C6853413723E}"/>
              </c:ext>
            </c:extLst>
          </c:dPt>
          <c:dPt>
            <c:idx val="323"/>
            <c:invertIfNegative val="1"/>
            <c:bubble3D val="0"/>
            <c:spPr>
              <a:solidFill>
                <a:srgbClr val="AEABAB"/>
              </a:solidFill>
            </c:spPr>
            <c:extLst>
              <c:ext xmlns:c16="http://schemas.microsoft.com/office/drawing/2014/chart" uri="{C3380CC4-5D6E-409C-BE32-E72D297353CC}">
                <c16:uniqueId val="{00000289-2D27-4D0B-B5E6-C6853413723E}"/>
              </c:ext>
            </c:extLst>
          </c:dPt>
          <c:dPt>
            <c:idx val="324"/>
            <c:invertIfNegative val="1"/>
            <c:bubble3D val="0"/>
            <c:spPr>
              <a:solidFill>
                <a:srgbClr val="AEABAB"/>
              </a:solidFill>
            </c:spPr>
            <c:extLst>
              <c:ext xmlns:c16="http://schemas.microsoft.com/office/drawing/2014/chart" uri="{C3380CC4-5D6E-409C-BE32-E72D297353CC}">
                <c16:uniqueId val="{0000028B-2D27-4D0B-B5E6-C6853413723E}"/>
              </c:ext>
            </c:extLst>
          </c:dPt>
          <c:dPt>
            <c:idx val="325"/>
            <c:invertIfNegative val="1"/>
            <c:bubble3D val="0"/>
            <c:spPr>
              <a:solidFill>
                <a:srgbClr val="AEABAB"/>
              </a:solidFill>
            </c:spPr>
            <c:extLst>
              <c:ext xmlns:c16="http://schemas.microsoft.com/office/drawing/2014/chart" uri="{C3380CC4-5D6E-409C-BE32-E72D297353CC}">
                <c16:uniqueId val="{0000028D-2D27-4D0B-B5E6-C6853413723E}"/>
              </c:ext>
            </c:extLst>
          </c:dPt>
          <c:dPt>
            <c:idx val="326"/>
            <c:invertIfNegative val="1"/>
            <c:bubble3D val="0"/>
            <c:spPr>
              <a:solidFill>
                <a:srgbClr val="AEABAB"/>
              </a:solidFill>
            </c:spPr>
            <c:extLst>
              <c:ext xmlns:c16="http://schemas.microsoft.com/office/drawing/2014/chart" uri="{C3380CC4-5D6E-409C-BE32-E72D297353CC}">
                <c16:uniqueId val="{0000028F-2D27-4D0B-B5E6-C6853413723E}"/>
              </c:ext>
            </c:extLst>
          </c:dPt>
          <c:dPt>
            <c:idx val="327"/>
            <c:invertIfNegative val="1"/>
            <c:bubble3D val="0"/>
            <c:spPr>
              <a:solidFill>
                <a:srgbClr val="AEABAB"/>
              </a:solidFill>
            </c:spPr>
            <c:extLst>
              <c:ext xmlns:c16="http://schemas.microsoft.com/office/drawing/2014/chart" uri="{C3380CC4-5D6E-409C-BE32-E72D297353CC}">
                <c16:uniqueId val="{00000291-2D27-4D0B-B5E6-C6853413723E}"/>
              </c:ext>
            </c:extLst>
          </c:dPt>
          <c:dPt>
            <c:idx val="328"/>
            <c:invertIfNegative val="1"/>
            <c:bubble3D val="0"/>
            <c:spPr>
              <a:solidFill>
                <a:srgbClr val="AEABAB"/>
              </a:solidFill>
            </c:spPr>
            <c:extLst>
              <c:ext xmlns:c16="http://schemas.microsoft.com/office/drawing/2014/chart" uri="{C3380CC4-5D6E-409C-BE32-E72D297353CC}">
                <c16:uniqueId val="{00000293-2D27-4D0B-B5E6-C6853413723E}"/>
              </c:ext>
            </c:extLst>
          </c:dPt>
          <c:dPt>
            <c:idx val="329"/>
            <c:invertIfNegative val="1"/>
            <c:bubble3D val="0"/>
            <c:spPr>
              <a:solidFill>
                <a:srgbClr val="AEABAB"/>
              </a:solidFill>
            </c:spPr>
            <c:extLst>
              <c:ext xmlns:c16="http://schemas.microsoft.com/office/drawing/2014/chart" uri="{C3380CC4-5D6E-409C-BE32-E72D297353CC}">
                <c16:uniqueId val="{00000295-2D27-4D0B-B5E6-C6853413723E}"/>
              </c:ext>
            </c:extLst>
          </c:dPt>
          <c:dPt>
            <c:idx val="330"/>
            <c:invertIfNegative val="1"/>
            <c:bubble3D val="0"/>
            <c:spPr>
              <a:solidFill>
                <a:srgbClr val="AEABAB"/>
              </a:solidFill>
            </c:spPr>
            <c:extLst>
              <c:ext xmlns:c16="http://schemas.microsoft.com/office/drawing/2014/chart" uri="{C3380CC4-5D6E-409C-BE32-E72D297353CC}">
                <c16:uniqueId val="{00000297-2D27-4D0B-B5E6-C6853413723E}"/>
              </c:ext>
            </c:extLst>
          </c:dPt>
          <c:dPt>
            <c:idx val="331"/>
            <c:invertIfNegative val="1"/>
            <c:bubble3D val="0"/>
            <c:spPr>
              <a:solidFill>
                <a:srgbClr val="AEABAB"/>
              </a:solidFill>
            </c:spPr>
            <c:extLst>
              <c:ext xmlns:c16="http://schemas.microsoft.com/office/drawing/2014/chart" uri="{C3380CC4-5D6E-409C-BE32-E72D297353CC}">
                <c16:uniqueId val="{00000299-2D27-4D0B-B5E6-C6853413723E}"/>
              </c:ext>
            </c:extLst>
          </c:dPt>
          <c:dPt>
            <c:idx val="332"/>
            <c:invertIfNegative val="1"/>
            <c:bubble3D val="0"/>
            <c:spPr>
              <a:solidFill>
                <a:srgbClr val="AEABAB"/>
              </a:solidFill>
            </c:spPr>
            <c:extLst>
              <c:ext xmlns:c16="http://schemas.microsoft.com/office/drawing/2014/chart" uri="{C3380CC4-5D6E-409C-BE32-E72D297353CC}">
                <c16:uniqueId val="{0000029B-2D27-4D0B-B5E6-C6853413723E}"/>
              </c:ext>
            </c:extLst>
          </c:dPt>
          <c:dPt>
            <c:idx val="333"/>
            <c:invertIfNegative val="1"/>
            <c:bubble3D val="0"/>
            <c:spPr>
              <a:solidFill>
                <a:srgbClr val="AEABAB"/>
              </a:solidFill>
            </c:spPr>
            <c:extLst>
              <c:ext xmlns:c16="http://schemas.microsoft.com/office/drawing/2014/chart" uri="{C3380CC4-5D6E-409C-BE32-E72D297353CC}">
                <c16:uniqueId val="{0000029D-2D27-4D0B-B5E6-C6853413723E}"/>
              </c:ext>
            </c:extLst>
          </c:dPt>
          <c:dPt>
            <c:idx val="334"/>
            <c:invertIfNegative val="1"/>
            <c:bubble3D val="0"/>
            <c:spPr>
              <a:solidFill>
                <a:srgbClr val="AEABAB"/>
              </a:solidFill>
            </c:spPr>
            <c:extLst>
              <c:ext xmlns:c16="http://schemas.microsoft.com/office/drawing/2014/chart" uri="{C3380CC4-5D6E-409C-BE32-E72D297353CC}">
                <c16:uniqueId val="{0000029F-2D27-4D0B-B5E6-C6853413723E}"/>
              </c:ext>
            </c:extLst>
          </c:dPt>
          <c:dPt>
            <c:idx val="335"/>
            <c:invertIfNegative val="1"/>
            <c:bubble3D val="0"/>
            <c:spPr>
              <a:solidFill>
                <a:srgbClr val="AEABAB"/>
              </a:solidFill>
            </c:spPr>
            <c:extLst>
              <c:ext xmlns:c16="http://schemas.microsoft.com/office/drawing/2014/chart" uri="{C3380CC4-5D6E-409C-BE32-E72D297353CC}">
                <c16:uniqueId val="{000002A1-2D27-4D0B-B5E6-C6853413723E}"/>
              </c:ext>
            </c:extLst>
          </c:dPt>
          <c:dPt>
            <c:idx val="336"/>
            <c:invertIfNegative val="1"/>
            <c:bubble3D val="0"/>
            <c:spPr>
              <a:solidFill>
                <a:srgbClr val="AEABAB"/>
              </a:solidFill>
            </c:spPr>
            <c:extLst>
              <c:ext xmlns:c16="http://schemas.microsoft.com/office/drawing/2014/chart" uri="{C3380CC4-5D6E-409C-BE32-E72D297353CC}">
                <c16:uniqueId val="{000002A3-2D27-4D0B-B5E6-C6853413723E}"/>
              </c:ext>
            </c:extLst>
          </c:dPt>
          <c:dPt>
            <c:idx val="337"/>
            <c:invertIfNegative val="1"/>
            <c:bubble3D val="0"/>
            <c:spPr>
              <a:solidFill>
                <a:srgbClr val="AEABAB"/>
              </a:solidFill>
            </c:spPr>
            <c:extLst>
              <c:ext xmlns:c16="http://schemas.microsoft.com/office/drawing/2014/chart" uri="{C3380CC4-5D6E-409C-BE32-E72D297353CC}">
                <c16:uniqueId val="{000002A5-2D27-4D0B-B5E6-C6853413723E}"/>
              </c:ext>
            </c:extLst>
          </c:dPt>
          <c:dPt>
            <c:idx val="338"/>
            <c:invertIfNegative val="1"/>
            <c:bubble3D val="0"/>
            <c:spPr>
              <a:solidFill>
                <a:srgbClr val="AEABAB"/>
              </a:solidFill>
            </c:spPr>
            <c:extLst>
              <c:ext xmlns:c16="http://schemas.microsoft.com/office/drawing/2014/chart" uri="{C3380CC4-5D6E-409C-BE32-E72D297353CC}">
                <c16:uniqueId val="{000002A7-2D27-4D0B-B5E6-C6853413723E}"/>
              </c:ext>
            </c:extLst>
          </c:dPt>
          <c:dPt>
            <c:idx val="339"/>
            <c:invertIfNegative val="1"/>
            <c:bubble3D val="0"/>
            <c:spPr>
              <a:solidFill>
                <a:srgbClr val="AEABAB"/>
              </a:solidFill>
            </c:spPr>
            <c:extLst>
              <c:ext xmlns:c16="http://schemas.microsoft.com/office/drawing/2014/chart" uri="{C3380CC4-5D6E-409C-BE32-E72D297353CC}">
                <c16:uniqueId val="{000002A9-2D27-4D0B-B5E6-C6853413723E}"/>
              </c:ext>
            </c:extLst>
          </c:dPt>
          <c:dPt>
            <c:idx val="340"/>
            <c:invertIfNegative val="1"/>
            <c:bubble3D val="0"/>
            <c:spPr>
              <a:solidFill>
                <a:srgbClr val="AEABAB"/>
              </a:solidFill>
            </c:spPr>
            <c:extLst>
              <c:ext xmlns:c16="http://schemas.microsoft.com/office/drawing/2014/chart" uri="{C3380CC4-5D6E-409C-BE32-E72D297353CC}">
                <c16:uniqueId val="{000002AB-2D27-4D0B-B5E6-C6853413723E}"/>
              </c:ext>
            </c:extLst>
          </c:dPt>
          <c:dPt>
            <c:idx val="341"/>
            <c:invertIfNegative val="1"/>
            <c:bubble3D val="0"/>
            <c:spPr>
              <a:solidFill>
                <a:srgbClr val="AEABAB"/>
              </a:solidFill>
            </c:spPr>
            <c:extLst>
              <c:ext xmlns:c16="http://schemas.microsoft.com/office/drawing/2014/chart" uri="{C3380CC4-5D6E-409C-BE32-E72D297353CC}">
                <c16:uniqueId val="{000002AD-2D27-4D0B-B5E6-C6853413723E}"/>
              </c:ext>
            </c:extLst>
          </c:dPt>
          <c:dPt>
            <c:idx val="342"/>
            <c:invertIfNegative val="1"/>
            <c:bubble3D val="0"/>
            <c:spPr>
              <a:solidFill>
                <a:srgbClr val="AEABAB"/>
              </a:solidFill>
            </c:spPr>
            <c:extLst>
              <c:ext xmlns:c16="http://schemas.microsoft.com/office/drawing/2014/chart" uri="{C3380CC4-5D6E-409C-BE32-E72D297353CC}">
                <c16:uniqueId val="{000002AF-2D27-4D0B-B5E6-C6853413723E}"/>
              </c:ext>
            </c:extLst>
          </c:dPt>
          <c:dPt>
            <c:idx val="343"/>
            <c:invertIfNegative val="1"/>
            <c:bubble3D val="0"/>
            <c:spPr>
              <a:solidFill>
                <a:srgbClr val="AEABAB"/>
              </a:solidFill>
            </c:spPr>
            <c:extLst>
              <c:ext xmlns:c16="http://schemas.microsoft.com/office/drawing/2014/chart" uri="{C3380CC4-5D6E-409C-BE32-E72D297353CC}">
                <c16:uniqueId val="{000002B1-2D27-4D0B-B5E6-C6853413723E}"/>
              </c:ext>
            </c:extLst>
          </c:dPt>
          <c:dPt>
            <c:idx val="344"/>
            <c:invertIfNegative val="1"/>
            <c:bubble3D val="0"/>
            <c:spPr>
              <a:solidFill>
                <a:srgbClr val="AEABAB"/>
              </a:solidFill>
            </c:spPr>
            <c:extLst>
              <c:ext xmlns:c16="http://schemas.microsoft.com/office/drawing/2014/chart" uri="{C3380CC4-5D6E-409C-BE32-E72D297353CC}">
                <c16:uniqueId val="{000002B3-2D27-4D0B-B5E6-C6853413723E}"/>
              </c:ext>
            </c:extLst>
          </c:dPt>
          <c:dPt>
            <c:idx val="345"/>
            <c:invertIfNegative val="1"/>
            <c:bubble3D val="0"/>
            <c:spPr>
              <a:solidFill>
                <a:srgbClr val="AEABAB"/>
              </a:solidFill>
            </c:spPr>
            <c:extLst>
              <c:ext xmlns:c16="http://schemas.microsoft.com/office/drawing/2014/chart" uri="{C3380CC4-5D6E-409C-BE32-E72D297353CC}">
                <c16:uniqueId val="{000002B5-2D27-4D0B-B5E6-C6853413723E}"/>
              </c:ext>
            </c:extLst>
          </c:dPt>
          <c:dPt>
            <c:idx val="346"/>
            <c:invertIfNegative val="1"/>
            <c:bubble3D val="0"/>
            <c:spPr>
              <a:solidFill>
                <a:srgbClr val="AEABAB"/>
              </a:solidFill>
            </c:spPr>
            <c:extLst>
              <c:ext xmlns:c16="http://schemas.microsoft.com/office/drawing/2014/chart" uri="{C3380CC4-5D6E-409C-BE32-E72D297353CC}">
                <c16:uniqueId val="{000002B7-2D27-4D0B-B5E6-C6853413723E}"/>
              </c:ext>
            </c:extLst>
          </c:dPt>
          <c:dPt>
            <c:idx val="347"/>
            <c:invertIfNegative val="1"/>
            <c:bubble3D val="0"/>
            <c:spPr>
              <a:solidFill>
                <a:srgbClr val="AEABAB"/>
              </a:solidFill>
            </c:spPr>
            <c:extLst>
              <c:ext xmlns:c16="http://schemas.microsoft.com/office/drawing/2014/chart" uri="{C3380CC4-5D6E-409C-BE32-E72D297353CC}">
                <c16:uniqueId val="{000002B9-2D27-4D0B-B5E6-C6853413723E}"/>
              </c:ext>
            </c:extLst>
          </c:dPt>
          <c:dPt>
            <c:idx val="348"/>
            <c:invertIfNegative val="1"/>
            <c:bubble3D val="0"/>
            <c:spPr>
              <a:solidFill>
                <a:srgbClr val="AEABAB"/>
              </a:solidFill>
            </c:spPr>
            <c:extLst>
              <c:ext xmlns:c16="http://schemas.microsoft.com/office/drawing/2014/chart" uri="{C3380CC4-5D6E-409C-BE32-E72D297353CC}">
                <c16:uniqueId val="{000002BB-2D27-4D0B-B5E6-C6853413723E}"/>
              </c:ext>
            </c:extLst>
          </c:dPt>
          <c:dPt>
            <c:idx val="349"/>
            <c:invertIfNegative val="1"/>
            <c:bubble3D val="0"/>
            <c:spPr>
              <a:solidFill>
                <a:srgbClr val="AEABAB"/>
              </a:solidFill>
            </c:spPr>
            <c:extLst>
              <c:ext xmlns:c16="http://schemas.microsoft.com/office/drawing/2014/chart" uri="{C3380CC4-5D6E-409C-BE32-E72D297353CC}">
                <c16:uniqueId val="{000002BD-2D27-4D0B-B5E6-C6853413723E}"/>
              </c:ext>
            </c:extLst>
          </c:dPt>
          <c:dPt>
            <c:idx val="350"/>
            <c:invertIfNegative val="1"/>
            <c:bubble3D val="0"/>
            <c:spPr>
              <a:solidFill>
                <a:srgbClr val="AEABAB"/>
              </a:solidFill>
            </c:spPr>
            <c:extLst>
              <c:ext xmlns:c16="http://schemas.microsoft.com/office/drawing/2014/chart" uri="{C3380CC4-5D6E-409C-BE32-E72D297353CC}">
                <c16:uniqueId val="{000002BF-2D27-4D0B-B5E6-C6853413723E}"/>
              </c:ext>
            </c:extLst>
          </c:dPt>
          <c:dPt>
            <c:idx val="351"/>
            <c:invertIfNegative val="1"/>
            <c:bubble3D val="0"/>
            <c:spPr>
              <a:solidFill>
                <a:srgbClr val="AEABAB"/>
              </a:solidFill>
            </c:spPr>
            <c:extLst>
              <c:ext xmlns:c16="http://schemas.microsoft.com/office/drawing/2014/chart" uri="{C3380CC4-5D6E-409C-BE32-E72D297353CC}">
                <c16:uniqueId val="{000002C1-2D27-4D0B-B5E6-C6853413723E}"/>
              </c:ext>
            </c:extLst>
          </c:dPt>
          <c:dPt>
            <c:idx val="352"/>
            <c:invertIfNegative val="1"/>
            <c:bubble3D val="0"/>
            <c:spPr>
              <a:solidFill>
                <a:srgbClr val="AEABAB"/>
              </a:solidFill>
            </c:spPr>
            <c:extLst>
              <c:ext xmlns:c16="http://schemas.microsoft.com/office/drawing/2014/chart" uri="{C3380CC4-5D6E-409C-BE32-E72D297353CC}">
                <c16:uniqueId val="{000002C3-2D27-4D0B-B5E6-C6853413723E}"/>
              </c:ext>
            </c:extLst>
          </c:dPt>
          <c:dPt>
            <c:idx val="353"/>
            <c:invertIfNegative val="1"/>
            <c:bubble3D val="0"/>
            <c:spPr>
              <a:solidFill>
                <a:srgbClr val="AEABAB"/>
              </a:solidFill>
            </c:spPr>
            <c:extLst>
              <c:ext xmlns:c16="http://schemas.microsoft.com/office/drawing/2014/chart" uri="{C3380CC4-5D6E-409C-BE32-E72D297353CC}">
                <c16:uniqueId val="{000002C5-2D27-4D0B-B5E6-C6853413723E}"/>
              </c:ext>
            </c:extLst>
          </c:dPt>
          <c:dPt>
            <c:idx val="354"/>
            <c:invertIfNegative val="1"/>
            <c:bubble3D val="0"/>
            <c:spPr>
              <a:solidFill>
                <a:srgbClr val="AEABAB"/>
              </a:solidFill>
            </c:spPr>
            <c:extLst>
              <c:ext xmlns:c16="http://schemas.microsoft.com/office/drawing/2014/chart" uri="{C3380CC4-5D6E-409C-BE32-E72D297353CC}">
                <c16:uniqueId val="{000002C7-2D27-4D0B-B5E6-C6853413723E}"/>
              </c:ext>
            </c:extLst>
          </c:dPt>
          <c:dPt>
            <c:idx val="355"/>
            <c:invertIfNegative val="1"/>
            <c:bubble3D val="0"/>
            <c:spPr>
              <a:solidFill>
                <a:srgbClr val="AEABAB"/>
              </a:solidFill>
            </c:spPr>
            <c:extLst>
              <c:ext xmlns:c16="http://schemas.microsoft.com/office/drawing/2014/chart" uri="{C3380CC4-5D6E-409C-BE32-E72D297353CC}">
                <c16:uniqueId val="{000002C9-2D27-4D0B-B5E6-C6853413723E}"/>
              </c:ext>
            </c:extLst>
          </c:dPt>
          <c:dPt>
            <c:idx val="356"/>
            <c:invertIfNegative val="1"/>
            <c:bubble3D val="0"/>
            <c:spPr>
              <a:solidFill>
                <a:srgbClr val="AEABAB"/>
              </a:solidFill>
            </c:spPr>
            <c:extLst>
              <c:ext xmlns:c16="http://schemas.microsoft.com/office/drawing/2014/chart" uri="{C3380CC4-5D6E-409C-BE32-E72D297353CC}">
                <c16:uniqueId val="{000002CB-2D27-4D0B-B5E6-C6853413723E}"/>
              </c:ext>
            </c:extLst>
          </c:dPt>
          <c:dPt>
            <c:idx val="357"/>
            <c:invertIfNegative val="1"/>
            <c:bubble3D val="0"/>
            <c:spPr>
              <a:solidFill>
                <a:srgbClr val="AEABAB"/>
              </a:solidFill>
            </c:spPr>
            <c:extLst>
              <c:ext xmlns:c16="http://schemas.microsoft.com/office/drawing/2014/chart" uri="{C3380CC4-5D6E-409C-BE32-E72D297353CC}">
                <c16:uniqueId val="{000002CD-2D27-4D0B-B5E6-C6853413723E}"/>
              </c:ext>
            </c:extLst>
          </c:dPt>
          <c:dPt>
            <c:idx val="358"/>
            <c:invertIfNegative val="1"/>
            <c:bubble3D val="0"/>
            <c:spPr>
              <a:solidFill>
                <a:srgbClr val="AEABAB"/>
              </a:solidFill>
            </c:spPr>
            <c:extLst>
              <c:ext xmlns:c16="http://schemas.microsoft.com/office/drawing/2014/chart" uri="{C3380CC4-5D6E-409C-BE32-E72D297353CC}">
                <c16:uniqueId val="{000002CF-2D27-4D0B-B5E6-C6853413723E}"/>
              </c:ext>
            </c:extLst>
          </c:dPt>
          <c:dPt>
            <c:idx val="359"/>
            <c:invertIfNegative val="1"/>
            <c:bubble3D val="0"/>
            <c:spPr>
              <a:solidFill>
                <a:srgbClr val="AEABAB"/>
              </a:solidFill>
            </c:spPr>
            <c:extLst>
              <c:ext xmlns:c16="http://schemas.microsoft.com/office/drawing/2014/chart" uri="{C3380CC4-5D6E-409C-BE32-E72D297353CC}">
                <c16:uniqueId val="{000002D1-2D27-4D0B-B5E6-C6853413723E}"/>
              </c:ext>
            </c:extLst>
          </c:dPt>
          <c:dPt>
            <c:idx val="360"/>
            <c:invertIfNegative val="1"/>
            <c:bubble3D val="0"/>
            <c:spPr>
              <a:solidFill>
                <a:srgbClr val="AEABAB"/>
              </a:solidFill>
            </c:spPr>
            <c:extLst>
              <c:ext xmlns:c16="http://schemas.microsoft.com/office/drawing/2014/chart" uri="{C3380CC4-5D6E-409C-BE32-E72D297353CC}">
                <c16:uniqueId val="{000002D3-2D27-4D0B-B5E6-C6853413723E}"/>
              </c:ext>
            </c:extLst>
          </c:dPt>
          <c:dPt>
            <c:idx val="361"/>
            <c:invertIfNegative val="1"/>
            <c:bubble3D val="0"/>
            <c:spPr>
              <a:solidFill>
                <a:srgbClr val="AEABAB"/>
              </a:solidFill>
            </c:spPr>
            <c:extLst>
              <c:ext xmlns:c16="http://schemas.microsoft.com/office/drawing/2014/chart" uri="{C3380CC4-5D6E-409C-BE32-E72D297353CC}">
                <c16:uniqueId val="{000002D5-2D27-4D0B-B5E6-C6853413723E}"/>
              </c:ext>
            </c:extLst>
          </c:dPt>
          <c:dPt>
            <c:idx val="362"/>
            <c:invertIfNegative val="1"/>
            <c:bubble3D val="0"/>
            <c:spPr>
              <a:solidFill>
                <a:srgbClr val="AEABAB"/>
              </a:solidFill>
            </c:spPr>
            <c:extLst>
              <c:ext xmlns:c16="http://schemas.microsoft.com/office/drawing/2014/chart" uri="{C3380CC4-5D6E-409C-BE32-E72D297353CC}">
                <c16:uniqueId val="{000002D7-2D27-4D0B-B5E6-C6853413723E}"/>
              </c:ext>
            </c:extLst>
          </c:dPt>
          <c:dPt>
            <c:idx val="363"/>
            <c:invertIfNegative val="1"/>
            <c:bubble3D val="0"/>
            <c:spPr>
              <a:solidFill>
                <a:srgbClr val="AEABAB"/>
              </a:solidFill>
            </c:spPr>
            <c:extLst>
              <c:ext xmlns:c16="http://schemas.microsoft.com/office/drawing/2014/chart" uri="{C3380CC4-5D6E-409C-BE32-E72D297353CC}">
                <c16:uniqueId val="{000002D9-2D27-4D0B-B5E6-C6853413723E}"/>
              </c:ext>
            </c:extLst>
          </c:dPt>
          <c:dPt>
            <c:idx val="364"/>
            <c:invertIfNegative val="1"/>
            <c:bubble3D val="0"/>
            <c:spPr>
              <a:solidFill>
                <a:srgbClr val="AEABAB"/>
              </a:solidFill>
            </c:spPr>
            <c:extLst>
              <c:ext xmlns:c16="http://schemas.microsoft.com/office/drawing/2014/chart" uri="{C3380CC4-5D6E-409C-BE32-E72D297353CC}">
                <c16:uniqueId val="{000002DB-2D27-4D0B-B5E6-C6853413723E}"/>
              </c:ext>
            </c:extLst>
          </c:dPt>
          <c:dPt>
            <c:idx val="365"/>
            <c:invertIfNegative val="1"/>
            <c:bubble3D val="0"/>
            <c:spPr>
              <a:solidFill>
                <a:srgbClr val="AEABAB"/>
              </a:solidFill>
            </c:spPr>
            <c:extLst>
              <c:ext xmlns:c16="http://schemas.microsoft.com/office/drawing/2014/chart" uri="{C3380CC4-5D6E-409C-BE32-E72D297353CC}">
                <c16:uniqueId val="{000002DD-2D27-4D0B-B5E6-C6853413723E}"/>
              </c:ext>
            </c:extLst>
          </c:dPt>
          <c:dPt>
            <c:idx val="366"/>
            <c:invertIfNegative val="1"/>
            <c:bubble3D val="0"/>
            <c:spPr>
              <a:solidFill>
                <a:srgbClr val="AEABAB"/>
              </a:solidFill>
            </c:spPr>
            <c:extLst>
              <c:ext xmlns:c16="http://schemas.microsoft.com/office/drawing/2014/chart" uri="{C3380CC4-5D6E-409C-BE32-E72D297353CC}">
                <c16:uniqueId val="{000002DF-2D27-4D0B-B5E6-C6853413723E}"/>
              </c:ext>
            </c:extLst>
          </c:dPt>
          <c:dPt>
            <c:idx val="367"/>
            <c:invertIfNegative val="1"/>
            <c:bubble3D val="0"/>
            <c:spPr>
              <a:solidFill>
                <a:srgbClr val="AEABAB"/>
              </a:solidFill>
            </c:spPr>
            <c:extLst>
              <c:ext xmlns:c16="http://schemas.microsoft.com/office/drawing/2014/chart" uri="{C3380CC4-5D6E-409C-BE32-E72D297353CC}">
                <c16:uniqueId val="{000002E1-2D27-4D0B-B5E6-C6853413723E}"/>
              </c:ext>
            </c:extLst>
          </c:dPt>
          <c:dPt>
            <c:idx val="368"/>
            <c:invertIfNegative val="1"/>
            <c:bubble3D val="0"/>
            <c:spPr>
              <a:solidFill>
                <a:srgbClr val="AEABAB"/>
              </a:solidFill>
            </c:spPr>
            <c:extLst>
              <c:ext xmlns:c16="http://schemas.microsoft.com/office/drawing/2014/chart" uri="{C3380CC4-5D6E-409C-BE32-E72D297353CC}">
                <c16:uniqueId val="{000002E3-2D27-4D0B-B5E6-C6853413723E}"/>
              </c:ext>
            </c:extLst>
          </c:dPt>
          <c:dPt>
            <c:idx val="369"/>
            <c:invertIfNegative val="1"/>
            <c:bubble3D val="0"/>
            <c:spPr>
              <a:solidFill>
                <a:srgbClr val="AEABAB"/>
              </a:solidFill>
            </c:spPr>
            <c:extLst>
              <c:ext xmlns:c16="http://schemas.microsoft.com/office/drawing/2014/chart" uri="{C3380CC4-5D6E-409C-BE32-E72D297353CC}">
                <c16:uniqueId val="{000002E5-2D27-4D0B-B5E6-C6853413723E}"/>
              </c:ext>
            </c:extLst>
          </c:dPt>
          <c:dPt>
            <c:idx val="370"/>
            <c:invertIfNegative val="1"/>
            <c:bubble3D val="0"/>
            <c:spPr>
              <a:solidFill>
                <a:srgbClr val="AEABAB"/>
              </a:solidFill>
            </c:spPr>
            <c:extLst>
              <c:ext xmlns:c16="http://schemas.microsoft.com/office/drawing/2014/chart" uri="{C3380CC4-5D6E-409C-BE32-E72D297353CC}">
                <c16:uniqueId val="{000002E7-2D27-4D0B-B5E6-C6853413723E}"/>
              </c:ext>
            </c:extLst>
          </c:dPt>
          <c:dPt>
            <c:idx val="371"/>
            <c:invertIfNegative val="1"/>
            <c:bubble3D val="0"/>
            <c:spPr>
              <a:solidFill>
                <a:srgbClr val="AEABAB"/>
              </a:solidFill>
            </c:spPr>
            <c:extLst>
              <c:ext xmlns:c16="http://schemas.microsoft.com/office/drawing/2014/chart" uri="{C3380CC4-5D6E-409C-BE32-E72D297353CC}">
                <c16:uniqueId val="{000002E9-2D27-4D0B-B5E6-C6853413723E}"/>
              </c:ext>
            </c:extLst>
          </c:dPt>
          <c:dPt>
            <c:idx val="372"/>
            <c:invertIfNegative val="1"/>
            <c:bubble3D val="0"/>
            <c:spPr>
              <a:solidFill>
                <a:srgbClr val="AEABAB"/>
              </a:solidFill>
            </c:spPr>
            <c:extLst>
              <c:ext xmlns:c16="http://schemas.microsoft.com/office/drawing/2014/chart" uri="{C3380CC4-5D6E-409C-BE32-E72D297353CC}">
                <c16:uniqueId val="{000002EB-2D27-4D0B-B5E6-C6853413723E}"/>
              </c:ext>
            </c:extLst>
          </c:dPt>
          <c:dPt>
            <c:idx val="373"/>
            <c:invertIfNegative val="1"/>
            <c:bubble3D val="0"/>
            <c:spPr>
              <a:solidFill>
                <a:srgbClr val="AEABAB"/>
              </a:solidFill>
            </c:spPr>
            <c:extLst>
              <c:ext xmlns:c16="http://schemas.microsoft.com/office/drawing/2014/chart" uri="{C3380CC4-5D6E-409C-BE32-E72D297353CC}">
                <c16:uniqueId val="{000002ED-2D27-4D0B-B5E6-C6853413723E}"/>
              </c:ext>
            </c:extLst>
          </c:dPt>
          <c:dPt>
            <c:idx val="374"/>
            <c:invertIfNegative val="1"/>
            <c:bubble3D val="0"/>
            <c:spPr>
              <a:solidFill>
                <a:srgbClr val="AEABAB"/>
              </a:solidFill>
            </c:spPr>
            <c:extLst>
              <c:ext xmlns:c16="http://schemas.microsoft.com/office/drawing/2014/chart" uri="{C3380CC4-5D6E-409C-BE32-E72D297353CC}">
                <c16:uniqueId val="{000002EF-2D27-4D0B-B5E6-C6853413723E}"/>
              </c:ext>
            </c:extLst>
          </c:dPt>
          <c:dPt>
            <c:idx val="375"/>
            <c:invertIfNegative val="1"/>
            <c:bubble3D val="0"/>
            <c:spPr>
              <a:solidFill>
                <a:srgbClr val="AEABAB"/>
              </a:solidFill>
            </c:spPr>
            <c:extLst>
              <c:ext xmlns:c16="http://schemas.microsoft.com/office/drawing/2014/chart" uri="{C3380CC4-5D6E-409C-BE32-E72D297353CC}">
                <c16:uniqueId val="{000002F1-2D27-4D0B-B5E6-C6853413723E}"/>
              </c:ext>
            </c:extLst>
          </c:dPt>
          <c:dPt>
            <c:idx val="376"/>
            <c:invertIfNegative val="1"/>
            <c:bubble3D val="0"/>
            <c:spPr>
              <a:solidFill>
                <a:srgbClr val="AEABAB"/>
              </a:solidFill>
            </c:spPr>
            <c:extLst>
              <c:ext xmlns:c16="http://schemas.microsoft.com/office/drawing/2014/chart" uri="{C3380CC4-5D6E-409C-BE32-E72D297353CC}">
                <c16:uniqueId val="{000002F3-2D27-4D0B-B5E6-C6853413723E}"/>
              </c:ext>
            </c:extLst>
          </c:dPt>
          <c:dPt>
            <c:idx val="377"/>
            <c:invertIfNegative val="1"/>
            <c:bubble3D val="0"/>
            <c:spPr>
              <a:solidFill>
                <a:srgbClr val="AEABAB"/>
              </a:solidFill>
            </c:spPr>
            <c:extLst>
              <c:ext xmlns:c16="http://schemas.microsoft.com/office/drawing/2014/chart" uri="{C3380CC4-5D6E-409C-BE32-E72D297353CC}">
                <c16:uniqueId val="{000002F5-2D27-4D0B-B5E6-C6853413723E}"/>
              </c:ext>
            </c:extLst>
          </c:dPt>
          <c:dPt>
            <c:idx val="378"/>
            <c:invertIfNegative val="1"/>
            <c:bubble3D val="0"/>
            <c:spPr>
              <a:solidFill>
                <a:srgbClr val="AEABAB"/>
              </a:solidFill>
            </c:spPr>
            <c:extLst>
              <c:ext xmlns:c16="http://schemas.microsoft.com/office/drawing/2014/chart" uri="{C3380CC4-5D6E-409C-BE32-E72D297353CC}">
                <c16:uniqueId val="{000002F7-2D27-4D0B-B5E6-C6853413723E}"/>
              </c:ext>
            </c:extLst>
          </c:dPt>
          <c:dPt>
            <c:idx val="379"/>
            <c:invertIfNegative val="1"/>
            <c:bubble3D val="0"/>
            <c:spPr>
              <a:solidFill>
                <a:srgbClr val="AEABAB"/>
              </a:solidFill>
            </c:spPr>
            <c:extLst>
              <c:ext xmlns:c16="http://schemas.microsoft.com/office/drawing/2014/chart" uri="{C3380CC4-5D6E-409C-BE32-E72D297353CC}">
                <c16:uniqueId val="{000002F9-2D27-4D0B-B5E6-C6853413723E}"/>
              </c:ext>
            </c:extLst>
          </c:dPt>
          <c:dPt>
            <c:idx val="380"/>
            <c:invertIfNegative val="1"/>
            <c:bubble3D val="0"/>
            <c:spPr>
              <a:solidFill>
                <a:srgbClr val="AEABAB"/>
              </a:solidFill>
            </c:spPr>
            <c:extLst>
              <c:ext xmlns:c16="http://schemas.microsoft.com/office/drawing/2014/chart" uri="{C3380CC4-5D6E-409C-BE32-E72D297353CC}">
                <c16:uniqueId val="{000002FB-2D27-4D0B-B5E6-C6853413723E}"/>
              </c:ext>
            </c:extLst>
          </c:dPt>
          <c:dPt>
            <c:idx val="381"/>
            <c:invertIfNegative val="1"/>
            <c:bubble3D val="0"/>
            <c:spPr>
              <a:solidFill>
                <a:srgbClr val="AEABAB"/>
              </a:solidFill>
            </c:spPr>
            <c:extLst>
              <c:ext xmlns:c16="http://schemas.microsoft.com/office/drawing/2014/chart" uri="{C3380CC4-5D6E-409C-BE32-E72D297353CC}">
                <c16:uniqueId val="{000002FD-2D27-4D0B-B5E6-C6853413723E}"/>
              </c:ext>
            </c:extLst>
          </c:dPt>
          <c:dPt>
            <c:idx val="382"/>
            <c:invertIfNegative val="1"/>
            <c:bubble3D val="0"/>
            <c:spPr>
              <a:solidFill>
                <a:srgbClr val="AEABAB"/>
              </a:solidFill>
            </c:spPr>
            <c:extLst>
              <c:ext xmlns:c16="http://schemas.microsoft.com/office/drawing/2014/chart" uri="{C3380CC4-5D6E-409C-BE32-E72D297353CC}">
                <c16:uniqueId val="{000002FF-2D27-4D0B-B5E6-C6853413723E}"/>
              </c:ext>
            </c:extLst>
          </c:dPt>
          <c:dPt>
            <c:idx val="383"/>
            <c:invertIfNegative val="1"/>
            <c:bubble3D val="0"/>
            <c:spPr>
              <a:solidFill>
                <a:srgbClr val="AEABAB"/>
              </a:solidFill>
            </c:spPr>
            <c:extLst>
              <c:ext xmlns:c16="http://schemas.microsoft.com/office/drawing/2014/chart" uri="{C3380CC4-5D6E-409C-BE32-E72D297353CC}">
                <c16:uniqueId val="{00000301-2D27-4D0B-B5E6-C6853413723E}"/>
              </c:ext>
            </c:extLst>
          </c:dPt>
          <c:dPt>
            <c:idx val="384"/>
            <c:invertIfNegative val="1"/>
            <c:bubble3D val="0"/>
            <c:spPr>
              <a:solidFill>
                <a:srgbClr val="AEABAB"/>
              </a:solidFill>
            </c:spPr>
            <c:extLst>
              <c:ext xmlns:c16="http://schemas.microsoft.com/office/drawing/2014/chart" uri="{C3380CC4-5D6E-409C-BE32-E72D297353CC}">
                <c16:uniqueId val="{00000303-2D27-4D0B-B5E6-C6853413723E}"/>
              </c:ext>
            </c:extLst>
          </c:dPt>
          <c:dPt>
            <c:idx val="385"/>
            <c:invertIfNegative val="1"/>
            <c:bubble3D val="0"/>
            <c:spPr>
              <a:solidFill>
                <a:srgbClr val="AEABAB"/>
              </a:solidFill>
            </c:spPr>
            <c:extLst>
              <c:ext xmlns:c16="http://schemas.microsoft.com/office/drawing/2014/chart" uri="{C3380CC4-5D6E-409C-BE32-E72D297353CC}">
                <c16:uniqueId val="{00000305-2D27-4D0B-B5E6-C6853413723E}"/>
              </c:ext>
            </c:extLst>
          </c:dPt>
          <c:dPt>
            <c:idx val="386"/>
            <c:invertIfNegative val="1"/>
            <c:bubble3D val="0"/>
            <c:spPr>
              <a:solidFill>
                <a:srgbClr val="AEABAB"/>
              </a:solidFill>
            </c:spPr>
            <c:extLst>
              <c:ext xmlns:c16="http://schemas.microsoft.com/office/drawing/2014/chart" uri="{C3380CC4-5D6E-409C-BE32-E72D297353CC}">
                <c16:uniqueId val="{00000307-2D27-4D0B-B5E6-C6853413723E}"/>
              </c:ext>
            </c:extLst>
          </c:dPt>
          <c:dPt>
            <c:idx val="387"/>
            <c:invertIfNegative val="1"/>
            <c:bubble3D val="0"/>
            <c:spPr>
              <a:solidFill>
                <a:srgbClr val="AEABAB"/>
              </a:solidFill>
            </c:spPr>
            <c:extLst>
              <c:ext xmlns:c16="http://schemas.microsoft.com/office/drawing/2014/chart" uri="{C3380CC4-5D6E-409C-BE32-E72D297353CC}">
                <c16:uniqueId val="{00000309-2D27-4D0B-B5E6-C6853413723E}"/>
              </c:ext>
            </c:extLst>
          </c:dPt>
          <c:dPt>
            <c:idx val="388"/>
            <c:invertIfNegative val="1"/>
            <c:bubble3D val="0"/>
            <c:spPr>
              <a:solidFill>
                <a:srgbClr val="AEABAB"/>
              </a:solidFill>
            </c:spPr>
            <c:extLst>
              <c:ext xmlns:c16="http://schemas.microsoft.com/office/drawing/2014/chart" uri="{C3380CC4-5D6E-409C-BE32-E72D297353CC}">
                <c16:uniqueId val="{0000030B-2D27-4D0B-B5E6-C6853413723E}"/>
              </c:ext>
            </c:extLst>
          </c:dPt>
          <c:dPt>
            <c:idx val="389"/>
            <c:invertIfNegative val="1"/>
            <c:bubble3D val="0"/>
            <c:spPr>
              <a:solidFill>
                <a:srgbClr val="AEABAB"/>
              </a:solidFill>
            </c:spPr>
            <c:extLst>
              <c:ext xmlns:c16="http://schemas.microsoft.com/office/drawing/2014/chart" uri="{C3380CC4-5D6E-409C-BE32-E72D297353CC}">
                <c16:uniqueId val="{0000030D-2D27-4D0B-B5E6-C6853413723E}"/>
              </c:ext>
            </c:extLst>
          </c:dPt>
          <c:dPt>
            <c:idx val="390"/>
            <c:invertIfNegative val="1"/>
            <c:bubble3D val="0"/>
            <c:spPr>
              <a:solidFill>
                <a:srgbClr val="AEABAB"/>
              </a:solidFill>
            </c:spPr>
            <c:extLst>
              <c:ext xmlns:c16="http://schemas.microsoft.com/office/drawing/2014/chart" uri="{C3380CC4-5D6E-409C-BE32-E72D297353CC}">
                <c16:uniqueId val="{0000030F-2D27-4D0B-B5E6-C6853413723E}"/>
              </c:ext>
            </c:extLst>
          </c:dPt>
          <c:dPt>
            <c:idx val="391"/>
            <c:invertIfNegative val="1"/>
            <c:bubble3D val="0"/>
            <c:spPr>
              <a:solidFill>
                <a:srgbClr val="AEABAB"/>
              </a:solidFill>
            </c:spPr>
            <c:extLst>
              <c:ext xmlns:c16="http://schemas.microsoft.com/office/drawing/2014/chart" uri="{C3380CC4-5D6E-409C-BE32-E72D297353CC}">
                <c16:uniqueId val="{00000311-2D27-4D0B-B5E6-C6853413723E}"/>
              </c:ext>
            </c:extLst>
          </c:dPt>
          <c:dPt>
            <c:idx val="392"/>
            <c:invertIfNegative val="1"/>
            <c:bubble3D val="0"/>
            <c:spPr>
              <a:solidFill>
                <a:srgbClr val="AEABAB"/>
              </a:solidFill>
            </c:spPr>
            <c:extLst>
              <c:ext xmlns:c16="http://schemas.microsoft.com/office/drawing/2014/chart" uri="{C3380CC4-5D6E-409C-BE32-E72D297353CC}">
                <c16:uniqueId val="{00000313-2D27-4D0B-B5E6-C6853413723E}"/>
              </c:ext>
            </c:extLst>
          </c:dPt>
          <c:dPt>
            <c:idx val="393"/>
            <c:invertIfNegative val="1"/>
            <c:bubble3D val="0"/>
            <c:spPr>
              <a:solidFill>
                <a:srgbClr val="AEABAB"/>
              </a:solidFill>
            </c:spPr>
            <c:extLst>
              <c:ext xmlns:c16="http://schemas.microsoft.com/office/drawing/2014/chart" uri="{C3380CC4-5D6E-409C-BE32-E72D297353CC}">
                <c16:uniqueId val="{00000315-2D27-4D0B-B5E6-C6853413723E}"/>
              </c:ext>
            </c:extLst>
          </c:dPt>
          <c:dPt>
            <c:idx val="394"/>
            <c:invertIfNegative val="1"/>
            <c:bubble3D val="0"/>
            <c:spPr>
              <a:solidFill>
                <a:srgbClr val="AEABAB"/>
              </a:solidFill>
            </c:spPr>
            <c:extLst>
              <c:ext xmlns:c16="http://schemas.microsoft.com/office/drawing/2014/chart" uri="{C3380CC4-5D6E-409C-BE32-E72D297353CC}">
                <c16:uniqueId val="{00000317-2D27-4D0B-B5E6-C6853413723E}"/>
              </c:ext>
            </c:extLst>
          </c:dPt>
          <c:dPt>
            <c:idx val="395"/>
            <c:invertIfNegative val="1"/>
            <c:bubble3D val="0"/>
            <c:spPr>
              <a:solidFill>
                <a:srgbClr val="AEABAB"/>
              </a:solidFill>
            </c:spPr>
            <c:extLst>
              <c:ext xmlns:c16="http://schemas.microsoft.com/office/drawing/2014/chart" uri="{C3380CC4-5D6E-409C-BE32-E72D297353CC}">
                <c16:uniqueId val="{00000319-2D27-4D0B-B5E6-C6853413723E}"/>
              </c:ext>
            </c:extLst>
          </c:dPt>
          <c:dPt>
            <c:idx val="396"/>
            <c:invertIfNegative val="1"/>
            <c:bubble3D val="0"/>
            <c:spPr>
              <a:solidFill>
                <a:srgbClr val="AEABAB"/>
              </a:solidFill>
            </c:spPr>
            <c:extLst>
              <c:ext xmlns:c16="http://schemas.microsoft.com/office/drawing/2014/chart" uri="{C3380CC4-5D6E-409C-BE32-E72D297353CC}">
                <c16:uniqueId val="{0000031B-2D27-4D0B-B5E6-C6853413723E}"/>
              </c:ext>
            </c:extLst>
          </c:dPt>
          <c:dPt>
            <c:idx val="397"/>
            <c:invertIfNegative val="1"/>
            <c:bubble3D val="0"/>
            <c:spPr>
              <a:solidFill>
                <a:srgbClr val="AEABAB"/>
              </a:solidFill>
            </c:spPr>
            <c:extLst>
              <c:ext xmlns:c16="http://schemas.microsoft.com/office/drawing/2014/chart" uri="{C3380CC4-5D6E-409C-BE32-E72D297353CC}">
                <c16:uniqueId val="{0000031D-2D27-4D0B-B5E6-C6853413723E}"/>
              </c:ext>
            </c:extLst>
          </c:dPt>
          <c:dPt>
            <c:idx val="398"/>
            <c:invertIfNegative val="1"/>
            <c:bubble3D val="0"/>
            <c:spPr>
              <a:solidFill>
                <a:srgbClr val="AEABAB"/>
              </a:solidFill>
            </c:spPr>
            <c:extLst>
              <c:ext xmlns:c16="http://schemas.microsoft.com/office/drawing/2014/chart" uri="{C3380CC4-5D6E-409C-BE32-E72D297353CC}">
                <c16:uniqueId val="{0000031F-2D27-4D0B-B5E6-C6853413723E}"/>
              </c:ext>
            </c:extLst>
          </c:dPt>
          <c:dPt>
            <c:idx val="399"/>
            <c:invertIfNegative val="1"/>
            <c:bubble3D val="0"/>
            <c:spPr>
              <a:solidFill>
                <a:srgbClr val="AEABAB"/>
              </a:solidFill>
            </c:spPr>
            <c:extLst>
              <c:ext xmlns:c16="http://schemas.microsoft.com/office/drawing/2014/chart" uri="{C3380CC4-5D6E-409C-BE32-E72D297353CC}">
                <c16:uniqueId val="{00000321-2D27-4D0B-B5E6-C6853413723E}"/>
              </c:ext>
            </c:extLst>
          </c:dPt>
          <c:dPt>
            <c:idx val="400"/>
            <c:invertIfNegative val="1"/>
            <c:bubble3D val="0"/>
            <c:spPr>
              <a:solidFill>
                <a:srgbClr val="AEABAB"/>
              </a:solidFill>
            </c:spPr>
            <c:extLst>
              <c:ext xmlns:c16="http://schemas.microsoft.com/office/drawing/2014/chart" uri="{C3380CC4-5D6E-409C-BE32-E72D297353CC}">
                <c16:uniqueId val="{00000323-2D27-4D0B-B5E6-C6853413723E}"/>
              </c:ext>
            </c:extLst>
          </c:dPt>
          <c:dPt>
            <c:idx val="401"/>
            <c:invertIfNegative val="1"/>
            <c:bubble3D val="0"/>
            <c:spPr>
              <a:solidFill>
                <a:srgbClr val="AEABAB"/>
              </a:solidFill>
            </c:spPr>
            <c:extLst>
              <c:ext xmlns:c16="http://schemas.microsoft.com/office/drawing/2014/chart" uri="{C3380CC4-5D6E-409C-BE32-E72D297353CC}">
                <c16:uniqueId val="{00000325-2D27-4D0B-B5E6-C6853413723E}"/>
              </c:ext>
            </c:extLst>
          </c:dPt>
          <c:dPt>
            <c:idx val="402"/>
            <c:invertIfNegative val="1"/>
            <c:bubble3D val="0"/>
            <c:spPr>
              <a:solidFill>
                <a:srgbClr val="AEABAB"/>
              </a:solidFill>
            </c:spPr>
            <c:extLst>
              <c:ext xmlns:c16="http://schemas.microsoft.com/office/drawing/2014/chart" uri="{C3380CC4-5D6E-409C-BE32-E72D297353CC}">
                <c16:uniqueId val="{00000327-2D27-4D0B-B5E6-C6853413723E}"/>
              </c:ext>
            </c:extLst>
          </c:dPt>
          <c:dPt>
            <c:idx val="403"/>
            <c:invertIfNegative val="1"/>
            <c:bubble3D val="0"/>
            <c:spPr>
              <a:solidFill>
                <a:srgbClr val="AEABAB"/>
              </a:solidFill>
            </c:spPr>
            <c:extLst>
              <c:ext xmlns:c16="http://schemas.microsoft.com/office/drawing/2014/chart" uri="{C3380CC4-5D6E-409C-BE32-E72D297353CC}">
                <c16:uniqueId val="{00000329-2D27-4D0B-B5E6-C6853413723E}"/>
              </c:ext>
            </c:extLst>
          </c:dPt>
          <c:dPt>
            <c:idx val="404"/>
            <c:invertIfNegative val="1"/>
            <c:bubble3D val="0"/>
            <c:spPr>
              <a:solidFill>
                <a:srgbClr val="AEABAB"/>
              </a:solidFill>
            </c:spPr>
            <c:extLst>
              <c:ext xmlns:c16="http://schemas.microsoft.com/office/drawing/2014/chart" uri="{C3380CC4-5D6E-409C-BE32-E72D297353CC}">
                <c16:uniqueId val="{0000032B-2D27-4D0B-B5E6-C6853413723E}"/>
              </c:ext>
            </c:extLst>
          </c:dPt>
          <c:dPt>
            <c:idx val="405"/>
            <c:invertIfNegative val="1"/>
            <c:bubble3D val="0"/>
            <c:spPr>
              <a:solidFill>
                <a:srgbClr val="AEABAB"/>
              </a:solidFill>
            </c:spPr>
            <c:extLst>
              <c:ext xmlns:c16="http://schemas.microsoft.com/office/drawing/2014/chart" uri="{C3380CC4-5D6E-409C-BE32-E72D297353CC}">
                <c16:uniqueId val="{0000032D-2D27-4D0B-B5E6-C6853413723E}"/>
              </c:ext>
            </c:extLst>
          </c:dPt>
          <c:dPt>
            <c:idx val="406"/>
            <c:invertIfNegative val="1"/>
            <c:bubble3D val="0"/>
            <c:spPr>
              <a:solidFill>
                <a:srgbClr val="AEABAB"/>
              </a:solidFill>
            </c:spPr>
            <c:extLst>
              <c:ext xmlns:c16="http://schemas.microsoft.com/office/drawing/2014/chart" uri="{C3380CC4-5D6E-409C-BE32-E72D297353CC}">
                <c16:uniqueId val="{0000032F-2D27-4D0B-B5E6-C6853413723E}"/>
              </c:ext>
            </c:extLst>
          </c:dPt>
          <c:dPt>
            <c:idx val="407"/>
            <c:invertIfNegative val="1"/>
            <c:bubble3D val="0"/>
            <c:spPr>
              <a:solidFill>
                <a:srgbClr val="AEABAB"/>
              </a:solidFill>
            </c:spPr>
            <c:extLst>
              <c:ext xmlns:c16="http://schemas.microsoft.com/office/drawing/2014/chart" uri="{C3380CC4-5D6E-409C-BE32-E72D297353CC}">
                <c16:uniqueId val="{00000331-2D27-4D0B-B5E6-C6853413723E}"/>
              </c:ext>
            </c:extLst>
          </c:dPt>
          <c:dPt>
            <c:idx val="408"/>
            <c:invertIfNegative val="1"/>
            <c:bubble3D val="0"/>
            <c:spPr>
              <a:solidFill>
                <a:srgbClr val="AEABAB"/>
              </a:solidFill>
            </c:spPr>
            <c:extLst>
              <c:ext xmlns:c16="http://schemas.microsoft.com/office/drawing/2014/chart" uri="{C3380CC4-5D6E-409C-BE32-E72D297353CC}">
                <c16:uniqueId val="{00000333-2D27-4D0B-B5E6-C6853413723E}"/>
              </c:ext>
            </c:extLst>
          </c:dPt>
          <c:dPt>
            <c:idx val="409"/>
            <c:invertIfNegative val="1"/>
            <c:bubble3D val="0"/>
            <c:spPr>
              <a:solidFill>
                <a:srgbClr val="AEABAB"/>
              </a:solidFill>
            </c:spPr>
            <c:extLst>
              <c:ext xmlns:c16="http://schemas.microsoft.com/office/drawing/2014/chart" uri="{C3380CC4-5D6E-409C-BE32-E72D297353CC}">
                <c16:uniqueId val="{00000335-2D27-4D0B-B5E6-C6853413723E}"/>
              </c:ext>
            </c:extLst>
          </c:dPt>
          <c:dPt>
            <c:idx val="410"/>
            <c:invertIfNegative val="1"/>
            <c:bubble3D val="0"/>
            <c:spPr>
              <a:solidFill>
                <a:srgbClr val="AEABAB"/>
              </a:solidFill>
            </c:spPr>
            <c:extLst>
              <c:ext xmlns:c16="http://schemas.microsoft.com/office/drawing/2014/chart" uri="{C3380CC4-5D6E-409C-BE32-E72D297353CC}">
                <c16:uniqueId val="{00000337-2D27-4D0B-B5E6-C6853413723E}"/>
              </c:ext>
            </c:extLst>
          </c:dPt>
          <c:dPt>
            <c:idx val="411"/>
            <c:invertIfNegative val="1"/>
            <c:bubble3D val="0"/>
            <c:spPr>
              <a:solidFill>
                <a:srgbClr val="AEABAB"/>
              </a:solidFill>
            </c:spPr>
            <c:extLst>
              <c:ext xmlns:c16="http://schemas.microsoft.com/office/drawing/2014/chart" uri="{C3380CC4-5D6E-409C-BE32-E72D297353CC}">
                <c16:uniqueId val="{00000339-2D27-4D0B-B5E6-C6853413723E}"/>
              </c:ext>
            </c:extLst>
          </c:dPt>
          <c:dPt>
            <c:idx val="412"/>
            <c:invertIfNegative val="1"/>
            <c:bubble3D val="0"/>
            <c:spPr>
              <a:solidFill>
                <a:srgbClr val="AEABAB"/>
              </a:solidFill>
            </c:spPr>
            <c:extLst>
              <c:ext xmlns:c16="http://schemas.microsoft.com/office/drawing/2014/chart" uri="{C3380CC4-5D6E-409C-BE32-E72D297353CC}">
                <c16:uniqueId val="{0000033B-2D27-4D0B-B5E6-C6853413723E}"/>
              </c:ext>
            </c:extLst>
          </c:dPt>
          <c:dPt>
            <c:idx val="413"/>
            <c:invertIfNegative val="1"/>
            <c:bubble3D val="0"/>
            <c:spPr>
              <a:solidFill>
                <a:srgbClr val="AEABAB"/>
              </a:solidFill>
            </c:spPr>
            <c:extLst>
              <c:ext xmlns:c16="http://schemas.microsoft.com/office/drawing/2014/chart" uri="{C3380CC4-5D6E-409C-BE32-E72D297353CC}">
                <c16:uniqueId val="{0000033D-2D27-4D0B-B5E6-C6853413723E}"/>
              </c:ext>
            </c:extLst>
          </c:dPt>
          <c:dPt>
            <c:idx val="414"/>
            <c:invertIfNegative val="1"/>
            <c:bubble3D val="0"/>
            <c:spPr>
              <a:solidFill>
                <a:srgbClr val="AEABAB"/>
              </a:solidFill>
            </c:spPr>
            <c:extLst>
              <c:ext xmlns:c16="http://schemas.microsoft.com/office/drawing/2014/chart" uri="{C3380CC4-5D6E-409C-BE32-E72D297353CC}">
                <c16:uniqueId val="{0000033F-2D27-4D0B-B5E6-C6853413723E}"/>
              </c:ext>
            </c:extLst>
          </c:dPt>
          <c:dPt>
            <c:idx val="415"/>
            <c:invertIfNegative val="1"/>
            <c:bubble3D val="0"/>
            <c:spPr>
              <a:solidFill>
                <a:srgbClr val="AEABAB"/>
              </a:solidFill>
            </c:spPr>
            <c:extLst>
              <c:ext xmlns:c16="http://schemas.microsoft.com/office/drawing/2014/chart" uri="{C3380CC4-5D6E-409C-BE32-E72D297353CC}">
                <c16:uniqueId val="{00000341-2D27-4D0B-B5E6-C6853413723E}"/>
              </c:ext>
            </c:extLst>
          </c:dPt>
          <c:dPt>
            <c:idx val="416"/>
            <c:invertIfNegative val="1"/>
            <c:bubble3D val="0"/>
            <c:spPr>
              <a:solidFill>
                <a:srgbClr val="AEABAB"/>
              </a:solidFill>
            </c:spPr>
            <c:extLst>
              <c:ext xmlns:c16="http://schemas.microsoft.com/office/drawing/2014/chart" uri="{C3380CC4-5D6E-409C-BE32-E72D297353CC}">
                <c16:uniqueId val="{00000343-2D27-4D0B-B5E6-C6853413723E}"/>
              </c:ext>
            </c:extLst>
          </c:dPt>
          <c:dPt>
            <c:idx val="417"/>
            <c:invertIfNegative val="1"/>
            <c:bubble3D val="0"/>
            <c:spPr>
              <a:solidFill>
                <a:srgbClr val="AEABAB"/>
              </a:solidFill>
            </c:spPr>
            <c:extLst>
              <c:ext xmlns:c16="http://schemas.microsoft.com/office/drawing/2014/chart" uri="{C3380CC4-5D6E-409C-BE32-E72D297353CC}">
                <c16:uniqueId val="{00000345-2D27-4D0B-B5E6-C6853413723E}"/>
              </c:ext>
            </c:extLst>
          </c:dPt>
          <c:dPt>
            <c:idx val="418"/>
            <c:invertIfNegative val="1"/>
            <c:bubble3D val="0"/>
            <c:spPr>
              <a:solidFill>
                <a:srgbClr val="AEABAB"/>
              </a:solidFill>
            </c:spPr>
            <c:extLst>
              <c:ext xmlns:c16="http://schemas.microsoft.com/office/drawing/2014/chart" uri="{C3380CC4-5D6E-409C-BE32-E72D297353CC}">
                <c16:uniqueId val="{00000347-2D27-4D0B-B5E6-C6853413723E}"/>
              </c:ext>
            </c:extLst>
          </c:dPt>
          <c:dPt>
            <c:idx val="419"/>
            <c:invertIfNegative val="1"/>
            <c:bubble3D val="0"/>
            <c:spPr>
              <a:solidFill>
                <a:srgbClr val="AEABAB"/>
              </a:solidFill>
            </c:spPr>
            <c:extLst>
              <c:ext xmlns:c16="http://schemas.microsoft.com/office/drawing/2014/chart" uri="{C3380CC4-5D6E-409C-BE32-E72D297353CC}">
                <c16:uniqueId val="{00000349-2D27-4D0B-B5E6-C6853413723E}"/>
              </c:ext>
            </c:extLst>
          </c:dPt>
          <c:dPt>
            <c:idx val="420"/>
            <c:invertIfNegative val="1"/>
            <c:bubble3D val="0"/>
            <c:spPr>
              <a:solidFill>
                <a:srgbClr val="AEABAB"/>
              </a:solidFill>
            </c:spPr>
            <c:extLst>
              <c:ext xmlns:c16="http://schemas.microsoft.com/office/drawing/2014/chart" uri="{C3380CC4-5D6E-409C-BE32-E72D297353CC}">
                <c16:uniqueId val="{0000034B-2D27-4D0B-B5E6-C6853413723E}"/>
              </c:ext>
            </c:extLst>
          </c:dPt>
          <c:dPt>
            <c:idx val="421"/>
            <c:invertIfNegative val="1"/>
            <c:bubble3D val="0"/>
            <c:spPr>
              <a:solidFill>
                <a:srgbClr val="AEABAB"/>
              </a:solidFill>
            </c:spPr>
            <c:extLst>
              <c:ext xmlns:c16="http://schemas.microsoft.com/office/drawing/2014/chart" uri="{C3380CC4-5D6E-409C-BE32-E72D297353CC}">
                <c16:uniqueId val="{0000034D-2D27-4D0B-B5E6-C6853413723E}"/>
              </c:ext>
            </c:extLst>
          </c:dPt>
          <c:dPt>
            <c:idx val="422"/>
            <c:invertIfNegative val="1"/>
            <c:bubble3D val="0"/>
            <c:spPr>
              <a:solidFill>
                <a:srgbClr val="AEABAB"/>
              </a:solidFill>
            </c:spPr>
            <c:extLst>
              <c:ext xmlns:c16="http://schemas.microsoft.com/office/drawing/2014/chart" uri="{C3380CC4-5D6E-409C-BE32-E72D297353CC}">
                <c16:uniqueId val="{0000034F-2D27-4D0B-B5E6-C6853413723E}"/>
              </c:ext>
            </c:extLst>
          </c:dPt>
          <c:dPt>
            <c:idx val="423"/>
            <c:invertIfNegative val="1"/>
            <c:bubble3D val="0"/>
            <c:spPr>
              <a:solidFill>
                <a:srgbClr val="AEABAB"/>
              </a:solidFill>
            </c:spPr>
            <c:extLst>
              <c:ext xmlns:c16="http://schemas.microsoft.com/office/drawing/2014/chart" uri="{C3380CC4-5D6E-409C-BE32-E72D297353CC}">
                <c16:uniqueId val="{00000351-2D27-4D0B-B5E6-C6853413723E}"/>
              </c:ext>
            </c:extLst>
          </c:dPt>
          <c:dPt>
            <c:idx val="424"/>
            <c:invertIfNegative val="1"/>
            <c:bubble3D val="0"/>
            <c:spPr>
              <a:solidFill>
                <a:srgbClr val="AEABAB"/>
              </a:solidFill>
            </c:spPr>
            <c:extLst>
              <c:ext xmlns:c16="http://schemas.microsoft.com/office/drawing/2014/chart" uri="{C3380CC4-5D6E-409C-BE32-E72D297353CC}">
                <c16:uniqueId val="{00000353-2D27-4D0B-B5E6-C6853413723E}"/>
              </c:ext>
            </c:extLst>
          </c:dPt>
          <c:dPt>
            <c:idx val="425"/>
            <c:invertIfNegative val="1"/>
            <c:bubble3D val="0"/>
            <c:spPr>
              <a:solidFill>
                <a:srgbClr val="AEABAB"/>
              </a:solidFill>
            </c:spPr>
            <c:extLst>
              <c:ext xmlns:c16="http://schemas.microsoft.com/office/drawing/2014/chart" uri="{C3380CC4-5D6E-409C-BE32-E72D297353CC}">
                <c16:uniqueId val="{00000355-2D27-4D0B-B5E6-C6853413723E}"/>
              </c:ext>
            </c:extLst>
          </c:dPt>
          <c:dPt>
            <c:idx val="426"/>
            <c:invertIfNegative val="1"/>
            <c:bubble3D val="0"/>
            <c:spPr>
              <a:solidFill>
                <a:srgbClr val="AEABAB"/>
              </a:solidFill>
            </c:spPr>
            <c:extLst>
              <c:ext xmlns:c16="http://schemas.microsoft.com/office/drawing/2014/chart" uri="{C3380CC4-5D6E-409C-BE32-E72D297353CC}">
                <c16:uniqueId val="{00000357-2D27-4D0B-B5E6-C6853413723E}"/>
              </c:ext>
            </c:extLst>
          </c:dPt>
          <c:dPt>
            <c:idx val="427"/>
            <c:invertIfNegative val="1"/>
            <c:bubble3D val="0"/>
            <c:spPr>
              <a:solidFill>
                <a:srgbClr val="AEABAB"/>
              </a:solidFill>
            </c:spPr>
            <c:extLst>
              <c:ext xmlns:c16="http://schemas.microsoft.com/office/drawing/2014/chart" uri="{C3380CC4-5D6E-409C-BE32-E72D297353CC}">
                <c16:uniqueId val="{00000359-2D27-4D0B-B5E6-C6853413723E}"/>
              </c:ext>
            </c:extLst>
          </c:dPt>
          <c:dPt>
            <c:idx val="428"/>
            <c:invertIfNegative val="1"/>
            <c:bubble3D val="0"/>
            <c:spPr>
              <a:solidFill>
                <a:srgbClr val="AEABAB"/>
              </a:solidFill>
            </c:spPr>
            <c:extLst>
              <c:ext xmlns:c16="http://schemas.microsoft.com/office/drawing/2014/chart" uri="{C3380CC4-5D6E-409C-BE32-E72D297353CC}">
                <c16:uniqueId val="{0000035B-2D27-4D0B-B5E6-C6853413723E}"/>
              </c:ext>
            </c:extLst>
          </c:dPt>
          <c:dPt>
            <c:idx val="429"/>
            <c:invertIfNegative val="1"/>
            <c:bubble3D val="0"/>
            <c:spPr>
              <a:solidFill>
                <a:srgbClr val="AEABAB"/>
              </a:solidFill>
            </c:spPr>
            <c:extLst>
              <c:ext xmlns:c16="http://schemas.microsoft.com/office/drawing/2014/chart" uri="{C3380CC4-5D6E-409C-BE32-E72D297353CC}">
                <c16:uniqueId val="{0000035D-2D27-4D0B-B5E6-C6853413723E}"/>
              </c:ext>
            </c:extLst>
          </c:dPt>
          <c:dPt>
            <c:idx val="430"/>
            <c:invertIfNegative val="1"/>
            <c:bubble3D val="0"/>
            <c:spPr>
              <a:solidFill>
                <a:srgbClr val="AEABAB"/>
              </a:solidFill>
            </c:spPr>
            <c:extLst>
              <c:ext xmlns:c16="http://schemas.microsoft.com/office/drawing/2014/chart" uri="{C3380CC4-5D6E-409C-BE32-E72D297353CC}">
                <c16:uniqueId val="{0000035F-2D27-4D0B-B5E6-C6853413723E}"/>
              </c:ext>
            </c:extLst>
          </c:dPt>
          <c:dPt>
            <c:idx val="431"/>
            <c:invertIfNegative val="1"/>
            <c:bubble3D val="0"/>
            <c:spPr>
              <a:solidFill>
                <a:srgbClr val="AEABAB"/>
              </a:solidFill>
            </c:spPr>
            <c:extLst>
              <c:ext xmlns:c16="http://schemas.microsoft.com/office/drawing/2014/chart" uri="{C3380CC4-5D6E-409C-BE32-E72D297353CC}">
                <c16:uniqueId val="{00000361-2D27-4D0B-B5E6-C6853413723E}"/>
              </c:ext>
            </c:extLst>
          </c:dPt>
          <c:dPt>
            <c:idx val="432"/>
            <c:invertIfNegative val="1"/>
            <c:bubble3D val="0"/>
            <c:spPr>
              <a:solidFill>
                <a:srgbClr val="AEABAB"/>
              </a:solidFill>
            </c:spPr>
            <c:extLst>
              <c:ext xmlns:c16="http://schemas.microsoft.com/office/drawing/2014/chart" uri="{C3380CC4-5D6E-409C-BE32-E72D297353CC}">
                <c16:uniqueId val="{00000363-2D27-4D0B-B5E6-C6853413723E}"/>
              </c:ext>
            </c:extLst>
          </c:dPt>
          <c:dPt>
            <c:idx val="433"/>
            <c:invertIfNegative val="1"/>
            <c:bubble3D val="0"/>
            <c:spPr>
              <a:solidFill>
                <a:srgbClr val="AEABAB"/>
              </a:solidFill>
            </c:spPr>
            <c:extLst>
              <c:ext xmlns:c16="http://schemas.microsoft.com/office/drawing/2014/chart" uri="{C3380CC4-5D6E-409C-BE32-E72D297353CC}">
                <c16:uniqueId val="{00000365-2D27-4D0B-B5E6-C6853413723E}"/>
              </c:ext>
            </c:extLst>
          </c:dPt>
          <c:dPt>
            <c:idx val="434"/>
            <c:invertIfNegative val="1"/>
            <c:bubble3D val="0"/>
            <c:spPr>
              <a:solidFill>
                <a:srgbClr val="AEABAB"/>
              </a:solidFill>
            </c:spPr>
            <c:extLst>
              <c:ext xmlns:c16="http://schemas.microsoft.com/office/drawing/2014/chart" uri="{C3380CC4-5D6E-409C-BE32-E72D297353CC}">
                <c16:uniqueId val="{00000367-2D27-4D0B-B5E6-C6853413723E}"/>
              </c:ext>
            </c:extLst>
          </c:dPt>
          <c:dPt>
            <c:idx val="435"/>
            <c:invertIfNegative val="1"/>
            <c:bubble3D val="0"/>
            <c:spPr>
              <a:solidFill>
                <a:srgbClr val="AEABAB"/>
              </a:solidFill>
            </c:spPr>
            <c:extLst>
              <c:ext xmlns:c16="http://schemas.microsoft.com/office/drawing/2014/chart" uri="{C3380CC4-5D6E-409C-BE32-E72D297353CC}">
                <c16:uniqueId val="{00000369-2D27-4D0B-B5E6-C6853413723E}"/>
              </c:ext>
            </c:extLst>
          </c:dPt>
          <c:dPt>
            <c:idx val="436"/>
            <c:invertIfNegative val="1"/>
            <c:bubble3D val="0"/>
            <c:spPr>
              <a:solidFill>
                <a:srgbClr val="AEABAB"/>
              </a:solidFill>
            </c:spPr>
            <c:extLst>
              <c:ext xmlns:c16="http://schemas.microsoft.com/office/drawing/2014/chart" uri="{C3380CC4-5D6E-409C-BE32-E72D297353CC}">
                <c16:uniqueId val="{0000036B-2D27-4D0B-B5E6-C6853413723E}"/>
              </c:ext>
            </c:extLst>
          </c:dPt>
          <c:dPt>
            <c:idx val="437"/>
            <c:invertIfNegative val="1"/>
            <c:bubble3D val="0"/>
            <c:spPr>
              <a:solidFill>
                <a:srgbClr val="AEABAB"/>
              </a:solidFill>
            </c:spPr>
            <c:extLst>
              <c:ext xmlns:c16="http://schemas.microsoft.com/office/drawing/2014/chart" uri="{C3380CC4-5D6E-409C-BE32-E72D297353CC}">
                <c16:uniqueId val="{0000036D-2D27-4D0B-B5E6-C6853413723E}"/>
              </c:ext>
            </c:extLst>
          </c:dPt>
          <c:dPt>
            <c:idx val="438"/>
            <c:invertIfNegative val="1"/>
            <c:bubble3D val="0"/>
            <c:spPr>
              <a:solidFill>
                <a:srgbClr val="AEABAB"/>
              </a:solidFill>
            </c:spPr>
            <c:extLst>
              <c:ext xmlns:c16="http://schemas.microsoft.com/office/drawing/2014/chart" uri="{C3380CC4-5D6E-409C-BE32-E72D297353CC}">
                <c16:uniqueId val="{0000036F-2D27-4D0B-B5E6-C6853413723E}"/>
              </c:ext>
            </c:extLst>
          </c:dPt>
          <c:dPt>
            <c:idx val="439"/>
            <c:invertIfNegative val="1"/>
            <c:bubble3D val="0"/>
            <c:spPr>
              <a:solidFill>
                <a:srgbClr val="AEABAB"/>
              </a:solidFill>
            </c:spPr>
            <c:extLst>
              <c:ext xmlns:c16="http://schemas.microsoft.com/office/drawing/2014/chart" uri="{C3380CC4-5D6E-409C-BE32-E72D297353CC}">
                <c16:uniqueId val="{00000371-2D27-4D0B-B5E6-C6853413723E}"/>
              </c:ext>
            </c:extLst>
          </c:dPt>
          <c:dPt>
            <c:idx val="440"/>
            <c:invertIfNegative val="1"/>
            <c:bubble3D val="0"/>
            <c:spPr>
              <a:solidFill>
                <a:srgbClr val="AEABAB"/>
              </a:solidFill>
            </c:spPr>
            <c:extLst>
              <c:ext xmlns:c16="http://schemas.microsoft.com/office/drawing/2014/chart" uri="{C3380CC4-5D6E-409C-BE32-E72D297353CC}">
                <c16:uniqueId val="{00000373-2D27-4D0B-B5E6-C6853413723E}"/>
              </c:ext>
            </c:extLst>
          </c:dPt>
          <c:dPt>
            <c:idx val="441"/>
            <c:invertIfNegative val="1"/>
            <c:bubble3D val="0"/>
            <c:spPr>
              <a:solidFill>
                <a:srgbClr val="AEABAB"/>
              </a:solidFill>
            </c:spPr>
            <c:extLst>
              <c:ext xmlns:c16="http://schemas.microsoft.com/office/drawing/2014/chart" uri="{C3380CC4-5D6E-409C-BE32-E72D297353CC}">
                <c16:uniqueId val="{00000375-2D27-4D0B-B5E6-C6853413723E}"/>
              </c:ext>
            </c:extLst>
          </c:dPt>
          <c:dPt>
            <c:idx val="442"/>
            <c:invertIfNegative val="1"/>
            <c:bubble3D val="0"/>
            <c:spPr>
              <a:solidFill>
                <a:srgbClr val="AEABAB"/>
              </a:solidFill>
            </c:spPr>
            <c:extLst>
              <c:ext xmlns:c16="http://schemas.microsoft.com/office/drawing/2014/chart" uri="{C3380CC4-5D6E-409C-BE32-E72D297353CC}">
                <c16:uniqueId val="{00000377-2D27-4D0B-B5E6-C6853413723E}"/>
              </c:ext>
            </c:extLst>
          </c:dPt>
          <c:dPt>
            <c:idx val="443"/>
            <c:invertIfNegative val="1"/>
            <c:bubble3D val="0"/>
            <c:spPr>
              <a:solidFill>
                <a:srgbClr val="AEABAB"/>
              </a:solidFill>
            </c:spPr>
            <c:extLst>
              <c:ext xmlns:c16="http://schemas.microsoft.com/office/drawing/2014/chart" uri="{C3380CC4-5D6E-409C-BE32-E72D297353CC}">
                <c16:uniqueId val="{00000379-2D27-4D0B-B5E6-C6853413723E}"/>
              </c:ext>
            </c:extLst>
          </c:dPt>
          <c:dPt>
            <c:idx val="444"/>
            <c:invertIfNegative val="1"/>
            <c:bubble3D val="0"/>
            <c:spPr>
              <a:solidFill>
                <a:srgbClr val="AEABAB"/>
              </a:solidFill>
            </c:spPr>
            <c:extLst>
              <c:ext xmlns:c16="http://schemas.microsoft.com/office/drawing/2014/chart" uri="{C3380CC4-5D6E-409C-BE32-E72D297353CC}">
                <c16:uniqueId val="{0000037B-2D27-4D0B-B5E6-C6853413723E}"/>
              </c:ext>
            </c:extLst>
          </c:dPt>
          <c:dPt>
            <c:idx val="445"/>
            <c:invertIfNegative val="1"/>
            <c:bubble3D val="0"/>
            <c:spPr>
              <a:solidFill>
                <a:srgbClr val="AEABAB"/>
              </a:solidFill>
            </c:spPr>
            <c:extLst>
              <c:ext xmlns:c16="http://schemas.microsoft.com/office/drawing/2014/chart" uri="{C3380CC4-5D6E-409C-BE32-E72D297353CC}">
                <c16:uniqueId val="{0000037D-2D27-4D0B-B5E6-C6853413723E}"/>
              </c:ext>
            </c:extLst>
          </c:dPt>
          <c:dPt>
            <c:idx val="446"/>
            <c:invertIfNegative val="1"/>
            <c:bubble3D val="0"/>
            <c:spPr>
              <a:solidFill>
                <a:srgbClr val="AEABAB"/>
              </a:solidFill>
            </c:spPr>
            <c:extLst>
              <c:ext xmlns:c16="http://schemas.microsoft.com/office/drawing/2014/chart" uri="{C3380CC4-5D6E-409C-BE32-E72D297353CC}">
                <c16:uniqueId val="{0000037F-2D27-4D0B-B5E6-C6853413723E}"/>
              </c:ext>
            </c:extLst>
          </c:dPt>
          <c:dPt>
            <c:idx val="447"/>
            <c:invertIfNegative val="1"/>
            <c:bubble3D val="0"/>
            <c:spPr>
              <a:solidFill>
                <a:srgbClr val="AEABAB"/>
              </a:solidFill>
            </c:spPr>
            <c:extLst>
              <c:ext xmlns:c16="http://schemas.microsoft.com/office/drawing/2014/chart" uri="{C3380CC4-5D6E-409C-BE32-E72D297353CC}">
                <c16:uniqueId val="{00000381-2D27-4D0B-B5E6-C6853413723E}"/>
              </c:ext>
            </c:extLst>
          </c:dPt>
          <c:dPt>
            <c:idx val="448"/>
            <c:invertIfNegative val="1"/>
            <c:bubble3D val="0"/>
            <c:spPr>
              <a:solidFill>
                <a:srgbClr val="AEABAB"/>
              </a:solidFill>
            </c:spPr>
            <c:extLst>
              <c:ext xmlns:c16="http://schemas.microsoft.com/office/drawing/2014/chart" uri="{C3380CC4-5D6E-409C-BE32-E72D297353CC}">
                <c16:uniqueId val="{00000383-2D27-4D0B-B5E6-C6853413723E}"/>
              </c:ext>
            </c:extLst>
          </c:dPt>
          <c:dPt>
            <c:idx val="449"/>
            <c:invertIfNegative val="1"/>
            <c:bubble3D val="0"/>
            <c:spPr>
              <a:solidFill>
                <a:srgbClr val="AEABAB"/>
              </a:solidFill>
            </c:spPr>
            <c:extLst>
              <c:ext xmlns:c16="http://schemas.microsoft.com/office/drawing/2014/chart" uri="{C3380CC4-5D6E-409C-BE32-E72D297353CC}">
                <c16:uniqueId val="{00000385-2D27-4D0B-B5E6-C6853413723E}"/>
              </c:ext>
            </c:extLst>
          </c:dPt>
          <c:dPt>
            <c:idx val="450"/>
            <c:invertIfNegative val="1"/>
            <c:bubble3D val="0"/>
            <c:spPr>
              <a:solidFill>
                <a:srgbClr val="AEABAB"/>
              </a:solidFill>
            </c:spPr>
            <c:extLst>
              <c:ext xmlns:c16="http://schemas.microsoft.com/office/drawing/2014/chart" uri="{C3380CC4-5D6E-409C-BE32-E72D297353CC}">
                <c16:uniqueId val="{00000387-2D27-4D0B-B5E6-C6853413723E}"/>
              </c:ext>
            </c:extLst>
          </c:dPt>
          <c:dPt>
            <c:idx val="451"/>
            <c:invertIfNegative val="1"/>
            <c:bubble3D val="0"/>
            <c:spPr>
              <a:solidFill>
                <a:srgbClr val="AEABAB"/>
              </a:solidFill>
            </c:spPr>
            <c:extLst>
              <c:ext xmlns:c16="http://schemas.microsoft.com/office/drawing/2014/chart" uri="{C3380CC4-5D6E-409C-BE32-E72D297353CC}">
                <c16:uniqueId val="{00000389-2D27-4D0B-B5E6-C6853413723E}"/>
              </c:ext>
            </c:extLst>
          </c:dPt>
          <c:dPt>
            <c:idx val="452"/>
            <c:invertIfNegative val="1"/>
            <c:bubble3D val="0"/>
            <c:spPr>
              <a:solidFill>
                <a:srgbClr val="AEABAB"/>
              </a:solidFill>
            </c:spPr>
            <c:extLst>
              <c:ext xmlns:c16="http://schemas.microsoft.com/office/drawing/2014/chart" uri="{C3380CC4-5D6E-409C-BE32-E72D297353CC}">
                <c16:uniqueId val="{0000038B-2D27-4D0B-B5E6-C6853413723E}"/>
              </c:ext>
            </c:extLst>
          </c:dPt>
          <c:dPt>
            <c:idx val="453"/>
            <c:invertIfNegative val="1"/>
            <c:bubble3D val="0"/>
            <c:spPr>
              <a:solidFill>
                <a:srgbClr val="AEABAB"/>
              </a:solidFill>
            </c:spPr>
            <c:extLst>
              <c:ext xmlns:c16="http://schemas.microsoft.com/office/drawing/2014/chart" uri="{C3380CC4-5D6E-409C-BE32-E72D297353CC}">
                <c16:uniqueId val="{0000038D-2D27-4D0B-B5E6-C6853413723E}"/>
              </c:ext>
            </c:extLst>
          </c:dPt>
          <c:dPt>
            <c:idx val="454"/>
            <c:invertIfNegative val="1"/>
            <c:bubble3D val="0"/>
            <c:spPr>
              <a:solidFill>
                <a:srgbClr val="AEABAB"/>
              </a:solidFill>
            </c:spPr>
            <c:extLst>
              <c:ext xmlns:c16="http://schemas.microsoft.com/office/drawing/2014/chart" uri="{C3380CC4-5D6E-409C-BE32-E72D297353CC}">
                <c16:uniqueId val="{0000038F-2D27-4D0B-B5E6-C6853413723E}"/>
              </c:ext>
            </c:extLst>
          </c:dPt>
          <c:dPt>
            <c:idx val="455"/>
            <c:invertIfNegative val="1"/>
            <c:bubble3D val="0"/>
            <c:spPr>
              <a:solidFill>
                <a:srgbClr val="AEABAB"/>
              </a:solidFill>
            </c:spPr>
            <c:extLst>
              <c:ext xmlns:c16="http://schemas.microsoft.com/office/drawing/2014/chart" uri="{C3380CC4-5D6E-409C-BE32-E72D297353CC}">
                <c16:uniqueId val="{00000391-2D27-4D0B-B5E6-C6853413723E}"/>
              </c:ext>
            </c:extLst>
          </c:dPt>
          <c:dPt>
            <c:idx val="456"/>
            <c:invertIfNegative val="1"/>
            <c:bubble3D val="0"/>
            <c:spPr>
              <a:solidFill>
                <a:srgbClr val="AEABAB"/>
              </a:solidFill>
            </c:spPr>
            <c:extLst>
              <c:ext xmlns:c16="http://schemas.microsoft.com/office/drawing/2014/chart" uri="{C3380CC4-5D6E-409C-BE32-E72D297353CC}">
                <c16:uniqueId val="{00000393-2D27-4D0B-B5E6-C6853413723E}"/>
              </c:ext>
            </c:extLst>
          </c:dPt>
          <c:dPt>
            <c:idx val="457"/>
            <c:invertIfNegative val="1"/>
            <c:bubble3D val="0"/>
            <c:spPr>
              <a:solidFill>
                <a:srgbClr val="AEABAB"/>
              </a:solidFill>
            </c:spPr>
            <c:extLst>
              <c:ext xmlns:c16="http://schemas.microsoft.com/office/drawing/2014/chart" uri="{C3380CC4-5D6E-409C-BE32-E72D297353CC}">
                <c16:uniqueId val="{00000395-2D27-4D0B-B5E6-C6853413723E}"/>
              </c:ext>
            </c:extLst>
          </c:dPt>
          <c:dPt>
            <c:idx val="458"/>
            <c:invertIfNegative val="1"/>
            <c:bubble3D val="0"/>
            <c:spPr>
              <a:solidFill>
                <a:srgbClr val="AEABAB"/>
              </a:solidFill>
            </c:spPr>
            <c:extLst>
              <c:ext xmlns:c16="http://schemas.microsoft.com/office/drawing/2014/chart" uri="{C3380CC4-5D6E-409C-BE32-E72D297353CC}">
                <c16:uniqueId val="{00000397-2D27-4D0B-B5E6-C6853413723E}"/>
              </c:ext>
            </c:extLst>
          </c:dPt>
          <c:dPt>
            <c:idx val="459"/>
            <c:invertIfNegative val="1"/>
            <c:bubble3D val="0"/>
            <c:spPr>
              <a:solidFill>
                <a:srgbClr val="AEABAB"/>
              </a:solidFill>
            </c:spPr>
            <c:extLst>
              <c:ext xmlns:c16="http://schemas.microsoft.com/office/drawing/2014/chart" uri="{C3380CC4-5D6E-409C-BE32-E72D297353CC}">
                <c16:uniqueId val="{00000399-2D27-4D0B-B5E6-C6853413723E}"/>
              </c:ext>
            </c:extLst>
          </c:dPt>
          <c:dPt>
            <c:idx val="460"/>
            <c:invertIfNegative val="1"/>
            <c:bubble3D val="0"/>
            <c:spPr>
              <a:solidFill>
                <a:srgbClr val="AEABAB"/>
              </a:solidFill>
            </c:spPr>
            <c:extLst>
              <c:ext xmlns:c16="http://schemas.microsoft.com/office/drawing/2014/chart" uri="{C3380CC4-5D6E-409C-BE32-E72D297353CC}">
                <c16:uniqueId val="{0000039B-2D27-4D0B-B5E6-C6853413723E}"/>
              </c:ext>
            </c:extLst>
          </c:dPt>
          <c:dPt>
            <c:idx val="461"/>
            <c:invertIfNegative val="1"/>
            <c:bubble3D val="0"/>
            <c:spPr>
              <a:solidFill>
                <a:srgbClr val="AEABAB"/>
              </a:solidFill>
            </c:spPr>
            <c:extLst>
              <c:ext xmlns:c16="http://schemas.microsoft.com/office/drawing/2014/chart" uri="{C3380CC4-5D6E-409C-BE32-E72D297353CC}">
                <c16:uniqueId val="{0000039D-2D27-4D0B-B5E6-C6853413723E}"/>
              </c:ext>
            </c:extLst>
          </c:dPt>
          <c:dPt>
            <c:idx val="462"/>
            <c:invertIfNegative val="1"/>
            <c:bubble3D val="0"/>
            <c:spPr>
              <a:solidFill>
                <a:srgbClr val="AEABAB"/>
              </a:solidFill>
            </c:spPr>
            <c:extLst>
              <c:ext xmlns:c16="http://schemas.microsoft.com/office/drawing/2014/chart" uri="{C3380CC4-5D6E-409C-BE32-E72D297353CC}">
                <c16:uniqueId val="{0000039F-2D27-4D0B-B5E6-C6853413723E}"/>
              </c:ext>
            </c:extLst>
          </c:dPt>
          <c:dPt>
            <c:idx val="463"/>
            <c:invertIfNegative val="1"/>
            <c:bubble3D val="0"/>
            <c:spPr>
              <a:solidFill>
                <a:srgbClr val="AEABAB"/>
              </a:solidFill>
            </c:spPr>
            <c:extLst>
              <c:ext xmlns:c16="http://schemas.microsoft.com/office/drawing/2014/chart" uri="{C3380CC4-5D6E-409C-BE32-E72D297353CC}">
                <c16:uniqueId val="{000003A1-2D27-4D0B-B5E6-C6853413723E}"/>
              </c:ext>
            </c:extLst>
          </c:dPt>
          <c:dPt>
            <c:idx val="464"/>
            <c:invertIfNegative val="1"/>
            <c:bubble3D val="0"/>
            <c:spPr>
              <a:solidFill>
                <a:srgbClr val="AEABAB"/>
              </a:solidFill>
            </c:spPr>
            <c:extLst>
              <c:ext xmlns:c16="http://schemas.microsoft.com/office/drawing/2014/chart" uri="{C3380CC4-5D6E-409C-BE32-E72D297353CC}">
                <c16:uniqueId val="{000003A3-2D27-4D0B-B5E6-C6853413723E}"/>
              </c:ext>
            </c:extLst>
          </c:dPt>
          <c:dPt>
            <c:idx val="465"/>
            <c:invertIfNegative val="1"/>
            <c:bubble3D val="0"/>
            <c:spPr>
              <a:solidFill>
                <a:srgbClr val="AEABAB"/>
              </a:solidFill>
            </c:spPr>
            <c:extLst>
              <c:ext xmlns:c16="http://schemas.microsoft.com/office/drawing/2014/chart" uri="{C3380CC4-5D6E-409C-BE32-E72D297353CC}">
                <c16:uniqueId val="{000003A5-2D27-4D0B-B5E6-C6853413723E}"/>
              </c:ext>
            </c:extLst>
          </c:dPt>
          <c:dPt>
            <c:idx val="466"/>
            <c:invertIfNegative val="1"/>
            <c:bubble3D val="0"/>
            <c:spPr>
              <a:solidFill>
                <a:srgbClr val="AEABAB"/>
              </a:solidFill>
            </c:spPr>
            <c:extLst>
              <c:ext xmlns:c16="http://schemas.microsoft.com/office/drawing/2014/chart" uri="{C3380CC4-5D6E-409C-BE32-E72D297353CC}">
                <c16:uniqueId val="{000003A7-2D27-4D0B-B5E6-C6853413723E}"/>
              </c:ext>
            </c:extLst>
          </c:dPt>
          <c:dPt>
            <c:idx val="467"/>
            <c:invertIfNegative val="1"/>
            <c:bubble3D val="0"/>
            <c:spPr>
              <a:solidFill>
                <a:srgbClr val="AEABAB"/>
              </a:solidFill>
            </c:spPr>
            <c:extLst>
              <c:ext xmlns:c16="http://schemas.microsoft.com/office/drawing/2014/chart" uri="{C3380CC4-5D6E-409C-BE32-E72D297353CC}">
                <c16:uniqueId val="{000003A9-2D27-4D0B-B5E6-C6853413723E}"/>
              </c:ext>
            </c:extLst>
          </c:dPt>
          <c:dPt>
            <c:idx val="468"/>
            <c:invertIfNegative val="1"/>
            <c:bubble3D val="0"/>
            <c:spPr>
              <a:solidFill>
                <a:srgbClr val="AEABAB"/>
              </a:solidFill>
            </c:spPr>
            <c:extLst>
              <c:ext xmlns:c16="http://schemas.microsoft.com/office/drawing/2014/chart" uri="{C3380CC4-5D6E-409C-BE32-E72D297353CC}">
                <c16:uniqueId val="{000003AB-2D27-4D0B-B5E6-C6853413723E}"/>
              </c:ext>
            </c:extLst>
          </c:dPt>
          <c:dPt>
            <c:idx val="469"/>
            <c:invertIfNegative val="1"/>
            <c:bubble3D val="0"/>
            <c:spPr>
              <a:solidFill>
                <a:srgbClr val="AEABAB"/>
              </a:solidFill>
            </c:spPr>
            <c:extLst>
              <c:ext xmlns:c16="http://schemas.microsoft.com/office/drawing/2014/chart" uri="{C3380CC4-5D6E-409C-BE32-E72D297353CC}">
                <c16:uniqueId val="{000003AD-2D27-4D0B-B5E6-C6853413723E}"/>
              </c:ext>
            </c:extLst>
          </c:dPt>
          <c:dPt>
            <c:idx val="470"/>
            <c:invertIfNegative val="1"/>
            <c:bubble3D val="0"/>
            <c:spPr>
              <a:solidFill>
                <a:srgbClr val="AEABAB"/>
              </a:solidFill>
            </c:spPr>
            <c:extLst>
              <c:ext xmlns:c16="http://schemas.microsoft.com/office/drawing/2014/chart" uri="{C3380CC4-5D6E-409C-BE32-E72D297353CC}">
                <c16:uniqueId val="{000003AF-2D27-4D0B-B5E6-C6853413723E}"/>
              </c:ext>
            </c:extLst>
          </c:dPt>
          <c:dPt>
            <c:idx val="471"/>
            <c:invertIfNegative val="1"/>
            <c:bubble3D val="0"/>
            <c:spPr>
              <a:solidFill>
                <a:srgbClr val="AEABAB"/>
              </a:solidFill>
            </c:spPr>
            <c:extLst>
              <c:ext xmlns:c16="http://schemas.microsoft.com/office/drawing/2014/chart" uri="{C3380CC4-5D6E-409C-BE32-E72D297353CC}">
                <c16:uniqueId val="{000003B1-2D27-4D0B-B5E6-C6853413723E}"/>
              </c:ext>
            </c:extLst>
          </c:dPt>
          <c:dPt>
            <c:idx val="472"/>
            <c:invertIfNegative val="1"/>
            <c:bubble3D val="0"/>
            <c:spPr>
              <a:solidFill>
                <a:srgbClr val="AEABAB"/>
              </a:solidFill>
            </c:spPr>
            <c:extLst>
              <c:ext xmlns:c16="http://schemas.microsoft.com/office/drawing/2014/chart" uri="{C3380CC4-5D6E-409C-BE32-E72D297353CC}">
                <c16:uniqueId val="{000003B3-2D27-4D0B-B5E6-C6853413723E}"/>
              </c:ext>
            </c:extLst>
          </c:dPt>
          <c:dPt>
            <c:idx val="473"/>
            <c:invertIfNegative val="1"/>
            <c:bubble3D val="0"/>
            <c:spPr>
              <a:solidFill>
                <a:srgbClr val="AEABAB"/>
              </a:solidFill>
            </c:spPr>
            <c:extLst>
              <c:ext xmlns:c16="http://schemas.microsoft.com/office/drawing/2014/chart" uri="{C3380CC4-5D6E-409C-BE32-E72D297353CC}">
                <c16:uniqueId val="{000003B5-2D27-4D0B-B5E6-C6853413723E}"/>
              </c:ext>
            </c:extLst>
          </c:dPt>
          <c:dPt>
            <c:idx val="474"/>
            <c:invertIfNegative val="1"/>
            <c:bubble3D val="0"/>
            <c:spPr>
              <a:solidFill>
                <a:srgbClr val="AEABAB"/>
              </a:solidFill>
            </c:spPr>
            <c:extLst>
              <c:ext xmlns:c16="http://schemas.microsoft.com/office/drawing/2014/chart" uri="{C3380CC4-5D6E-409C-BE32-E72D297353CC}">
                <c16:uniqueId val="{000003B7-2D27-4D0B-B5E6-C6853413723E}"/>
              </c:ext>
            </c:extLst>
          </c:dPt>
          <c:dPt>
            <c:idx val="475"/>
            <c:invertIfNegative val="1"/>
            <c:bubble3D val="0"/>
            <c:spPr>
              <a:solidFill>
                <a:srgbClr val="AEABAB"/>
              </a:solidFill>
            </c:spPr>
            <c:extLst>
              <c:ext xmlns:c16="http://schemas.microsoft.com/office/drawing/2014/chart" uri="{C3380CC4-5D6E-409C-BE32-E72D297353CC}">
                <c16:uniqueId val="{000003B9-2D27-4D0B-B5E6-C6853413723E}"/>
              </c:ext>
            </c:extLst>
          </c:dPt>
          <c:dPt>
            <c:idx val="476"/>
            <c:invertIfNegative val="1"/>
            <c:bubble3D val="0"/>
            <c:spPr>
              <a:solidFill>
                <a:srgbClr val="AEABAB"/>
              </a:solidFill>
            </c:spPr>
            <c:extLst>
              <c:ext xmlns:c16="http://schemas.microsoft.com/office/drawing/2014/chart" uri="{C3380CC4-5D6E-409C-BE32-E72D297353CC}">
                <c16:uniqueId val="{000003BB-2D27-4D0B-B5E6-C6853413723E}"/>
              </c:ext>
            </c:extLst>
          </c:dPt>
          <c:dPt>
            <c:idx val="477"/>
            <c:invertIfNegative val="1"/>
            <c:bubble3D val="0"/>
            <c:spPr>
              <a:solidFill>
                <a:srgbClr val="AEABAB"/>
              </a:solidFill>
            </c:spPr>
            <c:extLst>
              <c:ext xmlns:c16="http://schemas.microsoft.com/office/drawing/2014/chart" uri="{C3380CC4-5D6E-409C-BE32-E72D297353CC}">
                <c16:uniqueId val="{000003BD-2D27-4D0B-B5E6-C6853413723E}"/>
              </c:ext>
            </c:extLst>
          </c:dPt>
          <c:dPt>
            <c:idx val="478"/>
            <c:invertIfNegative val="1"/>
            <c:bubble3D val="0"/>
            <c:spPr>
              <a:solidFill>
                <a:srgbClr val="AEABAB"/>
              </a:solidFill>
            </c:spPr>
            <c:extLst>
              <c:ext xmlns:c16="http://schemas.microsoft.com/office/drawing/2014/chart" uri="{C3380CC4-5D6E-409C-BE32-E72D297353CC}">
                <c16:uniqueId val="{000003BF-2D27-4D0B-B5E6-C6853413723E}"/>
              </c:ext>
            </c:extLst>
          </c:dPt>
          <c:dPt>
            <c:idx val="479"/>
            <c:invertIfNegative val="1"/>
            <c:bubble3D val="0"/>
            <c:spPr>
              <a:solidFill>
                <a:srgbClr val="AEABAB"/>
              </a:solidFill>
            </c:spPr>
            <c:extLst>
              <c:ext xmlns:c16="http://schemas.microsoft.com/office/drawing/2014/chart" uri="{C3380CC4-5D6E-409C-BE32-E72D297353CC}">
                <c16:uniqueId val="{000003C1-2D27-4D0B-B5E6-C6853413723E}"/>
              </c:ext>
            </c:extLst>
          </c:dPt>
          <c:dPt>
            <c:idx val="480"/>
            <c:invertIfNegative val="1"/>
            <c:bubble3D val="0"/>
            <c:spPr>
              <a:solidFill>
                <a:srgbClr val="AEABAB"/>
              </a:solidFill>
            </c:spPr>
            <c:extLst>
              <c:ext xmlns:c16="http://schemas.microsoft.com/office/drawing/2014/chart" uri="{C3380CC4-5D6E-409C-BE32-E72D297353CC}">
                <c16:uniqueId val="{000003C3-2D27-4D0B-B5E6-C6853413723E}"/>
              </c:ext>
            </c:extLst>
          </c:dPt>
          <c:dPt>
            <c:idx val="481"/>
            <c:invertIfNegative val="1"/>
            <c:bubble3D val="0"/>
            <c:spPr>
              <a:solidFill>
                <a:srgbClr val="AEABAB"/>
              </a:solidFill>
            </c:spPr>
            <c:extLst>
              <c:ext xmlns:c16="http://schemas.microsoft.com/office/drawing/2014/chart" uri="{C3380CC4-5D6E-409C-BE32-E72D297353CC}">
                <c16:uniqueId val="{000003C5-2D27-4D0B-B5E6-C6853413723E}"/>
              </c:ext>
            </c:extLst>
          </c:dPt>
          <c:dPt>
            <c:idx val="482"/>
            <c:invertIfNegative val="1"/>
            <c:bubble3D val="0"/>
            <c:spPr>
              <a:solidFill>
                <a:srgbClr val="AEABAB"/>
              </a:solidFill>
            </c:spPr>
            <c:extLst>
              <c:ext xmlns:c16="http://schemas.microsoft.com/office/drawing/2014/chart" uri="{C3380CC4-5D6E-409C-BE32-E72D297353CC}">
                <c16:uniqueId val="{000003C7-2D27-4D0B-B5E6-C6853413723E}"/>
              </c:ext>
            </c:extLst>
          </c:dPt>
          <c:dPt>
            <c:idx val="483"/>
            <c:invertIfNegative val="1"/>
            <c:bubble3D val="0"/>
            <c:spPr>
              <a:solidFill>
                <a:srgbClr val="AEABAB"/>
              </a:solidFill>
            </c:spPr>
            <c:extLst>
              <c:ext xmlns:c16="http://schemas.microsoft.com/office/drawing/2014/chart" uri="{C3380CC4-5D6E-409C-BE32-E72D297353CC}">
                <c16:uniqueId val="{000003C9-2D27-4D0B-B5E6-C6853413723E}"/>
              </c:ext>
            </c:extLst>
          </c:dPt>
          <c:dPt>
            <c:idx val="484"/>
            <c:invertIfNegative val="1"/>
            <c:bubble3D val="0"/>
            <c:spPr>
              <a:solidFill>
                <a:srgbClr val="AEABAB"/>
              </a:solidFill>
            </c:spPr>
            <c:extLst>
              <c:ext xmlns:c16="http://schemas.microsoft.com/office/drawing/2014/chart" uri="{C3380CC4-5D6E-409C-BE32-E72D297353CC}">
                <c16:uniqueId val="{000003CB-2D27-4D0B-B5E6-C6853413723E}"/>
              </c:ext>
            </c:extLst>
          </c:dPt>
          <c:dPt>
            <c:idx val="485"/>
            <c:invertIfNegative val="1"/>
            <c:bubble3D val="0"/>
            <c:spPr>
              <a:solidFill>
                <a:srgbClr val="AEABAB"/>
              </a:solidFill>
            </c:spPr>
            <c:extLst>
              <c:ext xmlns:c16="http://schemas.microsoft.com/office/drawing/2014/chart" uri="{C3380CC4-5D6E-409C-BE32-E72D297353CC}">
                <c16:uniqueId val="{000003CD-2D27-4D0B-B5E6-C6853413723E}"/>
              </c:ext>
            </c:extLst>
          </c:dPt>
          <c:dPt>
            <c:idx val="486"/>
            <c:invertIfNegative val="1"/>
            <c:bubble3D val="0"/>
            <c:spPr>
              <a:solidFill>
                <a:srgbClr val="AEABAB"/>
              </a:solidFill>
            </c:spPr>
            <c:extLst>
              <c:ext xmlns:c16="http://schemas.microsoft.com/office/drawing/2014/chart" uri="{C3380CC4-5D6E-409C-BE32-E72D297353CC}">
                <c16:uniqueId val="{000003CF-2D27-4D0B-B5E6-C6853413723E}"/>
              </c:ext>
            </c:extLst>
          </c:dPt>
          <c:dPt>
            <c:idx val="487"/>
            <c:invertIfNegative val="1"/>
            <c:bubble3D val="0"/>
            <c:spPr>
              <a:solidFill>
                <a:srgbClr val="AEABAB"/>
              </a:solidFill>
            </c:spPr>
            <c:extLst>
              <c:ext xmlns:c16="http://schemas.microsoft.com/office/drawing/2014/chart" uri="{C3380CC4-5D6E-409C-BE32-E72D297353CC}">
                <c16:uniqueId val="{000003D1-2D27-4D0B-B5E6-C6853413723E}"/>
              </c:ext>
            </c:extLst>
          </c:dPt>
          <c:dPt>
            <c:idx val="488"/>
            <c:invertIfNegative val="1"/>
            <c:bubble3D val="0"/>
            <c:spPr>
              <a:solidFill>
                <a:srgbClr val="AEABAB"/>
              </a:solidFill>
            </c:spPr>
            <c:extLst>
              <c:ext xmlns:c16="http://schemas.microsoft.com/office/drawing/2014/chart" uri="{C3380CC4-5D6E-409C-BE32-E72D297353CC}">
                <c16:uniqueId val="{000003D3-2D27-4D0B-B5E6-C6853413723E}"/>
              </c:ext>
            </c:extLst>
          </c:dPt>
          <c:dPt>
            <c:idx val="489"/>
            <c:invertIfNegative val="1"/>
            <c:bubble3D val="0"/>
            <c:spPr>
              <a:solidFill>
                <a:srgbClr val="AEABAB"/>
              </a:solidFill>
            </c:spPr>
            <c:extLst>
              <c:ext xmlns:c16="http://schemas.microsoft.com/office/drawing/2014/chart" uri="{C3380CC4-5D6E-409C-BE32-E72D297353CC}">
                <c16:uniqueId val="{000003D5-2D27-4D0B-B5E6-C6853413723E}"/>
              </c:ext>
            </c:extLst>
          </c:dPt>
          <c:dPt>
            <c:idx val="490"/>
            <c:invertIfNegative val="1"/>
            <c:bubble3D val="0"/>
            <c:spPr>
              <a:solidFill>
                <a:srgbClr val="AEABAB"/>
              </a:solidFill>
            </c:spPr>
            <c:extLst>
              <c:ext xmlns:c16="http://schemas.microsoft.com/office/drawing/2014/chart" uri="{C3380CC4-5D6E-409C-BE32-E72D297353CC}">
                <c16:uniqueId val="{000003D7-2D27-4D0B-B5E6-C6853413723E}"/>
              </c:ext>
            </c:extLst>
          </c:dPt>
          <c:dPt>
            <c:idx val="491"/>
            <c:invertIfNegative val="1"/>
            <c:bubble3D val="0"/>
            <c:spPr>
              <a:solidFill>
                <a:srgbClr val="AEABAB"/>
              </a:solidFill>
            </c:spPr>
            <c:extLst>
              <c:ext xmlns:c16="http://schemas.microsoft.com/office/drawing/2014/chart" uri="{C3380CC4-5D6E-409C-BE32-E72D297353CC}">
                <c16:uniqueId val="{000003D9-2D27-4D0B-B5E6-C6853413723E}"/>
              </c:ext>
            </c:extLst>
          </c:dPt>
          <c:dPt>
            <c:idx val="492"/>
            <c:invertIfNegative val="1"/>
            <c:bubble3D val="0"/>
            <c:spPr>
              <a:solidFill>
                <a:srgbClr val="AEABAB"/>
              </a:solidFill>
            </c:spPr>
            <c:extLst>
              <c:ext xmlns:c16="http://schemas.microsoft.com/office/drawing/2014/chart" uri="{C3380CC4-5D6E-409C-BE32-E72D297353CC}">
                <c16:uniqueId val="{000003DB-2D27-4D0B-B5E6-C6853413723E}"/>
              </c:ext>
            </c:extLst>
          </c:dPt>
          <c:dPt>
            <c:idx val="493"/>
            <c:invertIfNegative val="1"/>
            <c:bubble3D val="0"/>
            <c:spPr>
              <a:solidFill>
                <a:srgbClr val="AEABAB"/>
              </a:solidFill>
            </c:spPr>
            <c:extLst>
              <c:ext xmlns:c16="http://schemas.microsoft.com/office/drawing/2014/chart" uri="{C3380CC4-5D6E-409C-BE32-E72D297353CC}">
                <c16:uniqueId val="{000003DD-2D27-4D0B-B5E6-C6853413723E}"/>
              </c:ext>
            </c:extLst>
          </c:dPt>
          <c:dPt>
            <c:idx val="494"/>
            <c:invertIfNegative val="1"/>
            <c:bubble3D val="0"/>
            <c:spPr>
              <a:solidFill>
                <a:srgbClr val="AEABAB"/>
              </a:solidFill>
            </c:spPr>
            <c:extLst>
              <c:ext xmlns:c16="http://schemas.microsoft.com/office/drawing/2014/chart" uri="{C3380CC4-5D6E-409C-BE32-E72D297353CC}">
                <c16:uniqueId val="{000003DF-2D27-4D0B-B5E6-C6853413723E}"/>
              </c:ext>
            </c:extLst>
          </c:dPt>
          <c:dPt>
            <c:idx val="495"/>
            <c:invertIfNegative val="1"/>
            <c:bubble3D val="0"/>
            <c:spPr>
              <a:solidFill>
                <a:srgbClr val="AEABAB"/>
              </a:solidFill>
            </c:spPr>
            <c:extLst>
              <c:ext xmlns:c16="http://schemas.microsoft.com/office/drawing/2014/chart" uri="{C3380CC4-5D6E-409C-BE32-E72D297353CC}">
                <c16:uniqueId val="{000003E1-2D27-4D0B-B5E6-C6853413723E}"/>
              </c:ext>
            </c:extLst>
          </c:dPt>
          <c:dPt>
            <c:idx val="496"/>
            <c:invertIfNegative val="1"/>
            <c:bubble3D val="0"/>
            <c:spPr>
              <a:solidFill>
                <a:srgbClr val="AEABAB"/>
              </a:solidFill>
            </c:spPr>
            <c:extLst>
              <c:ext xmlns:c16="http://schemas.microsoft.com/office/drawing/2014/chart" uri="{C3380CC4-5D6E-409C-BE32-E72D297353CC}">
                <c16:uniqueId val="{000003E3-2D27-4D0B-B5E6-C6853413723E}"/>
              </c:ext>
            </c:extLst>
          </c:dPt>
          <c:dPt>
            <c:idx val="497"/>
            <c:invertIfNegative val="1"/>
            <c:bubble3D val="0"/>
            <c:spPr>
              <a:solidFill>
                <a:srgbClr val="AEABAB"/>
              </a:solidFill>
            </c:spPr>
            <c:extLst>
              <c:ext xmlns:c16="http://schemas.microsoft.com/office/drawing/2014/chart" uri="{C3380CC4-5D6E-409C-BE32-E72D297353CC}">
                <c16:uniqueId val="{000003E5-2D27-4D0B-B5E6-C6853413723E}"/>
              </c:ext>
            </c:extLst>
          </c:dPt>
          <c:dPt>
            <c:idx val="498"/>
            <c:invertIfNegative val="1"/>
            <c:bubble3D val="0"/>
            <c:spPr>
              <a:solidFill>
                <a:srgbClr val="AEABAB"/>
              </a:solidFill>
            </c:spPr>
            <c:extLst>
              <c:ext xmlns:c16="http://schemas.microsoft.com/office/drawing/2014/chart" uri="{C3380CC4-5D6E-409C-BE32-E72D297353CC}">
                <c16:uniqueId val="{000003E7-2D27-4D0B-B5E6-C6853413723E}"/>
              </c:ext>
            </c:extLst>
          </c:dPt>
          <c:dPt>
            <c:idx val="499"/>
            <c:invertIfNegative val="1"/>
            <c:bubble3D val="0"/>
            <c:spPr>
              <a:solidFill>
                <a:srgbClr val="AEABAB"/>
              </a:solidFill>
            </c:spPr>
            <c:extLst>
              <c:ext xmlns:c16="http://schemas.microsoft.com/office/drawing/2014/chart" uri="{C3380CC4-5D6E-409C-BE32-E72D297353CC}">
                <c16:uniqueId val="{000003E9-2D27-4D0B-B5E6-C6853413723E}"/>
              </c:ext>
            </c:extLst>
          </c:dPt>
          <c:dPt>
            <c:idx val="500"/>
            <c:invertIfNegative val="1"/>
            <c:bubble3D val="0"/>
            <c:spPr>
              <a:solidFill>
                <a:srgbClr val="AEABAB"/>
              </a:solidFill>
            </c:spPr>
            <c:extLst>
              <c:ext xmlns:c16="http://schemas.microsoft.com/office/drawing/2014/chart" uri="{C3380CC4-5D6E-409C-BE32-E72D297353CC}">
                <c16:uniqueId val="{000003EB-2D27-4D0B-B5E6-C6853413723E}"/>
              </c:ext>
            </c:extLst>
          </c:dPt>
          <c:dPt>
            <c:idx val="501"/>
            <c:invertIfNegative val="1"/>
            <c:bubble3D val="0"/>
            <c:spPr>
              <a:solidFill>
                <a:srgbClr val="AEABAB"/>
              </a:solidFill>
            </c:spPr>
            <c:extLst>
              <c:ext xmlns:c16="http://schemas.microsoft.com/office/drawing/2014/chart" uri="{C3380CC4-5D6E-409C-BE32-E72D297353CC}">
                <c16:uniqueId val="{000003ED-2D27-4D0B-B5E6-C6853413723E}"/>
              </c:ext>
            </c:extLst>
          </c:dPt>
          <c:dPt>
            <c:idx val="502"/>
            <c:invertIfNegative val="1"/>
            <c:bubble3D val="0"/>
            <c:spPr>
              <a:solidFill>
                <a:srgbClr val="AEABAB"/>
              </a:solidFill>
            </c:spPr>
            <c:extLst>
              <c:ext xmlns:c16="http://schemas.microsoft.com/office/drawing/2014/chart" uri="{C3380CC4-5D6E-409C-BE32-E72D297353CC}">
                <c16:uniqueId val="{000003EF-2D27-4D0B-B5E6-C6853413723E}"/>
              </c:ext>
            </c:extLst>
          </c:dPt>
          <c:dPt>
            <c:idx val="503"/>
            <c:invertIfNegative val="1"/>
            <c:bubble3D val="0"/>
            <c:spPr>
              <a:solidFill>
                <a:srgbClr val="AEABAB"/>
              </a:solidFill>
            </c:spPr>
            <c:extLst>
              <c:ext xmlns:c16="http://schemas.microsoft.com/office/drawing/2014/chart" uri="{C3380CC4-5D6E-409C-BE32-E72D297353CC}">
                <c16:uniqueId val="{000003F1-2D27-4D0B-B5E6-C6853413723E}"/>
              </c:ext>
            </c:extLst>
          </c:dPt>
          <c:dPt>
            <c:idx val="504"/>
            <c:invertIfNegative val="1"/>
            <c:bubble3D val="0"/>
            <c:spPr>
              <a:solidFill>
                <a:srgbClr val="AEABAB"/>
              </a:solidFill>
            </c:spPr>
            <c:extLst>
              <c:ext xmlns:c16="http://schemas.microsoft.com/office/drawing/2014/chart" uri="{C3380CC4-5D6E-409C-BE32-E72D297353CC}">
                <c16:uniqueId val="{000003F3-2D27-4D0B-B5E6-C6853413723E}"/>
              </c:ext>
            </c:extLst>
          </c:dPt>
          <c:dPt>
            <c:idx val="505"/>
            <c:invertIfNegative val="1"/>
            <c:bubble3D val="0"/>
            <c:spPr>
              <a:solidFill>
                <a:srgbClr val="AEABAB"/>
              </a:solidFill>
            </c:spPr>
            <c:extLst>
              <c:ext xmlns:c16="http://schemas.microsoft.com/office/drawing/2014/chart" uri="{C3380CC4-5D6E-409C-BE32-E72D297353CC}">
                <c16:uniqueId val="{000003F5-2D27-4D0B-B5E6-C6853413723E}"/>
              </c:ext>
            </c:extLst>
          </c:dPt>
          <c:cat>
            <c:strRef>
              <c:f>Sheet1!$A$2:$A$507</c:f>
              <c:strCache>
                <c:ptCount val="506"/>
                <c:pt idx="0">
                  <c:v>Private Lab</c:v>
                </c:pt>
                <c:pt idx="1">
                  <c:v>Caprice Des</c:v>
                </c:pt>
                <c:pt idx="2">
                  <c:v>Private Lab</c:v>
                </c:pt>
                <c:pt idx="3">
                  <c:v>Private Lab</c:v>
                </c:pt>
                <c:pt idx="4">
                  <c:v>Private Lab</c:v>
                </c:pt>
                <c:pt idx="5">
                  <c:v>Mini Babybe</c:v>
                </c:pt>
                <c:pt idx="6">
                  <c:v>Coeur De Li</c:v>
                </c:pt>
                <c:pt idx="7">
                  <c:v>Private Lab</c:v>
                </c:pt>
                <c:pt idx="8">
                  <c:v>President</c:v>
                </c:pt>
                <c:pt idx="9">
                  <c:v>Soignon</c:v>
                </c:pt>
                <c:pt idx="10">
                  <c:v>Private Lab</c:v>
                </c:pt>
                <c:pt idx="11">
                  <c:v>Private Lab</c:v>
                </c:pt>
                <c:pt idx="12">
                  <c:v>Galbani</c:v>
                </c:pt>
                <c:pt idx="13">
                  <c:v>Soignon</c:v>
                </c:pt>
                <c:pt idx="14">
                  <c:v>St Moret</c:v>
                </c:pt>
                <c:pt idx="15">
                  <c:v>Galbani</c:v>
                </c:pt>
                <c:pt idx="16">
                  <c:v>Private Lab</c:v>
                </c:pt>
                <c:pt idx="17">
                  <c:v>Galbani</c:v>
                </c:pt>
                <c:pt idx="18">
                  <c:v>Salakis</c:v>
                </c:pt>
                <c:pt idx="19">
                  <c:v>Private Lab</c:v>
                </c:pt>
                <c:pt idx="20">
                  <c:v>Caprice Des</c:v>
                </c:pt>
                <c:pt idx="21">
                  <c:v>St Moret</c:v>
                </c:pt>
                <c:pt idx="22">
                  <c:v>Private Lab</c:v>
                </c:pt>
                <c:pt idx="23">
                  <c:v>President</c:v>
                </c:pt>
                <c:pt idx="24">
                  <c:v>Private Lab</c:v>
                </c:pt>
                <c:pt idx="25">
                  <c:v>La Vache Qu</c:v>
                </c:pt>
                <c:pt idx="26">
                  <c:v>Coeur De Li</c:v>
                </c:pt>
                <c:pt idx="27">
                  <c:v>President</c:v>
                </c:pt>
                <c:pt idx="28">
                  <c:v>La Vache Qu</c:v>
                </c:pt>
                <c:pt idx="29">
                  <c:v>Private Lab</c:v>
                </c:pt>
                <c:pt idx="30">
                  <c:v>St Moret</c:v>
                </c:pt>
                <c:pt idx="31">
                  <c:v>Le Rustique</c:v>
                </c:pt>
                <c:pt idx="32">
                  <c:v>La Vache Qu</c:v>
                </c:pt>
                <c:pt idx="33">
                  <c:v>Private Lab</c:v>
                </c:pt>
                <c:pt idx="34">
                  <c:v>Tartare</c:v>
                </c:pt>
                <c:pt idx="35">
                  <c:v>Mini Babybe</c:v>
                </c:pt>
                <c:pt idx="36">
                  <c:v>Private Lab</c:v>
                </c:pt>
                <c:pt idx="37">
                  <c:v>Private Lab</c:v>
                </c:pt>
                <c:pt idx="38">
                  <c:v>Salakis</c:v>
                </c:pt>
                <c:pt idx="39">
                  <c:v>St Moret</c:v>
                </c:pt>
                <c:pt idx="40">
                  <c:v>Soignon</c:v>
                </c:pt>
                <c:pt idx="41">
                  <c:v>Galbani</c:v>
                </c:pt>
                <c:pt idx="42">
                  <c:v>Galbani</c:v>
                </c:pt>
                <c:pt idx="43">
                  <c:v>Islos</c:v>
                </c:pt>
                <c:pt idx="44">
                  <c:v>Kiri</c:v>
                </c:pt>
                <c:pt idx="45">
                  <c:v>Private Lab</c:v>
                </c:pt>
                <c:pt idx="46">
                  <c:v>Private Lab</c:v>
                </c:pt>
                <c:pt idx="47">
                  <c:v>All Others</c:v>
                </c:pt>
                <c:pt idx="48">
                  <c:v>Private Lab</c:v>
                </c:pt>
                <c:pt idx="49">
                  <c:v>Private Lab</c:v>
                </c:pt>
                <c:pt idx="50">
                  <c:v>Private Lab</c:v>
                </c:pt>
                <c:pt idx="51">
                  <c:v>Private Lab</c:v>
                </c:pt>
                <c:pt idx="52">
                  <c:v>All Others</c:v>
                </c:pt>
                <c:pt idx="53">
                  <c:v>Private Lab</c:v>
                </c:pt>
                <c:pt idx="54">
                  <c:v>Paysan Bret</c:v>
                </c:pt>
                <c:pt idx="55">
                  <c:v>Private Lab</c:v>
                </c:pt>
                <c:pt idx="56">
                  <c:v>Paysan Bret</c:v>
                </c:pt>
                <c:pt idx="57">
                  <c:v>Galbani</c:v>
                </c:pt>
                <c:pt idx="58">
                  <c:v>Kiri</c:v>
                </c:pt>
                <c:pt idx="59">
                  <c:v>Private Lab</c:v>
                </c:pt>
                <c:pt idx="60">
                  <c:v>Istara</c:v>
                </c:pt>
                <c:pt idx="61">
                  <c:v>Ficello</c:v>
                </c:pt>
                <c:pt idx="62">
                  <c:v>Private Lab</c:v>
                </c:pt>
                <c:pt idx="63">
                  <c:v>Private Lab</c:v>
                </c:pt>
                <c:pt idx="64">
                  <c:v>Kiri</c:v>
                </c:pt>
                <c:pt idx="65">
                  <c:v>Casa Azzurr</c:v>
                </c:pt>
                <c:pt idx="66">
                  <c:v>Carre Frais</c:v>
                </c:pt>
                <c:pt idx="67">
                  <c:v>St Moret</c:v>
                </c:pt>
                <c:pt idx="68">
                  <c:v>Coeur De Li</c:v>
                </c:pt>
                <c:pt idx="69">
                  <c:v>Boursin</c:v>
                </c:pt>
                <c:pt idx="70">
                  <c:v>Les Mousque</c:v>
                </c:pt>
                <c:pt idx="71">
                  <c:v>President</c:v>
                </c:pt>
                <c:pt idx="72">
                  <c:v>All Others</c:v>
                </c:pt>
                <c:pt idx="73">
                  <c:v>Carre Frais</c:v>
                </c:pt>
                <c:pt idx="74">
                  <c:v>Boursin</c:v>
                </c:pt>
                <c:pt idx="75">
                  <c:v>Tartare</c:v>
                </c:pt>
                <c:pt idx="76">
                  <c:v>Coeur De Li</c:v>
                </c:pt>
                <c:pt idx="77">
                  <c:v>Kiri</c:v>
                </c:pt>
                <c:pt idx="78">
                  <c:v>Lepetit</c:v>
                </c:pt>
                <c:pt idx="79">
                  <c:v>Private Lab</c:v>
                </c:pt>
                <c:pt idx="80">
                  <c:v>Lou Perac</c:v>
                </c:pt>
                <c:pt idx="81">
                  <c:v>Kiri</c:v>
                </c:pt>
                <c:pt idx="82">
                  <c:v>Salakis</c:v>
                </c:pt>
                <c:pt idx="83">
                  <c:v>Salakis</c:v>
                </c:pt>
                <c:pt idx="84">
                  <c:v>Casa Azzurr</c:v>
                </c:pt>
                <c:pt idx="85">
                  <c:v>President</c:v>
                </c:pt>
                <c:pt idx="86">
                  <c:v>Private Lab</c:v>
                </c:pt>
                <c:pt idx="87">
                  <c:v>Boursin</c:v>
                </c:pt>
                <c:pt idx="88">
                  <c:v>Coeur De Li</c:v>
                </c:pt>
                <c:pt idx="89">
                  <c:v>Private Lab</c:v>
                </c:pt>
                <c:pt idx="90">
                  <c:v>Private Lab</c:v>
                </c:pt>
                <c:pt idx="91">
                  <c:v>Caprice Des</c:v>
                </c:pt>
                <c:pt idx="92">
                  <c:v>St Moret</c:v>
                </c:pt>
                <c:pt idx="93">
                  <c:v>Private Lab</c:v>
                </c:pt>
                <c:pt idx="94">
                  <c:v>Soignon</c:v>
                </c:pt>
                <c:pt idx="95">
                  <c:v>Private Lab</c:v>
                </c:pt>
                <c:pt idx="96">
                  <c:v>President</c:v>
                </c:pt>
                <c:pt idx="97">
                  <c:v>President</c:v>
                </c:pt>
                <c:pt idx="98">
                  <c:v>Petit Billy</c:v>
                </c:pt>
                <c:pt idx="99">
                  <c:v>Casa Azzurr</c:v>
                </c:pt>
                <c:pt idx="100">
                  <c:v>Galbani</c:v>
                </c:pt>
                <c:pt idx="101">
                  <c:v>All Others</c:v>
                </c:pt>
                <c:pt idx="102">
                  <c:v>Istara</c:v>
                </c:pt>
                <c:pt idx="103">
                  <c:v>Philadelphi</c:v>
                </c:pt>
                <c:pt idx="104">
                  <c:v>Private Lab</c:v>
                </c:pt>
                <c:pt idx="105">
                  <c:v>Casa Azzurr</c:v>
                </c:pt>
                <c:pt idx="106">
                  <c:v>Le Rustique</c:v>
                </c:pt>
                <c:pt idx="107">
                  <c:v>President</c:v>
                </c:pt>
                <c:pt idx="108">
                  <c:v>St Moret</c:v>
                </c:pt>
                <c:pt idx="109">
                  <c:v>Ficello</c:v>
                </c:pt>
                <c:pt idx="110">
                  <c:v>Casa Azzurr</c:v>
                </c:pt>
                <c:pt idx="111">
                  <c:v>All Others</c:v>
                </c:pt>
                <c:pt idx="112">
                  <c:v>Private Lab</c:v>
                </c:pt>
                <c:pt idx="113">
                  <c:v>Private Lab</c:v>
                </c:pt>
                <c:pt idx="114">
                  <c:v>Private Lab</c:v>
                </c:pt>
                <c:pt idx="115">
                  <c:v>Boursin</c:v>
                </c:pt>
                <c:pt idx="116">
                  <c:v>Private Lab</c:v>
                </c:pt>
                <c:pt idx="117">
                  <c:v>President</c:v>
                </c:pt>
                <c:pt idx="118">
                  <c:v>Private Lab</c:v>
                </c:pt>
                <c:pt idx="119">
                  <c:v>Coeur De Li</c:v>
                </c:pt>
                <c:pt idx="120">
                  <c:v>Galbani</c:v>
                </c:pt>
                <c:pt idx="121">
                  <c:v>Private Lab</c:v>
                </c:pt>
                <c:pt idx="122">
                  <c:v>Les Mousque</c:v>
                </c:pt>
                <c:pt idx="123">
                  <c:v>Soignon</c:v>
                </c:pt>
                <c:pt idx="124">
                  <c:v>Private Lab</c:v>
                </c:pt>
                <c:pt idx="125">
                  <c:v>Chavroux</c:v>
                </c:pt>
                <c:pt idx="126">
                  <c:v>Etorki</c:v>
                </c:pt>
                <c:pt idx="127">
                  <c:v>Salakis</c:v>
                </c:pt>
                <c:pt idx="128">
                  <c:v>Caprice Des</c:v>
                </c:pt>
                <c:pt idx="129">
                  <c:v>Private Lab</c:v>
                </c:pt>
                <c:pt idx="130">
                  <c:v>Soignon</c:v>
                </c:pt>
                <c:pt idx="131">
                  <c:v>P'Tit Louis</c:v>
                </c:pt>
                <c:pt idx="132">
                  <c:v>Private Lab</c:v>
                </c:pt>
                <c:pt idx="133">
                  <c:v>All Others</c:v>
                </c:pt>
                <c:pt idx="134">
                  <c:v>Lactalis: A</c:v>
                </c:pt>
                <c:pt idx="135">
                  <c:v>Private Lab</c:v>
                </c:pt>
                <c:pt idx="136">
                  <c:v>La Vache Qu</c:v>
                </c:pt>
                <c:pt idx="137">
                  <c:v>Galbani</c:v>
                </c:pt>
                <c:pt idx="138">
                  <c:v>La Vache Qu</c:v>
                </c:pt>
                <c:pt idx="139">
                  <c:v>Casa Azzurr</c:v>
                </c:pt>
                <c:pt idx="140">
                  <c:v>Philadelphi</c:v>
                </c:pt>
                <c:pt idx="141">
                  <c:v>Casa Azzurr</c:v>
                </c:pt>
                <c:pt idx="142">
                  <c:v>Soignon</c:v>
                </c:pt>
                <c:pt idx="143">
                  <c:v>Private Lab</c:v>
                </c:pt>
                <c:pt idx="144">
                  <c:v>Paysan Bret</c:v>
                </c:pt>
                <c:pt idx="145">
                  <c:v>Le Brebiou</c:v>
                </c:pt>
                <c:pt idx="146">
                  <c:v>Tartare</c:v>
                </c:pt>
                <c:pt idx="147">
                  <c:v>Private Lab</c:v>
                </c:pt>
                <c:pt idx="148">
                  <c:v>Soignon</c:v>
                </c:pt>
                <c:pt idx="149">
                  <c:v>President</c:v>
                </c:pt>
                <c:pt idx="150">
                  <c:v>Ficello</c:v>
                </c:pt>
                <c:pt idx="151">
                  <c:v>Private Lab</c:v>
                </c:pt>
                <c:pt idx="152">
                  <c:v>Private Lab</c:v>
                </c:pt>
                <c:pt idx="153">
                  <c:v>Boursin</c:v>
                </c:pt>
                <c:pt idx="154">
                  <c:v>Lactalis: A</c:v>
                </c:pt>
                <c:pt idx="155">
                  <c:v>All Others</c:v>
                </c:pt>
                <c:pt idx="156">
                  <c:v>Carre Frais</c:v>
                </c:pt>
                <c:pt idx="157">
                  <c:v>Private Lab</c:v>
                </c:pt>
                <c:pt idx="158">
                  <c:v>Salakis</c:v>
                </c:pt>
                <c:pt idx="159">
                  <c:v>Private Lab</c:v>
                </c:pt>
                <c:pt idx="160">
                  <c:v>All Others</c:v>
                </c:pt>
                <c:pt idx="161">
                  <c:v>Paysan Bret</c:v>
                </c:pt>
                <c:pt idx="162">
                  <c:v>Paysan Bret</c:v>
                </c:pt>
                <c:pt idx="163">
                  <c:v>Paysan Bret</c:v>
                </c:pt>
                <c:pt idx="164">
                  <c:v>Private Lab</c:v>
                </c:pt>
                <c:pt idx="165">
                  <c:v>President</c:v>
                </c:pt>
                <c:pt idx="166">
                  <c:v>Caprice Des</c:v>
                </c:pt>
                <c:pt idx="167">
                  <c:v>Private Lab</c:v>
                </c:pt>
                <c:pt idx="168">
                  <c:v>Le Rustique</c:v>
                </c:pt>
                <c:pt idx="169">
                  <c:v>Galbani</c:v>
                </c:pt>
                <c:pt idx="170">
                  <c:v>Soignon</c:v>
                </c:pt>
                <c:pt idx="171">
                  <c:v>President</c:v>
                </c:pt>
                <c:pt idx="172">
                  <c:v>Les Mousque</c:v>
                </c:pt>
                <c:pt idx="173">
                  <c:v>Boursin</c:v>
                </c:pt>
                <c:pt idx="174">
                  <c:v>Kiri</c:v>
                </c:pt>
                <c:pt idx="175">
                  <c:v>All Others</c:v>
                </c:pt>
                <c:pt idx="176">
                  <c:v>Chavroux</c:v>
                </c:pt>
                <c:pt idx="177">
                  <c:v>Boursin</c:v>
                </c:pt>
                <c:pt idx="178">
                  <c:v>Mini Babybe</c:v>
                </c:pt>
                <c:pt idx="179">
                  <c:v>La Vache Qu</c:v>
                </c:pt>
                <c:pt idx="180">
                  <c:v>Private Lab</c:v>
                </c:pt>
                <c:pt idx="181">
                  <c:v>All Others</c:v>
                </c:pt>
                <c:pt idx="182">
                  <c:v>Soignon</c:v>
                </c:pt>
                <c:pt idx="183">
                  <c:v>Private Lab</c:v>
                </c:pt>
                <c:pt idx="184">
                  <c:v>Lactalis: A</c:v>
                </c:pt>
                <c:pt idx="185">
                  <c:v>Lou Perac</c:v>
                </c:pt>
                <c:pt idx="186">
                  <c:v>Tartare</c:v>
                </c:pt>
                <c:pt idx="187">
                  <c:v>Paysan Bret</c:v>
                </c:pt>
                <c:pt idx="188">
                  <c:v>Boursin</c:v>
                </c:pt>
                <c:pt idx="189">
                  <c:v>Pave D'Affi</c:v>
                </c:pt>
                <c:pt idx="190">
                  <c:v>St Moret</c:v>
                </c:pt>
                <c:pt idx="191">
                  <c:v>Galbani</c:v>
                </c:pt>
                <c:pt idx="192">
                  <c:v>Le Rustique</c:v>
                </c:pt>
                <c:pt idx="193">
                  <c:v>All Others</c:v>
                </c:pt>
                <c:pt idx="194">
                  <c:v>All Others</c:v>
                </c:pt>
                <c:pt idx="195">
                  <c:v>All Others</c:v>
                </c:pt>
                <c:pt idx="196">
                  <c:v>All Others</c:v>
                </c:pt>
                <c:pt idx="197">
                  <c:v>Galbani</c:v>
                </c:pt>
                <c:pt idx="198">
                  <c:v>Kiri</c:v>
                </c:pt>
                <c:pt idx="199">
                  <c:v>Soignon</c:v>
                </c:pt>
                <c:pt idx="200">
                  <c:v>Tartare</c:v>
                </c:pt>
                <c:pt idx="201">
                  <c:v>All Others</c:v>
                </c:pt>
                <c:pt idx="202">
                  <c:v>Private Lab</c:v>
                </c:pt>
                <c:pt idx="203">
                  <c:v>Etorki</c:v>
                </c:pt>
                <c:pt idx="204">
                  <c:v>Boursin</c:v>
                </c:pt>
                <c:pt idx="205">
                  <c:v>Boursin</c:v>
                </c:pt>
                <c:pt idx="206">
                  <c:v>Boursin</c:v>
                </c:pt>
                <c:pt idx="207">
                  <c:v>Casa Azzurr</c:v>
                </c:pt>
                <c:pt idx="208">
                  <c:v>All Others</c:v>
                </c:pt>
                <c:pt idx="209">
                  <c:v>All Others</c:v>
                </c:pt>
                <c:pt idx="210">
                  <c:v>Salakis</c:v>
                </c:pt>
                <c:pt idx="211">
                  <c:v>Mini Babybe</c:v>
                </c:pt>
                <c:pt idx="212">
                  <c:v>Private Lab</c:v>
                </c:pt>
                <c:pt idx="213">
                  <c:v>St Moret</c:v>
                </c:pt>
                <c:pt idx="214">
                  <c:v>Islos</c:v>
                </c:pt>
                <c:pt idx="215">
                  <c:v>Savencia: A</c:v>
                </c:pt>
                <c:pt idx="216">
                  <c:v>All Others</c:v>
                </c:pt>
                <c:pt idx="217">
                  <c:v>Caprice Des</c:v>
                </c:pt>
                <c:pt idx="218">
                  <c:v>Casa Azzurr</c:v>
                </c:pt>
                <c:pt idx="219">
                  <c:v>Islos</c:v>
                </c:pt>
                <c:pt idx="220">
                  <c:v>Galbani</c:v>
                </c:pt>
                <c:pt idx="221">
                  <c:v>Caprice Des</c:v>
                </c:pt>
                <c:pt idx="222">
                  <c:v>Boursin</c:v>
                </c:pt>
                <c:pt idx="223">
                  <c:v>Saint Agur</c:v>
                </c:pt>
                <c:pt idx="224">
                  <c:v>Private Lab</c:v>
                </c:pt>
                <c:pt idx="225">
                  <c:v>Lou Perac</c:v>
                </c:pt>
                <c:pt idx="226">
                  <c:v>Kiri</c:v>
                </c:pt>
                <c:pt idx="227">
                  <c:v>La Vache Qu</c:v>
                </c:pt>
                <c:pt idx="228">
                  <c:v>Paysan Bret</c:v>
                </c:pt>
                <c:pt idx="229">
                  <c:v>Private Lab</c:v>
                </c:pt>
                <c:pt idx="230">
                  <c:v>Private Lab</c:v>
                </c:pt>
                <c:pt idx="231">
                  <c:v>Tartare</c:v>
                </c:pt>
                <c:pt idx="232">
                  <c:v>Istara</c:v>
                </c:pt>
                <c:pt idx="233">
                  <c:v>All Others</c:v>
                </c:pt>
                <c:pt idx="234">
                  <c:v>Lactalis: A</c:v>
                </c:pt>
                <c:pt idx="235">
                  <c:v>Private Lab</c:v>
                </c:pt>
                <c:pt idx="236">
                  <c:v>Tartare</c:v>
                </c:pt>
                <c:pt idx="237">
                  <c:v>Salakis</c:v>
                </c:pt>
                <c:pt idx="238">
                  <c:v>Paysan Bret</c:v>
                </c:pt>
                <c:pt idx="239">
                  <c:v>All Others</c:v>
                </c:pt>
                <c:pt idx="240">
                  <c:v>All Others</c:v>
                </c:pt>
                <c:pt idx="241">
                  <c:v>Soignon</c:v>
                </c:pt>
                <c:pt idx="242">
                  <c:v>All Others</c:v>
                </c:pt>
                <c:pt idx="243">
                  <c:v>All Others</c:v>
                </c:pt>
                <c:pt idx="244">
                  <c:v>Paysan Bret</c:v>
                </c:pt>
                <c:pt idx="245">
                  <c:v>Corsica</c:v>
                </c:pt>
                <c:pt idx="246">
                  <c:v>All Others</c:v>
                </c:pt>
                <c:pt idx="247">
                  <c:v>Les Mousque</c:v>
                </c:pt>
                <c:pt idx="248">
                  <c:v>All Others</c:v>
                </c:pt>
                <c:pt idx="249">
                  <c:v>Soignon</c:v>
                </c:pt>
                <c:pt idx="250">
                  <c:v>Mini Babybe</c:v>
                </c:pt>
                <c:pt idx="251">
                  <c:v>Boursin</c:v>
                </c:pt>
                <c:pt idx="252">
                  <c:v>All Others</c:v>
                </c:pt>
                <c:pt idx="253">
                  <c:v>Kiri</c:v>
                </c:pt>
                <c:pt idx="254">
                  <c:v>Galbani</c:v>
                </c:pt>
                <c:pt idx="255">
                  <c:v>P'Tit Louis</c:v>
                </c:pt>
                <c:pt idx="256">
                  <c:v>All Others</c:v>
                </c:pt>
                <c:pt idx="257">
                  <c:v>All Others</c:v>
                </c:pt>
                <c:pt idx="258">
                  <c:v>Milleret: A</c:v>
                </c:pt>
                <c:pt idx="259">
                  <c:v>Etoile Du Q</c:v>
                </c:pt>
                <c:pt idx="260">
                  <c:v>All Others</c:v>
                </c:pt>
                <c:pt idx="261">
                  <c:v>All Others</c:v>
                </c:pt>
                <c:pt idx="262">
                  <c:v>Triballat N</c:v>
                </c:pt>
                <c:pt idx="263">
                  <c:v>Boursin</c:v>
                </c:pt>
                <c:pt idx="264">
                  <c:v>All Others</c:v>
                </c:pt>
                <c:pt idx="265">
                  <c:v>All Others</c:v>
                </c:pt>
                <c:pt idx="266">
                  <c:v>Triballat N</c:v>
                </c:pt>
                <c:pt idx="267">
                  <c:v>Soignon</c:v>
                </c:pt>
                <c:pt idx="268">
                  <c:v>Private Lab</c:v>
                </c:pt>
                <c:pt idx="269">
                  <c:v>All Others</c:v>
                </c:pt>
                <c:pt idx="270">
                  <c:v>Caprice Des</c:v>
                </c:pt>
                <c:pt idx="271">
                  <c:v>Chavroux</c:v>
                </c:pt>
                <c:pt idx="272">
                  <c:v>All Others</c:v>
                </c:pt>
                <c:pt idx="273">
                  <c:v>Etorki</c:v>
                </c:pt>
                <c:pt idx="274">
                  <c:v>Paysan Bret</c:v>
                </c:pt>
                <c:pt idx="275">
                  <c:v>All Others</c:v>
                </c:pt>
                <c:pt idx="276">
                  <c:v>All Others</c:v>
                </c:pt>
                <c:pt idx="277">
                  <c:v>Boursin</c:v>
                </c:pt>
                <c:pt idx="278">
                  <c:v>Chavroux</c:v>
                </c:pt>
                <c:pt idx="279">
                  <c:v>Carre Frais</c:v>
                </c:pt>
                <c:pt idx="280">
                  <c:v>Le Brebiou</c:v>
                </c:pt>
                <c:pt idx="281">
                  <c:v>Salakis</c:v>
                </c:pt>
                <c:pt idx="282">
                  <c:v>Triballat N</c:v>
                </c:pt>
                <c:pt idx="283">
                  <c:v>All Others</c:v>
                </c:pt>
                <c:pt idx="284">
                  <c:v>All Others</c:v>
                </c:pt>
                <c:pt idx="285">
                  <c:v>All Others</c:v>
                </c:pt>
                <c:pt idx="286">
                  <c:v>All Others</c:v>
                </c:pt>
                <c:pt idx="287">
                  <c:v>All Others</c:v>
                </c:pt>
                <c:pt idx="288">
                  <c:v>Salakis</c:v>
                </c:pt>
                <c:pt idx="289">
                  <c:v>All Others</c:v>
                </c:pt>
                <c:pt idx="290">
                  <c:v>Milleret: A</c:v>
                </c:pt>
                <c:pt idx="291">
                  <c:v>Istara</c:v>
                </c:pt>
                <c:pt idx="292">
                  <c:v>All Others</c:v>
                </c:pt>
                <c:pt idx="293">
                  <c:v>Lactalis: A</c:v>
                </c:pt>
                <c:pt idx="294">
                  <c:v>All Others</c:v>
                </c:pt>
                <c:pt idx="295">
                  <c:v>All Others</c:v>
                </c:pt>
                <c:pt idx="296">
                  <c:v>All Others</c:v>
                </c:pt>
                <c:pt idx="297">
                  <c:v>All Others</c:v>
                </c:pt>
                <c:pt idx="298">
                  <c:v>All Others</c:v>
                </c:pt>
                <c:pt idx="299">
                  <c:v>All Others</c:v>
                </c:pt>
                <c:pt idx="300">
                  <c:v>All Others</c:v>
                </c:pt>
                <c:pt idx="301">
                  <c:v>All Others</c:v>
                </c:pt>
                <c:pt idx="302">
                  <c:v>All Others</c:v>
                </c:pt>
                <c:pt idx="303">
                  <c:v>All Others</c:v>
                </c:pt>
                <c:pt idx="304">
                  <c:v>All Others</c:v>
                </c:pt>
                <c:pt idx="305">
                  <c:v>All Others</c:v>
                </c:pt>
                <c:pt idx="306">
                  <c:v>All Others</c:v>
                </c:pt>
                <c:pt idx="307">
                  <c:v>Lactalis: A</c:v>
                </c:pt>
                <c:pt idx="308">
                  <c:v>All Others</c:v>
                </c:pt>
                <c:pt idx="309">
                  <c:v>All Others</c:v>
                </c:pt>
                <c:pt idx="310">
                  <c:v>Triballat N</c:v>
                </c:pt>
                <c:pt idx="311">
                  <c:v>All Others</c:v>
                </c:pt>
                <c:pt idx="312">
                  <c:v>All Others</c:v>
                </c:pt>
                <c:pt idx="313">
                  <c:v>All Others</c:v>
                </c:pt>
                <c:pt idx="314">
                  <c:v>All Others</c:v>
                </c:pt>
                <c:pt idx="315">
                  <c:v>All Others</c:v>
                </c:pt>
                <c:pt idx="316">
                  <c:v>All Others</c:v>
                </c:pt>
                <c:pt idx="317">
                  <c:v>All Others</c:v>
                </c:pt>
                <c:pt idx="318">
                  <c:v>Etoile Du V</c:v>
                </c:pt>
                <c:pt idx="319">
                  <c:v>All Others</c:v>
                </c:pt>
                <c:pt idx="320">
                  <c:v>All Others</c:v>
                </c:pt>
                <c:pt idx="321">
                  <c:v>All Others</c:v>
                </c:pt>
                <c:pt idx="322">
                  <c:v>All Others</c:v>
                </c:pt>
                <c:pt idx="323">
                  <c:v>Soignon</c:v>
                </c:pt>
                <c:pt idx="324">
                  <c:v>All Others</c:v>
                </c:pt>
                <c:pt idx="325">
                  <c:v>All Others</c:v>
                </c:pt>
                <c:pt idx="326">
                  <c:v>All Others</c:v>
                </c:pt>
                <c:pt idx="327">
                  <c:v>Private Lab</c:v>
                </c:pt>
                <c:pt idx="328">
                  <c:v>All Others</c:v>
                </c:pt>
                <c:pt idx="329">
                  <c:v>All Others</c:v>
                </c:pt>
                <c:pt idx="330">
                  <c:v>All Others</c:v>
                </c:pt>
                <c:pt idx="331">
                  <c:v>All Others</c:v>
                </c:pt>
                <c:pt idx="332">
                  <c:v>All Others</c:v>
                </c:pt>
                <c:pt idx="333">
                  <c:v>Casa Azzurr</c:v>
                </c:pt>
                <c:pt idx="334">
                  <c:v>All Others</c:v>
                </c:pt>
                <c:pt idx="335">
                  <c:v>All Others</c:v>
                </c:pt>
                <c:pt idx="336">
                  <c:v>All Others</c:v>
                </c:pt>
                <c:pt idx="337">
                  <c:v>All Others</c:v>
                </c:pt>
                <c:pt idx="338">
                  <c:v>All Others</c:v>
                </c:pt>
                <c:pt idx="339">
                  <c:v>All Others</c:v>
                </c:pt>
                <c:pt idx="340">
                  <c:v>All Others</c:v>
                </c:pt>
                <c:pt idx="341">
                  <c:v>All Others</c:v>
                </c:pt>
                <c:pt idx="342">
                  <c:v>All Others</c:v>
                </c:pt>
                <c:pt idx="343">
                  <c:v>All Others</c:v>
                </c:pt>
                <c:pt idx="344">
                  <c:v>All Others</c:v>
                </c:pt>
                <c:pt idx="345">
                  <c:v>All Others</c:v>
                </c:pt>
                <c:pt idx="346">
                  <c:v>All Others</c:v>
                </c:pt>
                <c:pt idx="347">
                  <c:v>All Others</c:v>
                </c:pt>
                <c:pt idx="348">
                  <c:v>All Others</c:v>
                </c:pt>
                <c:pt idx="349">
                  <c:v>All Others</c:v>
                </c:pt>
                <c:pt idx="350">
                  <c:v>All Others</c:v>
                </c:pt>
                <c:pt idx="351">
                  <c:v>Tartare</c:v>
                </c:pt>
                <c:pt idx="352">
                  <c:v>All Others</c:v>
                </c:pt>
                <c:pt idx="353">
                  <c:v>All Others</c:v>
                </c:pt>
                <c:pt idx="354">
                  <c:v>Paysan Bret</c:v>
                </c:pt>
                <c:pt idx="355">
                  <c:v>All Others</c:v>
                </c:pt>
                <c:pt idx="356">
                  <c:v>All Others</c:v>
                </c:pt>
                <c:pt idx="357">
                  <c:v>All Others</c:v>
                </c:pt>
                <c:pt idx="358">
                  <c:v>All Others</c:v>
                </c:pt>
                <c:pt idx="359">
                  <c:v>Petit Billy</c:v>
                </c:pt>
                <c:pt idx="360">
                  <c:v>All Others</c:v>
                </c:pt>
                <c:pt idx="361">
                  <c:v>All Others</c:v>
                </c:pt>
                <c:pt idx="362">
                  <c:v>All Others</c:v>
                </c:pt>
                <c:pt idx="363">
                  <c:v>All Others</c:v>
                </c:pt>
                <c:pt idx="364">
                  <c:v>All Others</c:v>
                </c:pt>
                <c:pt idx="365">
                  <c:v>All Others</c:v>
                </c:pt>
                <c:pt idx="366">
                  <c:v>All Others</c:v>
                </c:pt>
                <c:pt idx="367">
                  <c:v>All Others</c:v>
                </c:pt>
                <c:pt idx="368">
                  <c:v>All Others</c:v>
                </c:pt>
                <c:pt idx="369">
                  <c:v>Corsica</c:v>
                </c:pt>
                <c:pt idx="370">
                  <c:v>All Others</c:v>
                </c:pt>
                <c:pt idx="371">
                  <c:v>Lactalis: A</c:v>
                </c:pt>
                <c:pt idx="372">
                  <c:v>All Others</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All Others</c:v>
                </c:pt>
                <c:pt idx="392">
                  <c:v>All Others</c:v>
                </c:pt>
                <c:pt idx="393">
                  <c:v>All Others</c:v>
                </c:pt>
                <c:pt idx="394">
                  <c:v>Mini Babybe</c:v>
                </c:pt>
                <c:pt idx="395">
                  <c:v>All Others</c:v>
                </c:pt>
                <c:pt idx="396">
                  <c:v>All Others</c:v>
                </c:pt>
                <c:pt idx="397">
                  <c:v>All Others</c:v>
                </c:pt>
                <c:pt idx="398">
                  <c:v>All Others</c:v>
                </c:pt>
                <c:pt idx="399">
                  <c:v>All Others</c:v>
                </c:pt>
                <c:pt idx="400">
                  <c:v>All Others</c:v>
                </c:pt>
                <c:pt idx="401">
                  <c:v>All Others</c:v>
                </c:pt>
                <c:pt idx="402">
                  <c:v>All Others</c:v>
                </c:pt>
                <c:pt idx="403">
                  <c:v>La Table M</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Other Suppl</c:v>
                </c:pt>
                <c:pt idx="449">
                  <c:v>All Others</c:v>
                </c:pt>
                <c:pt idx="450">
                  <c:v>All Others</c:v>
                </c:pt>
                <c:pt idx="451">
                  <c:v>Lactalis: A</c:v>
                </c:pt>
                <c:pt idx="452">
                  <c:v>All Others</c:v>
                </c:pt>
                <c:pt idx="453">
                  <c:v>All Others</c:v>
                </c:pt>
                <c:pt idx="454">
                  <c:v>All Others</c:v>
                </c:pt>
                <c:pt idx="455">
                  <c:v>All Others</c:v>
                </c:pt>
                <c:pt idx="456">
                  <c:v>All Others</c:v>
                </c:pt>
                <c:pt idx="457">
                  <c:v>All Others</c:v>
                </c:pt>
                <c:pt idx="458">
                  <c:v>All Others</c:v>
                </c:pt>
                <c:pt idx="459">
                  <c:v>All Others</c:v>
                </c:pt>
                <c:pt idx="460">
                  <c:v>Other Suppl</c:v>
                </c:pt>
                <c:pt idx="461">
                  <c:v>All Others</c:v>
                </c:pt>
                <c:pt idx="462">
                  <c:v>All Others</c:v>
                </c:pt>
                <c:pt idx="463">
                  <c:v>All Others</c:v>
                </c:pt>
                <c:pt idx="464">
                  <c:v>All Others</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Mini Babybe</c:v>
                </c:pt>
                <c:pt idx="477">
                  <c:v>Lactalis: A</c:v>
                </c:pt>
                <c:pt idx="478">
                  <c:v>All Others</c:v>
                </c:pt>
                <c:pt idx="479">
                  <c:v>All Others</c:v>
                </c:pt>
                <c:pt idx="480">
                  <c:v>All Others</c:v>
                </c:pt>
                <c:pt idx="481">
                  <c:v>All Others</c:v>
                </c:pt>
                <c:pt idx="482">
                  <c:v>All Others</c:v>
                </c:pt>
                <c:pt idx="483">
                  <c:v>All Others</c:v>
                </c:pt>
                <c:pt idx="484">
                  <c:v>All Others</c:v>
                </c:pt>
                <c:pt idx="485">
                  <c:v>All Others</c:v>
                </c:pt>
                <c:pt idx="486">
                  <c:v>Kiri</c:v>
                </c:pt>
                <c:pt idx="487">
                  <c:v>All Others</c:v>
                </c:pt>
                <c:pt idx="488">
                  <c:v>All Others</c:v>
                </c:pt>
                <c:pt idx="489">
                  <c:v>Caprice Des</c:v>
                </c:pt>
                <c:pt idx="490">
                  <c:v>All Others</c:v>
                </c:pt>
                <c:pt idx="491">
                  <c:v>All Others</c:v>
                </c:pt>
                <c:pt idx="492">
                  <c:v>All Others</c:v>
                </c:pt>
                <c:pt idx="493">
                  <c:v>All Others</c:v>
                </c:pt>
                <c:pt idx="494">
                  <c:v>Mini Babybe</c:v>
                </c:pt>
                <c:pt idx="495">
                  <c:v>All Others</c:v>
                </c:pt>
                <c:pt idx="496">
                  <c:v>Boursin</c:v>
                </c:pt>
                <c:pt idx="497">
                  <c:v>All Others</c:v>
                </c:pt>
                <c:pt idx="498">
                  <c:v>All Others</c:v>
                </c:pt>
                <c:pt idx="499">
                  <c:v>All Others</c:v>
                </c:pt>
                <c:pt idx="500">
                  <c:v>All Others</c:v>
                </c:pt>
                <c:pt idx="501">
                  <c:v>All Others</c:v>
                </c:pt>
                <c:pt idx="502">
                  <c:v>All Others</c:v>
                </c:pt>
                <c:pt idx="503">
                  <c:v>All Others</c:v>
                </c:pt>
                <c:pt idx="504">
                  <c:v>Saint Agur</c:v>
                </c:pt>
                <c:pt idx="505">
                  <c:v>Private Lab</c:v>
                </c:pt>
              </c:strCache>
            </c:strRef>
          </c:cat>
          <c:val>
            <c:numRef>
              <c:f>Sheet1!$C$2:$C$507</c:f>
              <c:numCache>
                <c:formatCode>General</c:formatCode>
                <c:ptCount val="506"/>
                <c:pt idx="0">
                  <c:v>2.5694660867614665E-2</c:v>
                </c:pt>
                <c:pt idx="1">
                  <c:v>5.0251231297220283E-2</c:v>
                </c:pt>
                <c:pt idx="2">
                  <c:v>7.3236526016961442E-2</c:v>
                </c:pt>
                <c:pt idx="3">
                  <c:v>9.5952482383266702E-2</c:v>
                </c:pt>
                <c:pt idx="4">
                  <c:v>0.11305542529893073</c:v>
                </c:pt>
                <c:pt idx="5">
                  <c:v>0.12957383138157166</c:v>
                </c:pt>
                <c:pt idx="6">
                  <c:v>0.1457825443648007</c:v>
                </c:pt>
                <c:pt idx="7">
                  <c:v>0.16154651232426132</c:v>
                </c:pt>
                <c:pt idx="8">
                  <c:v>0.17681971275601613</c:v>
                </c:pt>
                <c:pt idx="9">
                  <c:v>0.19048101210228702</c:v>
                </c:pt>
                <c:pt idx="10">
                  <c:v>0.20405320470538346</c:v>
                </c:pt>
                <c:pt idx="11">
                  <c:v>0.21706313716125045</c:v>
                </c:pt>
                <c:pt idx="12">
                  <c:v>0.22950893052693486</c:v>
                </c:pt>
                <c:pt idx="13">
                  <c:v>0.24098021747566178</c:v>
                </c:pt>
                <c:pt idx="14">
                  <c:v>0.25233309235696655</c:v>
                </c:pt>
                <c:pt idx="15">
                  <c:v>0.26346511798466593</c:v>
                </c:pt>
                <c:pt idx="16">
                  <c:v>0.2743772608932008</c:v>
                </c:pt>
                <c:pt idx="17">
                  <c:v>0.28508855794491894</c:v>
                </c:pt>
                <c:pt idx="18">
                  <c:v>0.29567049402706846</c:v>
                </c:pt>
                <c:pt idx="19">
                  <c:v>0.30614401587405238</c:v>
                </c:pt>
                <c:pt idx="20">
                  <c:v>0.31654280527806677</c:v>
                </c:pt>
                <c:pt idx="21">
                  <c:v>0.32693437273673881</c:v>
                </c:pt>
                <c:pt idx="22">
                  <c:v>0.33713441173060427</c:v>
                </c:pt>
                <c:pt idx="23">
                  <c:v>0.34723837720104539</c:v>
                </c:pt>
                <c:pt idx="24">
                  <c:v>0.3571841944401305</c:v>
                </c:pt>
                <c:pt idx="25">
                  <c:v>0.36710621173514313</c:v>
                </c:pt>
                <c:pt idx="26">
                  <c:v>0.37615026007315427</c:v>
                </c:pt>
                <c:pt idx="27">
                  <c:v>0.38517618395732989</c:v>
                </c:pt>
                <c:pt idx="28">
                  <c:v>0.39400255327470179</c:v>
                </c:pt>
                <c:pt idx="29">
                  <c:v>0.40267590859166769</c:v>
                </c:pt>
                <c:pt idx="30">
                  <c:v>0.41134378945756039</c:v>
                </c:pt>
                <c:pt idx="31">
                  <c:v>0.41984423562918899</c:v>
                </c:pt>
                <c:pt idx="32">
                  <c:v>0.42826745183285281</c:v>
                </c:pt>
                <c:pt idx="33">
                  <c:v>0.43653806384671351</c:v>
                </c:pt>
                <c:pt idx="34">
                  <c:v>0.44461573238934621</c:v>
                </c:pt>
                <c:pt idx="35">
                  <c:v>0.45232685241061615</c:v>
                </c:pt>
                <c:pt idx="36">
                  <c:v>0.45976125748759733</c:v>
                </c:pt>
                <c:pt idx="37">
                  <c:v>0.46718535544130085</c:v>
                </c:pt>
                <c:pt idx="38">
                  <c:v>0.47451321749379394</c:v>
                </c:pt>
                <c:pt idx="39">
                  <c:v>0.48166823225915395</c:v>
                </c:pt>
                <c:pt idx="40">
                  <c:v>0.48878757803750744</c:v>
                </c:pt>
                <c:pt idx="41">
                  <c:v>0.49588848233872873</c:v>
                </c:pt>
                <c:pt idx="42">
                  <c:v>0.50295596774512186</c:v>
                </c:pt>
                <c:pt idx="43">
                  <c:v>0.51001520281352752</c:v>
                </c:pt>
                <c:pt idx="44">
                  <c:v>0.51660456296270163</c:v>
                </c:pt>
                <c:pt idx="45">
                  <c:v>0.52309608662963125</c:v>
                </c:pt>
                <c:pt idx="46">
                  <c:v>0.5293474148895867</c:v>
                </c:pt>
                <c:pt idx="47">
                  <c:v>0.53548314563041177</c:v>
                </c:pt>
                <c:pt idx="48">
                  <c:v>0.54158084130791895</c:v>
                </c:pt>
                <c:pt idx="49">
                  <c:v>0.54764447631172919</c:v>
                </c:pt>
                <c:pt idx="50">
                  <c:v>0.55368093236706162</c:v>
                </c:pt>
                <c:pt idx="51">
                  <c:v>0.55960658491409054</c:v>
                </c:pt>
                <c:pt idx="52">
                  <c:v>0.56546736366944705</c:v>
                </c:pt>
                <c:pt idx="53">
                  <c:v>0.57129636277238716</c:v>
                </c:pt>
                <c:pt idx="54">
                  <c:v>0.57712495979699985</c:v>
                </c:pt>
                <c:pt idx="55">
                  <c:v>0.58286473617263257</c:v>
                </c:pt>
                <c:pt idx="56">
                  <c:v>0.58857134881852946</c:v>
                </c:pt>
                <c:pt idx="57">
                  <c:v>0.59424672307129689</c:v>
                </c:pt>
                <c:pt idx="58">
                  <c:v>0.5997078050401059</c:v>
                </c:pt>
                <c:pt idx="59">
                  <c:v>0.60497825548806949</c:v>
                </c:pt>
                <c:pt idx="60">
                  <c:v>0.60990322013320619</c:v>
                </c:pt>
                <c:pt idx="61">
                  <c:v>0.61477889925413309</c:v>
                </c:pt>
                <c:pt idx="62">
                  <c:v>0.61960662280224077</c:v>
                </c:pt>
                <c:pt idx="63">
                  <c:v>0.62441057733537819</c:v>
                </c:pt>
                <c:pt idx="64">
                  <c:v>0.62911061008543123</c:v>
                </c:pt>
                <c:pt idx="65">
                  <c:v>0.633639187357946</c:v>
                </c:pt>
                <c:pt idx="66">
                  <c:v>0.63801509085017793</c:v>
                </c:pt>
                <c:pt idx="67">
                  <c:v>0.64232927531915252</c:v>
                </c:pt>
                <c:pt idx="68">
                  <c:v>0.64655262101523459</c:v>
                </c:pt>
                <c:pt idx="69">
                  <c:v>0.6507743661302825</c:v>
                </c:pt>
                <c:pt idx="70">
                  <c:v>0.65484799950760864</c:v>
                </c:pt>
                <c:pt idx="71">
                  <c:v>0.658853836293113</c:v>
                </c:pt>
                <c:pt idx="72">
                  <c:v>0.66283342973547843</c:v>
                </c:pt>
                <c:pt idx="73">
                  <c:v>0.6667679749406229</c:v>
                </c:pt>
                <c:pt idx="74">
                  <c:v>0.67068049089279058</c:v>
                </c:pt>
                <c:pt idx="75">
                  <c:v>0.67451400618589774</c:v>
                </c:pt>
                <c:pt idx="76">
                  <c:v>0.67819529617070262</c:v>
                </c:pt>
                <c:pt idx="77">
                  <c:v>0.68187497010992237</c:v>
                </c:pt>
                <c:pt idx="78">
                  <c:v>0.68554459209095686</c:v>
                </c:pt>
                <c:pt idx="79">
                  <c:v>0.68919810000979287</c:v>
                </c:pt>
                <c:pt idx="80">
                  <c:v>0.69283977754707238</c:v>
                </c:pt>
                <c:pt idx="81">
                  <c:v>0.69642331610466357</c:v>
                </c:pt>
                <c:pt idx="82">
                  <c:v>0.70000018170847489</c:v>
                </c:pt>
                <c:pt idx="83">
                  <c:v>0.7035156066509477</c:v>
                </c:pt>
                <c:pt idx="84">
                  <c:v>0.70692550149702649</c:v>
                </c:pt>
                <c:pt idx="85">
                  <c:v>0.71026785491637601</c:v>
                </c:pt>
                <c:pt idx="86">
                  <c:v>0.71360924953356009</c:v>
                </c:pt>
                <c:pt idx="87">
                  <c:v>0.71691560921033082</c:v>
                </c:pt>
                <c:pt idx="88">
                  <c:v>0.72018861185047767</c:v>
                </c:pt>
                <c:pt idx="89">
                  <c:v>0.72328885225852224</c:v>
                </c:pt>
                <c:pt idx="90">
                  <c:v>0.72637598645954837</c:v>
                </c:pt>
                <c:pt idx="91">
                  <c:v>0.72944862264396115</c:v>
                </c:pt>
                <c:pt idx="92">
                  <c:v>0.73246775148172627</c:v>
                </c:pt>
                <c:pt idx="93">
                  <c:v>0.73548186980494989</c:v>
                </c:pt>
                <c:pt idx="94">
                  <c:v>0.7384864696969996</c:v>
                </c:pt>
                <c:pt idx="95">
                  <c:v>0.74146921817840972</c:v>
                </c:pt>
                <c:pt idx="96">
                  <c:v>0.74443584486534575</c:v>
                </c:pt>
                <c:pt idx="97">
                  <c:v>0.74738839107854693</c:v>
                </c:pt>
                <c:pt idx="98">
                  <c:v>0.75032019159650887</c:v>
                </c:pt>
                <c:pt idx="99">
                  <c:v>0.75322780555662205</c:v>
                </c:pt>
                <c:pt idx="100">
                  <c:v>0.75610785395448099</c:v>
                </c:pt>
                <c:pt idx="101">
                  <c:v>0.75898525791410965</c:v>
                </c:pt>
                <c:pt idx="102">
                  <c:v>0.76184700401579597</c:v>
                </c:pt>
                <c:pt idx="103">
                  <c:v>0.76468087526420703</c:v>
                </c:pt>
                <c:pt idx="104">
                  <c:v>0.76750788025195005</c:v>
                </c:pt>
                <c:pt idx="105">
                  <c:v>0.77032405232167955</c:v>
                </c:pt>
                <c:pt idx="106">
                  <c:v>0.77309652930240536</c:v>
                </c:pt>
                <c:pt idx="107">
                  <c:v>0.77585924041914045</c:v>
                </c:pt>
                <c:pt idx="108">
                  <c:v>0.77855316521278628</c:v>
                </c:pt>
                <c:pt idx="109">
                  <c:v>0.78117855884843534</c:v>
                </c:pt>
                <c:pt idx="110">
                  <c:v>0.78380329524066461</c:v>
                </c:pt>
                <c:pt idx="111">
                  <c:v>0.78640628847411165</c:v>
                </c:pt>
                <c:pt idx="112">
                  <c:v>0.78900753421328951</c:v>
                </c:pt>
                <c:pt idx="113">
                  <c:v>0.79159949348955938</c:v>
                </c:pt>
                <c:pt idx="114">
                  <c:v>0.79417801407096311</c:v>
                </c:pt>
                <c:pt idx="115">
                  <c:v>0.79673139702462814</c:v>
                </c:pt>
                <c:pt idx="116">
                  <c:v>0.79926114241200685</c:v>
                </c:pt>
                <c:pt idx="117">
                  <c:v>0.80178994446177121</c:v>
                </c:pt>
                <c:pt idx="118">
                  <c:v>0.80428040215719665</c:v>
                </c:pt>
                <c:pt idx="119">
                  <c:v>0.8067028390248101</c:v>
                </c:pt>
                <c:pt idx="120">
                  <c:v>0.80911673946024165</c:v>
                </c:pt>
                <c:pt idx="121">
                  <c:v>0.81151597176899826</c:v>
                </c:pt>
                <c:pt idx="122">
                  <c:v>0.81386030492151229</c:v>
                </c:pt>
                <c:pt idx="123">
                  <c:v>0.81617868082508183</c:v>
                </c:pt>
                <c:pt idx="124">
                  <c:v>0.81843924250453515</c:v>
                </c:pt>
                <c:pt idx="125">
                  <c:v>0.82069091206713229</c:v>
                </c:pt>
                <c:pt idx="126">
                  <c:v>0.82293577722726563</c:v>
                </c:pt>
                <c:pt idx="127">
                  <c:v>0.82517976090798884</c:v>
                </c:pt>
                <c:pt idx="128">
                  <c:v>0.82741259464740191</c:v>
                </c:pt>
                <c:pt idx="129">
                  <c:v>0.82962006652308606</c:v>
                </c:pt>
                <c:pt idx="130">
                  <c:v>0.83181710755908422</c:v>
                </c:pt>
                <c:pt idx="131">
                  <c:v>0.83398233801356381</c:v>
                </c:pt>
                <c:pt idx="132">
                  <c:v>0.83609703804747371</c:v>
                </c:pt>
                <c:pt idx="133">
                  <c:v>0.8382083745415293</c:v>
                </c:pt>
                <c:pt idx="134">
                  <c:v>0.84030482640519522</c:v>
                </c:pt>
                <c:pt idx="135">
                  <c:v>0.84239722655648497</c:v>
                </c:pt>
                <c:pt idx="136">
                  <c:v>0.84446675463676546</c:v>
                </c:pt>
                <c:pt idx="137">
                  <c:v>0.84652421263494815</c:v>
                </c:pt>
                <c:pt idx="138">
                  <c:v>0.84854762542398499</c:v>
                </c:pt>
                <c:pt idx="139">
                  <c:v>0.85055085697389599</c:v>
                </c:pt>
                <c:pt idx="140">
                  <c:v>0.8525401163019295</c:v>
                </c:pt>
                <c:pt idx="141">
                  <c:v>0.8545114754121178</c:v>
                </c:pt>
                <c:pt idx="142">
                  <c:v>0.85647821835381643</c:v>
                </c:pt>
                <c:pt idx="143">
                  <c:v>0.85841725655230139</c:v>
                </c:pt>
                <c:pt idx="144">
                  <c:v>0.86034908053771952</c:v>
                </c:pt>
                <c:pt idx="145">
                  <c:v>0.86225575916312347</c:v>
                </c:pt>
                <c:pt idx="146">
                  <c:v>0.86411960871438276</c:v>
                </c:pt>
                <c:pt idx="147">
                  <c:v>0.86597765905899671</c:v>
                </c:pt>
                <c:pt idx="148">
                  <c:v>0.86782990246468983</c:v>
                </c:pt>
                <c:pt idx="149">
                  <c:v>0.86967919214113165</c:v>
                </c:pt>
                <c:pt idx="150">
                  <c:v>0.871517532915427</c:v>
                </c:pt>
                <c:pt idx="151">
                  <c:v>0.87335461332881148</c:v>
                </c:pt>
                <c:pt idx="152">
                  <c:v>0.87518565483500932</c:v>
                </c:pt>
                <c:pt idx="153">
                  <c:v>0.87700955171862005</c:v>
                </c:pt>
                <c:pt idx="154">
                  <c:v>0.87878052890852321</c:v>
                </c:pt>
                <c:pt idx="155">
                  <c:v>0.88054937199038086</c:v>
                </c:pt>
                <c:pt idx="156">
                  <c:v>0.88230848786962546</c:v>
                </c:pt>
                <c:pt idx="157">
                  <c:v>0.88406046685855855</c:v>
                </c:pt>
                <c:pt idx="158">
                  <c:v>0.88579861280657357</c:v>
                </c:pt>
                <c:pt idx="159">
                  <c:v>0.88749737827532904</c:v>
                </c:pt>
                <c:pt idx="160">
                  <c:v>0.88912960751317371</c:v>
                </c:pt>
                <c:pt idx="161">
                  <c:v>0.8907500759599416</c:v>
                </c:pt>
                <c:pt idx="162">
                  <c:v>0.89235185549676055</c:v>
                </c:pt>
                <c:pt idx="163">
                  <c:v>0.89395092100486939</c:v>
                </c:pt>
                <c:pt idx="164">
                  <c:v>0.89552890059761581</c:v>
                </c:pt>
                <c:pt idx="165">
                  <c:v>0.89710521001884846</c:v>
                </c:pt>
                <c:pt idx="166">
                  <c:v>0.89867013753050518</c:v>
                </c:pt>
                <c:pt idx="167">
                  <c:v>0.90020980369801484</c:v>
                </c:pt>
                <c:pt idx="168">
                  <c:v>0.90174894407078865</c:v>
                </c:pt>
                <c:pt idx="169">
                  <c:v>0.90328482142329003</c:v>
                </c:pt>
                <c:pt idx="170">
                  <c:v>0.90478503752106032</c:v>
                </c:pt>
                <c:pt idx="171">
                  <c:v>0.90620926854722572</c:v>
                </c:pt>
                <c:pt idx="172">
                  <c:v>0.9076059958693411</c:v>
                </c:pt>
                <c:pt idx="173">
                  <c:v>0.90898595188583819</c:v>
                </c:pt>
                <c:pt idx="174">
                  <c:v>0.91035642813253903</c:v>
                </c:pt>
                <c:pt idx="175">
                  <c:v>0.91171321051928145</c:v>
                </c:pt>
                <c:pt idx="176">
                  <c:v>0.91305276539614943</c:v>
                </c:pt>
                <c:pt idx="177">
                  <c:v>0.91437636085632945</c:v>
                </c:pt>
                <c:pt idx="178">
                  <c:v>0.91568634751158173</c:v>
                </c:pt>
                <c:pt idx="179">
                  <c:v>0.91696317043709819</c:v>
                </c:pt>
                <c:pt idx="180">
                  <c:v>0.91822786915458821</c:v>
                </c:pt>
                <c:pt idx="181">
                  <c:v>0.9194814179307681</c:v>
                </c:pt>
                <c:pt idx="182">
                  <c:v>0.92072578849589726</c:v>
                </c:pt>
                <c:pt idx="183">
                  <c:v>0.92195290062204993</c:v>
                </c:pt>
                <c:pt idx="184">
                  <c:v>0.92317531152468213</c:v>
                </c:pt>
                <c:pt idx="185">
                  <c:v>0.92439607545262703</c:v>
                </c:pt>
                <c:pt idx="186">
                  <c:v>0.92559619420491457</c:v>
                </c:pt>
                <c:pt idx="187">
                  <c:v>0.92678903688593106</c:v>
                </c:pt>
                <c:pt idx="188">
                  <c:v>0.92798119912670118</c:v>
                </c:pt>
                <c:pt idx="189">
                  <c:v>0.92916992823713729</c:v>
                </c:pt>
                <c:pt idx="190">
                  <c:v>0.93035189933876272</c:v>
                </c:pt>
                <c:pt idx="191">
                  <c:v>0.9315127999895767</c:v>
                </c:pt>
                <c:pt idx="192">
                  <c:v>0.93267335268799201</c:v>
                </c:pt>
                <c:pt idx="193">
                  <c:v>0.93383232800219984</c:v>
                </c:pt>
                <c:pt idx="194">
                  <c:v>0.93495868084595879</c:v>
                </c:pt>
                <c:pt idx="195">
                  <c:v>0.9360172139010694</c:v>
                </c:pt>
                <c:pt idx="196">
                  <c:v>0.93707447113071807</c:v>
                </c:pt>
                <c:pt idx="197">
                  <c:v>0.93811738498926389</c:v>
                </c:pt>
                <c:pt idx="198">
                  <c:v>0.93913269462417792</c:v>
                </c:pt>
                <c:pt idx="199">
                  <c:v>0.94014286229586641</c:v>
                </c:pt>
                <c:pt idx="200">
                  <c:v>0.9411472848868383</c:v>
                </c:pt>
                <c:pt idx="201">
                  <c:v>0.94214276896730087</c:v>
                </c:pt>
                <c:pt idx="202">
                  <c:v>0.94310967455741523</c:v>
                </c:pt>
                <c:pt idx="203">
                  <c:v>0.94404611498195268</c:v>
                </c:pt>
                <c:pt idx="204">
                  <c:v>0.94498216106043831</c:v>
                </c:pt>
                <c:pt idx="205">
                  <c:v>0.94591637458962397</c:v>
                </c:pt>
                <c:pt idx="206">
                  <c:v>0.9468473250985372</c:v>
                </c:pt>
                <c:pt idx="207">
                  <c:v>0.94777819055241963</c:v>
                </c:pt>
                <c:pt idx="208">
                  <c:v>0.94870406095631155</c:v>
                </c:pt>
                <c:pt idx="209">
                  <c:v>0.94962992362792797</c:v>
                </c:pt>
                <c:pt idx="210">
                  <c:v>0.95055268565705797</c:v>
                </c:pt>
                <c:pt idx="211">
                  <c:v>0.9514717284616595</c:v>
                </c:pt>
                <c:pt idx="212">
                  <c:v>0.9523894877085235</c:v>
                </c:pt>
                <c:pt idx="213">
                  <c:v>0.95328393414467327</c:v>
                </c:pt>
                <c:pt idx="214">
                  <c:v>0.95416153195244946</c:v>
                </c:pt>
                <c:pt idx="215">
                  <c:v>0.95503710390403751</c:v>
                </c:pt>
                <c:pt idx="216">
                  <c:v>0.95586970760052137</c:v>
                </c:pt>
                <c:pt idx="217">
                  <c:v>0.95670146074669726</c:v>
                </c:pt>
                <c:pt idx="218">
                  <c:v>0.95750811492651222</c:v>
                </c:pt>
                <c:pt idx="219">
                  <c:v>0.95831250354959774</c:v>
                </c:pt>
                <c:pt idx="220">
                  <c:v>0.9591047834292078</c:v>
                </c:pt>
                <c:pt idx="221">
                  <c:v>0.95988591336750773</c:v>
                </c:pt>
                <c:pt idx="222">
                  <c:v>0.96066565922848834</c:v>
                </c:pt>
                <c:pt idx="223">
                  <c:v>0.961435020643436</c:v>
                </c:pt>
                <c:pt idx="224">
                  <c:v>0.96216553510613545</c:v>
                </c:pt>
                <c:pt idx="225">
                  <c:v>0.96287369556028601</c:v>
                </c:pt>
                <c:pt idx="226">
                  <c:v>0.96357881723015437</c:v>
                </c:pt>
                <c:pt idx="227">
                  <c:v>0.96427881240134827</c:v>
                </c:pt>
                <c:pt idx="228">
                  <c:v>0.96497284598811084</c:v>
                </c:pt>
                <c:pt idx="229">
                  <c:v>0.96565119852010439</c:v>
                </c:pt>
                <c:pt idx="230">
                  <c:v>0.96629800336794736</c:v>
                </c:pt>
                <c:pt idx="231">
                  <c:v>0.96693735430218219</c:v>
                </c:pt>
                <c:pt idx="232">
                  <c:v>0.96757608665437478</c:v>
                </c:pt>
                <c:pt idx="233">
                  <c:v>0.96821099926245702</c:v>
                </c:pt>
                <c:pt idx="234">
                  <c:v>0.9688457108313755</c:v>
                </c:pt>
                <c:pt idx="235">
                  <c:v>0.96946449391270817</c:v>
                </c:pt>
                <c:pt idx="236">
                  <c:v>0.97005748985515794</c:v>
                </c:pt>
                <c:pt idx="237">
                  <c:v>0.9706446633941358</c:v>
                </c:pt>
                <c:pt idx="238">
                  <c:v>0.97121524346983246</c:v>
                </c:pt>
                <c:pt idx="239">
                  <c:v>0.9717619308141503</c:v>
                </c:pt>
                <c:pt idx="240">
                  <c:v>0.97230312824284393</c:v>
                </c:pt>
                <c:pt idx="241">
                  <c:v>0.9728338639027494</c:v>
                </c:pt>
                <c:pt idx="242">
                  <c:v>0.97334647510881933</c:v>
                </c:pt>
                <c:pt idx="243">
                  <c:v>0.97381742481434919</c:v>
                </c:pt>
                <c:pt idx="244">
                  <c:v>0.97428816574843979</c:v>
                </c:pt>
                <c:pt idx="245">
                  <c:v>0.97474867688200806</c:v>
                </c:pt>
                <c:pt idx="246">
                  <c:v>0.97520542239739461</c:v>
                </c:pt>
                <c:pt idx="247">
                  <c:v>0.97565171387626848</c:v>
                </c:pt>
                <c:pt idx="248">
                  <c:v>0.976097471828131</c:v>
                </c:pt>
                <c:pt idx="249">
                  <c:v>0.9765425880011247</c:v>
                </c:pt>
                <c:pt idx="250">
                  <c:v>0.9769808069843483</c:v>
                </c:pt>
                <c:pt idx="251">
                  <c:v>0.97741731713468039</c:v>
                </c:pt>
                <c:pt idx="252">
                  <c:v>0.97783708690849624</c:v>
                </c:pt>
                <c:pt idx="253">
                  <c:v>0.97824827385647706</c:v>
                </c:pt>
                <c:pt idx="254">
                  <c:v>0.97865547868256131</c:v>
                </c:pt>
                <c:pt idx="255">
                  <c:v>0.97905504402042487</c:v>
                </c:pt>
                <c:pt idx="256">
                  <c:v>0.97945439285457359</c:v>
                </c:pt>
                <c:pt idx="257">
                  <c:v>0.97984447069036529</c:v>
                </c:pt>
                <c:pt idx="258">
                  <c:v>0.98022450430024732</c:v>
                </c:pt>
                <c:pt idx="259">
                  <c:v>0.98059414573182091</c:v>
                </c:pt>
                <c:pt idx="260">
                  <c:v>0.98095906274304745</c:v>
                </c:pt>
                <c:pt idx="261">
                  <c:v>0.98132342303043607</c:v>
                </c:pt>
                <c:pt idx="262">
                  <c:v>0.98168691730296564</c:v>
                </c:pt>
                <c:pt idx="263">
                  <c:v>0.98203930802783823</c:v>
                </c:pt>
                <c:pt idx="264">
                  <c:v>0.98238861357477547</c:v>
                </c:pt>
                <c:pt idx="265">
                  <c:v>0.98273514323479849</c:v>
                </c:pt>
                <c:pt idx="266">
                  <c:v>0.98305345008914757</c:v>
                </c:pt>
                <c:pt idx="267">
                  <c:v>0.98336200654405703</c:v>
                </c:pt>
                <c:pt idx="268">
                  <c:v>0.98366723812048973</c:v>
                </c:pt>
                <c:pt idx="269">
                  <c:v>0.9839688819210779</c:v>
                </c:pt>
                <c:pt idx="270">
                  <c:v>0.98426797407074207</c:v>
                </c:pt>
                <c:pt idx="271">
                  <c:v>0.98456422074301231</c:v>
                </c:pt>
                <c:pt idx="272">
                  <c:v>0.98485177633759013</c:v>
                </c:pt>
                <c:pt idx="273">
                  <c:v>0.98513427502397322</c:v>
                </c:pt>
                <c:pt idx="274">
                  <c:v>0.98541374265834958</c:v>
                </c:pt>
                <c:pt idx="275">
                  <c:v>0.98569058131904674</c:v>
                </c:pt>
                <c:pt idx="276">
                  <c:v>0.98596655396488486</c:v>
                </c:pt>
                <c:pt idx="277">
                  <c:v>0.98623886924439874</c:v>
                </c:pt>
                <c:pt idx="278">
                  <c:v>0.98650193672238218</c:v>
                </c:pt>
                <c:pt idx="279">
                  <c:v>0.98676456346066055</c:v>
                </c:pt>
                <c:pt idx="280">
                  <c:v>0.98702641697138616</c:v>
                </c:pt>
                <c:pt idx="281">
                  <c:v>0.98728612090951529</c:v>
                </c:pt>
                <c:pt idx="282">
                  <c:v>0.98754441757349842</c:v>
                </c:pt>
                <c:pt idx="283">
                  <c:v>0.98780104406596769</c:v>
                </c:pt>
                <c:pt idx="284">
                  <c:v>0.98805170897400563</c:v>
                </c:pt>
                <c:pt idx="285">
                  <c:v>0.98826218924612919</c:v>
                </c:pt>
                <c:pt idx="286">
                  <c:v>0.98847087563033043</c:v>
                </c:pt>
                <c:pt idx="287">
                  <c:v>0.98867486852328668</c:v>
                </c:pt>
                <c:pt idx="288">
                  <c:v>0.98887788714952651</c:v>
                </c:pt>
                <c:pt idx="289">
                  <c:v>0.98907795977879054</c:v>
                </c:pt>
                <c:pt idx="290">
                  <c:v>0.98927561220581461</c:v>
                </c:pt>
                <c:pt idx="291">
                  <c:v>0.98946592670336342</c:v>
                </c:pt>
                <c:pt idx="292">
                  <c:v>0.98965581592575824</c:v>
                </c:pt>
                <c:pt idx="293">
                  <c:v>0.98984076422409129</c:v>
                </c:pt>
                <c:pt idx="294">
                  <c:v>0.99001924834008359</c:v>
                </c:pt>
                <c:pt idx="295">
                  <c:v>0.99019621693007265</c:v>
                </c:pt>
                <c:pt idx="296">
                  <c:v>0.99035662298588256</c:v>
                </c:pt>
                <c:pt idx="297">
                  <c:v>0.99050951326988013</c:v>
                </c:pt>
                <c:pt idx="298">
                  <c:v>0.99065779511766361</c:v>
                </c:pt>
                <c:pt idx="299">
                  <c:v>0.99080454597489265</c:v>
                </c:pt>
                <c:pt idx="300">
                  <c:v>0.99094921685000492</c:v>
                </c:pt>
                <c:pt idx="301">
                  <c:v>0.9910925732382776</c:v>
                </c:pt>
                <c:pt idx="302">
                  <c:v>0.99123591416199919</c:v>
                </c:pt>
                <c:pt idx="303">
                  <c:v>0.99137635548239811</c:v>
                </c:pt>
                <c:pt idx="304">
                  <c:v>0.99151466269475153</c:v>
                </c:pt>
                <c:pt idx="305">
                  <c:v>0.99165200337266413</c:v>
                </c:pt>
                <c:pt idx="306">
                  <c:v>0.99178759655630755</c:v>
                </c:pt>
                <c:pt idx="307">
                  <c:v>0.99191970248368821</c:v>
                </c:pt>
                <c:pt idx="308">
                  <c:v>0.99205077228614824</c:v>
                </c:pt>
                <c:pt idx="309">
                  <c:v>0.99218110752243327</c:v>
                </c:pt>
                <c:pt idx="310">
                  <c:v>0.99231032931104235</c:v>
                </c:pt>
                <c:pt idx="311">
                  <c:v>0.99243516689942757</c:v>
                </c:pt>
                <c:pt idx="312">
                  <c:v>0.99255699663263275</c:v>
                </c:pt>
                <c:pt idx="313">
                  <c:v>0.99267745002079411</c:v>
                </c:pt>
                <c:pt idx="314">
                  <c:v>0.99279457853047881</c:v>
                </c:pt>
                <c:pt idx="315">
                  <c:v>0.99291111938722343</c:v>
                </c:pt>
                <c:pt idx="316">
                  <c:v>0.99302672463862929</c:v>
                </c:pt>
                <c:pt idx="317">
                  <c:v>0.99313928337347746</c:v>
                </c:pt>
                <c:pt idx="318">
                  <c:v>0.99325109207759954</c:v>
                </c:pt>
                <c:pt idx="319">
                  <c:v>0.99336058109906344</c:v>
                </c:pt>
                <c:pt idx="320">
                  <c:v>0.99346638182510094</c:v>
                </c:pt>
                <c:pt idx="321">
                  <c:v>0.99357075981244147</c:v>
                </c:pt>
                <c:pt idx="322">
                  <c:v>0.99367420219444313</c:v>
                </c:pt>
                <c:pt idx="323">
                  <c:v>0.99377564191708334</c:v>
                </c:pt>
                <c:pt idx="324">
                  <c:v>0.99387708163972355</c:v>
                </c:pt>
                <c:pt idx="325">
                  <c:v>0.99397826619727137</c:v>
                </c:pt>
                <c:pt idx="326">
                  <c:v>0.99407938116433936</c:v>
                </c:pt>
                <c:pt idx="327">
                  <c:v>0.9941795605260686</c:v>
                </c:pt>
                <c:pt idx="328">
                  <c:v>0.99427874242425485</c:v>
                </c:pt>
                <c:pt idx="329">
                  <c:v>0.99437715109488845</c:v>
                </c:pt>
                <c:pt idx="330">
                  <c:v>0.99447174002141159</c:v>
                </c:pt>
                <c:pt idx="331">
                  <c:v>0.99456552479127991</c:v>
                </c:pt>
                <c:pt idx="332">
                  <c:v>0.99465761619280779</c:v>
                </c:pt>
                <c:pt idx="333">
                  <c:v>0.99474837764294499</c:v>
                </c:pt>
                <c:pt idx="334">
                  <c:v>0.99483752304749706</c:v>
                </c:pt>
                <c:pt idx="335">
                  <c:v>0.99492325851854169</c:v>
                </c:pt>
                <c:pt idx="336">
                  <c:v>0.99500496547403672</c:v>
                </c:pt>
                <c:pt idx="337">
                  <c:v>0.99508479348657863</c:v>
                </c:pt>
                <c:pt idx="338">
                  <c:v>0.99516397972025183</c:v>
                </c:pt>
                <c:pt idx="339">
                  <c:v>0.99524264789146466</c:v>
                </c:pt>
                <c:pt idx="340">
                  <c:v>0.99531923608056072</c:v>
                </c:pt>
                <c:pt idx="341">
                  <c:v>0.99539522888444121</c:v>
                </c:pt>
                <c:pt idx="342">
                  <c:v>0.99546965976866519</c:v>
                </c:pt>
                <c:pt idx="343">
                  <c:v>0.99554344114174487</c:v>
                </c:pt>
                <c:pt idx="344">
                  <c:v>0.99561641062589423</c:v>
                </c:pt>
                <c:pt idx="345">
                  <c:v>0.99568698310463022</c:v>
                </c:pt>
                <c:pt idx="346">
                  <c:v>0.99575731588282479</c:v>
                </c:pt>
                <c:pt idx="347">
                  <c:v>0.99582712286628361</c:v>
                </c:pt>
                <c:pt idx="348">
                  <c:v>0.99589679066878289</c:v>
                </c:pt>
                <c:pt idx="349">
                  <c:v>0.99596277790813126</c:v>
                </c:pt>
                <c:pt idx="350">
                  <c:v>0.99602847905328518</c:v>
                </c:pt>
                <c:pt idx="351">
                  <c:v>0.99609345336453947</c:v>
                </c:pt>
                <c:pt idx="352">
                  <c:v>0.99615795600698664</c:v>
                </c:pt>
                <c:pt idx="353">
                  <c:v>0.99622117509169628</c:v>
                </c:pt>
                <c:pt idx="354">
                  <c:v>0.99628330392555664</c:v>
                </c:pt>
                <c:pt idx="355">
                  <c:v>0.99634352288736183</c:v>
                </c:pt>
                <c:pt idx="356">
                  <c:v>0.99640371092006486</c:v>
                </c:pt>
                <c:pt idx="357">
                  <c:v>0.99645997095680017</c:v>
                </c:pt>
                <c:pt idx="358">
                  <c:v>0.99651575932472825</c:v>
                </c:pt>
                <c:pt idx="359">
                  <c:v>0.99657096003971635</c:v>
                </c:pt>
                <c:pt idx="360">
                  <c:v>0.99662551897583562</c:v>
                </c:pt>
                <c:pt idx="361">
                  <c:v>0.99668002378602627</c:v>
                </c:pt>
                <c:pt idx="362">
                  <c:v>0.99673450539939035</c:v>
                </c:pt>
                <c:pt idx="363">
                  <c:v>0.9967885926667025</c:v>
                </c:pt>
                <c:pt idx="364">
                  <c:v>0.99684253302077963</c:v>
                </c:pt>
                <c:pt idx="365">
                  <c:v>0.99689501197478214</c:v>
                </c:pt>
                <c:pt idx="366">
                  <c:v>0.99694735174782512</c:v>
                </c:pt>
                <c:pt idx="367">
                  <c:v>0.99705162921558377</c:v>
                </c:pt>
                <c:pt idx="368">
                  <c:v>0.99710280141502217</c:v>
                </c:pt>
                <c:pt idx="369">
                  <c:v>0.99715336276469391</c:v>
                </c:pt>
                <c:pt idx="370">
                  <c:v>0.99720312768998642</c:v>
                </c:pt>
                <c:pt idx="371">
                  <c:v>0.99725167864802111</c:v>
                </c:pt>
                <c:pt idx="372">
                  <c:v>0.99729951823670737</c:v>
                </c:pt>
                <c:pt idx="373">
                  <c:v>0.99734581137028822</c:v>
                </c:pt>
                <c:pt idx="374">
                  <c:v>0.99739014050588515</c:v>
                </c:pt>
                <c:pt idx="375">
                  <c:v>0.9974343768541758</c:v>
                </c:pt>
                <c:pt idx="376">
                  <c:v>0.99747808740773058</c:v>
                </c:pt>
                <c:pt idx="377">
                  <c:v>0.99752073090726256</c:v>
                </c:pt>
                <c:pt idx="378">
                  <c:v>0.9976055462375194</c:v>
                </c:pt>
                <c:pt idx="379">
                  <c:v>0.997647772194173</c:v>
                </c:pt>
                <c:pt idx="380">
                  <c:v>0.99768993629262237</c:v>
                </c:pt>
                <c:pt idx="381">
                  <c:v>0.99773124210848818</c:v>
                </c:pt>
                <c:pt idx="382">
                  <c:v>0.99777215357830218</c:v>
                </c:pt>
                <c:pt idx="383">
                  <c:v>0.99781223769463467</c:v>
                </c:pt>
                <c:pt idx="384">
                  <c:v>0.99785202798449724</c:v>
                </c:pt>
                <c:pt idx="385">
                  <c:v>0.9978910759759092</c:v>
                </c:pt>
                <c:pt idx="386">
                  <c:v>0.99792905691329836</c:v>
                </c:pt>
                <c:pt idx="387">
                  <c:v>0.99796665896918668</c:v>
                </c:pt>
                <c:pt idx="388">
                  <c:v>0.99800424556052403</c:v>
                </c:pt>
                <c:pt idx="389">
                  <c:v>0.99804173163227949</c:v>
                </c:pt>
                <c:pt idx="390">
                  <c:v>0.99807898573576914</c:v>
                </c:pt>
                <c:pt idx="391">
                  <c:v>0.99811504906882764</c:v>
                </c:pt>
                <c:pt idx="392">
                  <c:v>0.99815100415002866</c:v>
                </c:pt>
                <c:pt idx="393">
                  <c:v>0.9981857220671454</c:v>
                </c:pt>
                <c:pt idx="394">
                  <c:v>0.99825468623257174</c:v>
                </c:pt>
                <c:pt idx="395">
                  <c:v>0.99828890155177918</c:v>
                </c:pt>
                <c:pt idx="396">
                  <c:v>0.99832208847834158</c:v>
                </c:pt>
                <c:pt idx="397">
                  <c:v>0.9983546877519639</c:v>
                </c:pt>
                <c:pt idx="398">
                  <c:v>0.9983864751366559</c:v>
                </c:pt>
                <c:pt idx="399">
                  <c:v>0.99841786817529599</c:v>
                </c:pt>
                <c:pt idx="400">
                  <c:v>0.99844924574938498</c:v>
                </c:pt>
                <c:pt idx="401">
                  <c:v>0.9984804454811369</c:v>
                </c:pt>
                <c:pt idx="402">
                  <c:v>0.99851149056737831</c:v>
                </c:pt>
                <c:pt idx="403">
                  <c:v>0.9985404943328805</c:v>
                </c:pt>
                <c:pt idx="404">
                  <c:v>0.99856923520101482</c:v>
                </c:pt>
                <c:pt idx="405">
                  <c:v>0.99859768224267909</c:v>
                </c:pt>
                <c:pt idx="406">
                  <c:v>0.99865277470580982</c:v>
                </c:pt>
                <c:pt idx="407">
                  <c:v>0.99867992272518546</c:v>
                </c:pt>
                <c:pt idx="408">
                  <c:v>0.99870652175299868</c:v>
                </c:pt>
                <c:pt idx="409">
                  <c:v>0.99875767848788599</c:v>
                </c:pt>
                <c:pt idx="410">
                  <c:v>0.99878289343837989</c:v>
                </c:pt>
                <c:pt idx="411">
                  <c:v>0.99880762125551559</c:v>
                </c:pt>
                <c:pt idx="412">
                  <c:v>0.99883133614455721</c:v>
                </c:pt>
                <c:pt idx="413">
                  <c:v>0.99885474947485331</c:v>
                </c:pt>
                <c:pt idx="414">
                  <c:v>0.99887813960832283</c:v>
                </c:pt>
                <c:pt idx="415">
                  <c:v>0.99890149108041471</c:v>
                </c:pt>
                <c:pt idx="416">
                  <c:v>0.99892279349949187</c:v>
                </c:pt>
                <c:pt idx="417">
                  <c:v>0.99894405725719138</c:v>
                </c:pt>
                <c:pt idx="418">
                  <c:v>0.99896482614925719</c:v>
                </c:pt>
                <c:pt idx="419">
                  <c:v>0.99898532441167953</c:v>
                </c:pt>
                <c:pt idx="420">
                  <c:v>0.99900508037565128</c:v>
                </c:pt>
                <c:pt idx="421">
                  <c:v>0.99902444199357121</c:v>
                </c:pt>
                <c:pt idx="422">
                  <c:v>0.9990434247299903</c:v>
                </c:pt>
                <c:pt idx="423">
                  <c:v>0.99906206724628621</c:v>
                </c:pt>
                <c:pt idx="424">
                  <c:v>0.99908053965252053</c:v>
                </c:pt>
                <c:pt idx="425">
                  <c:v>0.99909864864180498</c:v>
                </c:pt>
                <c:pt idx="426">
                  <c:v>0.9991337841018002</c:v>
                </c:pt>
                <c:pt idx="427">
                  <c:v>0.99915043169101003</c:v>
                </c:pt>
                <c:pt idx="428">
                  <c:v>0.99916699422518906</c:v>
                </c:pt>
                <c:pt idx="429">
                  <c:v>0.99918330159427571</c:v>
                </c:pt>
                <c:pt idx="430">
                  <c:v>0.99919908316862649</c:v>
                </c:pt>
                <c:pt idx="431">
                  <c:v>0.99921460957788488</c:v>
                </c:pt>
                <c:pt idx="432">
                  <c:v>0.99923012825486779</c:v>
                </c:pt>
                <c:pt idx="433">
                  <c:v>0.99926103416014966</c:v>
                </c:pt>
                <c:pt idx="434">
                  <c:v>0.99927630540431567</c:v>
                </c:pt>
                <c:pt idx="435">
                  <c:v>0.99929152252255304</c:v>
                </c:pt>
                <c:pt idx="436">
                  <c:v>0.99930669324713728</c:v>
                </c:pt>
                <c:pt idx="437">
                  <c:v>0.99932181757806826</c:v>
                </c:pt>
                <c:pt idx="438">
                  <c:v>0.99933647797246772</c:v>
                </c:pt>
                <c:pt idx="439">
                  <c:v>0.99935107650866295</c:v>
                </c:pt>
                <c:pt idx="440">
                  <c:v>0.99936528843108174</c:v>
                </c:pt>
                <c:pt idx="441">
                  <c:v>0.99937948488894957</c:v>
                </c:pt>
                <c:pt idx="442">
                  <c:v>0.99939293904836679</c:v>
                </c:pt>
                <c:pt idx="443">
                  <c:v>0.999418231321616</c:v>
                </c:pt>
                <c:pt idx="444">
                  <c:v>0.99944233282443407</c:v>
                </c:pt>
                <c:pt idx="445">
                  <c:v>0.99946593172934273</c:v>
                </c:pt>
                <c:pt idx="446">
                  <c:v>0.99947756107173547</c:v>
                </c:pt>
                <c:pt idx="447">
                  <c:v>0.99948908989454643</c:v>
                </c:pt>
                <c:pt idx="448">
                  <c:v>0.99950057232370415</c:v>
                </c:pt>
                <c:pt idx="449">
                  <c:v>0.9995118691782493</c:v>
                </c:pt>
                <c:pt idx="450">
                  <c:v>0.99952308871003914</c:v>
                </c:pt>
                <c:pt idx="451">
                  <c:v>0.99953409947038974</c:v>
                </c:pt>
                <c:pt idx="452">
                  <c:v>0.99954499424660748</c:v>
                </c:pt>
                <c:pt idx="453">
                  <c:v>0.99955572664503911</c:v>
                </c:pt>
                <c:pt idx="454">
                  <c:v>0.99956638172071544</c:v>
                </c:pt>
                <c:pt idx="455">
                  <c:v>0.99959774383025335</c:v>
                </c:pt>
                <c:pt idx="456">
                  <c:v>0.99960818240221494</c:v>
                </c:pt>
                <c:pt idx="457">
                  <c:v>0.9996185668482479</c:v>
                </c:pt>
                <c:pt idx="458">
                  <c:v>0.99963836920587279</c:v>
                </c:pt>
                <c:pt idx="459">
                  <c:v>0.99964784897566905</c:v>
                </c:pt>
                <c:pt idx="460">
                  <c:v>0.99965720502905686</c:v>
                </c:pt>
                <c:pt idx="461">
                  <c:v>0.99966655335016918</c:v>
                </c:pt>
                <c:pt idx="462">
                  <c:v>0.99967563104163804</c:v>
                </c:pt>
                <c:pt idx="463">
                  <c:v>0.99969337661397273</c:v>
                </c:pt>
                <c:pt idx="464">
                  <c:v>0.99970212181759388</c:v>
                </c:pt>
                <c:pt idx="465">
                  <c:v>0.99971080516301081</c:v>
                </c:pt>
                <c:pt idx="466">
                  <c:v>0.9997190323041717</c:v>
                </c:pt>
                <c:pt idx="467">
                  <c:v>0.99972708933527099</c:v>
                </c:pt>
                <c:pt idx="468">
                  <c:v>0.99975042534281178</c:v>
                </c:pt>
                <c:pt idx="469">
                  <c:v>0.99975786379186882</c:v>
                </c:pt>
                <c:pt idx="470">
                  <c:v>0.99977252418626827</c:v>
                </c:pt>
                <c:pt idx="471">
                  <c:v>0.99977982345436589</c:v>
                </c:pt>
                <c:pt idx="472">
                  <c:v>0.99978696807695289</c:v>
                </c:pt>
                <c:pt idx="473">
                  <c:v>0.99979408177043783</c:v>
                </c:pt>
                <c:pt idx="474">
                  <c:v>0.99980066193691142</c:v>
                </c:pt>
                <c:pt idx="475">
                  <c:v>0.9998189023748798</c:v>
                </c:pt>
                <c:pt idx="476">
                  <c:v>0.99983042346541517</c:v>
                </c:pt>
                <c:pt idx="477">
                  <c:v>0.99983609122337658</c:v>
                </c:pt>
                <c:pt idx="478">
                  <c:v>0.99984163526492953</c:v>
                </c:pt>
                <c:pt idx="479">
                  <c:v>0.99984709425145168</c:v>
                </c:pt>
                <c:pt idx="480">
                  <c:v>0.9998572621937698</c:v>
                </c:pt>
                <c:pt idx="481">
                  <c:v>0.99986214125962736</c:v>
                </c:pt>
                <c:pt idx="482">
                  <c:v>0.99987135813205563</c:v>
                </c:pt>
                <c:pt idx="483">
                  <c:v>0.9998803353039426</c:v>
                </c:pt>
                <c:pt idx="484">
                  <c:v>0.99988471950416646</c:v>
                </c:pt>
                <c:pt idx="485">
                  <c:v>0.99989307809401118</c:v>
                </c:pt>
                <c:pt idx="486">
                  <c:v>0.9998970834127342</c:v>
                </c:pt>
                <c:pt idx="487">
                  <c:v>0.99990084129864043</c:v>
                </c:pt>
                <c:pt idx="488">
                  <c:v>0.99990820242494216</c:v>
                </c:pt>
                <c:pt idx="489">
                  <c:v>0.99991172834258257</c:v>
                </c:pt>
                <c:pt idx="490">
                  <c:v>0.99992175710394116</c:v>
                </c:pt>
                <c:pt idx="491">
                  <c:v>0.99992485001415199</c:v>
                </c:pt>
                <c:pt idx="492">
                  <c:v>0.99993344830453812</c:v>
                </c:pt>
                <c:pt idx="493">
                  <c:v>0.99993613913642154</c:v>
                </c:pt>
                <c:pt idx="494">
                  <c:v>0.99993869078734554</c:v>
                </c:pt>
                <c:pt idx="495">
                  <c:v>0.99994378635691794</c:v>
                </c:pt>
                <c:pt idx="496">
                  <c:v>0.99995122480597498</c:v>
                </c:pt>
                <c:pt idx="497">
                  <c:v>0.99995816065712273</c:v>
                </c:pt>
                <c:pt idx="498">
                  <c:v>0.99996966628310702</c:v>
                </c:pt>
                <c:pt idx="499">
                  <c:v>0.99997493196274101</c:v>
                </c:pt>
                <c:pt idx="500">
                  <c:v>0.99998822374437202</c:v>
                </c:pt>
                <c:pt idx="501">
                  <c:v>0.99999161821332838</c:v>
                </c:pt>
                <c:pt idx="502">
                  <c:v>0.99999257701549382</c:v>
                </c:pt>
                <c:pt idx="503">
                  <c:v>0.99999381417957822</c:v>
                </c:pt>
                <c:pt idx="504">
                  <c:v>0.99999927316610049</c:v>
                </c:pt>
                <c:pt idx="505">
                  <c:v>0.9999999072126936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07</c:f>
              <c:strCache>
                <c:ptCount val="506"/>
                <c:pt idx="0">
                  <c:v>Caprice Des</c:v>
                </c:pt>
                <c:pt idx="1">
                  <c:v>Private Lab</c:v>
                </c:pt>
                <c:pt idx="2">
                  <c:v>Private Lab</c:v>
                </c:pt>
                <c:pt idx="3">
                  <c:v>Mini Babybe</c:v>
                </c:pt>
                <c:pt idx="4">
                  <c:v>Private Lab</c:v>
                </c:pt>
                <c:pt idx="5">
                  <c:v>President</c:v>
                </c:pt>
                <c:pt idx="6">
                  <c:v>Private Lab</c:v>
                </c:pt>
                <c:pt idx="7">
                  <c:v>Coeur De Li</c:v>
                </c:pt>
                <c:pt idx="8">
                  <c:v>Private Lab</c:v>
                </c:pt>
                <c:pt idx="9">
                  <c:v>Soignon</c:v>
                </c:pt>
                <c:pt idx="10">
                  <c:v>Galbani</c:v>
                </c:pt>
                <c:pt idx="11">
                  <c:v>Private Lab</c:v>
                </c:pt>
                <c:pt idx="12">
                  <c:v>Private Lab</c:v>
                </c:pt>
                <c:pt idx="13">
                  <c:v>Galbani</c:v>
                </c:pt>
                <c:pt idx="14">
                  <c:v>La Vache Qu</c:v>
                </c:pt>
                <c:pt idx="15">
                  <c:v>Galbani</c:v>
                </c:pt>
                <c:pt idx="16">
                  <c:v>Private Lab</c:v>
                </c:pt>
                <c:pt idx="17">
                  <c:v>Soignon</c:v>
                </c:pt>
                <c:pt idx="18">
                  <c:v>St Moret</c:v>
                </c:pt>
                <c:pt idx="19">
                  <c:v>Caprice Des</c:v>
                </c:pt>
                <c:pt idx="20">
                  <c:v>St Moret</c:v>
                </c:pt>
                <c:pt idx="21">
                  <c:v>Private Lab</c:v>
                </c:pt>
                <c:pt idx="22">
                  <c:v>President</c:v>
                </c:pt>
                <c:pt idx="23">
                  <c:v>Private Lab</c:v>
                </c:pt>
                <c:pt idx="24">
                  <c:v>Coeur De Li</c:v>
                </c:pt>
                <c:pt idx="25">
                  <c:v>Salakis</c:v>
                </c:pt>
                <c:pt idx="26">
                  <c:v>La Vache Qu</c:v>
                </c:pt>
                <c:pt idx="27">
                  <c:v>President</c:v>
                </c:pt>
                <c:pt idx="28">
                  <c:v>St Moret</c:v>
                </c:pt>
                <c:pt idx="29">
                  <c:v>Private Lab</c:v>
                </c:pt>
                <c:pt idx="30">
                  <c:v>Private Lab</c:v>
                </c:pt>
                <c:pt idx="31">
                  <c:v>La Vache Qu</c:v>
                </c:pt>
                <c:pt idx="32">
                  <c:v>All Others</c:v>
                </c:pt>
                <c:pt idx="33">
                  <c:v>All Others</c:v>
                </c:pt>
                <c:pt idx="34">
                  <c:v>Private Lab</c:v>
                </c:pt>
                <c:pt idx="35">
                  <c:v>Salakis</c:v>
                </c:pt>
                <c:pt idx="36">
                  <c:v>Le Rustique</c:v>
                </c:pt>
                <c:pt idx="37">
                  <c:v>Tartare</c:v>
                </c:pt>
                <c:pt idx="38">
                  <c:v>St Moret</c:v>
                </c:pt>
                <c:pt idx="39">
                  <c:v>Mini Babybe</c:v>
                </c:pt>
                <c:pt idx="40">
                  <c:v>Soignon</c:v>
                </c:pt>
                <c:pt idx="41">
                  <c:v>Galbani</c:v>
                </c:pt>
                <c:pt idx="42">
                  <c:v>Islos</c:v>
                </c:pt>
                <c:pt idx="43">
                  <c:v>Private Lab</c:v>
                </c:pt>
                <c:pt idx="44">
                  <c:v>Ficello</c:v>
                </c:pt>
                <c:pt idx="45">
                  <c:v>Kiri</c:v>
                </c:pt>
                <c:pt idx="46">
                  <c:v>Galbani</c:v>
                </c:pt>
                <c:pt idx="47">
                  <c:v>Kiri</c:v>
                </c:pt>
                <c:pt idx="48">
                  <c:v>Private Lab</c:v>
                </c:pt>
                <c:pt idx="49">
                  <c:v>Paysan Bret</c:v>
                </c:pt>
                <c:pt idx="50">
                  <c:v>Private Lab</c:v>
                </c:pt>
                <c:pt idx="51">
                  <c:v>Salakis</c:v>
                </c:pt>
                <c:pt idx="52">
                  <c:v>Private Lab</c:v>
                </c:pt>
                <c:pt idx="53">
                  <c:v>Private Lab</c:v>
                </c:pt>
                <c:pt idx="54">
                  <c:v>Private Lab</c:v>
                </c:pt>
                <c:pt idx="55">
                  <c:v>Casa Azzurr</c:v>
                </c:pt>
                <c:pt idx="56">
                  <c:v>Paysan Bret</c:v>
                </c:pt>
                <c:pt idx="57">
                  <c:v>Private Lab</c:v>
                </c:pt>
                <c:pt idx="58">
                  <c:v>Private Lab</c:v>
                </c:pt>
                <c:pt idx="59">
                  <c:v>Private Lab</c:v>
                </c:pt>
                <c:pt idx="60">
                  <c:v>Private Lab</c:v>
                </c:pt>
                <c:pt idx="61">
                  <c:v>Galbani</c:v>
                </c:pt>
                <c:pt idx="62">
                  <c:v>Kiri</c:v>
                </c:pt>
                <c:pt idx="63">
                  <c:v>Private Lab</c:v>
                </c:pt>
                <c:pt idx="64">
                  <c:v>St Moret</c:v>
                </c:pt>
                <c:pt idx="65">
                  <c:v>President</c:v>
                </c:pt>
                <c:pt idx="66">
                  <c:v>Boursin</c:v>
                </c:pt>
                <c:pt idx="67">
                  <c:v>Private Lab</c:v>
                </c:pt>
                <c:pt idx="68">
                  <c:v>Casa Azzurr</c:v>
                </c:pt>
                <c:pt idx="69">
                  <c:v>Coeur De Li</c:v>
                </c:pt>
                <c:pt idx="70">
                  <c:v>Istara</c:v>
                </c:pt>
                <c:pt idx="71">
                  <c:v>Salakis</c:v>
                </c:pt>
                <c:pt idx="72">
                  <c:v>All Others</c:v>
                </c:pt>
                <c:pt idx="73">
                  <c:v>All Others</c:v>
                </c:pt>
                <c:pt idx="74">
                  <c:v>Casa Azzurr</c:v>
                </c:pt>
                <c:pt idx="75">
                  <c:v>Casa Azzurr</c:v>
                </c:pt>
                <c:pt idx="76">
                  <c:v>Boursin</c:v>
                </c:pt>
                <c:pt idx="77">
                  <c:v>Carre Frais</c:v>
                </c:pt>
                <c:pt idx="78">
                  <c:v>Private Lab</c:v>
                </c:pt>
                <c:pt idx="79">
                  <c:v>St Moret</c:v>
                </c:pt>
                <c:pt idx="80">
                  <c:v>Carre Frais</c:v>
                </c:pt>
                <c:pt idx="81">
                  <c:v>Kiri</c:v>
                </c:pt>
                <c:pt idx="82">
                  <c:v>Coeur De Li</c:v>
                </c:pt>
                <c:pt idx="83">
                  <c:v>Lepetit</c:v>
                </c:pt>
                <c:pt idx="84">
                  <c:v>Kiri</c:v>
                </c:pt>
                <c:pt idx="85">
                  <c:v>Philadelphi</c:v>
                </c:pt>
                <c:pt idx="86">
                  <c:v>Lou Perac</c:v>
                </c:pt>
                <c:pt idx="87">
                  <c:v>Tartare</c:v>
                </c:pt>
                <c:pt idx="88">
                  <c:v>Coeur De Li</c:v>
                </c:pt>
                <c:pt idx="89">
                  <c:v>All Others</c:v>
                </c:pt>
                <c:pt idx="90">
                  <c:v>Casa Azzurr</c:v>
                </c:pt>
                <c:pt idx="91">
                  <c:v>President</c:v>
                </c:pt>
                <c:pt idx="92">
                  <c:v>All Others</c:v>
                </c:pt>
                <c:pt idx="93">
                  <c:v>St Moret</c:v>
                </c:pt>
                <c:pt idx="94">
                  <c:v>Private Lab</c:v>
                </c:pt>
                <c:pt idx="95">
                  <c:v>Les Mousque</c:v>
                </c:pt>
                <c:pt idx="96">
                  <c:v>Boursin</c:v>
                </c:pt>
                <c:pt idx="97">
                  <c:v>President</c:v>
                </c:pt>
                <c:pt idx="98">
                  <c:v>Lactalis: A</c:v>
                </c:pt>
                <c:pt idx="99">
                  <c:v>Galbani</c:v>
                </c:pt>
                <c:pt idx="100">
                  <c:v>Galbani</c:v>
                </c:pt>
                <c:pt idx="101">
                  <c:v>Private Lab</c:v>
                </c:pt>
                <c:pt idx="102">
                  <c:v>Salakis</c:v>
                </c:pt>
                <c:pt idx="103">
                  <c:v>President</c:v>
                </c:pt>
                <c:pt idx="104">
                  <c:v>Caprice Des</c:v>
                </c:pt>
                <c:pt idx="105">
                  <c:v>St Moret</c:v>
                </c:pt>
                <c:pt idx="106">
                  <c:v>Casa Azzurr</c:v>
                </c:pt>
                <c:pt idx="107">
                  <c:v>Soignon</c:v>
                </c:pt>
                <c:pt idx="108">
                  <c:v>Private Lab</c:v>
                </c:pt>
                <c:pt idx="109">
                  <c:v>Petit Billy</c:v>
                </c:pt>
                <c:pt idx="110">
                  <c:v>La Vache Qu</c:v>
                </c:pt>
                <c:pt idx="111">
                  <c:v>President</c:v>
                </c:pt>
                <c:pt idx="112">
                  <c:v>Coeur De Li</c:v>
                </c:pt>
                <c:pt idx="113">
                  <c:v>Private Lab</c:v>
                </c:pt>
                <c:pt idx="114">
                  <c:v>Ficello</c:v>
                </c:pt>
                <c:pt idx="115">
                  <c:v>Private Lab</c:v>
                </c:pt>
                <c:pt idx="116">
                  <c:v>Salakis</c:v>
                </c:pt>
                <c:pt idx="117">
                  <c:v>Istara</c:v>
                </c:pt>
                <c:pt idx="118">
                  <c:v>Galbani</c:v>
                </c:pt>
                <c:pt idx="119">
                  <c:v>Les Mousque</c:v>
                </c:pt>
                <c:pt idx="120">
                  <c:v>Private Lab</c:v>
                </c:pt>
                <c:pt idx="121">
                  <c:v>Private Lab</c:v>
                </c:pt>
                <c:pt idx="122">
                  <c:v>All Others</c:v>
                </c:pt>
                <c:pt idx="123">
                  <c:v>Private Lab</c:v>
                </c:pt>
                <c:pt idx="124">
                  <c:v>President</c:v>
                </c:pt>
                <c:pt idx="125">
                  <c:v>Soignon</c:v>
                </c:pt>
                <c:pt idx="126">
                  <c:v>Boursin</c:v>
                </c:pt>
                <c:pt idx="127">
                  <c:v>Galbani</c:v>
                </c:pt>
                <c:pt idx="128">
                  <c:v>La Vache Qu</c:v>
                </c:pt>
                <c:pt idx="129">
                  <c:v>Private Lab</c:v>
                </c:pt>
                <c:pt idx="130">
                  <c:v>Lactalis: A</c:v>
                </c:pt>
                <c:pt idx="131">
                  <c:v>Casa Azzurr</c:v>
                </c:pt>
                <c:pt idx="132">
                  <c:v>Caprice Des</c:v>
                </c:pt>
                <c:pt idx="133">
                  <c:v>Private Lab</c:v>
                </c:pt>
                <c:pt idx="134">
                  <c:v>Private Lab</c:v>
                </c:pt>
                <c:pt idx="135">
                  <c:v>Le Rustique</c:v>
                </c:pt>
                <c:pt idx="136">
                  <c:v>Chavroux</c:v>
                </c:pt>
                <c:pt idx="137">
                  <c:v>Paysan Bret</c:v>
                </c:pt>
                <c:pt idx="138">
                  <c:v>Tartare</c:v>
                </c:pt>
                <c:pt idx="139">
                  <c:v>Ficello</c:v>
                </c:pt>
                <c:pt idx="140">
                  <c:v>Private Lab</c:v>
                </c:pt>
                <c:pt idx="141">
                  <c:v>Soignon</c:v>
                </c:pt>
                <c:pt idx="142">
                  <c:v>Carre Frais</c:v>
                </c:pt>
                <c:pt idx="143">
                  <c:v>Private Lab</c:v>
                </c:pt>
                <c:pt idx="144">
                  <c:v>Private Lab</c:v>
                </c:pt>
                <c:pt idx="145">
                  <c:v>Le Rustique</c:v>
                </c:pt>
                <c:pt idx="146">
                  <c:v>President</c:v>
                </c:pt>
                <c:pt idx="147">
                  <c:v>Private Lab</c:v>
                </c:pt>
                <c:pt idx="148">
                  <c:v>Private Lab</c:v>
                </c:pt>
                <c:pt idx="149">
                  <c:v>Philadelphi</c:v>
                </c:pt>
                <c:pt idx="150">
                  <c:v>Private Lab</c:v>
                </c:pt>
                <c:pt idx="151">
                  <c:v>Private Lab</c:v>
                </c:pt>
                <c:pt idx="152">
                  <c:v>All Others</c:v>
                </c:pt>
                <c:pt idx="153">
                  <c:v>Etorki</c:v>
                </c:pt>
                <c:pt idx="154">
                  <c:v>Paysan Bret</c:v>
                </c:pt>
                <c:pt idx="155">
                  <c:v>Lactalis: A</c:v>
                </c:pt>
                <c:pt idx="156">
                  <c:v>All Others</c:v>
                </c:pt>
                <c:pt idx="157">
                  <c:v>P'Tit Louis</c:v>
                </c:pt>
                <c:pt idx="158">
                  <c:v>Paysan Bret</c:v>
                </c:pt>
                <c:pt idx="159">
                  <c:v>Casa Azzurr</c:v>
                </c:pt>
                <c:pt idx="160">
                  <c:v>Mini Babybe</c:v>
                </c:pt>
                <c:pt idx="161">
                  <c:v>Private Lab</c:v>
                </c:pt>
                <c:pt idx="162">
                  <c:v>Private Lab</c:v>
                </c:pt>
                <c:pt idx="163">
                  <c:v>Boursin</c:v>
                </c:pt>
                <c:pt idx="164">
                  <c:v>Soignon</c:v>
                </c:pt>
                <c:pt idx="165">
                  <c:v>Private Lab</c:v>
                </c:pt>
                <c:pt idx="166">
                  <c:v>Private Lab</c:v>
                </c:pt>
                <c:pt idx="167">
                  <c:v>Le Brebiou</c:v>
                </c:pt>
                <c:pt idx="168">
                  <c:v>Caprice Des</c:v>
                </c:pt>
                <c:pt idx="169">
                  <c:v>Galbani</c:v>
                </c:pt>
                <c:pt idx="170">
                  <c:v>Lactalis: A</c:v>
                </c:pt>
                <c:pt idx="171">
                  <c:v>Private Lab</c:v>
                </c:pt>
                <c:pt idx="172">
                  <c:v>Le Rustique</c:v>
                </c:pt>
                <c:pt idx="173">
                  <c:v>Salakis</c:v>
                </c:pt>
                <c:pt idx="174">
                  <c:v>Kiri</c:v>
                </c:pt>
                <c:pt idx="175">
                  <c:v>Private Lab</c:v>
                </c:pt>
                <c:pt idx="176">
                  <c:v>All Others</c:v>
                </c:pt>
                <c:pt idx="177">
                  <c:v>All Others</c:v>
                </c:pt>
                <c:pt idx="178">
                  <c:v>Soignon</c:v>
                </c:pt>
                <c:pt idx="179">
                  <c:v>All Others</c:v>
                </c:pt>
                <c:pt idx="180">
                  <c:v>Paysan Bret</c:v>
                </c:pt>
                <c:pt idx="181">
                  <c:v>Private Lab</c:v>
                </c:pt>
                <c:pt idx="182">
                  <c:v>President</c:v>
                </c:pt>
                <c:pt idx="183">
                  <c:v>Soignon</c:v>
                </c:pt>
                <c:pt idx="184">
                  <c:v>President</c:v>
                </c:pt>
                <c:pt idx="185">
                  <c:v>Boursin</c:v>
                </c:pt>
                <c:pt idx="186">
                  <c:v>Boursin</c:v>
                </c:pt>
                <c:pt idx="187">
                  <c:v>Etorki</c:v>
                </c:pt>
                <c:pt idx="188">
                  <c:v>All Others</c:v>
                </c:pt>
                <c:pt idx="189">
                  <c:v>Tartare</c:v>
                </c:pt>
                <c:pt idx="190">
                  <c:v>All Others</c:v>
                </c:pt>
                <c:pt idx="191">
                  <c:v>Islos</c:v>
                </c:pt>
                <c:pt idx="192">
                  <c:v>Chavroux</c:v>
                </c:pt>
                <c:pt idx="193">
                  <c:v>Private Lab</c:v>
                </c:pt>
                <c:pt idx="194">
                  <c:v>Pave D'Affi</c:v>
                </c:pt>
                <c:pt idx="195">
                  <c:v>All Others</c:v>
                </c:pt>
                <c:pt idx="196">
                  <c:v>Les Mousque</c:v>
                </c:pt>
                <c:pt idx="197">
                  <c:v>La Vache Qu</c:v>
                </c:pt>
                <c:pt idx="198">
                  <c:v>Paysan Bret</c:v>
                </c:pt>
                <c:pt idx="199">
                  <c:v>Galbani</c:v>
                </c:pt>
                <c:pt idx="200">
                  <c:v>Casa Azzurr</c:v>
                </c:pt>
                <c:pt idx="201">
                  <c:v>Soignon</c:v>
                </c:pt>
                <c:pt idx="202">
                  <c:v>Mini Babybe</c:v>
                </c:pt>
                <c:pt idx="203">
                  <c:v>Kiri</c:v>
                </c:pt>
                <c:pt idx="204">
                  <c:v>Boursin</c:v>
                </c:pt>
                <c:pt idx="205">
                  <c:v>All Others</c:v>
                </c:pt>
                <c:pt idx="206">
                  <c:v>Tartare</c:v>
                </c:pt>
                <c:pt idx="207">
                  <c:v>Caprice Des</c:v>
                </c:pt>
                <c:pt idx="208">
                  <c:v>Private Lab</c:v>
                </c:pt>
                <c:pt idx="209">
                  <c:v>Boursin</c:v>
                </c:pt>
                <c:pt idx="210">
                  <c:v>Salakis</c:v>
                </c:pt>
                <c:pt idx="211">
                  <c:v>St Moret</c:v>
                </c:pt>
                <c:pt idx="212">
                  <c:v>Galbani</c:v>
                </c:pt>
                <c:pt idx="213">
                  <c:v>All Others</c:v>
                </c:pt>
                <c:pt idx="214">
                  <c:v>Lou Perac</c:v>
                </c:pt>
                <c:pt idx="215">
                  <c:v>Boursin</c:v>
                </c:pt>
                <c:pt idx="216">
                  <c:v>Caprice Des</c:v>
                </c:pt>
                <c:pt idx="217">
                  <c:v>Tartare</c:v>
                </c:pt>
                <c:pt idx="218">
                  <c:v>Savencia: A</c:v>
                </c:pt>
                <c:pt idx="219">
                  <c:v>Saint Agur</c:v>
                </c:pt>
                <c:pt idx="220">
                  <c:v>Soignon</c:v>
                </c:pt>
                <c:pt idx="221">
                  <c:v>Boursin</c:v>
                </c:pt>
                <c:pt idx="222">
                  <c:v>Caprice Des</c:v>
                </c:pt>
                <c:pt idx="223">
                  <c:v>All Others</c:v>
                </c:pt>
                <c:pt idx="224">
                  <c:v>Boursin</c:v>
                </c:pt>
                <c:pt idx="225">
                  <c:v>La Vache Qu</c:v>
                </c:pt>
                <c:pt idx="226">
                  <c:v>Private Lab</c:v>
                </c:pt>
                <c:pt idx="227">
                  <c:v>P'Tit Louis</c:v>
                </c:pt>
                <c:pt idx="228">
                  <c:v>Mini Babybe</c:v>
                </c:pt>
                <c:pt idx="229">
                  <c:v>Islos</c:v>
                </c:pt>
                <c:pt idx="230">
                  <c:v>Kiri</c:v>
                </c:pt>
                <c:pt idx="231">
                  <c:v>All Others</c:v>
                </c:pt>
                <c:pt idx="232">
                  <c:v>Paysan Bret</c:v>
                </c:pt>
                <c:pt idx="233">
                  <c:v>Tartare</c:v>
                </c:pt>
                <c:pt idx="234">
                  <c:v>Private Lab</c:v>
                </c:pt>
                <c:pt idx="235">
                  <c:v>All Others</c:v>
                </c:pt>
                <c:pt idx="236">
                  <c:v>Private Lab</c:v>
                </c:pt>
                <c:pt idx="237">
                  <c:v>Private Lab</c:v>
                </c:pt>
                <c:pt idx="238">
                  <c:v>All Others</c:v>
                </c:pt>
                <c:pt idx="239">
                  <c:v>All Others</c:v>
                </c:pt>
                <c:pt idx="240">
                  <c:v>Corsica</c:v>
                </c:pt>
                <c:pt idx="241">
                  <c:v>Lou Perac</c:v>
                </c:pt>
                <c:pt idx="242">
                  <c:v>Private Lab</c:v>
                </c:pt>
                <c:pt idx="243">
                  <c:v>Etoile Du Q</c:v>
                </c:pt>
                <c:pt idx="244">
                  <c:v>All Others</c:v>
                </c:pt>
                <c:pt idx="245">
                  <c:v>Paysan Bret</c:v>
                </c:pt>
                <c:pt idx="246">
                  <c:v>Paysan Bret</c:v>
                </c:pt>
                <c:pt idx="247">
                  <c:v>All Others</c:v>
                </c:pt>
                <c:pt idx="248">
                  <c:v>Boursin</c:v>
                </c:pt>
                <c:pt idx="249">
                  <c:v>All Others</c:v>
                </c:pt>
                <c:pt idx="250">
                  <c:v>Istara</c:v>
                </c:pt>
                <c:pt idx="251">
                  <c:v>Chavroux</c:v>
                </c:pt>
                <c:pt idx="252">
                  <c:v>Galbani</c:v>
                </c:pt>
                <c:pt idx="253">
                  <c:v>Private Lab</c:v>
                </c:pt>
                <c:pt idx="254">
                  <c:v>All Others</c:v>
                </c:pt>
                <c:pt idx="255">
                  <c:v>All Others</c:v>
                </c:pt>
                <c:pt idx="256">
                  <c:v>Soignon</c:v>
                </c:pt>
                <c:pt idx="257">
                  <c:v>Milleret: A</c:v>
                </c:pt>
                <c:pt idx="258">
                  <c:v>All Others</c:v>
                </c:pt>
                <c:pt idx="259">
                  <c:v>Carre Frais</c:v>
                </c:pt>
                <c:pt idx="260">
                  <c:v>All Others</c:v>
                </c:pt>
                <c:pt idx="261">
                  <c:v>Les Mousque</c:v>
                </c:pt>
                <c:pt idx="262">
                  <c:v>Triballat N</c:v>
                </c:pt>
                <c:pt idx="263">
                  <c:v>Boursin</c:v>
                </c:pt>
                <c:pt idx="264">
                  <c:v>Soignon</c:v>
                </c:pt>
                <c:pt idx="265">
                  <c:v>All Others</c:v>
                </c:pt>
                <c:pt idx="266">
                  <c:v>All Others</c:v>
                </c:pt>
                <c:pt idx="267">
                  <c:v>Triballat N</c:v>
                </c:pt>
                <c:pt idx="268">
                  <c:v>All Others</c:v>
                </c:pt>
                <c:pt idx="269">
                  <c:v>Kiri</c:v>
                </c:pt>
                <c:pt idx="270">
                  <c:v>All Others</c:v>
                </c:pt>
                <c:pt idx="271">
                  <c:v>Triballat N</c:v>
                </c:pt>
                <c:pt idx="272">
                  <c:v>Private Lab</c:v>
                </c:pt>
                <c:pt idx="273">
                  <c:v>All Others</c:v>
                </c:pt>
                <c:pt idx="274">
                  <c:v>Boursin</c:v>
                </c:pt>
                <c:pt idx="275">
                  <c:v>All Others</c:v>
                </c:pt>
                <c:pt idx="276">
                  <c:v>All Others</c:v>
                </c:pt>
                <c:pt idx="277">
                  <c:v>All Others</c:v>
                </c:pt>
                <c:pt idx="278">
                  <c:v>Salakis</c:v>
                </c:pt>
                <c:pt idx="279">
                  <c:v>All Others</c:v>
                </c:pt>
                <c:pt idx="280">
                  <c:v>All Others</c:v>
                </c:pt>
                <c:pt idx="281">
                  <c:v>Etorki</c:v>
                </c:pt>
                <c:pt idx="282">
                  <c:v>Le Brebiou</c:v>
                </c:pt>
                <c:pt idx="283">
                  <c:v>Soignon</c:v>
                </c:pt>
                <c:pt idx="284">
                  <c:v>All Others</c:v>
                </c:pt>
                <c:pt idx="285">
                  <c:v>All Others</c:v>
                </c:pt>
                <c:pt idx="286">
                  <c:v>Paysan Bret</c:v>
                </c:pt>
                <c:pt idx="287">
                  <c:v>All Others</c:v>
                </c:pt>
                <c:pt idx="288">
                  <c:v>Milleret: A</c:v>
                </c:pt>
                <c:pt idx="289">
                  <c:v>Salakis</c:v>
                </c:pt>
                <c:pt idx="290">
                  <c:v>Chavroux</c:v>
                </c:pt>
                <c:pt idx="291">
                  <c:v>All Others</c:v>
                </c:pt>
                <c:pt idx="292">
                  <c:v>All Others</c:v>
                </c:pt>
                <c:pt idx="293">
                  <c:v>All Others</c:v>
                </c:pt>
                <c:pt idx="294">
                  <c:v>All Others</c:v>
                </c:pt>
                <c:pt idx="295">
                  <c:v>All Others</c:v>
                </c:pt>
                <c:pt idx="296">
                  <c:v>Lactalis: A</c:v>
                </c:pt>
                <c:pt idx="297">
                  <c:v>All Others</c:v>
                </c:pt>
                <c:pt idx="298">
                  <c:v>Private Lab</c:v>
                </c:pt>
                <c:pt idx="299">
                  <c:v>All Others</c:v>
                </c:pt>
                <c:pt idx="300">
                  <c:v>Lactalis: A</c:v>
                </c:pt>
                <c:pt idx="301">
                  <c:v>All Others</c:v>
                </c:pt>
                <c:pt idx="302">
                  <c:v>Casa Azzurr</c:v>
                </c:pt>
                <c:pt idx="303">
                  <c:v>All Others</c:v>
                </c:pt>
                <c:pt idx="304">
                  <c:v>All Others</c:v>
                </c:pt>
                <c:pt idx="305">
                  <c:v>All Others</c:v>
                </c:pt>
                <c:pt idx="306">
                  <c:v>All Others</c:v>
                </c:pt>
                <c:pt idx="307">
                  <c:v>Tartare</c:v>
                </c:pt>
                <c:pt idx="308">
                  <c:v>Triballat N</c:v>
                </c:pt>
                <c:pt idx="309">
                  <c:v>All Others</c:v>
                </c:pt>
                <c:pt idx="310">
                  <c:v>All Others</c:v>
                </c:pt>
                <c:pt idx="311">
                  <c:v>All Others</c:v>
                </c:pt>
                <c:pt idx="312">
                  <c:v>All Others</c:v>
                </c:pt>
                <c:pt idx="313">
                  <c:v>All Others</c:v>
                </c:pt>
                <c:pt idx="314">
                  <c:v>All Others</c:v>
                </c:pt>
                <c:pt idx="315">
                  <c:v>All Others</c:v>
                </c:pt>
                <c:pt idx="316">
                  <c:v>Istara</c:v>
                </c:pt>
                <c:pt idx="317">
                  <c:v>All Others</c:v>
                </c:pt>
                <c:pt idx="318">
                  <c:v>All Others</c:v>
                </c:pt>
                <c:pt idx="319">
                  <c:v>All Others</c:v>
                </c:pt>
                <c:pt idx="320">
                  <c:v>All Others</c:v>
                </c:pt>
                <c:pt idx="321">
                  <c:v>Petit Billy</c:v>
                </c:pt>
                <c:pt idx="322">
                  <c:v>All Others</c:v>
                </c:pt>
                <c:pt idx="323">
                  <c:v>All Others</c:v>
                </c:pt>
                <c:pt idx="324">
                  <c:v>Soignon</c:v>
                </c:pt>
                <c:pt idx="325">
                  <c:v>All Others</c:v>
                </c:pt>
                <c:pt idx="326">
                  <c:v>All Others</c:v>
                </c:pt>
                <c:pt idx="327">
                  <c:v>All Others</c:v>
                </c:pt>
                <c:pt idx="328">
                  <c:v>All Others</c:v>
                </c:pt>
                <c:pt idx="329">
                  <c:v>All Others</c:v>
                </c:pt>
                <c:pt idx="330">
                  <c:v>All Others</c:v>
                </c:pt>
                <c:pt idx="331">
                  <c:v>All Others</c:v>
                </c:pt>
                <c:pt idx="332">
                  <c:v>All Others</c:v>
                </c:pt>
                <c:pt idx="333">
                  <c:v>All Others</c:v>
                </c:pt>
                <c:pt idx="334">
                  <c:v>All Others</c:v>
                </c:pt>
                <c:pt idx="335">
                  <c:v>All Others</c:v>
                </c:pt>
                <c:pt idx="336">
                  <c:v>All Others</c:v>
                </c:pt>
                <c:pt idx="337">
                  <c:v>All Others</c:v>
                </c:pt>
                <c:pt idx="338">
                  <c:v>All Others</c:v>
                </c:pt>
                <c:pt idx="339">
                  <c:v>All Others</c:v>
                </c:pt>
                <c:pt idx="340">
                  <c:v>Etoile Du V</c:v>
                </c:pt>
                <c:pt idx="341">
                  <c:v>All Others</c:v>
                </c:pt>
                <c:pt idx="342">
                  <c:v>All Others</c:v>
                </c:pt>
                <c:pt idx="343">
                  <c:v>All Others</c:v>
                </c:pt>
                <c:pt idx="344">
                  <c:v>All Others</c:v>
                </c:pt>
                <c:pt idx="345">
                  <c:v>All Others</c:v>
                </c:pt>
                <c:pt idx="346">
                  <c:v>All Others</c:v>
                </c:pt>
                <c:pt idx="347">
                  <c:v>Corsica</c:v>
                </c:pt>
                <c:pt idx="348">
                  <c:v>All Others</c:v>
                </c:pt>
                <c:pt idx="349">
                  <c:v>All Others</c:v>
                </c:pt>
                <c:pt idx="350">
                  <c:v>All Others</c:v>
                </c:pt>
                <c:pt idx="351">
                  <c:v>All Others</c:v>
                </c:pt>
                <c:pt idx="352">
                  <c:v>All Others</c:v>
                </c:pt>
                <c:pt idx="353">
                  <c:v>All Others</c:v>
                </c:pt>
                <c:pt idx="354">
                  <c:v>All Others</c:v>
                </c:pt>
                <c:pt idx="355">
                  <c:v>Paysan Bret</c:v>
                </c:pt>
                <c:pt idx="356">
                  <c:v>Mini Babybe</c:v>
                </c:pt>
                <c:pt idx="357">
                  <c:v>All Others</c:v>
                </c:pt>
                <c:pt idx="358">
                  <c:v>All Others</c:v>
                </c:pt>
                <c:pt idx="359">
                  <c:v>All Others</c:v>
                </c:pt>
                <c:pt idx="360">
                  <c:v>All Others</c:v>
                </c:pt>
                <c:pt idx="361">
                  <c:v>All Others</c:v>
                </c:pt>
                <c:pt idx="362">
                  <c:v>All Others</c:v>
                </c:pt>
                <c:pt idx="363">
                  <c:v>All Others</c:v>
                </c:pt>
                <c:pt idx="364">
                  <c:v>All Others</c:v>
                </c:pt>
                <c:pt idx="365">
                  <c:v>All Others</c:v>
                </c:pt>
                <c:pt idx="366">
                  <c:v>All Others</c:v>
                </c:pt>
                <c:pt idx="367">
                  <c:v>All Others</c:v>
                </c:pt>
                <c:pt idx="368">
                  <c:v>All Others</c:v>
                </c:pt>
                <c:pt idx="369">
                  <c:v>All Others</c:v>
                </c:pt>
                <c:pt idx="370">
                  <c:v>All Others</c:v>
                </c:pt>
                <c:pt idx="371">
                  <c:v>All Others</c:v>
                </c:pt>
                <c:pt idx="372">
                  <c:v>All Others</c:v>
                </c:pt>
                <c:pt idx="373">
                  <c:v>All Others</c:v>
                </c:pt>
                <c:pt idx="374">
                  <c:v>All Others</c:v>
                </c:pt>
                <c:pt idx="375">
                  <c:v>All Others</c:v>
                </c:pt>
                <c:pt idx="376">
                  <c:v>All Others</c:v>
                </c:pt>
                <c:pt idx="377">
                  <c:v>All Others</c:v>
                </c:pt>
                <c:pt idx="378">
                  <c:v>All Others</c:v>
                </c:pt>
                <c:pt idx="379">
                  <c:v>All Others</c:v>
                </c:pt>
                <c:pt idx="380">
                  <c:v>La Table M</c:v>
                </c:pt>
                <c:pt idx="381">
                  <c:v>All Others</c:v>
                </c:pt>
                <c:pt idx="382">
                  <c:v>All Others</c:v>
                </c:pt>
                <c:pt idx="383">
                  <c:v>Lactalis: A</c:v>
                </c:pt>
                <c:pt idx="384">
                  <c:v>Lactalis: A</c:v>
                </c:pt>
                <c:pt idx="385">
                  <c:v>All Others</c:v>
                </c:pt>
                <c:pt idx="386">
                  <c:v>All Others</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All Others</c:v>
                </c:pt>
                <c:pt idx="397">
                  <c:v>All Others</c:v>
                </c:pt>
                <c:pt idx="398">
                  <c:v>All Others</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Other Suppl</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La Vache Qu</c:v>
                </c:pt>
                <c:pt idx="443">
                  <c:v>All Others</c:v>
                </c:pt>
                <c:pt idx="444">
                  <c:v>All Others</c:v>
                </c:pt>
                <c:pt idx="445">
                  <c:v>All Others</c:v>
                </c:pt>
                <c:pt idx="446">
                  <c:v>All Others</c:v>
                </c:pt>
                <c:pt idx="447">
                  <c:v>All Others</c:v>
                </c:pt>
                <c:pt idx="448">
                  <c:v>All Others</c:v>
                </c:pt>
                <c:pt idx="449">
                  <c:v>All Others</c:v>
                </c:pt>
                <c:pt idx="450">
                  <c:v>All Others</c:v>
                </c:pt>
                <c:pt idx="451">
                  <c:v>Lactalis: A</c:v>
                </c:pt>
                <c:pt idx="452">
                  <c:v>All Others</c:v>
                </c:pt>
                <c:pt idx="453">
                  <c:v>All Others</c:v>
                </c:pt>
                <c:pt idx="454">
                  <c:v>All Others</c:v>
                </c:pt>
                <c:pt idx="455">
                  <c:v>All Others</c:v>
                </c:pt>
                <c:pt idx="456">
                  <c:v>All Others</c:v>
                </c:pt>
                <c:pt idx="457">
                  <c:v>All Others</c:v>
                </c:pt>
                <c:pt idx="458">
                  <c:v>All Others</c:v>
                </c:pt>
                <c:pt idx="459">
                  <c:v>All Others</c:v>
                </c:pt>
                <c:pt idx="460">
                  <c:v>All Others</c:v>
                </c:pt>
                <c:pt idx="461">
                  <c:v>Kiri</c:v>
                </c:pt>
                <c:pt idx="462">
                  <c:v>All Others</c:v>
                </c:pt>
                <c:pt idx="463">
                  <c:v>All Others</c:v>
                </c:pt>
                <c:pt idx="464">
                  <c:v>Other Suppl</c:v>
                </c:pt>
                <c:pt idx="465">
                  <c:v>Mini Babybe</c:v>
                </c:pt>
                <c:pt idx="466">
                  <c:v>All Others</c:v>
                </c:pt>
                <c:pt idx="467">
                  <c:v>Boursin</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Lactalis: A</c:v>
                </c:pt>
                <c:pt idx="481">
                  <c:v>All Others</c:v>
                </c:pt>
                <c:pt idx="482">
                  <c:v>All Others</c:v>
                </c:pt>
                <c:pt idx="483">
                  <c:v>Mini Babybe</c:v>
                </c:pt>
                <c:pt idx="484">
                  <c:v>All Others</c:v>
                </c:pt>
                <c:pt idx="485">
                  <c:v>All Others</c:v>
                </c:pt>
                <c:pt idx="486">
                  <c:v>All Others</c:v>
                </c:pt>
                <c:pt idx="487">
                  <c:v>Etoile Du V</c:v>
                </c:pt>
                <c:pt idx="488">
                  <c:v>All Others</c:v>
                </c:pt>
                <c:pt idx="489">
                  <c:v>All Others</c:v>
                </c:pt>
                <c:pt idx="490">
                  <c:v>Lactalis: A</c:v>
                </c:pt>
                <c:pt idx="491">
                  <c:v>All Others</c:v>
                </c:pt>
                <c:pt idx="492">
                  <c:v>All Others</c:v>
                </c:pt>
                <c:pt idx="493">
                  <c:v>All Others</c:v>
                </c:pt>
                <c:pt idx="494">
                  <c:v>Private Lab</c:v>
                </c:pt>
                <c:pt idx="495">
                  <c:v>Mini Babybe</c:v>
                </c:pt>
                <c:pt idx="496">
                  <c:v>Gillot</c:v>
                </c:pt>
                <c:pt idx="497">
                  <c:v>All Others</c:v>
                </c:pt>
                <c:pt idx="498">
                  <c:v>All Others</c:v>
                </c:pt>
                <c:pt idx="499">
                  <c:v>All Others</c:v>
                </c:pt>
                <c:pt idx="500">
                  <c:v>All Others</c:v>
                </c:pt>
                <c:pt idx="501">
                  <c:v>Private Lab</c:v>
                </c:pt>
                <c:pt idx="502">
                  <c:v>All Others</c:v>
                </c:pt>
                <c:pt idx="503">
                  <c:v>All Others</c:v>
                </c:pt>
                <c:pt idx="504">
                  <c:v>All Others</c:v>
                </c:pt>
                <c:pt idx="505">
                  <c:v>All Others</c:v>
                </c:pt>
              </c:strCache>
            </c:strRef>
          </c:cat>
          <c:val>
            <c:numRef>
              <c:f>Sheet1!$B$2:$B$507</c:f>
              <c:numCache>
                <c:formatCode>General</c:formatCode>
                <c:ptCount val="506"/>
                <c:pt idx="0">
                  <c:v>0.99</c:v>
                </c:pt>
                <c:pt idx="1">
                  <c:v>0.99</c:v>
                </c:pt>
                <c:pt idx="2">
                  <c:v>0.98</c:v>
                </c:pt>
                <c:pt idx="3">
                  <c:v>0.99</c:v>
                </c:pt>
                <c:pt idx="4">
                  <c:v>0.98</c:v>
                </c:pt>
                <c:pt idx="5">
                  <c:v>0.99</c:v>
                </c:pt>
                <c:pt idx="6">
                  <c:v>0.99</c:v>
                </c:pt>
                <c:pt idx="7">
                  <c:v>0.99</c:v>
                </c:pt>
                <c:pt idx="8">
                  <c:v>0.99</c:v>
                </c:pt>
                <c:pt idx="9">
                  <c:v>0.99</c:v>
                </c:pt>
                <c:pt idx="10">
                  <c:v>0.98</c:v>
                </c:pt>
                <c:pt idx="11">
                  <c:v>0.99</c:v>
                </c:pt>
                <c:pt idx="12">
                  <c:v>0.99</c:v>
                </c:pt>
                <c:pt idx="13">
                  <c:v>0.99</c:v>
                </c:pt>
                <c:pt idx="14">
                  <c:v>0.99</c:v>
                </c:pt>
                <c:pt idx="15">
                  <c:v>0.99</c:v>
                </c:pt>
                <c:pt idx="16">
                  <c:v>0.98</c:v>
                </c:pt>
                <c:pt idx="17">
                  <c:v>0.99</c:v>
                </c:pt>
                <c:pt idx="18">
                  <c:v>0.99</c:v>
                </c:pt>
                <c:pt idx="19">
                  <c:v>0.99</c:v>
                </c:pt>
                <c:pt idx="20">
                  <c:v>0.99</c:v>
                </c:pt>
                <c:pt idx="21">
                  <c:v>0.99</c:v>
                </c:pt>
                <c:pt idx="22">
                  <c:v>0.99</c:v>
                </c:pt>
                <c:pt idx="23">
                  <c:v>0.99</c:v>
                </c:pt>
                <c:pt idx="24">
                  <c:v>0.99</c:v>
                </c:pt>
                <c:pt idx="25">
                  <c:v>0.98</c:v>
                </c:pt>
                <c:pt idx="26">
                  <c:v>0.99</c:v>
                </c:pt>
                <c:pt idx="27">
                  <c:v>0.99</c:v>
                </c:pt>
                <c:pt idx="28">
                  <c:v>0.99</c:v>
                </c:pt>
                <c:pt idx="29">
                  <c:v>0.98</c:v>
                </c:pt>
                <c:pt idx="30">
                  <c:v>0.99</c:v>
                </c:pt>
                <c:pt idx="31">
                  <c:v>0.99</c:v>
                </c:pt>
                <c:pt idx="32">
                  <c:v>0.97</c:v>
                </c:pt>
                <c:pt idx="33">
                  <c:v>0.63</c:v>
                </c:pt>
                <c:pt idx="34">
                  <c:v>0.99</c:v>
                </c:pt>
                <c:pt idx="35">
                  <c:v>0.99</c:v>
                </c:pt>
                <c:pt idx="36">
                  <c:v>0.99</c:v>
                </c:pt>
                <c:pt idx="37">
                  <c:v>0.99</c:v>
                </c:pt>
                <c:pt idx="38">
                  <c:v>0.99</c:v>
                </c:pt>
                <c:pt idx="39">
                  <c:v>0.99</c:v>
                </c:pt>
                <c:pt idx="40">
                  <c:v>0.99</c:v>
                </c:pt>
                <c:pt idx="41">
                  <c:v>0.98</c:v>
                </c:pt>
                <c:pt idx="42">
                  <c:v>0.98</c:v>
                </c:pt>
                <c:pt idx="43">
                  <c:v>0.99</c:v>
                </c:pt>
                <c:pt idx="44">
                  <c:v>0.99</c:v>
                </c:pt>
                <c:pt idx="45">
                  <c:v>0.99</c:v>
                </c:pt>
                <c:pt idx="46">
                  <c:v>0.99</c:v>
                </c:pt>
                <c:pt idx="47">
                  <c:v>0.99</c:v>
                </c:pt>
                <c:pt idx="48">
                  <c:v>0.99</c:v>
                </c:pt>
                <c:pt idx="49">
                  <c:v>0.99</c:v>
                </c:pt>
                <c:pt idx="50">
                  <c:v>0.99</c:v>
                </c:pt>
                <c:pt idx="51">
                  <c:v>0.99</c:v>
                </c:pt>
                <c:pt idx="52">
                  <c:v>0.98</c:v>
                </c:pt>
                <c:pt idx="53">
                  <c:v>0.99</c:v>
                </c:pt>
                <c:pt idx="54">
                  <c:v>0.99</c:v>
                </c:pt>
                <c:pt idx="55">
                  <c:v>0.95</c:v>
                </c:pt>
                <c:pt idx="56">
                  <c:v>0.99</c:v>
                </c:pt>
                <c:pt idx="57">
                  <c:v>0.99</c:v>
                </c:pt>
                <c:pt idx="58">
                  <c:v>0.99</c:v>
                </c:pt>
                <c:pt idx="59">
                  <c:v>0.85</c:v>
                </c:pt>
                <c:pt idx="60">
                  <c:v>0.98</c:v>
                </c:pt>
                <c:pt idx="61">
                  <c:v>0.99</c:v>
                </c:pt>
                <c:pt idx="62">
                  <c:v>0.99</c:v>
                </c:pt>
                <c:pt idx="63">
                  <c:v>0.99</c:v>
                </c:pt>
                <c:pt idx="64">
                  <c:v>0.99</c:v>
                </c:pt>
                <c:pt idx="65">
                  <c:v>0.99</c:v>
                </c:pt>
                <c:pt idx="66">
                  <c:v>0.99</c:v>
                </c:pt>
                <c:pt idx="67">
                  <c:v>0.99</c:v>
                </c:pt>
                <c:pt idx="68">
                  <c:v>0.81</c:v>
                </c:pt>
                <c:pt idx="69">
                  <c:v>0.99</c:v>
                </c:pt>
                <c:pt idx="70">
                  <c:v>0.99</c:v>
                </c:pt>
                <c:pt idx="71">
                  <c:v>0.99</c:v>
                </c:pt>
                <c:pt idx="72">
                  <c:v>0.96</c:v>
                </c:pt>
                <c:pt idx="73">
                  <c:v>0.97</c:v>
                </c:pt>
                <c:pt idx="74">
                  <c:v>0.81</c:v>
                </c:pt>
                <c:pt idx="75">
                  <c:v>0.86</c:v>
                </c:pt>
                <c:pt idx="76">
                  <c:v>0.99</c:v>
                </c:pt>
                <c:pt idx="77">
                  <c:v>0.99</c:v>
                </c:pt>
                <c:pt idx="78">
                  <c:v>0.99</c:v>
                </c:pt>
                <c:pt idx="79">
                  <c:v>0.78</c:v>
                </c:pt>
                <c:pt idx="80">
                  <c:v>0.99</c:v>
                </c:pt>
                <c:pt idx="81">
                  <c:v>0.99</c:v>
                </c:pt>
                <c:pt idx="82">
                  <c:v>0.98</c:v>
                </c:pt>
                <c:pt idx="83">
                  <c:v>0.99</c:v>
                </c:pt>
                <c:pt idx="84">
                  <c:v>0.99</c:v>
                </c:pt>
                <c:pt idx="85">
                  <c:v>0.87</c:v>
                </c:pt>
                <c:pt idx="86">
                  <c:v>0.99</c:v>
                </c:pt>
                <c:pt idx="87">
                  <c:v>0.99</c:v>
                </c:pt>
                <c:pt idx="88">
                  <c:v>0.99</c:v>
                </c:pt>
                <c:pt idx="89">
                  <c:v>0.97</c:v>
                </c:pt>
                <c:pt idx="90">
                  <c:v>0.81</c:v>
                </c:pt>
                <c:pt idx="91">
                  <c:v>0.99</c:v>
                </c:pt>
                <c:pt idx="92">
                  <c:v>0.99</c:v>
                </c:pt>
                <c:pt idx="93">
                  <c:v>0.99</c:v>
                </c:pt>
                <c:pt idx="94">
                  <c:v>0.78</c:v>
                </c:pt>
                <c:pt idx="95">
                  <c:v>0.98</c:v>
                </c:pt>
                <c:pt idx="96">
                  <c:v>0.99</c:v>
                </c:pt>
                <c:pt idx="97">
                  <c:v>0.99</c:v>
                </c:pt>
                <c:pt idx="98">
                  <c:v>0.98</c:v>
                </c:pt>
                <c:pt idx="99">
                  <c:v>0.97</c:v>
                </c:pt>
                <c:pt idx="100">
                  <c:v>0.8</c:v>
                </c:pt>
                <c:pt idx="101">
                  <c:v>0.99</c:v>
                </c:pt>
                <c:pt idx="102">
                  <c:v>0.88</c:v>
                </c:pt>
                <c:pt idx="103">
                  <c:v>0.94</c:v>
                </c:pt>
                <c:pt idx="104">
                  <c:v>0.97</c:v>
                </c:pt>
                <c:pt idx="105">
                  <c:v>0.99</c:v>
                </c:pt>
                <c:pt idx="106">
                  <c:v>0.74</c:v>
                </c:pt>
                <c:pt idx="107">
                  <c:v>0.99</c:v>
                </c:pt>
                <c:pt idx="108">
                  <c:v>0.99</c:v>
                </c:pt>
                <c:pt idx="109">
                  <c:v>0.99</c:v>
                </c:pt>
                <c:pt idx="110">
                  <c:v>0.98</c:v>
                </c:pt>
                <c:pt idx="111">
                  <c:v>0.98</c:v>
                </c:pt>
                <c:pt idx="112">
                  <c:v>0.99</c:v>
                </c:pt>
                <c:pt idx="113">
                  <c:v>0.98</c:v>
                </c:pt>
                <c:pt idx="114">
                  <c:v>0.98</c:v>
                </c:pt>
                <c:pt idx="115">
                  <c:v>0.94</c:v>
                </c:pt>
                <c:pt idx="116">
                  <c:v>0.98</c:v>
                </c:pt>
                <c:pt idx="117">
                  <c:v>0.96</c:v>
                </c:pt>
                <c:pt idx="118">
                  <c:v>0.76</c:v>
                </c:pt>
                <c:pt idx="119">
                  <c:v>0.79</c:v>
                </c:pt>
                <c:pt idx="120">
                  <c:v>0.94</c:v>
                </c:pt>
                <c:pt idx="121">
                  <c:v>0.97</c:v>
                </c:pt>
                <c:pt idx="122">
                  <c:v>0.56999999999999995</c:v>
                </c:pt>
                <c:pt idx="123">
                  <c:v>0.96</c:v>
                </c:pt>
                <c:pt idx="124">
                  <c:v>0.99</c:v>
                </c:pt>
                <c:pt idx="125">
                  <c:v>0.99</c:v>
                </c:pt>
                <c:pt idx="126">
                  <c:v>0.99</c:v>
                </c:pt>
                <c:pt idx="127">
                  <c:v>0.98</c:v>
                </c:pt>
                <c:pt idx="128">
                  <c:v>0.99</c:v>
                </c:pt>
                <c:pt idx="129">
                  <c:v>0.97</c:v>
                </c:pt>
                <c:pt idx="130">
                  <c:v>0.96</c:v>
                </c:pt>
                <c:pt idx="131">
                  <c:v>0.53</c:v>
                </c:pt>
                <c:pt idx="132">
                  <c:v>0.94</c:v>
                </c:pt>
                <c:pt idx="133">
                  <c:v>0.98</c:v>
                </c:pt>
                <c:pt idx="134">
                  <c:v>0.98</c:v>
                </c:pt>
                <c:pt idx="135">
                  <c:v>0.98</c:v>
                </c:pt>
                <c:pt idx="136">
                  <c:v>0.99</c:v>
                </c:pt>
                <c:pt idx="137">
                  <c:v>0.63</c:v>
                </c:pt>
                <c:pt idx="138">
                  <c:v>0.96</c:v>
                </c:pt>
                <c:pt idx="139">
                  <c:v>0.99</c:v>
                </c:pt>
                <c:pt idx="140">
                  <c:v>0.99</c:v>
                </c:pt>
                <c:pt idx="141">
                  <c:v>0.98</c:v>
                </c:pt>
                <c:pt idx="142">
                  <c:v>0.92</c:v>
                </c:pt>
                <c:pt idx="143">
                  <c:v>0.99</c:v>
                </c:pt>
                <c:pt idx="144">
                  <c:v>0.99</c:v>
                </c:pt>
                <c:pt idx="145">
                  <c:v>0.97</c:v>
                </c:pt>
                <c:pt idx="146">
                  <c:v>0.99</c:v>
                </c:pt>
                <c:pt idx="147">
                  <c:v>0.99</c:v>
                </c:pt>
                <c:pt idx="148">
                  <c:v>0.98</c:v>
                </c:pt>
                <c:pt idx="149">
                  <c:v>0.76</c:v>
                </c:pt>
                <c:pt idx="150">
                  <c:v>0.97</c:v>
                </c:pt>
                <c:pt idx="151">
                  <c:v>0.87</c:v>
                </c:pt>
                <c:pt idx="152">
                  <c:v>0.28999999999999998</c:v>
                </c:pt>
                <c:pt idx="153">
                  <c:v>0.98</c:v>
                </c:pt>
                <c:pt idx="154">
                  <c:v>0.67</c:v>
                </c:pt>
                <c:pt idx="155">
                  <c:v>0.83</c:v>
                </c:pt>
                <c:pt idx="156">
                  <c:v>0.95</c:v>
                </c:pt>
                <c:pt idx="157">
                  <c:v>0.96</c:v>
                </c:pt>
                <c:pt idx="158">
                  <c:v>0.79</c:v>
                </c:pt>
                <c:pt idx="159">
                  <c:v>0.68</c:v>
                </c:pt>
                <c:pt idx="160">
                  <c:v>0.95</c:v>
                </c:pt>
                <c:pt idx="161">
                  <c:v>0.99</c:v>
                </c:pt>
                <c:pt idx="162">
                  <c:v>0.95</c:v>
                </c:pt>
                <c:pt idx="163">
                  <c:v>0.99</c:v>
                </c:pt>
                <c:pt idx="164">
                  <c:v>0.97</c:v>
                </c:pt>
                <c:pt idx="165">
                  <c:v>0.64</c:v>
                </c:pt>
                <c:pt idx="166">
                  <c:v>0.95</c:v>
                </c:pt>
                <c:pt idx="167">
                  <c:v>0.97</c:v>
                </c:pt>
                <c:pt idx="168">
                  <c:v>0.96</c:v>
                </c:pt>
                <c:pt idx="169">
                  <c:v>0.56000000000000005</c:v>
                </c:pt>
                <c:pt idx="170">
                  <c:v>0.68</c:v>
                </c:pt>
                <c:pt idx="171">
                  <c:v>0.94</c:v>
                </c:pt>
                <c:pt idx="172">
                  <c:v>0.94</c:v>
                </c:pt>
                <c:pt idx="173">
                  <c:v>0.74</c:v>
                </c:pt>
                <c:pt idx="174">
                  <c:v>0.94</c:v>
                </c:pt>
                <c:pt idx="175">
                  <c:v>0.94</c:v>
                </c:pt>
                <c:pt idx="176">
                  <c:v>0.97</c:v>
                </c:pt>
                <c:pt idx="177">
                  <c:v>0.88</c:v>
                </c:pt>
                <c:pt idx="178">
                  <c:v>0.98</c:v>
                </c:pt>
                <c:pt idx="179">
                  <c:v>0.97</c:v>
                </c:pt>
                <c:pt idx="180">
                  <c:v>0.7</c:v>
                </c:pt>
                <c:pt idx="181">
                  <c:v>0.97</c:v>
                </c:pt>
                <c:pt idx="182">
                  <c:v>0.96</c:v>
                </c:pt>
                <c:pt idx="183">
                  <c:v>0.95</c:v>
                </c:pt>
                <c:pt idx="184">
                  <c:v>0.98</c:v>
                </c:pt>
                <c:pt idx="185">
                  <c:v>0.98</c:v>
                </c:pt>
                <c:pt idx="186">
                  <c:v>0.96</c:v>
                </c:pt>
                <c:pt idx="187">
                  <c:v>0.83</c:v>
                </c:pt>
                <c:pt idx="188">
                  <c:v>0.98</c:v>
                </c:pt>
                <c:pt idx="189">
                  <c:v>0.97</c:v>
                </c:pt>
                <c:pt idx="190">
                  <c:v>0.79</c:v>
                </c:pt>
                <c:pt idx="191">
                  <c:v>0.84</c:v>
                </c:pt>
                <c:pt idx="192">
                  <c:v>0.98</c:v>
                </c:pt>
                <c:pt idx="193">
                  <c:v>0.93</c:v>
                </c:pt>
                <c:pt idx="194">
                  <c:v>0.95</c:v>
                </c:pt>
                <c:pt idx="195">
                  <c:v>0.27</c:v>
                </c:pt>
                <c:pt idx="196">
                  <c:v>0.97</c:v>
                </c:pt>
                <c:pt idx="197">
                  <c:v>0.96</c:v>
                </c:pt>
                <c:pt idx="198">
                  <c:v>0.68</c:v>
                </c:pt>
                <c:pt idx="199">
                  <c:v>0.76</c:v>
                </c:pt>
                <c:pt idx="200">
                  <c:v>0.65</c:v>
                </c:pt>
                <c:pt idx="201">
                  <c:v>0.96</c:v>
                </c:pt>
                <c:pt idx="202">
                  <c:v>0.97</c:v>
                </c:pt>
                <c:pt idx="203">
                  <c:v>0.99</c:v>
                </c:pt>
                <c:pt idx="204">
                  <c:v>0.99</c:v>
                </c:pt>
                <c:pt idx="205">
                  <c:v>0.56999999999999995</c:v>
                </c:pt>
                <c:pt idx="206">
                  <c:v>0.95</c:v>
                </c:pt>
                <c:pt idx="207">
                  <c:v>0.45</c:v>
                </c:pt>
                <c:pt idx="208">
                  <c:v>0.99</c:v>
                </c:pt>
                <c:pt idx="209">
                  <c:v>0.95</c:v>
                </c:pt>
                <c:pt idx="210">
                  <c:v>0.72</c:v>
                </c:pt>
                <c:pt idx="211">
                  <c:v>0.93</c:v>
                </c:pt>
                <c:pt idx="212">
                  <c:v>0.71</c:v>
                </c:pt>
                <c:pt idx="213">
                  <c:v>0.91</c:v>
                </c:pt>
                <c:pt idx="214">
                  <c:v>0.87</c:v>
                </c:pt>
                <c:pt idx="215">
                  <c:v>0.99</c:v>
                </c:pt>
                <c:pt idx="216">
                  <c:v>0.89</c:v>
                </c:pt>
                <c:pt idx="217">
                  <c:v>0.94</c:v>
                </c:pt>
                <c:pt idx="218">
                  <c:v>0.75</c:v>
                </c:pt>
                <c:pt idx="219">
                  <c:v>0.96</c:v>
                </c:pt>
                <c:pt idx="220">
                  <c:v>0.97</c:v>
                </c:pt>
                <c:pt idx="221">
                  <c:v>0.97</c:v>
                </c:pt>
                <c:pt idx="222">
                  <c:v>0.88</c:v>
                </c:pt>
                <c:pt idx="223">
                  <c:v>0.16</c:v>
                </c:pt>
                <c:pt idx="224">
                  <c:v>0.95</c:v>
                </c:pt>
                <c:pt idx="225">
                  <c:v>0.88</c:v>
                </c:pt>
                <c:pt idx="226">
                  <c:v>0.95</c:v>
                </c:pt>
                <c:pt idx="227">
                  <c:v>0.78</c:v>
                </c:pt>
                <c:pt idx="228">
                  <c:v>0.9</c:v>
                </c:pt>
                <c:pt idx="229">
                  <c:v>0.77</c:v>
                </c:pt>
                <c:pt idx="230">
                  <c:v>0.87</c:v>
                </c:pt>
                <c:pt idx="231">
                  <c:v>0.23</c:v>
                </c:pt>
                <c:pt idx="232">
                  <c:v>0.67</c:v>
                </c:pt>
                <c:pt idx="233">
                  <c:v>0.87</c:v>
                </c:pt>
                <c:pt idx="234">
                  <c:v>0.75</c:v>
                </c:pt>
                <c:pt idx="235">
                  <c:v>0.21</c:v>
                </c:pt>
                <c:pt idx="236">
                  <c:v>0.82</c:v>
                </c:pt>
                <c:pt idx="237">
                  <c:v>0.66</c:v>
                </c:pt>
                <c:pt idx="238">
                  <c:v>0.1</c:v>
                </c:pt>
                <c:pt idx="239">
                  <c:v>0.36</c:v>
                </c:pt>
                <c:pt idx="240">
                  <c:v>0.44</c:v>
                </c:pt>
                <c:pt idx="241">
                  <c:v>0.92</c:v>
                </c:pt>
                <c:pt idx="242">
                  <c:v>0.85</c:v>
                </c:pt>
                <c:pt idx="243">
                  <c:v>0.41</c:v>
                </c:pt>
                <c:pt idx="244">
                  <c:v>0.54</c:v>
                </c:pt>
                <c:pt idx="245">
                  <c:v>0.28000000000000003</c:v>
                </c:pt>
                <c:pt idx="246">
                  <c:v>0.61</c:v>
                </c:pt>
                <c:pt idx="247">
                  <c:v>0.42</c:v>
                </c:pt>
                <c:pt idx="248">
                  <c:v>0.83</c:v>
                </c:pt>
                <c:pt idx="249">
                  <c:v>0.2</c:v>
                </c:pt>
                <c:pt idx="250">
                  <c:v>0.46</c:v>
                </c:pt>
                <c:pt idx="251">
                  <c:v>0.72</c:v>
                </c:pt>
                <c:pt idx="252">
                  <c:v>0.86</c:v>
                </c:pt>
                <c:pt idx="253">
                  <c:v>0.88</c:v>
                </c:pt>
                <c:pt idx="254">
                  <c:v>0.2</c:v>
                </c:pt>
                <c:pt idx="255">
                  <c:v>0.25</c:v>
                </c:pt>
                <c:pt idx="256">
                  <c:v>0.9</c:v>
                </c:pt>
                <c:pt idx="257">
                  <c:v>0.22</c:v>
                </c:pt>
                <c:pt idx="258">
                  <c:v>0.7</c:v>
                </c:pt>
                <c:pt idx="259">
                  <c:v>0.59</c:v>
                </c:pt>
                <c:pt idx="260">
                  <c:v>0.19</c:v>
                </c:pt>
                <c:pt idx="261">
                  <c:v>0.85</c:v>
                </c:pt>
                <c:pt idx="262">
                  <c:v>0.84</c:v>
                </c:pt>
                <c:pt idx="263">
                  <c:v>0.87</c:v>
                </c:pt>
                <c:pt idx="264">
                  <c:v>0.84</c:v>
                </c:pt>
                <c:pt idx="265">
                  <c:v>0.79</c:v>
                </c:pt>
                <c:pt idx="266">
                  <c:v>0.22</c:v>
                </c:pt>
                <c:pt idx="267">
                  <c:v>0.36</c:v>
                </c:pt>
                <c:pt idx="268">
                  <c:v>0.12</c:v>
                </c:pt>
                <c:pt idx="269">
                  <c:v>0.73</c:v>
                </c:pt>
                <c:pt idx="270">
                  <c:v>0.11</c:v>
                </c:pt>
                <c:pt idx="271">
                  <c:v>0.8</c:v>
                </c:pt>
                <c:pt idx="272">
                  <c:v>0.86</c:v>
                </c:pt>
                <c:pt idx="273">
                  <c:v>0.25</c:v>
                </c:pt>
                <c:pt idx="274">
                  <c:v>0.73</c:v>
                </c:pt>
                <c:pt idx="275">
                  <c:v>0.37</c:v>
                </c:pt>
                <c:pt idx="276">
                  <c:v>0.39</c:v>
                </c:pt>
                <c:pt idx="277">
                  <c:v>0.15</c:v>
                </c:pt>
                <c:pt idx="278">
                  <c:v>0.45</c:v>
                </c:pt>
                <c:pt idx="279">
                  <c:v>0.11</c:v>
                </c:pt>
                <c:pt idx="280">
                  <c:v>0.31</c:v>
                </c:pt>
                <c:pt idx="281">
                  <c:v>0.69</c:v>
                </c:pt>
                <c:pt idx="282">
                  <c:v>0.75</c:v>
                </c:pt>
                <c:pt idx="283">
                  <c:v>0.87</c:v>
                </c:pt>
                <c:pt idx="284">
                  <c:v>0.17</c:v>
                </c:pt>
                <c:pt idx="285">
                  <c:v>0.12</c:v>
                </c:pt>
                <c:pt idx="286">
                  <c:v>0.06</c:v>
                </c:pt>
                <c:pt idx="287">
                  <c:v>0.2</c:v>
                </c:pt>
                <c:pt idx="288">
                  <c:v>0.13</c:v>
                </c:pt>
                <c:pt idx="289">
                  <c:v>0.4</c:v>
                </c:pt>
                <c:pt idx="290">
                  <c:v>0.77</c:v>
                </c:pt>
                <c:pt idx="291">
                  <c:v>0.31</c:v>
                </c:pt>
                <c:pt idx="292">
                  <c:v>0.33</c:v>
                </c:pt>
                <c:pt idx="293">
                  <c:v>0.25</c:v>
                </c:pt>
                <c:pt idx="294">
                  <c:v>0.12</c:v>
                </c:pt>
                <c:pt idx="295">
                  <c:v>0.16</c:v>
                </c:pt>
                <c:pt idx="296">
                  <c:v>0.08</c:v>
                </c:pt>
                <c:pt idx="297">
                  <c:v>0.24</c:v>
                </c:pt>
                <c:pt idx="298">
                  <c:v>0.5</c:v>
                </c:pt>
                <c:pt idx="299">
                  <c:v>0.22</c:v>
                </c:pt>
                <c:pt idx="300">
                  <c:v>0.63</c:v>
                </c:pt>
                <c:pt idx="301">
                  <c:v>0.15</c:v>
                </c:pt>
                <c:pt idx="302">
                  <c:v>0.21</c:v>
                </c:pt>
                <c:pt idx="303">
                  <c:v>0.12</c:v>
                </c:pt>
                <c:pt idx="304">
                  <c:v>0.14000000000000001</c:v>
                </c:pt>
                <c:pt idx="305">
                  <c:v>0.18</c:v>
                </c:pt>
                <c:pt idx="306">
                  <c:v>0.12</c:v>
                </c:pt>
                <c:pt idx="307">
                  <c:v>0.43</c:v>
                </c:pt>
                <c:pt idx="308">
                  <c:v>0.34</c:v>
                </c:pt>
                <c:pt idx="309">
                  <c:v>0.06</c:v>
                </c:pt>
                <c:pt idx="310">
                  <c:v>0.15</c:v>
                </c:pt>
                <c:pt idx="311">
                  <c:v>0.16</c:v>
                </c:pt>
                <c:pt idx="312">
                  <c:v>0.5</c:v>
                </c:pt>
                <c:pt idx="313">
                  <c:v>0.08</c:v>
                </c:pt>
                <c:pt idx="314">
                  <c:v>0.04</c:v>
                </c:pt>
                <c:pt idx="315">
                  <c:v>0.03</c:v>
                </c:pt>
                <c:pt idx="316">
                  <c:v>0.18</c:v>
                </c:pt>
                <c:pt idx="317">
                  <c:v>0.11</c:v>
                </c:pt>
                <c:pt idx="318">
                  <c:v>0.05</c:v>
                </c:pt>
                <c:pt idx="319">
                  <c:v>0.21</c:v>
                </c:pt>
                <c:pt idx="320">
                  <c:v>0.02</c:v>
                </c:pt>
                <c:pt idx="321">
                  <c:v>0.38</c:v>
                </c:pt>
                <c:pt idx="322">
                  <c:v>0.09</c:v>
                </c:pt>
                <c:pt idx="323">
                  <c:v>0.14000000000000001</c:v>
                </c:pt>
                <c:pt idx="324">
                  <c:v>0.81</c:v>
                </c:pt>
                <c:pt idx="325">
                  <c:v>0.12</c:v>
                </c:pt>
                <c:pt idx="326">
                  <c:v>0.02</c:v>
                </c:pt>
                <c:pt idx="327">
                  <c:v>0.19</c:v>
                </c:pt>
                <c:pt idx="328">
                  <c:v>0.04</c:v>
                </c:pt>
                <c:pt idx="329">
                  <c:v>0.15</c:v>
                </c:pt>
                <c:pt idx="330">
                  <c:v>0.05</c:v>
                </c:pt>
                <c:pt idx="331">
                  <c:v>0.01</c:v>
                </c:pt>
                <c:pt idx="332">
                  <c:v>0.44</c:v>
                </c:pt>
                <c:pt idx="333">
                  <c:v>0.05</c:v>
                </c:pt>
                <c:pt idx="334">
                  <c:v>0.28999999999999998</c:v>
                </c:pt>
                <c:pt idx="335">
                  <c:v>7.0000000000000007E-2</c:v>
                </c:pt>
                <c:pt idx="336">
                  <c:v>0.4</c:v>
                </c:pt>
                <c:pt idx="337">
                  <c:v>0.16</c:v>
                </c:pt>
                <c:pt idx="338">
                  <c:v>7.0000000000000007E-2</c:v>
                </c:pt>
                <c:pt idx="339">
                  <c:v>0.02</c:v>
                </c:pt>
                <c:pt idx="340">
                  <c:v>0.1</c:v>
                </c:pt>
                <c:pt idx="341">
                  <c:v>0.08</c:v>
                </c:pt>
                <c:pt idx="342">
                  <c:v>0.04</c:v>
                </c:pt>
                <c:pt idx="343">
                  <c:v>0.08</c:v>
                </c:pt>
                <c:pt idx="344">
                  <c:v>0.02</c:v>
                </c:pt>
                <c:pt idx="345">
                  <c:v>0.02</c:v>
                </c:pt>
                <c:pt idx="346">
                  <c:v>0.15</c:v>
                </c:pt>
                <c:pt idx="347">
                  <c:v>0.18</c:v>
                </c:pt>
                <c:pt idx="348">
                  <c:v>0.15</c:v>
                </c:pt>
                <c:pt idx="349">
                  <c:v>0.02</c:v>
                </c:pt>
                <c:pt idx="350">
                  <c:v>0.06</c:v>
                </c:pt>
                <c:pt idx="351">
                  <c:v>7.0000000000000007E-2</c:v>
                </c:pt>
                <c:pt idx="352">
                  <c:v>0.01</c:v>
                </c:pt>
                <c:pt idx="353">
                  <c:v>0.04</c:v>
                </c:pt>
                <c:pt idx="354">
                  <c:v>0.05</c:v>
                </c:pt>
                <c:pt idx="355">
                  <c:v>0.23</c:v>
                </c:pt>
                <c:pt idx="356">
                  <c:v>0.21</c:v>
                </c:pt>
                <c:pt idx="357">
                  <c:v>0.02</c:v>
                </c:pt>
                <c:pt idx="358">
                  <c:v>0.1</c:v>
                </c:pt>
                <c:pt idx="359">
                  <c:v>0.04</c:v>
                </c:pt>
                <c:pt idx="360">
                  <c:v>0.21</c:v>
                </c:pt>
                <c:pt idx="361">
                  <c:v>7.0000000000000007E-2</c:v>
                </c:pt>
                <c:pt idx="362">
                  <c:v>0.08</c:v>
                </c:pt>
                <c:pt idx="363">
                  <c:v>0.02</c:v>
                </c:pt>
                <c:pt idx="364">
                  <c:v>0.17</c:v>
                </c:pt>
                <c:pt idx="365">
                  <c:v>0.03</c:v>
                </c:pt>
                <c:pt idx="366">
                  <c:v>0.04</c:v>
                </c:pt>
                <c:pt idx="367">
                  <c:v>0.15</c:v>
                </c:pt>
                <c:pt idx="368">
                  <c:v>0.14000000000000001</c:v>
                </c:pt>
                <c:pt idx="369">
                  <c:v>0.01</c:v>
                </c:pt>
                <c:pt idx="370">
                  <c:v>0.05</c:v>
                </c:pt>
                <c:pt idx="371">
                  <c:v>0.03</c:v>
                </c:pt>
                <c:pt idx="372">
                  <c:v>0.04</c:v>
                </c:pt>
                <c:pt idx="373">
                  <c:v>0.06</c:v>
                </c:pt>
                <c:pt idx="374">
                  <c:v>7.0000000000000007E-2</c:v>
                </c:pt>
                <c:pt idx="375">
                  <c:v>0.06</c:v>
                </c:pt>
                <c:pt idx="376">
                  <c:v>0.06</c:v>
                </c:pt>
                <c:pt idx="377">
                  <c:v>0.15</c:v>
                </c:pt>
                <c:pt idx="378">
                  <c:v>0.02</c:v>
                </c:pt>
                <c:pt idx="379">
                  <c:v>0.05</c:v>
                </c:pt>
                <c:pt idx="380">
                  <c:v>0.04</c:v>
                </c:pt>
                <c:pt idx="381">
                  <c:v>0.06</c:v>
                </c:pt>
                <c:pt idx="382">
                  <c:v>0.06</c:v>
                </c:pt>
                <c:pt idx="383">
                  <c:v>0.11</c:v>
                </c:pt>
                <c:pt idx="384">
                  <c:v>0.04</c:v>
                </c:pt>
                <c:pt idx="385">
                  <c:v>0.01</c:v>
                </c:pt>
                <c:pt idx="386">
                  <c:v>0.13</c:v>
                </c:pt>
                <c:pt idx="387">
                  <c:v>0.01</c:v>
                </c:pt>
                <c:pt idx="388">
                  <c:v>0.08</c:v>
                </c:pt>
                <c:pt idx="389">
                  <c:v>0.04</c:v>
                </c:pt>
                <c:pt idx="390">
                  <c:v>0.06</c:v>
                </c:pt>
                <c:pt idx="391">
                  <c:v>0.06</c:v>
                </c:pt>
                <c:pt idx="392">
                  <c:v>0.04</c:v>
                </c:pt>
                <c:pt idx="393">
                  <c:v>0.09</c:v>
                </c:pt>
                <c:pt idx="394">
                  <c:v>0.01</c:v>
                </c:pt>
                <c:pt idx="395">
                  <c:v>0.03</c:v>
                </c:pt>
                <c:pt idx="396">
                  <c:v>0.01</c:v>
                </c:pt>
                <c:pt idx="397">
                  <c:v>0.11</c:v>
                </c:pt>
                <c:pt idx="398">
                  <c:v>0.05</c:v>
                </c:pt>
                <c:pt idx="399">
                  <c:v>0.03</c:v>
                </c:pt>
                <c:pt idx="400">
                  <c:v>0.05</c:v>
                </c:pt>
                <c:pt idx="401">
                  <c:v>0.06</c:v>
                </c:pt>
                <c:pt idx="402">
                  <c:v>0.04</c:v>
                </c:pt>
                <c:pt idx="403">
                  <c:v>0.02</c:v>
                </c:pt>
                <c:pt idx="404">
                  <c:v>0.05</c:v>
                </c:pt>
                <c:pt idx="405">
                  <c:v>0.04</c:v>
                </c:pt>
                <c:pt idx="406">
                  <c:v>0.02</c:v>
                </c:pt>
                <c:pt idx="407">
                  <c:v>0.06</c:v>
                </c:pt>
                <c:pt idx="408">
                  <c:v>0.08</c:v>
                </c:pt>
                <c:pt idx="409">
                  <c:v>0.12</c:v>
                </c:pt>
                <c:pt idx="410">
                  <c:v>0.1</c:v>
                </c:pt>
                <c:pt idx="411">
                  <c:v>0.05</c:v>
                </c:pt>
                <c:pt idx="412">
                  <c:v>0.06</c:v>
                </c:pt>
                <c:pt idx="413">
                  <c:v>0.02</c:v>
                </c:pt>
                <c:pt idx="414">
                  <c:v>0.12</c:v>
                </c:pt>
                <c:pt idx="415">
                  <c:v>0.04</c:v>
                </c:pt>
                <c:pt idx="416">
                  <c:v>0.02</c:v>
                </c:pt>
                <c:pt idx="417">
                  <c:v>0.1</c:v>
                </c:pt>
                <c:pt idx="418">
                  <c:v>0.05</c:v>
                </c:pt>
                <c:pt idx="419">
                  <c:v>0.03</c:v>
                </c:pt>
                <c:pt idx="420">
                  <c:v>0.02</c:v>
                </c:pt>
                <c:pt idx="421">
                  <c:v>0.04</c:v>
                </c:pt>
                <c:pt idx="422">
                  <c:v>0.04</c:v>
                </c:pt>
                <c:pt idx="423">
                  <c:v>0.03</c:v>
                </c:pt>
                <c:pt idx="424">
                  <c:v>0.03</c:v>
                </c:pt>
                <c:pt idx="425">
                  <c:v>0.08</c:v>
                </c:pt>
                <c:pt idx="426">
                  <c:v>0.04</c:v>
                </c:pt>
                <c:pt idx="427">
                  <c:v>0.06</c:v>
                </c:pt>
                <c:pt idx="428">
                  <c:v>0.01</c:v>
                </c:pt>
                <c:pt idx="429">
                  <c:v>0.01</c:v>
                </c:pt>
                <c:pt idx="430">
                  <c:v>0.02</c:v>
                </c:pt>
                <c:pt idx="431">
                  <c:v>0.01</c:v>
                </c:pt>
                <c:pt idx="432">
                  <c:v>7.0000000000000007E-2</c:v>
                </c:pt>
                <c:pt idx="433">
                  <c:v>0.04</c:v>
                </c:pt>
                <c:pt idx="434">
                  <c:v>0.02</c:v>
                </c:pt>
                <c:pt idx="435">
                  <c:v>0.01</c:v>
                </c:pt>
                <c:pt idx="436">
                  <c:v>0.02</c:v>
                </c:pt>
                <c:pt idx="437">
                  <c:v>0.01</c:v>
                </c:pt>
                <c:pt idx="438">
                  <c:v>0.03</c:v>
                </c:pt>
                <c:pt idx="439">
                  <c:v>0.03</c:v>
                </c:pt>
                <c:pt idx="440">
                  <c:v>0.01</c:v>
                </c:pt>
                <c:pt idx="441">
                  <c:v>0.01</c:v>
                </c:pt>
                <c:pt idx="442">
                  <c:v>0.01</c:v>
                </c:pt>
                <c:pt idx="443">
                  <c:v>0.04</c:v>
                </c:pt>
                <c:pt idx="444">
                  <c:v>0.02</c:v>
                </c:pt>
                <c:pt idx="445">
                  <c:v>0.02</c:v>
                </c:pt>
                <c:pt idx="446">
                  <c:v>0.04</c:v>
                </c:pt>
                <c:pt idx="447">
                  <c:v>0.04</c:v>
                </c:pt>
                <c:pt idx="448">
                  <c:v>0.05</c:v>
                </c:pt>
                <c:pt idx="449">
                  <c:v>0.04</c:v>
                </c:pt>
                <c:pt idx="450">
                  <c:v>0.02</c:v>
                </c:pt>
                <c:pt idx="451">
                  <c:v>0.01</c:v>
                </c:pt>
                <c:pt idx="452">
                  <c:v>0.02</c:v>
                </c:pt>
                <c:pt idx="453">
                  <c:v>0.09</c:v>
                </c:pt>
                <c:pt idx="454">
                  <c:v>0.02</c:v>
                </c:pt>
                <c:pt idx="455">
                  <c:v>0.03</c:v>
                </c:pt>
                <c:pt idx="456">
                  <c:v>0.02</c:v>
                </c:pt>
                <c:pt idx="457">
                  <c:v>0.06</c:v>
                </c:pt>
                <c:pt idx="458">
                  <c:v>0.02</c:v>
                </c:pt>
                <c:pt idx="459">
                  <c:v>0.02</c:v>
                </c:pt>
                <c:pt idx="460">
                  <c:v>0.05</c:v>
                </c:pt>
                <c:pt idx="461">
                  <c:v>0.16</c:v>
                </c:pt>
                <c:pt idx="462">
                  <c:v>0.03</c:v>
                </c:pt>
                <c:pt idx="463">
                  <c:v>0.08</c:v>
                </c:pt>
                <c:pt idx="464">
                  <c:v>7.0000000000000007E-2</c:v>
                </c:pt>
                <c:pt idx="465">
                  <c:v>0.16</c:v>
                </c:pt>
                <c:pt idx="466">
                  <c:v>0.02</c:v>
                </c:pt>
                <c:pt idx="467">
                  <c:v>0.14000000000000001</c:v>
                </c:pt>
                <c:pt idx="468">
                  <c:v>0.02</c:v>
                </c:pt>
                <c:pt idx="469">
                  <c:v>0.04</c:v>
                </c:pt>
                <c:pt idx="470">
                  <c:v>0.08</c:v>
                </c:pt>
                <c:pt idx="471">
                  <c:v>0.03</c:v>
                </c:pt>
                <c:pt idx="472">
                  <c:v>0.01</c:v>
                </c:pt>
                <c:pt idx="473">
                  <c:v>0.01</c:v>
                </c:pt>
                <c:pt idx="474">
                  <c:v>0.03</c:v>
                </c:pt>
                <c:pt idx="475">
                  <c:v>0.01</c:v>
                </c:pt>
                <c:pt idx="476">
                  <c:v>0.02</c:v>
                </c:pt>
                <c:pt idx="477">
                  <c:v>0.02</c:v>
                </c:pt>
                <c:pt idx="478">
                  <c:v>0.02</c:v>
                </c:pt>
                <c:pt idx="479">
                  <c:v>0.03</c:v>
                </c:pt>
                <c:pt idx="480">
                  <c:v>0.02</c:v>
                </c:pt>
                <c:pt idx="481">
                  <c:v>0.02</c:v>
                </c:pt>
                <c:pt idx="482">
                  <c:v>0.04</c:v>
                </c:pt>
                <c:pt idx="483">
                  <c:v>0.01</c:v>
                </c:pt>
                <c:pt idx="484">
                  <c:v>0.02</c:v>
                </c:pt>
                <c:pt idx="485">
                  <c:v>0.03</c:v>
                </c:pt>
                <c:pt idx="486">
                  <c:v>0.02</c:v>
                </c:pt>
                <c:pt idx="487">
                  <c:v>0.01</c:v>
                </c:pt>
                <c:pt idx="488">
                  <c:v>0.01</c:v>
                </c:pt>
                <c:pt idx="489">
                  <c:v>0.02</c:v>
                </c:pt>
                <c:pt idx="490">
                  <c:v>0.01</c:v>
                </c:pt>
                <c:pt idx="491">
                  <c:v>0.01</c:v>
                </c:pt>
                <c:pt idx="492">
                  <c:v>0.01</c:v>
                </c:pt>
                <c:pt idx="493">
                  <c:v>0.02</c:v>
                </c:pt>
                <c:pt idx="494">
                  <c:v>0.01</c:v>
                </c:pt>
                <c:pt idx="495">
                  <c:v>0.02</c:v>
                </c:pt>
                <c:pt idx="496">
                  <c:v>0.01</c:v>
                </c:pt>
                <c:pt idx="497">
                  <c:v>0.02</c:v>
                </c:pt>
                <c:pt idx="498">
                  <c:v>0.03</c:v>
                </c:pt>
                <c:pt idx="499">
                  <c:v>0.01</c:v>
                </c:pt>
                <c:pt idx="500">
                  <c:v>0.01</c:v>
                </c:pt>
                <c:pt idx="501">
                  <c:v>0.01</c:v>
                </c:pt>
                <c:pt idx="502">
                  <c:v>0.03</c:v>
                </c:pt>
                <c:pt idx="503">
                  <c:v>0.01</c:v>
                </c:pt>
                <c:pt idx="504">
                  <c:v>0.04</c:v>
                </c:pt>
                <c:pt idx="50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96C6-461D-BFB4-D343FE548FA3}"/>
              </c:ext>
            </c:extLst>
          </c:dPt>
          <c:dPt>
            <c:idx val="211"/>
            <c:invertIfNegative val="1"/>
            <c:bubble3D val="0"/>
            <c:spPr>
              <a:solidFill>
                <a:srgbClr val="7ECAC4"/>
              </a:solidFill>
            </c:spPr>
            <c:extLst>
              <c:ext xmlns:c16="http://schemas.microsoft.com/office/drawing/2014/chart" uri="{C3380CC4-5D6E-409C-BE32-E72D297353CC}">
                <c16:uniqueId val="{000001A9-96C6-461D-BFB4-D343FE548FA3}"/>
              </c:ext>
            </c:extLst>
          </c:dPt>
          <c:dPt>
            <c:idx val="212"/>
            <c:invertIfNegative val="1"/>
            <c:bubble3D val="0"/>
            <c:spPr>
              <a:solidFill>
                <a:srgbClr val="7ECAC4"/>
              </a:solidFill>
            </c:spPr>
            <c:extLst>
              <c:ext xmlns:c16="http://schemas.microsoft.com/office/drawing/2014/chart" uri="{C3380CC4-5D6E-409C-BE32-E72D297353CC}">
                <c16:uniqueId val="{000001AB-96C6-461D-BFB4-D343FE548FA3}"/>
              </c:ext>
            </c:extLst>
          </c:dPt>
          <c:dPt>
            <c:idx val="213"/>
            <c:invertIfNegative val="1"/>
            <c:bubble3D val="0"/>
            <c:spPr>
              <a:solidFill>
                <a:srgbClr val="7ECAC4"/>
              </a:solidFill>
            </c:spPr>
            <c:extLst>
              <c:ext xmlns:c16="http://schemas.microsoft.com/office/drawing/2014/chart" uri="{C3380CC4-5D6E-409C-BE32-E72D297353CC}">
                <c16:uniqueId val="{000001AD-96C6-461D-BFB4-D343FE548FA3}"/>
              </c:ext>
            </c:extLst>
          </c:dPt>
          <c:dPt>
            <c:idx val="214"/>
            <c:invertIfNegative val="1"/>
            <c:bubble3D val="0"/>
            <c:spPr>
              <a:solidFill>
                <a:srgbClr val="7ECAC4"/>
              </a:solidFill>
            </c:spPr>
            <c:extLst>
              <c:ext xmlns:c16="http://schemas.microsoft.com/office/drawing/2014/chart" uri="{C3380CC4-5D6E-409C-BE32-E72D297353CC}">
                <c16:uniqueId val="{000001AF-96C6-461D-BFB4-D343FE548FA3}"/>
              </c:ext>
            </c:extLst>
          </c:dPt>
          <c:dPt>
            <c:idx val="215"/>
            <c:invertIfNegative val="1"/>
            <c:bubble3D val="0"/>
            <c:spPr>
              <a:solidFill>
                <a:srgbClr val="7ECAC4"/>
              </a:solidFill>
            </c:spPr>
            <c:extLst>
              <c:ext xmlns:c16="http://schemas.microsoft.com/office/drawing/2014/chart" uri="{C3380CC4-5D6E-409C-BE32-E72D297353CC}">
                <c16:uniqueId val="{000001B1-96C6-461D-BFB4-D343FE548FA3}"/>
              </c:ext>
            </c:extLst>
          </c:dPt>
          <c:dPt>
            <c:idx val="216"/>
            <c:invertIfNegative val="1"/>
            <c:bubble3D val="0"/>
            <c:spPr>
              <a:solidFill>
                <a:srgbClr val="7ECAC4"/>
              </a:solidFill>
            </c:spPr>
            <c:extLst>
              <c:ext xmlns:c16="http://schemas.microsoft.com/office/drawing/2014/chart" uri="{C3380CC4-5D6E-409C-BE32-E72D297353CC}">
                <c16:uniqueId val="{000001B3-96C6-461D-BFB4-D343FE548FA3}"/>
              </c:ext>
            </c:extLst>
          </c:dPt>
          <c:dPt>
            <c:idx val="217"/>
            <c:invertIfNegative val="1"/>
            <c:bubble3D val="0"/>
            <c:spPr>
              <a:solidFill>
                <a:srgbClr val="7ECAC4"/>
              </a:solidFill>
            </c:spPr>
            <c:extLst>
              <c:ext xmlns:c16="http://schemas.microsoft.com/office/drawing/2014/chart" uri="{C3380CC4-5D6E-409C-BE32-E72D297353CC}">
                <c16:uniqueId val="{000001B5-96C6-461D-BFB4-D343FE548FA3}"/>
              </c:ext>
            </c:extLst>
          </c:dPt>
          <c:dPt>
            <c:idx val="218"/>
            <c:invertIfNegative val="1"/>
            <c:bubble3D val="0"/>
            <c:spPr>
              <a:solidFill>
                <a:srgbClr val="AEABAB"/>
              </a:solidFill>
            </c:spPr>
            <c:extLst>
              <c:ext xmlns:c16="http://schemas.microsoft.com/office/drawing/2014/chart" uri="{C3380CC4-5D6E-409C-BE32-E72D297353CC}">
                <c16:uniqueId val="{000001B7-96C6-461D-BFB4-D343FE548FA3}"/>
              </c:ext>
            </c:extLst>
          </c:dPt>
          <c:dPt>
            <c:idx val="219"/>
            <c:invertIfNegative val="1"/>
            <c:bubble3D val="0"/>
            <c:spPr>
              <a:solidFill>
                <a:srgbClr val="AEABAB"/>
              </a:solidFill>
            </c:spPr>
            <c:extLst>
              <c:ext xmlns:c16="http://schemas.microsoft.com/office/drawing/2014/chart" uri="{C3380CC4-5D6E-409C-BE32-E72D297353CC}">
                <c16:uniqueId val="{000001B9-96C6-461D-BFB4-D343FE548FA3}"/>
              </c:ext>
            </c:extLst>
          </c:dPt>
          <c:dPt>
            <c:idx val="220"/>
            <c:invertIfNegative val="1"/>
            <c:bubble3D val="0"/>
            <c:spPr>
              <a:solidFill>
                <a:srgbClr val="AEABAB"/>
              </a:solidFill>
            </c:spPr>
            <c:extLst>
              <c:ext xmlns:c16="http://schemas.microsoft.com/office/drawing/2014/chart" uri="{C3380CC4-5D6E-409C-BE32-E72D297353CC}">
                <c16:uniqueId val="{000001BB-96C6-461D-BFB4-D343FE548FA3}"/>
              </c:ext>
            </c:extLst>
          </c:dPt>
          <c:dPt>
            <c:idx val="221"/>
            <c:invertIfNegative val="1"/>
            <c:bubble3D val="0"/>
            <c:spPr>
              <a:solidFill>
                <a:srgbClr val="AEABAB"/>
              </a:solidFill>
            </c:spPr>
            <c:extLst>
              <c:ext xmlns:c16="http://schemas.microsoft.com/office/drawing/2014/chart" uri="{C3380CC4-5D6E-409C-BE32-E72D297353CC}">
                <c16:uniqueId val="{000001BD-96C6-461D-BFB4-D343FE548FA3}"/>
              </c:ext>
            </c:extLst>
          </c:dPt>
          <c:dPt>
            <c:idx val="222"/>
            <c:invertIfNegative val="1"/>
            <c:bubble3D val="0"/>
            <c:spPr>
              <a:solidFill>
                <a:srgbClr val="AEABAB"/>
              </a:solidFill>
            </c:spPr>
            <c:extLst>
              <c:ext xmlns:c16="http://schemas.microsoft.com/office/drawing/2014/chart" uri="{C3380CC4-5D6E-409C-BE32-E72D297353CC}">
                <c16:uniqueId val="{000001BF-96C6-461D-BFB4-D343FE548FA3}"/>
              </c:ext>
            </c:extLst>
          </c:dPt>
          <c:dPt>
            <c:idx val="223"/>
            <c:invertIfNegative val="1"/>
            <c:bubble3D val="0"/>
            <c:spPr>
              <a:solidFill>
                <a:srgbClr val="AEABAB"/>
              </a:solidFill>
            </c:spPr>
            <c:extLst>
              <c:ext xmlns:c16="http://schemas.microsoft.com/office/drawing/2014/chart" uri="{C3380CC4-5D6E-409C-BE32-E72D297353CC}">
                <c16:uniqueId val="{000001C1-96C6-461D-BFB4-D343FE548FA3}"/>
              </c:ext>
            </c:extLst>
          </c:dPt>
          <c:dPt>
            <c:idx val="224"/>
            <c:invertIfNegative val="1"/>
            <c:bubble3D val="0"/>
            <c:spPr>
              <a:solidFill>
                <a:srgbClr val="AEABAB"/>
              </a:solidFill>
            </c:spPr>
            <c:extLst>
              <c:ext xmlns:c16="http://schemas.microsoft.com/office/drawing/2014/chart" uri="{C3380CC4-5D6E-409C-BE32-E72D297353CC}">
                <c16:uniqueId val="{000001C3-96C6-461D-BFB4-D343FE548FA3}"/>
              </c:ext>
            </c:extLst>
          </c:dPt>
          <c:dPt>
            <c:idx val="225"/>
            <c:invertIfNegative val="1"/>
            <c:bubble3D val="0"/>
            <c:spPr>
              <a:solidFill>
                <a:srgbClr val="AEABAB"/>
              </a:solidFill>
            </c:spPr>
            <c:extLst>
              <c:ext xmlns:c16="http://schemas.microsoft.com/office/drawing/2014/chart" uri="{C3380CC4-5D6E-409C-BE32-E72D297353CC}">
                <c16:uniqueId val="{000001C5-96C6-461D-BFB4-D343FE548FA3}"/>
              </c:ext>
            </c:extLst>
          </c:dPt>
          <c:dPt>
            <c:idx val="226"/>
            <c:invertIfNegative val="1"/>
            <c:bubble3D val="0"/>
            <c:spPr>
              <a:solidFill>
                <a:srgbClr val="AEABAB"/>
              </a:solidFill>
            </c:spPr>
            <c:extLst>
              <c:ext xmlns:c16="http://schemas.microsoft.com/office/drawing/2014/chart" uri="{C3380CC4-5D6E-409C-BE32-E72D297353CC}">
                <c16:uniqueId val="{000001C7-96C6-461D-BFB4-D343FE548FA3}"/>
              </c:ext>
            </c:extLst>
          </c:dPt>
          <c:dPt>
            <c:idx val="227"/>
            <c:invertIfNegative val="1"/>
            <c:bubble3D val="0"/>
            <c:spPr>
              <a:solidFill>
                <a:srgbClr val="AEABAB"/>
              </a:solidFill>
            </c:spPr>
            <c:extLst>
              <c:ext xmlns:c16="http://schemas.microsoft.com/office/drawing/2014/chart" uri="{C3380CC4-5D6E-409C-BE32-E72D297353CC}">
                <c16:uniqueId val="{000001C9-96C6-461D-BFB4-D343FE548FA3}"/>
              </c:ext>
            </c:extLst>
          </c:dPt>
          <c:dPt>
            <c:idx val="228"/>
            <c:invertIfNegative val="1"/>
            <c:bubble3D val="0"/>
            <c:spPr>
              <a:solidFill>
                <a:srgbClr val="AEABAB"/>
              </a:solidFill>
            </c:spPr>
            <c:extLst>
              <c:ext xmlns:c16="http://schemas.microsoft.com/office/drawing/2014/chart" uri="{C3380CC4-5D6E-409C-BE32-E72D297353CC}">
                <c16:uniqueId val="{000001CB-96C6-461D-BFB4-D343FE548FA3}"/>
              </c:ext>
            </c:extLst>
          </c:dPt>
          <c:dPt>
            <c:idx val="229"/>
            <c:invertIfNegative val="1"/>
            <c:bubble3D val="0"/>
            <c:spPr>
              <a:solidFill>
                <a:srgbClr val="AEABAB"/>
              </a:solidFill>
            </c:spPr>
            <c:extLst>
              <c:ext xmlns:c16="http://schemas.microsoft.com/office/drawing/2014/chart" uri="{C3380CC4-5D6E-409C-BE32-E72D297353CC}">
                <c16:uniqueId val="{000001CD-96C6-461D-BFB4-D343FE548FA3}"/>
              </c:ext>
            </c:extLst>
          </c:dPt>
          <c:dPt>
            <c:idx val="230"/>
            <c:invertIfNegative val="1"/>
            <c:bubble3D val="0"/>
            <c:spPr>
              <a:solidFill>
                <a:srgbClr val="AEABAB"/>
              </a:solidFill>
            </c:spPr>
            <c:extLst>
              <c:ext xmlns:c16="http://schemas.microsoft.com/office/drawing/2014/chart" uri="{C3380CC4-5D6E-409C-BE32-E72D297353CC}">
                <c16:uniqueId val="{000001CF-96C6-461D-BFB4-D343FE548FA3}"/>
              </c:ext>
            </c:extLst>
          </c:dPt>
          <c:dPt>
            <c:idx val="231"/>
            <c:invertIfNegative val="1"/>
            <c:bubble3D val="0"/>
            <c:spPr>
              <a:solidFill>
                <a:srgbClr val="AEABAB"/>
              </a:solidFill>
            </c:spPr>
            <c:extLst>
              <c:ext xmlns:c16="http://schemas.microsoft.com/office/drawing/2014/chart" uri="{C3380CC4-5D6E-409C-BE32-E72D297353CC}">
                <c16:uniqueId val="{000001D1-96C6-461D-BFB4-D343FE548FA3}"/>
              </c:ext>
            </c:extLst>
          </c:dPt>
          <c:dPt>
            <c:idx val="232"/>
            <c:invertIfNegative val="1"/>
            <c:bubble3D val="0"/>
            <c:spPr>
              <a:solidFill>
                <a:srgbClr val="AEABAB"/>
              </a:solidFill>
            </c:spPr>
            <c:extLst>
              <c:ext xmlns:c16="http://schemas.microsoft.com/office/drawing/2014/chart" uri="{C3380CC4-5D6E-409C-BE32-E72D297353CC}">
                <c16:uniqueId val="{000001D3-96C6-461D-BFB4-D343FE548FA3}"/>
              </c:ext>
            </c:extLst>
          </c:dPt>
          <c:dPt>
            <c:idx val="233"/>
            <c:invertIfNegative val="1"/>
            <c:bubble3D val="0"/>
            <c:spPr>
              <a:solidFill>
                <a:srgbClr val="AEABAB"/>
              </a:solidFill>
            </c:spPr>
            <c:extLst>
              <c:ext xmlns:c16="http://schemas.microsoft.com/office/drawing/2014/chart" uri="{C3380CC4-5D6E-409C-BE32-E72D297353CC}">
                <c16:uniqueId val="{000001D5-96C6-461D-BFB4-D343FE548FA3}"/>
              </c:ext>
            </c:extLst>
          </c:dPt>
          <c:dPt>
            <c:idx val="234"/>
            <c:invertIfNegative val="1"/>
            <c:bubble3D val="0"/>
            <c:spPr>
              <a:solidFill>
                <a:srgbClr val="AEABAB"/>
              </a:solidFill>
            </c:spPr>
            <c:extLst>
              <c:ext xmlns:c16="http://schemas.microsoft.com/office/drawing/2014/chart" uri="{C3380CC4-5D6E-409C-BE32-E72D297353CC}">
                <c16:uniqueId val="{000001D7-96C6-461D-BFB4-D343FE548FA3}"/>
              </c:ext>
            </c:extLst>
          </c:dPt>
          <c:dPt>
            <c:idx val="235"/>
            <c:invertIfNegative val="1"/>
            <c:bubble3D val="0"/>
            <c:spPr>
              <a:solidFill>
                <a:srgbClr val="AEABAB"/>
              </a:solidFill>
            </c:spPr>
            <c:extLst>
              <c:ext xmlns:c16="http://schemas.microsoft.com/office/drawing/2014/chart" uri="{C3380CC4-5D6E-409C-BE32-E72D297353CC}">
                <c16:uniqueId val="{000001D9-96C6-461D-BFB4-D343FE548FA3}"/>
              </c:ext>
            </c:extLst>
          </c:dPt>
          <c:dPt>
            <c:idx val="236"/>
            <c:invertIfNegative val="1"/>
            <c:bubble3D val="0"/>
            <c:spPr>
              <a:solidFill>
                <a:srgbClr val="AEABAB"/>
              </a:solidFill>
            </c:spPr>
            <c:extLst>
              <c:ext xmlns:c16="http://schemas.microsoft.com/office/drawing/2014/chart" uri="{C3380CC4-5D6E-409C-BE32-E72D297353CC}">
                <c16:uniqueId val="{000001DB-96C6-461D-BFB4-D343FE548FA3}"/>
              </c:ext>
            </c:extLst>
          </c:dPt>
          <c:dPt>
            <c:idx val="237"/>
            <c:invertIfNegative val="1"/>
            <c:bubble3D val="0"/>
            <c:spPr>
              <a:solidFill>
                <a:srgbClr val="AEABAB"/>
              </a:solidFill>
            </c:spPr>
            <c:extLst>
              <c:ext xmlns:c16="http://schemas.microsoft.com/office/drawing/2014/chart" uri="{C3380CC4-5D6E-409C-BE32-E72D297353CC}">
                <c16:uniqueId val="{000001DD-96C6-461D-BFB4-D343FE548FA3}"/>
              </c:ext>
            </c:extLst>
          </c:dPt>
          <c:dPt>
            <c:idx val="238"/>
            <c:invertIfNegative val="1"/>
            <c:bubble3D val="0"/>
            <c:spPr>
              <a:solidFill>
                <a:srgbClr val="AEABAB"/>
              </a:solidFill>
            </c:spPr>
            <c:extLst>
              <c:ext xmlns:c16="http://schemas.microsoft.com/office/drawing/2014/chart" uri="{C3380CC4-5D6E-409C-BE32-E72D297353CC}">
                <c16:uniqueId val="{000001DF-96C6-461D-BFB4-D343FE548FA3}"/>
              </c:ext>
            </c:extLst>
          </c:dPt>
          <c:dPt>
            <c:idx val="239"/>
            <c:invertIfNegative val="1"/>
            <c:bubble3D val="0"/>
            <c:spPr>
              <a:solidFill>
                <a:srgbClr val="AEABAB"/>
              </a:solidFill>
            </c:spPr>
            <c:extLst>
              <c:ext xmlns:c16="http://schemas.microsoft.com/office/drawing/2014/chart" uri="{C3380CC4-5D6E-409C-BE32-E72D297353CC}">
                <c16:uniqueId val="{000001E1-96C6-461D-BFB4-D343FE548FA3}"/>
              </c:ext>
            </c:extLst>
          </c:dPt>
          <c:dPt>
            <c:idx val="240"/>
            <c:invertIfNegative val="1"/>
            <c:bubble3D val="0"/>
            <c:spPr>
              <a:solidFill>
                <a:srgbClr val="AEABAB"/>
              </a:solidFill>
            </c:spPr>
            <c:extLst>
              <c:ext xmlns:c16="http://schemas.microsoft.com/office/drawing/2014/chart" uri="{C3380CC4-5D6E-409C-BE32-E72D297353CC}">
                <c16:uniqueId val="{000001E3-96C6-461D-BFB4-D343FE548FA3}"/>
              </c:ext>
            </c:extLst>
          </c:dPt>
          <c:dPt>
            <c:idx val="241"/>
            <c:invertIfNegative val="1"/>
            <c:bubble3D val="0"/>
            <c:spPr>
              <a:solidFill>
                <a:srgbClr val="AEABAB"/>
              </a:solidFill>
            </c:spPr>
            <c:extLst>
              <c:ext xmlns:c16="http://schemas.microsoft.com/office/drawing/2014/chart" uri="{C3380CC4-5D6E-409C-BE32-E72D297353CC}">
                <c16:uniqueId val="{000001E5-96C6-461D-BFB4-D343FE548FA3}"/>
              </c:ext>
            </c:extLst>
          </c:dPt>
          <c:dPt>
            <c:idx val="242"/>
            <c:invertIfNegative val="1"/>
            <c:bubble3D val="0"/>
            <c:spPr>
              <a:solidFill>
                <a:srgbClr val="AEABAB"/>
              </a:solidFill>
            </c:spPr>
            <c:extLst>
              <c:ext xmlns:c16="http://schemas.microsoft.com/office/drawing/2014/chart" uri="{C3380CC4-5D6E-409C-BE32-E72D297353CC}">
                <c16:uniqueId val="{000001E7-96C6-461D-BFB4-D343FE548FA3}"/>
              </c:ext>
            </c:extLst>
          </c:dPt>
          <c:dPt>
            <c:idx val="243"/>
            <c:invertIfNegative val="1"/>
            <c:bubble3D val="0"/>
            <c:spPr>
              <a:solidFill>
                <a:srgbClr val="AEABAB"/>
              </a:solidFill>
            </c:spPr>
            <c:extLst>
              <c:ext xmlns:c16="http://schemas.microsoft.com/office/drawing/2014/chart" uri="{C3380CC4-5D6E-409C-BE32-E72D297353CC}">
                <c16:uniqueId val="{000001E9-96C6-461D-BFB4-D343FE548FA3}"/>
              </c:ext>
            </c:extLst>
          </c:dPt>
          <c:dPt>
            <c:idx val="244"/>
            <c:invertIfNegative val="1"/>
            <c:bubble3D val="0"/>
            <c:spPr>
              <a:solidFill>
                <a:srgbClr val="AEABAB"/>
              </a:solidFill>
            </c:spPr>
            <c:extLst>
              <c:ext xmlns:c16="http://schemas.microsoft.com/office/drawing/2014/chart" uri="{C3380CC4-5D6E-409C-BE32-E72D297353CC}">
                <c16:uniqueId val="{000001EB-96C6-461D-BFB4-D343FE548FA3}"/>
              </c:ext>
            </c:extLst>
          </c:dPt>
          <c:dPt>
            <c:idx val="245"/>
            <c:invertIfNegative val="1"/>
            <c:bubble3D val="0"/>
            <c:spPr>
              <a:solidFill>
                <a:srgbClr val="AEABAB"/>
              </a:solidFill>
            </c:spPr>
            <c:extLst>
              <c:ext xmlns:c16="http://schemas.microsoft.com/office/drawing/2014/chart" uri="{C3380CC4-5D6E-409C-BE32-E72D297353CC}">
                <c16:uniqueId val="{000001ED-96C6-461D-BFB4-D343FE548FA3}"/>
              </c:ext>
            </c:extLst>
          </c:dPt>
          <c:dPt>
            <c:idx val="246"/>
            <c:invertIfNegative val="1"/>
            <c:bubble3D val="0"/>
            <c:spPr>
              <a:solidFill>
                <a:srgbClr val="AEABAB"/>
              </a:solidFill>
            </c:spPr>
            <c:extLst>
              <c:ext xmlns:c16="http://schemas.microsoft.com/office/drawing/2014/chart" uri="{C3380CC4-5D6E-409C-BE32-E72D297353CC}">
                <c16:uniqueId val="{000001EF-96C6-461D-BFB4-D343FE548FA3}"/>
              </c:ext>
            </c:extLst>
          </c:dPt>
          <c:dPt>
            <c:idx val="247"/>
            <c:invertIfNegative val="1"/>
            <c:bubble3D val="0"/>
            <c:spPr>
              <a:solidFill>
                <a:srgbClr val="AEABAB"/>
              </a:solidFill>
            </c:spPr>
            <c:extLst>
              <c:ext xmlns:c16="http://schemas.microsoft.com/office/drawing/2014/chart" uri="{C3380CC4-5D6E-409C-BE32-E72D297353CC}">
                <c16:uniqueId val="{000001F1-96C6-461D-BFB4-D343FE548FA3}"/>
              </c:ext>
            </c:extLst>
          </c:dPt>
          <c:dPt>
            <c:idx val="248"/>
            <c:invertIfNegative val="1"/>
            <c:bubble3D val="0"/>
            <c:spPr>
              <a:solidFill>
                <a:srgbClr val="AEABAB"/>
              </a:solidFill>
            </c:spPr>
            <c:extLst>
              <c:ext xmlns:c16="http://schemas.microsoft.com/office/drawing/2014/chart" uri="{C3380CC4-5D6E-409C-BE32-E72D297353CC}">
                <c16:uniqueId val="{000001F3-96C6-461D-BFB4-D343FE548FA3}"/>
              </c:ext>
            </c:extLst>
          </c:dPt>
          <c:dPt>
            <c:idx val="249"/>
            <c:invertIfNegative val="1"/>
            <c:bubble3D val="0"/>
            <c:spPr>
              <a:solidFill>
                <a:srgbClr val="AEABAB"/>
              </a:solidFill>
            </c:spPr>
            <c:extLst>
              <c:ext xmlns:c16="http://schemas.microsoft.com/office/drawing/2014/chart" uri="{C3380CC4-5D6E-409C-BE32-E72D297353CC}">
                <c16:uniqueId val="{000001F5-96C6-461D-BFB4-D343FE548FA3}"/>
              </c:ext>
            </c:extLst>
          </c:dPt>
          <c:dPt>
            <c:idx val="250"/>
            <c:invertIfNegative val="1"/>
            <c:bubble3D val="0"/>
            <c:spPr>
              <a:solidFill>
                <a:srgbClr val="AEABAB"/>
              </a:solidFill>
            </c:spPr>
            <c:extLst>
              <c:ext xmlns:c16="http://schemas.microsoft.com/office/drawing/2014/chart" uri="{C3380CC4-5D6E-409C-BE32-E72D297353CC}">
                <c16:uniqueId val="{000001F7-96C6-461D-BFB4-D343FE548FA3}"/>
              </c:ext>
            </c:extLst>
          </c:dPt>
          <c:dPt>
            <c:idx val="251"/>
            <c:invertIfNegative val="1"/>
            <c:bubble3D val="0"/>
            <c:spPr>
              <a:solidFill>
                <a:srgbClr val="AEABAB"/>
              </a:solidFill>
            </c:spPr>
            <c:extLst>
              <c:ext xmlns:c16="http://schemas.microsoft.com/office/drawing/2014/chart" uri="{C3380CC4-5D6E-409C-BE32-E72D297353CC}">
                <c16:uniqueId val="{000001F9-96C6-461D-BFB4-D343FE548FA3}"/>
              </c:ext>
            </c:extLst>
          </c:dPt>
          <c:dPt>
            <c:idx val="252"/>
            <c:invertIfNegative val="1"/>
            <c:bubble3D val="0"/>
            <c:spPr>
              <a:solidFill>
                <a:srgbClr val="AEABAB"/>
              </a:solidFill>
            </c:spPr>
            <c:extLst>
              <c:ext xmlns:c16="http://schemas.microsoft.com/office/drawing/2014/chart" uri="{C3380CC4-5D6E-409C-BE32-E72D297353CC}">
                <c16:uniqueId val="{000001FB-96C6-461D-BFB4-D343FE548FA3}"/>
              </c:ext>
            </c:extLst>
          </c:dPt>
          <c:dPt>
            <c:idx val="253"/>
            <c:invertIfNegative val="1"/>
            <c:bubble3D val="0"/>
            <c:spPr>
              <a:solidFill>
                <a:srgbClr val="AEABAB"/>
              </a:solidFill>
            </c:spPr>
            <c:extLst>
              <c:ext xmlns:c16="http://schemas.microsoft.com/office/drawing/2014/chart" uri="{C3380CC4-5D6E-409C-BE32-E72D297353CC}">
                <c16:uniqueId val="{000001FD-96C6-461D-BFB4-D343FE548FA3}"/>
              </c:ext>
            </c:extLst>
          </c:dPt>
          <c:dPt>
            <c:idx val="254"/>
            <c:invertIfNegative val="1"/>
            <c:bubble3D val="0"/>
            <c:spPr>
              <a:solidFill>
                <a:srgbClr val="AEABAB"/>
              </a:solidFill>
            </c:spPr>
            <c:extLst>
              <c:ext xmlns:c16="http://schemas.microsoft.com/office/drawing/2014/chart" uri="{C3380CC4-5D6E-409C-BE32-E72D297353CC}">
                <c16:uniqueId val="{000001FF-96C6-461D-BFB4-D343FE548FA3}"/>
              </c:ext>
            </c:extLst>
          </c:dPt>
          <c:dPt>
            <c:idx val="255"/>
            <c:invertIfNegative val="1"/>
            <c:bubble3D val="0"/>
            <c:spPr>
              <a:solidFill>
                <a:srgbClr val="AEABAB"/>
              </a:solidFill>
            </c:spPr>
            <c:extLst>
              <c:ext xmlns:c16="http://schemas.microsoft.com/office/drawing/2014/chart" uri="{C3380CC4-5D6E-409C-BE32-E72D297353CC}">
                <c16:uniqueId val="{00000201-96C6-461D-BFB4-D343FE548FA3}"/>
              </c:ext>
            </c:extLst>
          </c:dPt>
          <c:dPt>
            <c:idx val="256"/>
            <c:invertIfNegative val="1"/>
            <c:bubble3D val="0"/>
            <c:spPr>
              <a:solidFill>
                <a:srgbClr val="AEABAB"/>
              </a:solidFill>
            </c:spPr>
            <c:extLst>
              <c:ext xmlns:c16="http://schemas.microsoft.com/office/drawing/2014/chart" uri="{C3380CC4-5D6E-409C-BE32-E72D297353CC}">
                <c16:uniqueId val="{00000203-96C6-461D-BFB4-D343FE548FA3}"/>
              </c:ext>
            </c:extLst>
          </c:dPt>
          <c:dPt>
            <c:idx val="257"/>
            <c:invertIfNegative val="1"/>
            <c:bubble3D val="0"/>
            <c:spPr>
              <a:solidFill>
                <a:srgbClr val="AEABAB"/>
              </a:solidFill>
            </c:spPr>
            <c:extLst>
              <c:ext xmlns:c16="http://schemas.microsoft.com/office/drawing/2014/chart" uri="{C3380CC4-5D6E-409C-BE32-E72D297353CC}">
                <c16:uniqueId val="{00000205-96C6-461D-BFB4-D343FE548FA3}"/>
              </c:ext>
            </c:extLst>
          </c:dPt>
          <c:dPt>
            <c:idx val="258"/>
            <c:invertIfNegative val="1"/>
            <c:bubble3D val="0"/>
            <c:spPr>
              <a:solidFill>
                <a:srgbClr val="AEABAB"/>
              </a:solidFill>
            </c:spPr>
            <c:extLst>
              <c:ext xmlns:c16="http://schemas.microsoft.com/office/drawing/2014/chart" uri="{C3380CC4-5D6E-409C-BE32-E72D297353CC}">
                <c16:uniqueId val="{00000207-96C6-461D-BFB4-D343FE548FA3}"/>
              </c:ext>
            </c:extLst>
          </c:dPt>
          <c:dPt>
            <c:idx val="259"/>
            <c:invertIfNegative val="1"/>
            <c:bubble3D val="0"/>
            <c:spPr>
              <a:solidFill>
                <a:srgbClr val="AEABAB"/>
              </a:solidFill>
            </c:spPr>
            <c:extLst>
              <c:ext xmlns:c16="http://schemas.microsoft.com/office/drawing/2014/chart" uri="{C3380CC4-5D6E-409C-BE32-E72D297353CC}">
                <c16:uniqueId val="{00000209-96C6-461D-BFB4-D343FE548FA3}"/>
              </c:ext>
            </c:extLst>
          </c:dPt>
          <c:dPt>
            <c:idx val="260"/>
            <c:invertIfNegative val="1"/>
            <c:bubble3D val="0"/>
            <c:spPr>
              <a:solidFill>
                <a:srgbClr val="AEABAB"/>
              </a:solidFill>
            </c:spPr>
            <c:extLst>
              <c:ext xmlns:c16="http://schemas.microsoft.com/office/drawing/2014/chart" uri="{C3380CC4-5D6E-409C-BE32-E72D297353CC}">
                <c16:uniqueId val="{0000020B-96C6-461D-BFB4-D343FE548FA3}"/>
              </c:ext>
            </c:extLst>
          </c:dPt>
          <c:dPt>
            <c:idx val="261"/>
            <c:invertIfNegative val="1"/>
            <c:bubble3D val="0"/>
            <c:spPr>
              <a:solidFill>
                <a:srgbClr val="AEABAB"/>
              </a:solidFill>
            </c:spPr>
            <c:extLst>
              <c:ext xmlns:c16="http://schemas.microsoft.com/office/drawing/2014/chart" uri="{C3380CC4-5D6E-409C-BE32-E72D297353CC}">
                <c16:uniqueId val="{0000020D-96C6-461D-BFB4-D343FE548FA3}"/>
              </c:ext>
            </c:extLst>
          </c:dPt>
          <c:dPt>
            <c:idx val="262"/>
            <c:invertIfNegative val="1"/>
            <c:bubble3D val="0"/>
            <c:spPr>
              <a:solidFill>
                <a:srgbClr val="AEABAB"/>
              </a:solidFill>
            </c:spPr>
            <c:extLst>
              <c:ext xmlns:c16="http://schemas.microsoft.com/office/drawing/2014/chart" uri="{C3380CC4-5D6E-409C-BE32-E72D297353CC}">
                <c16:uniqueId val="{0000020F-96C6-461D-BFB4-D343FE548FA3}"/>
              </c:ext>
            </c:extLst>
          </c:dPt>
          <c:dPt>
            <c:idx val="263"/>
            <c:invertIfNegative val="1"/>
            <c:bubble3D val="0"/>
            <c:spPr>
              <a:solidFill>
                <a:srgbClr val="AEABAB"/>
              </a:solidFill>
            </c:spPr>
            <c:extLst>
              <c:ext xmlns:c16="http://schemas.microsoft.com/office/drawing/2014/chart" uri="{C3380CC4-5D6E-409C-BE32-E72D297353CC}">
                <c16:uniqueId val="{00000211-96C6-461D-BFB4-D343FE548FA3}"/>
              </c:ext>
            </c:extLst>
          </c:dPt>
          <c:dPt>
            <c:idx val="264"/>
            <c:invertIfNegative val="1"/>
            <c:bubble3D val="0"/>
            <c:spPr>
              <a:solidFill>
                <a:srgbClr val="AEABAB"/>
              </a:solidFill>
            </c:spPr>
            <c:extLst>
              <c:ext xmlns:c16="http://schemas.microsoft.com/office/drawing/2014/chart" uri="{C3380CC4-5D6E-409C-BE32-E72D297353CC}">
                <c16:uniqueId val="{00000213-96C6-461D-BFB4-D343FE548FA3}"/>
              </c:ext>
            </c:extLst>
          </c:dPt>
          <c:dPt>
            <c:idx val="265"/>
            <c:invertIfNegative val="1"/>
            <c:bubble3D val="0"/>
            <c:spPr>
              <a:solidFill>
                <a:srgbClr val="AEABAB"/>
              </a:solidFill>
            </c:spPr>
            <c:extLst>
              <c:ext xmlns:c16="http://schemas.microsoft.com/office/drawing/2014/chart" uri="{C3380CC4-5D6E-409C-BE32-E72D297353CC}">
                <c16:uniqueId val="{00000215-96C6-461D-BFB4-D343FE548FA3}"/>
              </c:ext>
            </c:extLst>
          </c:dPt>
          <c:dPt>
            <c:idx val="266"/>
            <c:invertIfNegative val="1"/>
            <c:bubble3D val="0"/>
            <c:spPr>
              <a:solidFill>
                <a:srgbClr val="AEABAB"/>
              </a:solidFill>
            </c:spPr>
            <c:extLst>
              <c:ext xmlns:c16="http://schemas.microsoft.com/office/drawing/2014/chart" uri="{C3380CC4-5D6E-409C-BE32-E72D297353CC}">
                <c16:uniqueId val="{00000217-96C6-461D-BFB4-D343FE548FA3}"/>
              </c:ext>
            </c:extLst>
          </c:dPt>
          <c:dPt>
            <c:idx val="267"/>
            <c:invertIfNegative val="1"/>
            <c:bubble3D val="0"/>
            <c:spPr>
              <a:solidFill>
                <a:srgbClr val="AEABAB"/>
              </a:solidFill>
            </c:spPr>
            <c:extLst>
              <c:ext xmlns:c16="http://schemas.microsoft.com/office/drawing/2014/chart" uri="{C3380CC4-5D6E-409C-BE32-E72D297353CC}">
                <c16:uniqueId val="{00000219-96C6-461D-BFB4-D343FE548FA3}"/>
              </c:ext>
            </c:extLst>
          </c:dPt>
          <c:dPt>
            <c:idx val="268"/>
            <c:invertIfNegative val="1"/>
            <c:bubble3D val="0"/>
            <c:spPr>
              <a:solidFill>
                <a:srgbClr val="AEABAB"/>
              </a:solidFill>
            </c:spPr>
            <c:extLst>
              <c:ext xmlns:c16="http://schemas.microsoft.com/office/drawing/2014/chart" uri="{C3380CC4-5D6E-409C-BE32-E72D297353CC}">
                <c16:uniqueId val="{0000021B-96C6-461D-BFB4-D343FE548FA3}"/>
              </c:ext>
            </c:extLst>
          </c:dPt>
          <c:dPt>
            <c:idx val="269"/>
            <c:invertIfNegative val="1"/>
            <c:bubble3D val="0"/>
            <c:spPr>
              <a:solidFill>
                <a:srgbClr val="AEABAB"/>
              </a:solidFill>
            </c:spPr>
            <c:extLst>
              <c:ext xmlns:c16="http://schemas.microsoft.com/office/drawing/2014/chart" uri="{C3380CC4-5D6E-409C-BE32-E72D297353CC}">
                <c16:uniqueId val="{0000021D-96C6-461D-BFB4-D343FE548FA3}"/>
              </c:ext>
            </c:extLst>
          </c:dPt>
          <c:dPt>
            <c:idx val="270"/>
            <c:invertIfNegative val="1"/>
            <c:bubble3D val="0"/>
            <c:spPr>
              <a:solidFill>
                <a:srgbClr val="AEABAB"/>
              </a:solidFill>
            </c:spPr>
            <c:extLst>
              <c:ext xmlns:c16="http://schemas.microsoft.com/office/drawing/2014/chart" uri="{C3380CC4-5D6E-409C-BE32-E72D297353CC}">
                <c16:uniqueId val="{0000021F-96C6-461D-BFB4-D343FE548FA3}"/>
              </c:ext>
            </c:extLst>
          </c:dPt>
          <c:dPt>
            <c:idx val="271"/>
            <c:invertIfNegative val="1"/>
            <c:bubble3D val="0"/>
            <c:spPr>
              <a:solidFill>
                <a:srgbClr val="AEABAB"/>
              </a:solidFill>
            </c:spPr>
            <c:extLst>
              <c:ext xmlns:c16="http://schemas.microsoft.com/office/drawing/2014/chart" uri="{C3380CC4-5D6E-409C-BE32-E72D297353CC}">
                <c16:uniqueId val="{00000221-96C6-461D-BFB4-D343FE548FA3}"/>
              </c:ext>
            </c:extLst>
          </c:dPt>
          <c:dPt>
            <c:idx val="272"/>
            <c:invertIfNegative val="1"/>
            <c:bubble3D val="0"/>
            <c:spPr>
              <a:solidFill>
                <a:srgbClr val="AEABAB"/>
              </a:solidFill>
            </c:spPr>
            <c:extLst>
              <c:ext xmlns:c16="http://schemas.microsoft.com/office/drawing/2014/chart" uri="{C3380CC4-5D6E-409C-BE32-E72D297353CC}">
                <c16:uniqueId val="{00000223-96C6-461D-BFB4-D343FE548FA3}"/>
              </c:ext>
            </c:extLst>
          </c:dPt>
          <c:dPt>
            <c:idx val="273"/>
            <c:invertIfNegative val="1"/>
            <c:bubble3D val="0"/>
            <c:spPr>
              <a:solidFill>
                <a:srgbClr val="AEABAB"/>
              </a:solidFill>
            </c:spPr>
            <c:extLst>
              <c:ext xmlns:c16="http://schemas.microsoft.com/office/drawing/2014/chart" uri="{C3380CC4-5D6E-409C-BE32-E72D297353CC}">
                <c16:uniqueId val="{00000225-96C6-461D-BFB4-D343FE548FA3}"/>
              </c:ext>
            </c:extLst>
          </c:dPt>
          <c:dPt>
            <c:idx val="274"/>
            <c:invertIfNegative val="1"/>
            <c:bubble3D val="0"/>
            <c:spPr>
              <a:solidFill>
                <a:srgbClr val="AEABAB"/>
              </a:solidFill>
            </c:spPr>
            <c:extLst>
              <c:ext xmlns:c16="http://schemas.microsoft.com/office/drawing/2014/chart" uri="{C3380CC4-5D6E-409C-BE32-E72D297353CC}">
                <c16:uniqueId val="{00000227-96C6-461D-BFB4-D343FE548FA3}"/>
              </c:ext>
            </c:extLst>
          </c:dPt>
          <c:dPt>
            <c:idx val="275"/>
            <c:invertIfNegative val="1"/>
            <c:bubble3D val="0"/>
            <c:spPr>
              <a:solidFill>
                <a:srgbClr val="AEABAB"/>
              </a:solidFill>
            </c:spPr>
            <c:extLst>
              <c:ext xmlns:c16="http://schemas.microsoft.com/office/drawing/2014/chart" uri="{C3380CC4-5D6E-409C-BE32-E72D297353CC}">
                <c16:uniqueId val="{00000229-96C6-461D-BFB4-D343FE548FA3}"/>
              </c:ext>
            </c:extLst>
          </c:dPt>
          <c:dPt>
            <c:idx val="276"/>
            <c:invertIfNegative val="1"/>
            <c:bubble3D val="0"/>
            <c:spPr>
              <a:solidFill>
                <a:srgbClr val="AEABAB"/>
              </a:solidFill>
            </c:spPr>
            <c:extLst>
              <c:ext xmlns:c16="http://schemas.microsoft.com/office/drawing/2014/chart" uri="{C3380CC4-5D6E-409C-BE32-E72D297353CC}">
                <c16:uniqueId val="{0000022B-96C6-461D-BFB4-D343FE548FA3}"/>
              </c:ext>
            </c:extLst>
          </c:dPt>
          <c:dPt>
            <c:idx val="277"/>
            <c:invertIfNegative val="1"/>
            <c:bubble3D val="0"/>
            <c:spPr>
              <a:solidFill>
                <a:srgbClr val="AEABAB"/>
              </a:solidFill>
            </c:spPr>
            <c:extLst>
              <c:ext xmlns:c16="http://schemas.microsoft.com/office/drawing/2014/chart" uri="{C3380CC4-5D6E-409C-BE32-E72D297353CC}">
                <c16:uniqueId val="{0000022D-96C6-461D-BFB4-D343FE548FA3}"/>
              </c:ext>
            </c:extLst>
          </c:dPt>
          <c:dPt>
            <c:idx val="278"/>
            <c:invertIfNegative val="1"/>
            <c:bubble3D val="0"/>
            <c:spPr>
              <a:solidFill>
                <a:srgbClr val="AEABAB"/>
              </a:solidFill>
            </c:spPr>
            <c:extLst>
              <c:ext xmlns:c16="http://schemas.microsoft.com/office/drawing/2014/chart" uri="{C3380CC4-5D6E-409C-BE32-E72D297353CC}">
                <c16:uniqueId val="{0000022F-96C6-461D-BFB4-D343FE548FA3}"/>
              </c:ext>
            </c:extLst>
          </c:dPt>
          <c:dPt>
            <c:idx val="279"/>
            <c:invertIfNegative val="1"/>
            <c:bubble3D val="0"/>
            <c:spPr>
              <a:solidFill>
                <a:srgbClr val="AEABAB"/>
              </a:solidFill>
            </c:spPr>
            <c:extLst>
              <c:ext xmlns:c16="http://schemas.microsoft.com/office/drawing/2014/chart" uri="{C3380CC4-5D6E-409C-BE32-E72D297353CC}">
                <c16:uniqueId val="{00000231-96C6-461D-BFB4-D343FE548FA3}"/>
              </c:ext>
            </c:extLst>
          </c:dPt>
          <c:dPt>
            <c:idx val="280"/>
            <c:invertIfNegative val="1"/>
            <c:bubble3D val="0"/>
            <c:spPr>
              <a:solidFill>
                <a:srgbClr val="AEABAB"/>
              </a:solidFill>
            </c:spPr>
            <c:extLst>
              <c:ext xmlns:c16="http://schemas.microsoft.com/office/drawing/2014/chart" uri="{C3380CC4-5D6E-409C-BE32-E72D297353CC}">
                <c16:uniqueId val="{00000233-96C6-461D-BFB4-D343FE548FA3}"/>
              </c:ext>
            </c:extLst>
          </c:dPt>
          <c:dPt>
            <c:idx val="281"/>
            <c:invertIfNegative val="1"/>
            <c:bubble3D val="0"/>
            <c:spPr>
              <a:solidFill>
                <a:srgbClr val="AEABAB"/>
              </a:solidFill>
            </c:spPr>
            <c:extLst>
              <c:ext xmlns:c16="http://schemas.microsoft.com/office/drawing/2014/chart" uri="{C3380CC4-5D6E-409C-BE32-E72D297353CC}">
                <c16:uniqueId val="{00000235-96C6-461D-BFB4-D343FE548FA3}"/>
              </c:ext>
            </c:extLst>
          </c:dPt>
          <c:dPt>
            <c:idx val="282"/>
            <c:invertIfNegative val="1"/>
            <c:bubble3D val="0"/>
            <c:spPr>
              <a:solidFill>
                <a:srgbClr val="AEABAB"/>
              </a:solidFill>
            </c:spPr>
            <c:extLst>
              <c:ext xmlns:c16="http://schemas.microsoft.com/office/drawing/2014/chart" uri="{C3380CC4-5D6E-409C-BE32-E72D297353CC}">
                <c16:uniqueId val="{00000237-96C6-461D-BFB4-D343FE548FA3}"/>
              </c:ext>
            </c:extLst>
          </c:dPt>
          <c:dPt>
            <c:idx val="283"/>
            <c:invertIfNegative val="1"/>
            <c:bubble3D val="0"/>
            <c:spPr>
              <a:solidFill>
                <a:srgbClr val="AEABAB"/>
              </a:solidFill>
            </c:spPr>
            <c:extLst>
              <c:ext xmlns:c16="http://schemas.microsoft.com/office/drawing/2014/chart" uri="{C3380CC4-5D6E-409C-BE32-E72D297353CC}">
                <c16:uniqueId val="{00000239-96C6-461D-BFB4-D343FE548FA3}"/>
              </c:ext>
            </c:extLst>
          </c:dPt>
          <c:dPt>
            <c:idx val="284"/>
            <c:invertIfNegative val="1"/>
            <c:bubble3D val="0"/>
            <c:spPr>
              <a:solidFill>
                <a:srgbClr val="AEABAB"/>
              </a:solidFill>
            </c:spPr>
            <c:extLst>
              <c:ext xmlns:c16="http://schemas.microsoft.com/office/drawing/2014/chart" uri="{C3380CC4-5D6E-409C-BE32-E72D297353CC}">
                <c16:uniqueId val="{0000023B-96C6-461D-BFB4-D343FE548FA3}"/>
              </c:ext>
            </c:extLst>
          </c:dPt>
          <c:dPt>
            <c:idx val="285"/>
            <c:invertIfNegative val="1"/>
            <c:bubble3D val="0"/>
            <c:spPr>
              <a:solidFill>
                <a:srgbClr val="AEABAB"/>
              </a:solidFill>
            </c:spPr>
            <c:extLst>
              <c:ext xmlns:c16="http://schemas.microsoft.com/office/drawing/2014/chart" uri="{C3380CC4-5D6E-409C-BE32-E72D297353CC}">
                <c16:uniqueId val="{0000023D-96C6-461D-BFB4-D343FE548FA3}"/>
              </c:ext>
            </c:extLst>
          </c:dPt>
          <c:dPt>
            <c:idx val="286"/>
            <c:invertIfNegative val="1"/>
            <c:bubble3D val="0"/>
            <c:spPr>
              <a:solidFill>
                <a:srgbClr val="AEABAB"/>
              </a:solidFill>
            </c:spPr>
            <c:extLst>
              <c:ext xmlns:c16="http://schemas.microsoft.com/office/drawing/2014/chart" uri="{C3380CC4-5D6E-409C-BE32-E72D297353CC}">
                <c16:uniqueId val="{0000023F-96C6-461D-BFB4-D343FE548FA3}"/>
              </c:ext>
            </c:extLst>
          </c:dPt>
          <c:dPt>
            <c:idx val="287"/>
            <c:invertIfNegative val="1"/>
            <c:bubble3D val="0"/>
            <c:spPr>
              <a:solidFill>
                <a:srgbClr val="AEABAB"/>
              </a:solidFill>
            </c:spPr>
            <c:extLst>
              <c:ext xmlns:c16="http://schemas.microsoft.com/office/drawing/2014/chart" uri="{C3380CC4-5D6E-409C-BE32-E72D297353CC}">
                <c16:uniqueId val="{00000241-96C6-461D-BFB4-D343FE548FA3}"/>
              </c:ext>
            </c:extLst>
          </c:dPt>
          <c:dPt>
            <c:idx val="288"/>
            <c:invertIfNegative val="1"/>
            <c:bubble3D val="0"/>
            <c:spPr>
              <a:solidFill>
                <a:srgbClr val="AEABAB"/>
              </a:solidFill>
            </c:spPr>
            <c:extLst>
              <c:ext xmlns:c16="http://schemas.microsoft.com/office/drawing/2014/chart" uri="{C3380CC4-5D6E-409C-BE32-E72D297353CC}">
                <c16:uniqueId val="{00000243-96C6-461D-BFB4-D343FE548FA3}"/>
              </c:ext>
            </c:extLst>
          </c:dPt>
          <c:dPt>
            <c:idx val="289"/>
            <c:invertIfNegative val="1"/>
            <c:bubble3D val="0"/>
            <c:spPr>
              <a:solidFill>
                <a:srgbClr val="AEABAB"/>
              </a:solidFill>
            </c:spPr>
            <c:extLst>
              <c:ext xmlns:c16="http://schemas.microsoft.com/office/drawing/2014/chart" uri="{C3380CC4-5D6E-409C-BE32-E72D297353CC}">
                <c16:uniqueId val="{00000245-96C6-461D-BFB4-D343FE548FA3}"/>
              </c:ext>
            </c:extLst>
          </c:dPt>
          <c:dPt>
            <c:idx val="290"/>
            <c:invertIfNegative val="1"/>
            <c:bubble3D val="0"/>
            <c:spPr>
              <a:solidFill>
                <a:srgbClr val="AEABAB"/>
              </a:solidFill>
            </c:spPr>
            <c:extLst>
              <c:ext xmlns:c16="http://schemas.microsoft.com/office/drawing/2014/chart" uri="{C3380CC4-5D6E-409C-BE32-E72D297353CC}">
                <c16:uniqueId val="{00000247-96C6-461D-BFB4-D343FE548FA3}"/>
              </c:ext>
            </c:extLst>
          </c:dPt>
          <c:dPt>
            <c:idx val="291"/>
            <c:invertIfNegative val="1"/>
            <c:bubble3D val="0"/>
            <c:spPr>
              <a:solidFill>
                <a:srgbClr val="AEABAB"/>
              </a:solidFill>
            </c:spPr>
            <c:extLst>
              <c:ext xmlns:c16="http://schemas.microsoft.com/office/drawing/2014/chart" uri="{C3380CC4-5D6E-409C-BE32-E72D297353CC}">
                <c16:uniqueId val="{00000249-96C6-461D-BFB4-D343FE548FA3}"/>
              </c:ext>
            </c:extLst>
          </c:dPt>
          <c:dPt>
            <c:idx val="292"/>
            <c:invertIfNegative val="1"/>
            <c:bubble3D val="0"/>
            <c:spPr>
              <a:solidFill>
                <a:srgbClr val="AEABAB"/>
              </a:solidFill>
            </c:spPr>
            <c:extLst>
              <c:ext xmlns:c16="http://schemas.microsoft.com/office/drawing/2014/chart" uri="{C3380CC4-5D6E-409C-BE32-E72D297353CC}">
                <c16:uniqueId val="{0000024B-96C6-461D-BFB4-D343FE548FA3}"/>
              </c:ext>
            </c:extLst>
          </c:dPt>
          <c:dPt>
            <c:idx val="293"/>
            <c:invertIfNegative val="1"/>
            <c:bubble3D val="0"/>
            <c:spPr>
              <a:solidFill>
                <a:srgbClr val="AEABAB"/>
              </a:solidFill>
            </c:spPr>
            <c:extLst>
              <c:ext xmlns:c16="http://schemas.microsoft.com/office/drawing/2014/chart" uri="{C3380CC4-5D6E-409C-BE32-E72D297353CC}">
                <c16:uniqueId val="{0000024D-96C6-461D-BFB4-D343FE548FA3}"/>
              </c:ext>
            </c:extLst>
          </c:dPt>
          <c:dPt>
            <c:idx val="294"/>
            <c:invertIfNegative val="1"/>
            <c:bubble3D val="0"/>
            <c:spPr>
              <a:solidFill>
                <a:srgbClr val="AEABAB"/>
              </a:solidFill>
            </c:spPr>
            <c:extLst>
              <c:ext xmlns:c16="http://schemas.microsoft.com/office/drawing/2014/chart" uri="{C3380CC4-5D6E-409C-BE32-E72D297353CC}">
                <c16:uniqueId val="{0000024F-96C6-461D-BFB4-D343FE548FA3}"/>
              </c:ext>
            </c:extLst>
          </c:dPt>
          <c:dPt>
            <c:idx val="295"/>
            <c:invertIfNegative val="1"/>
            <c:bubble3D val="0"/>
            <c:spPr>
              <a:solidFill>
                <a:srgbClr val="AEABAB"/>
              </a:solidFill>
            </c:spPr>
            <c:extLst>
              <c:ext xmlns:c16="http://schemas.microsoft.com/office/drawing/2014/chart" uri="{C3380CC4-5D6E-409C-BE32-E72D297353CC}">
                <c16:uniqueId val="{00000251-96C6-461D-BFB4-D343FE548FA3}"/>
              </c:ext>
            </c:extLst>
          </c:dPt>
          <c:dPt>
            <c:idx val="296"/>
            <c:invertIfNegative val="1"/>
            <c:bubble3D val="0"/>
            <c:spPr>
              <a:solidFill>
                <a:srgbClr val="AEABAB"/>
              </a:solidFill>
            </c:spPr>
            <c:extLst>
              <c:ext xmlns:c16="http://schemas.microsoft.com/office/drawing/2014/chart" uri="{C3380CC4-5D6E-409C-BE32-E72D297353CC}">
                <c16:uniqueId val="{00000253-96C6-461D-BFB4-D343FE548FA3}"/>
              </c:ext>
            </c:extLst>
          </c:dPt>
          <c:dPt>
            <c:idx val="297"/>
            <c:invertIfNegative val="1"/>
            <c:bubble3D val="0"/>
            <c:spPr>
              <a:solidFill>
                <a:srgbClr val="AEABAB"/>
              </a:solidFill>
            </c:spPr>
            <c:extLst>
              <c:ext xmlns:c16="http://schemas.microsoft.com/office/drawing/2014/chart" uri="{C3380CC4-5D6E-409C-BE32-E72D297353CC}">
                <c16:uniqueId val="{00000255-96C6-461D-BFB4-D343FE548FA3}"/>
              </c:ext>
            </c:extLst>
          </c:dPt>
          <c:dPt>
            <c:idx val="298"/>
            <c:invertIfNegative val="1"/>
            <c:bubble3D val="0"/>
            <c:spPr>
              <a:solidFill>
                <a:srgbClr val="AEABAB"/>
              </a:solidFill>
            </c:spPr>
            <c:extLst>
              <c:ext xmlns:c16="http://schemas.microsoft.com/office/drawing/2014/chart" uri="{C3380CC4-5D6E-409C-BE32-E72D297353CC}">
                <c16:uniqueId val="{00000257-96C6-461D-BFB4-D343FE548FA3}"/>
              </c:ext>
            </c:extLst>
          </c:dPt>
          <c:dPt>
            <c:idx val="299"/>
            <c:invertIfNegative val="1"/>
            <c:bubble3D val="0"/>
            <c:spPr>
              <a:solidFill>
                <a:srgbClr val="AEABAB"/>
              </a:solidFill>
            </c:spPr>
            <c:extLst>
              <c:ext xmlns:c16="http://schemas.microsoft.com/office/drawing/2014/chart" uri="{C3380CC4-5D6E-409C-BE32-E72D297353CC}">
                <c16:uniqueId val="{00000259-96C6-461D-BFB4-D343FE548FA3}"/>
              </c:ext>
            </c:extLst>
          </c:dPt>
          <c:dPt>
            <c:idx val="300"/>
            <c:invertIfNegative val="1"/>
            <c:bubble3D val="0"/>
            <c:spPr>
              <a:solidFill>
                <a:srgbClr val="AEABAB"/>
              </a:solidFill>
            </c:spPr>
            <c:extLst>
              <c:ext xmlns:c16="http://schemas.microsoft.com/office/drawing/2014/chart" uri="{C3380CC4-5D6E-409C-BE32-E72D297353CC}">
                <c16:uniqueId val="{0000025B-96C6-461D-BFB4-D343FE548FA3}"/>
              </c:ext>
            </c:extLst>
          </c:dPt>
          <c:dPt>
            <c:idx val="301"/>
            <c:invertIfNegative val="1"/>
            <c:bubble3D val="0"/>
            <c:spPr>
              <a:solidFill>
                <a:srgbClr val="AEABAB"/>
              </a:solidFill>
            </c:spPr>
            <c:extLst>
              <c:ext xmlns:c16="http://schemas.microsoft.com/office/drawing/2014/chart" uri="{C3380CC4-5D6E-409C-BE32-E72D297353CC}">
                <c16:uniqueId val="{0000025D-96C6-461D-BFB4-D343FE548FA3}"/>
              </c:ext>
            </c:extLst>
          </c:dPt>
          <c:dPt>
            <c:idx val="302"/>
            <c:invertIfNegative val="1"/>
            <c:bubble3D val="0"/>
            <c:spPr>
              <a:solidFill>
                <a:srgbClr val="AEABAB"/>
              </a:solidFill>
            </c:spPr>
            <c:extLst>
              <c:ext xmlns:c16="http://schemas.microsoft.com/office/drawing/2014/chart" uri="{C3380CC4-5D6E-409C-BE32-E72D297353CC}">
                <c16:uniqueId val="{0000025F-96C6-461D-BFB4-D343FE548FA3}"/>
              </c:ext>
            </c:extLst>
          </c:dPt>
          <c:dPt>
            <c:idx val="303"/>
            <c:invertIfNegative val="1"/>
            <c:bubble3D val="0"/>
            <c:spPr>
              <a:solidFill>
                <a:srgbClr val="AEABAB"/>
              </a:solidFill>
            </c:spPr>
            <c:extLst>
              <c:ext xmlns:c16="http://schemas.microsoft.com/office/drawing/2014/chart" uri="{C3380CC4-5D6E-409C-BE32-E72D297353CC}">
                <c16:uniqueId val="{00000261-96C6-461D-BFB4-D343FE548FA3}"/>
              </c:ext>
            </c:extLst>
          </c:dPt>
          <c:dPt>
            <c:idx val="304"/>
            <c:invertIfNegative val="1"/>
            <c:bubble3D val="0"/>
            <c:spPr>
              <a:solidFill>
                <a:srgbClr val="AEABAB"/>
              </a:solidFill>
            </c:spPr>
            <c:extLst>
              <c:ext xmlns:c16="http://schemas.microsoft.com/office/drawing/2014/chart" uri="{C3380CC4-5D6E-409C-BE32-E72D297353CC}">
                <c16:uniqueId val="{00000263-96C6-461D-BFB4-D343FE548FA3}"/>
              </c:ext>
            </c:extLst>
          </c:dPt>
          <c:dPt>
            <c:idx val="305"/>
            <c:invertIfNegative val="1"/>
            <c:bubble3D val="0"/>
            <c:spPr>
              <a:solidFill>
                <a:srgbClr val="AEABAB"/>
              </a:solidFill>
            </c:spPr>
            <c:extLst>
              <c:ext xmlns:c16="http://schemas.microsoft.com/office/drawing/2014/chart" uri="{C3380CC4-5D6E-409C-BE32-E72D297353CC}">
                <c16:uniqueId val="{00000265-96C6-461D-BFB4-D343FE548FA3}"/>
              </c:ext>
            </c:extLst>
          </c:dPt>
          <c:dPt>
            <c:idx val="306"/>
            <c:invertIfNegative val="1"/>
            <c:bubble3D val="0"/>
            <c:spPr>
              <a:solidFill>
                <a:srgbClr val="AEABAB"/>
              </a:solidFill>
            </c:spPr>
            <c:extLst>
              <c:ext xmlns:c16="http://schemas.microsoft.com/office/drawing/2014/chart" uri="{C3380CC4-5D6E-409C-BE32-E72D297353CC}">
                <c16:uniqueId val="{00000267-96C6-461D-BFB4-D343FE548FA3}"/>
              </c:ext>
            </c:extLst>
          </c:dPt>
          <c:dPt>
            <c:idx val="307"/>
            <c:invertIfNegative val="1"/>
            <c:bubble3D val="0"/>
            <c:spPr>
              <a:solidFill>
                <a:srgbClr val="AEABAB"/>
              </a:solidFill>
            </c:spPr>
            <c:extLst>
              <c:ext xmlns:c16="http://schemas.microsoft.com/office/drawing/2014/chart" uri="{C3380CC4-5D6E-409C-BE32-E72D297353CC}">
                <c16:uniqueId val="{00000269-96C6-461D-BFB4-D343FE548FA3}"/>
              </c:ext>
            </c:extLst>
          </c:dPt>
          <c:dPt>
            <c:idx val="308"/>
            <c:invertIfNegative val="1"/>
            <c:bubble3D val="0"/>
            <c:spPr>
              <a:solidFill>
                <a:srgbClr val="AEABAB"/>
              </a:solidFill>
            </c:spPr>
            <c:extLst>
              <c:ext xmlns:c16="http://schemas.microsoft.com/office/drawing/2014/chart" uri="{C3380CC4-5D6E-409C-BE32-E72D297353CC}">
                <c16:uniqueId val="{0000026B-96C6-461D-BFB4-D343FE548FA3}"/>
              </c:ext>
            </c:extLst>
          </c:dPt>
          <c:dPt>
            <c:idx val="309"/>
            <c:invertIfNegative val="1"/>
            <c:bubble3D val="0"/>
            <c:spPr>
              <a:solidFill>
                <a:srgbClr val="AEABAB"/>
              </a:solidFill>
            </c:spPr>
            <c:extLst>
              <c:ext xmlns:c16="http://schemas.microsoft.com/office/drawing/2014/chart" uri="{C3380CC4-5D6E-409C-BE32-E72D297353CC}">
                <c16:uniqueId val="{0000026D-96C6-461D-BFB4-D343FE548FA3}"/>
              </c:ext>
            </c:extLst>
          </c:dPt>
          <c:dPt>
            <c:idx val="310"/>
            <c:invertIfNegative val="1"/>
            <c:bubble3D val="0"/>
            <c:spPr>
              <a:solidFill>
                <a:srgbClr val="AEABAB"/>
              </a:solidFill>
            </c:spPr>
            <c:extLst>
              <c:ext xmlns:c16="http://schemas.microsoft.com/office/drawing/2014/chart" uri="{C3380CC4-5D6E-409C-BE32-E72D297353CC}">
                <c16:uniqueId val="{0000026F-96C6-461D-BFB4-D343FE548FA3}"/>
              </c:ext>
            </c:extLst>
          </c:dPt>
          <c:dPt>
            <c:idx val="311"/>
            <c:invertIfNegative val="1"/>
            <c:bubble3D val="0"/>
            <c:spPr>
              <a:solidFill>
                <a:srgbClr val="AEABAB"/>
              </a:solidFill>
            </c:spPr>
            <c:extLst>
              <c:ext xmlns:c16="http://schemas.microsoft.com/office/drawing/2014/chart" uri="{C3380CC4-5D6E-409C-BE32-E72D297353CC}">
                <c16:uniqueId val="{00000271-96C6-461D-BFB4-D343FE548FA3}"/>
              </c:ext>
            </c:extLst>
          </c:dPt>
          <c:dPt>
            <c:idx val="312"/>
            <c:invertIfNegative val="1"/>
            <c:bubble3D val="0"/>
            <c:spPr>
              <a:solidFill>
                <a:srgbClr val="AEABAB"/>
              </a:solidFill>
            </c:spPr>
            <c:extLst>
              <c:ext xmlns:c16="http://schemas.microsoft.com/office/drawing/2014/chart" uri="{C3380CC4-5D6E-409C-BE32-E72D297353CC}">
                <c16:uniqueId val="{00000273-96C6-461D-BFB4-D343FE548FA3}"/>
              </c:ext>
            </c:extLst>
          </c:dPt>
          <c:dPt>
            <c:idx val="313"/>
            <c:invertIfNegative val="1"/>
            <c:bubble3D val="0"/>
            <c:spPr>
              <a:solidFill>
                <a:srgbClr val="AEABAB"/>
              </a:solidFill>
            </c:spPr>
            <c:extLst>
              <c:ext xmlns:c16="http://schemas.microsoft.com/office/drawing/2014/chart" uri="{C3380CC4-5D6E-409C-BE32-E72D297353CC}">
                <c16:uniqueId val="{00000275-96C6-461D-BFB4-D343FE548FA3}"/>
              </c:ext>
            </c:extLst>
          </c:dPt>
          <c:dPt>
            <c:idx val="314"/>
            <c:invertIfNegative val="1"/>
            <c:bubble3D val="0"/>
            <c:spPr>
              <a:solidFill>
                <a:srgbClr val="AEABAB"/>
              </a:solidFill>
            </c:spPr>
            <c:extLst>
              <c:ext xmlns:c16="http://schemas.microsoft.com/office/drawing/2014/chart" uri="{C3380CC4-5D6E-409C-BE32-E72D297353CC}">
                <c16:uniqueId val="{00000277-96C6-461D-BFB4-D343FE548FA3}"/>
              </c:ext>
            </c:extLst>
          </c:dPt>
          <c:dPt>
            <c:idx val="315"/>
            <c:invertIfNegative val="1"/>
            <c:bubble3D val="0"/>
            <c:spPr>
              <a:solidFill>
                <a:srgbClr val="AEABAB"/>
              </a:solidFill>
            </c:spPr>
            <c:extLst>
              <c:ext xmlns:c16="http://schemas.microsoft.com/office/drawing/2014/chart" uri="{C3380CC4-5D6E-409C-BE32-E72D297353CC}">
                <c16:uniqueId val="{00000279-96C6-461D-BFB4-D343FE548FA3}"/>
              </c:ext>
            </c:extLst>
          </c:dPt>
          <c:dPt>
            <c:idx val="316"/>
            <c:invertIfNegative val="1"/>
            <c:bubble3D val="0"/>
            <c:spPr>
              <a:solidFill>
                <a:srgbClr val="AEABAB"/>
              </a:solidFill>
            </c:spPr>
            <c:extLst>
              <c:ext xmlns:c16="http://schemas.microsoft.com/office/drawing/2014/chart" uri="{C3380CC4-5D6E-409C-BE32-E72D297353CC}">
                <c16:uniqueId val="{0000027B-96C6-461D-BFB4-D343FE548FA3}"/>
              </c:ext>
            </c:extLst>
          </c:dPt>
          <c:dPt>
            <c:idx val="317"/>
            <c:invertIfNegative val="1"/>
            <c:bubble3D val="0"/>
            <c:spPr>
              <a:solidFill>
                <a:srgbClr val="AEABAB"/>
              </a:solidFill>
            </c:spPr>
            <c:extLst>
              <c:ext xmlns:c16="http://schemas.microsoft.com/office/drawing/2014/chart" uri="{C3380CC4-5D6E-409C-BE32-E72D297353CC}">
                <c16:uniqueId val="{0000027D-96C6-461D-BFB4-D343FE548FA3}"/>
              </c:ext>
            </c:extLst>
          </c:dPt>
          <c:dPt>
            <c:idx val="318"/>
            <c:invertIfNegative val="1"/>
            <c:bubble3D val="0"/>
            <c:spPr>
              <a:solidFill>
                <a:srgbClr val="AEABAB"/>
              </a:solidFill>
            </c:spPr>
            <c:extLst>
              <c:ext xmlns:c16="http://schemas.microsoft.com/office/drawing/2014/chart" uri="{C3380CC4-5D6E-409C-BE32-E72D297353CC}">
                <c16:uniqueId val="{0000027F-96C6-461D-BFB4-D343FE548FA3}"/>
              </c:ext>
            </c:extLst>
          </c:dPt>
          <c:dPt>
            <c:idx val="319"/>
            <c:invertIfNegative val="1"/>
            <c:bubble3D val="0"/>
            <c:spPr>
              <a:solidFill>
                <a:srgbClr val="AEABAB"/>
              </a:solidFill>
            </c:spPr>
            <c:extLst>
              <c:ext xmlns:c16="http://schemas.microsoft.com/office/drawing/2014/chart" uri="{C3380CC4-5D6E-409C-BE32-E72D297353CC}">
                <c16:uniqueId val="{00000281-96C6-461D-BFB4-D343FE548FA3}"/>
              </c:ext>
            </c:extLst>
          </c:dPt>
          <c:dPt>
            <c:idx val="320"/>
            <c:invertIfNegative val="1"/>
            <c:bubble3D val="0"/>
            <c:spPr>
              <a:solidFill>
                <a:srgbClr val="AEABAB"/>
              </a:solidFill>
            </c:spPr>
            <c:extLst>
              <c:ext xmlns:c16="http://schemas.microsoft.com/office/drawing/2014/chart" uri="{C3380CC4-5D6E-409C-BE32-E72D297353CC}">
                <c16:uniqueId val="{00000283-96C6-461D-BFB4-D343FE548FA3}"/>
              </c:ext>
            </c:extLst>
          </c:dPt>
          <c:dPt>
            <c:idx val="321"/>
            <c:invertIfNegative val="1"/>
            <c:bubble3D val="0"/>
            <c:spPr>
              <a:solidFill>
                <a:srgbClr val="AEABAB"/>
              </a:solidFill>
            </c:spPr>
            <c:extLst>
              <c:ext xmlns:c16="http://schemas.microsoft.com/office/drawing/2014/chart" uri="{C3380CC4-5D6E-409C-BE32-E72D297353CC}">
                <c16:uniqueId val="{00000285-96C6-461D-BFB4-D343FE548FA3}"/>
              </c:ext>
            </c:extLst>
          </c:dPt>
          <c:dPt>
            <c:idx val="322"/>
            <c:invertIfNegative val="1"/>
            <c:bubble3D val="0"/>
            <c:spPr>
              <a:solidFill>
                <a:srgbClr val="AEABAB"/>
              </a:solidFill>
            </c:spPr>
            <c:extLst>
              <c:ext xmlns:c16="http://schemas.microsoft.com/office/drawing/2014/chart" uri="{C3380CC4-5D6E-409C-BE32-E72D297353CC}">
                <c16:uniqueId val="{00000287-96C6-461D-BFB4-D343FE548FA3}"/>
              </c:ext>
            </c:extLst>
          </c:dPt>
          <c:dPt>
            <c:idx val="323"/>
            <c:invertIfNegative val="1"/>
            <c:bubble3D val="0"/>
            <c:spPr>
              <a:solidFill>
                <a:srgbClr val="AEABAB"/>
              </a:solidFill>
            </c:spPr>
            <c:extLst>
              <c:ext xmlns:c16="http://schemas.microsoft.com/office/drawing/2014/chart" uri="{C3380CC4-5D6E-409C-BE32-E72D297353CC}">
                <c16:uniqueId val="{00000289-96C6-461D-BFB4-D343FE548FA3}"/>
              </c:ext>
            </c:extLst>
          </c:dPt>
          <c:dPt>
            <c:idx val="324"/>
            <c:invertIfNegative val="1"/>
            <c:bubble3D val="0"/>
            <c:spPr>
              <a:solidFill>
                <a:srgbClr val="AEABAB"/>
              </a:solidFill>
            </c:spPr>
            <c:extLst>
              <c:ext xmlns:c16="http://schemas.microsoft.com/office/drawing/2014/chart" uri="{C3380CC4-5D6E-409C-BE32-E72D297353CC}">
                <c16:uniqueId val="{0000028B-96C6-461D-BFB4-D343FE548FA3}"/>
              </c:ext>
            </c:extLst>
          </c:dPt>
          <c:dPt>
            <c:idx val="325"/>
            <c:invertIfNegative val="1"/>
            <c:bubble3D val="0"/>
            <c:spPr>
              <a:solidFill>
                <a:srgbClr val="AEABAB"/>
              </a:solidFill>
            </c:spPr>
            <c:extLst>
              <c:ext xmlns:c16="http://schemas.microsoft.com/office/drawing/2014/chart" uri="{C3380CC4-5D6E-409C-BE32-E72D297353CC}">
                <c16:uniqueId val="{0000028D-96C6-461D-BFB4-D343FE548FA3}"/>
              </c:ext>
            </c:extLst>
          </c:dPt>
          <c:dPt>
            <c:idx val="326"/>
            <c:invertIfNegative val="1"/>
            <c:bubble3D val="0"/>
            <c:spPr>
              <a:solidFill>
                <a:srgbClr val="AEABAB"/>
              </a:solidFill>
            </c:spPr>
            <c:extLst>
              <c:ext xmlns:c16="http://schemas.microsoft.com/office/drawing/2014/chart" uri="{C3380CC4-5D6E-409C-BE32-E72D297353CC}">
                <c16:uniqueId val="{0000028F-96C6-461D-BFB4-D343FE548FA3}"/>
              </c:ext>
            </c:extLst>
          </c:dPt>
          <c:dPt>
            <c:idx val="327"/>
            <c:invertIfNegative val="1"/>
            <c:bubble3D val="0"/>
            <c:spPr>
              <a:solidFill>
                <a:srgbClr val="AEABAB"/>
              </a:solidFill>
            </c:spPr>
            <c:extLst>
              <c:ext xmlns:c16="http://schemas.microsoft.com/office/drawing/2014/chart" uri="{C3380CC4-5D6E-409C-BE32-E72D297353CC}">
                <c16:uniqueId val="{00000291-96C6-461D-BFB4-D343FE548FA3}"/>
              </c:ext>
            </c:extLst>
          </c:dPt>
          <c:dPt>
            <c:idx val="328"/>
            <c:invertIfNegative val="1"/>
            <c:bubble3D val="0"/>
            <c:spPr>
              <a:solidFill>
                <a:srgbClr val="AEABAB"/>
              </a:solidFill>
            </c:spPr>
            <c:extLst>
              <c:ext xmlns:c16="http://schemas.microsoft.com/office/drawing/2014/chart" uri="{C3380CC4-5D6E-409C-BE32-E72D297353CC}">
                <c16:uniqueId val="{00000293-96C6-461D-BFB4-D343FE548FA3}"/>
              </c:ext>
            </c:extLst>
          </c:dPt>
          <c:dPt>
            <c:idx val="329"/>
            <c:invertIfNegative val="1"/>
            <c:bubble3D val="0"/>
            <c:spPr>
              <a:solidFill>
                <a:srgbClr val="AEABAB"/>
              </a:solidFill>
            </c:spPr>
            <c:extLst>
              <c:ext xmlns:c16="http://schemas.microsoft.com/office/drawing/2014/chart" uri="{C3380CC4-5D6E-409C-BE32-E72D297353CC}">
                <c16:uniqueId val="{00000295-96C6-461D-BFB4-D343FE548FA3}"/>
              </c:ext>
            </c:extLst>
          </c:dPt>
          <c:dPt>
            <c:idx val="330"/>
            <c:invertIfNegative val="1"/>
            <c:bubble3D val="0"/>
            <c:spPr>
              <a:solidFill>
                <a:srgbClr val="AEABAB"/>
              </a:solidFill>
            </c:spPr>
            <c:extLst>
              <c:ext xmlns:c16="http://schemas.microsoft.com/office/drawing/2014/chart" uri="{C3380CC4-5D6E-409C-BE32-E72D297353CC}">
                <c16:uniqueId val="{00000297-96C6-461D-BFB4-D343FE548FA3}"/>
              </c:ext>
            </c:extLst>
          </c:dPt>
          <c:dPt>
            <c:idx val="331"/>
            <c:invertIfNegative val="1"/>
            <c:bubble3D val="0"/>
            <c:spPr>
              <a:solidFill>
                <a:srgbClr val="AEABAB"/>
              </a:solidFill>
            </c:spPr>
            <c:extLst>
              <c:ext xmlns:c16="http://schemas.microsoft.com/office/drawing/2014/chart" uri="{C3380CC4-5D6E-409C-BE32-E72D297353CC}">
                <c16:uniqueId val="{00000299-96C6-461D-BFB4-D343FE548FA3}"/>
              </c:ext>
            </c:extLst>
          </c:dPt>
          <c:dPt>
            <c:idx val="332"/>
            <c:invertIfNegative val="1"/>
            <c:bubble3D val="0"/>
            <c:spPr>
              <a:solidFill>
                <a:srgbClr val="AEABAB"/>
              </a:solidFill>
            </c:spPr>
            <c:extLst>
              <c:ext xmlns:c16="http://schemas.microsoft.com/office/drawing/2014/chart" uri="{C3380CC4-5D6E-409C-BE32-E72D297353CC}">
                <c16:uniqueId val="{0000029B-96C6-461D-BFB4-D343FE548FA3}"/>
              </c:ext>
            </c:extLst>
          </c:dPt>
          <c:dPt>
            <c:idx val="333"/>
            <c:invertIfNegative val="1"/>
            <c:bubble3D val="0"/>
            <c:spPr>
              <a:solidFill>
                <a:srgbClr val="AEABAB"/>
              </a:solidFill>
            </c:spPr>
            <c:extLst>
              <c:ext xmlns:c16="http://schemas.microsoft.com/office/drawing/2014/chart" uri="{C3380CC4-5D6E-409C-BE32-E72D297353CC}">
                <c16:uniqueId val="{0000029D-96C6-461D-BFB4-D343FE548FA3}"/>
              </c:ext>
            </c:extLst>
          </c:dPt>
          <c:dPt>
            <c:idx val="334"/>
            <c:invertIfNegative val="1"/>
            <c:bubble3D val="0"/>
            <c:spPr>
              <a:solidFill>
                <a:srgbClr val="AEABAB"/>
              </a:solidFill>
            </c:spPr>
            <c:extLst>
              <c:ext xmlns:c16="http://schemas.microsoft.com/office/drawing/2014/chart" uri="{C3380CC4-5D6E-409C-BE32-E72D297353CC}">
                <c16:uniqueId val="{0000029F-96C6-461D-BFB4-D343FE548FA3}"/>
              </c:ext>
            </c:extLst>
          </c:dPt>
          <c:dPt>
            <c:idx val="335"/>
            <c:invertIfNegative val="1"/>
            <c:bubble3D val="0"/>
            <c:spPr>
              <a:solidFill>
                <a:srgbClr val="AEABAB"/>
              </a:solidFill>
            </c:spPr>
            <c:extLst>
              <c:ext xmlns:c16="http://schemas.microsoft.com/office/drawing/2014/chart" uri="{C3380CC4-5D6E-409C-BE32-E72D297353CC}">
                <c16:uniqueId val="{000002A1-96C6-461D-BFB4-D343FE548FA3}"/>
              </c:ext>
            </c:extLst>
          </c:dPt>
          <c:dPt>
            <c:idx val="336"/>
            <c:invertIfNegative val="1"/>
            <c:bubble3D val="0"/>
            <c:spPr>
              <a:solidFill>
                <a:srgbClr val="AEABAB"/>
              </a:solidFill>
            </c:spPr>
            <c:extLst>
              <c:ext xmlns:c16="http://schemas.microsoft.com/office/drawing/2014/chart" uri="{C3380CC4-5D6E-409C-BE32-E72D297353CC}">
                <c16:uniqueId val="{000002A3-96C6-461D-BFB4-D343FE548FA3}"/>
              </c:ext>
            </c:extLst>
          </c:dPt>
          <c:dPt>
            <c:idx val="337"/>
            <c:invertIfNegative val="1"/>
            <c:bubble3D val="0"/>
            <c:spPr>
              <a:solidFill>
                <a:srgbClr val="AEABAB"/>
              </a:solidFill>
            </c:spPr>
            <c:extLst>
              <c:ext xmlns:c16="http://schemas.microsoft.com/office/drawing/2014/chart" uri="{C3380CC4-5D6E-409C-BE32-E72D297353CC}">
                <c16:uniqueId val="{000002A5-96C6-461D-BFB4-D343FE548FA3}"/>
              </c:ext>
            </c:extLst>
          </c:dPt>
          <c:dPt>
            <c:idx val="338"/>
            <c:invertIfNegative val="1"/>
            <c:bubble3D val="0"/>
            <c:spPr>
              <a:solidFill>
                <a:srgbClr val="AEABAB"/>
              </a:solidFill>
            </c:spPr>
            <c:extLst>
              <c:ext xmlns:c16="http://schemas.microsoft.com/office/drawing/2014/chart" uri="{C3380CC4-5D6E-409C-BE32-E72D297353CC}">
                <c16:uniqueId val="{000002A7-96C6-461D-BFB4-D343FE548FA3}"/>
              </c:ext>
            </c:extLst>
          </c:dPt>
          <c:dPt>
            <c:idx val="339"/>
            <c:invertIfNegative val="1"/>
            <c:bubble3D val="0"/>
            <c:spPr>
              <a:solidFill>
                <a:srgbClr val="AEABAB"/>
              </a:solidFill>
            </c:spPr>
            <c:extLst>
              <c:ext xmlns:c16="http://schemas.microsoft.com/office/drawing/2014/chart" uri="{C3380CC4-5D6E-409C-BE32-E72D297353CC}">
                <c16:uniqueId val="{000002A9-96C6-461D-BFB4-D343FE548FA3}"/>
              </c:ext>
            </c:extLst>
          </c:dPt>
          <c:dPt>
            <c:idx val="340"/>
            <c:invertIfNegative val="1"/>
            <c:bubble3D val="0"/>
            <c:spPr>
              <a:solidFill>
                <a:srgbClr val="AEABAB"/>
              </a:solidFill>
            </c:spPr>
            <c:extLst>
              <c:ext xmlns:c16="http://schemas.microsoft.com/office/drawing/2014/chart" uri="{C3380CC4-5D6E-409C-BE32-E72D297353CC}">
                <c16:uniqueId val="{000002AB-96C6-461D-BFB4-D343FE548FA3}"/>
              </c:ext>
            </c:extLst>
          </c:dPt>
          <c:dPt>
            <c:idx val="341"/>
            <c:invertIfNegative val="1"/>
            <c:bubble3D val="0"/>
            <c:spPr>
              <a:solidFill>
                <a:srgbClr val="AEABAB"/>
              </a:solidFill>
            </c:spPr>
            <c:extLst>
              <c:ext xmlns:c16="http://schemas.microsoft.com/office/drawing/2014/chart" uri="{C3380CC4-5D6E-409C-BE32-E72D297353CC}">
                <c16:uniqueId val="{000002AD-96C6-461D-BFB4-D343FE548FA3}"/>
              </c:ext>
            </c:extLst>
          </c:dPt>
          <c:dPt>
            <c:idx val="342"/>
            <c:invertIfNegative val="1"/>
            <c:bubble3D val="0"/>
            <c:spPr>
              <a:solidFill>
                <a:srgbClr val="AEABAB"/>
              </a:solidFill>
            </c:spPr>
            <c:extLst>
              <c:ext xmlns:c16="http://schemas.microsoft.com/office/drawing/2014/chart" uri="{C3380CC4-5D6E-409C-BE32-E72D297353CC}">
                <c16:uniqueId val="{000002AF-96C6-461D-BFB4-D343FE548FA3}"/>
              </c:ext>
            </c:extLst>
          </c:dPt>
          <c:dPt>
            <c:idx val="343"/>
            <c:invertIfNegative val="1"/>
            <c:bubble3D val="0"/>
            <c:spPr>
              <a:solidFill>
                <a:srgbClr val="AEABAB"/>
              </a:solidFill>
            </c:spPr>
            <c:extLst>
              <c:ext xmlns:c16="http://schemas.microsoft.com/office/drawing/2014/chart" uri="{C3380CC4-5D6E-409C-BE32-E72D297353CC}">
                <c16:uniqueId val="{000002B1-96C6-461D-BFB4-D343FE548FA3}"/>
              </c:ext>
            </c:extLst>
          </c:dPt>
          <c:dPt>
            <c:idx val="344"/>
            <c:invertIfNegative val="1"/>
            <c:bubble3D val="0"/>
            <c:spPr>
              <a:solidFill>
                <a:srgbClr val="AEABAB"/>
              </a:solidFill>
            </c:spPr>
            <c:extLst>
              <c:ext xmlns:c16="http://schemas.microsoft.com/office/drawing/2014/chart" uri="{C3380CC4-5D6E-409C-BE32-E72D297353CC}">
                <c16:uniqueId val="{000002B3-96C6-461D-BFB4-D343FE548FA3}"/>
              </c:ext>
            </c:extLst>
          </c:dPt>
          <c:dPt>
            <c:idx val="345"/>
            <c:invertIfNegative val="1"/>
            <c:bubble3D val="0"/>
            <c:spPr>
              <a:solidFill>
                <a:srgbClr val="AEABAB"/>
              </a:solidFill>
            </c:spPr>
            <c:extLst>
              <c:ext xmlns:c16="http://schemas.microsoft.com/office/drawing/2014/chart" uri="{C3380CC4-5D6E-409C-BE32-E72D297353CC}">
                <c16:uniqueId val="{000002B5-96C6-461D-BFB4-D343FE548FA3}"/>
              </c:ext>
            </c:extLst>
          </c:dPt>
          <c:dPt>
            <c:idx val="346"/>
            <c:invertIfNegative val="1"/>
            <c:bubble3D val="0"/>
            <c:spPr>
              <a:solidFill>
                <a:srgbClr val="AEABAB"/>
              </a:solidFill>
            </c:spPr>
            <c:extLst>
              <c:ext xmlns:c16="http://schemas.microsoft.com/office/drawing/2014/chart" uri="{C3380CC4-5D6E-409C-BE32-E72D297353CC}">
                <c16:uniqueId val="{000002B7-96C6-461D-BFB4-D343FE548FA3}"/>
              </c:ext>
            </c:extLst>
          </c:dPt>
          <c:dPt>
            <c:idx val="347"/>
            <c:invertIfNegative val="1"/>
            <c:bubble3D val="0"/>
            <c:spPr>
              <a:solidFill>
                <a:srgbClr val="AEABAB"/>
              </a:solidFill>
            </c:spPr>
            <c:extLst>
              <c:ext xmlns:c16="http://schemas.microsoft.com/office/drawing/2014/chart" uri="{C3380CC4-5D6E-409C-BE32-E72D297353CC}">
                <c16:uniqueId val="{000002B9-96C6-461D-BFB4-D343FE548FA3}"/>
              </c:ext>
            </c:extLst>
          </c:dPt>
          <c:dPt>
            <c:idx val="348"/>
            <c:invertIfNegative val="1"/>
            <c:bubble3D val="0"/>
            <c:spPr>
              <a:solidFill>
                <a:srgbClr val="AEABAB"/>
              </a:solidFill>
            </c:spPr>
            <c:extLst>
              <c:ext xmlns:c16="http://schemas.microsoft.com/office/drawing/2014/chart" uri="{C3380CC4-5D6E-409C-BE32-E72D297353CC}">
                <c16:uniqueId val="{000002BB-96C6-461D-BFB4-D343FE548FA3}"/>
              </c:ext>
            </c:extLst>
          </c:dPt>
          <c:dPt>
            <c:idx val="349"/>
            <c:invertIfNegative val="1"/>
            <c:bubble3D val="0"/>
            <c:spPr>
              <a:solidFill>
                <a:srgbClr val="AEABAB"/>
              </a:solidFill>
            </c:spPr>
            <c:extLst>
              <c:ext xmlns:c16="http://schemas.microsoft.com/office/drawing/2014/chart" uri="{C3380CC4-5D6E-409C-BE32-E72D297353CC}">
                <c16:uniqueId val="{000002BD-96C6-461D-BFB4-D343FE548FA3}"/>
              </c:ext>
            </c:extLst>
          </c:dPt>
          <c:dPt>
            <c:idx val="350"/>
            <c:invertIfNegative val="1"/>
            <c:bubble3D val="0"/>
            <c:spPr>
              <a:solidFill>
                <a:srgbClr val="AEABAB"/>
              </a:solidFill>
            </c:spPr>
            <c:extLst>
              <c:ext xmlns:c16="http://schemas.microsoft.com/office/drawing/2014/chart" uri="{C3380CC4-5D6E-409C-BE32-E72D297353CC}">
                <c16:uniqueId val="{000002BF-96C6-461D-BFB4-D343FE548FA3}"/>
              </c:ext>
            </c:extLst>
          </c:dPt>
          <c:dPt>
            <c:idx val="351"/>
            <c:invertIfNegative val="1"/>
            <c:bubble3D val="0"/>
            <c:spPr>
              <a:solidFill>
                <a:srgbClr val="AEABAB"/>
              </a:solidFill>
            </c:spPr>
            <c:extLst>
              <c:ext xmlns:c16="http://schemas.microsoft.com/office/drawing/2014/chart" uri="{C3380CC4-5D6E-409C-BE32-E72D297353CC}">
                <c16:uniqueId val="{000002C1-96C6-461D-BFB4-D343FE548FA3}"/>
              </c:ext>
            </c:extLst>
          </c:dPt>
          <c:dPt>
            <c:idx val="352"/>
            <c:invertIfNegative val="1"/>
            <c:bubble3D val="0"/>
            <c:spPr>
              <a:solidFill>
                <a:srgbClr val="AEABAB"/>
              </a:solidFill>
            </c:spPr>
            <c:extLst>
              <c:ext xmlns:c16="http://schemas.microsoft.com/office/drawing/2014/chart" uri="{C3380CC4-5D6E-409C-BE32-E72D297353CC}">
                <c16:uniqueId val="{000002C3-96C6-461D-BFB4-D343FE548FA3}"/>
              </c:ext>
            </c:extLst>
          </c:dPt>
          <c:dPt>
            <c:idx val="353"/>
            <c:invertIfNegative val="1"/>
            <c:bubble3D val="0"/>
            <c:spPr>
              <a:solidFill>
                <a:srgbClr val="AEABAB"/>
              </a:solidFill>
            </c:spPr>
            <c:extLst>
              <c:ext xmlns:c16="http://schemas.microsoft.com/office/drawing/2014/chart" uri="{C3380CC4-5D6E-409C-BE32-E72D297353CC}">
                <c16:uniqueId val="{000002C5-96C6-461D-BFB4-D343FE548FA3}"/>
              </c:ext>
            </c:extLst>
          </c:dPt>
          <c:dPt>
            <c:idx val="354"/>
            <c:invertIfNegative val="1"/>
            <c:bubble3D val="0"/>
            <c:spPr>
              <a:solidFill>
                <a:srgbClr val="AEABAB"/>
              </a:solidFill>
            </c:spPr>
            <c:extLst>
              <c:ext xmlns:c16="http://schemas.microsoft.com/office/drawing/2014/chart" uri="{C3380CC4-5D6E-409C-BE32-E72D297353CC}">
                <c16:uniqueId val="{000002C7-96C6-461D-BFB4-D343FE548FA3}"/>
              </c:ext>
            </c:extLst>
          </c:dPt>
          <c:dPt>
            <c:idx val="355"/>
            <c:invertIfNegative val="1"/>
            <c:bubble3D val="0"/>
            <c:spPr>
              <a:solidFill>
                <a:srgbClr val="AEABAB"/>
              </a:solidFill>
            </c:spPr>
            <c:extLst>
              <c:ext xmlns:c16="http://schemas.microsoft.com/office/drawing/2014/chart" uri="{C3380CC4-5D6E-409C-BE32-E72D297353CC}">
                <c16:uniqueId val="{000002C9-96C6-461D-BFB4-D343FE548FA3}"/>
              </c:ext>
            </c:extLst>
          </c:dPt>
          <c:dPt>
            <c:idx val="356"/>
            <c:invertIfNegative val="1"/>
            <c:bubble3D val="0"/>
            <c:spPr>
              <a:solidFill>
                <a:srgbClr val="AEABAB"/>
              </a:solidFill>
            </c:spPr>
            <c:extLst>
              <c:ext xmlns:c16="http://schemas.microsoft.com/office/drawing/2014/chart" uri="{C3380CC4-5D6E-409C-BE32-E72D297353CC}">
                <c16:uniqueId val="{000002CB-96C6-461D-BFB4-D343FE548FA3}"/>
              </c:ext>
            </c:extLst>
          </c:dPt>
          <c:dPt>
            <c:idx val="357"/>
            <c:invertIfNegative val="1"/>
            <c:bubble3D val="0"/>
            <c:spPr>
              <a:solidFill>
                <a:srgbClr val="AEABAB"/>
              </a:solidFill>
            </c:spPr>
            <c:extLst>
              <c:ext xmlns:c16="http://schemas.microsoft.com/office/drawing/2014/chart" uri="{C3380CC4-5D6E-409C-BE32-E72D297353CC}">
                <c16:uniqueId val="{000002CD-96C6-461D-BFB4-D343FE548FA3}"/>
              </c:ext>
            </c:extLst>
          </c:dPt>
          <c:dPt>
            <c:idx val="358"/>
            <c:invertIfNegative val="1"/>
            <c:bubble3D val="0"/>
            <c:spPr>
              <a:solidFill>
                <a:srgbClr val="AEABAB"/>
              </a:solidFill>
            </c:spPr>
            <c:extLst>
              <c:ext xmlns:c16="http://schemas.microsoft.com/office/drawing/2014/chart" uri="{C3380CC4-5D6E-409C-BE32-E72D297353CC}">
                <c16:uniqueId val="{000002CF-96C6-461D-BFB4-D343FE548FA3}"/>
              </c:ext>
            </c:extLst>
          </c:dPt>
          <c:dPt>
            <c:idx val="359"/>
            <c:invertIfNegative val="1"/>
            <c:bubble3D val="0"/>
            <c:spPr>
              <a:solidFill>
                <a:srgbClr val="AEABAB"/>
              </a:solidFill>
            </c:spPr>
            <c:extLst>
              <c:ext xmlns:c16="http://schemas.microsoft.com/office/drawing/2014/chart" uri="{C3380CC4-5D6E-409C-BE32-E72D297353CC}">
                <c16:uniqueId val="{000002D1-96C6-461D-BFB4-D343FE548FA3}"/>
              </c:ext>
            </c:extLst>
          </c:dPt>
          <c:dPt>
            <c:idx val="360"/>
            <c:invertIfNegative val="1"/>
            <c:bubble3D val="0"/>
            <c:spPr>
              <a:solidFill>
                <a:srgbClr val="AEABAB"/>
              </a:solidFill>
            </c:spPr>
            <c:extLst>
              <c:ext xmlns:c16="http://schemas.microsoft.com/office/drawing/2014/chart" uri="{C3380CC4-5D6E-409C-BE32-E72D297353CC}">
                <c16:uniqueId val="{000002D3-96C6-461D-BFB4-D343FE548FA3}"/>
              </c:ext>
            </c:extLst>
          </c:dPt>
          <c:dPt>
            <c:idx val="361"/>
            <c:invertIfNegative val="1"/>
            <c:bubble3D val="0"/>
            <c:spPr>
              <a:solidFill>
                <a:srgbClr val="AEABAB"/>
              </a:solidFill>
            </c:spPr>
            <c:extLst>
              <c:ext xmlns:c16="http://schemas.microsoft.com/office/drawing/2014/chart" uri="{C3380CC4-5D6E-409C-BE32-E72D297353CC}">
                <c16:uniqueId val="{000002D5-96C6-461D-BFB4-D343FE548FA3}"/>
              </c:ext>
            </c:extLst>
          </c:dPt>
          <c:dPt>
            <c:idx val="362"/>
            <c:invertIfNegative val="1"/>
            <c:bubble3D val="0"/>
            <c:spPr>
              <a:solidFill>
                <a:srgbClr val="AEABAB"/>
              </a:solidFill>
            </c:spPr>
            <c:extLst>
              <c:ext xmlns:c16="http://schemas.microsoft.com/office/drawing/2014/chart" uri="{C3380CC4-5D6E-409C-BE32-E72D297353CC}">
                <c16:uniqueId val="{000002D7-96C6-461D-BFB4-D343FE548FA3}"/>
              </c:ext>
            </c:extLst>
          </c:dPt>
          <c:dPt>
            <c:idx val="363"/>
            <c:invertIfNegative val="1"/>
            <c:bubble3D val="0"/>
            <c:spPr>
              <a:solidFill>
                <a:srgbClr val="AEABAB"/>
              </a:solidFill>
            </c:spPr>
            <c:extLst>
              <c:ext xmlns:c16="http://schemas.microsoft.com/office/drawing/2014/chart" uri="{C3380CC4-5D6E-409C-BE32-E72D297353CC}">
                <c16:uniqueId val="{000002D9-96C6-461D-BFB4-D343FE548FA3}"/>
              </c:ext>
            </c:extLst>
          </c:dPt>
          <c:dPt>
            <c:idx val="364"/>
            <c:invertIfNegative val="1"/>
            <c:bubble3D val="0"/>
            <c:spPr>
              <a:solidFill>
                <a:srgbClr val="AEABAB"/>
              </a:solidFill>
            </c:spPr>
            <c:extLst>
              <c:ext xmlns:c16="http://schemas.microsoft.com/office/drawing/2014/chart" uri="{C3380CC4-5D6E-409C-BE32-E72D297353CC}">
                <c16:uniqueId val="{000002DB-96C6-461D-BFB4-D343FE548FA3}"/>
              </c:ext>
            </c:extLst>
          </c:dPt>
          <c:dPt>
            <c:idx val="365"/>
            <c:invertIfNegative val="1"/>
            <c:bubble3D val="0"/>
            <c:spPr>
              <a:solidFill>
                <a:srgbClr val="AEABAB"/>
              </a:solidFill>
            </c:spPr>
            <c:extLst>
              <c:ext xmlns:c16="http://schemas.microsoft.com/office/drawing/2014/chart" uri="{C3380CC4-5D6E-409C-BE32-E72D297353CC}">
                <c16:uniqueId val="{000002DD-96C6-461D-BFB4-D343FE548FA3}"/>
              </c:ext>
            </c:extLst>
          </c:dPt>
          <c:dPt>
            <c:idx val="366"/>
            <c:invertIfNegative val="1"/>
            <c:bubble3D val="0"/>
            <c:spPr>
              <a:solidFill>
                <a:srgbClr val="AEABAB"/>
              </a:solidFill>
            </c:spPr>
            <c:extLst>
              <c:ext xmlns:c16="http://schemas.microsoft.com/office/drawing/2014/chart" uri="{C3380CC4-5D6E-409C-BE32-E72D297353CC}">
                <c16:uniqueId val="{000002DF-96C6-461D-BFB4-D343FE548FA3}"/>
              </c:ext>
            </c:extLst>
          </c:dPt>
          <c:dPt>
            <c:idx val="367"/>
            <c:invertIfNegative val="1"/>
            <c:bubble3D val="0"/>
            <c:spPr>
              <a:solidFill>
                <a:srgbClr val="AEABAB"/>
              </a:solidFill>
            </c:spPr>
            <c:extLst>
              <c:ext xmlns:c16="http://schemas.microsoft.com/office/drawing/2014/chart" uri="{C3380CC4-5D6E-409C-BE32-E72D297353CC}">
                <c16:uniqueId val="{000002E1-96C6-461D-BFB4-D343FE548FA3}"/>
              </c:ext>
            </c:extLst>
          </c:dPt>
          <c:dPt>
            <c:idx val="368"/>
            <c:invertIfNegative val="1"/>
            <c:bubble3D val="0"/>
            <c:spPr>
              <a:solidFill>
                <a:srgbClr val="AEABAB"/>
              </a:solidFill>
            </c:spPr>
            <c:extLst>
              <c:ext xmlns:c16="http://schemas.microsoft.com/office/drawing/2014/chart" uri="{C3380CC4-5D6E-409C-BE32-E72D297353CC}">
                <c16:uniqueId val="{000002E3-96C6-461D-BFB4-D343FE548FA3}"/>
              </c:ext>
            </c:extLst>
          </c:dPt>
          <c:dPt>
            <c:idx val="369"/>
            <c:invertIfNegative val="1"/>
            <c:bubble3D val="0"/>
            <c:spPr>
              <a:solidFill>
                <a:srgbClr val="AEABAB"/>
              </a:solidFill>
            </c:spPr>
            <c:extLst>
              <c:ext xmlns:c16="http://schemas.microsoft.com/office/drawing/2014/chart" uri="{C3380CC4-5D6E-409C-BE32-E72D297353CC}">
                <c16:uniqueId val="{000002E5-96C6-461D-BFB4-D343FE548FA3}"/>
              </c:ext>
            </c:extLst>
          </c:dPt>
          <c:dPt>
            <c:idx val="370"/>
            <c:invertIfNegative val="1"/>
            <c:bubble3D val="0"/>
            <c:spPr>
              <a:solidFill>
                <a:srgbClr val="AEABAB"/>
              </a:solidFill>
            </c:spPr>
            <c:extLst>
              <c:ext xmlns:c16="http://schemas.microsoft.com/office/drawing/2014/chart" uri="{C3380CC4-5D6E-409C-BE32-E72D297353CC}">
                <c16:uniqueId val="{000002E7-96C6-461D-BFB4-D343FE548FA3}"/>
              </c:ext>
            </c:extLst>
          </c:dPt>
          <c:dPt>
            <c:idx val="371"/>
            <c:invertIfNegative val="1"/>
            <c:bubble3D val="0"/>
            <c:spPr>
              <a:solidFill>
                <a:srgbClr val="AEABAB"/>
              </a:solidFill>
            </c:spPr>
            <c:extLst>
              <c:ext xmlns:c16="http://schemas.microsoft.com/office/drawing/2014/chart" uri="{C3380CC4-5D6E-409C-BE32-E72D297353CC}">
                <c16:uniqueId val="{000002E9-96C6-461D-BFB4-D343FE548FA3}"/>
              </c:ext>
            </c:extLst>
          </c:dPt>
          <c:dPt>
            <c:idx val="372"/>
            <c:invertIfNegative val="1"/>
            <c:bubble3D val="0"/>
            <c:spPr>
              <a:solidFill>
                <a:srgbClr val="AEABAB"/>
              </a:solidFill>
            </c:spPr>
            <c:extLst>
              <c:ext xmlns:c16="http://schemas.microsoft.com/office/drawing/2014/chart" uri="{C3380CC4-5D6E-409C-BE32-E72D297353CC}">
                <c16:uniqueId val="{000002EB-96C6-461D-BFB4-D343FE548FA3}"/>
              </c:ext>
            </c:extLst>
          </c:dPt>
          <c:dPt>
            <c:idx val="373"/>
            <c:invertIfNegative val="1"/>
            <c:bubble3D val="0"/>
            <c:spPr>
              <a:solidFill>
                <a:srgbClr val="AEABAB"/>
              </a:solidFill>
            </c:spPr>
            <c:extLst>
              <c:ext xmlns:c16="http://schemas.microsoft.com/office/drawing/2014/chart" uri="{C3380CC4-5D6E-409C-BE32-E72D297353CC}">
                <c16:uniqueId val="{000002ED-96C6-461D-BFB4-D343FE548FA3}"/>
              </c:ext>
            </c:extLst>
          </c:dPt>
          <c:dPt>
            <c:idx val="374"/>
            <c:invertIfNegative val="1"/>
            <c:bubble3D val="0"/>
            <c:spPr>
              <a:solidFill>
                <a:srgbClr val="AEABAB"/>
              </a:solidFill>
            </c:spPr>
            <c:extLst>
              <c:ext xmlns:c16="http://schemas.microsoft.com/office/drawing/2014/chart" uri="{C3380CC4-5D6E-409C-BE32-E72D297353CC}">
                <c16:uniqueId val="{000002EF-96C6-461D-BFB4-D343FE548FA3}"/>
              </c:ext>
            </c:extLst>
          </c:dPt>
          <c:dPt>
            <c:idx val="375"/>
            <c:invertIfNegative val="1"/>
            <c:bubble3D val="0"/>
            <c:spPr>
              <a:solidFill>
                <a:srgbClr val="AEABAB"/>
              </a:solidFill>
            </c:spPr>
            <c:extLst>
              <c:ext xmlns:c16="http://schemas.microsoft.com/office/drawing/2014/chart" uri="{C3380CC4-5D6E-409C-BE32-E72D297353CC}">
                <c16:uniqueId val="{000002F1-96C6-461D-BFB4-D343FE548FA3}"/>
              </c:ext>
            </c:extLst>
          </c:dPt>
          <c:dPt>
            <c:idx val="376"/>
            <c:invertIfNegative val="1"/>
            <c:bubble3D val="0"/>
            <c:spPr>
              <a:solidFill>
                <a:srgbClr val="AEABAB"/>
              </a:solidFill>
            </c:spPr>
            <c:extLst>
              <c:ext xmlns:c16="http://schemas.microsoft.com/office/drawing/2014/chart" uri="{C3380CC4-5D6E-409C-BE32-E72D297353CC}">
                <c16:uniqueId val="{000002F3-96C6-461D-BFB4-D343FE548FA3}"/>
              </c:ext>
            </c:extLst>
          </c:dPt>
          <c:dPt>
            <c:idx val="377"/>
            <c:invertIfNegative val="1"/>
            <c:bubble3D val="0"/>
            <c:spPr>
              <a:solidFill>
                <a:srgbClr val="AEABAB"/>
              </a:solidFill>
            </c:spPr>
            <c:extLst>
              <c:ext xmlns:c16="http://schemas.microsoft.com/office/drawing/2014/chart" uri="{C3380CC4-5D6E-409C-BE32-E72D297353CC}">
                <c16:uniqueId val="{000002F5-96C6-461D-BFB4-D343FE548FA3}"/>
              </c:ext>
            </c:extLst>
          </c:dPt>
          <c:dPt>
            <c:idx val="378"/>
            <c:invertIfNegative val="1"/>
            <c:bubble3D val="0"/>
            <c:spPr>
              <a:solidFill>
                <a:srgbClr val="AEABAB"/>
              </a:solidFill>
            </c:spPr>
            <c:extLst>
              <c:ext xmlns:c16="http://schemas.microsoft.com/office/drawing/2014/chart" uri="{C3380CC4-5D6E-409C-BE32-E72D297353CC}">
                <c16:uniqueId val="{000002F7-96C6-461D-BFB4-D343FE548FA3}"/>
              </c:ext>
            </c:extLst>
          </c:dPt>
          <c:dPt>
            <c:idx val="379"/>
            <c:invertIfNegative val="1"/>
            <c:bubble3D val="0"/>
            <c:spPr>
              <a:solidFill>
                <a:srgbClr val="AEABAB"/>
              </a:solidFill>
            </c:spPr>
            <c:extLst>
              <c:ext xmlns:c16="http://schemas.microsoft.com/office/drawing/2014/chart" uri="{C3380CC4-5D6E-409C-BE32-E72D297353CC}">
                <c16:uniqueId val="{000002F9-96C6-461D-BFB4-D343FE548FA3}"/>
              </c:ext>
            </c:extLst>
          </c:dPt>
          <c:dPt>
            <c:idx val="380"/>
            <c:invertIfNegative val="1"/>
            <c:bubble3D val="0"/>
            <c:spPr>
              <a:solidFill>
                <a:srgbClr val="AEABAB"/>
              </a:solidFill>
            </c:spPr>
            <c:extLst>
              <c:ext xmlns:c16="http://schemas.microsoft.com/office/drawing/2014/chart" uri="{C3380CC4-5D6E-409C-BE32-E72D297353CC}">
                <c16:uniqueId val="{000002FB-96C6-461D-BFB4-D343FE548FA3}"/>
              </c:ext>
            </c:extLst>
          </c:dPt>
          <c:dPt>
            <c:idx val="381"/>
            <c:invertIfNegative val="1"/>
            <c:bubble3D val="0"/>
            <c:spPr>
              <a:solidFill>
                <a:srgbClr val="AEABAB"/>
              </a:solidFill>
            </c:spPr>
            <c:extLst>
              <c:ext xmlns:c16="http://schemas.microsoft.com/office/drawing/2014/chart" uri="{C3380CC4-5D6E-409C-BE32-E72D297353CC}">
                <c16:uniqueId val="{000002FD-96C6-461D-BFB4-D343FE548FA3}"/>
              </c:ext>
            </c:extLst>
          </c:dPt>
          <c:dPt>
            <c:idx val="382"/>
            <c:invertIfNegative val="1"/>
            <c:bubble3D val="0"/>
            <c:spPr>
              <a:solidFill>
                <a:srgbClr val="AEABAB"/>
              </a:solidFill>
            </c:spPr>
            <c:extLst>
              <c:ext xmlns:c16="http://schemas.microsoft.com/office/drawing/2014/chart" uri="{C3380CC4-5D6E-409C-BE32-E72D297353CC}">
                <c16:uniqueId val="{000002FF-96C6-461D-BFB4-D343FE548FA3}"/>
              </c:ext>
            </c:extLst>
          </c:dPt>
          <c:dPt>
            <c:idx val="383"/>
            <c:invertIfNegative val="1"/>
            <c:bubble3D val="0"/>
            <c:spPr>
              <a:solidFill>
                <a:srgbClr val="AEABAB"/>
              </a:solidFill>
            </c:spPr>
            <c:extLst>
              <c:ext xmlns:c16="http://schemas.microsoft.com/office/drawing/2014/chart" uri="{C3380CC4-5D6E-409C-BE32-E72D297353CC}">
                <c16:uniqueId val="{00000301-96C6-461D-BFB4-D343FE548FA3}"/>
              </c:ext>
            </c:extLst>
          </c:dPt>
          <c:dPt>
            <c:idx val="384"/>
            <c:invertIfNegative val="1"/>
            <c:bubble3D val="0"/>
            <c:spPr>
              <a:solidFill>
                <a:srgbClr val="AEABAB"/>
              </a:solidFill>
            </c:spPr>
            <c:extLst>
              <c:ext xmlns:c16="http://schemas.microsoft.com/office/drawing/2014/chart" uri="{C3380CC4-5D6E-409C-BE32-E72D297353CC}">
                <c16:uniqueId val="{00000303-96C6-461D-BFB4-D343FE548FA3}"/>
              </c:ext>
            </c:extLst>
          </c:dPt>
          <c:dPt>
            <c:idx val="385"/>
            <c:invertIfNegative val="1"/>
            <c:bubble3D val="0"/>
            <c:spPr>
              <a:solidFill>
                <a:srgbClr val="AEABAB"/>
              </a:solidFill>
            </c:spPr>
            <c:extLst>
              <c:ext xmlns:c16="http://schemas.microsoft.com/office/drawing/2014/chart" uri="{C3380CC4-5D6E-409C-BE32-E72D297353CC}">
                <c16:uniqueId val="{00000305-96C6-461D-BFB4-D343FE548FA3}"/>
              </c:ext>
            </c:extLst>
          </c:dPt>
          <c:dPt>
            <c:idx val="386"/>
            <c:invertIfNegative val="1"/>
            <c:bubble3D val="0"/>
            <c:spPr>
              <a:solidFill>
                <a:srgbClr val="AEABAB"/>
              </a:solidFill>
            </c:spPr>
            <c:extLst>
              <c:ext xmlns:c16="http://schemas.microsoft.com/office/drawing/2014/chart" uri="{C3380CC4-5D6E-409C-BE32-E72D297353CC}">
                <c16:uniqueId val="{00000307-96C6-461D-BFB4-D343FE548FA3}"/>
              </c:ext>
            </c:extLst>
          </c:dPt>
          <c:dPt>
            <c:idx val="387"/>
            <c:invertIfNegative val="1"/>
            <c:bubble3D val="0"/>
            <c:spPr>
              <a:solidFill>
                <a:srgbClr val="AEABAB"/>
              </a:solidFill>
            </c:spPr>
            <c:extLst>
              <c:ext xmlns:c16="http://schemas.microsoft.com/office/drawing/2014/chart" uri="{C3380CC4-5D6E-409C-BE32-E72D297353CC}">
                <c16:uniqueId val="{00000309-96C6-461D-BFB4-D343FE548FA3}"/>
              </c:ext>
            </c:extLst>
          </c:dPt>
          <c:dPt>
            <c:idx val="388"/>
            <c:invertIfNegative val="1"/>
            <c:bubble3D val="0"/>
            <c:spPr>
              <a:solidFill>
                <a:srgbClr val="AEABAB"/>
              </a:solidFill>
            </c:spPr>
            <c:extLst>
              <c:ext xmlns:c16="http://schemas.microsoft.com/office/drawing/2014/chart" uri="{C3380CC4-5D6E-409C-BE32-E72D297353CC}">
                <c16:uniqueId val="{0000030B-96C6-461D-BFB4-D343FE548FA3}"/>
              </c:ext>
            </c:extLst>
          </c:dPt>
          <c:dPt>
            <c:idx val="389"/>
            <c:invertIfNegative val="1"/>
            <c:bubble3D val="0"/>
            <c:spPr>
              <a:solidFill>
                <a:srgbClr val="AEABAB"/>
              </a:solidFill>
            </c:spPr>
            <c:extLst>
              <c:ext xmlns:c16="http://schemas.microsoft.com/office/drawing/2014/chart" uri="{C3380CC4-5D6E-409C-BE32-E72D297353CC}">
                <c16:uniqueId val="{0000030D-96C6-461D-BFB4-D343FE548FA3}"/>
              </c:ext>
            </c:extLst>
          </c:dPt>
          <c:dPt>
            <c:idx val="390"/>
            <c:invertIfNegative val="1"/>
            <c:bubble3D val="0"/>
            <c:spPr>
              <a:solidFill>
                <a:srgbClr val="AEABAB"/>
              </a:solidFill>
            </c:spPr>
            <c:extLst>
              <c:ext xmlns:c16="http://schemas.microsoft.com/office/drawing/2014/chart" uri="{C3380CC4-5D6E-409C-BE32-E72D297353CC}">
                <c16:uniqueId val="{0000030F-96C6-461D-BFB4-D343FE548FA3}"/>
              </c:ext>
            </c:extLst>
          </c:dPt>
          <c:dPt>
            <c:idx val="391"/>
            <c:invertIfNegative val="1"/>
            <c:bubble3D val="0"/>
            <c:spPr>
              <a:solidFill>
                <a:srgbClr val="AEABAB"/>
              </a:solidFill>
            </c:spPr>
            <c:extLst>
              <c:ext xmlns:c16="http://schemas.microsoft.com/office/drawing/2014/chart" uri="{C3380CC4-5D6E-409C-BE32-E72D297353CC}">
                <c16:uniqueId val="{00000311-96C6-461D-BFB4-D343FE548FA3}"/>
              </c:ext>
            </c:extLst>
          </c:dPt>
          <c:dPt>
            <c:idx val="392"/>
            <c:invertIfNegative val="1"/>
            <c:bubble3D val="0"/>
            <c:spPr>
              <a:solidFill>
                <a:srgbClr val="AEABAB"/>
              </a:solidFill>
            </c:spPr>
            <c:extLst>
              <c:ext xmlns:c16="http://schemas.microsoft.com/office/drawing/2014/chart" uri="{C3380CC4-5D6E-409C-BE32-E72D297353CC}">
                <c16:uniqueId val="{00000313-96C6-461D-BFB4-D343FE548FA3}"/>
              </c:ext>
            </c:extLst>
          </c:dPt>
          <c:dPt>
            <c:idx val="393"/>
            <c:invertIfNegative val="1"/>
            <c:bubble3D val="0"/>
            <c:spPr>
              <a:solidFill>
                <a:srgbClr val="AEABAB"/>
              </a:solidFill>
            </c:spPr>
            <c:extLst>
              <c:ext xmlns:c16="http://schemas.microsoft.com/office/drawing/2014/chart" uri="{C3380CC4-5D6E-409C-BE32-E72D297353CC}">
                <c16:uniqueId val="{00000315-96C6-461D-BFB4-D343FE548FA3}"/>
              </c:ext>
            </c:extLst>
          </c:dPt>
          <c:dPt>
            <c:idx val="394"/>
            <c:invertIfNegative val="1"/>
            <c:bubble3D val="0"/>
            <c:spPr>
              <a:solidFill>
                <a:srgbClr val="AEABAB"/>
              </a:solidFill>
            </c:spPr>
            <c:extLst>
              <c:ext xmlns:c16="http://schemas.microsoft.com/office/drawing/2014/chart" uri="{C3380CC4-5D6E-409C-BE32-E72D297353CC}">
                <c16:uniqueId val="{00000317-96C6-461D-BFB4-D343FE548FA3}"/>
              </c:ext>
            </c:extLst>
          </c:dPt>
          <c:dPt>
            <c:idx val="395"/>
            <c:invertIfNegative val="1"/>
            <c:bubble3D val="0"/>
            <c:spPr>
              <a:solidFill>
                <a:srgbClr val="AEABAB"/>
              </a:solidFill>
            </c:spPr>
            <c:extLst>
              <c:ext xmlns:c16="http://schemas.microsoft.com/office/drawing/2014/chart" uri="{C3380CC4-5D6E-409C-BE32-E72D297353CC}">
                <c16:uniqueId val="{00000319-96C6-461D-BFB4-D343FE548FA3}"/>
              </c:ext>
            </c:extLst>
          </c:dPt>
          <c:dPt>
            <c:idx val="396"/>
            <c:invertIfNegative val="1"/>
            <c:bubble3D val="0"/>
            <c:spPr>
              <a:solidFill>
                <a:srgbClr val="AEABAB"/>
              </a:solidFill>
            </c:spPr>
            <c:extLst>
              <c:ext xmlns:c16="http://schemas.microsoft.com/office/drawing/2014/chart" uri="{C3380CC4-5D6E-409C-BE32-E72D297353CC}">
                <c16:uniqueId val="{0000031B-96C6-461D-BFB4-D343FE548FA3}"/>
              </c:ext>
            </c:extLst>
          </c:dPt>
          <c:dPt>
            <c:idx val="397"/>
            <c:invertIfNegative val="1"/>
            <c:bubble3D val="0"/>
            <c:spPr>
              <a:solidFill>
                <a:srgbClr val="AEABAB"/>
              </a:solidFill>
            </c:spPr>
            <c:extLst>
              <c:ext xmlns:c16="http://schemas.microsoft.com/office/drawing/2014/chart" uri="{C3380CC4-5D6E-409C-BE32-E72D297353CC}">
                <c16:uniqueId val="{0000031D-96C6-461D-BFB4-D343FE548FA3}"/>
              </c:ext>
            </c:extLst>
          </c:dPt>
          <c:dPt>
            <c:idx val="398"/>
            <c:invertIfNegative val="1"/>
            <c:bubble3D val="0"/>
            <c:spPr>
              <a:solidFill>
                <a:srgbClr val="AEABAB"/>
              </a:solidFill>
            </c:spPr>
            <c:extLst>
              <c:ext xmlns:c16="http://schemas.microsoft.com/office/drawing/2014/chart" uri="{C3380CC4-5D6E-409C-BE32-E72D297353CC}">
                <c16:uniqueId val="{0000031F-96C6-461D-BFB4-D343FE548FA3}"/>
              </c:ext>
            </c:extLst>
          </c:dPt>
          <c:dPt>
            <c:idx val="399"/>
            <c:invertIfNegative val="1"/>
            <c:bubble3D val="0"/>
            <c:spPr>
              <a:solidFill>
                <a:srgbClr val="AEABAB"/>
              </a:solidFill>
            </c:spPr>
            <c:extLst>
              <c:ext xmlns:c16="http://schemas.microsoft.com/office/drawing/2014/chart" uri="{C3380CC4-5D6E-409C-BE32-E72D297353CC}">
                <c16:uniqueId val="{00000321-96C6-461D-BFB4-D343FE548FA3}"/>
              </c:ext>
            </c:extLst>
          </c:dPt>
          <c:dPt>
            <c:idx val="400"/>
            <c:invertIfNegative val="1"/>
            <c:bubble3D val="0"/>
            <c:spPr>
              <a:solidFill>
                <a:srgbClr val="AEABAB"/>
              </a:solidFill>
            </c:spPr>
            <c:extLst>
              <c:ext xmlns:c16="http://schemas.microsoft.com/office/drawing/2014/chart" uri="{C3380CC4-5D6E-409C-BE32-E72D297353CC}">
                <c16:uniqueId val="{00000323-96C6-461D-BFB4-D343FE548FA3}"/>
              </c:ext>
            </c:extLst>
          </c:dPt>
          <c:dPt>
            <c:idx val="401"/>
            <c:invertIfNegative val="1"/>
            <c:bubble3D val="0"/>
            <c:spPr>
              <a:solidFill>
                <a:srgbClr val="AEABAB"/>
              </a:solidFill>
            </c:spPr>
            <c:extLst>
              <c:ext xmlns:c16="http://schemas.microsoft.com/office/drawing/2014/chart" uri="{C3380CC4-5D6E-409C-BE32-E72D297353CC}">
                <c16:uniqueId val="{00000325-96C6-461D-BFB4-D343FE548FA3}"/>
              </c:ext>
            </c:extLst>
          </c:dPt>
          <c:dPt>
            <c:idx val="402"/>
            <c:invertIfNegative val="1"/>
            <c:bubble3D val="0"/>
            <c:spPr>
              <a:solidFill>
                <a:srgbClr val="AEABAB"/>
              </a:solidFill>
            </c:spPr>
            <c:extLst>
              <c:ext xmlns:c16="http://schemas.microsoft.com/office/drawing/2014/chart" uri="{C3380CC4-5D6E-409C-BE32-E72D297353CC}">
                <c16:uniqueId val="{00000327-96C6-461D-BFB4-D343FE548FA3}"/>
              </c:ext>
            </c:extLst>
          </c:dPt>
          <c:dPt>
            <c:idx val="403"/>
            <c:invertIfNegative val="1"/>
            <c:bubble3D val="0"/>
            <c:spPr>
              <a:solidFill>
                <a:srgbClr val="AEABAB"/>
              </a:solidFill>
            </c:spPr>
            <c:extLst>
              <c:ext xmlns:c16="http://schemas.microsoft.com/office/drawing/2014/chart" uri="{C3380CC4-5D6E-409C-BE32-E72D297353CC}">
                <c16:uniqueId val="{00000329-96C6-461D-BFB4-D343FE548FA3}"/>
              </c:ext>
            </c:extLst>
          </c:dPt>
          <c:dPt>
            <c:idx val="404"/>
            <c:invertIfNegative val="1"/>
            <c:bubble3D val="0"/>
            <c:spPr>
              <a:solidFill>
                <a:srgbClr val="AEABAB"/>
              </a:solidFill>
            </c:spPr>
            <c:extLst>
              <c:ext xmlns:c16="http://schemas.microsoft.com/office/drawing/2014/chart" uri="{C3380CC4-5D6E-409C-BE32-E72D297353CC}">
                <c16:uniqueId val="{0000032B-96C6-461D-BFB4-D343FE548FA3}"/>
              </c:ext>
            </c:extLst>
          </c:dPt>
          <c:dPt>
            <c:idx val="405"/>
            <c:invertIfNegative val="1"/>
            <c:bubble3D val="0"/>
            <c:spPr>
              <a:solidFill>
                <a:srgbClr val="AEABAB"/>
              </a:solidFill>
            </c:spPr>
            <c:extLst>
              <c:ext xmlns:c16="http://schemas.microsoft.com/office/drawing/2014/chart" uri="{C3380CC4-5D6E-409C-BE32-E72D297353CC}">
                <c16:uniqueId val="{0000032D-96C6-461D-BFB4-D343FE548FA3}"/>
              </c:ext>
            </c:extLst>
          </c:dPt>
          <c:dPt>
            <c:idx val="406"/>
            <c:invertIfNegative val="1"/>
            <c:bubble3D val="0"/>
            <c:spPr>
              <a:solidFill>
                <a:srgbClr val="AEABAB"/>
              </a:solidFill>
            </c:spPr>
            <c:extLst>
              <c:ext xmlns:c16="http://schemas.microsoft.com/office/drawing/2014/chart" uri="{C3380CC4-5D6E-409C-BE32-E72D297353CC}">
                <c16:uniqueId val="{0000032F-96C6-461D-BFB4-D343FE548FA3}"/>
              </c:ext>
            </c:extLst>
          </c:dPt>
          <c:dPt>
            <c:idx val="407"/>
            <c:invertIfNegative val="1"/>
            <c:bubble3D val="0"/>
            <c:spPr>
              <a:solidFill>
                <a:srgbClr val="AEABAB"/>
              </a:solidFill>
            </c:spPr>
            <c:extLst>
              <c:ext xmlns:c16="http://schemas.microsoft.com/office/drawing/2014/chart" uri="{C3380CC4-5D6E-409C-BE32-E72D297353CC}">
                <c16:uniqueId val="{00000331-96C6-461D-BFB4-D343FE548FA3}"/>
              </c:ext>
            </c:extLst>
          </c:dPt>
          <c:dPt>
            <c:idx val="408"/>
            <c:invertIfNegative val="1"/>
            <c:bubble3D val="0"/>
            <c:spPr>
              <a:solidFill>
                <a:srgbClr val="AEABAB"/>
              </a:solidFill>
            </c:spPr>
            <c:extLst>
              <c:ext xmlns:c16="http://schemas.microsoft.com/office/drawing/2014/chart" uri="{C3380CC4-5D6E-409C-BE32-E72D297353CC}">
                <c16:uniqueId val="{00000333-96C6-461D-BFB4-D343FE548FA3}"/>
              </c:ext>
            </c:extLst>
          </c:dPt>
          <c:dPt>
            <c:idx val="409"/>
            <c:invertIfNegative val="1"/>
            <c:bubble3D val="0"/>
            <c:spPr>
              <a:solidFill>
                <a:srgbClr val="AEABAB"/>
              </a:solidFill>
            </c:spPr>
            <c:extLst>
              <c:ext xmlns:c16="http://schemas.microsoft.com/office/drawing/2014/chart" uri="{C3380CC4-5D6E-409C-BE32-E72D297353CC}">
                <c16:uniqueId val="{00000335-96C6-461D-BFB4-D343FE548FA3}"/>
              </c:ext>
            </c:extLst>
          </c:dPt>
          <c:dPt>
            <c:idx val="410"/>
            <c:invertIfNegative val="1"/>
            <c:bubble3D val="0"/>
            <c:spPr>
              <a:solidFill>
                <a:srgbClr val="AEABAB"/>
              </a:solidFill>
            </c:spPr>
            <c:extLst>
              <c:ext xmlns:c16="http://schemas.microsoft.com/office/drawing/2014/chart" uri="{C3380CC4-5D6E-409C-BE32-E72D297353CC}">
                <c16:uniqueId val="{00000337-96C6-461D-BFB4-D343FE548FA3}"/>
              </c:ext>
            </c:extLst>
          </c:dPt>
          <c:dPt>
            <c:idx val="411"/>
            <c:invertIfNegative val="1"/>
            <c:bubble3D val="0"/>
            <c:spPr>
              <a:solidFill>
                <a:srgbClr val="AEABAB"/>
              </a:solidFill>
            </c:spPr>
            <c:extLst>
              <c:ext xmlns:c16="http://schemas.microsoft.com/office/drawing/2014/chart" uri="{C3380CC4-5D6E-409C-BE32-E72D297353CC}">
                <c16:uniqueId val="{00000339-96C6-461D-BFB4-D343FE548FA3}"/>
              </c:ext>
            </c:extLst>
          </c:dPt>
          <c:dPt>
            <c:idx val="412"/>
            <c:invertIfNegative val="1"/>
            <c:bubble3D val="0"/>
            <c:spPr>
              <a:solidFill>
                <a:srgbClr val="AEABAB"/>
              </a:solidFill>
            </c:spPr>
            <c:extLst>
              <c:ext xmlns:c16="http://schemas.microsoft.com/office/drawing/2014/chart" uri="{C3380CC4-5D6E-409C-BE32-E72D297353CC}">
                <c16:uniqueId val="{0000033B-96C6-461D-BFB4-D343FE548FA3}"/>
              </c:ext>
            </c:extLst>
          </c:dPt>
          <c:dPt>
            <c:idx val="413"/>
            <c:invertIfNegative val="1"/>
            <c:bubble3D val="0"/>
            <c:spPr>
              <a:solidFill>
                <a:srgbClr val="AEABAB"/>
              </a:solidFill>
            </c:spPr>
            <c:extLst>
              <c:ext xmlns:c16="http://schemas.microsoft.com/office/drawing/2014/chart" uri="{C3380CC4-5D6E-409C-BE32-E72D297353CC}">
                <c16:uniqueId val="{0000033D-96C6-461D-BFB4-D343FE548FA3}"/>
              </c:ext>
            </c:extLst>
          </c:dPt>
          <c:dPt>
            <c:idx val="414"/>
            <c:invertIfNegative val="1"/>
            <c:bubble3D val="0"/>
            <c:spPr>
              <a:solidFill>
                <a:srgbClr val="AEABAB"/>
              </a:solidFill>
            </c:spPr>
            <c:extLst>
              <c:ext xmlns:c16="http://schemas.microsoft.com/office/drawing/2014/chart" uri="{C3380CC4-5D6E-409C-BE32-E72D297353CC}">
                <c16:uniqueId val="{0000033F-96C6-461D-BFB4-D343FE548FA3}"/>
              </c:ext>
            </c:extLst>
          </c:dPt>
          <c:dPt>
            <c:idx val="415"/>
            <c:invertIfNegative val="1"/>
            <c:bubble3D val="0"/>
            <c:spPr>
              <a:solidFill>
                <a:srgbClr val="AEABAB"/>
              </a:solidFill>
            </c:spPr>
            <c:extLst>
              <c:ext xmlns:c16="http://schemas.microsoft.com/office/drawing/2014/chart" uri="{C3380CC4-5D6E-409C-BE32-E72D297353CC}">
                <c16:uniqueId val="{00000341-96C6-461D-BFB4-D343FE548FA3}"/>
              </c:ext>
            </c:extLst>
          </c:dPt>
          <c:dPt>
            <c:idx val="416"/>
            <c:invertIfNegative val="1"/>
            <c:bubble3D val="0"/>
            <c:spPr>
              <a:solidFill>
                <a:srgbClr val="AEABAB"/>
              </a:solidFill>
            </c:spPr>
            <c:extLst>
              <c:ext xmlns:c16="http://schemas.microsoft.com/office/drawing/2014/chart" uri="{C3380CC4-5D6E-409C-BE32-E72D297353CC}">
                <c16:uniqueId val="{00000343-96C6-461D-BFB4-D343FE548FA3}"/>
              </c:ext>
            </c:extLst>
          </c:dPt>
          <c:dPt>
            <c:idx val="417"/>
            <c:invertIfNegative val="1"/>
            <c:bubble3D val="0"/>
            <c:spPr>
              <a:solidFill>
                <a:srgbClr val="AEABAB"/>
              </a:solidFill>
            </c:spPr>
            <c:extLst>
              <c:ext xmlns:c16="http://schemas.microsoft.com/office/drawing/2014/chart" uri="{C3380CC4-5D6E-409C-BE32-E72D297353CC}">
                <c16:uniqueId val="{00000345-96C6-461D-BFB4-D343FE548FA3}"/>
              </c:ext>
            </c:extLst>
          </c:dPt>
          <c:dPt>
            <c:idx val="418"/>
            <c:invertIfNegative val="1"/>
            <c:bubble3D val="0"/>
            <c:spPr>
              <a:solidFill>
                <a:srgbClr val="AEABAB"/>
              </a:solidFill>
            </c:spPr>
            <c:extLst>
              <c:ext xmlns:c16="http://schemas.microsoft.com/office/drawing/2014/chart" uri="{C3380CC4-5D6E-409C-BE32-E72D297353CC}">
                <c16:uniqueId val="{00000347-96C6-461D-BFB4-D343FE548FA3}"/>
              </c:ext>
            </c:extLst>
          </c:dPt>
          <c:dPt>
            <c:idx val="419"/>
            <c:invertIfNegative val="1"/>
            <c:bubble3D val="0"/>
            <c:spPr>
              <a:solidFill>
                <a:srgbClr val="AEABAB"/>
              </a:solidFill>
            </c:spPr>
            <c:extLst>
              <c:ext xmlns:c16="http://schemas.microsoft.com/office/drawing/2014/chart" uri="{C3380CC4-5D6E-409C-BE32-E72D297353CC}">
                <c16:uniqueId val="{00000349-96C6-461D-BFB4-D343FE548FA3}"/>
              </c:ext>
            </c:extLst>
          </c:dPt>
          <c:dPt>
            <c:idx val="420"/>
            <c:invertIfNegative val="1"/>
            <c:bubble3D val="0"/>
            <c:spPr>
              <a:solidFill>
                <a:srgbClr val="AEABAB"/>
              </a:solidFill>
            </c:spPr>
            <c:extLst>
              <c:ext xmlns:c16="http://schemas.microsoft.com/office/drawing/2014/chart" uri="{C3380CC4-5D6E-409C-BE32-E72D297353CC}">
                <c16:uniqueId val="{0000034B-96C6-461D-BFB4-D343FE548FA3}"/>
              </c:ext>
            </c:extLst>
          </c:dPt>
          <c:dPt>
            <c:idx val="421"/>
            <c:invertIfNegative val="1"/>
            <c:bubble3D val="0"/>
            <c:spPr>
              <a:solidFill>
                <a:srgbClr val="AEABAB"/>
              </a:solidFill>
            </c:spPr>
            <c:extLst>
              <c:ext xmlns:c16="http://schemas.microsoft.com/office/drawing/2014/chart" uri="{C3380CC4-5D6E-409C-BE32-E72D297353CC}">
                <c16:uniqueId val="{0000034D-96C6-461D-BFB4-D343FE548FA3}"/>
              </c:ext>
            </c:extLst>
          </c:dPt>
          <c:dPt>
            <c:idx val="422"/>
            <c:invertIfNegative val="1"/>
            <c:bubble3D val="0"/>
            <c:spPr>
              <a:solidFill>
                <a:srgbClr val="AEABAB"/>
              </a:solidFill>
            </c:spPr>
            <c:extLst>
              <c:ext xmlns:c16="http://schemas.microsoft.com/office/drawing/2014/chart" uri="{C3380CC4-5D6E-409C-BE32-E72D297353CC}">
                <c16:uniqueId val="{0000034F-96C6-461D-BFB4-D343FE548FA3}"/>
              </c:ext>
            </c:extLst>
          </c:dPt>
          <c:dPt>
            <c:idx val="423"/>
            <c:invertIfNegative val="1"/>
            <c:bubble3D val="0"/>
            <c:spPr>
              <a:solidFill>
                <a:srgbClr val="AEABAB"/>
              </a:solidFill>
            </c:spPr>
            <c:extLst>
              <c:ext xmlns:c16="http://schemas.microsoft.com/office/drawing/2014/chart" uri="{C3380CC4-5D6E-409C-BE32-E72D297353CC}">
                <c16:uniqueId val="{00000351-96C6-461D-BFB4-D343FE548FA3}"/>
              </c:ext>
            </c:extLst>
          </c:dPt>
          <c:dPt>
            <c:idx val="424"/>
            <c:invertIfNegative val="1"/>
            <c:bubble3D val="0"/>
            <c:spPr>
              <a:solidFill>
                <a:srgbClr val="AEABAB"/>
              </a:solidFill>
            </c:spPr>
            <c:extLst>
              <c:ext xmlns:c16="http://schemas.microsoft.com/office/drawing/2014/chart" uri="{C3380CC4-5D6E-409C-BE32-E72D297353CC}">
                <c16:uniqueId val="{00000353-96C6-461D-BFB4-D343FE548FA3}"/>
              </c:ext>
            </c:extLst>
          </c:dPt>
          <c:dPt>
            <c:idx val="425"/>
            <c:invertIfNegative val="1"/>
            <c:bubble3D val="0"/>
            <c:spPr>
              <a:solidFill>
                <a:srgbClr val="AEABAB"/>
              </a:solidFill>
            </c:spPr>
            <c:extLst>
              <c:ext xmlns:c16="http://schemas.microsoft.com/office/drawing/2014/chart" uri="{C3380CC4-5D6E-409C-BE32-E72D297353CC}">
                <c16:uniqueId val="{00000355-96C6-461D-BFB4-D343FE548FA3}"/>
              </c:ext>
            </c:extLst>
          </c:dPt>
          <c:dPt>
            <c:idx val="426"/>
            <c:invertIfNegative val="1"/>
            <c:bubble3D val="0"/>
            <c:spPr>
              <a:solidFill>
                <a:srgbClr val="AEABAB"/>
              </a:solidFill>
            </c:spPr>
            <c:extLst>
              <c:ext xmlns:c16="http://schemas.microsoft.com/office/drawing/2014/chart" uri="{C3380CC4-5D6E-409C-BE32-E72D297353CC}">
                <c16:uniqueId val="{00000357-96C6-461D-BFB4-D343FE548FA3}"/>
              </c:ext>
            </c:extLst>
          </c:dPt>
          <c:dPt>
            <c:idx val="427"/>
            <c:invertIfNegative val="1"/>
            <c:bubble3D val="0"/>
            <c:spPr>
              <a:solidFill>
                <a:srgbClr val="AEABAB"/>
              </a:solidFill>
            </c:spPr>
            <c:extLst>
              <c:ext xmlns:c16="http://schemas.microsoft.com/office/drawing/2014/chart" uri="{C3380CC4-5D6E-409C-BE32-E72D297353CC}">
                <c16:uniqueId val="{00000359-96C6-461D-BFB4-D343FE548FA3}"/>
              </c:ext>
            </c:extLst>
          </c:dPt>
          <c:dPt>
            <c:idx val="428"/>
            <c:invertIfNegative val="1"/>
            <c:bubble3D val="0"/>
            <c:spPr>
              <a:solidFill>
                <a:srgbClr val="AEABAB"/>
              </a:solidFill>
            </c:spPr>
            <c:extLst>
              <c:ext xmlns:c16="http://schemas.microsoft.com/office/drawing/2014/chart" uri="{C3380CC4-5D6E-409C-BE32-E72D297353CC}">
                <c16:uniqueId val="{0000035B-96C6-461D-BFB4-D343FE548FA3}"/>
              </c:ext>
            </c:extLst>
          </c:dPt>
          <c:dPt>
            <c:idx val="429"/>
            <c:invertIfNegative val="1"/>
            <c:bubble3D val="0"/>
            <c:spPr>
              <a:solidFill>
                <a:srgbClr val="AEABAB"/>
              </a:solidFill>
            </c:spPr>
            <c:extLst>
              <c:ext xmlns:c16="http://schemas.microsoft.com/office/drawing/2014/chart" uri="{C3380CC4-5D6E-409C-BE32-E72D297353CC}">
                <c16:uniqueId val="{0000035D-96C6-461D-BFB4-D343FE548FA3}"/>
              </c:ext>
            </c:extLst>
          </c:dPt>
          <c:dPt>
            <c:idx val="430"/>
            <c:invertIfNegative val="1"/>
            <c:bubble3D val="0"/>
            <c:spPr>
              <a:solidFill>
                <a:srgbClr val="AEABAB"/>
              </a:solidFill>
            </c:spPr>
            <c:extLst>
              <c:ext xmlns:c16="http://schemas.microsoft.com/office/drawing/2014/chart" uri="{C3380CC4-5D6E-409C-BE32-E72D297353CC}">
                <c16:uniqueId val="{0000035F-96C6-461D-BFB4-D343FE548FA3}"/>
              </c:ext>
            </c:extLst>
          </c:dPt>
          <c:dPt>
            <c:idx val="431"/>
            <c:invertIfNegative val="1"/>
            <c:bubble3D val="0"/>
            <c:spPr>
              <a:solidFill>
                <a:srgbClr val="AEABAB"/>
              </a:solidFill>
            </c:spPr>
            <c:extLst>
              <c:ext xmlns:c16="http://schemas.microsoft.com/office/drawing/2014/chart" uri="{C3380CC4-5D6E-409C-BE32-E72D297353CC}">
                <c16:uniqueId val="{00000361-96C6-461D-BFB4-D343FE548FA3}"/>
              </c:ext>
            </c:extLst>
          </c:dPt>
          <c:dPt>
            <c:idx val="432"/>
            <c:invertIfNegative val="1"/>
            <c:bubble3D val="0"/>
            <c:spPr>
              <a:solidFill>
                <a:srgbClr val="AEABAB"/>
              </a:solidFill>
            </c:spPr>
            <c:extLst>
              <c:ext xmlns:c16="http://schemas.microsoft.com/office/drawing/2014/chart" uri="{C3380CC4-5D6E-409C-BE32-E72D297353CC}">
                <c16:uniqueId val="{00000363-96C6-461D-BFB4-D343FE548FA3}"/>
              </c:ext>
            </c:extLst>
          </c:dPt>
          <c:dPt>
            <c:idx val="433"/>
            <c:invertIfNegative val="1"/>
            <c:bubble3D val="0"/>
            <c:spPr>
              <a:solidFill>
                <a:srgbClr val="AEABAB"/>
              </a:solidFill>
            </c:spPr>
            <c:extLst>
              <c:ext xmlns:c16="http://schemas.microsoft.com/office/drawing/2014/chart" uri="{C3380CC4-5D6E-409C-BE32-E72D297353CC}">
                <c16:uniqueId val="{00000365-96C6-461D-BFB4-D343FE548FA3}"/>
              </c:ext>
            </c:extLst>
          </c:dPt>
          <c:dPt>
            <c:idx val="434"/>
            <c:invertIfNegative val="1"/>
            <c:bubble3D val="0"/>
            <c:spPr>
              <a:solidFill>
                <a:srgbClr val="AEABAB"/>
              </a:solidFill>
            </c:spPr>
            <c:extLst>
              <c:ext xmlns:c16="http://schemas.microsoft.com/office/drawing/2014/chart" uri="{C3380CC4-5D6E-409C-BE32-E72D297353CC}">
                <c16:uniqueId val="{00000367-96C6-461D-BFB4-D343FE548FA3}"/>
              </c:ext>
            </c:extLst>
          </c:dPt>
          <c:dPt>
            <c:idx val="435"/>
            <c:invertIfNegative val="1"/>
            <c:bubble3D val="0"/>
            <c:spPr>
              <a:solidFill>
                <a:srgbClr val="AEABAB"/>
              </a:solidFill>
            </c:spPr>
            <c:extLst>
              <c:ext xmlns:c16="http://schemas.microsoft.com/office/drawing/2014/chart" uri="{C3380CC4-5D6E-409C-BE32-E72D297353CC}">
                <c16:uniqueId val="{00000369-96C6-461D-BFB4-D343FE548FA3}"/>
              </c:ext>
            </c:extLst>
          </c:dPt>
          <c:dPt>
            <c:idx val="436"/>
            <c:invertIfNegative val="1"/>
            <c:bubble3D val="0"/>
            <c:spPr>
              <a:solidFill>
                <a:srgbClr val="AEABAB"/>
              </a:solidFill>
            </c:spPr>
            <c:extLst>
              <c:ext xmlns:c16="http://schemas.microsoft.com/office/drawing/2014/chart" uri="{C3380CC4-5D6E-409C-BE32-E72D297353CC}">
                <c16:uniqueId val="{0000036B-96C6-461D-BFB4-D343FE548FA3}"/>
              </c:ext>
            </c:extLst>
          </c:dPt>
          <c:dPt>
            <c:idx val="437"/>
            <c:invertIfNegative val="1"/>
            <c:bubble3D val="0"/>
            <c:spPr>
              <a:solidFill>
                <a:srgbClr val="AEABAB"/>
              </a:solidFill>
            </c:spPr>
            <c:extLst>
              <c:ext xmlns:c16="http://schemas.microsoft.com/office/drawing/2014/chart" uri="{C3380CC4-5D6E-409C-BE32-E72D297353CC}">
                <c16:uniqueId val="{0000036D-96C6-461D-BFB4-D343FE548FA3}"/>
              </c:ext>
            </c:extLst>
          </c:dPt>
          <c:dPt>
            <c:idx val="438"/>
            <c:invertIfNegative val="1"/>
            <c:bubble3D val="0"/>
            <c:spPr>
              <a:solidFill>
                <a:srgbClr val="AEABAB"/>
              </a:solidFill>
            </c:spPr>
            <c:extLst>
              <c:ext xmlns:c16="http://schemas.microsoft.com/office/drawing/2014/chart" uri="{C3380CC4-5D6E-409C-BE32-E72D297353CC}">
                <c16:uniqueId val="{0000036F-96C6-461D-BFB4-D343FE548FA3}"/>
              </c:ext>
            </c:extLst>
          </c:dPt>
          <c:dPt>
            <c:idx val="439"/>
            <c:invertIfNegative val="1"/>
            <c:bubble3D val="0"/>
            <c:spPr>
              <a:solidFill>
                <a:srgbClr val="AEABAB"/>
              </a:solidFill>
            </c:spPr>
            <c:extLst>
              <c:ext xmlns:c16="http://schemas.microsoft.com/office/drawing/2014/chart" uri="{C3380CC4-5D6E-409C-BE32-E72D297353CC}">
                <c16:uniqueId val="{00000371-96C6-461D-BFB4-D343FE548FA3}"/>
              </c:ext>
            </c:extLst>
          </c:dPt>
          <c:dPt>
            <c:idx val="440"/>
            <c:invertIfNegative val="1"/>
            <c:bubble3D val="0"/>
            <c:spPr>
              <a:solidFill>
                <a:srgbClr val="AEABAB"/>
              </a:solidFill>
            </c:spPr>
            <c:extLst>
              <c:ext xmlns:c16="http://schemas.microsoft.com/office/drawing/2014/chart" uri="{C3380CC4-5D6E-409C-BE32-E72D297353CC}">
                <c16:uniqueId val="{00000373-96C6-461D-BFB4-D343FE548FA3}"/>
              </c:ext>
            </c:extLst>
          </c:dPt>
          <c:dPt>
            <c:idx val="441"/>
            <c:invertIfNegative val="1"/>
            <c:bubble3D val="0"/>
            <c:spPr>
              <a:solidFill>
                <a:srgbClr val="AEABAB"/>
              </a:solidFill>
            </c:spPr>
            <c:extLst>
              <c:ext xmlns:c16="http://schemas.microsoft.com/office/drawing/2014/chart" uri="{C3380CC4-5D6E-409C-BE32-E72D297353CC}">
                <c16:uniqueId val="{00000375-96C6-461D-BFB4-D343FE548FA3}"/>
              </c:ext>
            </c:extLst>
          </c:dPt>
          <c:dPt>
            <c:idx val="442"/>
            <c:invertIfNegative val="1"/>
            <c:bubble3D val="0"/>
            <c:spPr>
              <a:solidFill>
                <a:srgbClr val="AEABAB"/>
              </a:solidFill>
            </c:spPr>
            <c:extLst>
              <c:ext xmlns:c16="http://schemas.microsoft.com/office/drawing/2014/chart" uri="{C3380CC4-5D6E-409C-BE32-E72D297353CC}">
                <c16:uniqueId val="{00000377-96C6-461D-BFB4-D343FE548FA3}"/>
              </c:ext>
            </c:extLst>
          </c:dPt>
          <c:dPt>
            <c:idx val="443"/>
            <c:invertIfNegative val="1"/>
            <c:bubble3D val="0"/>
            <c:spPr>
              <a:solidFill>
                <a:srgbClr val="AEABAB"/>
              </a:solidFill>
            </c:spPr>
            <c:extLst>
              <c:ext xmlns:c16="http://schemas.microsoft.com/office/drawing/2014/chart" uri="{C3380CC4-5D6E-409C-BE32-E72D297353CC}">
                <c16:uniqueId val="{00000379-96C6-461D-BFB4-D343FE548FA3}"/>
              </c:ext>
            </c:extLst>
          </c:dPt>
          <c:dPt>
            <c:idx val="444"/>
            <c:invertIfNegative val="1"/>
            <c:bubble3D val="0"/>
            <c:spPr>
              <a:solidFill>
                <a:srgbClr val="AEABAB"/>
              </a:solidFill>
            </c:spPr>
            <c:extLst>
              <c:ext xmlns:c16="http://schemas.microsoft.com/office/drawing/2014/chart" uri="{C3380CC4-5D6E-409C-BE32-E72D297353CC}">
                <c16:uniqueId val="{0000037B-96C6-461D-BFB4-D343FE548FA3}"/>
              </c:ext>
            </c:extLst>
          </c:dPt>
          <c:dPt>
            <c:idx val="445"/>
            <c:invertIfNegative val="1"/>
            <c:bubble3D val="0"/>
            <c:spPr>
              <a:solidFill>
                <a:srgbClr val="AEABAB"/>
              </a:solidFill>
            </c:spPr>
            <c:extLst>
              <c:ext xmlns:c16="http://schemas.microsoft.com/office/drawing/2014/chart" uri="{C3380CC4-5D6E-409C-BE32-E72D297353CC}">
                <c16:uniqueId val="{0000037D-96C6-461D-BFB4-D343FE548FA3}"/>
              </c:ext>
            </c:extLst>
          </c:dPt>
          <c:dPt>
            <c:idx val="446"/>
            <c:invertIfNegative val="1"/>
            <c:bubble3D val="0"/>
            <c:spPr>
              <a:solidFill>
                <a:srgbClr val="AEABAB"/>
              </a:solidFill>
            </c:spPr>
            <c:extLst>
              <c:ext xmlns:c16="http://schemas.microsoft.com/office/drawing/2014/chart" uri="{C3380CC4-5D6E-409C-BE32-E72D297353CC}">
                <c16:uniqueId val="{0000037F-96C6-461D-BFB4-D343FE548FA3}"/>
              </c:ext>
            </c:extLst>
          </c:dPt>
          <c:dPt>
            <c:idx val="447"/>
            <c:invertIfNegative val="1"/>
            <c:bubble3D val="0"/>
            <c:spPr>
              <a:solidFill>
                <a:srgbClr val="AEABAB"/>
              </a:solidFill>
            </c:spPr>
            <c:extLst>
              <c:ext xmlns:c16="http://schemas.microsoft.com/office/drawing/2014/chart" uri="{C3380CC4-5D6E-409C-BE32-E72D297353CC}">
                <c16:uniqueId val="{00000381-96C6-461D-BFB4-D343FE548FA3}"/>
              </c:ext>
            </c:extLst>
          </c:dPt>
          <c:dPt>
            <c:idx val="448"/>
            <c:invertIfNegative val="1"/>
            <c:bubble3D val="0"/>
            <c:spPr>
              <a:solidFill>
                <a:srgbClr val="AEABAB"/>
              </a:solidFill>
            </c:spPr>
            <c:extLst>
              <c:ext xmlns:c16="http://schemas.microsoft.com/office/drawing/2014/chart" uri="{C3380CC4-5D6E-409C-BE32-E72D297353CC}">
                <c16:uniqueId val="{00000383-96C6-461D-BFB4-D343FE548FA3}"/>
              </c:ext>
            </c:extLst>
          </c:dPt>
          <c:dPt>
            <c:idx val="449"/>
            <c:invertIfNegative val="1"/>
            <c:bubble3D val="0"/>
            <c:spPr>
              <a:solidFill>
                <a:srgbClr val="AEABAB"/>
              </a:solidFill>
            </c:spPr>
            <c:extLst>
              <c:ext xmlns:c16="http://schemas.microsoft.com/office/drawing/2014/chart" uri="{C3380CC4-5D6E-409C-BE32-E72D297353CC}">
                <c16:uniqueId val="{00000385-96C6-461D-BFB4-D343FE548FA3}"/>
              </c:ext>
            </c:extLst>
          </c:dPt>
          <c:dPt>
            <c:idx val="450"/>
            <c:invertIfNegative val="1"/>
            <c:bubble3D val="0"/>
            <c:spPr>
              <a:solidFill>
                <a:srgbClr val="AEABAB"/>
              </a:solidFill>
            </c:spPr>
            <c:extLst>
              <c:ext xmlns:c16="http://schemas.microsoft.com/office/drawing/2014/chart" uri="{C3380CC4-5D6E-409C-BE32-E72D297353CC}">
                <c16:uniqueId val="{00000387-96C6-461D-BFB4-D343FE548FA3}"/>
              </c:ext>
            </c:extLst>
          </c:dPt>
          <c:dPt>
            <c:idx val="451"/>
            <c:invertIfNegative val="1"/>
            <c:bubble3D val="0"/>
            <c:spPr>
              <a:solidFill>
                <a:srgbClr val="AEABAB"/>
              </a:solidFill>
            </c:spPr>
            <c:extLst>
              <c:ext xmlns:c16="http://schemas.microsoft.com/office/drawing/2014/chart" uri="{C3380CC4-5D6E-409C-BE32-E72D297353CC}">
                <c16:uniqueId val="{00000389-96C6-461D-BFB4-D343FE548FA3}"/>
              </c:ext>
            </c:extLst>
          </c:dPt>
          <c:dPt>
            <c:idx val="452"/>
            <c:invertIfNegative val="1"/>
            <c:bubble3D val="0"/>
            <c:spPr>
              <a:solidFill>
                <a:srgbClr val="AEABAB"/>
              </a:solidFill>
            </c:spPr>
            <c:extLst>
              <c:ext xmlns:c16="http://schemas.microsoft.com/office/drawing/2014/chart" uri="{C3380CC4-5D6E-409C-BE32-E72D297353CC}">
                <c16:uniqueId val="{0000038B-96C6-461D-BFB4-D343FE548FA3}"/>
              </c:ext>
            </c:extLst>
          </c:dPt>
          <c:dPt>
            <c:idx val="453"/>
            <c:invertIfNegative val="1"/>
            <c:bubble3D val="0"/>
            <c:spPr>
              <a:solidFill>
                <a:srgbClr val="AEABAB"/>
              </a:solidFill>
            </c:spPr>
            <c:extLst>
              <c:ext xmlns:c16="http://schemas.microsoft.com/office/drawing/2014/chart" uri="{C3380CC4-5D6E-409C-BE32-E72D297353CC}">
                <c16:uniqueId val="{0000038D-96C6-461D-BFB4-D343FE548FA3}"/>
              </c:ext>
            </c:extLst>
          </c:dPt>
          <c:dPt>
            <c:idx val="454"/>
            <c:invertIfNegative val="1"/>
            <c:bubble3D val="0"/>
            <c:spPr>
              <a:solidFill>
                <a:srgbClr val="AEABAB"/>
              </a:solidFill>
            </c:spPr>
            <c:extLst>
              <c:ext xmlns:c16="http://schemas.microsoft.com/office/drawing/2014/chart" uri="{C3380CC4-5D6E-409C-BE32-E72D297353CC}">
                <c16:uniqueId val="{0000038F-96C6-461D-BFB4-D343FE548FA3}"/>
              </c:ext>
            </c:extLst>
          </c:dPt>
          <c:dPt>
            <c:idx val="455"/>
            <c:invertIfNegative val="1"/>
            <c:bubble3D val="0"/>
            <c:spPr>
              <a:solidFill>
                <a:srgbClr val="AEABAB"/>
              </a:solidFill>
            </c:spPr>
            <c:extLst>
              <c:ext xmlns:c16="http://schemas.microsoft.com/office/drawing/2014/chart" uri="{C3380CC4-5D6E-409C-BE32-E72D297353CC}">
                <c16:uniqueId val="{00000391-96C6-461D-BFB4-D343FE548FA3}"/>
              </c:ext>
            </c:extLst>
          </c:dPt>
          <c:dPt>
            <c:idx val="456"/>
            <c:invertIfNegative val="1"/>
            <c:bubble3D val="0"/>
            <c:spPr>
              <a:solidFill>
                <a:srgbClr val="AEABAB"/>
              </a:solidFill>
            </c:spPr>
            <c:extLst>
              <c:ext xmlns:c16="http://schemas.microsoft.com/office/drawing/2014/chart" uri="{C3380CC4-5D6E-409C-BE32-E72D297353CC}">
                <c16:uniqueId val="{00000393-96C6-461D-BFB4-D343FE548FA3}"/>
              </c:ext>
            </c:extLst>
          </c:dPt>
          <c:dPt>
            <c:idx val="457"/>
            <c:invertIfNegative val="1"/>
            <c:bubble3D val="0"/>
            <c:spPr>
              <a:solidFill>
                <a:srgbClr val="AEABAB"/>
              </a:solidFill>
            </c:spPr>
            <c:extLst>
              <c:ext xmlns:c16="http://schemas.microsoft.com/office/drawing/2014/chart" uri="{C3380CC4-5D6E-409C-BE32-E72D297353CC}">
                <c16:uniqueId val="{00000395-96C6-461D-BFB4-D343FE548FA3}"/>
              </c:ext>
            </c:extLst>
          </c:dPt>
          <c:dPt>
            <c:idx val="458"/>
            <c:invertIfNegative val="1"/>
            <c:bubble3D val="0"/>
            <c:spPr>
              <a:solidFill>
                <a:srgbClr val="AEABAB"/>
              </a:solidFill>
            </c:spPr>
            <c:extLst>
              <c:ext xmlns:c16="http://schemas.microsoft.com/office/drawing/2014/chart" uri="{C3380CC4-5D6E-409C-BE32-E72D297353CC}">
                <c16:uniqueId val="{00000397-96C6-461D-BFB4-D343FE548FA3}"/>
              </c:ext>
            </c:extLst>
          </c:dPt>
          <c:dPt>
            <c:idx val="459"/>
            <c:invertIfNegative val="1"/>
            <c:bubble3D val="0"/>
            <c:spPr>
              <a:solidFill>
                <a:srgbClr val="AEABAB"/>
              </a:solidFill>
            </c:spPr>
            <c:extLst>
              <c:ext xmlns:c16="http://schemas.microsoft.com/office/drawing/2014/chart" uri="{C3380CC4-5D6E-409C-BE32-E72D297353CC}">
                <c16:uniqueId val="{00000399-96C6-461D-BFB4-D343FE548FA3}"/>
              </c:ext>
            </c:extLst>
          </c:dPt>
          <c:dPt>
            <c:idx val="460"/>
            <c:invertIfNegative val="1"/>
            <c:bubble3D val="0"/>
            <c:spPr>
              <a:solidFill>
                <a:srgbClr val="AEABAB"/>
              </a:solidFill>
            </c:spPr>
            <c:extLst>
              <c:ext xmlns:c16="http://schemas.microsoft.com/office/drawing/2014/chart" uri="{C3380CC4-5D6E-409C-BE32-E72D297353CC}">
                <c16:uniqueId val="{0000039B-96C6-461D-BFB4-D343FE548FA3}"/>
              </c:ext>
            </c:extLst>
          </c:dPt>
          <c:dPt>
            <c:idx val="461"/>
            <c:invertIfNegative val="1"/>
            <c:bubble3D val="0"/>
            <c:spPr>
              <a:solidFill>
                <a:srgbClr val="AEABAB"/>
              </a:solidFill>
            </c:spPr>
            <c:extLst>
              <c:ext xmlns:c16="http://schemas.microsoft.com/office/drawing/2014/chart" uri="{C3380CC4-5D6E-409C-BE32-E72D297353CC}">
                <c16:uniqueId val="{0000039D-96C6-461D-BFB4-D343FE548FA3}"/>
              </c:ext>
            </c:extLst>
          </c:dPt>
          <c:dPt>
            <c:idx val="462"/>
            <c:invertIfNegative val="1"/>
            <c:bubble3D val="0"/>
            <c:spPr>
              <a:solidFill>
                <a:srgbClr val="AEABAB"/>
              </a:solidFill>
            </c:spPr>
            <c:extLst>
              <c:ext xmlns:c16="http://schemas.microsoft.com/office/drawing/2014/chart" uri="{C3380CC4-5D6E-409C-BE32-E72D297353CC}">
                <c16:uniqueId val="{0000039F-96C6-461D-BFB4-D343FE548FA3}"/>
              </c:ext>
            </c:extLst>
          </c:dPt>
          <c:dPt>
            <c:idx val="463"/>
            <c:invertIfNegative val="1"/>
            <c:bubble3D val="0"/>
            <c:spPr>
              <a:solidFill>
                <a:srgbClr val="AEABAB"/>
              </a:solidFill>
            </c:spPr>
            <c:extLst>
              <c:ext xmlns:c16="http://schemas.microsoft.com/office/drawing/2014/chart" uri="{C3380CC4-5D6E-409C-BE32-E72D297353CC}">
                <c16:uniqueId val="{000003A1-96C6-461D-BFB4-D343FE548FA3}"/>
              </c:ext>
            </c:extLst>
          </c:dPt>
          <c:dPt>
            <c:idx val="464"/>
            <c:invertIfNegative val="1"/>
            <c:bubble3D val="0"/>
            <c:spPr>
              <a:solidFill>
                <a:srgbClr val="AEABAB"/>
              </a:solidFill>
            </c:spPr>
            <c:extLst>
              <c:ext xmlns:c16="http://schemas.microsoft.com/office/drawing/2014/chart" uri="{C3380CC4-5D6E-409C-BE32-E72D297353CC}">
                <c16:uniqueId val="{000003A3-96C6-461D-BFB4-D343FE548FA3}"/>
              </c:ext>
            </c:extLst>
          </c:dPt>
          <c:dPt>
            <c:idx val="465"/>
            <c:invertIfNegative val="1"/>
            <c:bubble3D val="0"/>
            <c:spPr>
              <a:solidFill>
                <a:srgbClr val="AEABAB"/>
              </a:solidFill>
            </c:spPr>
            <c:extLst>
              <c:ext xmlns:c16="http://schemas.microsoft.com/office/drawing/2014/chart" uri="{C3380CC4-5D6E-409C-BE32-E72D297353CC}">
                <c16:uniqueId val="{000003A5-96C6-461D-BFB4-D343FE548FA3}"/>
              </c:ext>
            </c:extLst>
          </c:dPt>
          <c:dPt>
            <c:idx val="466"/>
            <c:invertIfNegative val="1"/>
            <c:bubble3D val="0"/>
            <c:spPr>
              <a:solidFill>
                <a:srgbClr val="AEABAB"/>
              </a:solidFill>
            </c:spPr>
            <c:extLst>
              <c:ext xmlns:c16="http://schemas.microsoft.com/office/drawing/2014/chart" uri="{C3380CC4-5D6E-409C-BE32-E72D297353CC}">
                <c16:uniqueId val="{000003A7-96C6-461D-BFB4-D343FE548FA3}"/>
              </c:ext>
            </c:extLst>
          </c:dPt>
          <c:dPt>
            <c:idx val="467"/>
            <c:invertIfNegative val="1"/>
            <c:bubble3D val="0"/>
            <c:spPr>
              <a:solidFill>
                <a:srgbClr val="AEABAB"/>
              </a:solidFill>
            </c:spPr>
            <c:extLst>
              <c:ext xmlns:c16="http://schemas.microsoft.com/office/drawing/2014/chart" uri="{C3380CC4-5D6E-409C-BE32-E72D297353CC}">
                <c16:uniqueId val="{000003A9-96C6-461D-BFB4-D343FE548FA3}"/>
              </c:ext>
            </c:extLst>
          </c:dPt>
          <c:dPt>
            <c:idx val="468"/>
            <c:invertIfNegative val="1"/>
            <c:bubble3D val="0"/>
            <c:spPr>
              <a:solidFill>
                <a:srgbClr val="AEABAB"/>
              </a:solidFill>
            </c:spPr>
            <c:extLst>
              <c:ext xmlns:c16="http://schemas.microsoft.com/office/drawing/2014/chart" uri="{C3380CC4-5D6E-409C-BE32-E72D297353CC}">
                <c16:uniqueId val="{000003AB-96C6-461D-BFB4-D343FE548FA3}"/>
              </c:ext>
            </c:extLst>
          </c:dPt>
          <c:dPt>
            <c:idx val="469"/>
            <c:invertIfNegative val="1"/>
            <c:bubble3D val="0"/>
            <c:spPr>
              <a:solidFill>
                <a:srgbClr val="AEABAB"/>
              </a:solidFill>
            </c:spPr>
            <c:extLst>
              <c:ext xmlns:c16="http://schemas.microsoft.com/office/drawing/2014/chart" uri="{C3380CC4-5D6E-409C-BE32-E72D297353CC}">
                <c16:uniqueId val="{000003AD-96C6-461D-BFB4-D343FE548FA3}"/>
              </c:ext>
            </c:extLst>
          </c:dPt>
          <c:dPt>
            <c:idx val="470"/>
            <c:invertIfNegative val="1"/>
            <c:bubble3D val="0"/>
            <c:spPr>
              <a:solidFill>
                <a:srgbClr val="AEABAB"/>
              </a:solidFill>
            </c:spPr>
            <c:extLst>
              <c:ext xmlns:c16="http://schemas.microsoft.com/office/drawing/2014/chart" uri="{C3380CC4-5D6E-409C-BE32-E72D297353CC}">
                <c16:uniqueId val="{000003AF-96C6-461D-BFB4-D343FE548FA3}"/>
              </c:ext>
            </c:extLst>
          </c:dPt>
          <c:dPt>
            <c:idx val="471"/>
            <c:invertIfNegative val="1"/>
            <c:bubble3D val="0"/>
            <c:spPr>
              <a:solidFill>
                <a:srgbClr val="AEABAB"/>
              </a:solidFill>
            </c:spPr>
            <c:extLst>
              <c:ext xmlns:c16="http://schemas.microsoft.com/office/drawing/2014/chart" uri="{C3380CC4-5D6E-409C-BE32-E72D297353CC}">
                <c16:uniqueId val="{000003B1-96C6-461D-BFB4-D343FE548FA3}"/>
              </c:ext>
            </c:extLst>
          </c:dPt>
          <c:dPt>
            <c:idx val="472"/>
            <c:invertIfNegative val="1"/>
            <c:bubble3D val="0"/>
            <c:spPr>
              <a:solidFill>
                <a:srgbClr val="AEABAB"/>
              </a:solidFill>
            </c:spPr>
            <c:extLst>
              <c:ext xmlns:c16="http://schemas.microsoft.com/office/drawing/2014/chart" uri="{C3380CC4-5D6E-409C-BE32-E72D297353CC}">
                <c16:uniqueId val="{000003B3-96C6-461D-BFB4-D343FE548FA3}"/>
              </c:ext>
            </c:extLst>
          </c:dPt>
          <c:dPt>
            <c:idx val="473"/>
            <c:invertIfNegative val="1"/>
            <c:bubble3D val="0"/>
            <c:spPr>
              <a:solidFill>
                <a:srgbClr val="AEABAB"/>
              </a:solidFill>
            </c:spPr>
            <c:extLst>
              <c:ext xmlns:c16="http://schemas.microsoft.com/office/drawing/2014/chart" uri="{C3380CC4-5D6E-409C-BE32-E72D297353CC}">
                <c16:uniqueId val="{000003B5-96C6-461D-BFB4-D343FE548FA3}"/>
              </c:ext>
            </c:extLst>
          </c:dPt>
          <c:dPt>
            <c:idx val="474"/>
            <c:invertIfNegative val="1"/>
            <c:bubble3D val="0"/>
            <c:spPr>
              <a:solidFill>
                <a:srgbClr val="AEABAB"/>
              </a:solidFill>
            </c:spPr>
            <c:extLst>
              <c:ext xmlns:c16="http://schemas.microsoft.com/office/drawing/2014/chart" uri="{C3380CC4-5D6E-409C-BE32-E72D297353CC}">
                <c16:uniqueId val="{000003B7-96C6-461D-BFB4-D343FE548FA3}"/>
              </c:ext>
            </c:extLst>
          </c:dPt>
          <c:dPt>
            <c:idx val="475"/>
            <c:invertIfNegative val="1"/>
            <c:bubble3D val="0"/>
            <c:spPr>
              <a:solidFill>
                <a:srgbClr val="AEABAB"/>
              </a:solidFill>
            </c:spPr>
            <c:extLst>
              <c:ext xmlns:c16="http://schemas.microsoft.com/office/drawing/2014/chart" uri="{C3380CC4-5D6E-409C-BE32-E72D297353CC}">
                <c16:uniqueId val="{000003B9-96C6-461D-BFB4-D343FE548FA3}"/>
              </c:ext>
            </c:extLst>
          </c:dPt>
          <c:dPt>
            <c:idx val="476"/>
            <c:invertIfNegative val="1"/>
            <c:bubble3D val="0"/>
            <c:spPr>
              <a:solidFill>
                <a:srgbClr val="AEABAB"/>
              </a:solidFill>
            </c:spPr>
            <c:extLst>
              <c:ext xmlns:c16="http://schemas.microsoft.com/office/drawing/2014/chart" uri="{C3380CC4-5D6E-409C-BE32-E72D297353CC}">
                <c16:uniqueId val="{000003BB-96C6-461D-BFB4-D343FE548FA3}"/>
              </c:ext>
            </c:extLst>
          </c:dPt>
          <c:dPt>
            <c:idx val="477"/>
            <c:invertIfNegative val="1"/>
            <c:bubble3D val="0"/>
            <c:spPr>
              <a:solidFill>
                <a:srgbClr val="AEABAB"/>
              </a:solidFill>
            </c:spPr>
            <c:extLst>
              <c:ext xmlns:c16="http://schemas.microsoft.com/office/drawing/2014/chart" uri="{C3380CC4-5D6E-409C-BE32-E72D297353CC}">
                <c16:uniqueId val="{000003BD-96C6-461D-BFB4-D343FE548FA3}"/>
              </c:ext>
            </c:extLst>
          </c:dPt>
          <c:dPt>
            <c:idx val="478"/>
            <c:invertIfNegative val="1"/>
            <c:bubble3D val="0"/>
            <c:spPr>
              <a:solidFill>
                <a:srgbClr val="AEABAB"/>
              </a:solidFill>
            </c:spPr>
            <c:extLst>
              <c:ext xmlns:c16="http://schemas.microsoft.com/office/drawing/2014/chart" uri="{C3380CC4-5D6E-409C-BE32-E72D297353CC}">
                <c16:uniqueId val="{000003BF-96C6-461D-BFB4-D343FE548FA3}"/>
              </c:ext>
            </c:extLst>
          </c:dPt>
          <c:dPt>
            <c:idx val="479"/>
            <c:invertIfNegative val="1"/>
            <c:bubble3D val="0"/>
            <c:spPr>
              <a:solidFill>
                <a:srgbClr val="AEABAB"/>
              </a:solidFill>
            </c:spPr>
            <c:extLst>
              <c:ext xmlns:c16="http://schemas.microsoft.com/office/drawing/2014/chart" uri="{C3380CC4-5D6E-409C-BE32-E72D297353CC}">
                <c16:uniqueId val="{000003C1-96C6-461D-BFB4-D343FE548FA3}"/>
              </c:ext>
            </c:extLst>
          </c:dPt>
          <c:dPt>
            <c:idx val="480"/>
            <c:invertIfNegative val="1"/>
            <c:bubble3D val="0"/>
            <c:spPr>
              <a:solidFill>
                <a:srgbClr val="AEABAB"/>
              </a:solidFill>
            </c:spPr>
            <c:extLst>
              <c:ext xmlns:c16="http://schemas.microsoft.com/office/drawing/2014/chart" uri="{C3380CC4-5D6E-409C-BE32-E72D297353CC}">
                <c16:uniqueId val="{000003C3-96C6-461D-BFB4-D343FE548FA3}"/>
              </c:ext>
            </c:extLst>
          </c:dPt>
          <c:dPt>
            <c:idx val="481"/>
            <c:invertIfNegative val="1"/>
            <c:bubble3D val="0"/>
            <c:spPr>
              <a:solidFill>
                <a:srgbClr val="AEABAB"/>
              </a:solidFill>
            </c:spPr>
            <c:extLst>
              <c:ext xmlns:c16="http://schemas.microsoft.com/office/drawing/2014/chart" uri="{C3380CC4-5D6E-409C-BE32-E72D297353CC}">
                <c16:uniqueId val="{000003C5-96C6-461D-BFB4-D343FE548FA3}"/>
              </c:ext>
            </c:extLst>
          </c:dPt>
          <c:dPt>
            <c:idx val="482"/>
            <c:invertIfNegative val="1"/>
            <c:bubble3D val="0"/>
            <c:spPr>
              <a:solidFill>
                <a:srgbClr val="AEABAB"/>
              </a:solidFill>
            </c:spPr>
            <c:extLst>
              <c:ext xmlns:c16="http://schemas.microsoft.com/office/drawing/2014/chart" uri="{C3380CC4-5D6E-409C-BE32-E72D297353CC}">
                <c16:uniqueId val="{000003C7-96C6-461D-BFB4-D343FE548FA3}"/>
              </c:ext>
            </c:extLst>
          </c:dPt>
          <c:dPt>
            <c:idx val="483"/>
            <c:invertIfNegative val="1"/>
            <c:bubble3D val="0"/>
            <c:spPr>
              <a:solidFill>
                <a:srgbClr val="AEABAB"/>
              </a:solidFill>
            </c:spPr>
            <c:extLst>
              <c:ext xmlns:c16="http://schemas.microsoft.com/office/drawing/2014/chart" uri="{C3380CC4-5D6E-409C-BE32-E72D297353CC}">
                <c16:uniqueId val="{000003C9-96C6-461D-BFB4-D343FE548FA3}"/>
              </c:ext>
            </c:extLst>
          </c:dPt>
          <c:dPt>
            <c:idx val="484"/>
            <c:invertIfNegative val="1"/>
            <c:bubble3D val="0"/>
            <c:spPr>
              <a:solidFill>
                <a:srgbClr val="AEABAB"/>
              </a:solidFill>
            </c:spPr>
            <c:extLst>
              <c:ext xmlns:c16="http://schemas.microsoft.com/office/drawing/2014/chart" uri="{C3380CC4-5D6E-409C-BE32-E72D297353CC}">
                <c16:uniqueId val="{000003CB-96C6-461D-BFB4-D343FE548FA3}"/>
              </c:ext>
            </c:extLst>
          </c:dPt>
          <c:dPt>
            <c:idx val="485"/>
            <c:invertIfNegative val="1"/>
            <c:bubble3D val="0"/>
            <c:spPr>
              <a:solidFill>
                <a:srgbClr val="AEABAB"/>
              </a:solidFill>
            </c:spPr>
            <c:extLst>
              <c:ext xmlns:c16="http://schemas.microsoft.com/office/drawing/2014/chart" uri="{C3380CC4-5D6E-409C-BE32-E72D297353CC}">
                <c16:uniqueId val="{000003CD-96C6-461D-BFB4-D343FE548FA3}"/>
              </c:ext>
            </c:extLst>
          </c:dPt>
          <c:dPt>
            <c:idx val="486"/>
            <c:invertIfNegative val="1"/>
            <c:bubble3D val="0"/>
            <c:spPr>
              <a:solidFill>
                <a:srgbClr val="AEABAB"/>
              </a:solidFill>
            </c:spPr>
            <c:extLst>
              <c:ext xmlns:c16="http://schemas.microsoft.com/office/drawing/2014/chart" uri="{C3380CC4-5D6E-409C-BE32-E72D297353CC}">
                <c16:uniqueId val="{000003CF-96C6-461D-BFB4-D343FE548FA3}"/>
              </c:ext>
            </c:extLst>
          </c:dPt>
          <c:dPt>
            <c:idx val="487"/>
            <c:invertIfNegative val="1"/>
            <c:bubble3D val="0"/>
            <c:spPr>
              <a:solidFill>
                <a:srgbClr val="AEABAB"/>
              </a:solidFill>
            </c:spPr>
            <c:extLst>
              <c:ext xmlns:c16="http://schemas.microsoft.com/office/drawing/2014/chart" uri="{C3380CC4-5D6E-409C-BE32-E72D297353CC}">
                <c16:uniqueId val="{000003D1-96C6-461D-BFB4-D343FE548FA3}"/>
              </c:ext>
            </c:extLst>
          </c:dPt>
          <c:dPt>
            <c:idx val="488"/>
            <c:invertIfNegative val="1"/>
            <c:bubble3D val="0"/>
            <c:spPr>
              <a:solidFill>
                <a:srgbClr val="AEABAB"/>
              </a:solidFill>
            </c:spPr>
            <c:extLst>
              <c:ext xmlns:c16="http://schemas.microsoft.com/office/drawing/2014/chart" uri="{C3380CC4-5D6E-409C-BE32-E72D297353CC}">
                <c16:uniqueId val="{000003D3-96C6-461D-BFB4-D343FE548FA3}"/>
              </c:ext>
            </c:extLst>
          </c:dPt>
          <c:dPt>
            <c:idx val="489"/>
            <c:invertIfNegative val="1"/>
            <c:bubble3D val="0"/>
            <c:spPr>
              <a:solidFill>
                <a:srgbClr val="AEABAB"/>
              </a:solidFill>
            </c:spPr>
            <c:extLst>
              <c:ext xmlns:c16="http://schemas.microsoft.com/office/drawing/2014/chart" uri="{C3380CC4-5D6E-409C-BE32-E72D297353CC}">
                <c16:uniqueId val="{000003D5-96C6-461D-BFB4-D343FE548FA3}"/>
              </c:ext>
            </c:extLst>
          </c:dPt>
          <c:dPt>
            <c:idx val="490"/>
            <c:invertIfNegative val="1"/>
            <c:bubble3D val="0"/>
            <c:spPr>
              <a:solidFill>
                <a:srgbClr val="AEABAB"/>
              </a:solidFill>
            </c:spPr>
            <c:extLst>
              <c:ext xmlns:c16="http://schemas.microsoft.com/office/drawing/2014/chart" uri="{C3380CC4-5D6E-409C-BE32-E72D297353CC}">
                <c16:uniqueId val="{000003D7-96C6-461D-BFB4-D343FE548FA3}"/>
              </c:ext>
            </c:extLst>
          </c:dPt>
          <c:dPt>
            <c:idx val="491"/>
            <c:invertIfNegative val="1"/>
            <c:bubble3D val="0"/>
            <c:spPr>
              <a:solidFill>
                <a:srgbClr val="AEABAB"/>
              </a:solidFill>
            </c:spPr>
            <c:extLst>
              <c:ext xmlns:c16="http://schemas.microsoft.com/office/drawing/2014/chart" uri="{C3380CC4-5D6E-409C-BE32-E72D297353CC}">
                <c16:uniqueId val="{000003D9-96C6-461D-BFB4-D343FE548FA3}"/>
              </c:ext>
            </c:extLst>
          </c:dPt>
          <c:dPt>
            <c:idx val="492"/>
            <c:invertIfNegative val="1"/>
            <c:bubble3D val="0"/>
            <c:spPr>
              <a:solidFill>
                <a:srgbClr val="AEABAB"/>
              </a:solidFill>
            </c:spPr>
            <c:extLst>
              <c:ext xmlns:c16="http://schemas.microsoft.com/office/drawing/2014/chart" uri="{C3380CC4-5D6E-409C-BE32-E72D297353CC}">
                <c16:uniqueId val="{000003DB-96C6-461D-BFB4-D343FE548FA3}"/>
              </c:ext>
            </c:extLst>
          </c:dPt>
          <c:dPt>
            <c:idx val="493"/>
            <c:invertIfNegative val="1"/>
            <c:bubble3D val="0"/>
            <c:spPr>
              <a:solidFill>
                <a:srgbClr val="AEABAB"/>
              </a:solidFill>
            </c:spPr>
            <c:extLst>
              <c:ext xmlns:c16="http://schemas.microsoft.com/office/drawing/2014/chart" uri="{C3380CC4-5D6E-409C-BE32-E72D297353CC}">
                <c16:uniqueId val="{000003DD-96C6-461D-BFB4-D343FE548FA3}"/>
              </c:ext>
            </c:extLst>
          </c:dPt>
          <c:dPt>
            <c:idx val="494"/>
            <c:invertIfNegative val="1"/>
            <c:bubble3D val="0"/>
            <c:spPr>
              <a:solidFill>
                <a:srgbClr val="AEABAB"/>
              </a:solidFill>
            </c:spPr>
            <c:extLst>
              <c:ext xmlns:c16="http://schemas.microsoft.com/office/drawing/2014/chart" uri="{C3380CC4-5D6E-409C-BE32-E72D297353CC}">
                <c16:uniqueId val="{000003DF-96C6-461D-BFB4-D343FE548FA3}"/>
              </c:ext>
            </c:extLst>
          </c:dPt>
          <c:dPt>
            <c:idx val="495"/>
            <c:invertIfNegative val="1"/>
            <c:bubble3D val="0"/>
            <c:spPr>
              <a:solidFill>
                <a:srgbClr val="AEABAB"/>
              </a:solidFill>
            </c:spPr>
            <c:extLst>
              <c:ext xmlns:c16="http://schemas.microsoft.com/office/drawing/2014/chart" uri="{C3380CC4-5D6E-409C-BE32-E72D297353CC}">
                <c16:uniqueId val="{000003E1-96C6-461D-BFB4-D343FE548FA3}"/>
              </c:ext>
            </c:extLst>
          </c:dPt>
          <c:dPt>
            <c:idx val="496"/>
            <c:invertIfNegative val="1"/>
            <c:bubble3D val="0"/>
            <c:spPr>
              <a:solidFill>
                <a:srgbClr val="AEABAB"/>
              </a:solidFill>
            </c:spPr>
            <c:extLst>
              <c:ext xmlns:c16="http://schemas.microsoft.com/office/drawing/2014/chart" uri="{C3380CC4-5D6E-409C-BE32-E72D297353CC}">
                <c16:uniqueId val="{000003E3-96C6-461D-BFB4-D343FE548FA3}"/>
              </c:ext>
            </c:extLst>
          </c:dPt>
          <c:dPt>
            <c:idx val="497"/>
            <c:invertIfNegative val="1"/>
            <c:bubble3D val="0"/>
            <c:spPr>
              <a:solidFill>
                <a:srgbClr val="AEABAB"/>
              </a:solidFill>
            </c:spPr>
            <c:extLst>
              <c:ext xmlns:c16="http://schemas.microsoft.com/office/drawing/2014/chart" uri="{C3380CC4-5D6E-409C-BE32-E72D297353CC}">
                <c16:uniqueId val="{000003E5-96C6-461D-BFB4-D343FE548FA3}"/>
              </c:ext>
            </c:extLst>
          </c:dPt>
          <c:dPt>
            <c:idx val="498"/>
            <c:invertIfNegative val="1"/>
            <c:bubble3D val="0"/>
            <c:spPr>
              <a:solidFill>
                <a:srgbClr val="AEABAB"/>
              </a:solidFill>
            </c:spPr>
            <c:extLst>
              <c:ext xmlns:c16="http://schemas.microsoft.com/office/drawing/2014/chart" uri="{C3380CC4-5D6E-409C-BE32-E72D297353CC}">
                <c16:uniqueId val="{000003E7-96C6-461D-BFB4-D343FE548FA3}"/>
              </c:ext>
            </c:extLst>
          </c:dPt>
          <c:dPt>
            <c:idx val="499"/>
            <c:invertIfNegative val="1"/>
            <c:bubble3D val="0"/>
            <c:spPr>
              <a:solidFill>
                <a:srgbClr val="AEABAB"/>
              </a:solidFill>
            </c:spPr>
            <c:extLst>
              <c:ext xmlns:c16="http://schemas.microsoft.com/office/drawing/2014/chart" uri="{C3380CC4-5D6E-409C-BE32-E72D297353CC}">
                <c16:uniqueId val="{000003E9-96C6-461D-BFB4-D343FE548FA3}"/>
              </c:ext>
            </c:extLst>
          </c:dPt>
          <c:dPt>
            <c:idx val="500"/>
            <c:invertIfNegative val="1"/>
            <c:bubble3D val="0"/>
            <c:spPr>
              <a:solidFill>
                <a:srgbClr val="AEABAB"/>
              </a:solidFill>
            </c:spPr>
            <c:extLst>
              <c:ext xmlns:c16="http://schemas.microsoft.com/office/drawing/2014/chart" uri="{C3380CC4-5D6E-409C-BE32-E72D297353CC}">
                <c16:uniqueId val="{000003EB-96C6-461D-BFB4-D343FE548FA3}"/>
              </c:ext>
            </c:extLst>
          </c:dPt>
          <c:dPt>
            <c:idx val="501"/>
            <c:invertIfNegative val="1"/>
            <c:bubble3D val="0"/>
            <c:spPr>
              <a:solidFill>
                <a:srgbClr val="AEABAB"/>
              </a:solidFill>
            </c:spPr>
            <c:extLst>
              <c:ext xmlns:c16="http://schemas.microsoft.com/office/drawing/2014/chart" uri="{C3380CC4-5D6E-409C-BE32-E72D297353CC}">
                <c16:uniqueId val="{000003ED-96C6-461D-BFB4-D343FE548FA3}"/>
              </c:ext>
            </c:extLst>
          </c:dPt>
          <c:dPt>
            <c:idx val="502"/>
            <c:invertIfNegative val="1"/>
            <c:bubble3D val="0"/>
            <c:spPr>
              <a:solidFill>
                <a:srgbClr val="AEABAB"/>
              </a:solidFill>
            </c:spPr>
            <c:extLst>
              <c:ext xmlns:c16="http://schemas.microsoft.com/office/drawing/2014/chart" uri="{C3380CC4-5D6E-409C-BE32-E72D297353CC}">
                <c16:uniqueId val="{000003EF-96C6-461D-BFB4-D343FE548FA3}"/>
              </c:ext>
            </c:extLst>
          </c:dPt>
          <c:dPt>
            <c:idx val="503"/>
            <c:invertIfNegative val="1"/>
            <c:bubble3D val="0"/>
            <c:spPr>
              <a:solidFill>
                <a:srgbClr val="AEABAB"/>
              </a:solidFill>
            </c:spPr>
            <c:extLst>
              <c:ext xmlns:c16="http://schemas.microsoft.com/office/drawing/2014/chart" uri="{C3380CC4-5D6E-409C-BE32-E72D297353CC}">
                <c16:uniqueId val="{000003F1-96C6-461D-BFB4-D343FE548FA3}"/>
              </c:ext>
            </c:extLst>
          </c:dPt>
          <c:dPt>
            <c:idx val="504"/>
            <c:invertIfNegative val="1"/>
            <c:bubble3D val="0"/>
            <c:spPr>
              <a:solidFill>
                <a:srgbClr val="AEABAB"/>
              </a:solidFill>
            </c:spPr>
            <c:extLst>
              <c:ext xmlns:c16="http://schemas.microsoft.com/office/drawing/2014/chart" uri="{C3380CC4-5D6E-409C-BE32-E72D297353CC}">
                <c16:uniqueId val="{000003F3-96C6-461D-BFB4-D343FE548FA3}"/>
              </c:ext>
            </c:extLst>
          </c:dPt>
          <c:dPt>
            <c:idx val="505"/>
            <c:invertIfNegative val="1"/>
            <c:bubble3D val="0"/>
            <c:spPr>
              <a:solidFill>
                <a:srgbClr val="AEABAB"/>
              </a:solidFill>
            </c:spPr>
            <c:extLst>
              <c:ext xmlns:c16="http://schemas.microsoft.com/office/drawing/2014/chart" uri="{C3380CC4-5D6E-409C-BE32-E72D297353CC}">
                <c16:uniqueId val="{000003F5-96C6-461D-BFB4-D343FE548FA3}"/>
              </c:ext>
            </c:extLst>
          </c:dPt>
          <c:cat>
            <c:strRef>
              <c:f>Sheet1!$A$2:$A$507</c:f>
              <c:strCache>
                <c:ptCount val="506"/>
                <c:pt idx="0">
                  <c:v>Caprice Des</c:v>
                </c:pt>
                <c:pt idx="1">
                  <c:v>Private Lab</c:v>
                </c:pt>
                <c:pt idx="2">
                  <c:v>Private Lab</c:v>
                </c:pt>
                <c:pt idx="3">
                  <c:v>Mini Babybe</c:v>
                </c:pt>
                <c:pt idx="4">
                  <c:v>Private Lab</c:v>
                </c:pt>
                <c:pt idx="5">
                  <c:v>President</c:v>
                </c:pt>
                <c:pt idx="6">
                  <c:v>Private Lab</c:v>
                </c:pt>
                <c:pt idx="7">
                  <c:v>Coeur De Li</c:v>
                </c:pt>
                <c:pt idx="8">
                  <c:v>Private Lab</c:v>
                </c:pt>
                <c:pt idx="9">
                  <c:v>Soignon</c:v>
                </c:pt>
                <c:pt idx="10">
                  <c:v>Galbani</c:v>
                </c:pt>
                <c:pt idx="11">
                  <c:v>Private Lab</c:v>
                </c:pt>
                <c:pt idx="12">
                  <c:v>Private Lab</c:v>
                </c:pt>
                <c:pt idx="13">
                  <c:v>Galbani</c:v>
                </c:pt>
                <c:pt idx="14">
                  <c:v>La Vache Qu</c:v>
                </c:pt>
                <c:pt idx="15">
                  <c:v>Galbani</c:v>
                </c:pt>
                <c:pt idx="16">
                  <c:v>Private Lab</c:v>
                </c:pt>
                <c:pt idx="17">
                  <c:v>Soignon</c:v>
                </c:pt>
                <c:pt idx="18">
                  <c:v>St Moret</c:v>
                </c:pt>
                <c:pt idx="19">
                  <c:v>Caprice Des</c:v>
                </c:pt>
                <c:pt idx="20">
                  <c:v>St Moret</c:v>
                </c:pt>
                <c:pt idx="21">
                  <c:v>Private Lab</c:v>
                </c:pt>
                <c:pt idx="22">
                  <c:v>President</c:v>
                </c:pt>
                <c:pt idx="23">
                  <c:v>Private Lab</c:v>
                </c:pt>
                <c:pt idx="24">
                  <c:v>Coeur De Li</c:v>
                </c:pt>
                <c:pt idx="25">
                  <c:v>Salakis</c:v>
                </c:pt>
                <c:pt idx="26">
                  <c:v>La Vache Qu</c:v>
                </c:pt>
                <c:pt idx="27">
                  <c:v>President</c:v>
                </c:pt>
                <c:pt idx="28">
                  <c:v>St Moret</c:v>
                </c:pt>
                <c:pt idx="29">
                  <c:v>Private Lab</c:v>
                </c:pt>
                <c:pt idx="30">
                  <c:v>Private Lab</c:v>
                </c:pt>
                <c:pt idx="31">
                  <c:v>La Vache Qu</c:v>
                </c:pt>
                <c:pt idx="32">
                  <c:v>All Others</c:v>
                </c:pt>
                <c:pt idx="33">
                  <c:v>All Others</c:v>
                </c:pt>
                <c:pt idx="34">
                  <c:v>Private Lab</c:v>
                </c:pt>
                <c:pt idx="35">
                  <c:v>Salakis</c:v>
                </c:pt>
                <c:pt idx="36">
                  <c:v>Le Rustique</c:v>
                </c:pt>
                <c:pt idx="37">
                  <c:v>Tartare</c:v>
                </c:pt>
                <c:pt idx="38">
                  <c:v>St Moret</c:v>
                </c:pt>
                <c:pt idx="39">
                  <c:v>Mini Babybe</c:v>
                </c:pt>
                <c:pt idx="40">
                  <c:v>Soignon</c:v>
                </c:pt>
                <c:pt idx="41">
                  <c:v>Galbani</c:v>
                </c:pt>
                <c:pt idx="42">
                  <c:v>Islos</c:v>
                </c:pt>
                <c:pt idx="43">
                  <c:v>Private Lab</c:v>
                </c:pt>
                <c:pt idx="44">
                  <c:v>Ficello</c:v>
                </c:pt>
                <c:pt idx="45">
                  <c:v>Kiri</c:v>
                </c:pt>
                <c:pt idx="46">
                  <c:v>Galbani</c:v>
                </c:pt>
                <c:pt idx="47">
                  <c:v>Kiri</c:v>
                </c:pt>
                <c:pt idx="48">
                  <c:v>Private Lab</c:v>
                </c:pt>
                <c:pt idx="49">
                  <c:v>Paysan Bret</c:v>
                </c:pt>
                <c:pt idx="50">
                  <c:v>Private Lab</c:v>
                </c:pt>
                <c:pt idx="51">
                  <c:v>Salakis</c:v>
                </c:pt>
                <c:pt idx="52">
                  <c:v>Private Lab</c:v>
                </c:pt>
                <c:pt idx="53">
                  <c:v>Private Lab</c:v>
                </c:pt>
                <c:pt idx="54">
                  <c:v>Private Lab</c:v>
                </c:pt>
                <c:pt idx="55">
                  <c:v>Casa Azzurr</c:v>
                </c:pt>
                <c:pt idx="56">
                  <c:v>Paysan Bret</c:v>
                </c:pt>
                <c:pt idx="57">
                  <c:v>Private Lab</c:v>
                </c:pt>
                <c:pt idx="58">
                  <c:v>Private Lab</c:v>
                </c:pt>
                <c:pt idx="59">
                  <c:v>Private Lab</c:v>
                </c:pt>
                <c:pt idx="60">
                  <c:v>Private Lab</c:v>
                </c:pt>
                <c:pt idx="61">
                  <c:v>Galbani</c:v>
                </c:pt>
                <c:pt idx="62">
                  <c:v>Kiri</c:v>
                </c:pt>
                <c:pt idx="63">
                  <c:v>Private Lab</c:v>
                </c:pt>
                <c:pt idx="64">
                  <c:v>St Moret</c:v>
                </c:pt>
                <c:pt idx="65">
                  <c:v>President</c:v>
                </c:pt>
                <c:pt idx="66">
                  <c:v>Boursin</c:v>
                </c:pt>
                <c:pt idx="67">
                  <c:v>Private Lab</c:v>
                </c:pt>
                <c:pt idx="68">
                  <c:v>Casa Azzurr</c:v>
                </c:pt>
                <c:pt idx="69">
                  <c:v>Coeur De Li</c:v>
                </c:pt>
                <c:pt idx="70">
                  <c:v>Istara</c:v>
                </c:pt>
                <c:pt idx="71">
                  <c:v>Salakis</c:v>
                </c:pt>
                <c:pt idx="72">
                  <c:v>All Others</c:v>
                </c:pt>
                <c:pt idx="73">
                  <c:v>All Others</c:v>
                </c:pt>
                <c:pt idx="74">
                  <c:v>Casa Azzurr</c:v>
                </c:pt>
                <c:pt idx="75">
                  <c:v>Casa Azzurr</c:v>
                </c:pt>
                <c:pt idx="76">
                  <c:v>Boursin</c:v>
                </c:pt>
                <c:pt idx="77">
                  <c:v>Carre Frais</c:v>
                </c:pt>
                <c:pt idx="78">
                  <c:v>Private Lab</c:v>
                </c:pt>
                <c:pt idx="79">
                  <c:v>St Moret</c:v>
                </c:pt>
                <c:pt idx="80">
                  <c:v>Carre Frais</c:v>
                </c:pt>
                <c:pt idx="81">
                  <c:v>Kiri</c:v>
                </c:pt>
                <c:pt idx="82">
                  <c:v>Coeur De Li</c:v>
                </c:pt>
                <c:pt idx="83">
                  <c:v>Lepetit</c:v>
                </c:pt>
                <c:pt idx="84">
                  <c:v>Kiri</c:v>
                </c:pt>
                <c:pt idx="85">
                  <c:v>Philadelphi</c:v>
                </c:pt>
                <c:pt idx="86">
                  <c:v>Lou Perac</c:v>
                </c:pt>
                <c:pt idx="87">
                  <c:v>Tartare</c:v>
                </c:pt>
                <c:pt idx="88">
                  <c:v>Coeur De Li</c:v>
                </c:pt>
                <c:pt idx="89">
                  <c:v>All Others</c:v>
                </c:pt>
                <c:pt idx="90">
                  <c:v>Casa Azzurr</c:v>
                </c:pt>
                <c:pt idx="91">
                  <c:v>President</c:v>
                </c:pt>
                <c:pt idx="92">
                  <c:v>All Others</c:v>
                </c:pt>
                <c:pt idx="93">
                  <c:v>St Moret</c:v>
                </c:pt>
                <c:pt idx="94">
                  <c:v>Private Lab</c:v>
                </c:pt>
                <c:pt idx="95">
                  <c:v>Les Mousque</c:v>
                </c:pt>
                <c:pt idx="96">
                  <c:v>Boursin</c:v>
                </c:pt>
                <c:pt idx="97">
                  <c:v>President</c:v>
                </c:pt>
                <c:pt idx="98">
                  <c:v>Lactalis: A</c:v>
                </c:pt>
                <c:pt idx="99">
                  <c:v>Galbani</c:v>
                </c:pt>
                <c:pt idx="100">
                  <c:v>Galbani</c:v>
                </c:pt>
                <c:pt idx="101">
                  <c:v>Private Lab</c:v>
                </c:pt>
                <c:pt idx="102">
                  <c:v>Salakis</c:v>
                </c:pt>
                <c:pt idx="103">
                  <c:v>President</c:v>
                </c:pt>
                <c:pt idx="104">
                  <c:v>Caprice Des</c:v>
                </c:pt>
                <c:pt idx="105">
                  <c:v>St Moret</c:v>
                </c:pt>
                <c:pt idx="106">
                  <c:v>Casa Azzurr</c:v>
                </c:pt>
                <c:pt idx="107">
                  <c:v>Soignon</c:v>
                </c:pt>
                <c:pt idx="108">
                  <c:v>Private Lab</c:v>
                </c:pt>
                <c:pt idx="109">
                  <c:v>Petit Billy</c:v>
                </c:pt>
                <c:pt idx="110">
                  <c:v>La Vache Qu</c:v>
                </c:pt>
                <c:pt idx="111">
                  <c:v>President</c:v>
                </c:pt>
                <c:pt idx="112">
                  <c:v>Coeur De Li</c:v>
                </c:pt>
                <c:pt idx="113">
                  <c:v>Private Lab</c:v>
                </c:pt>
                <c:pt idx="114">
                  <c:v>Ficello</c:v>
                </c:pt>
                <c:pt idx="115">
                  <c:v>Private Lab</c:v>
                </c:pt>
                <c:pt idx="116">
                  <c:v>Salakis</c:v>
                </c:pt>
                <c:pt idx="117">
                  <c:v>Istara</c:v>
                </c:pt>
                <c:pt idx="118">
                  <c:v>Galbani</c:v>
                </c:pt>
                <c:pt idx="119">
                  <c:v>Les Mousque</c:v>
                </c:pt>
                <c:pt idx="120">
                  <c:v>Private Lab</c:v>
                </c:pt>
                <c:pt idx="121">
                  <c:v>Private Lab</c:v>
                </c:pt>
                <c:pt idx="122">
                  <c:v>All Others</c:v>
                </c:pt>
                <c:pt idx="123">
                  <c:v>Private Lab</c:v>
                </c:pt>
                <c:pt idx="124">
                  <c:v>President</c:v>
                </c:pt>
                <c:pt idx="125">
                  <c:v>Soignon</c:v>
                </c:pt>
                <c:pt idx="126">
                  <c:v>Boursin</c:v>
                </c:pt>
                <c:pt idx="127">
                  <c:v>Galbani</c:v>
                </c:pt>
                <c:pt idx="128">
                  <c:v>La Vache Qu</c:v>
                </c:pt>
                <c:pt idx="129">
                  <c:v>Private Lab</c:v>
                </c:pt>
                <c:pt idx="130">
                  <c:v>Lactalis: A</c:v>
                </c:pt>
                <c:pt idx="131">
                  <c:v>Casa Azzurr</c:v>
                </c:pt>
                <c:pt idx="132">
                  <c:v>Caprice Des</c:v>
                </c:pt>
                <c:pt idx="133">
                  <c:v>Private Lab</c:v>
                </c:pt>
                <c:pt idx="134">
                  <c:v>Private Lab</c:v>
                </c:pt>
                <c:pt idx="135">
                  <c:v>Le Rustique</c:v>
                </c:pt>
                <c:pt idx="136">
                  <c:v>Chavroux</c:v>
                </c:pt>
                <c:pt idx="137">
                  <c:v>Paysan Bret</c:v>
                </c:pt>
                <c:pt idx="138">
                  <c:v>Tartare</c:v>
                </c:pt>
                <c:pt idx="139">
                  <c:v>Ficello</c:v>
                </c:pt>
                <c:pt idx="140">
                  <c:v>Private Lab</c:v>
                </c:pt>
                <c:pt idx="141">
                  <c:v>Soignon</c:v>
                </c:pt>
                <c:pt idx="142">
                  <c:v>Carre Frais</c:v>
                </c:pt>
                <c:pt idx="143">
                  <c:v>Private Lab</c:v>
                </c:pt>
                <c:pt idx="144">
                  <c:v>Private Lab</c:v>
                </c:pt>
                <c:pt idx="145">
                  <c:v>Le Rustique</c:v>
                </c:pt>
                <c:pt idx="146">
                  <c:v>President</c:v>
                </c:pt>
                <c:pt idx="147">
                  <c:v>Private Lab</c:v>
                </c:pt>
                <c:pt idx="148">
                  <c:v>Private Lab</c:v>
                </c:pt>
                <c:pt idx="149">
                  <c:v>Philadelphi</c:v>
                </c:pt>
                <c:pt idx="150">
                  <c:v>Private Lab</c:v>
                </c:pt>
                <c:pt idx="151">
                  <c:v>Private Lab</c:v>
                </c:pt>
                <c:pt idx="152">
                  <c:v>All Others</c:v>
                </c:pt>
                <c:pt idx="153">
                  <c:v>Etorki</c:v>
                </c:pt>
                <c:pt idx="154">
                  <c:v>Paysan Bret</c:v>
                </c:pt>
                <c:pt idx="155">
                  <c:v>Lactalis: A</c:v>
                </c:pt>
                <c:pt idx="156">
                  <c:v>All Others</c:v>
                </c:pt>
                <c:pt idx="157">
                  <c:v>P'Tit Louis</c:v>
                </c:pt>
                <c:pt idx="158">
                  <c:v>Paysan Bret</c:v>
                </c:pt>
                <c:pt idx="159">
                  <c:v>Casa Azzurr</c:v>
                </c:pt>
                <c:pt idx="160">
                  <c:v>Mini Babybe</c:v>
                </c:pt>
                <c:pt idx="161">
                  <c:v>Private Lab</c:v>
                </c:pt>
                <c:pt idx="162">
                  <c:v>Private Lab</c:v>
                </c:pt>
                <c:pt idx="163">
                  <c:v>Boursin</c:v>
                </c:pt>
                <c:pt idx="164">
                  <c:v>Soignon</c:v>
                </c:pt>
                <c:pt idx="165">
                  <c:v>Private Lab</c:v>
                </c:pt>
                <c:pt idx="166">
                  <c:v>Private Lab</c:v>
                </c:pt>
                <c:pt idx="167">
                  <c:v>Le Brebiou</c:v>
                </c:pt>
                <c:pt idx="168">
                  <c:v>Caprice Des</c:v>
                </c:pt>
                <c:pt idx="169">
                  <c:v>Galbani</c:v>
                </c:pt>
                <c:pt idx="170">
                  <c:v>Lactalis: A</c:v>
                </c:pt>
                <c:pt idx="171">
                  <c:v>Private Lab</c:v>
                </c:pt>
                <c:pt idx="172">
                  <c:v>Le Rustique</c:v>
                </c:pt>
                <c:pt idx="173">
                  <c:v>Salakis</c:v>
                </c:pt>
                <c:pt idx="174">
                  <c:v>Kiri</c:v>
                </c:pt>
                <c:pt idx="175">
                  <c:v>Private Lab</c:v>
                </c:pt>
                <c:pt idx="176">
                  <c:v>All Others</c:v>
                </c:pt>
                <c:pt idx="177">
                  <c:v>All Others</c:v>
                </c:pt>
                <c:pt idx="178">
                  <c:v>Soignon</c:v>
                </c:pt>
                <c:pt idx="179">
                  <c:v>All Others</c:v>
                </c:pt>
                <c:pt idx="180">
                  <c:v>Paysan Bret</c:v>
                </c:pt>
                <c:pt idx="181">
                  <c:v>Private Lab</c:v>
                </c:pt>
                <c:pt idx="182">
                  <c:v>President</c:v>
                </c:pt>
                <c:pt idx="183">
                  <c:v>Soignon</c:v>
                </c:pt>
                <c:pt idx="184">
                  <c:v>President</c:v>
                </c:pt>
                <c:pt idx="185">
                  <c:v>Boursin</c:v>
                </c:pt>
                <c:pt idx="186">
                  <c:v>Boursin</c:v>
                </c:pt>
                <c:pt idx="187">
                  <c:v>Etorki</c:v>
                </c:pt>
                <c:pt idx="188">
                  <c:v>All Others</c:v>
                </c:pt>
                <c:pt idx="189">
                  <c:v>Tartare</c:v>
                </c:pt>
                <c:pt idx="190">
                  <c:v>All Others</c:v>
                </c:pt>
                <c:pt idx="191">
                  <c:v>Islos</c:v>
                </c:pt>
                <c:pt idx="192">
                  <c:v>Chavroux</c:v>
                </c:pt>
                <c:pt idx="193">
                  <c:v>Private Lab</c:v>
                </c:pt>
                <c:pt idx="194">
                  <c:v>Pave D'Affi</c:v>
                </c:pt>
                <c:pt idx="195">
                  <c:v>All Others</c:v>
                </c:pt>
                <c:pt idx="196">
                  <c:v>Les Mousque</c:v>
                </c:pt>
                <c:pt idx="197">
                  <c:v>La Vache Qu</c:v>
                </c:pt>
                <c:pt idx="198">
                  <c:v>Paysan Bret</c:v>
                </c:pt>
                <c:pt idx="199">
                  <c:v>Galbani</c:v>
                </c:pt>
                <c:pt idx="200">
                  <c:v>Casa Azzurr</c:v>
                </c:pt>
                <c:pt idx="201">
                  <c:v>Soignon</c:v>
                </c:pt>
                <c:pt idx="202">
                  <c:v>Mini Babybe</c:v>
                </c:pt>
                <c:pt idx="203">
                  <c:v>Kiri</c:v>
                </c:pt>
                <c:pt idx="204">
                  <c:v>Boursin</c:v>
                </c:pt>
                <c:pt idx="205">
                  <c:v>All Others</c:v>
                </c:pt>
                <c:pt idx="206">
                  <c:v>Tartare</c:v>
                </c:pt>
                <c:pt idx="207">
                  <c:v>Caprice Des</c:v>
                </c:pt>
                <c:pt idx="208">
                  <c:v>Private Lab</c:v>
                </c:pt>
                <c:pt idx="209">
                  <c:v>Boursin</c:v>
                </c:pt>
                <c:pt idx="210">
                  <c:v>Salakis</c:v>
                </c:pt>
                <c:pt idx="211">
                  <c:v>St Moret</c:v>
                </c:pt>
                <c:pt idx="212">
                  <c:v>Galbani</c:v>
                </c:pt>
                <c:pt idx="213">
                  <c:v>All Others</c:v>
                </c:pt>
                <c:pt idx="214">
                  <c:v>Lou Perac</c:v>
                </c:pt>
                <c:pt idx="215">
                  <c:v>Boursin</c:v>
                </c:pt>
                <c:pt idx="216">
                  <c:v>Caprice Des</c:v>
                </c:pt>
                <c:pt idx="217">
                  <c:v>Tartare</c:v>
                </c:pt>
                <c:pt idx="218">
                  <c:v>Savencia: A</c:v>
                </c:pt>
                <c:pt idx="219">
                  <c:v>Saint Agur</c:v>
                </c:pt>
                <c:pt idx="220">
                  <c:v>Soignon</c:v>
                </c:pt>
                <c:pt idx="221">
                  <c:v>Boursin</c:v>
                </c:pt>
                <c:pt idx="222">
                  <c:v>Caprice Des</c:v>
                </c:pt>
                <c:pt idx="223">
                  <c:v>All Others</c:v>
                </c:pt>
                <c:pt idx="224">
                  <c:v>Boursin</c:v>
                </c:pt>
                <c:pt idx="225">
                  <c:v>La Vache Qu</c:v>
                </c:pt>
                <c:pt idx="226">
                  <c:v>Private Lab</c:v>
                </c:pt>
                <c:pt idx="227">
                  <c:v>P'Tit Louis</c:v>
                </c:pt>
                <c:pt idx="228">
                  <c:v>Mini Babybe</c:v>
                </c:pt>
                <c:pt idx="229">
                  <c:v>Islos</c:v>
                </c:pt>
                <c:pt idx="230">
                  <c:v>Kiri</c:v>
                </c:pt>
                <c:pt idx="231">
                  <c:v>All Others</c:v>
                </c:pt>
                <c:pt idx="232">
                  <c:v>Paysan Bret</c:v>
                </c:pt>
                <c:pt idx="233">
                  <c:v>Tartare</c:v>
                </c:pt>
                <c:pt idx="234">
                  <c:v>Private Lab</c:v>
                </c:pt>
                <c:pt idx="235">
                  <c:v>All Others</c:v>
                </c:pt>
                <c:pt idx="236">
                  <c:v>Private Lab</c:v>
                </c:pt>
                <c:pt idx="237">
                  <c:v>Private Lab</c:v>
                </c:pt>
                <c:pt idx="238">
                  <c:v>All Others</c:v>
                </c:pt>
                <c:pt idx="239">
                  <c:v>All Others</c:v>
                </c:pt>
                <c:pt idx="240">
                  <c:v>Corsica</c:v>
                </c:pt>
                <c:pt idx="241">
                  <c:v>Lou Perac</c:v>
                </c:pt>
                <c:pt idx="242">
                  <c:v>Private Lab</c:v>
                </c:pt>
                <c:pt idx="243">
                  <c:v>Etoile Du Q</c:v>
                </c:pt>
                <c:pt idx="244">
                  <c:v>All Others</c:v>
                </c:pt>
                <c:pt idx="245">
                  <c:v>Paysan Bret</c:v>
                </c:pt>
                <c:pt idx="246">
                  <c:v>Paysan Bret</c:v>
                </c:pt>
                <c:pt idx="247">
                  <c:v>All Others</c:v>
                </c:pt>
                <c:pt idx="248">
                  <c:v>Boursin</c:v>
                </c:pt>
                <c:pt idx="249">
                  <c:v>All Others</c:v>
                </c:pt>
                <c:pt idx="250">
                  <c:v>Istara</c:v>
                </c:pt>
                <c:pt idx="251">
                  <c:v>Chavroux</c:v>
                </c:pt>
                <c:pt idx="252">
                  <c:v>Galbani</c:v>
                </c:pt>
                <c:pt idx="253">
                  <c:v>Private Lab</c:v>
                </c:pt>
                <c:pt idx="254">
                  <c:v>All Others</c:v>
                </c:pt>
                <c:pt idx="255">
                  <c:v>All Others</c:v>
                </c:pt>
                <c:pt idx="256">
                  <c:v>Soignon</c:v>
                </c:pt>
                <c:pt idx="257">
                  <c:v>Milleret: A</c:v>
                </c:pt>
                <c:pt idx="258">
                  <c:v>All Others</c:v>
                </c:pt>
                <c:pt idx="259">
                  <c:v>Carre Frais</c:v>
                </c:pt>
                <c:pt idx="260">
                  <c:v>All Others</c:v>
                </c:pt>
                <c:pt idx="261">
                  <c:v>Les Mousque</c:v>
                </c:pt>
                <c:pt idx="262">
                  <c:v>Triballat N</c:v>
                </c:pt>
                <c:pt idx="263">
                  <c:v>Boursin</c:v>
                </c:pt>
                <c:pt idx="264">
                  <c:v>Soignon</c:v>
                </c:pt>
                <c:pt idx="265">
                  <c:v>All Others</c:v>
                </c:pt>
                <c:pt idx="266">
                  <c:v>All Others</c:v>
                </c:pt>
                <c:pt idx="267">
                  <c:v>Triballat N</c:v>
                </c:pt>
                <c:pt idx="268">
                  <c:v>All Others</c:v>
                </c:pt>
                <c:pt idx="269">
                  <c:v>Kiri</c:v>
                </c:pt>
                <c:pt idx="270">
                  <c:v>All Others</c:v>
                </c:pt>
                <c:pt idx="271">
                  <c:v>Triballat N</c:v>
                </c:pt>
                <c:pt idx="272">
                  <c:v>Private Lab</c:v>
                </c:pt>
                <c:pt idx="273">
                  <c:v>All Others</c:v>
                </c:pt>
                <c:pt idx="274">
                  <c:v>Boursin</c:v>
                </c:pt>
                <c:pt idx="275">
                  <c:v>All Others</c:v>
                </c:pt>
                <c:pt idx="276">
                  <c:v>All Others</c:v>
                </c:pt>
                <c:pt idx="277">
                  <c:v>All Others</c:v>
                </c:pt>
                <c:pt idx="278">
                  <c:v>Salakis</c:v>
                </c:pt>
                <c:pt idx="279">
                  <c:v>All Others</c:v>
                </c:pt>
                <c:pt idx="280">
                  <c:v>All Others</c:v>
                </c:pt>
                <c:pt idx="281">
                  <c:v>Etorki</c:v>
                </c:pt>
                <c:pt idx="282">
                  <c:v>Le Brebiou</c:v>
                </c:pt>
                <c:pt idx="283">
                  <c:v>Soignon</c:v>
                </c:pt>
                <c:pt idx="284">
                  <c:v>All Others</c:v>
                </c:pt>
                <c:pt idx="285">
                  <c:v>All Others</c:v>
                </c:pt>
                <c:pt idx="286">
                  <c:v>Paysan Bret</c:v>
                </c:pt>
                <c:pt idx="287">
                  <c:v>All Others</c:v>
                </c:pt>
                <c:pt idx="288">
                  <c:v>Milleret: A</c:v>
                </c:pt>
                <c:pt idx="289">
                  <c:v>Salakis</c:v>
                </c:pt>
                <c:pt idx="290">
                  <c:v>Chavroux</c:v>
                </c:pt>
                <c:pt idx="291">
                  <c:v>All Others</c:v>
                </c:pt>
                <c:pt idx="292">
                  <c:v>All Others</c:v>
                </c:pt>
                <c:pt idx="293">
                  <c:v>All Others</c:v>
                </c:pt>
                <c:pt idx="294">
                  <c:v>All Others</c:v>
                </c:pt>
                <c:pt idx="295">
                  <c:v>All Others</c:v>
                </c:pt>
                <c:pt idx="296">
                  <c:v>Lactalis: A</c:v>
                </c:pt>
                <c:pt idx="297">
                  <c:v>All Others</c:v>
                </c:pt>
                <c:pt idx="298">
                  <c:v>Private Lab</c:v>
                </c:pt>
                <c:pt idx="299">
                  <c:v>All Others</c:v>
                </c:pt>
                <c:pt idx="300">
                  <c:v>Lactalis: A</c:v>
                </c:pt>
                <c:pt idx="301">
                  <c:v>All Others</c:v>
                </c:pt>
                <c:pt idx="302">
                  <c:v>Casa Azzurr</c:v>
                </c:pt>
                <c:pt idx="303">
                  <c:v>All Others</c:v>
                </c:pt>
                <c:pt idx="304">
                  <c:v>All Others</c:v>
                </c:pt>
                <c:pt idx="305">
                  <c:v>All Others</c:v>
                </c:pt>
                <c:pt idx="306">
                  <c:v>All Others</c:v>
                </c:pt>
                <c:pt idx="307">
                  <c:v>Tartare</c:v>
                </c:pt>
                <c:pt idx="308">
                  <c:v>Triballat N</c:v>
                </c:pt>
                <c:pt idx="309">
                  <c:v>All Others</c:v>
                </c:pt>
                <c:pt idx="310">
                  <c:v>All Others</c:v>
                </c:pt>
                <c:pt idx="311">
                  <c:v>All Others</c:v>
                </c:pt>
                <c:pt idx="312">
                  <c:v>All Others</c:v>
                </c:pt>
                <c:pt idx="313">
                  <c:v>All Others</c:v>
                </c:pt>
                <c:pt idx="314">
                  <c:v>All Others</c:v>
                </c:pt>
                <c:pt idx="315">
                  <c:v>All Others</c:v>
                </c:pt>
                <c:pt idx="316">
                  <c:v>Istara</c:v>
                </c:pt>
                <c:pt idx="317">
                  <c:v>All Others</c:v>
                </c:pt>
                <c:pt idx="318">
                  <c:v>All Others</c:v>
                </c:pt>
                <c:pt idx="319">
                  <c:v>All Others</c:v>
                </c:pt>
                <c:pt idx="320">
                  <c:v>All Others</c:v>
                </c:pt>
                <c:pt idx="321">
                  <c:v>Petit Billy</c:v>
                </c:pt>
                <c:pt idx="322">
                  <c:v>All Others</c:v>
                </c:pt>
                <c:pt idx="323">
                  <c:v>All Others</c:v>
                </c:pt>
                <c:pt idx="324">
                  <c:v>Soignon</c:v>
                </c:pt>
                <c:pt idx="325">
                  <c:v>All Others</c:v>
                </c:pt>
                <c:pt idx="326">
                  <c:v>All Others</c:v>
                </c:pt>
                <c:pt idx="327">
                  <c:v>All Others</c:v>
                </c:pt>
                <c:pt idx="328">
                  <c:v>All Others</c:v>
                </c:pt>
                <c:pt idx="329">
                  <c:v>All Others</c:v>
                </c:pt>
                <c:pt idx="330">
                  <c:v>All Others</c:v>
                </c:pt>
                <c:pt idx="331">
                  <c:v>All Others</c:v>
                </c:pt>
                <c:pt idx="332">
                  <c:v>All Others</c:v>
                </c:pt>
                <c:pt idx="333">
                  <c:v>All Others</c:v>
                </c:pt>
                <c:pt idx="334">
                  <c:v>All Others</c:v>
                </c:pt>
                <c:pt idx="335">
                  <c:v>All Others</c:v>
                </c:pt>
                <c:pt idx="336">
                  <c:v>All Others</c:v>
                </c:pt>
                <c:pt idx="337">
                  <c:v>All Others</c:v>
                </c:pt>
                <c:pt idx="338">
                  <c:v>All Others</c:v>
                </c:pt>
                <c:pt idx="339">
                  <c:v>All Others</c:v>
                </c:pt>
                <c:pt idx="340">
                  <c:v>Etoile Du V</c:v>
                </c:pt>
                <c:pt idx="341">
                  <c:v>All Others</c:v>
                </c:pt>
                <c:pt idx="342">
                  <c:v>All Others</c:v>
                </c:pt>
                <c:pt idx="343">
                  <c:v>All Others</c:v>
                </c:pt>
                <c:pt idx="344">
                  <c:v>All Others</c:v>
                </c:pt>
                <c:pt idx="345">
                  <c:v>All Others</c:v>
                </c:pt>
                <c:pt idx="346">
                  <c:v>All Others</c:v>
                </c:pt>
                <c:pt idx="347">
                  <c:v>Corsica</c:v>
                </c:pt>
                <c:pt idx="348">
                  <c:v>All Others</c:v>
                </c:pt>
                <c:pt idx="349">
                  <c:v>All Others</c:v>
                </c:pt>
                <c:pt idx="350">
                  <c:v>All Others</c:v>
                </c:pt>
                <c:pt idx="351">
                  <c:v>All Others</c:v>
                </c:pt>
                <c:pt idx="352">
                  <c:v>All Others</c:v>
                </c:pt>
                <c:pt idx="353">
                  <c:v>All Others</c:v>
                </c:pt>
                <c:pt idx="354">
                  <c:v>All Others</c:v>
                </c:pt>
                <c:pt idx="355">
                  <c:v>Paysan Bret</c:v>
                </c:pt>
                <c:pt idx="356">
                  <c:v>Mini Babybe</c:v>
                </c:pt>
                <c:pt idx="357">
                  <c:v>All Others</c:v>
                </c:pt>
                <c:pt idx="358">
                  <c:v>All Others</c:v>
                </c:pt>
                <c:pt idx="359">
                  <c:v>All Others</c:v>
                </c:pt>
                <c:pt idx="360">
                  <c:v>All Others</c:v>
                </c:pt>
                <c:pt idx="361">
                  <c:v>All Others</c:v>
                </c:pt>
                <c:pt idx="362">
                  <c:v>All Others</c:v>
                </c:pt>
                <c:pt idx="363">
                  <c:v>All Others</c:v>
                </c:pt>
                <c:pt idx="364">
                  <c:v>All Others</c:v>
                </c:pt>
                <c:pt idx="365">
                  <c:v>All Others</c:v>
                </c:pt>
                <c:pt idx="366">
                  <c:v>All Others</c:v>
                </c:pt>
                <c:pt idx="367">
                  <c:v>All Others</c:v>
                </c:pt>
                <c:pt idx="368">
                  <c:v>All Others</c:v>
                </c:pt>
                <c:pt idx="369">
                  <c:v>All Others</c:v>
                </c:pt>
                <c:pt idx="370">
                  <c:v>All Others</c:v>
                </c:pt>
                <c:pt idx="371">
                  <c:v>All Others</c:v>
                </c:pt>
                <c:pt idx="372">
                  <c:v>All Others</c:v>
                </c:pt>
                <c:pt idx="373">
                  <c:v>All Others</c:v>
                </c:pt>
                <c:pt idx="374">
                  <c:v>All Others</c:v>
                </c:pt>
                <c:pt idx="375">
                  <c:v>All Others</c:v>
                </c:pt>
                <c:pt idx="376">
                  <c:v>All Others</c:v>
                </c:pt>
                <c:pt idx="377">
                  <c:v>All Others</c:v>
                </c:pt>
                <c:pt idx="378">
                  <c:v>All Others</c:v>
                </c:pt>
                <c:pt idx="379">
                  <c:v>All Others</c:v>
                </c:pt>
                <c:pt idx="380">
                  <c:v>La Table M</c:v>
                </c:pt>
                <c:pt idx="381">
                  <c:v>All Others</c:v>
                </c:pt>
                <c:pt idx="382">
                  <c:v>All Others</c:v>
                </c:pt>
                <c:pt idx="383">
                  <c:v>Lactalis: A</c:v>
                </c:pt>
                <c:pt idx="384">
                  <c:v>Lactalis: A</c:v>
                </c:pt>
                <c:pt idx="385">
                  <c:v>All Others</c:v>
                </c:pt>
                <c:pt idx="386">
                  <c:v>All Others</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All Others</c:v>
                </c:pt>
                <c:pt idx="397">
                  <c:v>All Others</c:v>
                </c:pt>
                <c:pt idx="398">
                  <c:v>All Others</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Other Suppl</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La Vache Qu</c:v>
                </c:pt>
                <c:pt idx="443">
                  <c:v>All Others</c:v>
                </c:pt>
                <c:pt idx="444">
                  <c:v>All Others</c:v>
                </c:pt>
                <c:pt idx="445">
                  <c:v>All Others</c:v>
                </c:pt>
                <c:pt idx="446">
                  <c:v>All Others</c:v>
                </c:pt>
                <c:pt idx="447">
                  <c:v>All Others</c:v>
                </c:pt>
                <c:pt idx="448">
                  <c:v>All Others</c:v>
                </c:pt>
                <c:pt idx="449">
                  <c:v>All Others</c:v>
                </c:pt>
                <c:pt idx="450">
                  <c:v>All Others</c:v>
                </c:pt>
                <c:pt idx="451">
                  <c:v>Lactalis: A</c:v>
                </c:pt>
                <c:pt idx="452">
                  <c:v>All Others</c:v>
                </c:pt>
                <c:pt idx="453">
                  <c:v>All Others</c:v>
                </c:pt>
                <c:pt idx="454">
                  <c:v>All Others</c:v>
                </c:pt>
                <c:pt idx="455">
                  <c:v>All Others</c:v>
                </c:pt>
                <c:pt idx="456">
                  <c:v>All Others</c:v>
                </c:pt>
                <c:pt idx="457">
                  <c:v>All Others</c:v>
                </c:pt>
                <c:pt idx="458">
                  <c:v>All Others</c:v>
                </c:pt>
                <c:pt idx="459">
                  <c:v>All Others</c:v>
                </c:pt>
                <c:pt idx="460">
                  <c:v>All Others</c:v>
                </c:pt>
                <c:pt idx="461">
                  <c:v>Kiri</c:v>
                </c:pt>
                <c:pt idx="462">
                  <c:v>All Others</c:v>
                </c:pt>
                <c:pt idx="463">
                  <c:v>All Others</c:v>
                </c:pt>
                <c:pt idx="464">
                  <c:v>Other Suppl</c:v>
                </c:pt>
                <c:pt idx="465">
                  <c:v>Mini Babybe</c:v>
                </c:pt>
                <c:pt idx="466">
                  <c:v>All Others</c:v>
                </c:pt>
                <c:pt idx="467">
                  <c:v>Boursin</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Lactalis: A</c:v>
                </c:pt>
                <c:pt idx="481">
                  <c:v>All Others</c:v>
                </c:pt>
                <c:pt idx="482">
                  <c:v>All Others</c:v>
                </c:pt>
                <c:pt idx="483">
                  <c:v>Mini Babybe</c:v>
                </c:pt>
                <c:pt idx="484">
                  <c:v>All Others</c:v>
                </c:pt>
                <c:pt idx="485">
                  <c:v>All Others</c:v>
                </c:pt>
                <c:pt idx="486">
                  <c:v>All Others</c:v>
                </c:pt>
                <c:pt idx="487">
                  <c:v>Etoile Du V</c:v>
                </c:pt>
                <c:pt idx="488">
                  <c:v>All Others</c:v>
                </c:pt>
                <c:pt idx="489">
                  <c:v>All Others</c:v>
                </c:pt>
                <c:pt idx="490">
                  <c:v>Lactalis: A</c:v>
                </c:pt>
                <c:pt idx="491">
                  <c:v>All Others</c:v>
                </c:pt>
                <c:pt idx="492">
                  <c:v>All Others</c:v>
                </c:pt>
                <c:pt idx="493">
                  <c:v>All Others</c:v>
                </c:pt>
                <c:pt idx="494">
                  <c:v>Private Lab</c:v>
                </c:pt>
                <c:pt idx="495">
                  <c:v>Mini Babybe</c:v>
                </c:pt>
                <c:pt idx="496">
                  <c:v>Gillot</c:v>
                </c:pt>
                <c:pt idx="497">
                  <c:v>All Others</c:v>
                </c:pt>
                <c:pt idx="498">
                  <c:v>All Others</c:v>
                </c:pt>
                <c:pt idx="499">
                  <c:v>All Others</c:v>
                </c:pt>
                <c:pt idx="500">
                  <c:v>All Others</c:v>
                </c:pt>
                <c:pt idx="501">
                  <c:v>Private Lab</c:v>
                </c:pt>
                <c:pt idx="502">
                  <c:v>All Others</c:v>
                </c:pt>
                <c:pt idx="503">
                  <c:v>All Others</c:v>
                </c:pt>
                <c:pt idx="504">
                  <c:v>All Others</c:v>
                </c:pt>
                <c:pt idx="505">
                  <c:v>All Others</c:v>
                </c:pt>
              </c:strCache>
            </c:strRef>
          </c:cat>
          <c:val>
            <c:numRef>
              <c:f>Sheet1!$C$2:$C$507</c:f>
              <c:numCache>
                <c:formatCode>General</c:formatCode>
                <c:ptCount val="506"/>
                <c:pt idx="0">
                  <c:v>2.4798735882463979E-2</c:v>
                </c:pt>
                <c:pt idx="1">
                  <c:v>4.8610553160020137E-2</c:v>
                </c:pt>
                <c:pt idx="2">
                  <c:v>6.7953954746541673E-2</c:v>
                </c:pt>
                <c:pt idx="3">
                  <c:v>8.6041591140935458E-2</c:v>
                </c:pt>
                <c:pt idx="4">
                  <c:v>0.10337407322974895</c:v>
                </c:pt>
                <c:pt idx="5">
                  <c:v>0.11907811313311605</c:v>
                </c:pt>
                <c:pt idx="6">
                  <c:v>0.13473871378495203</c:v>
                </c:pt>
                <c:pt idx="7">
                  <c:v>0.15034395587843435</c:v>
                </c:pt>
                <c:pt idx="8">
                  <c:v>0.16470438088383335</c:v>
                </c:pt>
                <c:pt idx="9">
                  <c:v>0.17845387519620501</c:v>
                </c:pt>
                <c:pt idx="10">
                  <c:v>0.19055806371125539</c:v>
                </c:pt>
                <c:pt idx="11">
                  <c:v>0.2024305762181399</c:v>
                </c:pt>
                <c:pt idx="12">
                  <c:v>0.21382962737068389</c:v>
                </c:pt>
                <c:pt idx="13">
                  <c:v>0.22519790905339335</c:v>
                </c:pt>
                <c:pt idx="14">
                  <c:v>0.23617161753469532</c:v>
                </c:pt>
                <c:pt idx="15">
                  <c:v>0.24684429730035645</c:v>
                </c:pt>
                <c:pt idx="16">
                  <c:v>0.25742886248669228</c:v>
                </c:pt>
                <c:pt idx="17">
                  <c:v>0.26794389838322985</c:v>
                </c:pt>
                <c:pt idx="18">
                  <c:v>0.27799015235699431</c:v>
                </c:pt>
                <c:pt idx="19">
                  <c:v>0.28789209442704417</c:v>
                </c:pt>
                <c:pt idx="20">
                  <c:v>0.29775373158180146</c:v>
                </c:pt>
                <c:pt idx="21">
                  <c:v>0.30755140178994433</c:v>
                </c:pt>
                <c:pt idx="22">
                  <c:v>0.3172273184861738</c:v>
                </c:pt>
                <c:pt idx="23">
                  <c:v>0.32673040523347618</c:v>
                </c:pt>
                <c:pt idx="24">
                  <c:v>0.33620144228910015</c:v>
                </c:pt>
                <c:pt idx="25">
                  <c:v>0.34527110772386965</c:v>
                </c:pt>
                <c:pt idx="26">
                  <c:v>0.35421716553233118</c:v>
                </c:pt>
                <c:pt idx="27">
                  <c:v>0.36297979845246775</c:v>
                </c:pt>
                <c:pt idx="28">
                  <c:v>0.37171197092183555</c:v>
                </c:pt>
                <c:pt idx="29">
                  <c:v>0.38005319012742345</c:v>
                </c:pt>
                <c:pt idx="30">
                  <c:v>0.38836059381809995</c:v>
                </c:pt>
                <c:pt idx="31">
                  <c:v>0.39649556487007676</c:v>
                </c:pt>
                <c:pt idx="32">
                  <c:v>0.4045991042685067</c:v>
                </c:pt>
                <c:pt idx="33">
                  <c:v>0.41258790930237432</c:v>
                </c:pt>
                <c:pt idx="34">
                  <c:v>0.42048343472396021</c:v>
                </c:pt>
                <c:pt idx="35">
                  <c:v>0.4282351779888014</c:v>
                </c:pt>
                <c:pt idx="36">
                  <c:v>0.43586865524261431</c:v>
                </c:pt>
                <c:pt idx="37">
                  <c:v>0.44338678009373333</c:v>
                </c:pt>
                <c:pt idx="38">
                  <c:v>0.45080465033080042</c:v>
                </c:pt>
                <c:pt idx="39">
                  <c:v>0.45815811216544483</c:v>
                </c:pt>
                <c:pt idx="40">
                  <c:v>0.46549718254074052</c:v>
                </c:pt>
                <c:pt idx="41">
                  <c:v>0.47278213043394562</c:v>
                </c:pt>
                <c:pt idx="42">
                  <c:v>0.47993486231258203</c:v>
                </c:pt>
                <c:pt idx="43">
                  <c:v>0.48699188657199133</c:v>
                </c:pt>
                <c:pt idx="44">
                  <c:v>0.49379145380403339</c:v>
                </c:pt>
                <c:pt idx="45">
                  <c:v>0.50039099740936055</c:v>
                </c:pt>
                <c:pt idx="46">
                  <c:v>0.50677060773102112</c:v>
                </c:pt>
                <c:pt idx="47">
                  <c:v>0.51310280569887645</c:v>
                </c:pt>
                <c:pt idx="48">
                  <c:v>0.51931792958638578</c:v>
                </c:pt>
                <c:pt idx="49">
                  <c:v>0.52524919738919484</c:v>
                </c:pt>
                <c:pt idx="50">
                  <c:v>0.53111261343427707</c:v>
                </c:pt>
                <c:pt idx="51">
                  <c:v>0.53674925363066484</c:v>
                </c:pt>
                <c:pt idx="52">
                  <c:v>0.54237044287376412</c:v>
                </c:pt>
                <c:pt idx="53">
                  <c:v>0.5477265379040136</c:v>
                </c:pt>
                <c:pt idx="54">
                  <c:v>0.55307737961014491</c:v>
                </c:pt>
                <c:pt idx="55">
                  <c:v>0.5583249648027282</c:v>
                </c:pt>
                <c:pt idx="56">
                  <c:v>0.56357104904556354</c:v>
                </c:pt>
                <c:pt idx="57">
                  <c:v>0.56880137331604452</c:v>
                </c:pt>
                <c:pt idx="58">
                  <c:v>0.57403019663677757</c:v>
                </c:pt>
                <c:pt idx="59">
                  <c:v>0.57921668434550011</c:v>
                </c:pt>
                <c:pt idx="60">
                  <c:v>0.58430799418196544</c:v>
                </c:pt>
                <c:pt idx="61">
                  <c:v>0.58936765163697979</c:v>
                </c:pt>
                <c:pt idx="62">
                  <c:v>0.59442620545247349</c:v>
                </c:pt>
                <c:pt idx="63">
                  <c:v>0.59942454469572293</c:v>
                </c:pt>
                <c:pt idx="64">
                  <c:v>0.60426607883588446</c:v>
                </c:pt>
                <c:pt idx="65">
                  <c:v>0.6090142450726026</c:v>
                </c:pt>
                <c:pt idx="66">
                  <c:v>0.61364096681647307</c:v>
                </c:pt>
                <c:pt idx="67">
                  <c:v>0.61806294135648054</c:v>
                </c:pt>
                <c:pt idx="68">
                  <c:v>0.62238806049215956</c:v>
                </c:pt>
                <c:pt idx="69">
                  <c:v>0.62665861568993975</c:v>
                </c:pt>
                <c:pt idx="70">
                  <c:v>0.6309241824370867</c:v>
                </c:pt>
                <c:pt idx="71">
                  <c:v>0.63512361910415893</c:v>
                </c:pt>
                <c:pt idx="72">
                  <c:v>0.6393177141559514</c:v>
                </c:pt>
                <c:pt idx="73">
                  <c:v>0.64350973436544512</c:v>
                </c:pt>
                <c:pt idx="74">
                  <c:v>0.64765853605131185</c:v>
                </c:pt>
                <c:pt idx="75">
                  <c:v>0.6515985291398797</c:v>
                </c:pt>
                <c:pt idx="76">
                  <c:v>0.655531635517839</c:v>
                </c:pt>
                <c:pt idx="77">
                  <c:v>0.65945242527874826</c:v>
                </c:pt>
                <c:pt idx="78">
                  <c:v>0.66335502706035798</c:v>
                </c:pt>
                <c:pt idx="79">
                  <c:v>0.66724270763564908</c:v>
                </c:pt>
                <c:pt idx="80">
                  <c:v>0.67111944010689573</c:v>
                </c:pt>
                <c:pt idx="81">
                  <c:v>0.67488439596749528</c:v>
                </c:pt>
                <c:pt idx="82">
                  <c:v>0.67864926353693322</c:v>
                </c:pt>
                <c:pt idx="83">
                  <c:v>0.68240446322417059</c:v>
                </c:pt>
                <c:pt idx="84">
                  <c:v>0.68596392140603313</c:v>
                </c:pt>
                <c:pt idx="85">
                  <c:v>0.68951596313031716</c:v>
                </c:pt>
                <c:pt idx="86">
                  <c:v>0.69304933127391244</c:v>
                </c:pt>
                <c:pt idx="87">
                  <c:v>0.69655449039136108</c:v>
                </c:pt>
                <c:pt idx="88">
                  <c:v>0.70000799917924528</c:v>
                </c:pt>
                <c:pt idx="89">
                  <c:v>0.70345082473656995</c:v>
                </c:pt>
                <c:pt idx="90">
                  <c:v>0.70681228998843548</c:v>
                </c:pt>
                <c:pt idx="91">
                  <c:v>0.71011972104937215</c:v>
                </c:pt>
                <c:pt idx="92">
                  <c:v>0.71332725066090341</c:v>
                </c:pt>
                <c:pt idx="93">
                  <c:v>0.71653173422735783</c:v>
                </c:pt>
                <c:pt idx="94">
                  <c:v>0.71967565005692125</c:v>
                </c:pt>
                <c:pt idx="95">
                  <c:v>0.72281214942890626</c:v>
                </c:pt>
                <c:pt idx="96">
                  <c:v>0.72590017695314613</c:v>
                </c:pt>
                <c:pt idx="97">
                  <c:v>0.72893275762787069</c:v>
                </c:pt>
                <c:pt idx="98">
                  <c:v>0.73196414637191298</c:v>
                </c:pt>
                <c:pt idx="99">
                  <c:v>0.73498803036721516</c:v>
                </c:pt>
                <c:pt idx="100">
                  <c:v>0.73799747875758781</c:v>
                </c:pt>
                <c:pt idx="101">
                  <c:v>0.74100114407687245</c:v>
                </c:pt>
                <c:pt idx="102">
                  <c:v>0.74395474830750241</c:v>
                </c:pt>
                <c:pt idx="103">
                  <c:v>0.74686244113407507</c:v>
                </c:pt>
                <c:pt idx="104">
                  <c:v>0.74973640673689801</c:v>
                </c:pt>
                <c:pt idx="105">
                  <c:v>0.75255916346596474</c:v>
                </c:pt>
                <c:pt idx="106">
                  <c:v>0.75537777051043398</c:v>
                </c:pt>
                <c:pt idx="107">
                  <c:v>0.75817461378355688</c:v>
                </c:pt>
                <c:pt idx="108">
                  <c:v>0.76088449026245586</c:v>
                </c:pt>
                <c:pt idx="109">
                  <c:v>0.76356765866495624</c:v>
                </c:pt>
                <c:pt idx="110">
                  <c:v>0.76624866393399615</c:v>
                </c:pt>
                <c:pt idx="111">
                  <c:v>0.76891081904002412</c:v>
                </c:pt>
                <c:pt idx="112">
                  <c:v>0.77156529281498865</c:v>
                </c:pt>
                <c:pt idx="113">
                  <c:v>0.77417292812869865</c:v>
                </c:pt>
                <c:pt idx="114">
                  <c:v>0.7767383602671406</c:v>
                </c:pt>
                <c:pt idx="115">
                  <c:v>0.77929849493588366</c:v>
                </c:pt>
                <c:pt idx="116">
                  <c:v>0.78185761425626776</c:v>
                </c:pt>
                <c:pt idx="117">
                  <c:v>0.78437744400971821</c:v>
                </c:pt>
                <c:pt idx="118">
                  <c:v>0.78689718547200704</c:v>
                </c:pt>
                <c:pt idx="119">
                  <c:v>0.78940703832419123</c:v>
                </c:pt>
                <c:pt idx="120">
                  <c:v>0.79190051316588961</c:v>
                </c:pt>
                <c:pt idx="121">
                  <c:v>0.79439027977879872</c:v>
                </c:pt>
                <c:pt idx="122">
                  <c:v>0.79685342660647085</c:v>
                </c:pt>
                <c:pt idx="123">
                  <c:v>0.79925997879952615</c:v>
                </c:pt>
                <c:pt idx="124">
                  <c:v>0.80166344080192375</c:v>
                </c:pt>
                <c:pt idx="125">
                  <c:v>0.80405961878348542</c:v>
                </c:pt>
                <c:pt idx="126">
                  <c:v>0.80645345704926341</c:v>
                </c:pt>
                <c:pt idx="127">
                  <c:v>0.80883153534268704</c:v>
                </c:pt>
                <c:pt idx="128">
                  <c:v>0.81120131426691577</c:v>
                </c:pt>
                <c:pt idx="129">
                  <c:v>0.8134962664316473</c:v>
                </c:pt>
                <c:pt idx="130">
                  <c:v>0.81576521684927328</c:v>
                </c:pt>
                <c:pt idx="131">
                  <c:v>0.81803200413343891</c:v>
                </c:pt>
                <c:pt idx="132">
                  <c:v>0.82023239646404478</c:v>
                </c:pt>
                <c:pt idx="133">
                  <c:v>0.8224275354705326</c:v>
                </c:pt>
                <c:pt idx="134">
                  <c:v>0.82458974187372547</c:v>
                </c:pt>
                <c:pt idx="135">
                  <c:v>0.82671424795089443</c:v>
                </c:pt>
                <c:pt idx="136">
                  <c:v>0.82882979247515609</c:v>
                </c:pt>
                <c:pt idx="137">
                  <c:v>0.83092661927314826</c:v>
                </c:pt>
                <c:pt idx="138">
                  <c:v>0.8329959875198677</c:v>
                </c:pt>
                <c:pt idx="139">
                  <c:v>0.83506354579777331</c:v>
                </c:pt>
                <c:pt idx="140">
                  <c:v>0.83712236325067568</c:v>
                </c:pt>
                <c:pt idx="141">
                  <c:v>0.83912710236706833</c:v>
                </c:pt>
                <c:pt idx="142">
                  <c:v>0.84111383008648466</c:v>
                </c:pt>
                <c:pt idx="143">
                  <c:v>0.84309040432231142</c:v>
                </c:pt>
                <c:pt idx="144">
                  <c:v>0.84500866224586924</c:v>
                </c:pt>
                <c:pt idx="145">
                  <c:v>0.84691707570490327</c:v>
                </c:pt>
                <c:pt idx="146">
                  <c:v>0.84882226653653714</c:v>
                </c:pt>
                <c:pt idx="147">
                  <c:v>0.85072057065756246</c:v>
                </c:pt>
                <c:pt idx="148">
                  <c:v>0.85257080024107013</c:v>
                </c:pt>
                <c:pt idx="149">
                  <c:v>0.85438434484691272</c:v>
                </c:pt>
                <c:pt idx="150">
                  <c:v>0.85618340970224505</c:v>
                </c:pt>
                <c:pt idx="151">
                  <c:v>0.8579759851571962</c:v>
                </c:pt>
                <c:pt idx="152">
                  <c:v>0.85976441092754985</c:v>
                </c:pt>
                <c:pt idx="153">
                  <c:v>0.86153372166140652</c:v>
                </c:pt>
                <c:pt idx="154">
                  <c:v>0.86327641261002619</c:v>
                </c:pt>
                <c:pt idx="155">
                  <c:v>0.86501786748238274</c:v>
                </c:pt>
                <c:pt idx="156">
                  <c:v>0.86671416142555613</c:v>
                </c:pt>
                <c:pt idx="157">
                  <c:v>0.86840577593716206</c:v>
                </c:pt>
                <c:pt idx="158">
                  <c:v>0.87008149803967128</c:v>
                </c:pt>
                <c:pt idx="159">
                  <c:v>0.87174675763952514</c:v>
                </c:pt>
                <c:pt idx="160">
                  <c:v>0.87340963337801447</c:v>
                </c:pt>
                <c:pt idx="161">
                  <c:v>0.87507100816675576</c:v>
                </c:pt>
                <c:pt idx="162">
                  <c:v>0.87671649054640033</c:v>
                </c:pt>
                <c:pt idx="163">
                  <c:v>0.87835093653083884</c:v>
                </c:pt>
                <c:pt idx="164">
                  <c:v>0.87997871653257287</c:v>
                </c:pt>
                <c:pt idx="165">
                  <c:v>0.88159771156372291</c:v>
                </c:pt>
                <c:pt idx="166">
                  <c:v>0.88321061450471916</c:v>
                </c:pt>
                <c:pt idx="167">
                  <c:v>0.88481592440581358</c:v>
                </c:pt>
                <c:pt idx="168">
                  <c:v>0.88641448003304191</c:v>
                </c:pt>
                <c:pt idx="169">
                  <c:v>0.88799784958046668</c:v>
                </c:pt>
                <c:pt idx="170">
                  <c:v>0.88955927877422181</c:v>
                </c:pt>
                <c:pt idx="171">
                  <c:v>0.89111739704941506</c:v>
                </c:pt>
                <c:pt idx="172">
                  <c:v>0.8926569300350814</c:v>
                </c:pt>
                <c:pt idx="173">
                  <c:v>0.89418604466367313</c:v>
                </c:pt>
                <c:pt idx="174">
                  <c:v>0.89571485027319908</c:v>
                </c:pt>
                <c:pt idx="175">
                  <c:v>0.89723871157767277</c:v>
                </c:pt>
                <c:pt idx="176">
                  <c:v>0.89875793759615985</c:v>
                </c:pt>
                <c:pt idx="177">
                  <c:v>0.90027341124027693</c:v>
                </c:pt>
                <c:pt idx="178">
                  <c:v>0.90178217475610867</c:v>
                </c:pt>
                <c:pt idx="179">
                  <c:v>0.90324162765815974</c:v>
                </c:pt>
                <c:pt idx="180">
                  <c:v>0.90470059495882171</c:v>
                </c:pt>
                <c:pt idx="181">
                  <c:v>0.90614437617968013</c:v>
                </c:pt>
                <c:pt idx="182">
                  <c:v>0.90757685613184746</c:v>
                </c:pt>
                <c:pt idx="183">
                  <c:v>0.90900280253805288</c:v>
                </c:pt>
                <c:pt idx="184">
                  <c:v>0.91042504071546904</c:v>
                </c:pt>
                <c:pt idx="185">
                  <c:v>0.91181624454956567</c:v>
                </c:pt>
                <c:pt idx="186">
                  <c:v>0.91320347528138812</c:v>
                </c:pt>
                <c:pt idx="187">
                  <c:v>0.91458960237369002</c:v>
                </c:pt>
                <c:pt idx="188">
                  <c:v>0.91596773911586271</c:v>
                </c:pt>
                <c:pt idx="189">
                  <c:v>0.91734490465525731</c:v>
                </c:pt>
                <c:pt idx="190">
                  <c:v>0.91869646575777375</c:v>
                </c:pt>
                <c:pt idx="191">
                  <c:v>0.92001716909929399</c:v>
                </c:pt>
                <c:pt idx="192">
                  <c:v>0.92133407592086336</c:v>
                </c:pt>
                <c:pt idx="193">
                  <c:v>0.92263676786540738</c:v>
                </c:pt>
                <c:pt idx="194">
                  <c:v>0.92393455965047988</c:v>
                </c:pt>
                <c:pt idx="195">
                  <c:v>0.92521667975435973</c:v>
                </c:pt>
                <c:pt idx="196">
                  <c:v>0.92648017042313169</c:v>
                </c:pt>
                <c:pt idx="197">
                  <c:v>0.92773266884227845</c:v>
                </c:pt>
                <c:pt idx="198">
                  <c:v>0.92896596393376663</c:v>
                </c:pt>
                <c:pt idx="199">
                  <c:v>0.93015330347561676</c:v>
                </c:pt>
                <c:pt idx="200">
                  <c:v>0.93131490614384627</c:v>
                </c:pt>
                <c:pt idx="201">
                  <c:v>0.93247425738745382</c:v>
                </c:pt>
                <c:pt idx="202">
                  <c:v>0.9336250885339622</c:v>
                </c:pt>
                <c:pt idx="203">
                  <c:v>0.93475971825230808</c:v>
                </c:pt>
                <c:pt idx="204">
                  <c:v>0.9358942155339115</c:v>
                </c:pt>
                <c:pt idx="205">
                  <c:v>0.93702363607372008</c:v>
                </c:pt>
                <c:pt idx="206">
                  <c:v>0.93814864205544624</c:v>
                </c:pt>
                <c:pt idx="207">
                  <c:v>0.93927046955535309</c:v>
                </c:pt>
                <c:pt idx="208">
                  <c:v>0.94036113027519797</c:v>
                </c:pt>
                <c:pt idx="209">
                  <c:v>0.94142397927912358</c:v>
                </c:pt>
                <c:pt idx="210">
                  <c:v>0.94247062685488669</c:v>
                </c:pt>
                <c:pt idx="211">
                  <c:v>0.94350248566107364</c:v>
                </c:pt>
                <c:pt idx="212">
                  <c:v>0.94452383781902438</c:v>
                </c:pt>
                <c:pt idx="213">
                  <c:v>0.94553627256964867</c:v>
                </c:pt>
                <c:pt idx="214">
                  <c:v>0.94654725051610578</c:v>
                </c:pt>
                <c:pt idx="215">
                  <c:v>0.94755173906218171</c:v>
                </c:pt>
                <c:pt idx="216">
                  <c:v>0.94854686874512284</c:v>
                </c:pt>
                <c:pt idx="217">
                  <c:v>0.94952756282313444</c:v>
                </c:pt>
                <c:pt idx="218">
                  <c:v>0.95049293838460003</c:v>
                </c:pt>
                <c:pt idx="219">
                  <c:v>0.95145760761677245</c:v>
                </c:pt>
                <c:pt idx="220">
                  <c:v>0.95238801987822519</c:v>
                </c:pt>
                <c:pt idx="221">
                  <c:v>0.95328351298524594</c:v>
                </c:pt>
                <c:pt idx="222">
                  <c:v>0.95417260498304712</c:v>
                </c:pt>
                <c:pt idx="223">
                  <c:v>0.95503825567743061</c:v>
                </c:pt>
                <c:pt idx="224">
                  <c:v>0.95589927108582762</c:v>
                </c:pt>
                <c:pt idx="225">
                  <c:v>0.95672602952350494</c:v>
                </c:pt>
                <c:pt idx="226">
                  <c:v>0.95755199334072738</c:v>
                </c:pt>
                <c:pt idx="227">
                  <c:v>0.95835795920983646</c:v>
                </c:pt>
                <c:pt idx="228">
                  <c:v>0.95916004026783297</c:v>
                </c:pt>
                <c:pt idx="229">
                  <c:v>0.95995210027898237</c:v>
                </c:pt>
                <c:pt idx="230">
                  <c:v>0.9607356401930327</c:v>
                </c:pt>
                <c:pt idx="231">
                  <c:v>0.96151370605506081</c:v>
                </c:pt>
                <c:pt idx="232">
                  <c:v>0.96225888345937483</c:v>
                </c:pt>
                <c:pt idx="233">
                  <c:v>0.96299960216002556</c:v>
                </c:pt>
                <c:pt idx="234">
                  <c:v>0.96373784870815016</c:v>
                </c:pt>
                <c:pt idx="235">
                  <c:v>0.96444011660790296</c:v>
                </c:pt>
                <c:pt idx="236">
                  <c:v>0.96511947295120792</c:v>
                </c:pt>
                <c:pt idx="237">
                  <c:v>0.96578311346773948</c:v>
                </c:pt>
                <c:pt idx="238">
                  <c:v>0.96644675398427105</c:v>
                </c:pt>
                <c:pt idx="239">
                  <c:v>0.96709538500332237</c:v>
                </c:pt>
                <c:pt idx="240">
                  <c:v>0.96772468025797265</c:v>
                </c:pt>
                <c:pt idx="241">
                  <c:v>0.96835238627171327</c:v>
                </c:pt>
                <c:pt idx="242">
                  <c:v>0.96897854719012499</c:v>
                </c:pt>
                <c:pt idx="243">
                  <c:v>0.96957932439956274</c:v>
                </c:pt>
                <c:pt idx="244">
                  <c:v>0.97017524559510981</c:v>
                </c:pt>
                <c:pt idx="245">
                  <c:v>0.97076997485997463</c:v>
                </c:pt>
                <c:pt idx="246">
                  <c:v>0.97136126076953522</c:v>
                </c:pt>
                <c:pt idx="247">
                  <c:v>0.97194795553869007</c:v>
                </c:pt>
                <c:pt idx="248">
                  <c:v>0.97251416675834246</c:v>
                </c:pt>
                <c:pt idx="249">
                  <c:v>0.97306452971447888</c:v>
                </c:pt>
                <c:pt idx="250">
                  <c:v>0.97361321513854393</c:v>
                </c:pt>
                <c:pt idx="251">
                  <c:v>0.97412980672534977</c:v>
                </c:pt>
                <c:pt idx="252">
                  <c:v>0.97463893770899634</c:v>
                </c:pt>
                <c:pt idx="253">
                  <c:v>0.97514003419693285</c:v>
                </c:pt>
                <c:pt idx="254">
                  <c:v>0.9756395414439597</c:v>
                </c:pt>
                <c:pt idx="255">
                  <c:v>0.97612836546042703</c:v>
                </c:pt>
                <c:pt idx="256">
                  <c:v>0.97660407823938955</c:v>
                </c:pt>
                <c:pt idx="257">
                  <c:v>0.97707577377049704</c:v>
                </c:pt>
                <c:pt idx="258">
                  <c:v>0.97753117958228042</c:v>
                </c:pt>
                <c:pt idx="259">
                  <c:v>0.97797797700580302</c:v>
                </c:pt>
                <c:pt idx="260">
                  <c:v>0.97842455370142156</c:v>
                </c:pt>
                <c:pt idx="261">
                  <c:v>0.97886022643857651</c:v>
                </c:pt>
                <c:pt idx="262">
                  <c:v>0.97928508350842947</c:v>
                </c:pt>
                <c:pt idx="263">
                  <c:v>0.97970936668573172</c:v>
                </c:pt>
                <c:pt idx="264">
                  <c:v>0.98012455587338421</c:v>
                </c:pt>
                <c:pt idx="265">
                  <c:v>0.98052915012163877</c:v>
                </c:pt>
                <c:pt idx="266">
                  <c:v>0.98092765227973966</c:v>
                </c:pt>
                <c:pt idx="267">
                  <c:v>0.98132279937369793</c:v>
                </c:pt>
                <c:pt idx="268">
                  <c:v>0.98170911735149124</c:v>
                </c:pt>
                <c:pt idx="269">
                  <c:v>0.9820922127018844</c:v>
                </c:pt>
                <c:pt idx="270">
                  <c:v>0.98246060757386311</c:v>
                </c:pt>
                <c:pt idx="271">
                  <c:v>0.98282132111477838</c:v>
                </c:pt>
                <c:pt idx="272">
                  <c:v>0.9831758101287974</c:v>
                </c:pt>
                <c:pt idx="273">
                  <c:v>0.98352023395038846</c:v>
                </c:pt>
                <c:pt idx="274">
                  <c:v>0.98386320096781232</c:v>
                </c:pt>
                <c:pt idx="275">
                  <c:v>0.98420396070619498</c:v>
                </c:pt>
                <c:pt idx="276">
                  <c:v>0.98453152091591123</c:v>
                </c:pt>
                <c:pt idx="277">
                  <c:v>0.98485382780150932</c:v>
                </c:pt>
                <c:pt idx="278">
                  <c:v>0.98517353009783881</c:v>
                </c:pt>
                <c:pt idx="279">
                  <c:v>0.98548153381524983</c:v>
                </c:pt>
                <c:pt idx="280">
                  <c:v>0.98578273911321401</c:v>
                </c:pt>
                <c:pt idx="281">
                  <c:v>0.9860799713089039</c:v>
                </c:pt>
                <c:pt idx="282">
                  <c:v>0.98637164116140996</c:v>
                </c:pt>
                <c:pt idx="283">
                  <c:v>0.9866583225632829</c:v>
                </c:pt>
                <c:pt idx="284">
                  <c:v>0.98694403276237774</c:v>
                </c:pt>
                <c:pt idx="285">
                  <c:v>0.98722603473268333</c:v>
                </c:pt>
                <c:pt idx="286">
                  <c:v>0.98750790426624646</c:v>
                </c:pt>
                <c:pt idx="287">
                  <c:v>0.98777251287770729</c:v>
                </c:pt>
                <c:pt idx="288">
                  <c:v>0.98803102939901433</c:v>
                </c:pt>
                <c:pt idx="289">
                  <c:v>0.98828610256501703</c:v>
                </c:pt>
                <c:pt idx="290">
                  <c:v>0.98853976307243341</c:v>
                </c:pt>
                <c:pt idx="291">
                  <c:v>0.98878914145850982</c:v>
                </c:pt>
                <c:pt idx="292">
                  <c:v>0.98903821082552046</c:v>
                </c:pt>
                <c:pt idx="293">
                  <c:v>0.98928485218558582</c:v>
                </c:pt>
                <c:pt idx="294">
                  <c:v>0.98952363563226442</c:v>
                </c:pt>
                <c:pt idx="295">
                  <c:v>0.98976140373058408</c:v>
                </c:pt>
                <c:pt idx="296">
                  <c:v>0.98998314698306444</c:v>
                </c:pt>
                <c:pt idx="297">
                  <c:v>0.99019910716445692</c:v>
                </c:pt>
                <c:pt idx="298">
                  <c:v>0.99040632652084615</c:v>
                </c:pt>
                <c:pt idx="299">
                  <c:v>0.99061345758607366</c:v>
                </c:pt>
                <c:pt idx="300">
                  <c:v>0.99080571159056341</c:v>
                </c:pt>
                <c:pt idx="301">
                  <c:v>0.99099430151184476</c:v>
                </c:pt>
                <c:pt idx="302">
                  <c:v>0.99117724079878056</c:v>
                </c:pt>
                <c:pt idx="303">
                  <c:v>0.99135152755187483</c:v>
                </c:pt>
                <c:pt idx="304">
                  <c:v>0.99152426920964032</c:v>
                </c:pt>
                <c:pt idx="305">
                  <c:v>0.99168941782750397</c:v>
                </c:pt>
                <c:pt idx="306">
                  <c:v>0.99184843020963309</c:v>
                </c:pt>
                <c:pt idx="307">
                  <c:v>0.99200616236991823</c:v>
                </c:pt>
                <c:pt idx="308">
                  <c:v>0.99215877364282778</c:v>
                </c:pt>
                <c:pt idx="309">
                  <c:v>0.99230860374414542</c:v>
                </c:pt>
                <c:pt idx="310">
                  <c:v>0.99245384270505732</c:v>
                </c:pt>
                <c:pt idx="311">
                  <c:v>0.99259541758276082</c:v>
                </c:pt>
                <c:pt idx="312">
                  <c:v>0.99273067964240647</c:v>
                </c:pt>
                <c:pt idx="313">
                  <c:v>0.99286563268298633</c:v>
                </c:pt>
                <c:pt idx="314">
                  <c:v>0.99299705407710026</c:v>
                </c:pt>
                <c:pt idx="315">
                  <c:v>0.9931280781609868</c:v>
                </c:pt>
                <c:pt idx="316">
                  <c:v>0.99325676252908957</c:v>
                </c:pt>
                <c:pt idx="317">
                  <c:v>0.99338513787812655</c:v>
                </c:pt>
                <c:pt idx="318">
                  <c:v>0.99351338079042106</c:v>
                </c:pt>
                <c:pt idx="319">
                  <c:v>0.99363544332140019</c:v>
                </c:pt>
                <c:pt idx="320">
                  <c:v>0.99375666708634369</c:v>
                </c:pt>
                <c:pt idx="321">
                  <c:v>0.99387285825507321</c:v>
                </c:pt>
                <c:pt idx="322">
                  <c:v>0.9939876367652164</c:v>
                </c:pt>
                <c:pt idx="323">
                  <c:v>0.99410197381955134</c:v>
                </c:pt>
                <c:pt idx="324">
                  <c:v>0.99421163144231883</c:v>
                </c:pt>
                <c:pt idx="325">
                  <c:v>0.99431969982417667</c:v>
                </c:pt>
                <c:pt idx="326">
                  <c:v>0.99442741504138799</c:v>
                </c:pt>
                <c:pt idx="327">
                  <c:v>0.99453468880279106</c:v>
                </c:pt>
                <c:pt idx="328">
                  <c:v>0.99463975528515292</c:v>
                </c:pt>
                <c:pt idx="329">
                  <c:v>0.9947441154382215</c:v>
                </c:pt>
                <c:pt idx="330">
                  <c:v>0.99484772511641606</c:v>
                </c:pt>
                <c:pt idx="331">
                  <c:v>0.994947979730468</c:v>
                </c:pt>
                <c:pt idx="332">
                  <c:v>0.99504752801522678</c:v>
                </c:pt>
                <c:pt idx="333">
                  <c:v>0.99514623753394993</c:v>
                </c:pt>
                <c:pt idx="334">
                  <c:v>0.99524088565923718</c:v>
                </c:pt>
                <c:pt idx="335">
                  <c:v>0.9953346067273271</c:v>
                </c:pt>
                <c:pt idx="336">
                  <c:v>0.99542638538986083</c:v>
                </c:pt>
                <c:pt idx="337">
                  <c:v>0.9955174577231013</c:v>
                </c:pt>
                <c:pt idx="338">
                  <c:v>0.99560738227124035</c:v>
                </c:pt>
                <c:pt idx="339">
                  <c:v>0.9956962473254396</c:v>
                </c:pt>
                <c:pt idx="340">
                  <c:v>0.99578056538481396</c:v>
                </c:pt>
                <c:pt idx="341">
                  <c:v>0.99586426540605677</c:v>
                </c:pt>
                <c:pt idx="342">
                  <c:v>0.99594664105987485</c:v>
                </c:pt>
                <c:pt idx="343">
                  <c:v>0.99602839867556148</c:v>
                </c:pt>
                <c:pt idx="344">
                  <c:v>0.99610869948708081</c:v>
                </c:pt>
                <c:pt idx="345">
                  <c:v>0.99618670472839732</c:v>
                </c:pt>
                <c:pt idx="346">
                  <c:v>0.99626422436832474</c:v>
                </c:pt>
                <c:pt idx="347">
                  <c:v>0.99634103767895899</c:v>
                </c:pt>
                <c:pt idx="348">
                  <c:v>0.99641665905891097</c:v>
                </c:pt>
                <c:pt idx="349">
                  <c:v>0.99648888122913948</c:v>
                </c:pt>
                <c:pt idx="350">
                  <c:v>0.99655973488636251</c:v>
                </c:pt>
                <c:pt idx="351">
                  <c:v>0.99663041196126223</c:v>
                </c:pt>
                <c:pt idx="352">
                  <c:v>0.99669927906734812</c:v>
                </c:pt>
                <c:pt idx="353">
                  <c:v>0.99676271626699264</c:v>
                </c:pt>
                <c:pt idx="354">
                  <c:v>0.99682575615640978</c:v>
                </c:pt>
                <c:pt idx="355">
                  <c:v>0.99688835459001868</c:v>
                </c:pt>
                <c:pt idx="356">
                  <c:v>0.99695015840317269</c:v>
                </c:pt>
                <c:pt idx="357">
                  <c:v>0.99701156490609932</c:v>
                </c:pt>
                <c:pt idx="358">
                  <c:v>0.99707283897228349</c:v>
                </c:pt>
                <c:pt idx="359">
                  <c:v>0.99713340670917439</c:v>
                </c:pt>
                <c:pt idx="360">
                  <c:v>0.99719370957258036</c:v>
                </c:pt>
                <c:pt idx="361">
                  <c:v>0.99725321781553145</c:v>
                </c:pt>
                <c:pt idx="362">
                  <c:v>0.99731153412780038</c:v>
                </c:pt>
                <c:pt idx="363">
                  <c:v>0.9973692765475185</c:v>
                </c:pt>
                <c:pt idx="364">
                  <c:v>0.99742582703655447</c:v>
                </c:pt>
                <c:pt idx="365">
                  <c:v>0.9974821126521054</c:v>
                </c:pt>
                <c:pt idx="366">
                  <c:v>0.99753619098861512</c:v>
                </c:pt>
                <c:pt idx="367">
                  <c:v>0.99758845935631113</c:v>
                </c:pt>
                <c:pt idx="368">
                  <c:v>0.99764068357842628</c:v>
                </c:pt>
                <c:pt idx="369">
                  <c:v>0.99769259878147565</c:v>
                </c:pt>
                <c:pt idx="370">
                  <c:v>0.99774283645245365</c:v>
                </c:pt>
                <c:pt idx="371">
                  <c:v>0.99779267681320427</c:v>
                </c:pt>
                <c:pt idx="372">
                  <c:v>0.99784220815488911</c:v>
                </c:pt>
                <c:pt idx="373">
                  <c:v>0.99789169535099309</c:v>
                </c:pt>
                <c:pt idx="374">
                  <c:v>0.99794016719873813</c:v>
                </c:pt>
                <c:pt idx="375">
                  <c:v>0.99798802100835171</c:v>
                </c:pt>
                <c:pt idx="376">
                  <c:v>0.99803556579889952</c:v>
                </c:pt>
                <c:pt idx="377">
                  <c:v>0.99808253669689651</c:v>
                </c:pt>
                <c:pt idx="378">
                  <c:v>0.99812933101257029</c:v>
                </c:pt>
                <c:pt idx="379">
                  <c:v>0.99817497754314255</c:v>
                </c:pt>
                <c:pt idx="380">
                  <c:v>0.99822031505464914</c:v>
                </c:pt>
                <c:pt idx="381">
                  <c:v>0.9982652994015091</c:v>
                </c:pt>
                <c:pt idx="382">
                  <c:v>0.99830900352652518</c:v>
                </c:pt>
                <c:pt idx="383">
                  <c:v>0.99835266350596041</c:v>
                </c:pt>
                <c:pt idx="384">
                  <c:v>0.99839627933981479</c:v>
                </c:pt>
                <c:pt idx="385">
                  <c:v>0.99843870324298689</c:v>
                </c:pt>
                <c:pt idx="386">
                  <c:v>0.99848028838012337</c:v>
                </c:pt>
                <c:pt idx="387">
                  <c:v>0.99852099060564337</c:v>
                </c:pt>
                <c:pt idx="388">
                  <c:v>0.99856045675490024</c:v>
                </c:pt>
                <c:pt idx="389">
                  <c:v>0.99859890755579817</c:v>
                </c:pt>
                <c:pt idx="390">
                  <c:v>0.99863682860972625</c:v>
                </c:pt>
                <c:pt idx="391">
                  <c:v>0.99867395504319945</c:v>
                </c:pt>
                <c:pt idx="392">
                  <c:v>0.99870971296366717</c:v>
                </c:pt>
                <c:pt idx="393">
                  <c:v>0.99874374920648268</c:v>
                </c:pt>
                <c:pt idx="394">
                  <c:v>0.99877774130371744</c:v>
                </c:pt>
                <c:pt idx="395">
                  <c:v>0.99880961441307259</c:v>
                </c:pt>
                <c:pt idx="396">
                  <c:v>0.99884060461081126</c:v>
                </c:pt>
                <c:pt idx="397">
                  <c:v>0.99887124164390328</c:v>
                </c:pt>
                <c:pt idx="398">
                  <c:v>0.99890090747421723</c:v>
                </c:pt>
                <c:pt idx="399">
                  <c:v>0.99892916064594472</c:v>
                </c:pt>
                <c:pt idx="400">
                  <c:v>0.99895670748837906</c:v>
                </c:pt>
                <c:pt idx="401">
                  <c:v>0.99898345971035862</c:v>
                </c:pt>
                <c:pt idx="402">
                  <c:v>0.99900906414723667</c:v>
                </c:pt>
                <c:pt idx="403">
                  <c:v>0.99903458029295311</c:v>
                </c:pt>
                <c:pt idx="404">
                  <c:v>0.99905952254611885</c:v>
                </c:pt>
                <c:pt idx="405">
                  <c:v>0.99910799439386389</c:v>
                </c:pt>
                <c:pt idx="406">
                  <c:v>0.99913187715308982</c:v>
                </c:pt>
                <c:pt idx="407">
                  <c:v>0.9991557157667349</c:v>
                </c:pt>
                <c:pt idx="408">
                  <c:v>0.99917898048782927</c:v>
                </c:pt>
                <c:pt idx="409">
                  <c:v>0.99920140644288802</c:v>
                </c:pt>
                <c:pt idx="410">
                  <c:v>0.99922339094213852</c:v>
                </c:pt>
                <c:pt idx="411">
                  <c:v>0.99924506642232325</c:v>
                </c:pt>
                <c:pt idx="412">
                  <c:v>0.99926669775692711</c:v>
                </c:pt>
                <c:pt idx="413">
                  <c:v>0.99928775519898028</c:v>
                </c:pt>
                <c:pt idx="414">
                  <c:v>0.99930859191312937</c:v>
                </c:pt>
                <c:pt idx="415">
                  <c:v>0.99932867815240445</c:v>
                </c:pt>
                <c:pt idx="416">
                  <c:v>0.99934779318890132</c:v>
                </c:pt>
                <c:pt idx="417">
                  <c:v>0.99936677578865574</c:v>
                </c:pt>
                <c:pt idx="418">
                  <c:v>0.99938567009724855</c:v>
                </c:pt>
                <c:pt idx="419">
                  <c:v>0.9994045202602605</c:v>
                </c:pt>
                <c:pt idx="420">
                  <c:v>0.99942328213211085</c:v>
                </c:pt>
                <c:pt idx="421">
                  <c:v>0.99944155840257209</c:v>
                </c:pt>
                <c:pt idx="422">
                  <c:v>0.99945974638187174</c:v>
                </c:pt>
                <c:pt idx="423">
                  <c:v>0.99947758119652474</c:v>
                </c:pt>
                <c:pt idx="424">
                  <c:v>0.99949537186559689</c:v>
                </c:pt>
                <c:pt idx="425">
                  <c:v>0.9995131183890883</c:v>
                </c:pt>
                <c:pt idx="426">
                  <c:v>0.99953068833025638</c:v>
                </c:pt>
                <c:pt idx="427">
                  <c:v>0.999548125834682</c:v>
                </c:pt>
                <c:pt idx="428">
                  <c:v>0.99956551919352676</c:v>
                </c:pt>
                <c:pt idx="429">
                  <c:v>0.99958273597004821</c:v>
                </c:pt>
                <c:pt idx="430">
                  <c:v>0.99959840765124086</c:v>
                </c:pt>
                <c:pt idx="431">
                  <c:v>0.99961390275011019</c:v>
                </c:pt>
                <c:pt idx="432">
                  <c:v>0.99962794104481234</c:v>
                </c:pt>
                <c:pt idx="433">
                  <c:v>0.99964105228231714</c:v>
                </c:pt>
                <c:pt idx="434">
                  <c:v>0.99965411937424109</c:v>
                </c:pt>
                <c:pt idx="435">
                  <c:v>0.99966705402942257</c:v>
                </c:pt>
                <c:pt idx="436">
                  <c:v>0.99967976795669999</c:v>
                </c:pt>
                <c:pt idx="437">
                  <c:v>0.99969217286491163</c:v>
                </c:pt>
                <c:pt idx="438">
                  <c:v>0.99970369486150679</c:v>
                </c:pt>
                <c:pt idx="439">
                  <c:v>0.99971499613019776</c:v>
                </c:pt>
                <c:pt idx="440">
                  <c:v>0.99972616496214628</c:v>
                </c:pt>
                <c:pt idx="441">
                  <c:v>0.99973618600899339</c:v>
                </c:pt>
                <c:pt idx="442">
                  <c:v>0.9997462070558405</c:v>
                </c:pt>
                <c:pt idx="443">
                  <c:v>0.99975622810268761</c:v>
                </c:pt>
                <c:pt idx="444">
                  <c:v>0.99976620500395386</c:v>
                </c:pt>
                <c:pt idx="445">
                  <c:v>0.99977613775963936</c:v>
                </c:pt>
                <c:pt idx="446">
                  <c:v>0.99978549662277416</c:v>
                </c:pt>
                <c:pt idx="447">
                  <c:v>0.9997942374477774</c:v>
                </c:pt>
                <c:pt idx="448">
                  <c:v>0.99980249267139154</c:v>
                </c:pt>
                <c:pt idx="449">
                  <c:v>0.99981070374942482</c:v>
                </c:pt>
                <c:pt idx="450">
                  <c:v>0.99981887068187736</c:v>
                </c:pt>
                <c:pt idx="451">
                  <c:v>0.99982650786735994</c:v>
                </c:pt>
                <c:pt idx="452">
                  <c:v>0.99983401261610005</c:v>
                </c:pt>
                <c:pt idx="453">
                  <c:v>0.99984112005461279</c:v>
                </c:pt>
                <c:pt idx="454">
                  <c:v>0.99984822749312552</c:v>
                </c:pt>
                <c:pt idx="455">
                  <c:v>0.99985476103908755</c:v>
                </c:pt>
                <c:pt idx="456">
                  <c:v>0.99986120629388786</c:v>
                </c:pt>
                <c:pt idx="457">
                  <c:v>0.99986729838404165</c:v>
                </c:pt>
                <c:pt idx="458">
                  <c:v>0.9998731256007104</c:v>
                </c:pt>
                <c:pt idx="459">
                  <c:v>0.99987859965273262</c:v>
                </c:pt>
                <c:pt idx="460">
                  <c:v>0.99988407370475485</c:v>
                </c:pt>
                <c:pt idx="461">
                  <c:v>0.99988923873771129</c:v>
                </c:pt>
                <c:pt idx="462">
                  <c:v>0.99989440377066774</c:v>
                </c:pt>
                <c:pt idx="463">
                  <c:v>0.99989952465804333</c:v>
                </c:pt>
                <c:pt idx="464">
                  <c:v>0.99990460139983817</c:v>
                </c:pt>
                <c:pt idx="465">
                  <c:v>0.99990936912256723</c:v>
                </c:pt>
                <c:pt idx="466">
                  <c:v>0.99991400440855382</c:v>
                </c:pt>
                <c:pt idx="467">
                  <c:v>0.99991859554895957</c:v>
                </c:pt>
                <c:pt idx="468">
                  <c:v>0.99992314254378445</c:v>
                </c:pt>
                <c:pt idx="469">
                  <c:v>0.99992760124744773</c:v>
                </c:pt>
                <c:pt idx="470">
                  <c:v>0.99993188336878769</c:v>
                </c:pt>
                <c:pt idx="471">
                  <c:v>0.99993607719896604</c:v>
                </c:pt>
                <c:pt idx="472">
                  <c:v>0.99993952055427038</c:v>
                </c:pt>
                <c:pt idx="473">
                  <c:v>0.999942875618413</c:v>
                </c:pt>
                <c:pt idx="474">
                  <c:v>0.99994618653697487</c:v>
                </c:pt>
                <c:pt idx="475">
                  <c:v>0.99994949745553674</c:v>
                </c:pt>
                <c:pt idx="476">
                  <c:v>0.99995241106387112</c:v>
                </c:pt>
                <c:pt idx="477">
                  <c:v>0.99995532467220549</c:v>
                </c:pt>
                <c:pt idx="478">
                  <c:v>0.99995814998937826</c:v>
                </c:pt>
                <c:pt idx="479">
                  <c:v>0.99996366818698135</c:v>
                </c:pt>
                <c:pt idx="480">
                  <c:v>0.9999663169218308</c:v>
                </c:pt>
                <c:pt idx="481">
                  <c:v>0.99996883321993779</c:v>
                </c:pt>
                <c:pt idx="482">
                  <c:v>0.99997126122688318</c:v>
                </c:pt>
                <c:pt idx="483">
                  <c:v>0.99997360094266685</c:v>
                </c:pt>
                <c:pt idx="484">
                  <c:v>0.99997594065845052</c:v>
                </c:pt>
                <c:pt idx="485">
                  <c:v>0.9999782803742342</c:v>
                </c:pt>
                <c:pt idx="486">
                  <c:v>0.99998048765327541</c:v>
                </c:pt>
                <c:pt idx="487">
                  <c:v>0.99998243005883169</c:v>
                </c:pt>
                <c:pt idx="488">
                  <c:v>0.99998419588206466</c:v>
                </c:pt>
                <c:pt idx="489">
                  <c:v>0.99998574097739357</c:v>
                </c:pt>
                <c:pt idx="490">
                  <c:v>0.99998724192714161</c:v>
                </c:pt>
                <c:pt idx="491">
                  <c:v>0.99998856629456634</c:v>
                </c:pt>
                <c:pt idx="492">
                  <c:v>0.99998984651641021</c:v>
                </c:pt>
                <c:pt idx="493">
                  <c:v>0.99999103844709247</c:v>
                </c:pt>
                <c:pt idx="494">
                  <c:v>0.99999209794103228</c:v>
                </c:pt>
                <c:pt idx="495">
                  <c:v>0.99999302499822962</c:v>
                </c:pt>
                <c:pt idx="496">
                  <c:v>0.99999395205542696</c:v>
                </c:pt>
                <c:pt idx="497">
                  <c:v>0.99999474667588184</c:v>
                </c:pt>
                <c:pt idx="498">
                  <c:v>0.9999963359167916</c:v>
                </c:pt>
                <c:pt idx="499">
                  <c:v>0.99999708639166562</c:v>
                </c:pt>
                <c:pt idx="500">
                  <c:v>0.99999783686653965</c:v>
                </c:pt>
                <c:pt idx="501">
                  <c:v>0.99999845490467121</c:v>
                </c:pt>
                <c:pt idx="502">
                  <c:v>0.99999894050606031</c:v>
                </c:pt>
                <c:pt idx="503">
                  <c:v>0.99999933781628769</c:v>
                </c:pt>
                <c:pt idx="504">
                  <c:v>0.99999973512651508</c:v>
                </c:pt>
                <c:pt idx="50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34</c:f>
              <c:strCache>
                <c:ptCount val="433"/>
                <c:pt idx="0">
                  <c:v>Private Lab</c:v>
                </c:pt>
                <c:pt idx="1">
                  <c:v>Private Lab</c:v>
                </c:pt>
                <c:pt idx="2">
                  <c:v>Private Lab</c:v>
                </c:pt>
                <c:pt idx="3">
                  <c:v>Private Lab</c:v>
                </c:pt>
                <c:pt idx="4">
                  <c:v>Caprice Des</c:v>
                </c:pt>
                <c:pt idx="5">
                  <c:v>Galbani</c:v>
                </c:pt>
                <c:pt idx="6">
                  <c:v>Private Lab</c:v>
                </c:pt>
                <c:pt idx="7">
                  <c:v>Private Lab</c:v>
                </c:pt>
                <c:pt idx="8">
                  <c:v>Salakis</c:v>
                </c:pt>
                <c:pt idx="9">
                  <c:v>President</c:v>
                </c:pt>
                <c:pt idx="10">
                  <c:v>Private Lab</c:v>
                </c:pt>
                <c:pt idx="11">
                  <c:v>Soignon</c:v>
                </c:pt>
                <c:pt idx="12">
                  <c:v>Mini Babybe</c:v>
                </c:pt>
                <c:pt idx="13">
                  <c:v>Private Lab</c:v>
                </c:pt>
                <c:pt idx="14">
                  <c:v>Coeur De Li</c:v>
                </c:pt>
                <c:pt idx="15">
                  <c:v>Private Lab</c:v>
                </c:pt>
                <c:pt idx="16">
                  <c:v>Caprice Des</c:v>
                </c:pt>
                <c:pt idx="17">
                  <c:v>President</c:v>
                </c:pt>
                <c:pt idx="18">
                  <c:v>Private Lab</c:v>
                </c:pt>
                <c:pt idx="19">
                  <c:v>St Moret</c:v>
                </c:pt>
                <c:pt idx="20">
                  <c:v>Galbani</c:v>
                </c:pt>
                <c:pt idx="21">
                  <c:v>Mini Babybe</c:v>
                </c:pt>
                <c:pt idx="22">
                  <c:v>St Moret</c:v>
                </c:pt>
                <c:pt idx="23">
                  <c:v>Private Lab</c:v>
                </c:pt>
                <c:pt idx="24">
                  <c:v>Soignon</c:v>
                </c:pt>
                <c:pt idx="25">
                  <c:v>La Vache Qu</c:v>
                </c:pt>
                <c:pt idx="26">
                  <c:v>Private Lab</c:v>
                </c:pt>
                <c:pt idx="27">
                  <c:v>Le Rustique</c:v>
                </c:pt>
                <c:pt idx="28">
                  <c:v>Private Lab</c:v>
                </c:pt>
                <c:pt idx="29">
                  <c:v>Private Lab</c:v>
                </c:pt>
                <c:pt idx="30">
                  <c:v>Galbani</c:v>
                </c:pt>
                <c:pt idx="31">
                  <c:v>St Moret</c:v>
                </c:pt>
                <c:pt idx="32">
                  <c:v>Private Lab</c:v>
                </c:pt>
                <c:pt idx="33">
                  <c:v>Private Lab</c:v>
                </c:pt>
                <c:pt idx="34">
                  <c:v>Private Lab</c:v>
                </c:pt>
                <c:pt idx="35">
                  <c:v>Galbani</c:v>
                </c:pt>
                <c:pt idx="36">
                  <c:v>Galbani</c:v>
                </c:pt>
                <c:pt idx="37">
                  <c:v>Tartare</c:v>
                </c:pt>
                <c:pt idx="38">
                  <c:v>Les Mousque</c:v>
                </c:pt>
                <c:pt idx="39">
                  <c:v>Private Lab</c:v>
                </c:pt>
                <c:pt idx="40">
                  <c:v>Islos</c:v>
                </c:pt>
                <c:pt idx="41">
                  <c:v>President</c:v>
                </c:pt>
                <c:pt idx="42">
                  <c:v>Paysan Bret</c:v>
                </c:pt>
                <c:pt idx="43">
                  <c:v>Private Lab</c:v>
                </c:pt>
                <c:pt idx="44">
                  <c:v>Private Lab</c:v>
                </c:pt>
                <c:pt idx="45">
                  <c:v>St Moret</c:v>
                </c:pt>
                <c:pt idx="46">
                  <c:v>All Others</c:v>
                </c:pt>
                <c:pt idx="47">
                  <c:v>Kiri</c:v>
                </c:pt>
                <c:pt idx="48">
                  <c:v>La Vache Qu</c:v>
                </c:pt>
                <c:pt idx="49">
                  <c:v>Private Lab</c:v>
                </c:pt>
                <c:pt idx="50">
                  <c:v>Coeur De Li</c:v>
                </c:pt>
                <c:pt idx="51">
                  <c:v>Galbani</c:v>
                </c:pt>
                <c:pt idx="52">
                  <c:v>Private Lab</c:v>
                </c:pt>
                <c:pt idx="53">
                  <c:v>Salakis</c:v>
                </c:pt>
                <c:pt idx="54">
                  <c:v>Private Lab</c:v>
                </c:pt>
                <c:pt idx="55">
                  <c:v>Private Lab</c:v>
                </c:pt>
                <c:pt idx="56">
                  <c:v>Carre Frais</c:v>
                </c:pt>
                <c:pt idx="57">
                  <c:v>Carre Frais</c:v>
                </c:pt>
                <c:pt idx="58">
                  <c:v>La Vache Qu</c:v>
                </c:pt>
                <c:pt idx="59">
                  <c:v>Private Lab</c:v>
                </c:pt>
                <c:pt idx="60">
                  <c:v>Private Lab</c:v>
                </c:pt>
                <c:pt idx="61">
                  <c:v>Private Lab</c:v>
                </c:pt>
                <c:pt idx="62">
                  <c:v>Private Lab</c:v>
                </c:pt>
                <c:pt idx="63">
                  <c:v>Istara</c:v>
                </c:pt>
                <c:pt idx="64">
                  <c:v>Paysan Bret</c:v>
                </c:pt>
                <c:pt idx="65">
                  <c:v>Kiri</c:v>
                </c:pt>
                <c:pt idx="66">
                  <c:v>Casa Azzurr</c:v>
                </c:pt>
                <c:pt idx="67">
                  <c:v>Kiri</c:v>
                </c:pt>
                <c:pt idx="68">
                  <c:v>All Others</c:v>
                </c:pt>
                <c:pt idx="69">
                  <c:v>Boursin</c:v>
                </c:pt>
                <c:pt idx="70">
                  <c:v>Ficello</c:v>
                </c:pt>
                <c:pt idx="71">
                  <c:v>Philadelphi</c:v>
                </c:pt>
                <c:pt idx="72">
                  <c:v>Private Lab</c:v>
                </c:pt>
                <c:pt idx="73">
                  <c:v>Boursin</c:v>
                </c:pt>
                <c:pt idx="74">
                  <c:v>Private Lab</c:v>
                </c:pt>
                <c:pt idx="75">
                  <c:v>Lou Perac</c:v>
                </c:pt>
                <c:pt idx="76">
                  <c:v>Petit Billy</c:v>
                </c:pt>
                <c:pt idx="77">
                  <c:v>Private Lab</c:v>
                </c:pt>
                <c:pt idx="78">
                  <c:v>Soignon</c:v>
                </c:pt>
                <c:pt idx="79">
                  <c:v>Private Lab</c:v>
                </c:pt>
                <c:pt idx="80">
                  <c:v>Lepetit</c:v>
                </c:pt>
                <c:pt idx="81">
                  <c:v>Tartare</c:v>
                </c:pt>
                <c:pt idx="82">
                  <c:v>St Moret</c:v>
                </c:pt>
                <c:pt idx="83">
                  <c:v>Private Lab</c:v>
                </c:pt>
                <c:pt idx="84">
                  <c:v>Philadelphi</c:v>
                </c:pt>
                <c:pt idx="85">
                  <c:v>Private Lab</c:v>
                </c:pt>
                <c:pt idx="86">
                  <c:v>Kiri</c:v>
                </c:pt>
                <c:pt idx="87">
                  <c:v>St Moret</c:v>
                </c:pt>
                <c:pt idx="88">
                  <c:v>St Moret</c:v>
                </c:pt>
                <c:pt idx="89">
                  <c:v>Private Lab</c:v>
                </c:pt>
                <c:pt idx="90">
                  <c:v>Ficello</c:v>
                </c:pt>
                <c:pt idx="91">
                  <c:v>Private Lab</c:v>
                </c:pt>
                <c:pt idx="92">
                  <c:v>Boursin</c:v>
                </c:pt>
                <c:pt idx="93">
                  <c:v>Private Lab</c:v>
                </c:pt>
                <c:pt idx="94">
                  <c:v>Ficello</c:v>
                </c:pt>
                <c:pt idx="95">
                  <c:v>Kiri</c:v>
                </c:pt>
                <c:pt idx="96">
                  <c:v>Le Rustique</c:v>
                </c:pt>
                <c:pt idx="97">
                  <c:v>Soignon</c:v>
                </c:pt>
                <c:pt idx="98">
                  <c:v>Coeur De Li</c:v>
                </c:pt>
                <c:pt idx="99">
                  <c:v>Soignon</c:v>
                </c:pt>
                <c:pt idx="100">
                  <c:v>Private Lab</c:v>
                </c:pt>
                <c:pt idx="101">
                  <c:v>Casa Azzurr</c:v>
                </c:pt>
                <c:pt idx="102">
                  <c:v>Coeur De Li</c:v>
                </c:pt>
                <c:pt idx="103">
                  <c:v>Caprice Des</c:v>
                </c:pt>
                <c:pt idx="104">
                  <c:v>Etorki</c:v>
                </c:pt>
                <c:pt idx="105">
                  <c:v>President</c:v>
                </c:pt>
                <c:pt idx="106">
                  <c:v>Private Lab</c:v>
                </c:pt>
                <c:pt idx="107">
                  <c:v>Chavroux</c:v>
                </c:pt>
                <c:pt idx="108">
                  <c:v>Boursin</c:v>
                </c:pt>
                <c:pt idx="109">
                  <c:v>Salakis</c:v>
                </c:pt>
                <c:pt idx="110">
                  <c:v>Private Lab</c:v>
                </c:pt>
                <c:pt idx="111">
                  <c:v>Private Lab</c:v>
                </c:pt>
                <c:pt idx="112">
                  <c:v>President</c:v>
                </c:pt>
                <c:pt idx="113">
                  <c:v>Private Lab</c:v>
                </c:pt>
                <c:pt idx="114">
                  <c:v>Boursin</c:v>
                </c:pt>
                <c:pt idx="115">
                  <c:v>All Others</c:v>
                </c:pt>
                <c:pt idx="116">
                  <c:v>Casa Azzurr</c:v>
                </c:pt>
                <c:pt idx="117">
                  <c:v>Private Lab</c:v>
                </c:pt>
                <c:pt idx="118">
                  <c:v>All Others</c:v>
                </c:pt>
                <c:pt idx="119">
                  <c:v>Galbani</c:v>
                </c:pt>
                <c:pt idx="120">
                  <c:v>President</c:v>
                </c:pt>
                <c:pt idx="121">
                  <c:v>Private Lab</c:v>
                </c:pt>
                <c:pt idx="122">
                  <c:v>Le Brebiou</c:v>
                </c:pt>
                <c:pt idx="123">
                  <c:v>P'Tit Louis</c:v>
                </c:pt>
                <c:pt idx="124">
                  <c:v>Private Lab</c:v>
                </c:pt>
                <c:pt idx="125">
                  <c:v>President</c:v>
                </c:pt>
                <c:pt idx="126">
                  <c:v>Soignon</c:v>
                </c:pt>
                <c:pt idx="127">
                  <c:v>La Vache Qu</c:v>
                </c:pt>
                <c:pt idx="128">
                  <c:v>Paysan Bret</c:v>
                </c:pt>
                <c:pt idx="129">
                  <c:v>Private Lab</c:v>
                </c:pt>
                <c:pt idx="130">
                  <c:v>Private Lab</c:v>
                </c:pt>
                <c:pt idx="131">
                  <c:v>Private Lab</c:v>
                </c:pt>
                <c:pt idx="132">
                  <c:v>Boursin</c:v>
                </c:pt>
                <c:pt idx="133">
                  <c:v>All Others</c:v>
                </c:pt>
                <c:pt idx="134">
                  <c:v>Caprice Des</c:v>
                </c:pt>
                <c:pt idx="135">
                  <c:v>President</c:v>
                </c:pt>
                <c:pt idx="136">
                  <c:v>Salakis</c:v>
                </c:pt>
                <c:pt idx="137">
                  <c:v>Les Mousque</c:v>
                </c:pt>
                <c:pt idx="138">
                  <c:v>President</c:v>
                </c:pt>
                <c:pt idx="139">
                  <c:v>Paysan Bret</c:v>
                </c:pt>
                <c:pt idx="140">
                  <c:v>All Others</c:v>
                </c:pt>
                <c:pt idx="141">
                  <c:v>Tartare</c:v>
                </c:pt>
                <c:pt idx="142">
                  <c:v>Istara</c:v>
                </c:pt>
                <c:pt idx="143">
                  <c:v>Galbani</c:v>
                </c:pt>
                <c:pt idx="144">
                  <c:v>President</c:v>
                </c:pt>
                <c:pt idx="145">
                  <c:v>Soignon</c:v>
                </c:pt>
                <c:pt idx="146">
                  <c:v>Lactalis: A</c:v>
                </c:pt>
                <c:pt idx="147">
                  <c:v>All Others</c:v>
                </c:pt>
                <c:pt idx="148">
                  <c:v>Private Lab</c:v>
                </c:pt>
                <c:pt idx="149">
                  <c:v>Lou Perac</c:v>
                </c:pt>
                <c:pt idx="150">
                  <c:v>Private Lab</c:v>
                </c:pt>
                <c:pt idx="151">
                  <c:v>Les Mousque</c:v>
                </c:pt>
                <c:pt idx="152">
                  <c:v>Boursin</c:v>
                </c:pt>
                <c:pt idx="153">
                  <c:v>Soignon</c:v>
                </c:pt>
                <c:pt idx="154">
                  <c:v>Casa Azzurr</c:v>
                </c:pt>
                <c:pt idx="155">
                  <c:v>Carre Frais</c:v>
                </c:pt>
                <c:pt idx="156">
                  <c:v>Coeur De Li</c:v>
                </c:pt>
                <c:pt idx="157">
                  <c:v>Galbani</c:v>
                </c:pt>
                <c:pt idx="158">
                  <c:v>Boursin</c:v>
                </c:pt>
                <c:pt idx="159">
                  <c:v>President</c:v>
                </c:pt>
                <c:pt idx="160">
                  <c:v>Kiri</c:v>
                </c:pt>
                <c:pt idx="161">
                  <c:v>Salakis</c:v>
                </c:pt>
                <c:pt idx="162">
                  <c:v>All Others</c:v>
                </c:pt>
                <c:pt idx="163">
                  <c:v>Private Lab</c:v>
                </c:pt>
                <c:pt idx="164">
                  <c:v>Private Lab</c:v>
                </c:pt>
                <c:pt idx="165">
                  <c:v>Casa Azzurr</c:v>
                </c:pt>
                <c:pt idx="166">
                  <c:v>All Others</c:v>
                </c:pt>
                <c:pt idx="167">
                  <c:v>Private Lab</c:v>
                </c:pt>
                <c:pt idx="168">
                  <c:v>All Others</c:v>
                </c:pt>
                <c:pt idx="169">
                  <c:v>Paysan Bret</c:v>
                </c:pt>
                <c:pt idx="170">
                  <c:v>Private Lab</c:v>
                </c:pt>
                <c:pt idx="171">
                  <c:v>Chavroux</c:v>
                </c:pt>
                <c:pt idx="172">
                  <c:v>Salakis</c:v>
                </c:pt>
                <c:pt idx="173">
                  <c:v>La Vache Qu</c:v>
                </c:pt>
                <c:pt idx="174">
                  <c:v>All Others</c:v>
                </c:pt>
                <c:pt idx="175">
                  <c:v>President</c:v>
                </c:pt>
                <c:pt idx="176">
                  <c:v>Private Lab</c:v>
                </c:pt>
                <c:pt idx="177">
                  <c:v>Boursin</c:v>
                </c:pt>
                <c:pt idx="178">
                  <c:v>Lou Perac</c:v>
                </c:pt>
                <c:pt idx="179">
                  <c:v>Paysan Bret</c:v>
                </c:pt>
                <c:pt idx="180">
                  <c:v>Soignon</c:v>
                </c:pt>
                <c:pt idx="181">
                  <c:v>Casa Azzurr</c:v>
                </c:pt>
                <c:pt idx="182">
                  <c:v>Galbani</c:v>
                </c:pt>
                <c:pt idx="183">
                  <c:v>Casa Azzurr</c:v>
                </c:pt>
                <c:pt idx="184">
                  <c:v>Private Lab</c:v>
                </c:pt>
                <c:pt idx="185">
                  <c:v>Coeur De Li</c:v>
                </c:pt>
                <c:pt idx="186">
                  <c:v>Private Lab</c:v>
                </c:pt>
                <c:pt idx="187">
                  <c:v>Private Lab</c:v>
                </c:pt>
                <c:pt idx="188">
                  <c:v>All Others</c:v>
                </c:pt>
                <c:pt idx="189">
                  <c:v>All Others</c:v>
                </c:pt>
                <c:pt idx="190">
                  <c:v>All Others</c:v>
                </c:pt>
                <c:pt idx="191">
                  <c:v>Paysan Bret</c:v>
                </c:pt>
                <c:pt idx="192">
                  <c:v>Tartare</c:v>
                </c:pt>
                <c:pt idx="193">
                  <c:v>All Others</c:v>
                </c:pt>
                <c:pt idx="194">
                  <c:v>Lactalis: A</c:v>
                </c:pt>
                <c:pt idx="195">
                  <c:v>Mini Babybe</c:v>
                </c:pt>
                <c:pt idx="196">
                  <c:v>Casa Azzurr</c:v>
                </c:pt>
                <c:pt idx="197">
                  <c:v>All Others</c:v>
                </c:pt>
                <c:pt idx="198">
                  <c:v>Galbani</c:v>
                </c:pt>
                <c:pt idx="199">
                  <c:v>Galbani</c:v>
                </c:pt>
                <c:pt idx="200">
                  <c:v>St Moret</c:v>
                </c:pt>
                <c:pt idx="201">
                  <c:v>La Vache Qu</c:v>
                </c:pt>
                <c:pt idx="202">
                  <c:v>Kiri</c:v>
                </c:pt>
                <c:pt idx="203">
                  <c:v>Triballat N</c:v>
                </c:pt>
                <c:pt idx="204">
                  <c:v>Mini Babybe</c:v>
                </c:pt>
                <c:pt idx="205">
                  <c:v>All Others</c:v>
                </c:pt>
                <c:pt idx="206">
                  <c:v>All Others</c:v>
                </c:pt>
                <c:pt idx="207">
                  <c:v>Lactalis: A</c:v>
                </c:pt>
                <c:pt idx="208">
                  <c:v>La Table M</c:v>
                </c:pt>
                <c:pt idx="209">
                  <c:v>Tartare</c:v>
                </c:pt>
                <c:pt idx="210">
                  <c:v>All Others</c:v>
                </c:pt>
                <c:pt idx="211">
                  <c:v>Salakis</c:v>
                </c:pt>
                <c:pt idx="212">
                  <c:v>Kiri</c:v>
                </c:pt>
                <c:pt idx="213">
                  <c:v>Islos</c:v>
                </c:pt>
                <c:pt idx="214">
                  <c:v>All Others</c:v>
                </c:pt>
                <c:pt idx="215">
                  <c:v>Private Lab</c:v>
                </c:pt>
                <c:pt idx="216">
                  <c:v>Soignon</c:v>
                </c:pt>
                <c:pt idx="217">
                  <c:v>Caprice Des</c:v>
                </c:pt>
                <c:pt idx="218">
                  <c:v>Savencia: A</c:v>
                </c:pt>
                <c:pt idx="219">
                  <c:v>Salakis</c:v>
                </c:pt>
                <c:pt idx="220">
                  <c:v>Casa Azzurr</c:v>
                </c:pt>
                <c:pt idx="221">
                  <c:v>Paysan Bret</c:v>
                </c:pt>
                <c:pt idx="222">
                  <c:v>Boursin</c:v>
                </c:pt>
                <c:pt idx="223">
                  <c:v>Caprice Des</c:v>
                </c:pt>
                <c:pt idx="224">
                  <c:v>Galbani</c:v>
                </c:pt>
                <c:pt idx="225">
                  <c:v>Boursin</c:v>
                </c:pt>
                <c:pt idx="226">
                  <c:v>All Others</c:v>
                </c:pt>
                <c:pt idx="227">
                  <c:v>Le Rustique</c:v>
                </c:pt>
                <c:pt idx="228">
                  <c:v>Etorki</c:v>
                </c:pt>
                <c:pt idx="229">
                  <c:v>Pave D'Affi</c:v>
                </c:pt>
                <c:pt idx="230">
                  <c:v>All Others</c:v>
                </c:pt>
                <c:pt idx="231">
                  <c:v>All Others</c:v>
                </c:pt>
                <c:pt idx="232">
                  <c:v>Boursin</c:v>
                </c:pt>
                <c:pt idx="233">
                  <c:v>Caprice Des</c:v>
                </c:pt>
                <c:pt idx="234">
                  <c:v>All Others</c:v>
                </c:pt>
                <c:pt idx="235">
                  <c:v>Tartare</c:v>
                </c:pt>
                <c:pt idx="236">
                  <c:v>Milleret: A</c:v>
                </c:pt>
                <c:pt idx="237">
                  <c:v>Lactalis: A</c:v>
                </c:pt>
                <c:pt idx="238">
                  <c:v>Galbani</c:v>
                </c:pt>
                <c:pt idx="239">
                  <c:v>All Others</c:v>
                </c:pt>
                <c:pt idx="240">
                  <c:v>All Others</c:v>
                </c:pt>
                <c:pt idx="241">
                  <c:v>Corsica</c:v>
                </c:pt>
                <c:pt idx="242">
                  <c:v>Private Lab</c:v>
                </c:pt>
                <c:pt idx="243">
                  <c:v>Tartare</c:v>
                </c:pt>
                <c:pt idx="244">
                  <c:v>Islos</c:v>
                </c:pt>
                <c:pt idx="245">
                  <c:v>Soignon</c:v>
                </c:pt>
                <c:pt idx="246">
                  <c:v>Soignon</c:v>
                </c:pt>
                <c:pt idx="247">
                  <c:v>Saint Agur</c:v>
                </c:pt>
                <c:pt idx="248">
                  <c:v>Triballat N</c:v>
                </c:pt>
                <c:pt idx="249">
                  <c:v>Les Mousque</c:v>
                </c:pt>
                <c:pt idx="250">
                  <c:v>All Others</c:v>
                </c:pt>
                <c:pt idx="251">
                  <c:v>La Vache Qu</c:v>
                </c:pt>
                <c:pt idx="252">
                  <c:v>All Others</c:v>
                </c:pt>
                <c:pt idx="253">
                  <c:v>Triballat N</c:v>
                </c:pt>
                <c:pt idx="254">
                  <c:v>All Others</c:v>
                </c:pt>
                <c:pt idx="255">
                  <c:v>Lactalis: A</c:v>
                </c:pt>
                <c:pt idx="256">
                  <c:v>Mini Babybe</c:v>
                </c:pt>
                <c:pt idx="257">
                  <c:v>All Others</c:v>
                </c:pt>
                <c:pt idx="258">
                  <c:v>All Others</c:v>
                </c:pt>
                <c:pt idx="259">
                  <c:v>All Others</c:v>
                </c:pt>
                <c:pt idx="260">
                  <c:v>All Others</c:v>
                </c:pt>
                <c:pt idx="261">
                  <c:v>Le Rustique</c:v>
                </c:pt>
                <c:pt idx="262">
                  <c:v>Casa Azzurr</c:v>
                </c:pt>
                <c:pt idx="263">
                  <c:v>All Others</c:v>
                </c:pt>
                <c:pt idx="264">
                  <c:v>All Others</c:v>
                </c:pt>
                <c:pt idx="265">
                  <c:v>All Others</c:v>
                </c:pt>
                <c:pt idx="266">
                  <c:v>Paysan Bret</c:v>
                </c:pt>
                <c:pt idx="267">
                  <c:v>Paysan Bret</c:v>
                </c:pt>
                <c:pt idx="268">
                  <c:v>All Others</c:v>
                </c:pt>
                <c:pt idx="269">
                  <c:v>All Others</c:v>
                </c:pt>
                <c:pt idx="270">
                  <c:v>All Others</c:v>
                </c:pt>
                <c:pt idx="271">
                  <c:v>All Others</c:v>
                </c:pt>
                <c:pt idx="272">
                  <c:v>All Others</c:v>
                </c:pt>
                <c:pt idx="273">
                  <c:v>Milleret: A</c:v>
                </c:pt>
                <c:pt idx="274">
                  <c:v>Boursin</c:v>
                </c:pt>
                <c:pt idx="275">
                  <c:v>Istara</c:v>
                </c:pt>
                <c:pt idx="276">
                  <c:v>All Others</c:v>
                </c:pt>
                <c:pt idx="277">
                  <c:v>All Others</c:v>
                </c:pt>
                <c:pt idx="278">
                  <c:v>Etoile Du Q</c:v>
                </c:pt>
                <c:pt idx="279">
                  <c:v>Boursin</c:v>
                </c:pt>
                <c:pt idx="280">
                  <c:v>All Others</c:v>
                </c:pt>
                <c:pt idx="281">
                  <c:v>All Others</c:v>
                </c:pt>
                <c:pt idx="282">
                  <c:v>Paysan Bret</c:v>
                </c:pt>
                <c:pt idx="283">
                  <c:v>All Others</c:v>
                </c:pt>
                <c:pt idx="284">
                  <c:v>Carre Frais</c:v>
                </c:pt>
                <c:pt idx="285">
                  <c:v>All Others</c:v>
                </c:pt>
                <c:pt idx="286">
                  <c:v>Soignon</c:v>
                </c:pt>
                <c:pt idx="287">
                  <c:v>All Others</c:v>
                </c:pt>
                <c:pt idx="288">
                  <c:v>All Others</c:v>
                </c:pt>
                <c:pt idx="289">
                  <c:v>Private Lab</c:v>
                </c:pt>
                <c:pt idx="290">
                  <c:v>All Others</c:v>
                </c:pt>
                <c:pt idx="291">
                  <c:v>All Others</c:v>
                </c:pt>
                <c:pt idx="292">
                  <c:v>Soignon</c:v>
                </c:pt>
                <c:pt idx="293">
                  <c:v>All Others</c:v>
                </c:pt>
                <c:pt idx="294">
                  <c:v>Kiri</c:v>
                </c:pt>
                <c:pt idx="295">
                  <c:v>All Others</c:v>
                </c:pt>
                <c:pt idx="296">
                  <c:v>All Others</c:v>
                </c:pt>
                <c:pt idx="297">
                  <c:v>All Others</c:v>
                </c:pt>
                <c:pt idx="298">
                  <c:v>St Moret</c:v>
                </c:pt>
                <c:pt idx="299">
                  <c:v>Boursin</c:v>
                </c:pt>
                <c:pt idx="300">
                  <c:v>All Others</c:v>
                </c:pt>
                <c:pt idx="301">
                  <c:v>Chavroux</c:v>
                </c:pt>
                <c:pt idx="302">
                  <c:v>P'Tit Louis</c:v>
                </c:pt>
                <c:pt idx="303">
                  <c:v>All Others</c:v>
                </c:pt>
                <c:pt idx="304">
                  <c:v>All Others</c:v>
                </c:pt>
                <c:pt idx="305">
                  <c:v>All Others</c:v>
                </c:pt>
                <c:pt idx="306">
                  <c:v>Salakis</c:v>
                </c:pt>
                <c:pt idx="307">
                  <c:v>All Others</c:v>
                </c:pt>
                <c:pt idx="308">
                  <c:v>All Others</c:v>
                </c:pt>
                <c:pt idx="309">
                  <c:v>Salakis</c:v>
                </c:pt>
                <c:pt idx="310">
                  <c:v>All Others</c:v>
                </c:pt>
                <c:pt idx="311">
                  <c:v>Caprice Des</c:v>
                </c:pt>
                <c:pt idx="312">
                  <c:v>All Others</c:v>
                </c:pt>
                <c:pt idx="313">
                  <c:v>All Others</c:v>
                </c:pt>
                <c:pt idx="314">
                  <c:v>Triballat N</c:v>
                </c:pt>
                <c:pt idx="315">
                  <c:v>All Others</c:v>
                </c:pt>
                <c:pt idx="316">
                  <c:v>All Others</c:v>
                </c:pt>
                <c:pt idx="317">
                  <c:v>All Others</c:v>
                </c:pt>
                <c:pt idx="318">
                  <c:v>All Others</c:v>
                </c:pt>
                <c:pt idx="319">
                  <c:v>Mini Babybe</c:v>
                </c:pt>
                <c:pt idx="320">
                  <c:v>Lactalis: A</c:v>
                </c:pt>
                <c:pt idx="321">
                  <c:v>All Others</c:v>
                </c:pt>
                <c:pt idx="322">
                  <c:v>Istara</c:v>
                </c:pt>
                <c:pt idx="323">
                  <c:v>All Others</c:v>
                </c:pt>
                <c:pt idx="324">
                  <c:v>All Others</c:v>
                </c:pt>
                <c:pt idx="325">
                  <c:v>All Others</c:v>
                </c:pt>
                <c:pt idx="326">
                  <c:v>All Others</c:v>
                </c:pt>
                <c:pt idx="327">
                  <c:v>All Others</c:v>
                </c:pt>
                <c:pt idx="328">
                  <c:v>All Others</c:v>
                </c:pt>
                <c:pt idx="329">
                  <c:v>All Others</c:v>
                </c:pt>
                <c:pt idx="330">
                  <c:v>All Others</c:v>
                </c:pt>
                <c:pt idx="331">
                  <c:v>All Others</c:v>
                </c:pt>
                <c:pt idx="332">
                  <c:v>All Others</c:v>
                </c:pt>
                <c:pt idx="333">
                  <c:v>All Others</c:v>
                </c:pt>
                <c:pt idx="334">
                  <c:v>Le Brebiou</c:v>
                </c:pt>
                <c:pt idx="335">
                  <c:v>All Others</c:v>
                </c:pt>
                <c:pt idx="336">
                  <c:v>All Others</c:v>
                </c:pt>
                <c:pt idx="337">
                  <c:v>All Others</c:v>
                </c:pt>
                <c:pt idx="338">
                  <c:v>All Others</c:v>
                </c:pt>
                <c:pt idx="339">
                  <c:v>All Others</c:v>
                </c:pt>
                <c:pt idx="340">
                  <c:v>All Others</c:v>
                </c:pt>
                <c:pt idx="341">
                  <c:v>All Others</c:v>
                </c:pt>
                <c:pt idx="342">
                  <c:v>All Others</c:v>
                </c:pt>
                <c:pt idx="343">
                  <c:v>All Others</c:v>
                </c:pt>
                <c:pt idx="344">
                  <c:v>All Others</c:v>
                </c:pt>
                <c:pt idx="345">
                  <c:v>All Others</c:v>
                </c:pt>
                <c:pt idx="346">
                  <c:v>All Others</c:v>
                </c:pt>
                <c:pt idx="347">
                  <c:v>All Others</c:v>
                </c:pt>
                <c:pt idx="348">
                  <c:v>All Others</c:v>
                </c:pt>
                <c:pt idx="349">
                  <c:v>All Others</c:v>
                </c:pt>
                <c:pt idx="350">
                  <c:v>All Others</c:v>
                </c:pt>
                <c:pt idx="351">
                  <c:v>All Others</c:v>
                </c:pt>
                <c:pt idx="352">
                  <c:v>All Others</c:v>
                </c:pt>
                <c:pt idx="353">
                  <c:v>All Others</c:v>
                </c:pt>
                <c:pt idx="354">
                  <c:v>Etorki</c:v>
                </c:pt>
                <c:pt idx="355">
                  <c:v>All Others</c:v>
                </c:pt>
                <c:pt idx="356">
                  <c:v>Soignon</c:v>
                </c:pt>
                <c:pt idx="357">
                  <c:v>All Others</c:v>
                </c:pt>
                <c:pt idx="358">
                  <c:v>All Others</c:v>
                </c:pt>
                <c:pt idx="359">
                  <c:v>All Others</c:v>
                </c:pt>
                <c:pt idx="360">
                  <c:v>Lactalis: A</c:v>
                </c:pt>
                <c:pt idx="361">
                  <c:v>All Others</c:v>
                </c:pt>
                <c:pt idx="362">
                  <c:v>Tartare</c:v>
                </c:pt>
                <c:pt idx="363">
                  <c:v>All Others</c:v>
                </c:pt>
                <c:pt idx="364">
                  <c:v>All Others</c:v>
                </c:pt>
                <c:pt idx="365">
                  <c:v>All Others</c:v>
                </c:pt>
                <c:pt idx="366">
                  <c:v>Chavroux</c:v>
                </c:pt>
                <c:pt idx="367">
                  <c:v>All Others</c:v>
                </c:pt>
                <c:pt idx="368">
                  <c:v>All Others</c:v>
                </c:pt>
                <c:pt idx="369">
                  <c:v>All Others</c:v>
                </c:pt>
                <c:pt idx="370">
                  <c:v>Paysan Bret</c:v>
                </c:pt>
                <c:pt idx="371">
                  <c:v>All Others</c:v>
                </c:pt>
                <c:pt idx="372">
                  <c:v>All Others</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Other Suppl</c:v>
                </c:pt>
                <c:pt idx="390">
                  <c:v>All Others</c:v>
                </c:pt>
                <c:pt idx="391">
                  <c:v>All Others</c:v>
                </c:pt>
                <c:pt idx="392">
                  <c:v>All Others</c:v>
                </c:pt>
                <c:pt idx="393">
                  <c:v>All Others</c:v>
                </c:pt>
                <c:pt idx="394">
                  <c:v>All Others</c:v>
                </c:pt>
                <c:pt idx="395">
                  <c:v>Petit Billy</c:v>
                </c:pt>
                <c:pt idx="396">
                  <c:v>All Others</c:v>
                </c:pt>
                <c:pt idx="397">
                  <c:v>All Others</c:v>
                </c:pt>
                <c:pt idx="398">
                  <c:v>All Others</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Netto</c:v>
                </c:pt>
                <c:pt idx="420">
                  <c:v>All Others</c:v>
                </c:pt>
                <c:pt idx="421">
                  <c:v>All Others</c:v>
                </c:pt>
                <c:pt idx="422">
                  <c:v>Mini Babybe</c:v>
                </c:pt>
                <c:pt idx="423">
                  <c:v>Kiri</c:v>
                </c:pt>
                <c:pt idx="424">
                  <c:v>All Others</c:v>
                </c:pt>
                <c:pt idx="425">
                  <c:v>All Others</c:v>
                </c:pt>
                <c:pt idx="426">
                  <c:v>All Others</c:v>
                </c:pt>
                <c:pt idx="427">
                  <c:v>All Others</c:v>
                </c:pt>
                <c:pt idx="428">
                  <c:v>Mini Babybe</c:v>
                </c:pt>
                <c:pt idx="429">
                  <c:v>Corsica</c:v>
                </c:pt>
                <c:pt idx="430">
                  <c:v>All Others</c:v>
                </c:pt>
                <c:pt idx="431">
                  <c:v>Boursin</c:v>
                </c:pt>
                <c:pt idx="432">
                  <c:v>All Others</c:v>
                </c:pt>
              </c:strCache>
            </c:strRef>
          </c:cat>
          <c:val>
            <c:numRef>
              <c:f>Sheet1!$B$2:$B$434</c:f>
              <c:numCache>
                <c:formatCode>General</c:formatCode>
                <c:ptCount val="433"/>
                <c:pt idx="0">
                  <c:v>0.99</c:v>
                </c:pt>
                <c:pt idx="1">
                  <c:v>0.99</c:v>
                </c:pt>
                <c:pt idx="2">
                  <c:v>0.94</c:v>
                </c:pt>
                <c:pt idx="3">
                  <c:v>0.94</c:v>
                </c:pt>
                <c:pt idx="4">
                  <c:v>0.91</c:v>
                </c:pt>
                <c:pt idx="5">
                  <c:v>0.95</c:v>
                </c:pt>
                <c:pt idx="6">
                  <c:v>0.98</c:v>
                </c:pt>
                <c:pt idx="7">
                  <c:v>1</c:v>
                </c:pt>
                <c:pt idx="8">
                  <c:v>0.94</c:v>
                </c:pt>
                <c:pt idx="9">
                  <c:v>0.98</c:v>
                </c:pt>
                <c:pt idx="10">
                  <c:v>1</c:v>
                </c:pt>
                <c:pt idx="11">
                  <c:v>0.99</c:v>
                </c:pt>
                <c:pt idx="12">
                  <c:v>0.88</c:v>
                </c:pt>
                <c:pt idx="13">
                  <c:v>0.99</c:v>
                </c:pt>
                <c:pt idx="14">
                  <c:v>0.97</c:v>
                </c:pt>
                <c:pt idx="15">
                  <c:v>0.97</c:v>
                </c:pt>
                <c:pt idx="16">
                  <c:v>0.91</c:v>
                </c:pt>
                <c:pt idx="17">
                  <c:v>0.98</c:v>
                </c:pt>
                <c:pt idx="18">
                  <c:v>0.95</c:v>
                </c:pt>
                <c:pt idx="19">
                  <c:v>0.88</c:v>
                </c:pt>
                <c:pt idx="20">
                  <c:v>0.73</c:v>
                </c:pt>
                <c:pt idx="21">
                  <c:v>0.98</c:v>
                </c:pt>
                <c:pt idx="22">
                  <c:v>0.99</c:v>
                </c:pt>
                <c:pt idx="23">
                  <c:v>0.92</c:v>
                </c:pt>
                <c:pt idx="24">
                  <c:v>0.95</c:v>
                </c:pt>
                <c:pt idx="25">
                  <c:v>0.98</c:v>
                </c:pt>
                <c:pt idx="26">
                  <c:v>0.96</c:v>
                </c:pt>
                <c:pt idx="27">
                  <c:v>0.97</c:v>
                </c:pt>
                <c:pt idx="28">
                  <c:v>0.91</c:v>
                </c:pt>
                <c:pt idx="29">
                  <c:v>0.94</c:v>
                </c:pt>
                <c:pt idx="30">
                  <c:v>0.85</c:v>
                </c:pt>
                <c:pt idx="31">
                  <c:v>0.75</c:v>
                </c:pt>
                <c:pt idx="32">
                  <c:v>0.78</c:v>
                </c:pt>
                <c:pt idx="33">
                  <c:v>1</c:v>
                </c:pt>
                <c:pt idx="34">
                  <c:v>0.99</c:v>
                </c:pt>
                <c:pt idx="35">
                  <c:v>0.63</c:v>
                </c:pt>
                <c:pt idx="36">
                  <c:v>0.7</c:v>
                </c:pt>
                <c:pt idx="37">
                  <c:v>0.93</c:v>
                </c:pt>
                <c:pt idx="38">
                  <c:v>0.79</c:v>
                </c:pt>
                <c:pt idx="39">
                  <c:v>0.97</c:v>
                </c:pt>
                <c:pt idx="40">
                  <c:v>0.63</c:v>
                </c:pt>
                <c:pt idx="41">
                  <c:v>0.94</c:v>
                </c:pt>
                <c:pt idx="42">
                  <c:v>0.87</c:v>
                </c:pt>
                <c:pt idx="43">
                  <c:v>0.95</c:v>
                </c:pt>
                <c:pt idx="44">
                  <c:v>0.98</c:v>
                </c:pt>
                <c:pt idx="45">
                  <c:v>0.97</c:v>
                </c:pt>
                <c:pt idx="46">
                  <c:v>0.31</c:v>
                </c:pt>
                <c:pt idx="47">
                  <c:v>0.85</c:v>
                </c:pt>
                <c:pt idx="48">
                  <c:v>0.65</c:v>
                </c:pt>
                <c:pt idx="49">
                  <c:v>0.88</c:v>
                </c:pt>
                <c:pt idx="50">
                  <c:v>0.89</c:v>
                </c:pt>
                <c:pt idx="51">
                  <c:v>0.64</c:v>
                </c:pt>
                <c:pt idx="52">
                  <c:v>0.95</c:v>
                </c:pt>
                <c:pt idx="53">
                  <c:v>0.96</c:v>
                </c:pt>
                <c:pt idx="54">
                  <c:v>0.94</c:v>
                </c:pt>
                <c:pt idx="55">
                  <c:v>0.75</c:v>
                </c:pt>
                <c:pt idx="56">
                  <c:v>0.74</c:v>
                </c:pt>
                <c:pt idx="57">
                  <c:v>0.91</c:v>
                </c:pt>
                <c:pt idx="58">
                  <c:v>0.68</c:v>
                </c:pt>
                <c:pt idx="59">
                  <c:v>0.67</c:v>
                </c:pt>
                <c:pt idx="60">
                  <c:v>0.95</c:v>
                </c:pt>
                <c:pt idx="61">
                  <c:v>0.87</c:v>
                </c:pt>
                <c:pt idx="62">
                  <c:v>0.97</c:v>
                </c:pt>
                <c:pt idx="63">
                  <c:v>0.86</c:v>
                </c:pt>
                <c:pt idx="64">
                  <c:v>0.47</c:v>
                </c:pt>
                <c:pt idx="65">
                  <c:v>0.92</c:v>
                </c:pt>
                <c:pt idx="66">
                  <c:v>0.64</c:v>
                </c:pt>
                <c:pt idx="67">
                  <c:v>0.89</c:v>
                </c:pt>
                <c:pt idx="68">
                  <c:v>0.82</c:v>
                </c:pt>
                <c:pt idx="69">
                  <c:v>0.9</c:v>
                </c:pt>
                <c:pt idx="70">
                  <c:v>0.73</c:v>
                </c:pt>
                <c:pt idx="71">
                  <c:v>0.82</c:v>
                </c:pt>
                <c:pt idx="72">
                  <c:v>0.41</c:v>
                </c:pt>
                <c:pt idx="73">
                  <c:v>0.96</c:v>
                </c:pt>
                <c:pt idx="74">
                  <c:v>0.86</c:v>
                </c:pt>
                <c:pt idx="75">
                  <c:v>0.83</c:v>
                </c:pt>
                <c:pt idx="76">
                  <c:v>0.8</c:v>
                </c:pt>
                <c:pt idx="77">
                  <c:v>0.65</c:v>
                </c:pt>
                <c:pt idx="78">
                  <c:v>0.52</c:v>
                </c:pt>
                <c:pt idx="79">
                  <c:v>0.8</c:v>
                </c:pt>
                <c:pt idx="80">
                  <c:v>0.76</c:v>
                </c:pt>
                <c:pt idx="81">
                  <c:v>0.77</c:v>
                </c:pt>
                <c:pt idx="82">
                  <c:v>0.52</c:v>
                </c:pt>
                <c:pt idx="83">
                  <c:v>0.34</c:v>
                </c:pt>
                <c:pt idx="84">
                  <c:v>0.52</c:v>
                </c:pt>
                <c:pt idx="85">
                  <c:v>0.88</c:v>
                </c:pt>
                <c:pt idx="86">
                  <c:v>0.67</c:v>
                </c:pt>
                <c:pt idx="87">
                  <c:v>0.75</c:v>
                </c:pt>
                <c:pt idx="88">
                  <c:v>0.6</c:v>
                </c:pt>
                <c:pt idx="89">
                  <c:v>0.8</c:v>
                </c:pt>
                <c:pt idx="90">
                  <c:v>0.37</c:v>
                </c:pt>
                <c:pt idx="91">
                  <c:v>0.9</c:v>
                </c:pt>
                <c:pt idx="92">
                  <c:v>0.75</c:v>
                </c:pt>
                <c:pt idx="93">
                  <c:v>0.57999999999999996</c:v>
                </c:pt>
                <c:pt idx="94">
                  <c:v>0.7</c:v>
                </c:pt>
                <c:pt idx="95">
                  <c:v>0.47</c:v>
                </c:pt>
                <c:pt idx="96">
                  <c:v>0.67</c:v>
                </c:pt>
                <c:pt idx="97">
                  <c:v>0.69</c:v>
                </c:pt>
                <c:pt idx="98">
                  <c:v>0.74</c:v>
                </c:pt>
                <c:pt idx="99">
                  <c:v>0.75</c:v>
                </c:pt>
                <c:pt idx="100">
                  <c:v>0.79</c:v>
                </c:pt>
                <c:pt idx="101">
                  <c:v>0.35</c:v>
                </c:pt>
                <c:pt idx="102">
                  <c:v>0.74</c:v>
                </c:pt>
                <c:pt idx="103">
                  <c:v>0.5</c:v>
                </c:pt>
                <c:pt idx="104">
                  <c:v>0.66</c:v>
                </c:pt>
                <c:pt idx="105">
                  <c:v>0.53</c:v>
                </c:pt>
                <c:pt idx="106">
                  <c:v>0.8</c:v>
                </c:pt>
                <c:pt idx="107">
                  <c:v>0.92</c:v>
                </c:pt>
                <c:pt idx="108">
                  <c:v>0.81</c:v>
                </c:pt>
                <c:pt idx="109">
                  <c:v>0.38</c:v>
                </c:pt>
                <c:pt idx="110">
                  <c:v>0.66</c:v>
                </c:pt>
                <c:pt idx="111">
                  <c:v>0.47</c:v>
                </c:pt>
                <c:pt idx="112">
                  <c:v>0.86</c:v>
                </c:pt>
                <c:pt idx="113">
                  <c:v>0.78</c:v>
                </c:pt>
                <c:pt idx="114">
                  <c:v>0.84</c:v>
                </c:pt>
                <c:pt idx="115">
                  <c:v>0.7</c:v>
                </c:pt>
                <c:pt idx="116">
                  <c:v>0.23</c:v>
                </c:pt>
                <c:pt idx="117">
                  <c:v>0.7</c:v>
                </c:pt>
                <c:pt idx="118">
                  <c:v>0.48</c:v>
                </c:pt>
                <c:pt idx="119">
                  <c:v>0.48</c:v>
                </c:pt>
                <c:pt idx="120">
                  <c:v>0.71</c:v>
                </c:pt>
                <c:pt idx="121">
                  <c:v>0.84</c:v>
                </c:pt>
                <c:pt idx="122">
                  <c:v>0.62</c:v>
                </c:pt>
                <c:pt idx="123">
                  <c:v>0.67</c:v>
                </c:pt>
                <c:pt idx="124">
                  <c:v>0.68</c:v>
                </c:pt>
                <c:pt idx="125">
                  <c:v>0.37</c:v>
                </c:pt>
                <c:pt idx="126">
                  <c:v>0.73</c:v>
                </c:pt>
                <c:pt idx="127">
                  <c:v>0.77</c:v>
                </c:pt>
                <c:pt idx="128">
                  <c:v>0.47</c:v>
                </c:pt>
                <c:pt idx="129">
                  <c:v>0.55000000000000004</c:v>
                </c:pt>
                <c:pt idx="130">
                  <c:v>0.65</c:v>
                </c:pt>
                <c:pt idx="131">
                  <c:v>0.24</c:v>
                </c:pt>
                <c:pt idx="132">
                  <c:v>0.81</c:v>
                </c:pt>
                <c:pt idx="133">
                  <c:v>0.16</c:v>
                </c:pt>
                <c:pt idx="134">
                  <c:v>0.44</c:v>
                </c:pt>
                <c:pt idx="135">
                  <c:v>0.69</c:v>
                </c:pt>
                <c:pt idx="136">
                  <c:v>0.75</c:v>
                </c:pt>
                <c:pt idx="137">
                  <c:v>0.31</c:v>
                </c:pt>
                <c:pt idx="138">
                  <c:v>0.44</c:v>
                </c:pt>
                <c:pt idx="139">
                  <c:v>0.47</c:v>
                </c:pt>
                <c:pt idx="140">
                  <c:v>0.59</c:v>
                </c:pt>
                <c:pt idx="141">
                  <c:v>0.52</c:v>
                </c:pt>
                <c:pt idx="142">
                  <c:v>0.43</c:v>
                </c:pt>
                <c:pt idx="143">
                  <c:v>0.47</c:v>
                </c:pt>
                <c:pt idx="144">
                  <c:v>0.78</c:v>
                </c:pt>
                <c:pt idx="145">
                  <c:v>0.55000000000000004</c:v>
                </c:pt>
                <c:pt idx="146">
                  <c:v>0.52</c:v>
                </c:pt>
                <c:pt idx="147">
                  <c:v>0.15</c:v>
                </c:pt>
                <c:pt idx="148">
                  <c:v>0.39</c:v>
                </c:pt>
                <c:pt idx="149">
                  <c:v>0.52</c:v>
                </c:pt>
                <c:pt idx="150">
                  <c:v>0.55000000000000004</c:v>
                </c:pt>
                <c:pt idx="151">
                  <c:v>0.67</c:v>
                </c:pt>
                <c:pt idx="152">
                  <c:v>0.8</c:v>
                </c:pt>
                <c:pt idx="153">
                  <c:v>0.49</c:v>
                </c:pt>
                <c:pt idx="154">
                  <c:v>0.2</c:v>
                </c:pt>
                <c:pt idx="155">
                  <c:v>0.39</c:v>
                </c:pt>
                <c:pt idx="156">
                  <c:v>0.37</c:v>
                </c:pt>
                <c:pt idx="157">
                  <c:v>0.31</c:v>
                </c:pt>
                <c:pt idx="158">
                  <c:v>0.66</c:v>
                </c:pt>
                <c:pt idx="159">
                  <c:v>0.49</c:v>
                </c:pt>
                <c:pt idx="160">
                  <c:v>0.59</c:v>
                </c:pt>
                <c:pt idx="161">
                  <c:v>0.18</c:v>
                </c:pt>
                <c:pt idx="162">
                  <c:v>0.13</c:v>
                </c:pt>
                <c:pt idx="163">
                  <c:v>0.71</c:v>
                </c:pt>
                <c:pt idx="164">
                  <c:v>0.56000000000000005</c:v>
                </c:pt>
                <c:pt idx="165">
                  <c:v>0.16</c:v>
                </c:pt>
                <c:pt idx="166">
                  <c:v>0.52</c:v>
                </c:pt>
                <c:pt idx="167">
                  <c:v>0.48</c:v>
                </c:pt>
                <c:pt idx="168">
                  <c:v>0.51</c:v>
                </c:pt>
                <c:pt idx="169">
                  <c:v>0.28999999999999998</c:v>
                </c:pt>
                <c:pt idx="170">
                  <c:v>0.61</c:v>
                </c:pt>
                <c:pt idx="171">
                  <c:v>0.49</c:v>
                </c:pt>
                <c:pt idx="172">
                  <c:v>0.69</c:v>
                </c:pt>
                <c:pt idx="173">
                  <c:v>0.42</c:v>
                </c:pt>
                <c:pt idx="174">
                  <c:v>0.36</c:v>
                </c:pt>
                <c:pt idx="175">
                  <c:v>0.67</c:v>
                </c:pt>
                <c:pt idx="176">
                  <c:v>0.59</c:v>
                </c:pt>
                <c:pt idx="177">
                  <c:v>0.59</c:v>
                </c:pt>
                <c:pt idx="178">
                  <c:v>0.5</c:v>
                </c:pt>
                <c:pt idx="179">
                  <c:v>0.19</c:v>
                </c:pt>
                <c:pt idx="180">
                  <c:v>0.47</c:v>
                </c:pt>
                <c:pt idx="181">
                  <c:v>0.22</c:v>
                </c:pt>
                <c:pt idx="182">
                  <c:v>0.22</c:v>
                </c:pt>
                <c:pt idx="183">
                  <c:v>0.16</c:v>
                </c:pt>
                <c:pt idx="184">
                  <c:v>0.33</c:v>
                </c:pt>
                <c:pt idx="185">
                  <c:v>0.4</c:v>
                </c:pt>
                <c:pt idx="186">
                  <c:v>0.31</c:v>
                </c:pt>
                <c:pt idx="187">
                  <c:v>0.52</c:v>
                </c:pt>
                <c:pt idx="188">
                  <c:v>0.16</c:v>
                </c:pt>
                <c:pt idx="189">
                  <c:v>0.23</c:v>
                </c:pt>
                <c:pt idx="190">
                  <c:v>0.16</c:v>
                </c:pt>
                <c:pt idx="191">
                  <c:v>0.23</c:v>
                </c:pt>
                <c:pt idx="192">
                  <c:v>0.42</c:v>
                </c:pt>
                <c:pt idx="193">
                  <c:v>0.33</c:v>
                </c:pt>
                <c:pt idx="194">
                  <c:v>0.21</c:v>
                </c:pt>
                <c:pt idx="195">
                  <c:v>0.3</c:v>
                </c:pt>
                <c:pt idx="196">
                  <c:v>0.11</c:v>
                </c:pt>
                <c:pt idx="197">
                  <c:v>0.08</c:v>
                </c:pt>
                <c:pt idx="198">
                  <c:v>0.14000000000000001</c:v>
                </c:pt>
                <c:pt idx="199">
                  <c:v>0.11</c:v>
                </c:pt>
                <c:pt idx="200">
                  <c:v>0.34</c:v>
                </c:pt>
                <c:pt idx="201">
                  <c:v>0.32</c:v>
                </c:pt>
                <c:pt idx="202">
                  <c:v>0.44</c:v>
                </c:pt>
                <c:pt idx="203">
                  <c:v>0.39</c:v>
                </c:pt>
                <c:pt idx="204">
                  <c:v>0.37</c:v>
                </c:pt>
                <c:pt idx="205">
                  <c:v>0.19</c:v>
                </c:pt>
                <c:pt idx="206">
                  <c:v>0.16</c:v>
                </c:pt>
                <c:pt idx="207">
                  <c:v>0.25</c:v>
                </c:pt>
                <c:pt idx="208">
                  <c:v>0.11</c:v>
                </c:pt>
                <c:pt idx="209">
                  <c:v>0.36</c:v>
                </c:pt>
                <c:pt idx="210">
                  <c:v>0.22</c:v>
                </c:pt>
                <c:pt idx="211">
                  <c:v>0.15</c:v>
                </c:pt>
                <c:pt idx="212">
                  <c:v>0.3</c:v>
                </c:pt>
                <c:pt idx="213">
                  <c:v>0.18</c:v>
                </c:pt>
                <c:pt idx="214">
                  <c:v>0.16</c:v>
                </c:pt>
                <c:pt idx="215">
                  <c:v>0.27</c:v>
                </c:pt>
                <c:pt idx="216">
                  <c:v>0.3</c:v>
                </c:pt>
                <c:pt idx="217">
                  <c:v>0.27</c:v>
                </c:pt>
                <c:pt idx="218">
                  <c:v>0.21</c:v>
                </c:pt>
                <c:pt idx="219">
                  <c:v>0.13</c:v>
                </c:pt>
                <c:pt idx="220">
                  <c:v>0.21</c:v>
                </c:pt>
                <c:pt idx="221">
                  <c:v>0.25</c:v>
                </c:pt>
                <c:pt idx="222">
                  <c:v>0.46</c:v>
                </c:pt>
                <c:pt idx="223">
                  <c:v>0.26</c:v>
                </c:pt>
                <c:pt idx="224">
                  <c:v>0.27</c:v>
                </c:pt>
                <c:pt idx="225">
                  <c:v>0.43</c:v>
                </c:pt>
                <c:pt idx="226">
                  <c:v>0.15</c:v>
                </c:pt>
                <c:pt idx="227">
                  <c:v>0.23</c:v>
                </c:pt>
                <c:pt idx="228">
                  <c:v>0.17</c:v>
                </c:pt>
                <c:pt idx="229">
                  <c:v>0.24</c:v>
                </c:pt>
                <c:pt idx="230">
                  <c:v>0.26</c:v>
                </c:pt>
                <c:pt idx="231">
                  <c:v>7.0000000000000007E-2</c:v>
                </c:pt>
                <c:pt idx="232">
                  <c:v>0.33</c:v>
                </c:pt>
                <c:pt idx="233">
                  <c:v>0.24</c:v>
                </c:pt>
                <c:pt idx="234">
                  <c:v>0.06</c:v>
                </c:pt>
                <c:pt idx="235">
                  <c:v>0.24</c:v>
                </c:pt>
                <c:pt idx="236">
                  <c:v>0.09</c:v>
                </c:pt>
                <c:pt idx="237">
                  <c:v>7.0000000000000007E-2</c:v>
                </c:pt>
                <c:pt idx="238">
                  <c:v>0.08</c:v>
                </c:pt>
                <c:pt idx="239">
                  <c:v>0.02</c:v>
                </c:pt>
                <c:pt idx="240">
                  <c:v>0.17</c:v>
                </c:pt>
                <c:pt idx="241">
                  <c:v>0.13</c:v>
                </c:pt>
                <c:pt idx="242">
                  <c:v>0.48</c:v>
                </c:pt>
                <c:pt idx="243">
                  <c:v>0.16</c:v>
                </c:pt>
                <c:pt idx="244">
                  <c:v>0.18</c:v>
                </c:pt>
                <c:pt idx="245">
                  <c:v>0.26</c:v>
                </c:pt>
                <c:pt idx="246">
                  <c:v>0.2</c:v>
                </c:pt>
                <c:pt idx="247">
                  <c:v>0.23</c:v>
                </c:pt>
                <c:pt idx="248">
                  <c:v>0.25</c:v>
                </c:pt>
                <c:pt idx="249">
                  <c:v>0.21</c:v>
                </c:pt>
                <c:pt idx="250">
                  <c:v>0.11</c:v>
                </c:pt>
                <c:pt idx="251">
                  <c:v>0.25</c:v>
                </c:pt>
                <c:pt idx="252">
                  <c:v>0.21</c:v>
                </c:pt>
                <c:pt idx="253">
                  <c:v>0.11</c:v>
                </c:pt>
                <c:pt idx="254">
                  <c:v>0.06</c:v>
                </c:pt>
                <c:pt idx="255">
                  <c:v>0.23</c:v>
                </c:pt>
                <c:pt idx="256">
                  <c:v>0.19</c:v>
                </c:pt>
                <c:pt idx="257">
                  <c:v>0.14000000000000001</c:v>
                </c:pt>
                <c:pt idx="258">
                  <c:v>0.05</c:v>
                </c:pt>
                <c:pt idx="259">
                  <c:v>0.05</c:v>
                </c:pt>
                <c:pt idx="260">
                  <c:v>0.03</c:v>
                </c:pt>
                <c:pt idx="261">
                  <c:v>0.13</c:v>
                </c:pt>
                <c:pt idx="262">
                  <c:v>0.08</c:v>
                </c:pt>
                <c:pt idx="263">
                  <c:v>0.19</c:v>
                </c:pt>
                <c:pt idx="264">
                  <c:v>0.03</c:v>
                </c:pt>
                <c:pt idx="265">
                  <c:v>7.0000000000000007E-2</c:v>
                </c:pt>
                <c:pt idx="266">
                  <c:v>0.11</c:v>
                </c:pt>
                <c:pt idx="267">
                  <c:v>0.15</c:v>
                </c:pt>
                <c:pt idx="268">
                  <c:v>0.24</c:v>
                </c:pt>
                <c:pt idx="269">
                  <c:v>0.13</c:v>
                </c:pt>
                <c:pt idx="270">
                  <c:v>0.08</c:v>
                </c:pt>
                <c:pt idx="271">
                  <c:v>0.06</c:v>
                </c:pt>
                <c:pt idx="272">
                  <c:v>0.03</c:v>
                </c:pt>
                <c:pt idx="273">
                  <c:v>0.08</c:v>
                </c:pt>
                <c:pt idx="274">
                  <c:v>0.18</c:v>
                </c:pt>
                <c:pt idx="275">
                  <c:v>0.08</c:v>
                </c:pt>
                <c:pt idx="276">
                  <c:v>0.13</c:v>
                </c:pt>
                <c:pt idx="277">
                  <c:v>0.13</c:v>
                </c:pt>
                <c:pt idx="278">
                  <c:v>0.05</c:v>
                </c:pt>
                <c:pt idx="279">
                  <c:v>0.28000000000000003</c:v>
                </c:pt>
                <c:pt idx="280">
                  <c:v>0.09</c:v>
                </c:pt>
                <c:pt idx="281">
                  <c:v>0.09</c:v>
                </c:pt>
                <c:pt idx="282">
                  <c:v>0.03</c:v>
                </c:pt>
                <c:pt idx="283">
                  <c:v>7.0000000000000007E-2</c:v>
                </c:pt>
                <c:pt idx="284">
                  <c:v>0.1</c:v>
                </c:pt>
                <c:pt idx="285">
                  <c:v>7.0000000000000007E-2</c:v>
                </c:pt>
                <c:pt idx="286">
                  <c:v>0.14000000000000001</c:v>
                </c:pt>
                <c:pt idx="287">
                  <c:v>0.05</c:v>
                </c:pt>
                <c:pt idx="288">
                  <c:v>0.03</c:v>
                </c:pt>
                <c:pt idx="289">
                  <c:v>0.11</c:v>
                </c:pt>
                <c:pt idx="290">
                  <c:v>0.04</c:v>
                </c:pt>
                <c:pt idx="291">
                  <c:v>7.0000000000000007E-2</c:v>
                </c:pt>
                <c:pt idx="292">
                  <c:v>0.18</c:v>
                </c:pt>
                <c:pt idx="293">
                  <c:v>0.03</c:v>
                </c:pt>
                <c:pt idx="294">
                  <c:v>0.1</c:v>
                </c:pt>
                <c:pt idx="295">
                  <c:v>0.05</c:v>
                </c:pt>
                <c:pt idx="296">
                  <c:v>0.04</c:v>
                </c:pt>
                <c:pt idx="297">
                  <c:v>0.04</c:v>
                </c:pt>
                <c:pt idx="298">
                  <c:v>0.03</c:v>
                </c:pt>
                <c:pt idx="299">
                  <c:v>0.14000000000000001</c:v>
                </c:pt>
                <c:pt idx="300">
                  <c:v>0.04</c:v>
                </c:pt>
                <c:pt idx="301">
                  <c:v>0.3</c:v>
                </c:pt>
                <c:pt idx="302">
                  <c:v>7.0000000000000007E-2</c:v>
                </c:pt>
                <c:pt idx="303">
                  <c:v>0.04</c:v>
                </c:pt>
                <c:pt idx="304">
                  <c:v>0.01</c:v>
                </c:pt>
                <c:pt idx="305">
                  <c:v>0.08</c:v>
                </c:pt>
                <c:pt idx="306">
                  <c:v>0.08</c:v>
                </c:pt>
                <c:pt idx="307">
                  <c:v>0.01</c:v>
                </c:pt>
                <c:pt idx="308">
                  <c:v>0.04</c:v>
                </c:pt>
                <c:pt idx="309">
                  <c:v>0.08</c:v>
                </c:pt>
                <c:pt idx="310">
                  <c:v>0.05</c:v>
                </c:pt>
                <c:pt idx="311">
                  <c:v>0.03</c:v>
                </c:pt>
                <c:pt idx="312">
                  <c:v>0.03</c:v>
                </c:pt>
                <c:pt idx="313">
                  <c:v>0.02</c:v>
                </c:pt>
                <c:pt idx="314">
                  <c:v>0.09</c:v>
                </c:pt>
                <c:pt idx="315">
                  <c:v>0.09</c:v>
                </c:pt>
                <c:pt idx="316">
                  <c:v>0.06</c:v>
                </c:pt>
                <c:pt idx="317">
                  <c:v>0.04</c:v>
                </c:pt>
                <c:pt idx="318">
                  <c:v>0.04</c:v>
                </c:pt>
                <c:pt idx="319">
                  <c:v>0.13</c:v>
                </c:pt>
                <c:pt idx="320">
                  <c:v>0.04</c:v>
                </c:pt>
                <c:pt idx="321">
                  <c:v>0.01</c:v>
                </c:pt>
                <c:pt idx="322">
                  <c:v>0.03</c:v>
                </c:pt>
                <c:pt idx="323">
                  <c:v>0.06</c:v>
                </c:pt>
                <c:pt idx="324">
                  <c:v>0.06</c:v>
                </c:pt>
                <c:pt idx="325">
                  <c:v>0.02</c:v>
                </c:pt>
                <c:pt idx="326">
                  <c:v>0.01</c:v>
                </c:pt>
                <c:pt idx="327">
                  <c:v>0.02</c:v>
                </c:pt>
                <c:pt idx="328">
                  <c:v>0.04</c:v>
                </c:pt>
                <c:pt idx="329">
                  <c:v>0.05</c:v>
                </c:pt>
                <c:pt idx="330">
                  <c:v>0.04</c:v>
                </c:pt>
                <c:pt idx="331">
                  <c:v>0.01</c:v>
                </c:pt>
                <c:pt idx="332">
                  <c:v>0.03</c:v>
                </c:pt>
                <c:pt idx="333">
                  <c:v>0.01</c:v>
                </c:pt>
                <c:pt idx="334">
                  <c:v>0.06</c:v>
                </c:pt>
                <c:pt idx="335">
                  <c:v>0.01</c:v>
                </c:pt>
                <c:pt idx="336">
                  <c:v>0.03</c:v>
                </c:pt>
                <c:pt idx="337">
                  <c:v>0.04</c:v>
                </c:pt>
                <c:pt idx="338">
                  <c:v>0.02</c:v>
                </c:pt>
                <c:pt idx="339">
                  <c:v>0.01</c:v>
                </c:pt>
                <c:pt idx="340">
                  <c:v>0.01</c:v>
                </c:pt>
                <c:pt idx="341">
                  <c:v>0.01</c:v>
                </c:pt>
                <c:pt idx="342">
                  <c:v>0.02</c:v>
                </c:pt>
                <c:pt idx="343">
                  <c:v>0.04</c:v>
                </c:pt>
                <c:pt idx="344">
                  <c:v>0.03</c:v>
                </c:pt>
                <c:pt idx="345">
                  <c:v>0.01</c:v>
                </c:pt>
                <c:pt idx="346">
                  <c:v>0.01</c:v>
                </c:pt>
                <c:pt idx="347">
                  <c:v>0.01</c:v>
                </c:pt>
                <c:pt idx="348">
                  <c:v>0.02</c:v>
                </c:pt>
                <c:pt idx="349">
                  <c:v>0.02</c:v>
                </c:pt>
                <c:pt idx="350">
                  <c:v>0.03</c:v>
                </c:pt>
                <c:pt idx="351">
                  <c:v>0.01</c:v>
                </c:pt>
                <c:pt idx="352">
                  <c:v>0.01</c:v>
                </c:pt>
                <c:pt idx="353">
                  <c:v>0.01</c:v>
                </c:pt>
                <c:pt idx="354">
                  <c:v>0.04</c:v>
                </c:pt>
                <c:pt idx="355">
                  <c:v>7.0000000000000007E-2</c:v>
                </c:pt>
                <c:pt idx="356">
                  <c:v>0.1</c:v>
                </c:pt>
                <c:pt idx="357">
                  <c:v>7.0000000000000007E-2</c:v>
                </c:pt>
                <c:pt idx="358">
                  <c:v>0.02</c:v>
                </c:pt>
                <c:pt idx="359">
                  <c:v>0.02</c:v>
                </c:pt>
                <c:pt idx="360">
                  <c:v>0.01</c:v>
                </c:pt>
                <c:pt idx="361">
                  <c:v>0.01</c:v>
                </c:pt>
                <c:pt idx="362">
                  <c:v>0.03</c:v>
                </c:pt>
                <c:pt idx="363">
                  <c:v>0.01</c:v>
                </c:pt>
                <c:pt idx="364">
                  <c:v>0.02</c:v>
                </c:pt>
                <c:pt idx="365">
                  <c:v>0.02</c:v>
                </c:pt>
                <c:pt idx="366">
                  <c:v>0.03</c:v>
                </c:pt>
                <c:pt idx="367">
                  <c:v>0.01</c:v>
                </c:pt>
                <c:pt idx="368">
                  <c:v>0.02</c:v>
                </c:pt>
                <c:pt idx="369">
                  <c:v>0.02</c:v>
                </c:pt>
                <c:pt idx="370">
                  <c:v>0.04</c:v>
                </c:pt>
                <c:pt idx="371">
                  <c:v>0.02</c:v>
                </c:pt>
                <c:pt idx="372">
                  <c:v>0.02</c:v>
                </c:pt>
                <c:pt idx="373">
                  <c:v>0.01</c:v>
                </c:pt>
                <c:pt idx="374">
                  <c:v>0.01</c:v>
                </c:pt>
                <c:pt idx="375">
                  <c:v>0.01</c:v>
                </c:pt>
                <c:pt idx="376">
                  <c:v>0.01</c:v>
                </c:pt>
                <c:pt idx="377">
                  <c:v>0.01</c:v>
                </c:pt>
                <c:pt idx="378">
                  <c:v>0.01</c:v>
                </c:pt>
                <c:pt idx="379">
                  <c:v>0.01</c:v>
                </c:pt>
                <c:pt idx="380">
                  <c:v>0.01</c:v>
                </c:pt>
                <c:pt idx="381">
                  <c:v>0.01</c:v>
                </c:pt>
                <c:pt idx="382">
                  <c:v>0.02</c:v>
                </c:pt>
                <c:pt idx="383">
                  <c:v>0.01</c:v>
                </c:pt>
                <c:pt idx="384">
                  <c:v>0.01</c:v>
                </c:pt>
                <c:pt idx="385">
                  <c:v>0.01</c:v>
                </c:pt>
                <c:pt idx="386">
                  <c:v>0.01</c:v>
                </c:pt>
                <c:pt idx="387">
                  <c:v>0.01</c:v>
                </c:pt>
                <c:pt idx="388">
                  <c:v>0.01</c:v>
                </c:pt>
                <c:pt idx="389">
                  <c:v>0.03</c:v>
                </c:pt>
                <c:pt idx="390">
                  <c:v>0.01</c:v>
                </c:pt>
                <c:pt idx="391">
                  <c:v>0.01</c:v>
                </c:pt>
                <c:pt idx="392">
                  <c:v>0.02</c:v>
                </c:pt>
                <c:pt idx="393">
                  <c:v>0.01</c:v>
                </c:pt>
                <c:pt idx="394">
                  <c:v>0.03</c:v>
                </c:pt>
                <c:pt idx="395">
                  <c:v>0.03</c:v>
                </c:pt>
                <c:pt idx="396">
                  <c:v>0.02</c:v>
                </c:pt>
                <c:pt idx="397">
                  <c:v>0.01</c:v>
                </c:pt>
                <c:pt idx="398">
                  <c:v>0.01</c:v>
                </c:pt>
                <c:pt idx="399">
                  <c:v>0.01</c:v>
                </c:pt>
                <c:pt idx="400">
                  <c:v>0.01</c:v>
                </c:pt>
                <c:pt idx="401">
                  <c:v>0.01</c:v>
                </c:pt>
                <c:pt idx="402">
                  <c:v>0.01</c:v>
                </c:pt>
                <c:pt idx="403">
                  <c:v>0.01</c:v>
                </c:pt>
                <c:pt idx="404">
                  <c:v>0.01</c:v>
                </c:pt>
                <c:pt idx="405">
                  <c:v>0.02</c:v>
                </c:pt>
                <c:pt idx="406">
                  <c:v>0.01</c:v>
                </c:pt>
                <c:pt idx="407">
                  <c:v>0.01</c:v>
                </c:pt>
                <c:pt idx="408">
                  <c:v>0.02</c:v>
                </c:pt>
                <c:pt idx="409">
                  <c:v>0.01</c:v>
                </c:pt>
                <c:pt idx="410">
                  <c:v>0.01</c:v>
                </c:pt>
                <c:pt idx="411">
                  <c:v>0.01</c:v>
                </c:pt>
                <c:pt idx="412">
                  <c:v>0.01</c:v>
                </c:pt>
                <c:pt idx="413">
                  <c:v>0.01</c:v>
                </c:pt>
                <c:pt idx="414">
                  <c:v>0.03</c:v>
                </c:pt>
                <c:pt idx="415">
                  <c:v>0.01</c:v>
                </c:pt>
                <c:pt idx="416">
                  <c:v>0.01</c:v>
                </c:pt>
                <c:pt idx="417">
                  <c:v>0.01</c:v>
                </c:pt>
                <c:pt idx="418">
                  <c:v>0.01</c:v>
                </c:pt>
                <c:pt idx="419">
                  <c:v>0.01</c:v>
                </c:pt>
                <c:pt idx="420">
                  <c:v>0.02</c:v>
                </c:pt>
                <c:pt idx="421">
                  <c:v>0.01</c:v>
                </c:pt>
                <c:pt idx="422">
                  <c:v>0.08</c:v>
                </c:pt>
                <c:pt idx="423">
                  <c:v>0.05</c:v>
                </c:pt>
                <c:pt idx="424">
                  <c:v>0.01</c:v>
                </c:pt>
                <c:pt idx="425">
                  <c:v>0.01</c:v>
                </c:pt>
                <c:pt idx="426">
                  <c:v>0.01</c:v>
                </c:pt>
                <c:pt idx="427">
                  <c:v>0.01</c:v>
                </c:pt>
                <c:pt idx="428">
                  <c:v>0.01</c:v>
                </c:pt>
                <c:pt idx="429">
                  <c:v>0.01</c:v>
                </c:pt>
                <c:pt idx="430">
                  <c:v>0.01</c:v>
                </c:pt>
                <c:pt idx="431">
                  <c:v>0.01</c:v>
                </c:pt>
                <c:pt idx="43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0327-4D8D-A2DD-06FF3F04B03F}"/>
              </c:ext>
            </c:extLst>
          </c:dPt>
          <c:dPt>
            <c:idx val="211"/>
            <c:invertIfNegative val="1"/>
            <c:bubble3D val="0"/>
            <c:spPr>
              <a:solidFill>
                <a:srgbClr val="AEABAB"/>
              </a:solidFill>
            </c:spPr>
            <c:extLst>
              <c:ext xmlns:c16="http://schemas.microsoft.com/office/drawing/2014/chart" uri="{C3380CC4-5D6E-409C-BE32-E72D297353CC}">
                <c16:uniqueId val="{000001A9-0327-4D8D-A2DD-06FF3F04B03F}"/>
              </c:ext>
            </c:extLst>
          </c:dPt>
          <c:dPt>
            <c:idx val="212"/>
            <c:invertIfNegative val="1"/>
            <c:bubble3D val="0"/>
            <c:spPr>
              <a:solidFill>
                <a:srgbClr val="AEABAB"/>
              </a:solidFill>
            </c:spPr>
            <c:extLst>
              <c:ext xmlns:c16="http://schemas.microsoft.com/office/drawing/2014/chart" uri="{C3380CC4-5D6E-409C-BE32-E72D297353CC}">
                <c16:uniqueId val="{000001AB-0327-4D8D-A2DD-06FF3F04B03F}"/>
              </c:ext>
            </c:extLst>
          </c:dPt>
          <c:dPt>
            <c:idx val="213"/>
            <c:invertIfNegative val="1"/>
            <c:bubble3D val="0"/>
            <c:spPr>
              <a:solidFill>
                <a:srgbClr val="AEABAB"/>
              </a:solidFill>
            </c:spPr>
            <c:extLst>
              <c:ext xmlns:c16="http://schemas.microsoft.com/office/drawing/2014/chart" uri="{C3380CC4-5D6E-409C-BE32-E72D297353CC}">
                <c16:uniqueId val="{000001AD-0327-4D8D-A2DD-06FF3F04B03F}"/>
              </c:ext>
            </c:extLst>
          </c:dPt>
          <c:dPt>
            <c:idx val="214"/>
            <c:invertIfNegative val="1"/>
            <c:bubble3D val="0"/>
            <c:spPr>
              <a:solidFill>
                <a:srgbClr val="AEABAB"/>
              </a:solidFill>
            </c:spPr>
            <c:extLst>
              <c:ext xmlns:c16="http://schemas.microsoft.com/office/drawing/2014/chart" uri="{C3380CC4-5D6E-409C-BE32-E72D297353CC}">
                <c16:uniqueId val="{000001AF-0327-4D8D-A2DD-06FF3F04B03F}"/>
              </c:ext>
            </c:extLst>
          </c:dPt>
          <c:dPt>
            <c:idx val="215"/>
            <c:invertIfNegative val="1"/>
            <c:bubble3D val="0"/>
            <c:spPr>
              <a:solidFill>
                <a:srgbClr val="AEABAB"/>
              </a:solidFill>
            </c:spPr>
            <c:extLst>
              <c:ext xmlns:c16="http://schemas.microsoft.com/office/drawing/2014/chart" uri="{C3380CC4-5D6E-409C-BE32-E72D297353CC}">
                <c16:uniqueId val="{000001B1-0327-4D8D-A2DD-06FF3F04B03F}"/>
              </c:ext>
            </c:extLst>
          </c:dPt>
          <c:dPt>
            <c:idx val="216"/>
            <c:invertIfNegative val="1"/>
            <c:bubble3D val="0"/>
            <c:spPr>
              <a:solidFill>
                <a:srgbClr val="AEABAB"/>
              </a:solidFill>
            </c:spPr>
            <c:extLst>
              <c:ext xmlns:c16="http://schemas.microsoft.com/office/drawing/2014/chart" uri="{C3380CC4-5D6E-409C-BE32-E72D297353CC}">
                <c16:uniqueId val="{000001B3-0327-4D8D-A2DD-06FF3F04B03F}"/>
              </c:ext>
            </c:extLst>
          </c:dPt>
          <c:dPt>
            <c:idx val="217"/>
            <c:invertIfNegative val="1"/>
            <c:bubble3D val="0"/>
            <c:spPr>
              <a:solidFill>
                <a:srgbClr val="AEABAB"/>
              </a:solidFill>
            </c:spPr>
            <c:extLst>
              <c:ext xmlns:c16="http://schemas.microsoft.com/office/drawing/2014/chart" uri="{C3380CC4-5D6E-409C-BE32-E72D297353CC}">
                <c16:uniqueId val="{000001B5-0327-4D8D-A2DD-06FF3F04B03F}"/>
              </c:ext>
            </c:extLst>
          </c:dPt>
          <c:dPt>
            <c:idx val="218"/>
            <c:invertIfNegative val="1"/>
            <c:bubble3D val="0"/>
            <c:spPr>
              <a:solidFill>
                <a:srgbClr val="AEABAB"/>
              </a:solidFill>
            </c:spPr>
            <c:extLst>
              <c:ext xmlns:c16="http://schemas.microsoft.com/office/drawing/2014/chart" uri="{C3380CC4-5D6E-409C-BE32-E72D297353CC}">
                <c16:uniqueId val="{000001B7-0327-4D8D-A2DD-06FF3F04B03F}"/>
              </c:ext>
            </c:extLst>
          </c:dPt>
          <c:dPt>
            <c:idx val="219"/>
            <c:invertIfNegative val="1"/>
            <c:bubble3D val="0"/>
            <c:spPr>
              <a:solidFill>
                <a:srgbClr val="AEABAB"/>
              </a:solidFill>
            </c:spPr>
            <c:extLst>
              <c:ext xmlns:c16="http://schemas.microsoft.com/office/drawing/2014/chart" uri="{C3380CC4-5D6E-409C-BE32-E72D297353CC}">
                <c16:uniqueId val="{000001B9-0327-4D8D-A2DD-06FF3F04B03F}"/>
              </c:ext>
            </c:extLst>
          </c:dPt>
          <c:dPt>
            <c:idx val="220"/>
            <c:invertIfNegative val="1"/>
            <c:bubble3D val="0"/>
            <c:spPr>
              <a:solidFill>
                <a:srgbClr val="AEABAB"/>
              </a:solidFill>
            </c:spPr>
            <c:extLst>
              <c:ext xmlns:c16="http://schemas.microsoft.com/office/drawing/2014/chart" uri="{C3380CC4-5D6E-409C-BE32-E72D297353CC}">
                <c16:uniqueId val="{000001BB-0327-4D8D-A2DD-06FF3F04B03F}"/>
              </c:ext>
            </c:extLst>
          </c:dPt>
          <c:dPt>
            <c:idx val="221"/>
            <c:invertIfNegative val="1"/>
            <c:bubble3D val="0"/>
            <c:spPr>
              <a:solidFill>
                <a:srgbClr val="AEABAB"/>
              </a:solidFill>
            </c:spPr>
            <c:extLst>
              <c:ext xmlns:c16="http://schemas.microsoft.com/office/drawing/2014/chart" uri="{C3380CC4-5D6E-409C-BE32-E72D297353CC}">
                <c16:uniqueId val="{000001BD-0327-4D8D-A2DD-06FF3F04B03F}"/>
              </c:ext>
            </c:extLst>
          </c:dPt>
          <c:dPt>
            <c:idx val="222"/>
            <c:invertIfNegative val="1"/>
            <c:bubble3D val="0"/>
            <c:spPr>
              <a:solidFill>
                <a:srgbClr val="AEABAB"/>
              </a:solidFill>
            </c:spPr>
            <c:extLst>
              <c:ext xmlns:c16="http://schemas.microsoft.com/office/drawing/2014/chart" uri="{C3380CC4-5D6E-409C-BE32-E72D297353CC}">
                <c16:uniqueId val="{000001BF-0327-4D8D-A2DD-06FF3F04B03F}"/>
              </c:ext>
            </c:extLst>
          </c:dPt>
          <c:dPt>
            <c:idx val="223"/>
            <c:invertIfNegative val="1"/>
            <c:bubble3D val="0"/>
            <c:spPr>
              <a:solidFill>
                <a:srgbClr val="AEABAB"/>
              </a:solidFill>
            </c:spPr>
            <c:extLst>
              <c:ext xmlns:c16="http://schemas.microsoft.com/office/drawing/2014/chart" uri="{C3380CC4-5D6E-409C-BE32-E72D297353CC}">
                <c16:uniqueId val="{000001C1-0327-4D8D-A2DD-06FF3F04B03F}"/>
              </c:ext>
            </c:extLst>
          </c:dPt>
          <c:dPt>
            <c:idx val="224"/>
            <c:invertIfNegative val="1"/>
            <c:bubble3D val="0"/>
            <c:spPr>
              <a:solidFill>
                <a:srgbClr val="AEABAB"/>
              </a:solidFill>
            </c:spPr>
            <c:extLst>
              <c:ext xmlns:c16="http://schemas.microsoft.com/office/drawing/2014/chart" uri="{C3380CC4-5D6E-409C-BE32-E72D297353CC}">
                <c16:uniqueId val="{000001C3-0327-4D8D-A2DD-06FF3F04B03F}"/>
              </c:ext>
            </c:extLst>
          </c:dPt>
          <c:dPt>
            <c:idx val="225"/>
            <c:invertIfNegative val="1"/>
            <c:bubble3D val="0"/>
            <c:spPr>
              <a:solidFill>
                <a:srgbClr val="AEABAB"/>
              </a:solidFill>
            </c:spPr>
            <c:extLst>
              <c:ext xmlns:c16="http://schemas.microsoft.com/office/drawing/2014/chart" uri="{C3380CC4-5D6E-409C-BE32-E72D297353CC}">
                <c16:uniqueId val="{000001C5-0327-4D8D-A2DD-06FF3F04B03F}"/>
              </c:ext>
            </c:extLst>
          </c:dPt>
          <c:dPt>
            <c:idx val="226"/>
            <c:invertIfNegative val="1"/>
            <c:bubble3D val="0"/>
            <c:spPr>
              <a:solidFill>
                <a:srgbClr val="AEABAB"/>
              </a:solidFill>
            </c:spPr>
            <c:extLst>
              <c:ext xmlns:c16="http://schemas.microsoft.com/office/drawing/2014/chart" uri="{C3380CC4-5D6E-409C-BE32-E72D297353CC}">
                <c16:uniqueId val="{000001C7-0327-4D8D-A2DD-06FF3F04B03F}"/>
              </c:ext>
            </c:extLst>
          </c:dPt>
          <c:dPt>
            <c:idx val="227"/>
            <c:invertIfNegative val="1"/>
            <c:bubble3D val="0"/>
            <c:spPr>
              <a:solidFill>
                <a:srgbClr val="AEABAB"/>
              </a:solidFill>
            </c:spPr>
            <c:extLst>
              <c:ext xmlns:c16="http://schemas.microsoft.com/office/drawing/2014/chart" uri="{C3380CC4-5D6E-409C-BE32-E72D297353CC}">
                <c16:uniqueId val="{000001C9-0327-4D8D-A2DD-06FF3F04B03F}"/>
              </c:ext>
            </c:extLst>
          </c:dPt>
          <c:dPt>
            <c:idx val="228"/>
            <c:invertIfNegative val="1"/>
            <c:bubble3D val="0"/>
            <c:spPr>
              <a:solidFill>
                <a:srgbClr val="AEABAB"/>
              </a:solidFill>
            </c:spPr>
            <c:extLst>
              <c:ext xmlns:c16="http://schemas.microsoft.com/office/drawing/2014/chart" uri="{C3380CC4-5D6E-409C-BE32-E72D297353CC}">
                <c16:uniqueId val="{000001CB-0327-4D8D-A2DD-06FF3F04B03F}"/>
              </c:ext>
            </c:extLst>
          </c:dPt>
          <c:dPt>
            <c:idx val="229"/>
            <c:invertIfNegative val="1"/>
            <c:bubble3D val="0"/>
            <c:spPr>
              <a:solidFill>
                <a:srgbClr val="AEABAB"/>
              </a:solidFill>
            </c:spPr>
            <c:extLst>
              <c:ext xmlns:c16="http://schemas.microsoft.com/office/drawing/2014/chart" uri="{C3380CC4-5D6E-409C-BE32-E72D297353CC}">
                <c16:uniqueId val="{000001CD-0327-4D8D-A2DD-06FF3F04B03F}"/>
              </c:ext>
            </c:extLst>
          </c:dPt>
          <c:dPt>
            <c:idx val="230"/>
            <c:invertIfNegative val="1"/>
            <c:bubble3D val="0"/>
            <c:spPr>
              <a:solidFill>
                <a:srgbClr val="AEABAB"/>
              </a:solidFill>
            </c:spPr>
            <c:extLst>
              <c:ext xmlns:c16="http://schemas.microsoft.com/office/drawing/2014/chart" uri="{C3380CC4-5D6E-409C-BE32-E72D297353CC}">
                <c16:uniqueId val="{000001CF-0327-4D8D-A2DD-06FF3F04B03F}"/>
              </c:ext>
            </c:extLst>
          </c:dPt>
          <c:dPt>
            <c:idx val="231"/>
            <c:invertIfNegative val="1"/>
            <c:bubble3D val="0"/>
            <c:spPr>
              <a:solidFill>
                <a:srgbClr val="AEABAB"/>
              </a:solidFill>
            </c:spPr>
            <c:extLst>
              <c:ext xmlns:c16="http://schemas.microsoft.com/office/drawing/2014/chart" uri="{C3380CC4-5D6E-409C-BE32-E72D297353CC}">
                <c16:uniqueId val="{000001D1-0327-4D8D-A2DD-06FF3F04B03F}"/>
              </c:ext>
            </c:extLst>
          </c:dPt>
          <c:dPt>
            <c:idx val="232"/>
            <c:invertIfNegative val="1"/>
            <c:bubble3D val="0"/>
            <c:spPr>
              <a:solidFill>
                <a:srgbClr val="AEABAB"/>
              </a:solidFill>
            </c:spPr>
            <c:extLst>
              <c:ext xmlns:c16="http://schemas.microsoft.com/office/drawing/2014/chart" uri="{C3380CC4-5D6E-409C-BE32-E72D297353CC}">
                <c16:uniqueId val="{000001D3-0327-4D8D-A2DD-06FF3F04B03F}"/>
              </c:ext>
            </c:extLst>
          </c:dPt>
          <c:dPt>
            <c:idx val="233"/>
            <c:invertIfNegative val="1"/>
            <c:bubble3D val="0"/>
            <c:spPr>
              <a:solidFill>
                <a:srgbClr val="AEABAB"/>
              </a:solidFill>
            </c:spPr>
            <c:extLst>
              <c:ext xmlns:c16="http://schemas.microsoft.com/office/drawing/2014/chart" uri="{C3380CC4-5D6E-409C-BE32-E72D297353CC}">
                <c16:uniqueId val="{000001D5-0327-4D8D-A2DD-06FF3F04B03F}"/>
              </c:ext>
            </c:extLst>
          </c:dPt>
          <c:dPt>
            <c:idx val="234"/>
            <c:invertIfNegative val="1"/>
            <c:bubble3D val="0"/>
            <c:spPr>
              <a:solidFill>
                <a:srgbClr val="AEABAB"/>
              </a:solidFill>
            </c:spPr>
            <c:extLst>
              <c:ext xmlns:c16="http://schemas.microsoft.com/office/drawing/2014/chart" uri="{C3380CC4-5D6E-409C-BE32-E72D297353CC}">
                <c16:uniqueId val="{000001D7-0327-4D8D-A2DD-06FF3F04B03F}"/>
              </c:ext>
            </c:extLst>
          </c:dPt>
          <c:dPt>
            <c:idx val="235"/>
            <c:invertIfNegative val="1"/>
            <c:bubble3D val="0"/>
            <c:spPr>
              <a:solidFill>
                <a:srgbClr val="AEABAB"/>
              </a:solidFill>
            </c:spPr>
            <c:extLst>
              <c:ext xmlns:c16="http://schemas.microsoft.com/office/drawing/2014/chart" uri="{C3380CC4-5D6E-409C-BE32-E72D297353CC}">
                <c16:uniqueId val="{000001D9-0327-4D8D-A2DD-06FF3F04B03F}"/>
              </c:ext>
            </c:extLst>
          </c:dPt>
          <c:dPt>
            <c:idx val="236"/>
            <c:invertIfNegative val="1"/>
            <c:bubble3D val="0"/>
            <c:spPr>
              <a:solidFill>
                <a:srgbClr val="AEABAB"/>
              </a:solidFill>
            </c:spPr>
            <c:extLst>
              <c:ext xmlns:c16="http://schemas.microsoft.com/office/drawing/2014/chart" uri="{C3380CC4-5D6E-409C-BE32-E72D297353CC}">
                <c16:uniqueId val="{000001DB-0327-4D8D-A2DD-06FF3F04B03F}"/>
              </c:ext>
            </c:extLst>
          </c:dPt>
          <c:dPt>
            <c:idx val="237"/>
            <c:invertIfNegative val="1"/>
            <c:bubble3D val="0"/>
            <c:spPr>
              <a:solidFill>
                <a:srgbClr val="AEABAB"/>
              </a:solidFill>
            </c:spPr>
            <c:extLst>
              <c:ext xmlns:c16="http://schemas.microsoft.com/office/drawing/2014/chart" uri="{C3380CC4-5D6E-409C-BE32-E72D297353CC}">
                <c16:uniqueId val="{000001DD-0327-4D8D-A2DD-06FF3F04B03F}"/>
              </c:ext>
            </c:extLst>
          </c:dPt>
          <c:dPt>
            <c:idx val="238"/>
            <c:invertIfNegative val="1"/>
            <c:bubble3D val="0"/>
            <c:spPr>
              <a:solidFill>
                <a:srgbClr val="AEABAB"/>
              </a:solidFill>
            </c:spPr>
            <c:extLst>
              <c:ext xmlns:c16="http://schemas.microsoft.com/office/drawing/2014/chart" uri="{C3380CC4-5D6E-409C-BE32-E72D297353CC}">
                <c16:uniqueId val="{000001DF-0327-4D8D-A2DD-06FF3F04B03F}"/>
              </c:ext>
            </c:extLst>
          </c:dPt>
          <c:dPt>
            <c:idx val="239"/>
            <c:invertIfNegative val="1"/>
            <c:bubble3D val="0"/>
            <c:spPr>
              <a:solidFill>
                <a:srgbClr val="AEABAB"/>
              </a:solidFill>
            </c:spPr>
            <c:extLst>
              <c:ext xmlns:c16="http://schemas.microsoft.com/office/drawing/2014/chart" uri="{C3380CC4-5D6E-409C-BE32-E72D297353CC}">
                <c16:uniqueId val="{000001E1-0327-4D8D-A2DD-06FF3F04B03F}"/>
              </c:ext>
            </c:extLst>
          </c:dPt>
          <c:dPt>
            <c:idx val="240"/>
            <c:invertIfNegative val="1"/>
            <c:bubble3D val="0"/>
            <c:spPr>
              <a:solidFill>
                <a:srgbClr val="AEABAB"/>
              </a:solidFill>
            </c:spPr>
            <c:extLst>
              <c:ext xmlns:c16="http://schemas.microsoft.com/office/drawing/2014/chart" uri="{C3380CC4-5D6E-409C-BE32-E72D297353CC}">
                <c16:uniqueId val="{000001E3-0327-4D8D-A2DD-06FF3F04B03F}"/>
              </c:ext>
            </c:extLst>
          </c:dPt>
          <c:dPt>
            <c:idx val="241"/>
            <c:invertIfNegative val="1"/>
            <c:bubble3D val="0"/>
            <c:spPr>
              <a:solidFill>
                <a:srgbClr val="AEABAB"/>
              </a:solidFill>
            </c:spPr>
            <c:extLst>
              <c:ext xmlns:c16="http://schemas.microsoft.com/office/drawing/2014/chart" uri="{C3380CC4-5D6E-409C-BE32-E72D297353CC}">
                <c16:uniqueId val="{000001E5-0327-4D8D-A2DD-06FF3F04B03F}"/>
              </c:ext>
            </c:extLst>
          </c:dPt>
          <c:dPt>
            <c:idx val="242"/>
            <c:invertIfNegative val="1"/>
            <c:bubble3D val="0"/>
            <c:spPr>
              <a:solidFill>
                <a:srgbClr val="AEABAB"/>
              </a:solidFill>
            </c:spPr>
            <c:extLst>
              <c:ext xmlns:c16="http://schemas.microsoft.com/office/drawing/2014/chart" uri="{C3380CC4-5D6E-409C-BE32-E72D297353CC}">
                <c16:uniqueId val="{000001E7-0327-4D8D-A2DD-06FF3F04B03F}"/>
              </c:ext>
            </c:extLst>
          </c:dPt>
          <c:dPt>
            <c:idx val="243"/>
            <c:invertIfNegative val="1"/>
            <c:bubble3D val="0"/>
            <c:spPr>
              <a:solidFill>
                <a:srgbClr val="AEABAB"/>
              </a:solidFill>
            </c:spPr>
            <c:extLst>
              <c:ext xmlns:c16="http://schemas.microsoft.com/office/drawing/2014/chart" uri="{C3380CC4-5D6E-409C-BE32-E72D297353CC}">
                <c16:uniqueId val="{000001E9-0327-4D8D-A2DD-06FF3F04B03F}"/>
              </c:ext>
            </c:extLst>
          </c:dPt>
          <c:dPt>
            <c:idx val="244"/>
            <c:invertIfNegative val="1"/>
            <c:bubble3D val="0"/>
            <c:spPr>
              <a:solidFill>
                <a:srgbClr val="AEABAB"/>
              </a:solidFill>
            </c:spPr>
            <c:extLst>
              <c:ext xmlns:c16="http://schemas.microsoft.com/office/drawing/2014/chart" uri="{C3380CC4-5D6E-409C-BE32-E72D297353CC}">
                <c16:uniqueId val="{000001EB-0327-4D8D-A2DD-06FF3F04B03F}"/>
              </c:ext>
            </c:extLst>
          </c:dPt>
          <c:dPt>
            <c:idx val="245"/>
            <c:invertIfNegative val="1"/>
            <c:bubble3D val="0"/>
            <c:spPr>
              <a:solidFill>
                <a:srgbClr val="AEABAB"/>
              </a:solidFill>
            </c:spPr>
            <c:extLst>
              <c:ext xmlns:c16="http://schemas.microsoft.com/office/drawing/2014/chart" uri="{C3380CC4-5D6E-409C-BE32-E72D297353CC}">
                <c16:uniqueId val="{000001ED-0327-4D8D-A2DD-06FF3F04B03F}"/>
              </c:ext>
            </c:extLst>
          </c:dPt>
          <c:dPt>
            <c:idx val="246"/>
            <c:invertIfNegative val="1"/>
            <c:bubble3D val="0"/>
            <c:spPr>
              <a:solidFill>
                <a:srgbClr val="AEABAB"/>
              </a:solidFill>
            </c:spPr>
            <c:extLst>
              <c:ext xmlns:c16="http://schemas.microsoft.com/office/drawing/2014/chart" uri="{C3380CC4-5D6E-409C-BE32-E72D297353CC}">
                <c16:uniqueId val="{000001EF-0327-4D8D-A2DD-06FF3F04B03F}"/>
              </c:ext>
            </c:extLst>
          </c:dPt>
          <c:dPt>
            <c:idx val="247"/>
            <c:invertIfNegative val="1"/>
            <c:bubble3D val="0"/>
            <c:spPr>
              <a:solidFill>
                <a:srgbClr val="AEABAB"/>
              </a:solidFill>
            </c:spPr>
            <c:extLst>
              <c:ext xmlns:c16="http://schemas.microsoft.com/office/drawing/2014/chart" uri="{C3380CC4-5D6E-409C-BE32-E72D297353CC}">
                <c16:uniqueId val="{000001F1-0327-4D8D-A2DD-06FF3F04B03F}"/>
              </c:ext>
            </c:extLst>
          </c:dPt>
          <c:dPt>
            <c:idx val="248"/>
            <c:invertIfNegative val="1"/>
            <c:bubble3D val="0"/>
            <c:spPr>
              <a:solidFill>
                <a:srgbClr val="AEABAB"/>
              </a:solidFill>
            </c:spPr>
            <c:extLst>
              <c:ext xmlns:c16="http://schemas.microsoft.com/office/drawing/2014/chart" uri="{C3380CC4-5D6E-409C-BE32-E72D297353CC}">
                <c16:uniqueId val="{000001F3-0327-4D8D-A2DD-06FF3F04B03F}"/>
              </c:ext>
            </c:extLst>
          </c:dPt>
          <c:dPt>
            <c:idx val="249"/>
            <c:invertIfNegative val="1"/>
            <c:bubble3D val="0"/>
            <c:spPr>
              <a:solidFill>
                <a:srgbClr val="AEABAB"/>
              </a:solidFill>
            </c:spPr>
            <c:extLst>
              <c:ext xmlns:c16="http://schemas.microsoft.com/office/drawing/2014/chart" uri="{C3380CC4-5D6E-409C-BE32-E72D297353CC}">
                <c16:uniqueId val="{000001F5-0327-4D8D-A2DD-06FF3F04B03F}"/>
              </c:ext>
            </c:extLst>
          </c:dPt>
          <c:dPt>
            <c:idx val="250"/>
            <c:invertIfNegative val="1"/>
            <c:bubble3D val="0"/>
            <c:spPr>
              <a:solidFill>
                <a:srgbClr val="AEABAB"/>
              </a:solidFill>
            </c:spPr>
            <c:extLst>
              <c:ext xmlns:c16="http://schemas.microsoft.com/office/drawing/2014/chart" uri="{C3380CC4-5D6E-409C-BE32-E72D297353CC}">
                <c16:uniqueId val="{000001F7-0327-4D8D-A2DD-06FF3F04B03F}"/>
              </c:ext>
            </c:extLst>
          </c:dPt>
          <c:dPt>
            <c:idx val="251"/>
            <c:invertIfNegative val="1"/>
            <c:bubble3D val="0"/>
            <c:spPr>
              <a:solidFill>
                <a:srgbClr val="AEABAB"/>
              </a:solidFill>
            </c:spPr>
            <c:extLst>
              <c:ext xmlns:c16="http://schemas.microsoft.com/office/drawing/2014/chart" uri="{C3380CC4-5D6E-409C-BE32-E72D297353CC}">
                <c16:uniqueId val="{000001F9-0327-4D8D-A2DD-06FF3F04B03F}"/>
              </c:ext>
            </c:extLst>
          </c:dPt>
          <c:dPt>
            <c:idx val="252"/>
            <c:invertIfNegative val="1"/>
            <c:bubble3D val="0"/>
            <c:spPr>
              <a:solidFill>
                <a:srgbClr val="AEABAB"/>
              </a:solidFill>
            </c:spPr>
            <c:extLst>
              <c:ext xmlns:c16="http://schemas.microsoft.com/office/drawing/2014/chart" uri="{C3380CC4-5D6E-409C-BE32-E72D297353CC}">
                <c16:uniqueId val="{000001FB-0327-4D8D-A2DD-06FF3F04B03F}"/>
              </c:ext>
            </c:extLst>
          </c:dPt>
          <c:dPt>
            <c:idx val="253"/>
            <c:invertIfNegative val="1"/>
            <c:bubble3D val="0"/>
            <c:spPr>
              <a:solidFill>
                <a:srgbClr val="AEABAB"/>
              </a:solidFill>
            </c:spPr>
            <c:extLst>
              <c:ext xmlns:c16="http://schemas.microsoft.com/office/drawing/2014/chart" uri="{C3380CC4-5D6E-409C-BE32-E72D297353CC}">
                <c16:uniqueId val="{000001FD-0327-4D8D-A2DD-06FF3F04B03F}"/>
              </c:ext>
            </c:extLst>
          </c:dPt>
          <c:dPt>
            <c:idx val="254"/>
            <c:invertIfNegative val="1"/>
            <c:bubble3D val="0"/>
            <c:spPr>
              <a:solidFill>
                <a:srgbClr val="AEABAB"/>
              </a:solidFill>
            </c:spPr>
            <c:extLst>
              <c:ext xmlns:c16="http://schemas.microsoft.com/office/drawing/2014/chart" uri="{C3380CC4-5D6E-409C-BE32-E72D297353CC}">
                <c16:uniqueId val="{000001FF-0327-4D8D-A2DD-06FF3F04B03F}"/>
              </c:ext>
            </c:extLst>
          </c:dPt>
          <c:dPt>
            <c:idx val="255"/>
            <c:invertIfNegative val="1"/>
            <c:bubble3D val="0"/>
            <c:spPr>
              <a:solidFill>
                <a:srgbClr val="AEABAB"/>
              </a:solidFill>
            </c:spPr>
            <c:extLst>
              <c:ext xmlns:c16="http://schemas.microsoft.com/office/drawing/2014/chart" uri="{C3380CC4-5D6E-409C-BE32-E72D297353CC}">
                <c16:uniqueId val="{00000201-0327-4D8D-A2DD-06FF3F04B03F}"/>
              </c:ext>
            </c:extLst>
          </c:dPt>
          <c:dPt>
            <c:idx val="256"/>
            <c:invertIfNegative val="1"/>
            <c:bubble3D val="0"/>
            <c:spPr>
              <a:solidFill>
                <a:srgbClr val="AEABAB"/>
              </a:solidFill>
            </c:spPr>
            <c:extLst>
              <c:ext xmlns:c16="http://schemas.microsoft.com/office/drawing/2014/chart" uri="{C3380CC4-5D6E-409C-BE32-E72D297353CC}">
                <c16:uniqueId val="{00000203-0327-4D8D-A2DD-06FF3F04B03F}"/>
              </c:ext>
            </c:extLst>
          </c:dPt>
          <c:dPt>
            <c:idx val="257"/>
            <c:invertIfNegative val="1"/>
            <c:bubble3D val="0"/>
            <c:spPr>
              <a:solidFill>
                <a:srgbClr val="AEABAB"/>
              </a:solidFill>
            </c:spPr>
            <c:extLst>
              <c:ext xmlns:c16="http://schemas.microsoft.com/office/drawing/2014/chart" uri="{C3380CC4-5D6E-409C-BE32-E72D297353CC}">
                <c16:uniqueId val="{00000205-0327-4D8D-A2DD-06FF3F04B03F}"/>
              </c:ext>
            </c:extLst>
          </c:dPt>
          <c:dPt>
            <c:idx val="258"/>
            <c:invertIfNegative val="1"/>
            <c:bubble3D val="0"/>
            <c:spPr>
              <a:solidFill>
                <a:srgbClr val="AEABAB"/>
              </a:solidFill>
            </c:spPr>
            <c:extLst>
              <c:ext xmlns:c16="http://schemas.microsoft.com/office/drawing/2014/chart" uri="{C3380CC4-5D6E-409C-BE32-E72D297353CC}">
                <c16:uniqueId val="{00000207-0327-4D8D-A2DD-06FF3F04B03F}"/>
              </c:ext>
            </c:extLst>
          </c:dPt>
          <c:dPt>
            <c:idx val="259"/>
            <c:invertIfNegative val="1"/>
            <c:bubble3D val="0"/>
            <c:spPr>
              <a:solidFill>
                <a:srgbClr val="AEABAB"/>
              </a:solidFill>
            </c:spPr>
            <c:extLst>
              <c:ext xmlns:c16="http://schemas.microsoft.com/office/drawing/2014/chart" uri="{C3380CC4-5D6E-409C-BE32-E72D297353CC}">
                <c16:uniqueId val="{00000209-0327-4D8D-A2DD-06FF3F04B03F}"/>
              </c:ext>
            </c:extLst>
          </c:dPt>
          <c:dPt>
            <c:idx val="260"/>
            <c:invertIfNegative val="1"/>
            <c:bubble3D val="0"/>
            <c:spPr>
              <a:solidFill>
                <a:srgbClr val="AEABAB"/>
              </a:solidFill>
            </c:spPr>
            <c:extLst>
              <c:ext xmlns:c16="http://schemas.microsoft.com/office/drawing/2014/chart" uri="{C3380CC4-5D6E-409C-BE32-E72D297353CC}">
                <c16:uniqueId val="{0000020B-0327-4D8D-A2DD-06FF3F04B03F}"/>
              </c:ext>
            </c:extLst>
          </c:dPt>
          <c:dPt>
            <c:idx val="261"/>
            <c:invertIfNegative val="1"/>
            <c:bubble3D val="0"/>
            <c:spPr>
              <a:solidFill>
                <a:srgbClr val="AEABAB"/>
              </a:solidFill>
            </c:spPr>
            <c:extLst>
              <c:ext xmlns:c16="http://schemas.microsoft.com/office/drawing/2014/chart" uri="{C3380CC4-5D6E-409C-BE32-E72D297353CC}">
                <c16:uniqueId val="{0000020D-0327-4D8D-A2DD-06FF3F04B03F}"/>
              </c:ext>
            </c:extLst>
          </c:dPt>
          <c:dPt>
            <c:idx val="262"/>
            <c:invertIfNegative val="1"/>
            <c:bubble3D val="0"/>
            <c:spPr>
              <a:solidFill>
                <a:srgbClr val="AEABAB"/>
              </a:solidFill>
            </c:spPr>
            <c:extLst>
              <c:ext xmlns:c16="http://schemas.microsoft.com/office/drawing/2014/chart" uri="{C3380CC4-5D6E-409C-BE32-E72D297353CC}">
                <c16:uniqueId val="{0000020F-0327-4D8D-A2DD-06FF3F04B03F}"/>
              </c:ext>
            </c:extLst>
          </c:dPt>
          <c:dPt>
            <c:idx val="263"/>
            <c:invertIfNegative val="1"/>
            <c:bubble3D val="0"/>
            <c:spPr>
              <a:solidFill>
                <a:srgbClr val="AEABAB"/>
              </a:solidFill>
            </c:spPr>
            <c:extLst>
              <c:ext xmlns:c16="http://schemas.microsoft.com/office/drawing/2014/chart" uri="{C3380CC4-5D6E-409C-BE32-E72D297353CC}">
                <c16:uniqueId val="{00000211-0327-4D8D-A2DD-06FF3F04B03F}"/>
              </c:ext>
            </c:extLst>
          </c:dPt>
          <c:dPt>
            <c:idx val="264"/>
            <c:invertIfNegative val="1"/>
            <c:bubble3D val="0"/>
            <c:spPr>
              <a:solidFill>
                <a:srgbClr val="AEABAB"/>
              </a:solidFill>
            </c:spPr>
            <c:extLst>
              <c:ext xmlns:c16="http://schemas.microsoft.com/office/drawing/2014/chart" uri="{C3380CC4-5D6E-409C-BE32-E72D297353CC}">
                <c16:uniqueId val="{00000213-0327-4D8D-A2DD-06FF3F04B03F}"/>
              </c:ext>
            </c:extLst>
          </c:dPt>
          <c:dPt>
            <c:idx val="265"/>
            <c:invertIfNegative val="1"/>
            <c:bubble3D val="0"/>
            <c:spPr>
              <a:solidFill>
                <a:srgbClr val="AEABAB"/>
              </a:solidFill>
            </c:spPr>
            <c:extLst>
              <c:ext xmlns:c16="http://schemas.microsoft.com/office/drawing/2014/chart" uri="{C3380CC4-5D6E-409C-BE32-E72D297353CC}">
                <c16:uniqueId val="{00000215-0327-4D8D-A2DD-06FF3F04B03F}"/>
              </c:ext>
            </c:extLst>
          </c:dPt>
          <c:dPt>
            <c:idx val="266"/>
            <c:invertIfNegative val="1"/>
            <c:bubble3D val="0"/>
            <c:spPr>
              <a:solidFill>
                <a:srgbClr val="AEABAB"/>
              </a:solidFill>
            </c:spPr>
            <c:extLst>
              <c:ext xmlns:c16="http://schemas.microsoft.com/office/drawing/2014/chart" uri="{C3380CC4-5D6E-409C-BE32-E72D297353CC}">
                <c16:uniqueId val="{00000217-0327-4D8D-A2DD-06FF3F04B03F}"/>
              </c:ext>
            </c:extLst>
          </c:dPt>
          <c:dPt>
            <c:idx val="267"/>
            <c:invertIfNegative val="1"/>
            <c:bubble3D val="0"/>
            <c:spPr>
              <a:solidFill>
                <a:srgbClr val="AEABAB"/>
              </a:solidFill>
            </c:spPr>
            <c:extLst>
              <c:ext xmlns:c16="http://schemas.microsoft.com/office/drawing/2014/chart" uri="{C3380CC4-5D6E-409C-BE32-E72D297353CC}">
                <c16:uniqueId val="{00000219-0327-4D8D-A2DD-06FF3F04B03F}"/>
              </c:ext>
            </c:extLst>
          </c:dPt>
          <c:dPt>
            <c:idx val="268"/>
            <c:invertIfNegative val="1"/>
            <c:bubble3D val="0"/>
            <c:spPr>
              <a:solidFill>
                <a:srgbClr val="AEABAB"/>
              </a:solidFill>
            </c:spPr>
            <c:extLst>
              <c:ext xmlns:c16="http://schemas.microsoft.com/office/drawing/2014/chart" uri="{C3380CC4-5D6E-409C-BE32-E72D297353CC}">
                <c16:uniqueId val="{0000021B-0327-4D8D-A2DD-06FF3F04B03F}"/>
              </c:ext>
            </c:extLst>
          </c:dPt>
          <c:dPt>
            <c:idx val="269"/>
            <c:invertIfNegative val="1"/>
            <c:bubble3D val="0"/>
            <c:spPr>
              <a:solidFill>
                <a:srgbClr val="AEABAB"/>
              </a:solidFill>
            </c:spPr>
            <c:extLst>
              <c:ext xmlns:c16="http://schemas.microsoft.com/office/drawing/2014/chart" uri="{C3380CC4-5D6E-409C-BE32-E72D297353CC}">
                <c16:uniqueId val="{0000021D-0327-4D8D-A2DD-06FF3F04B03F}"/>
              </c:ext>
            </c:extLst>
          </c:dPt>
          <c:dPt>
            <c:idx val="270"/>
            <c:invertIfNegative val="1"/>
            <c:bubble3D val="0"/>
            <c:spPr>
              <a:solidFill>
                <a:srgbClr val="AEABAB"/>
              </a:solidFill>
            </c:spPr>
            <c:extLst>
              <c:ext xmlns:c16="http://schemas.microsoft.com/office/drawing/2014/chart" uri="{C3380CC4-5D6E-409C-BE32-E72D297353CC}">
                <c16:uniqueId val="{0000021F-0327-4D8D-A2DD-06FF3F04B03F}"/>
              </c:ext>
            </c:extLst>
          </c:dPt>
          <c:dPt>
            <c:idx val="271"/>
            <c:invertIfNegative val="1"/>
            <c:bubble3D val="0"/>
            <c:spPr>
              <a:solidFill>
                <a:srgbClr val="AEABAB"/>
              </a:solidFill>
            </c:spPr>
            <c:extLst>
              <c:ext xmlns:c16="http://schemas.microsoft.com/office/drawing/2014/chart" uri="{C3380CC4-5D6E-409C-BE32-E72D297353CC}">
                <c16:uniqueId val="{00000221-0327-4D8D-A2DD-06FF3F04B03F}"/>
              </c:ext>
            </c:extLst>
          </c:dPt>
          <c:dPt>
            <c:idx val="272"/>
            <c:invertIfNegative val="1"/>
            <c:bubble3D val="0"/>
            <c:spPr>
              <a:solidFill>
                <a:srgbClr val="AEABAB"/>
              </a:solidFill>
            </c:spPr>
            <c:extLst>
              <c:ext xmlns:c16="http://schemas.microsoft.com/office/drawing/2014/chart" uri="{C3380CC4-5D6E-409C-BE32-E72D297353CC}">
                <c16:uniqueId val="{00000223-0327-4D8D-A2DD-06FF3F04B03F}"/>
              </c:ext>
            </c:extLst>
          </c:dPt>
          <c:dPt>
            <c:idx val="273"/>
            <c:invertIfNegative val="1"/>
            <c:bubble3D val="0"/>
            <c:spPr>
              <a:solidFill>
                <a:srgbClr val="AEABAB"/>
              </a:solidFill>
            </c:spPr>
            <c:extLst>
              <c:ext xmlns:c16="http://schemas.microsoft.com/office/drawing/2014/chart" uri="{C3380CC4-5D6E-409C-BE32-E72D297353CC}">
                <c16:uniqueId val="{00000225-0327-4D8D-A2DD-06FF3F04B03F}"/>
              </c:ext>
            </c:extLst>
          </c:dPt>
          <c:dPt>
            <c:idx val="274"/>
            <c:invertIfNegative val="1"/>
            <c:bubble3D val="0"/>
            <c:spPr>
              <a:solidFill>
                <a:srgbClr val="AEABAB"/>
              </a:solidFill>
            </c:spPr>
            <c:extLst>
              <c:ext xmlns:c16="http://schemas.microsoft.com/office/drawing/2014/chart" uri="{C3380CC4-5D6E-409C-BE32-E72D297353CC}">
                <c16:uniqueId val="{00000227-0327-4D8D-A2DD-06FF3F04B03F}"/>
              </c:ext>
            </c:extLst>
          </c:dPt>
          <c:dPt>
            <c:idx val="275"/>
            <c:invertIfNegative val="1"/>
            <c:bubble3D val="0"/>
            <c:spPr>
              <a:solidFill>
                <a:srgbClr val="AEABAB"/>
              </a:solidFill>
            </c:spPr>
            <c:extLst>
              <c:ext xmlns:c16="http://schemas.microsoft.com/office/drawing/2014/chart" uri="{C3380CC4-5D6E-409C-BE32-E72D297353CC}">
                <c16:uniqueId val="{00000229-0327-4D8D-A2DD-06FF3F04B03F}"/>
              </c:ext>
            </c:extLst>
          </c:dPt>
          <c:dPt>
            <c:idx val="276"/>
            <c:invertIfNegative val="1"/>
            <c:bubble3D val="0"/>
            <c:spPr>
              <a:solidFill>
                <a:srgbClr val="AEABAB"/>
              </a:solidFill>
            </c:spPr>
            <c:extLst>
              <c:ext xmlns:c16="http://schemas.microsoft.com/office/drawing/2014/chart" uri="{C3380CC4-5D6E-409C-BE32-E72D297353CC}">
                <c16:uniqueId val="{0000022B-0327-4D8D-A2DD-06FF3F04B03F}"/>
              </c:ext>
            </c:extLst>
          </c:dPt>
          <c:dPt>
            <c:idx val="277"/>
            <c:invertIfNegative val="1"/>
            <c:bubble3D val="0"/>
            <c:spPr>
              <a:solidFill>
                <a:srgbClr val="AEABAB"/>
              </a:solidFill>
            </c:spPr>
            <c:extLst>
              <c:ext xmlns:c16="http://schemas.microsoft.com/office/drawing/2014/chart" uri="{C3380CC4-5D6E-409C-BE32-E72D297353CC}">
                <c16:uniqueId val="{0000022D-0327-4D8D-A2DD-06FF3F04B03F}"/>
              </c:ext>
            </c:extLst>
          </c:dPt>
          <c:dPt>
            <c:idx val="278"/>
            <c:invertIfNegative val="1"/>
            <c:bubble3D val="0"/>
            <c:spPr>
              <a:solidFill>
                <a:srgbClr val="AEABAB"/>
              </a:solidFill>
            </c:spPr>
            <c:extLst>
              <c:ext xmlns:c16="http://schemas.microsoft.com/office/drawing/2014/chart" uri="{C3380CC4-5D6E-409C-BE32-E72D297353CC}">
                <c16:uniqueId val="{0000022F-0327-4D8D-A2DD-06FF3F04B03F}"/>
              </c:ext>
            </c:extLst>
          </c:dPt>
          <c:dPt>
            <c:idx val="279"/>
            <c:invertIfNegative val="1"/>
            <c:bubble3D val="0"/>
            <c:spPr>
              <a:solidFill>
                <a:srgbClr val="AEABAB"/>
              </a:solidFill>
            </c:spPr>
            <c:extLst>
              <c:ext xmlns:c16="http://schemas.microsoft.com/office/drawing/2014/chart" uri="{C3380CC4-5D6E-409C-BE32-E72D297353CC}">
                <c16:uniqueId val="{00000231-0327-4D8D-A2DD-06FF3F04B03F}"/>
              </c:ext>
            </c:extLst>
          </c:dPt>
          <c:dPt>
            <c:idx val="280"/>
            <c:invertIfNegative val="1"/>
            <c:bubble3D val="0"/>
            <c:spPr>
              <a:solidFill>
                <a:srgbClr val="AEABAB"/>
              </a:solidFill>
            </c:spPr>
            <c:extLst>
              <c:ext xmlns:c16="http://schemas.microsoft.com/office/drawing/2014/chart" uri="{C3380CC4-5D6E-409C-BE32-E72D297353CC}">
                <c16:uniqueId val="{00000233-0327-4D8D-A2DD-06FF3F04B03F}"/>
              </c:ext>
            </c:extLst>
          </c:dPt>
          <c:dPt>
            <c:idx val="281"/>
            <c:invertIfNegative val="1"/>
            <c:bubble3D val="0"/>
            <c:spPr>
              <a:solidFill>
                <a:srgbClr val="AEABAB"/>
              </a:solidFill>
            </c:spPr>
            <c:extLst>
              <c:ext xmlns:c16="http://schemas.microsoft.com/office/drawing/2014/chart" uri="{C3380CC4-5D6E-409C-BE32-E72D297353CC}">
                <c16:uniqueId val="{00000235-0327-4D8D-A2DD-06FF3F04B03F}"/>
              </c:ext>
            </c:extLst>
          </c:dPt>
          <c:dPt>
            <c:idx val="282"/>
            <c:invertIfNegative val="1"/>
            <c:bubble3D val="0"/>
            <c:spPr>
              <a:solidFill>
                <a:srgbClr val="AEABAB"/>
              </a:solidFill>
            </c:spPr>
            <c:extLst>
              <c:ext xmlns:c16="http://schemas.microsoft.com/office/drawing/2014/chart" uri="{C3380CC4-5D6E-409C-BE32-E72D297353CC}">
                <c16:uniqueId val="{00000237-0327-4D8D-A2DD-06FF3F04B03F}"/>
              </c:ext>
            </c:extLst>
          </c:dPt>
          <c:dPt>
            <c:idx val="283"/>
            <c:invertIfNegative val="1"/>
            <c:bubble3D val="0"/>
            <c:spPr>
              <a:solidFill>
                <a:srgbClr val="AEABAB"/>
              </a:solidFill>
            </c:spPr>
            <c:extLst>
              <c:ext xmlns:c16="http://schemas.microsoft.com/office/drawing/2014/chart" uri="{C3380CC4-5D6E-409C-BE32-E72D297353CC}">
                <c16:uniqueId val="{00000239-0327-4D8D-A2DD-06FF3F04B03F}"/>
              </c:ext>
            </c:extLst>
          </c:dPt>
          <c:dPt>
            <c:idx val="284"/>
            <c:invertIfNegative val="1"/>
            <c:bubble3D val="0"/>
            <c:spPr>
              <a:solidFill>
                <a:srgbClr val="AEABAB"/>
              </a:solidFill>
            </c:spPr>
            <c:extLst>
              <c:ext xmlns:c16="http://schemas.microsoft.com/office/drawing/2014/chart" uri="{C3380CC4-5D6E-409C-BE32-E72D297353CC}">
                <c16:uniqueId val="{0000023B-0327-4D8D-A2DD-06FF3F04B03F}"/>
              </c:ext>
            </c:extLst>
          </c:dPt>
          <c:dPt>
            <c:idx val="285"/>
            <c:invertIfNegative val="1"/>
            <c:bubble3D val="0"/>
            <c:spPr>
              <a:solidFill>
                <a:srgbClr val="AEABAB"/>
              </a:solidFill>
            </c:spPr>
            <c:extLst>
              <c:ext xmlns:c16="http://schemas.microsoft.com/office/drawing/2014/chart" uri="{C3380CC4-5D6E-409C-BE32-E72D297353CC}">
                <c16:uniqueId val="{0000023D-0327-4D8D-A2DD-06FF3F04B03F}"/>
              </c:ext>
            </c:extLst>
          </c:dPt>
          <c:dPt>
            <c:idx val="286"/>
            <c:invertIfNegative val="1"/>
            <c:bubble3D val="0"/>
            <c:spPr>
              <a:solidFill>
                <a:srgbClr val="AEABAB"/>
              </a:solidFill>
            </c:spPr>
            <c:extLst>
              <c:ext xmlns:c16="http://schemas.microsoft.com/office/drawing/2014/chart" uri="{C3380CC4-5D6E-409C-BE32-E72D297353CC}">
                <c16:uniqueId val="{0000023F-0327-4D8D-A2DD-06FF3F04B03F}"/>
              </c:ext>
            </c:extLst>
          </c:dPt>
          <c:dPt>
            <c:idx val="287"/>
            <c:invertIfNegative val="1"/>
            <c:bubble3D val="0"/>
            <c:spPr>
              <a:solidFill>
                <a:srgbClr val="AEABAB"/>
              </a:solidFill>
            </c:spPr>
            <c:extLst>
              <c:ext xmlns:c16="http://schemas.microsoft.com/office/drawing/2014/chart" uri="{C3380CC4-5D6E-409C-BE32-E72D297353CC}">
                <c16:uniqueId val="{00000241-0327-4D8D-A2DD-06FF3F04B03F}"/>
              </c:ext>
            </c:extLst>
          </c:dPt>
          <c:dPt>
            <c:idx val="288"/>
            <c:invertIfNegative val="1"/>
            <c:bubble3D val="0"/>
            <c:spPr>
              <a:solidFill>
                <a:srgbClr val="AEABAB"/>
              </a:solidFill>
            </c:spPr>
            <c:extLst>
              <c:ext xmlns:c16="http://schemas.microsoft.com/office/drawing/2014/chart" uri="{C3380CC4-5D6E-409C-BE32-E72D297353CC}">
                <c16:uniqueId val="{00000243-0327-4D8D-A2DD-06FF3F04B03F}"/>
              </c:ext>
            </c:extLst>
          </c:dPt>
          <c:dPt>
            <c:idx val="289"/>
            <c:invertIfNegative val="1"/>
            <c:bubble3D val="0"/>
            <c:spPr>
              <a:solidFill>
                <a:srgbClr val="AEABAB"/>
              </a:solidFill>
            </c:spPr>
            <c:extLst>
              <c:ext xmlns:c16="http://schemas.microsoft.com/office/drawing/2014/chart" uri="{C3380CC4-5D6E-409C-BE32-E72D297353CC}">
                <c16:uniqueId val="{00000245-0327-4D8D-A2DD-06FF3F04B03F}"/>
              </c:ext>
            </c:extLst>
          </c:dPt>
          <c:dPt>
            <c:idx val="290"/>
            <c:invertIfNegative val="1"/>
            <c:bubble3D val="0"/>
            <c:spPr>
              <a:solidFill>
                <a:srgbClr val="AEABAB"/>
              </a:solidFill>
            </c:spPr>
            <c:extLst>
              <c:ext xmlns:c16="http://schemas.microsoft.com/office/drawing/2014/chart" uri="{C3380CC4-5D6E-409C-BE32-E72D297353CC}">
                <c16:uniqueId val="{00000247-0327-4D8D-A2DD-06FF3F04B03F}"/>
              </c:ext>
            </c:extLst>
          </c:dPt>
          <c:dPt>
            <c:idx val="291"/>
            <c:invertIfNegative val="1"/>
            <c:bubble3D val="0"/>
            <c:spPr>
              <a:solidFill>
                <a:srgbClr val="AEABAB"/>
              </a:solidFill>
            </c:spPr>
            <c:extLst>
              <c:ext xmlns:c16="http://schemas.microsoft.com/office/drawing/2014/chart" uri="{C3380CC4-5D6E-409C-BE32-E72D297353CC}">
                <c16:uniqueId val="{00000249-0327-4D8D-A2DD-06FF3F04B03F}"/>
              </c:ext>
            </c:extLst>
          </c:dPt>
          <c:dPt>
            <c:idx val="292"/>
            <c:invertIfNegative val="1"/>
            <c:bubble3D val="0"/>
            <c:spPr>
              <a:solidFill>
                <a:srgbClr val="AEABAB"/>
              </a:solidFill>
            </c:spPr>
            <c:extLst>
              <c:ext xmlns:c16="http://schemas.microsoft.com/office/drawing/2014/chart" uri="{C3380CC4-5D6E-409C-BE32-E72D297353CC}">
                <c16:uniqueId val="{0000024B-0327-4D8D-A2DD-06FF3F04B03F}"/>
              </c:ext>
            </c:extLst>
          </c:dPt>
          <c:dPt>
            <c:idx val="293"/>
            <c:invertIfNegative val="1"/>
            <c:bubble3D val="0"/>
            <c:spPr>
              <a:solidFill>
                <a:srgbClr val="AEABAB"/>
              </a:solidFill>
            </c:spPr>
            <c:extLst>
              <c:ext xmlns:c16="http://schemas.microsoft.com/office/drawing/2014/chart" uri="{C3380CC4-5D6E-409C-BE32-E72D297353CC}">
                <c16:uniqueId val="{0000024D-0327-4D8D-A2DD-06FF3F04B03F}"/>
              </c:ext>
            </c:extLst>
          </c:dPt>
          <c:dPt>
            <c:idx val="294"/>
            <c:invertIfNegative val="1"/>
            <c:bubble3D val="0"/>
            <c:spPr>
              <a:solidFill>
                <a:srgbClr val="AEABAB"/>
              </a:solidFill>
            </c:spPr>
            <c:extLst>
              <c:ext xmlns:c16="http://schemas.microsoft.com/office/drawing/2014/chart" uri="{C3380CC4-5D6E-409C-BE32-E72D297353CC}">
                <c16:uniqueId val="{0000024F-0327-4D8D-A2DD-06FF3F04B03F}"/>
              </c:ext>
            </c:extLst>
          </c:dPt>
          <c:dPt>
            <c:idx val="295"/>
            <c:invertIfNegative val="1"/>
            <c:bubble3D val="0"/>
            <c:spPr>
              <a:solidFill>
                <a:srgbClr val="AEABAB"/>
              </a:solidFill>
            </c:spPr>
            <c:extLst>
              <c:ext xmlns:c16="http://schemas.microsoft.com/office/drawing/2014/chart" uri="{C3380CC4-5D6E-409C-BE32-E72D297353CC}">
                <c16:uniqueId val="{00000251-0327-4D8D-A2DD-06FF3F04B03F}"/>
              </c:ext>
            </c:extLst>
          </c:dPt>
          <c:dPt>
            <c:idx val="296"/>
            <c:invertIfNegative val="1"/>
            <c:bubble3D val="0"/>
            <c:spPr>
              <a:solidFill>
                <a:srgbClr val="AEABAB"/>
              </a:solidFill>
            </c:spPr>
            <c:extLst>
              <c:ext xmlns:c16="http://schemas.microsoft.com/office/drawing/2014/chart" uri="{C3380CC4-5D6E-409C-BE32-E72D297353CC}">
                <c16:uniqueId val="{00000253-0327-4D8D-A2DD-06FF3F04B03F}"/>
              </c:ext>
            </c:extLst>
          </c:dPt>
          <c:dPt>
            <c:idx val="297"/>
            <c:invertIfNegative val="1"/>
            <c:bubble3D val="0"/>
            <c:spPr>
              <a:solidFill>
                <a:srgbClr val="AEABAB"/>
              </a:solidFill>
            </c:spPr>
            <c:extLst>
              <c:ext xmlns:c16="http://schemas.microsoft.com/office/drawing/2014/chart" uri="{C3380CC4-5D6E-409C-BE32-E72D297353CC}">
                <c16:uniqueId val="{00000255-0327-4D8D-A2DD-06FF3F04B03F}"/>
              </c:ext>
            </c:extLst>
          </c:dPt>
          <c:dPt>
            <c:idx val="298"/>
            <c:invertIfNegative val="1"/>
            <c:bubble3D val="0"/>
            <c:spPr>
              <a:solidFill>
                <a:srgbClr val="AEABAB"/>
              </a:solidFill>
            </c:spPr>
            <c:extLst>
              <c:ext xmlns:c16="http://schemas.microsoft.com/office/drawing/2014/chart" uri="{C3380CC4-5D6E-409C-BE32-E72D297353CC}">
                <c16:uniqueId val="{00000257-0327-4D8D-A2DD-06FF3F04B03F}"/>
              </c:ext>
            </c:extLst>
          </c:dPt>
          <c:dPt>
            <c:idx val="299"/>
            <c:invertIfNegative val="1"/>
            <c:bubble3D val="0"/>
            <c:spPr>
              <a:solidFill>
                <a:srgbClr val="AEABAB"/>
              </a:solidFill>
            </c:spPr>
            <c:extLst>
              <c:ext xmlns:c16="http://schemas.microsoft.com/office/drawing/2014/chart" uri="{C3380CC4-5D6E-409C-BE32-E72D297353CC}">
                <c16:uniqueId val="{00000259-0327-4D8D-A2DD-06FF3F04B03F}"/>
              </c:ext>
            </c:extLst>
          </c:dPt>
          <c:dPt>
            <c:idx val="300"/>
            <c:invertIfNegative val="1"/>
            <c:bubble3D val="0"/>
            <c:spPr>
              <a:solidFill>
                <a:srgbClr val="AEABAB"/>
              </a:solidFill>
            </c:spPr>
            <c:extLst>
              <c:ext xmlns:c16="http://schemas.microsoft.com/office/drawing/2014/chart" uri="{C3380CC4-5D6E-409C-BE32-E72D297353CC}">
                <c16:uniqueId val="{0000025B-0327-4D8D-A2DD-06FF3F04B03F}"/>
              </c:ext>
            </c:extLst>
          </c:dPt>
          <c:dPt>
            <c:idx val="301"/>
            <c:invertIfNegative val="1"/>
            <c:bubble3D val="0"/>
            <c:spPr>
              <a:solidFill>
                <a:srgbClr val="AEABAB"/>
              </a:solidFill>
            </c:spPr>
            <c:extLst>
              <c:ext xmlns:c16="http://schemas.microsoft.com/office/drawing/2014/chart" uri="{C3380CC4-5D6E-409C-BE32-E72D297353CC}">
                <c16:uniqueId val="{0000025D-0327-4D8D-A2DD-06FF3F04B03F}"/>
              </c:ext>
            </c:extLst>
          </c:dPt>
          <c:dPt>
            <c:idx val="302"/>
            <c:invertIfNegative val="1"/>
            <c:bubble3D val="0"/>
            <c:spPr>
              <a:solidFill>
                <a:srgbClr val="AEABAB"/>
              </a:solidFill>
            </c:spPr>
            <c:extLst>
              <c:ext xmlns:c16="http://schemas.microsoft.com/office/drawing/2014/chart" uri="{C3380CC4-5D6E-409C-BE32-E72D297353CC}">
                <c16:uniqueId val="{0000025F-0327-4D8D-A2DD-06FF3F04B03F}"/>
              </c:ext>
            </c:extLst>
          </c:dPt>
          <c:dPt>
            <c:idx val="303"/>
            <c:invertIfNegative val="1"/>
            <c:bubble3D val="0"/>
            <c:spPr>
              <a:solidFill>
                <a:srgbClr val="AEABAB"/>
              </a:solidFill>
            </c:spPr>
            <c:extLst>
              <c:ext xmlns:c16="http://schemas.microsoft.com/office/drawing/2014/chart" uri="{C3380CC4-5D6E-409C-BE32-E72D297353CC}">
                <c16:uniqueId val="{00000261-0327-4D8D-A2DD-06FF3F04B03F}"/>
              </c:ext>
            </c:extLst>
          </c:dPt>
          <c:dPt>
            <c:idx val="304"/>
            <c:invertIfNegative val="1"/>
            <c:bubble3D val="0"/>
            <c:spPr>
              <a:solidFill>
                <a:srgbClr val="AEABAB"/>
              </a:solidFill>
            </c:spPr>
            <c:extLst>
              <c:ext xmlns:c16="http://schemas.microsoft.com/office/drawing/2014/chart" uri="{C3380CC4-5D6E-409C-BE32-E72D297353CC}">
                <c16:uniqueId val="{00000263-0327-4D8D-A2DD-06FF3F04B03F}"/>
              </c:ext>
            </c:extLst>
          </c:dPt>
          <c:dPt>
            <c:idx val="305"/>
            <c:invertIfNegative val="1"/>
            <c:bubble3D val="0"/>
            <c:spPr>
              <a:solidFill>
                <a:srgbClr val="AEABAB"/>
              </a:solidFill>
            </c:spPr>
            <c:extLst>
              <c:ext xmlns:c16="http://schemas.microsoft.com/office/drawing/2014/chart" uri="{C3380CC4-5D6E-409C-BE32-E72D297353CC}">
                <c16:uniqueId val="{00000265-0327-4D8D-A2DD-06FF3F04B03F}"/>
              </c:ext>
            </c:extLst>
          </c:dPt>
          <c:dPt>
            <c:idx val="306"/>
            <c:invertIfNegative val="1"/>
            <c:bubble3D val="0"/>
            <c:spPr>
              <a:solidFill>
                <a:srgbClr val="AEABAB"/>
              </a:solidFill>
            </c:spPr>
            <c:extLst>
              <c:ext xmlns:c16="http://schemas.microsoft.com/office/drawing/2014/chart" uri="{C3380CC4-5D6E-409C-BE32-E72D297353CC}">
                <c16:uniqueId val="{00000267-0327-4D8D-A2DD-06FF3F04B03F}"/>
              </c:ext>
            </c:extLst>
          </c:dPt>
          <c:dPt>
            <c:idx val="307"/>
            <c:invertIfNegative val="1"/>
            <c:bubble3D val="0"/>
            <c:spPr>
              <a:solidFill>
                <a:srgbClr val="AEABAB"/>
              </a:solidFill>
            </c:spPr>
            <c:extLst>
              <c:ext xmlns:c16="http://schemas.microsoft.com/office/drawing/2014/chart" uri="{C3380CC4-5D6E-409C-BE32-E72D297353CC}">
                <c16:uniqueId val="{00000269-0327-4D8D-A2DD-06FF3F04B03F}"/>
              </c:ext>
            </c:extLst>
          </c:dPt>
          <c:dPt>
            <c:idx val="308"/>
            <c:invertIfNegative val="1"/>
            <c:bubble3D val="0"/>
            <c:spPr>
              <a:solidFill>
                <a:srgbClr val="AEABAB"/>
              </a:solidFill>
            </c:spPr>
            <c:extLst>
              <c:ext xmlns:c16="http://schemas.microsoft.com/office/drawing/2014/chart" uri="{C3380CC4-5D6E-409C-BE32-E72D297353CC}">
                <c16:uniqueId val="{0000026B-0327-4D8D-A2DD-06FF3F04B03F}"/>
              </c:ext>
            </c:extLst>
          </c:dPt>
          <c:dPt>
            <c:idx val="309"/>
            <c:invertIfNegative val="1"/>
            <c:bubble3D val="0"/>
            <c:spPr>
              <a:solidFill>
                <a:srgbClr val="AEABAB"/>
              </a:solidFill>
            </c:spPr>
            <c:extLst>
              <c:ext xmlns:c16="http://schemas.microsoft.com/office/drawing/2014/chart" uri="{C3380CC4-5D6E-409C-BE32-E72D297353CC}">
                <c16:uniqueId val="{0000026D-0327-4D8D-A2DD-06FF3F04B03F}"/>
              </c:ext>
            </c:extLst>
          </c:dPt>
          <c:dPt>
            <c:idx val="310"/>
            <c:invertIfNegative val="1"/>
            <c:bubble3D val="0"/>
            <c:spPr>
              <a:solidFill>
                <a:srgbClr val="AEABAB"/>
              </a:solidFill>
            </c:spPr>
            <c:extLst>
              <c:ext xmlns:c16="http://schemas.microsoft.com/office/drawing/2014/chart" uri="{C3380CC4-5D6E-409C-BE32-E72D297353CC}">
                <c16:uniqueId val="{0000026F-0327-4D8D-A2DD-06FF3F04B03F}"/>
              </c:ext>
            </c:extLst>
          </c:dPt>
          <c:dPt>
            <c:idx val="311"/>
            <c:invertIfNegative val="1"/>
            <c:bubble3D val="0"/>
            <c:spPr>
              <a:solidFill>
                <a:srgbClr val="AEABAB"/>
              </a:solidFill>
            </c:spPr>
            <c:extLst>
              <c:ext xmlns:c16="http://schemas.microsoft.com/office/drawing/2014/chart" uri="{C3380CC4-5D6E-409C-BE32-E72D297353CC}">
                <c16:uniqueId val="{00000271-0327-4D8D-A2DD-06FF3F04B03F}"/>
              </c:ext>
            </c:extLst>
          </c:dPt>
          <c:dPt>
            <c:idx val="312"/>
            <c:invertIfNegative val="1"/>
            <c:bubble3D val="0"/>
            <c:spPr>
              <a:solidFill>
                <a:srgbClr val="AEABAB"/>
              </a:solidFill>
            </c:spPr>
            <c:extLst>
              <c:ext xmlns:c16="http://schemas.microsoft.com/office/drawing/2014/chart" uri="{C3380CC4-5D6E-409C-BE32-E72D297353CC}">
                <c16:uniqueId val="{00000273-0327-4D8D-A2DD-06FF3F04B03F}"/>
              </c:ext>
            </c:extLst>
          </c:dPt>
          <c:dPt>
            <c:idx val="313"/>
            <c:invertIfNegative val="1"/>
            <c:bubble3D val="0"/>
            <c:spPr>
              <a:solidFill>
                <a:srgbClr val="AEABAB"/>
              </a:solidFill>
            </c:spPr>
            <c:extLst>
              <c:ext xmlns:c16="http://schemas.microsoft.com/office/drawing/2014/chart" uri="{C3380CC4-5D6E-409C-BE32-E72D297353CC}">
                <c16:uniqueId val="{00000275-0327-4D8D-A2DD-06FF3F04B03F}"/>
              </c:ext>
            </c:extLst>
          </c:dPt>
          <c:dPt>
            <c:idx val="314"/>
            <c:invertIfNegative val="1"/>
            <c:bubble3D val="0"/>
            <c:spPr>
              <a:solidFill>
                <a:srgbClr val="AEABAB"/>
              </a:solidFill>
            </c:spPr>
            <c:extLst>
              <c:ext xmlns:c16="http://schemas.microsoft.com/office/drawing/2014/chart" uri="{C3380CC4-5D6E-409C-BE32-E72D297353CC}">
                <c16:uniqueId val="{00000277-0327-4D8D-A2DD-06FF3F04B03F}"/>
              </c:ext>
            </c:extLst>
          </c:dPt>
          <c:dPt>
            <c:idx val="315"/>
            <c:invertIfNegative val="1"/>
            <c:bubble3D val="0"/>
            <c:spPr>
              <a:solidFill>
                <a:srgbClr val="AEABAB"/>
              </a:solidFill>
            </c:spPr>
            <c:extLst>
              <c:ext xmlns:c16="http://schemas.microsoft.com/office/drawing/2014/chart" uri="{C3380CC4-5D6E-409C-BE32-E72D297353CC}">
                <c16:uniqueId val="{00000279-0327-4D8D-A2DD-06FF3F04B03F}"/>
              </c:ext>
            </c:extLst>
          </c:dPt>
          <c:dPt>
            <c:idx val="316"/>
            <c:invertIfNegative val="1"/>
            <c:bubble3D val="0"/>
            <c:spPr>
              <a:solidFill>
                <a:srgbClr val="AEABAB"/>
              </a:solidFill>
            </c:spPr>
            <c:extLst>
              <c:ext xmlns:c16="http://schemas.microsoft.com/office/drawing/2014/chart" uri="{C3380CC4-5D6E-409C-BE32-E72D297353CC}">
                <c16:uniqueId val="{0000027B-0327-4D8D-A2DD-06FF3F04B03F}"/>
              </c:ext>
            </c:extLst>
          </c:dPt>
          <c:dPt>
            <c:idx val="317"/>
            <c:invertIfNegative val="1"/>
            <c:bubble3D val="0"/>
            <c:spPr>
              <a:solidFill>
                <a:srgbClr val="AEABAB"/>
              </a:solidFill>
            </c:spPr>
            <c:extLst>
              <c:ext xmlns:c16="http://schemas.microsoft.com/office/drawing/2014/chart" uri="{C3380CC4-5D6E-409C-BE32-E72D297353CC}">
                <c16:uniqueId val="{0000027D-0327-4D8D-A2DD-06FF3F04B03F}"/>
              </c:ext>
            </c:extLst>
          </c:dPt>
          <c:dPt>
            <c:idx val="318"/>
            <c:invertIfNegative val="1"/>
            <c:bubble3D val="0"/>
            <c:spPr>
              <a:solidFill>
                <a:srgbClr val="AEABAB"/>
              </a:solidFill>
            </c:spPr>
            <c:extLst>
              <c:ext xmlns:c16="http://schemas.microsoft.com/office/drawing/2014/chart" uri="{C3380CC4-5D6E-409C-BE32-E72D297353CC}">
                <c16:uniqueId val="{0000027F-0327-4D8D-A2DD-06FF3F04B03F}"/>
              </c:ext>
            </c:extLst>
          </c:dPt>
          <c:dPt>
            <c:idx val="319"/>
            <c:invertIfNegative val="1"/>
            <c:bubble3D val="0"/>
            <c:spPr>
              <a:solidFill>
                <a:srgbClr val="AEABAB"/>
              </a:solidFill>
            </c:spPr>
            <c:extLst>
              <c:ext xmlns:c16="http://schemas.microsoft.com/office/drawing/2014/chart" uri="{C3380CC4-5D6E-409C-BE32-E72D297353CC}">
                <c16:uniqueId val="{00000281-0327-4D8D-A2DD-06FF3F04B03F}"/>
              </c:ext>
            </c:extLst>
          </c:dPt>
          <c:dPt>
            <c:idx val="320"/>
            <c:invertIfNegative val="1"/>
            <c:bubble3D val="0"/>
            <c:spPr>
              <a:solidFill>
                <a:srgbClr val="AEABAB"/>
              </a:solidFill>
            </c:spPr>
            <c:extLst>
              <c:ext xmlns:c16="http://schemas.microsoft.com/office/drawing/2014/chart" uri="{C3380CC4-5D6E-409C-BE32-E72D297353CC}">
                <c16:uniqueId val="{00000283-0327-4D8D-A2DD-06FF3F04B03F}"/>
              </c:ext>
            </c:extLst>
          </c:dPt>
          <c:dPt>
            <c:idx val="321"/>
            <c:invertIfNegative val="1"/>
            <c:bubble3D val="0"/>
            <c:spPr>
              <a:solidFill>
                <a:srgbClr val="AEABAB"/>
              </a:solidFill>
            </c:spPr>
            <c:extLst>
              <c:ext xmlns:c16="http://schemas.microsoft.com/office/drawing/2014/chart" uri="{C3380CC4-5D6E-409C-BE32-E72D297353CC}">
                <c16:uniqueId val="{00000285-0327-4D8D-A2DD-06FF3F04B03F}"/>
              </c:ext>
            </c:extLst>
          </c:dPt>
          <c:dPt>
            <c:idx val="322"/>
            <c:invertIfNegative val="1"/>
            <c:bubble3D val="0"/>
            <c:spPr>
              <a:solidFill>
                <a:srgbClr val="AEABAB"/>
              </a:solidFill>
            </c:spPr>
            <c:extLst>
              <c:ext xmlns:c16="http://schemas.microsoft.com/office/drawing/2014/chart" uri="{C3380CC4-5D6E-409C-BE32-E72D297353CC}">
                <c16:uniqueId val="{00000287-0327-4D8D-A2DD-06FF3F04B03F}"/>
              </c:ext>
            </c:extLst>
          </c:dPt>
          <c:dPt>
            <c:idx val="323"/>
            <c:invertIfNegative val="1"/>
            <c:bubble3D val="0"/>
            <c:spPr>
              <a:solidFill>
                <a:srgbClr val="AEABAB"/>
              </a:solidFill>
            </c:spPr>
            <c:extLst>
              <c:ext xmlns:c16="http://schemas.microsoft.com/office/drawing/2014/chart" uri="{C3380CC4-5D6E-409C-BE32-E72D297353CC}">
                <c16:uniqueId val="{00000289-0327-4D8D-A2DD-06FF3F04B03F}"/>
              </c:ext>
            </c:extLst>
          </c:dPt>
          <c:dPt>
            <c:idx val="324"/>
            <c:invertIfNegative val="1"/>
            <c:bubble3D val="0"/>
            <c:spPr>
              <a:solidFill>
                <a:srgbClr val="AEABAB"/>
              </a:solidFill>
            </c:spPr>
            <c:extLst>
              <c:ext xmlns:c16="http://schemas.microsoft.com/office/drawing/2014/chart" uri="{C3380CC4-5D6E-409C-BE32-E72D297353CC}">
                <c16:uniqueId val="{0000028B-0327-4D8D-A2DD-06FF3F04B03F}"/>
              </c:ext>
            </c:extLst>
          </c:dPt>
          <c:dPt>
            <c:idx val="325"/>
            <c:invertIfNegative val="1"/>
            <c:bubble3D val="0"/>
            <c:spPr>
              <a:solidFill>
                <a:srgbClr val="AEABAB"/>
              </a:solidFill>
            </c:spPr>
            <c:extLst>
              <c:ext xmlns:c16="http://schemas.microsoft.com/office/drawing/2014/chart" uri="{C3380CC4-5D6E-409C-BE32-E72D297353CC}">
                <c16:uniqueId val="{0000028D-0327-4D8D-A2DD-06FF3F04B03F}"/>
              </c:ext>
            </c:extLst>
          </c:dPt>
          <c:dPt>
            <c:idx val="326"/>
            <c:invertIfNegative val="1"/>
            <c:bubble3D val="0"/>
            <c:spPr>
              <a:solidFill>
                <a:srgbClr val="AEABAB"/>
              </a:solidFill>
            </c:spPr>
            <c:extLst>
              <c:ext xmlns:c16="http://schemas.microsoft.com/office/drawing/2014/chart" uri="{C3380CC4-5D6E-409C-BE32-E72D297353CC}">
                <c16:uniqueId val="{0000028F-0327-4D8D-A2DD-06FF3F04B03F}"/>
              </c:ext>
            </c:extLst>
          </c:dPt>
          <c:dPt>
            <c:idx val="327"/>
            <c:invertIfNegative val="1"/>
            <c:bubble3D val="0"/>
            <c:spPr>
              <a:solidFill>
                <a:srgbClr val="AEABAB"/>
              </a:solidFill>
            </c:spPr>
            <c:extLst>
              <c:ext xmlns:c16="http://schemas.microsoft.com/office/drawing/2014/chart" uri="{C3380CC4-5D6E-409C-BE32-E72D297353CC}">
                <c16:uniqueId val="{00000291-0327-4D8D-A2DD-06FF3F04B03F}"/>
              </c:ext>
            </c:extLst>
          </c:dPt>
          <c:dPt>
            <c:idx val="328"/>
            <c:invertIfNegative val="1"/>
            <c:bubble3D val="0"/>
            <c:spPr>
              <a:solidFill>
                <a:srgbClr val="AEABAB"/>
              </a:solidFill>
            </c:spPr>
            <c:extLst>
              <c:ext xmlns:c16="http://schemas.microsoft.com/office/drawing/2014/chart" uri="{C3380CC4-5D6E-409C-BE32-E72D297353CC}">
                <c16:uniqueId val="{00000293-0327-4D8D-A2DD-06FF3F04B03F}"/>
              </c:ext>
            </c:extLst>
          </c:dPt>
          <c:dPt>
            <c:idx val="329"/>
            <c:invertIfNegative val="1"/>
            <c:bubble3D val="0"/>
            <c:spPr>
              <a:solidFill>
                <a:srgbClr val="AEABAB"/>
              </a:solidFill>
            </c:spPr>
            <c:extLst>
              <c:ext xmlns:c16="http://schemas.microsoft.com/office/drawing/2014/chart" uri="{C3380CC4-5D6E-409C-BE32-E72D297353CC}">
                <c16:uniqueId val="{00000295-0327-4D8D-A2DD-06FF3F04B03F}"/>
              </c:ext>
            </c:extLst>
          </c:dPt>
          <c:dPt>
            <c:idx val="330"/>
            <c:invertIfNegative val="1"/>
            <c:bubble3D val="0"/>
            <c:spPr>
              <a:solidFill>
                <a:srgbClr val="AEABAB"/>
              </a:solidFill>
            </c:spPr>
            <c:extLst>
              <c:ext xmlns:c16="http://schemas.microsoft.com/office/drawing/2014/chart" uri="{C3380CC4-5D6E-409C-BE32-E72D297353CC}">
                <c16:uniqueId val="{00000297-0327-4D8D-A2DD-06FF3F04B03F}"/>
              </c:ext>
            </c:extLst>
          </c:dPt>
          <c:dPt>
            <c:idx val="331"/>
            <c:invertIfNegative val="1"/>
            <c:bubble3D val="0"/>
            <c:spPr>
              <a:solidFill>
                <a:srgbClr val="AEABAB"/>
              </a:solidFill>
            </c:spPr>
            <c:extLst>
              <c:ext xmlns:c16="http://schemas.microsoft.com/office/drawing/2014/chart" uri="{C3380CC4-5D6E-409C-BE32-E72D297353CC}">
                <c16:uniqueId val="{00000299-0327-4D8D-A2DD-06FF3F04B03F}"/>
              </c:ext>
            </c:extLst>
          </c:dPt>
          <c:dPt>
            <c:idx val="332"/>
            <c:invertIfNegative val="1"/>
            <c:bubble3D val="0"/>
            <c:spPr>
              <a:solidFill>
                <a:srgbClr val="AEABAB"/>
              </a:solidFill>
            </c:spPr>
            <c:extLst>
              <c:ext xmlns:c16="http://schemas.microsoft.com/office/drawing/2014/chart" uri="{C3380CC4-5D6E-409C-BE32-E72D297353CC}">
                <c16:uniqueId val="{0000029B-0327-4D8D-A2DD-06FF3F04B03F}"/>
              </c:ext>
            </c:extLst>
          </c:dPt>
          <c:dPt>
            <c:idx val="333"/>
            <c:invertIfNegative val="1"/>
            <c:bubble3D val="0"/>
            <c:spPr>
              <a:solidFill>
                <a:srgbClr val="AEABAB"/>
              </a:solidFill>
            </c:spPr>
            <c:extLst>
              <c:ext xmlns:c16="http://schemas.microsoft.com/office/drawing/2014/chart" uri="{C3380CC4-5D6E-409C-BE32-E72D297353CC}">
                <c16:uniqueId val="{0000029D-0327-4D8D-A2DD-06FF3F04B03F}"/>
              </c:ext>
            </c:extLst>
          </c:dPt>
          <c:dPt>
            <c:idx val="334"/>
            <c:invertIfNegative val="1"/>
            <c:bubble3D val="0"/>
            <c:spPr>
              <a:solidFill>
                <a:srgbClr val="AEABAB"/>
              </a:solidFill>
            </c:spPr>
            <c:extLst>
              <c:ext xmlns:c16="http://schemas.microsoft.com/office/drawing/2014/chart" uri="{C3380CC4-5D6E-409C-BE32-E72D297353CC}">
                <c16:uniqueId val="{0000029F-0327-4D8D-A2DD-06FF3F04B03F}"/>
              </c:ext>
            </c:extLst>
          </c:dPt>
          <c:dPt>
            <c:idx val="335"/>
            <c:invertIfNegative val="1"/>
            <c:bubble3D val="0"/>
            <c:spPr>
              <a:solidFill>
                <a:srgbClr val="AEABAB"/>
              </a:solidFill>
            </c:spPr>
            <c:extLst>
              <c:ext xmlns:c16="http://schemas.microsoft.com/office/drawing/2014/chart" uri="{C3380CC4-5D6E-409C-BE32-E72D297353CC}">
                <c16:uniqueId val="{000002A1-0327-4D8D-A2DD-06FF3F04B03F}"/>
              </c:ext>
            </c:extLst>
          </c:dPt>
          <c:dPt>
            <c:idx val="336"/>
            <c:invertIfNegative val="1"/>
            <c:bubble3D val="0"/>
            <c:spPr>
              <a:solidFill>
                <a:srgbClr val="AEABAB"/>
              </a:solidFill>
            </c:spPr>
            <c:extLst>
              <c:ext xmlns:c16="http://schemas.microsoft.com/office/drawing/2014/chart" uri="{C3380CC4-5D6E-409C-BE32-E72D297353CC}">
                <c16:uniqueId val="{000002A3-0327-4D8D-A2DD-06FF3F04B03F}"/>
              </c:ext>
            </c:extLst>
          </c:dPt>
          <c:dPt>
            <c:idx val="337"/>
            <c:invertIfNegative val="1"/>
            <c:bubble3D val="0"/>
            <c:spPr>
              <a:solidFill>
                <a:srgbClr val="AEABAB"/>
              </a:solidFill>
            </c:spPr>
            <c:extLst>
              <c:ext xmlns:c16="http://schemas.microsoft.com/office/drawing/2014/chart" uri="{C3380CC4-5D6E-409C-BE32-E72D297353CC}">
                <c16:uniqueId val="{000002A5-0327-4D8D-A2DD-06FF3F04B03F}"/>
              </c:ext>
            </c:extLst>
          </c:dPt>
          <c:dPt>
            <c:idx val="338"/>
            <c:invertIfNegative val="1"/>
            <c:bubble3D val="0"/>
            <c:spPr>
              <a:solidFill>
                <a:srgbClr val="AEABAB"/>
              </a:solidFill>
            </c:spPr>
            <c:extLst>
              <c:ext xmlns:c16="http://schemas.microsoft.com/office/drawing/2014/chart" uri="{C3380CC4-5D6E-409C-BE32-E72D297353CC}">
                <c16:uniqueId val="{000002A7-0327-4D8D-A2DD-06FF3F04B03F}"/>
              </c:ext>
            </c:extLst>
          </c:dPt>
          <c:dPt>
            <c:idx val="339"/>
            <c:invertIfNegative val="1"/>
            <c:bubble3D val="0"/>
            <c:spPr>
              <a:solidFill>
                <a:srgbClr val="AEABAB"/>
              </a:solidFill>
            </c:spPr>
            <c:extLst>
              <c:ext xmlns:c16="http://schemas.microsoft.com/office/drawing/2014/chart" uri="{C3380CC4-5D6E-409C-BE32-E72D297353CC}">
                <c16:uniqueId val="{000002A9-0327-4D8D-A2DD-06FF3F04B03F}"/>
              </c:ext>
            </c:extLst>
          </c:dPt>
          <c:dPt>
            <c:idx val="340"/>
            <c:invertIfNegative val="1"/>
            <c:bubble3D val="0"/>
            <c:spPr>
              <a:solidFill>
                <a:srgbClr val="AEABAB"/>
              </a:solidFill>
            </c:spPr>
            <c:extLst>
              <c:ext xmlns:c16="http://schemas.microsoft.com/office/drawing/2014/chart" uri="{C3380CC4-5D6E-409C-BE32-E72D297353CC}">
                <c16:uniqueId val="{000002AB-0327-4D8D-A2DD-06FF3F04B03F}"/>
              </c:ext>
            </c:extLst>
          </c:dPt>
          <c:dPt>
            <c:idx val="341"/>
            <c:invertIfNegative val="1"/>
            <c:bubble3D val="0"/>
            <c:spPr>
              <a:solidFill>
                <a:srgbClr val="AEABAB"/>
              </a:solidFill>
            </c:spPr>
            <c:extLst>
              <c:ext xmlns:c16="http://schemas.microsoft.com/office/drawing/2014/chart" uri="{C3380CC4-5D6E-409C-BE32-E72D297353CC}">
                <c16:uniqueId val="{000002AD-0327-4D8D-A2DD-06FF3F04B03F}"/>
              </c:ext>
            </c:extLst>
          </c:dPt>
          <c:dPt>
            <c:idx val="342"/>
            <c:invertIfNegative val="1"/>
            <c:bubble3D val="0"/>
            <c:spPr>
              <a:solidFill>
                <a:srgbClr val="AEABAB"/>
              </a:solidFill>
            </c:spPr>
            <c:extLst>
              <c:ext xmlns:c16="http://schemas.microsoft.com/office/drawing/2014/chart" uri="{C3380CC4-5D6E-409C-BE32-E72D297353CC}">
                <c16:uniqueId val="{000002AF-0327-4D8D-A2DD-06FF3F04B03F}"/>
              </c:ext>
            </c:extLst>
          </c:dPt>
          <c:dPt>
            <c:idx val="343"/>
            <c:invertIfNegative val="1"/>
            <c:bubble3D val="0"/>
            <c:spPr>
              <a:solidFill>
                <a:srgbClr val="AEABAB"/>
              </a:solidFill>
            </c:spPr>
            <c:extLst>
              <c:ext xmlns:c16="http://schemas.microsoft.com/office/drawing/2014/chart" uri="{C3380CC4-5D6E-409C-BE32-E72D297353CC}">
                <c16:uniqueId val="{000002B1-0327-4D8D-A2DD-06FF3F04B03F}"/>
              </c:ext>
            </c:extLst>
          </c:dPt>
          <c:dPt>
            <c:idx val="344"/>
            <c:invertIfNegative val="1"/>
            <c:bubble3D val="0"/>
            <c:spPr>
              <a:solidFill>
                <a:srgbClr val="AEABAB"/>
              </a:solidFill>
            </c:spPr>
            <c:extLst>
              <c:ext xmlns:c16="http://schemas.microsoft.com/office/drawing/2014/chart" uri="{C3380CC4-5D6E-409C-BE32-E72D297353CC}">
                <c16:uniqueId val="{000002B3-0327-4D8D-A2DD-06FF3F04B03F}"/>
              </c:ext>
            </c:extLst>
          </c:dPt>
          <c:dPt>
            <c:idx val="345"/>
            <c:invertIfNegative val="1"/>
            <c:bubble3D val="0"/>
            <c:spPr>
              <a:solidFill>
                <a:srgbClr val="AEABAB"/>
              </a:solidFill>
            </c:spPr>
            <c:extLst>
              <c:ext xmlns:c16="http://schemas.microsoft.com/office/drawing/2014/chart" uri="{C3380CC4-5D6E-409C-BE32-E72D297353CC}">
                <c16:uniqueId val="{000002B5-0327-4D8D-A2DD-06FF3F04B03F}"/>
              </c:ext>
            </c:extLst>
          </c:dPt>
          <c:dPt>
            <c:idx val="346"/>
            <c:invertIfNegative val="1"/>
            <c:bubble3D val="0"/>
            <c:spPr>
              <a:solidFill>
                <a:srgbClr val="AEABAB"/>
              </a:solidFill>
            </c:spPr>
            <c:extLst>
              <c:ext xmlns:c16="http://schemas.microsoft.com/office/drawing/2014/chart" uri="{C3380CC4-5D6E-409C-BE32-E72D297353CC}">
                <c16:uniqueId val="{000002B7-0327-4D8D-A2DD-06FF3F04B03F}"/>
              </c:ext>
            </c:extLst>
          </c:dPt>
          <c:dPt>
            <c:idx val="347"/>
            <c:invertIfNegative val="1"/>
            <c:bubble3D val="0"/>
            <c:spPr>
              <a:solidFill>
                <a:srgbClr val="AEABAB"/>
              </a:solidFill>
            </c:spPr>
            <c:extLst>
              <c:ext xmlns:c16="http://schemas.microsoft.com/office/drawing/2014/chart" uri="{C3380CC4-5D6E-409C-BE32-E72D297353CC}">
                <c16:uniqueId val="{000002B9-0327-4D8D-A2DD-06FF3F04B03F}"/>
              </c:ext>
            </c:extLst>
          </c:dPt>
          <c:dPt>
            <c:idx val="348"/>
            <c:invertIfNegative val="1"/>
            <c:bubble3D val="0"/>
            <c:spPr>
              <a:solidFill>
                <a:srgbClr val="AEABAB"/>
              </a:solidFill>
            </c:spPr>
            <c:extLst>
              <c:ext xmlns:c16="http://schemas.microsoft.com/office/drawing/2014/chart" uri="{C3380CC4-5D6E-409C-BE32-E72D297353CC}">
                <c16:uniqueId val="{000002BB-0327-4D8D-A2DD-06FF3F04B03F}"/>
              </c:ext>
            </c:extLst>
          </c:dPt>
          <c:dPt>
            <c:idx val="349"/>
            <c:invertIfNegative val="1"/>
            <c:bubble3D val="0"/>
            <c:spPr>
              <a:solidFill>
                <a:srgbClr val="AEABAB"/>
              </a:solidFill>
            </c:spPr>
            <c:extLst>
              <c:ext xmlns:c16="http://schemas.microsoft.com/office/drawing/2014/chart" uri="{C3380CC4-5D6E-409C-BE32-E72D297353CC}">
                <c16:uniqueId val="{000002BD-0327-4D8D-A2DD-06FF3F04B03F}"/>
              </c:ext>
            </c:extLst>
          </c:dPt>
          <c:dPt>
            <c:idx val="350"/>
            <c:invertIfNegative val="1"/>
            <c:bubble3D val="0"/>
            <c:spPr>
              <a:solidFill>
                <a:srgbClr val="AEABAB"/>
              </a:solidFill>
            </c:spPr>
            <c:extLst>
              <c:ext xmlns:c16="http://schemas.microsoft.com/office/drawing/2014/chart" uri="{C3380CC4-5D6E-409C-BE32-E72D297353CC}">
                <c16:uniqueId val="{000002BF-0327-4D8D-A2DD-06FF3F04B03F}"/>
              </c:ext>
            </c:extLst>
          </c:dPt>
          <c:dPt>
            <c:idx val="351"/>
            <c:invertIfNegative val="1"/>
            <c:bubble3D val="0"/>
            <c:spPr>
              <a:solidFill>
                <a:srgbClr val="AEABAB"/>
              </a:solidFill>
            </c:spPr>
            <c:extLst>
              <c:ext xmlns:c16="http://schemas.microsoft.com/office/drawing/2014/chart" uri="{C3380CC4-5D6E-409C-BE32-E72D297353CC}">
                <c16:uniqueId val="{000002C1-0327-4D8D-A2DD-06FF3F04B03F}"/>
              </c:ext>
            </c:extLst>
          </c:dPt>
          <c:dPt>
            <c:idx val="352"/>
            <c:invertIfNegative val="1"/>
            <c:bubble3D val="0"/>
            <c:spPr>
              <a:solidFill>
                <a:srgbClr val="AEABAB"/>
              </a:solidFill>
            </c:spPr>
            <c:extLst>
              <c:ext xmlns:c16="http://schemas.microsoft.com/office/drawing/2014/chart" uri="{C3380CC4-5D6E-409C-BE32-E72D297353CC}">
                <c16:uniqueId val="{000002C3-0327-4D8D-A2DD-06FF3F04B03F}"/>
              </c:ext>
            </c:extLst>
          </c:dPt>
          <c:dPt>
            <c:idx val="353"/>
            <c:invertIfNegative val="1"/>
            <c:bubble3D val="0"/>
            <c:spPr>
              <a:solidFill>
                <a:srgbClr val="AEABAB"/>
              </a:solidFill>
            </c:spPr>
            <c:extLst>
              <c:ext xmlns:c16="http://schemas.microsoft.com/office/drawing/2014/chart" uri="{C3380CC4-5D6E-409C-BE32-E72D297353CC}">
                <c16:uniqueId val="{000002C5-0327-4D8D-A2DD-06FF3F04B03F}"/>
              </c:ext>
            </c:extLst>
          </c:dPt>
          <c:dPt>
            <c:idx val="354"/>
            <c:invertIfNegative val="1"/>
            <c:bubble3D val="0"/>
            <c:spPr>
              <a:solidFill>
                <a:srgbClr val="AEABAB"/>
              </a:solidFill>
            </c:spPr>
            <c:extLst>
              <c:ext xmlns:c16="http://schemas.microsoft.com/office/drawing/2014/chart" uri="{C3380CC4-5D6E-409C-BE32-E72D297353CC}">
                <c16:uniqueId val="{000002C7-0327-4D8D-A2DD-06FF3F04B03F}"/>
              </c:ext>
            </c:extLst>
          </c:dPt>
          <c:dPt>
            <c:idx val="355"/>
            <c:invertIfNegative val="1"/>
            <c:bubble3D val="0"/>
            <c:spPr>
              <a:solidFill>
                <a:srgbClr val="AEABAB"/>
              </a:solidFill>
            </c:spPr>
            <c:extLst>
              <c:ext xmlns:c16="http://schemas.microsoft.com/office/drawing/2014/chart" uri="{C3380CC4-5D6E-409C-BE32-E72D297353CC}">
                <c16:uniqueId val="{000002C9-0327-4D8D-A2DD-06FF3F04B03F}"/>
              </c:ext>
            </c:extLst>
          </c:dPt>
          <c:dPt>
            <c:idx val="356"/>
            <c:invertIfNegative val="1"/>
            <c:bubble3D val="0"/>
            <c:spPr>
              <a:solidFill>
                <a:srgbClr val="AEABAB"/>
              </a:solidFill>
            </c:spPr>
            <c:extLst>
              <c:ext xmlns:c16="http://schemas.microsoft.com/office/drawing/2014/chart" uri="{C3380CC4-5D6E-409C-BE32-E72D297353CC}">
                <c16:uniqueId val="{000002CB-0327-4D8D-A2DD-06FF3F04B03F}"/>
              </c:ext>
            </c:extLst>
          </c:dPt>
          <c:dPt>
            <c:idx val="357"/>
            <c:invertIfNegative val="1"/>
            <c:bubble3D val="0"/>
            <c:spPr>
              <a:solidFill>
                <a:srgbClr val="AEABAB"/>
              </a:solidFill>
            </c:spPr>
            <c:extLst>
              <c:ext xmlns:c16="http://schemas.microsoft.com/office/drawing/2014/chart" uri="{C3380CC4-5D6E-409C-BE32-E72D297353CC}">
                <c16:uniqueId val="{000002CD-0327-4D8D-A2DD-06FF3F04B03F}"/>
              </c:ext>
            </c:extLst>
          </c:dPt>
          <c:dPt>
            <c:idx val="358"/>
            <c:invertIfNegative val="1"/>
            <c:bubble3D val="0"/>
            <c:spPr>
              <a:solidFill>
                <a:srgbClr val="AEABAB"/>
              </a:solidFill>
            </c:spPr>
            <c:extLst>
              <c:ext xmlns:c16="http://schemas.microsoft.com/office/drawing/2014/chart" uri="{C3380CC4-5D6E-409C-BE32-E72D297353CC}">
                <c16:uniqueId val="{000002CF-0327-4D8D-A2DD-06FF3F04B03F}"/>
              </c:ext>
            </c:extLst>
          </c:dPt>
          <c:dPt>
            <c:idx val="359"/>
            <c:invertIfNegative val="1"/>
            <c:bubble3D val="0"/>
            <c:spPr>
              <a:solidFill>
                <a:srgbClr val="AEABAB"/>
              </a:solidFill>
            </c:spPr>
            <c:extLst>
              <c:ext xmlns:c16="http://schemas.microsoft.com/office/drawing/2014/chart" uri="{C3380CC4-5D6E-409C-BE32-E72D297353CC}">
                <c16:uniqueId val="{000002D1-0327-4D8D-A2DD-06FF3F04B03F}"/>
              </c:ext>
            </c:extLst>
          </c:dPt>
          <c:dPt>
            <c:idx val="360"/>
            <c:invertIfNegative val="1"/>
            <c:bubble3D val="0"/>
            <c:spPr>
              <a:solidFill>
                <a:srgbClr val="AEABAB"/>
              </a:solidFill>
            </c:spPr>
            <c:extLst>
              <c:ext xmlns:c16="http://schemas.microsoft.com/office/drawing/2014/chart" uri="{C3380CC4-5D6E-409C-BE32-E72D297353CC}">
                <c16:uniqueId val="{000002D3-0327-4D8D-A2DD-06FF3F04B03F}"/>
              </c:ext>
            </c:extLst>
          </c:dPt>
          <c:dPt>
            <c:idx val="361"/>
            <c:invertIfNegative val="1"/>
            <c:bubble3D val="0"/>
            <c:spPr>
              <a:solidFill>
                <a:srgbClr val="AEABAB"/>
              </a:solidFill>
            </c:spPr>
            <c:extLst>
              <c:ext xmlns:c16="http://schemas.microsoft.com/office/drawing/2014/chart" uri="{C3380CC4-5D6E-409C-BE32-E72D297353CC}">
                <c16:uniqueId val="{000002D5-0327-4D8D-A2DD-06FF3F04B03F}"/>
              </c:ext>
            </c:extLst>
          </c:dPt>
          <c:dPt>
            <c:idx val="362"/>
            <c:invertIfNegative val="1"/>
            <c:bubble3D val="0"/>
            <c:spPr>
              <a:solidFill>
                <a:srgbClr val="AEABAB"/>
              </a:solidFill>
            </c:spPr>
            <c:extLst>
              <c:ext xmlns:c16="http://schemas.microsoft.com/office/drawing/2014/chart" uri="{C3380CC4-5D6E-409C-BE32-E72D297353CC}">
                <c16:uniqueId val="{000002D7-0327-4D8D-A2DD-06FF3F04B03F}"/>
              </c:ext>
            </c:extLst>
          </c:dPt>
          <c:dPt>
            <c:idx val="363"/>
            <c:invertIfNegative val="1"/>
            <c:bubble3D val="0"/>
            <c:spPr>
              <a:solidFill>
                <a:srgbClr val="AEABAB"/>
              </a:solidFill>
            </c:spPr>
            <c:extLst>
              <c:ext xmlns:c16="http://schemas.microsoft.com/office/drawing/2014/chart" uri="{C3380CC4-5D6E-409C-BE32-E72D297353CC}">
                <c16:uniqueId val="{000002D9-0327-4D8D-A2DD-06FF3F04B03F}"/>
              </c:ext>
            </c:extLst>
          </c:dPt>
          <c:dPt>
            <c:idx val="364"/>
            <c:invertIfNegative val="1"/>
            <c:bubble3D val="0"/>
            <c:spPr>
              <a:solidFill>
                <a:srgbClr val="AEABAB"/>
              </a:solidFill>
            </c:spPr>
            <c:extLst>
              <c:ext xmlns:c16="http://schemas.microsoft.com/office/drawing/2014/chart" uri="{C3380CC4-5D6E-409C-BE32-E72D297353CC}">
                <c16:uniqueId val="{000002DB-0327-4D8D-A2DD-06FF3F04B03F}"/>
              </c:ext>
            </c:extLst>
          </c:dPt>
          <c:dPt>
            <c:idx val="365"/>
            <c:invertIfNegative val="1"/>
            <c:bubble3D val="0"/>
            <c:spPr>
              <a:solidFill>
                <a:srgbClr val="AEABAB"/>
              </a:solidFill>
            </c:spPr>
            <c:extLst>
              <c:ext xmlns:c16="http://schemas.microsoft.com/office/drawing/2014/chart" uri="{C3380CC4-5D6E-409C-BE32-E72D297353CC}">
                <c16:uniqueId val="{000002DD-0327-4D8D-A2DD-06FF3F04B03F}"/>
              </c:ext>
            </c:extLst>
          </c:dPt>
          <c:dPt>
            <c:idx val="366"/>
            <c:invertIfNegative val="1"/>
            <c:bubble3D val="0"/>
            <c:spPr>
              <a:solidFill>
                <a:srgbClr val="AEABAB"/>
              </a:solidFill>
            </c:spPr>
            <c:extLst>
              <c:ext xmlns:c16="http://schemas.microsoft.com/office/drawing/2014/chart" uri="{C3380CC4-5D6E-409C-BE32-E72D297353CC}">
                <c16:uniqueId val="{000002DF-0327-4D8D-A2DD-06FF3F04B03F}"/>
              </c:ext>
            </c:extLst>
          </c:dPt>
          <c:dPt>
            <c:idx val="367"/>
            <c:invertIfNegative val="1"/>
            <c:bubble3D val="0"/>
            <c:spPr>
              <a:solidFill>
                <a:srgbClr val="AEABAB"/>
              </a:solidFill>
            </c:spPr>
            <c:extLst>
              <c:ext xmlns:c16="http://schemas.microsoft.com/office/drawing/2014/chart" uri="{C3380CC4-5D6E-409C-BE32-E72D297353CC}">
                <c16:uniqueId val="{000002E1-0327-4D8D-A2DD-06FF3F04B03F}"/>
              </c:ext>
            </c:extLst>
          </c:dPt>
          <c:dPt>
            <c:idx val="368"/>
            <c:invertIfNegative val="1"/>
            <c:bubble3D val="0"/>
            <c:spPr>
              <a:solidFill>
                <a:srgbClr val="AEABAB"/>
              </a:solidFill>
            </c:spPr>
            <c:extLst>
              <c:ext xmlns:c16="http://schemas.microsoft.com/office/drawing/2014/chart" uri="{C3380CC4-5D6E-409C-BE32-E72D297353CC}">
                <c16:uniqueId val="{000002E3-0327-4D8D-A2DD-06FF3F04B03F}"/>
              </c:ext>
            </c:extLst>
          </c:dPt>
          <c:dPt>
            <c:idx val="369"/>
            <c:invertIfNegative val="1"/>
            <c:bubble3D val="0"/>
            <c:spPr>
              <a:solidFill>
                <a:srgbClr val="AEABAB"/>
              </a:solidFill>
            </c:spPr>
            <c:extLst>
              <c:ext xmlns:c16="http://schemas.microsoft.com/office/drawing/2014/chart" uri="{C3380CC4-5D6E-409C-BE32-E72D297353CC}">
                <c16:uniqueId val="{000002E5-0327-4D8D-A2DD-06FF3F04B03F}"/>
              </c:ext>
            </c:extLst>
          </c:dPt>
          <c:dPt>
            <c:idx val="370"/>
            <c:invertIfNegative val="1"/>
            <c:bubble3D val="0"/>
            <c:spPr>
              <a:solidFill>
                <a:srgbClr val="AEABAB"/>
              </a:solidFill>
            </c:spPr>
            <c:extLst>
              <c:ext xmlns:c16="http://schemas.microsoft.com/office/drawing/2014/chart" uri="{C3380CC4-5D6E-409C-BE32-E72D297353CC}">
                <c16:uniqueId val="{000002E7-0327-4D8D-A2DD-06FF3F04B03F}"/>
              </c:ext>
            </c:extLst>
          </c:dPt>
          <c:dPt>
            <c:idx val="371"/>
            <c:invertIfNegative val="1"/>
            <c:bubble3D val="0"/>
            <c:spPr>
              <a:solidFill>
                <a:srgbClr val="AEABAB"/>
              </a:solidFill>
            </c:spPr>
            <c:extLst>
              <c:ext xmlns:c16="http://schemas.microsoft.com/office/drawing/2014/chart" uri="{C3380CC4-5D6E-409C-BE32-E72D297353CC}">
                <c16:uniqueId val="{000002E9-0327-4D8D-A2DD-06FF3F04B03F}"/>
              </c:ext>
            </c:extLst>
          </c:dPt>
          <c:dPt>
            <c:idx val="372"/>
            <c:invertIfNegative val="1"/>
            <c:bubble3D val="0"/>
            <c:spPr>
              <a:solidFill>
                <a:srgbClr val="AEABAB"/>
              </a:solidFill>
            </c:spPr>
            <c:extLst>
              <c:ext xmlns:c16="http://schemas.microsoft.com/office/drawing/2014/chart" uri="{C3380CC4-5D6E-409C-BE32-E72D297353CC}">
                <c16:uniqueId val="{000002EB-0327-4D8D-A2DD-06FF3F04B03F}"/>
              </c:ext>
            </c:extLst>
          </c:dPt>
          <c:dPt>
            <c:idx val="373"/>
            <c:invertIfNegative val="1"/>
            <c:bubble3D val="0"/>
            <c:spPr>
              <a:solidFill>
                <a:srgbClr val="AEABAB"/>
              </a:solidFill>
            </c:spPr>
            <c:extLst>
              <c:ext xmlns:c16="http://schemas.microsoft.com/office/drawing/2014/chart" uri="{C3380CC4-5D6E-409C-BE32-E72D297353CC}">
                <c16:uniqueId val="{000002ED-0327-4D8D-A2DD-06FF3F04B03F}"/>
              </c:ext>
            </c:extLst>
          </c:dPt>
          <c:dPt>
            <c:idx val="374"/>
            <c:invertIfNegative val="1"/>
            <c:bubble3D val="0"/>
            <c:spPr>
              <a:solidFill>
                <a:srgbClr val="AEABAB"/>
              </a:solidFill>
            </c:spPr>
            <c:extLst>
              <c:ext xmlns:c16="http://schemas.microsoft.com/office/drawing/2014/chart" uri="{C3380CC4-5D6E-409C-BE32-E72D297353CC}">
                <c16:uniqueId val="{000002EF-0327-4D8D-A2DD-06FF3F04B03F}"/>
              </c:ext>
            </c:extLst>
          </c:dPt>
          <c:dPt>
            <c:idx val="375"/>
            <c:invertIfNegative val="1"/>
            <c:bubble3D val="0"/>
            <c:spPr>
              <a:solidFill>
                <a:srgbClr val="AEABAB"/>
              </a:solidFill>
            </c:spPr>
            <c:extLst>
              <c:ext xmlns:c16="http://schemas.microsoft.com/office/drawing/2014/chart" uri="{C3380CC4-5D6E-409C-BE32-E72D297353CC}">
                <c16:uniqueId val="{000002F1-0327-4D8D-A2DD-06FF3F04B03F}"/>
              </c:ext>
            </c:extLst>
          </c:dPt>
          <c:dPt>
            <c:idx val="376"/>
            <c:invertIfNegative val="1"/>
            <c:bubble3D val="0"/>
            <c:spPr>
              <a:solidFill>
                <a:srgbClr val="AEABAB"/>
              </a:solidFill>
            </c:spPr>
            <c:extLst>
              <c:ext xmlns:c16="http://schemas.microsoft.com/office/drawing/2014/chart" uri="{C3380CC4-5D6E-409C-BE32-E72D297353CC}">
                <c16:uniqueId val="{000002F3-0327-4D8D-A2DD-06FF3F04B03F}"/>
              </c:ext>
            </c:extLst>
          </c:dPt>
          <c:dPt>
            <c:idx val="377"/>
            <c:invertIfNegative val="1"/>
            <c:bubble3D val="0"/>
            <c:spPr>
              <a:solidFill>
                <a:srgbClr val="AEABAB"/>
              </a:solidFill>
            </c:spPr>
            <c:extLst>
              <c:ext xmlns:c16="http://schemas.microsoft.com/office/drawing/2014/chart" uri="{C3380CC4-5D6E-409C-BE32-E72D297353CC}">
                <c16:uniqueId val="{000002F5-0327-4D8D-A2DD-06FF3F04B03F}"/>
              </c:ext>
            </c:extLst>
          </c:dPt>
          <c:dPt>
            <c:idx val="378"/>
            <c:invertIfNegative val="1"/>
            <c:bubble3D val="0"/>
            <c:spPr>
              <a:solidFill>
                <a:srgbClr val="AEABAB"/>
              </a:solidFill>
            </c:spPr>
            <c:extLst>
              <c:ext xmlns:c16="http://schemas.microsoft.com/office/drawing/2014/chart" uri="{C3380CC4-5D6E-409C-BE32-E72D297353CC}">
                <c16:uniqueId val="{000002F7-0327-4D8D-A2DD-06FF3F04B03F}"/>
              </c:ext>
            </c:extLst>
          </c:dPt>
          <c:dPt>
            <c:idx val="379"/>
            <c:invertIfNegative val="1"/>
            <c:bubble3D val="0"/>
            <c:spPr>
              <a:solidFill>
                <a:srgbClr val="AEABAB"/>
              </a:solidFill>
            </c:spPr>
            <c:extLst>
              <c:ext xmlns:c16="http://schemas.microsoft.com/office/drawing/2014/chart" uri="{C3380CC4-5D6E-409C-BE32-E72D297353CC}">
                <c16:uniqueId val="{000002F9-0327-4D8D-A2DD-06FF3F04B03F}"/>
              </c:ext>
            </c:extLst>
          </c:dPt>
          <c:dPt>
            <c:idx val="380"/>
            <c:invertIfNegative val="1"/>
            <c:bubble3D val="0"/>
            <c:spPr>
              <a:solidFill>
                <a:srgbClr val="AEABAB"/>
              </a:solidFill>
            </c:spPr>
            <c:extLst>
              <c:ext xmlns:c16="http://schemas.microsoft.com/office/drawing/2014/chart" uri="{C3380CC4-5D6E-409C-BE32-E72D297353CC}">
                <c16:uniqueId val="{000002FB-0327-4D8D-A2DD-06FF3F04B03F}"/>
              </c:ext>
            </c:extLst>
          </c:dPt>
          <c:dPt>
            <c:idx val="381"/>
            <c:invertIfNegative val="1"/>
            <c:bubble3D val="0"/>
            <c:spPr>
              <a:solidFill>
                <a:srgbClr val="AEABAB"/>
              </a:solidFill>
            </c:spPr>
            <c:extLst>
              <c:ext xmlns:c16="http://schemas.microsoft.com/office/drawing/2014/chart" uri="{C3380CC4-5D6E-409C-BE32-E72D297353CC}">
                <c16:uniqueId val="{000002FD-0327-4D8D-A2DD-06FF3F04B03F}"/>
              </c:ext>
            </c:extLst>
          </c:dPt>
          <c:dPt>
            <c:idx val="382"/>
            <c:invertIfNegative val="1"/>
            <c:bubble3D val="0"/>
            <c:spPr>
              <a:solidFill>
                <a:srgbClr val="AEABAB"/>
              </a:solidFill>
            </c:spPr>
            <c:extLst>
              <c:ext xmlns:c16="http://schemas.microsoft.com/office/drawing/2014/chart" uri="{C3380CC4-5D6E-409C-BE32-E72D297353CC}">
                <c16:uniqueId val="{000002FF-0327-4D8D-A2DD-06FF3F04B03F}"/>
              </c:ext>
            </c:extLst>
          </c:dPt>
          <c:dPt>
            <c:idx val="383"/>
            <c:invertIfNegative val="1"/>
            <c:bubble3D val="0"/>
            <c:spPr>
              <a:solidFill>
                <a:srgbClr val="AEABAB"/>
              </a:solidFill>
            </c:spPr>
            <c:extLst>
              <c:ext xmlns:c16="http://schemas.microsoft.com/office/drawing/2014/chart" uri="{C3380CC4-5D6E-409C-BE32-E72D297353CC}">
                <c16:uniqueId val="{00000301-0327-4D8D-A2DD-06FF3F04B03F}"/>
              </c:ext>
            </c:extLst>
          </c:dPt>
          <c:dPt>
            <c:idx val="384"/>
            <c:invertIfNegative val="1"/>
            <c:bubble3D val="0"/>
            <c:spPr>
              <a:solidFill>
                <a:srgbClr val="AEABAB"/>
              </a:solidFill>
            </c:spPr>
            <c:extLst>
              <c:ext xmlns:c16="http://schemas.microsoft.com/office/drawing/2014/chart" uri="{C3380CC4-5D6E-409C-BE32-E72D297353CC}">
                <c16:uniqueId val="{00000303-0327-4D8D-A2DD-06FF3F04B03F}"/>
              </c:ext>
            </c:extLst>
          </c:dPt>
          <c:dPt>
            <c:idx val="385"/>
            <c:invertIfNegative val="1"/>
            <c:bubble3D val="0"/>
            <c:spPr>
              <a:solidFill>
                <a:srgbClr val="AEABAB"/>
              </a:solidFill>
            </c:spPr>
            <c:extLst>
              <c:ext xmlns:c16="http://schemas.microsoft.com/office/drawing/2014/chart" uri="{C3380CC4-5D6E-409C-BE32-E72D297353CC}">
                <c16:uniqueId val="{00000305-0327-4D8D-A2DD-06FF3F04B03F}"/>
              </c:ext>
            </c:extLst>
          </c:dPt>
          <c:dPt>
            <c:idx val="386"/>
            <c:invertIfNegative val="1"/>
            <c:bubble3D val="0"/>
            <c:spPr>
              <a:solidFill>
                <a:srgbClr val="AEABAB"/>
              </a:solidFill>
            </c:spPr>
            <c:extLst>
              <c:ext xmlns:c16="http://schemas.microsoft.com/office/drawing/2014/chart" uri="{C3380CC4-5D6E-409C-BE32-E72D297353CC}">
                <c16:uniqueId val="{00000307-0327-4D8D-A2DD-06FF3F04B03F}"/>
              </c:ext>
            </c:extLst>
          </c:dPt>
          <c:dPt>
            <c:idx val="387"/>
            <c:invertIfNegative val="1"/>
            <c:bubble3D val="0"/>
            <c:spPr>
              <a:solidFill>
                <a:srgbClr val="AEABAB"/>
              </a:solidFill>
            </c:spPr>
            <c:extLst>
              <c:ext xmlns:c16="http://schemas.microsoft.com/office/drawing/2014/chart" uri="{C3380CC4-5D6E-409C-BE32-E72D297353CC}">
                <c16:uniqueId val="{00000309-0327-4D8D-A2DD-06FF3F04B03F}"/>
              </c:ext>
            </c:extLst>
          </c:dPt>
          <c:dPt>
            <c:idx val="388"/>
            <c:invertIfNegative val="1"/>
            <c:bubble3D val="0"/>
            <c:spPr>
              <a:solidFill>
                <a:srgbClr val="AEABAB"/>
              </a:solidFill>
            </c:spPr>
            <c:extLst>
              <c:ext xmlns:c16="http://schemas.microsoft.com/office/drawing/2014/chart" uri="{C3380CC4-5D6E-409C-BE32-E72D297353CC}">
                <c16:uniqueId val="{0000030B-0327-4D8D-A2DD-06FF3F04B03F}"/>
              </c:ext>
            </c:extLst>
          </c:dPt>
          <c:dPt>
            <c:idx val="389"/>
            <c:invertIfNegative val="1"/>
            <c:bubble3D val="0"/>
            <c:spPr>
              <a:solidFill>
                <a:srgbClr val="AEABAB"/>
              </a:solidFill>
            </c:spPr>
            <c:extLst>
              <c:ext xmlns:c16="http://schemas.microsoft.com/office/drawing/2014/chart" uri="{C3380CC4-5D6E-409C-BE32-E72D297353CC}">
                <c16:uniqueId val="{0000030D-0327-4D8D-A2DD-06FF3F04B03F}"/>
              </c:ext>
            </c:extLst>
          </c:dPt>
          <c:dPt>
            <c:idx val="390"/>
            <c:invertIfNegative val="1"/>
            <c:bubble3D val="0"/>
            <c:spPr>
              <a:solidFill>
                <a:srgbClr val="AEABAB"/>
              </a:solidFill>
            </c:spPr>
            <c:extLst>
              <c:ext xmlns:c16="http://schemas.microsoft.com/office/drawing/2014/chart" uri="{C3380CC4-5D6E-409C-BE32-E72D297353CC}">
                <c16:uniqueId val="{0000030F-0327-4D8D-A2DD-06FF3F04B03F}"/>
              </c:ext>
            </c:extLst>
          </c:dPt>
          <c:dPt>
            <c:idx val="391"/>
            <c:invertIfNegative val="1"/>
            <c:bubble3D val="0"/>
            <c:spPr>
              <a:solidFill>
                <a:srgbClr val="AEABAB"/>
              </a:solidFill>
            </c:spPr>
            <c:extLst>
              <c:ext xmlns:c16="http://schemas.microsoft.com/office/drawing/2014/chart" uri="{C3380CC4-5D6E-409C-BE32-E72D297353CC}">
                <c16:uniqueId val="{00000311-0327-4D8D-A2DD-06FF3F04B03F}"/>
              </c:ext>
            </c:extLst>
          </c:dPt>
          <c:dPt>
            <c:idx val="392"/>
            <c:invertIfNegative val="1"/>
            <c:bubble3D val="0"/>
            <c:spPr>
              <a:solidFill>
                <a:srgbClr val="AEABAB"/>
              </a:solidFill>
            </c:spPr>
            <c:extLst>
              <c:ext xmlns:c16="http://schemas.microsoft.com/office/drawing/2014/chart" uri="{C3380CC4-5D6E-409C-BE32-E72D297353CC}">
                <c16:uniqueId val="{00000313-0327-4D8D-A2DD-06FF3F04B03F}"/>
              </c:ext>
            </c:extLst>
          </c:dPt>
          <c:dPt>
            <c:idx val="393"/>
            <c:invertIfNegative val="1"/>
            <c:bubble3D val="0"/>
            <c:spPr>
              <a:solidFill>
                <a:srgbClr val="AEABAB"/>
              </a:solidFill>
            </c:spPr>
            <c:extLst>
              <c:ext xmlns:c16="http://schemas.microsoft.com/office/drawing/2014/chart" uri="{C3380CC4-5D6E-409C-BE32-E72D297353CC}">
                <c16:uniqueId val="{00000315-0327-4D8D-A2DD-06FF3F04B03F}"/>
              </c:ext>
            </c:extLst>
          </c:dPt>
          <c:dPt>
            <c:idx val="394"/>
            <c:invertIfNegative val="1"/>
            <c:bubble3D val="0"/>
            <c:spPr>
              <a:solidFill>
                <a:srgbClr val="AEABAB"/>
              </a:solidFill>
            </c:spPr>
            <c:extLst>
              <c:ext xmlns:c16="http://schemas.microsoft.com/office/drawing/2014/chart" uri="{C3380CC4-5D6E-409C-BE32-E72D297353CC}">
                <c16:uniqueId val="{00000317-0327-4D8D-A2DD-06FF3F04B03F}"/>
              </c:ext>
            </c:extLst>
          </c:dPt>
          <c:dPt>
            <c:idx val="395"/>
            <c:invertIfNegative val="1"/>
            <c:bubble3D val="0"/>
            <c:spPr>
              <a:solidFill>
                <a:srgbClr val="AEABAB"/>
              </a:solidFill>
            </c:spPr>
            <c:extLst>
              <c:ext xmlns:c16="http://schemas.microsoft.com/office/drawing/2014/chart" uri="{C3380CC4-5D6E-409C-BE32-E72D297353CC}">
                <c16:uniqueId val="{00000319-0327-4D8D-A2DD-06FF3F04B03F}"/>
              </c:ext>
            </c:extLst>
          </c:dPt>
          <c:dPt>
            <c:idx val="396"/>
            <c:invertIfNegative val="1"/>
            <c:bubble3D val="0"/>
            <c:spPr>
              <a:solidFill>
                <a:srgbClr val="AEABAB"/>
              </a:solidFill>
            </c:spPr>
            <c:extLst>
              <c:ext xmlns:c16="http://schemas.microsoft.com/office/drawing/2014/chart" uri="{C3380CC4-5D6E-409C-BE32-E72D297353CC}">
                <c16:uniqueId val="{0000031B-0327-4D8D-A2DD-06FF3F04B03F}"/>
              </c:ext>
            </c:extLst>
          </c:dPt>
          <c:dPt>
            <c:idx val="397"/>
            <c:invertIfNegative val="1"/>
            <c:bubble3D val="0"/>
            <c:spPr>
              <a:solidFill>
                <a:srgbClr val="AEABAB"/>
              </a:solidFill>
            </c:spPr>
            <c:extLst>
              <c:ext xmlns:c16="http://schemas.microsoft.com/office/drawing/2014/chart" uri="{C3380CC4-5D6E-409C-BE32-E72D297353CC}">
                <c16:uniqueId val="{0000031D-0327-4D8D-A2DD-06FF3F04B03F}"/>
              </c:ext>
            </c:extLst>
          </c:dPt>
          <c:dPt>
            <c:idx val="398"/>
            <c:invertIfNegative val="1"/>
            <c:bubble3D val="0"/>
            <c:spPr>
              <a:solidFill>
                <a:srgbClr val="AEABAB"/>
              </a:solidFill>
            </c:spPr>
            <c:extLst>
              <c:ext xmlns:c16="http://schemas.microsoft.com/office/drawing/2014/chart" uri="{C3380CC4-5D6E-409C-BE32-E72D297353CC}">
                <c16:uniqueId val="{0000031F-0327-4D8D-A2DD-06FF3F04B03F}"/>
              </c:ext>
            </c:extLst>
          </c:dPt>
          <c:dPt>
            <c:idx val="399"/>
            <c:invertIfNegative val="1"/>
            <c:bubble3D val="0"/>
            <c:spPr>
              <a:solidFill>
                <a:srgbClr val="AEABAB"/>
              </a:solidFill>
            </c:spPr>
            <c:extLst>
              <c:ext xmlns:c16="http://schemas.microsoft.com/office/drawing/2014/chart" uri="{C3380CC4-5D6E-409C-BE32-E72D297353CC}">
                <c16:uniqueId val="{00000321-0327-4D8D-A2DD-06FF3F04B03F}"/>
              </c:ext>
            </c:extLst>
          </c:dPt>
          <c:dPt>
            <c:idx val="400"/>
            <c:invertIfNegative val="1"/>
            <c:bubble3D val="0"/>
            <c:spPr>
              <a:solidFill>
                <a:srgbClr val="AEABAB"/>
              </a:solidFill>
            </c:spPr>
            <c:extLst>
              <c:ext xmlns:c16="http://schemas.microsoft.com/office/drawing/2014/chart" uri="{C3380CC4-5D6E-409C-BE32-E72D297353CC}">
                <c16:uniqueId val="{00000323-0327-4D8D-A2DD-06FF3F04B03F}"/>
              </c:ext>
            </c:extLst>
          </c:dPt>
          <c:dPt>
            <c:idx val="401"/>
            <c:invertIfNegative val="1"/>
            <c:bubble3D val="0"/>
            <c:spPr>
              <a:solidFill>
                <a:srgbClr val="AEABAB"/>
              </a:solidFill>
            </c:spPr>
            <c:extLst>
              <c:ext xmlns:c16="http://schemas.microsoft.com/office/drawing/2014/chart" uri="{C3380CC4-5D6E-409C-BE32-E72D297353CC}">
                <c16:uniqueId val="{00000325-0327-4D8D-A2DD-06FF3F04B03F}"/>
              </c:ext>
            </c:extLst>
          </c:dPt>
          <c:dPt>
            <c:idx val="402"/>
            <c:invertIfNegative val="1"/>
            <c:bubble3D val="0"/>
            <c:spPr>
              <a:solidFill>
                <a:srgbClr val="AEABAB"/>
              </a:solidFill>
            </c:spPr>
            <c:extLst>
              <c:ext xmlns:c16="http://schemas.microsoft.com/office/drawing/2014/chart" uri="{C3380CC4-5D6E-409C-BE32-E72D297353CC}">
                <c16:uniqueId val="{00000327-0327-4D8D-A2DD-06FF3F04B03F}"/>
              </c:ext>
            </c:extLst>
          </c:dPt>
          <c:dPt>
            <c:idx val="403"/>
            <c:invertIfNegative val="1"/>
            <c:bubble3D val="0"/>
            <c:spPr>
              <a:solidFill>
                <a:srgbClr val="AEABAB"/>
              </a:solidFill>
            </c:spPr>
            <c:extLst>
              <c:ext xmlns:c16="http://schemas.microsoft.com/office/drawing/2014/chart" uri="{C3380CC4-5D6E-409C-BE32-E72D297353CC}">
                <c16:uniqueId val="{00000329-0327-4D8D-A2DD-06FF3F04B03F}"/>
              </c:ext>
            </c:extLst>
          </c:dPt>
          <c:dPt>
            <c:idx val="404"/>
            <c:invertIfNegative val="1"/>
            <c:bubble3D val="0"/>
            <c:spPr>
              <a:solidFill>
                <a:srgbClr val="AEABAB"/>
              </a:solidFill>
            </c:spPr>
            <c:extLst>
              <c:ext xmlns:c16="http://schemas.microsoft.com/office/drawing/2014/chart" uri="{C3380CC4-5D6E-409C-BE32-E72D297353CC}">
                <c16:uniqueId val="{0000032B-0327-4D8D-A2DD-06FF3F04B03F}"/>
              </c:ext>
            </c:extLst>
          </c:dPt>
          <c:dPt>
            <c:idx val="405"/>
            <c:invertIfNegative val="1"/>
            <c:bubble3D val="0"/>
            <c:spPr>
              <a:solidFill>
                <a:srgbClr val="AEABAB"/>
              </a:solidFill>
            </c:spPr>
            <c:extLst>
              <c:ext xmlns:c16="http://schemas.microsoft.com/office/drawing/2014/chart" uri="{C3380CC4-5D6E-409C-BE32-E72D297353CC}">
                <c16:uniqueId val="{0000032D-0327-4D8D-A2DD-06FF3F04B03F}"/>
              </c:ext>
            </c:extLst>
          </c:dPt>
          <c:dPt>
            <c:idx val="406"/>
            <c:invertIfNegative val="1"/>
            <c:bubble3D val="0"/>
            <c:spPr>
              <a:solidFill>
                <a:srgbClr val="AEABAB"/>
              </a:solidFill>
            </c:spPr>
            <c:extLst>
              <c:ext xmlns:c16="http://schemas.microsoft.com/office/drawing/2014/chart" uri="{C3380CC4-5D6E-409C-BE32-E72D297353CC}">
                <c16:uniqueId val="{0000032F-0327-4D8D-A2DD-06FF3F04B03F}"/>
              </c:ext>
            </c:extLst>
          </c:dPt>
          <c:dPt>
            <c:idx val="407"/>
            <c:invertIfNegative val="1"/>
            <c:bubble3D val="0"/>
            <c:spPr>
              <a:solidFill>
                <a:srgbClr val="AEABAB"/>
              </a:solidFill>
            </c:spPr>
            <c:extLst>
              <c:ext xmlns:c16="http://schemas.microsoft.com/office/drawing/2014/chart" uri="{C3380CC4-5D6E-409C-BE32-E72D297353CC}">
                <c16:uniqueId val="{00000331-0327-4D8D-A2DD-06FF3F04B03F}"/>
              </c:ext>
            </c:extLst>
          </c:dPt>
          <c:dPt>
            <c:idx val="408"/>
            <c:invertIfNegative val="1"/>
            <c:bubble3D val="0"/>
            <c:spPr>
              <a:solidFill>
                <a:srgbClr val="AEABAB"/>
              </a:solidFill>
            </c:spPr>
            <c:extLst>
              <c:ext xmlns:c16="http://schemas.microsoft.com/office/drawing/2014/chart" uri="{C3380CC4-5D6E-409C-BE32-E72D297353CC}">
                <c16:uniqueId val="{00000333-0327-4D8D-A2DD-06FF3F04B03F}"/>
              </c:ext>
            </c:extLst>
          </c:dPt>
          <c:dPt>
            <c:idx val="409"/>
            <c:invertIfNegative val="1"/>
            <c:bubble3D val="0"/>
            <c:spPr>
              <a:solidFill>
                <a:srgbClr val="AEABAB"/>
              </a:solidFill>
            </c:spPr>
            <c:extLst>
              <c:ext xmlns:c16="http://schemas.microsoft.com/office/drawing/2014/chart" uri="{C3380CC4-5D6E-409C-BE32-E72D297353CC}">
                <c16:uniqueId val="{00000335-0327-4D8D-A2DD-06FF3F04B03F}"/>
              </c:ext>
            </c:extLst>
          </c:dPt>
          <c:dPt>
            <c:idx val="410"/>
            <c:invertIfNegative val="1"/>
            <c:bubble3D val="0"/>
            <c:spPr>
              <a:solidFill>
                <a:srgbClr val="AEABAB"/>
              </a:solidFill>
            </c:spPr>
            <c:extLst>
              <c:ext xmlns:c16="http://schemas.microsoft.com/office/drawing/2014/chart" uri="{C3380CC4-5D6E-409C-BE32-E72D297353CC}">
                <c16:uniqueId val="{00000337-0327-4D8D-A2DD-06FF3F04B03F}"/>
              </c:ext>
            </c:extLst>
          </c:dPt>
          <c:dPt>
            <c:idx val="411"/>
            <c:invertIfNegative val="1"/>
            <c:bubble3D val="0"/>
            <c:spPr>
              <a:solidFill>
                <a:srgbClr val="AEABAB"/>
              </a:solidFill>
            </c:spPr>
            <c:extLst>
              <c:ext xmlns:c16="http://schemas.microsoft.com/office/drawing/2014/chart" uri="{C3380CC4-5D6E-409C-BE32-E72D297353CC}">
                <c16:uniqueId val="{00000339-0327-4D8D-A2DD-06FF3F04B03F}"/>
              </c:ext>
            </c:extLst>
          </c:dPt>
          <c:dPt>
            <c:idx val="412"/>
            <c:invertIfNegative val="1"/>
            <c:bubble3D val="0"/>
            <c:spPr>
              <a:solidFill>
                <a:srgbClr val="AEABAB"/>
              </a:solidFill>
            </c:spPr>
            <c:extLst>
              <c:ext xmlns:c16="http://schemas.microsoft.com/office/drawing/2014/chart" uri="{C3380CC4-5D6E-409C-BE32-E72D297353CC}">
                <c16:uniqueId val="{0000033B-0327-4D8D-A2DD-06FF3F04B03F}"/>
              </c:ext>
            </c:extLst>
          </c:dPt>
          <c:dPt>
            <c:idx val="413"/>
            <c:invertIfNegative val="1"/>
            <c:bubble3D val="0"/>
            <c:spPr>
              <a:solidFill>
                <a:srgbClr val="AEABAB"/>
              </a:solidFill>
            </c:spPr>
            <c:extLst>
              <c:ext xmlns:c16="http://schemas.microsoft.com/office/drawing/2014/chart" uri="{C3380CC4-5D6E-409C-BE32-E72D297353CC}">
                <c16:uniqueId val="{0000033D-0327-4D8D-A2DD-06FF3F04B03F}"/>
              </c:ext>
            </c:extLst>
          </c:dPt>
          <c:dPt>
            <c:idx val="414"/>
            <c:invertIfNegative val="1"/>
            <c:bubble3D val="0"/>
            <c:spPr>
              <a:solidFill>
                <a:srgbClr val="AEABAB"/>
              </a:solidFill>
            </c:spPr>
            <c:extLst>
              <c:ext xmlns:c16="http://schemas.microsoft.com/office/drawing/2014/chart" uri="{C3380CC4-5D6E-409C-BE32-E72D297353CC}">
                <c16:uniqueId val="{0000033F-0327-4D8D-A2DD-06FF3F04B03F}"/>
              </c:ext>
            </c:extLst>
          </c:dPt>
          <c:dPt>
            <c:idx val="415"/>
            <c:invertIfNegative val="1"/>
            <c:bubble3D val="0"/>
            <c:spPr>
              <a:solidFill>
                <a:srgbClr val="AEABAB"/>
              </a:solidFill>
            </c:spPr>
            <c:extLst>
              <c:ext xmlns:c16="http://schemas.microsoft.com/office/drawing/2014/chart" uri="{C3380CC4-5D6E-409C-BE32-E72D297353CC}">
                <c16:uniqueId val="{00000341-0327-4D8D-A2DD-06FF3F04B03F}"/>
              </c:ext>
            </c:extLst>
          </c:dPt>
          <c:dPt>
            <c:idx val="416"/>
            <c:invertIfNegative val="1"/>
            <c:bubble3D val="0"/>
            <c:spPr>
              <a:solidFill>
                <a:srgbClr val="AEABAB"/>
              </a:solidFill>
            </c:spPr>
            <c:extLst>
              <c:ext xmlns:c16="http://schemas.microsoft.com/office/drawing/2014/chart" uri="{C3380CC4-5D6E-409C-BE32-E72D297353CC}">
                <c16:uniqueId val="{00000343-0327-4D8D-A2DD-06FF3F04B03F}"/>
              </c:ext>
            </c:extLst>
          </c:dPt>
          <c:dPt>
            <c:idx val="417"/>
            <c:invertIfNegative val="1"/>
            <c:bubble3D val="0"/>
            <c:spPr>
              <a:solidFill>
                <a:srgbClr val="AEABAB"/>
              </a:solidFill>
            </c:spPr>
            <c:extLst>
              <c:ext xmlns:c16="http://schemas.microsoft.com/office/drawing/2014/chart" uri="{C3380CC4-5D6E-409C-BE32-E72D297353CC}">
                <c16:uniqueId val="{00000345-0327-4D8D-A2DD-06FF3F04B03F}"/>
              </c:ext>
            </c:extLst>
          </c:dPt>
          <c:dPt>
            <c:idx val="418"/>
            <c:invertIfNegative val="1"/>
            <c:bubble3D val="0"/>
            <c:spPr>
              <a:solidFill>
                <a:srgbClr val="AEABAB"/>
              </a:solidFill>
            </c:spPr>
            <c:extLst>
              <c:ext xmlns:c16="http://schemas.microsoft.com/office/drawing/2014/chart" uri="{C3380CC4-5D6E-409C-BE32-E72D297353CC}">
                <c16:uniqueId val="{00000347-0327-4D8D-A2DD-06FF3F04B03F}"/>
              </c:ext>
            </c:extLst>
          </c:dPt>
          <c:dPt>
            <c:idx val="419"/>
            <c:invertIfNegative val="1"/>
            <c:bubble3D val="0"/>
            <c:spPr>
              <a:solidFill>
                <a:srgbClr val="AEABAB"/>
              </a:solidFill>
            </c:spPr>
            <c:extLst>
              <c:ext xmlns:c16="http://schemas.microsoft.com/office/drawing/2014/chart" uri="{C3380CC4-5D6E-409C-BE32-E72D297353CC}">
                <c16:uniqueId val="{00000349-0327-4D8D-A2DD-06FF3F04B03F}"/>
              </c:ext>
            </c:extLst>
          </c:dPt>
          <c:dPt>
            <c:idx val="420"/>
            <c:invertIfNegative val="1"/>
            <c:bubble3D val="0"/>
            <c:spPr>
              <a:solidFill>
                <a:srgbClr val="AEABAB"/>
              </a:solidFill>
            </c:spPr>
            <c:extLst>
              <c:ext xmlns:c16="http://schemas.microsoft.com/office/drawing/2014/chart" uri="{C3380CC4-5D6E-409C-BE32-E72D297353CC}">
                <c16:uniqueId val="{0000034B-0327-4D8D-A2DD-06FF3F04B03F}"/>
              </c:ext>
            </c:extLst>
          </c:dPt>
          <c:dPt>
            <c:idx val="421"/>
            <c:invertIfNegative val="1"/>
            <c:bubble3D val="0"/>
            <c:spPr>
              <a:solidFill>
                <a:srgbClr val="AEABAB"/>
              </a:solidFill>
            </c:spPr>
            <c:extLst>
              <c:ext xmlns:c16="http://schemas.microsoft.com/office/drawing/2014/chart" uri="{C3380CC4-5D6E-409C-BE32-E72D297353CC}">
                <c16:uniqueId val="{0000034D-0327-4D8D-A2DD-06FF3F04B03F}"/>
              </c:ext>
            </c:extLst>
          </c:dPt>
          <c:dPt>
            <c:idx val="422"/>
            <c:invertIfNegative val="1"/>
            <c:bubble3D val="0"/>
            <c:spPr>
              <a:solidFill>
                <a:srgbClr val="AEABAB"/>
              </a:solidFill>
            </c:spPr>
            <c:extLst>
              <c:ext xmlns:c16="http://schemas.microsoft.com/office/drawing/2014/chart" uri="{C3380CC4-5D6E-409C-BE32-E72D297353CC}">
                <c16:uniqueId val="{0000034F-0327-4D8D-A2DD-06FF3F04B03F}"/>
              </c:ext>
            </c:extLst>
          </c:dPt>
          <c:dPt>
            <c:idx val="423"/>
            <c:invertIfNegative val="1"/>
            <c:bubble3D val="0"/>
            <c:spPr>
              <a:solidFill>
                <a:srgbClr val="AEABAB"/>
              </a:solidFill>
            </c:spPr>
            <c:extLst>
              <c:ext xmlns:c16="http://schemas.microsoft.com/office/drawing/2014/chart" uri="{C3380CC4-5D6E-409C-BE32-E72D297353CC}">
                <c16:uniqueId val="{00000351-0327-4D8D-A2DD-06FF3F04B03F}"/>
              </c:ext>
            </c:extLst>
          </c:dPt>
          <c:dPt>
            <c:idx val="424"/>
            <c:invertIfNegative val="1"/>
            <c:bubble3D val="0"/>
            <c:spPr>
              <a:solidFill>
                <a:srgbClr val="AEABAB"/>
              </a:solidFill>
            </c:spPr>
            <c:extLst>
              <c:ext xmlns:c16="http://schemas.microsoft.com/office/drawing/2014/chart" uri="{C3380CC4-5D6E-409C-BE32-E72D297353CC}">
                <c16:uniqueId val="{00000353-0327-4D8D-A2DD-06FF3F04B03F}"/>
              </c:ext>
            </c:extLst>
          </c:dPt>
          <c:dPt>
            <c:idx val="425"/>
            <c:invertIfNegative val="1"/>
            <c:bubble3D val="0"/>
            <c:spPr>
              <a:solidFill>
                <a:srgbClr val="AEABAB"/>
              </a:solidFill>
            </c:spPr>
            <c:extLst>
              <c:ext xmlns:c16="http://schemas.microsoft.com/office/drawing/2014/chart" uri="{C3380CC4-5D6E-409C-BE32-E72D297353CC}">
                <c16:uniqueId val="{00000355-0327-4D8D-A2DD-06FF3F04B03F}"/>
              </c:ext>
            </c:extLst>
          </c:dPt>
          <c:dPt>
            <c:idx val="426"/>
            <c:invertIfNegative val="1"/>
            <c:bubble3D val="0"/>
            <c:spPr>
              <a:solidFill>
                <a:srgbClr val="AEABAB"/>
              </a:solidFill>
            </c:spPr>
            <c:extLst>
              <c:ext xmlns:c16="http://schemas.microsoft.com/office/drawing/2014/chart" uri="{C3380CC4-5D6E-409C-BE32-E72D297353CC}">
                <c16:uniqueId val="{00000357-0327-4D8D-A2DD-06FF3F04B03F}"/>
              </c:ext>
            </c:extLst>
          </c:dPt>
          <c:dPt>
            <c:idx val="427"/>
            <c:invertIfNegative val="1"/>
            <c:bubble3D val="0"/>
            <c:spPr>
              <a:solidFill>
                <a:srgbClr val="AEABAB"/>
              </a:solidFill>
            </c:spPr>
            <c:extLst>
              <c:ext xmlns:c16="http://schemas.microsoft.com/office/drawing/2014/chart" uri="{C3380CC4-5D6E-409C-BE32-E72D297353CC}">
                <c16:uniqueId val="{00000359-0327-4D8D-A2DD-06FF3F04B03F}"/>
              </c:ext>
            </c:extLst>
          </c:dPt>
          <c:dPt>
            <c:idx val="428"/>
            <c:invertIfNegative val="1"/>
            <c:bubble3D val="0"/>
            <c:spPr>
              <a:solidFill>
                <a:srgbClr val="AEABAB"/>
              </a:solidFill>
            </c:spPr>
            <c:extLst>
              <c:ext xmlns:c16="http://schemas.microsoft.com/office/drawing/2014/chart" uri="{C3380CC4-5D6E-409C-BE32-E72D297353CC}">
                <c16:uniqueId val="{0000035B-0327-4D8D-A2DD-06FF3F04B03F}"/>
              </c:ext>
            </c:extLst>
          </c:dPt>
          <c:dPt>
            <c:idx val="429"/>
            <c:invertIfNegative val="1"/>
            <c:bubble3D val="0"/>
            <c:spPr>
              <a:solidFill>
                <a:srgbClr val="AEABAB"/>
              </a:solidFill>
            </c:spPr>
            <c:extLst>
              <c:ext xmlns:c16="http://schemas.microsoft.com/office/drawing/2014/chart" uri="{C3380CC4-5D6E-409C-BE32-E72D297353CC}">
                <c16:uniqueId val="{0000035D-0327-4D8D-A2DD-06FF3F04B03F}"/>
              </c:ext>
            </c:extLst>
          </c:dPt>
          <c:dPt>
            <c:idx val="430"/>
            <c:invertIfNegative val="1"/>
            <c:bubble3D val="0"/>
            <c:spPr>
              <a:solidFill>
                <a:srgbClr val="AEABAB"/>
              </a:solidFill>
            </c:spPr>
            <c:extLst>
              <c:ext xmlns:c16="http://schemas.microsoft.com/office/drawing/2014/chart" uri="{C3380CC4-5D6E-409C-BE32-E72D297353CC}">
                <c16:uniqueId val="{0000035F-0327-4D8D-A2DD-06FF3F04B03F}"/>
              </c:ext>
            </c:extLst>
          </c:dPt>
          <c:dPt>
            <c:idx val="431"/>
            <c:invertIfNegative val="1"/>
            <c:bubble3D val="0"/>
            <c:spPr>
              <a:solidFill>
                <a:srgbClr val="AEABAB"/>
              </a:solidFill>
            </c:spPr>
            <c:extLst>
              <c:ext xmlns:c16="http://schemas.microsoft.com/office/drawing/2014/chart" uri="{C3380CC4-5D6E-409C-BE32-E72D297353CC}">
                <c16:uniqueId val="{00000361-0327-4D8D-A2DD-06FF3F04B03F}"/>
              </c:ext>
            </c:extLst>
          </c:dPt>
          <c:dPt>
            <c:idx val="432"/>
            <c:invertIfNegative val="1"/>
            <c:bubble3D val="0"/>
            <c:spPr>
              <a:solidFill>
                <a:srgbClr val="AEABAB"/>
              </a:solidFill>
            </c:spPr>
            <c:extLst>
              <c:ext xmlns:c16="http://schemas.microsoft.com/office/drawing/2014/chart" uri="{C3380CC4-5D6E-409C-BE32-E72D297353CC}">
                <c16:uniqueId val="{00000363-0327-4D8D-A2DD-06FF3F04B03F}"/>
              </c:ext>
            </c:extLst>
          </c:dPt>
          <c:cat>
            <c:strRef>
              <c:f>Sheet1!$A$2:$A$434</c:f>
              <c:strCache>
                <c:ptCount val="433"/>
                <c:pt idx="0">
                  <c:v>Private Lab</c:v>
                </c:pt>
                <c:pt idx="1">
                  <c:v>Private Lab</c:v>
                </c:pt>
                <c:pt idx="2">
                  <c:v>Private Lab</c:v>
                </c:pt>
                <c:pt idx="3">
                  <c:v>Private Lab</c:v>
                </c:pt>
                <c:pt idx="4">
                  <c:v>Caprice Des</c:v>
                </c:pt>
                <c:pt idx="5">
                  <c:v>Galbani</c:v>
                </c:pt>
                <c:pt idx="6">
                  <c:v>Private Lab</c:v>
                </c:pt>
                <c:pt idx="7">
                  <c:v>Private Lab</c:v>
                </c:pt>
                <c:pt idx="8">
                  <c:v>Salakis</c:v>
                </c:pt>
                <c:pt idx="9">
                  <c:v>President</c:v>
                </c:pt>
                <c:pt idx="10">
                  <c:v>Private Lab</c:v>
                </c:pt>
                <c:pt idx="11">
                  <c:v>Soignon</c:v>
                </c:pt>
                <c:pt idx="12">
                  <c:v>Mini Babybe</c:v>
                </c:pt>
                <c:pt idx="13">
                  <c:v>Private Lab</c:v>
                </c:pt>
                <c:pt idx="14">
                  <c:v>Coeur De Li</c:v>
                </c:pt>
                <c:pt idx="15">
                  <c:v>Private Lab</c:v>
                </c:pt>
                <c:pt idx="16">
                  <c:v>Caprice Des</c:v>
                </c:pt>
                <c:pt idx="17">
                  <c:v>President</c:v>
                </c:pt>
                <c:pt idx="18">
                  <c:v>Private Lab</c:v>
                </c:pt>
                <c:pt idx="19">
                  <c:v>St Moret</c:v>
                </c:pt>
                <c:pt idx="20">
                  <c:v>Galbani</c:v>
                </c:pt>
                <c:pt idx="21">
                  <c:v>Mini Babybe</c:v>
                </c:pt>
                <c:pt idx="22">
                  <c:v>St Moret</c:v>
                </c:pt>
                <c:pt idx="23">
                  <c:v>Private Lab</c:v>
                </c:pt>
                <c:pt idx="24">
                  <c:v>Soignon</c:v>
                </c:pt>
                <c:pt idx="25">
                  <c:v>La Vache Qu</c:v>
                </c:pt>
                <c:pt idx="26">
                  <c:v>Private Lab</c:v>
                </c:pt>
                <c:pt idx="27">
                  <c:v>Le Rustique</c:v>
                </c:pt>
                <c:pt idx="28">
                  <c:v>Private Lab</c:v>
                </c:pt>
                <c:pt idx="29">
                  <c:v>Private Lab</c:v>
                </c:pt>
                <c:pt idx="30">
                  <c:v>Galbani</c:v>
                </c:pt>
                <c:pt idx="31">
                  <c:v>St Moret</c:v>
                </c:pt>
                <c:pt idx="32">
                  <c:v>Private Lab</c:v>
                </c:pt>
                <c:pt idx="33">
                  <c:v>Private Lab</c:v>
                </c:pt>
                <c:pt idx="34">
                  <c:v>Private Lab</c:v>
                </c:pt>
                <c:pt idx="35">
                  <c:v>Galbani</c:v>
                </c:pt>
                <c:pt idx="36">
                  <c:v>Galbani</c:v>
                </c:pt>
                <c:pt idx="37">
                  <c:v>Tartare</c:v>
                </c:pt>
                <c:pt idx="38">
                  <c:v>Les Mousque</c:v>
                </c:pt>
                <c:pt idx="39">
                  <c:v>Private Lab</c:v>
                </c:pt>
                <c:pt idx="40">
                  <c:v>Islos</c:v>
                </c:pt>
                <c:pt idx="41">
                  <c:v>President</c:v>
                </c:pt>
                <c:pt idx="42">
                  <c:v>Paysan Bret</c:v>
                </c:pt>
                <c:pt idx="43">
                  <c:v>Private Lab</c:v>
                </c:pt>
                <c:pt idx="44">
                  <c:v>Private Lab</c:v>
                </c:pt>
                <c:pt idx="45">
                  <c:v>St Moret</c:v>
                </c:pt>
                <c:pt idx="46">
                  <c:v>All Others</c:v>
                </c:pt>
                <c:pt idx="47">
                  <c:v>Kiri</c:v>
                </c:pt>
                <c:pt idx="48">
                  <c:v>La Vache Qu</c:v>
                </c:pt>
                <c:pt idx="49">
                  <c:v>Private Lab</c:v>
                </c:pt>
                <c:pt idx="50">
                  <c:v>Coeur De Li</c:v>
                </c:pt>
                <c:pt idx="51">
                  <c:v>Galbani</c:v>
                </c:pt>
                <c:pt idx="52">
                  <c:v>Private Lab</c:v>
                </c:pt>
                <c:pt idx="53">
                  <c:v>Salakis</c:v>
                </c:pt>
                <c:pt idx="54">
                  <c:v>Private Lab</c:v>
                </c:pt>
                <c:pt idx="55">
                  <c:v>Private Lab</c:v>
                </c:pt>
                <c:pt idx="56">
                  <c:v>Carre Frais</c:v>
                </c:pt>
                <c:pt idx="57">
                  <c:v>Carre Frais</c:v>
                </c:pt>
                <c:pt idx="58">
                  <c:v>La Vache Qu</c:v>
                </c:pt>
                <c:pt idx="59">
                  <c:v>Private Lab</c:v>
                </c:pt>
                <c:pt idx="60">
                  <c:v>Private Lab</c:v>
                </c:pt>
                <c:pt idx="61">
                  <c:v>Private Lab</c:v>
                </c:pt>
                <c:pt idx="62">
                  <c:v>Private Lab</c:v>
                </c:pt>
                <c:pt idx="63">
                  <c:v>Istara</c:v>
                </c:pt>
                <c:pt idx="64">
                  <c:v>Paysan Bret</c:v>
                </c:pt>
                <c:pt idx="65">
                  <c:v>Kiri</c:v>
                </c:pt>
                <c:pt idx="66">
                  <c:v>Casa Azzurr</c:v>
                </c:pt>
                <c:pt idx="67">
                  <c:v>Kiri</c:v>
                </c:pt>
                <c:pt idx="68">
                  <c:v>All Others</c:v>
                </c:pt>
                <c:pt idx="69">
                  <c:v>Boursin</c:v>
                </c:pt>
                <c:pt idx="70">
                  <c:v>Ficello</c:v>
                </c:pt>
                <c:pt idx="71">
                  <c:v>Philadelphi</c:v>
                </c:pt>
                <c:pt idx="72">
                  <c:v>Private Lab</c:v>
                </c:pt>
                <c:pt idx="73">
                  <c:v>Boursin</c:v>
                </c:pt>
                <c:pt idx="74">
                  <c:v>Private Lab</c:v>
                </c:pt>
                <c:pt idx="75">
                  <c:v>Lou Perac</c:v>
                </c:pt>
                <c:pt idx="76">
                  <c:v>Petit Billy</c:v>
                </c:pt>
                <c:pt idx="77">
                  <c:v>Private Lab</c:v>
                </c:pt>
                <c:pt idx="78">
                  <c:v>Soignon</c:v>
                </c:pt>
                <c:pt idx="79">
                  <c:v>Private Lab</c:v>
                </c:pt>
                <c:pt idx="80">
                  <c:v>Lepetit</c:v>
                </c:pt>
                <c:pt idx="81">
                  <c:v>Tartare</c:v>
                </c:pt>
                <c:pt idx="82">
                  <c:v>St Moret</c:v>
                </c:pt>
                <c:pt idx="83">
                  <c:v>Private Lab</c:v>
                </c:pt>
                <c:pt idx="84">
                  <c:v>Philadelphi</c:v>
                </c:pt>
                <c:pt idx="85">
                  <c:v>Private Lab</c:v>
                </c:pt>
                <c:pt idx="86">
                  <c:v>Kiri</c:v>
                </c:pt>
                <c:pt idx="87">
                  <c:v>St Moret</c:v>
                </c:pt>
                <c:pt idx="88">
                  <c:v>St Moret</c:v>
                </c:pt>
                <c:pt idx="89">
                  <c:v>Private Lab</c:v>
                </c:pt>
                <c:pt idx="90">
                  <c:v>Ficello</c:v>
                </c:pt>
                <c:pt idx="91">
                  <c:v>Private Lab</c:v>
                </c:pt>
                <c:pt idx="92">
                  <c:v>Boursin</c:v>
                </c:pt>
                <c:pt idx="93">
                  <c:v>Private Lab</c:v>
                </c:pt>
                <c:pt idx="94">
                  <c:v>Ficello</c:v>
                </c:pt>
                <c:pt idx="95">
                  <c:v>Kiri</c:v>
                </c:pt>
                <c:pt idx="96">
                  <c:v>Le Rustique</c:v>
                </c:pt>
                <c:pt idx="97">
                  <c:v>Soignon</c:v>
                </c:pt>
                <c:pt idx="98">
                  <c:v>Coeur De Li</c:v>
                </c:pt>
                <c:pt idx="99">
                  <c:v>Soignon</c:v>
                </c:pt>
                <c:pt idx="100">
                  <c:v>Private Lab</c:v>
                </c:pt>
                <c:pt idx="101">
                  <c:v>Casa Azzurr</c:v>
                </c:pt>
                <c:pt idx="102">
                  <c:v>Coeur De Li</c:v>
                </c:pt>
                <c:pt idx="103">
                  <c:v>Caprice Des</c:v>
                </c:pt>
                <c:pt idx="104">
                  <c:v>Etorki</c:v>
                </c:pt>
                <c:pt idx="105">
                  <c:v>President</c:v>
                </c:pt>
                <c:pt idx="106">
                  <c:v>Private Lab</c:v>
                </c:pt>
                <c:pt idx="107">
                  <c:v>Chavroux</c:v>
                </c:pt>
                <c:pt idx="108">
                  <c:v>Boursin</c:v>
                </c:pt>
                <c:pt idx="109">
                  <c:v>Salakis</c:v>
                </c:pt>
                <c:pt idx="110">
                  <c:v>Private Lab</c:v>
                </c:pt>
                <c:pt idx="111">
                  <c:v>Private Lab</c:v>
                </c:pt>
                <c:pt idx="112">
                  <c:v>President</c:v>
                </c:pt>
                <c:pt idx="113">
                  <c:v>Private Lab</c:v>
                </c:pt>
                <c:pt idx="114">
                  <c:v>Boursin</c:v>
                </c:pt>
                <c:pt idx="115">
                  <c:v>All Others</c:v>
                </c:pt>
                <c:pt idx="116">
                  <c:v>Casa Azzurr</c:v>
                </c:pt>
                <c:pt idx="117">
                  <c:v>Private Lab</c:v>
                </c:pt>
                <c:pt idx="118">
                  <c:v>All Others</c:v>
                </c:pt>
                <c:pt idx="119">
                  <c:v>Galbani</c:v>
                </c:pt>
                <c:pt idx="120">
                  <c:v>President</c:v>
                </c:pt>
                <c:pt idx="121">
                  <c:v>Private Lab</c:v>
                </c:pt>
                <c:pt idx="122">
                  <c:v>Le Brebiou</c:v>
                </c:pt>
                <c:pt idx="123">
                  <c:v>P'Tit Louis</c:v>
                </c:pt>
                <c:pt idx="124">
                  <c:v>Private Lab</c:v>
                </c:pt>
                <c:pt idx="125">
                  <c:v>President</c:v>
                </c:pt>
                <c:pt idx="126">
                  <c:v>Soignon</c:v>
                </c:pt>
                <c:pt idx="127">
                  <c:v>La Vache Qu</c:v>
                </c:pt>
                <c:pt idx="128">
                  <c:v>Paysan Bret</c:v>
                </c:pt>
                <c:pt idx="129">
                  <c:v>Private Lab</c:v>
                </c:pt>
                <c:pt idx="130">
                  <c:v>Private Lab</c:v>
                </c:pt>
                <c:pt idx="131">
                  <c:v>Private Lab</c:v>
                </c:pt>
                <c:pt idx="132">
                  <c:v>Boursin</c:v>
                </c:pt>
                <c:pt idx="133">
                  <c:v>All Others</c:v>
                </c:pt>
                <c:pt idx="134">
                  <c:v>Caprice Des</c:v>
                </c:pt>
                <c:pt idx="135">
                  <c:v>President</c:v>
                </c:pt>
                <c:pt idx="136">
                  <c:v>Salakis</c:v>
                </c:pt>
                <c:pt idx="137">
                  <c:v>Les Mousque</c:v>
                </c:pt>
                <c:pt idx="138">
                  <c:v>President</c:v>
                </c:pt>
                <c:pt idx="139">
                  <c:v>Paysan Bret</c:v>
                </c:pt>
                <c:pt idx="140">
                  <c:v>All Others</c:v>
                </c:pt>
                <c:pt idx="141">
                  <c:v>Tartare</c:v>
                </c:pt>
                <c:pt idx="142">
                  <c:v>Istara</c:v>
                </c:pt>
                <c:pt idx="143">
                  <c:v>Galbani</c:v>
                </c:pt>
                <c:pt idx="144">
                  <c:v>President</c:v>
                </c:pt>
                <c:pt idx="145">
                  <c:v>Soignon</c:v>
                </c:pt>
                <c:pt idx="146">
                  <c:v>Lactalis: A</c:v>
                </c:pt>
                <c:pt idx="147">
                  <c:v>All Others</c:v>
                </c:pt>
                <c:pt idx="148">
                  <c:v>Private Lab</c:v>
                </c:pt>
                <c:pt idx="149">
                  <c:v>Lou Perac</c:v>
                </c:pt>
                <c:pt idx="150">
                  <c:v>Private Lab</c:v>
                </c:pt>
                <c:pt idx="151">
                  <c:v>Les Mousque</c:v>
                </c:pt>
                <c:pt idx="152">
                  <c:v>Boursin</c:v>
                </c:pt>
                <c:pt idx="153">
                  <c:v>Soignon</c:v>
                </c:pt>
                <c:pt idx="154">
                  <c:v>Casa Azzurr</c:v>
                </c:pt>
                <c:pt idx="155">
                  <c:v>Carre Frais</c:v>
                </c:pt>
                <c:pt idx="156">
                  <c:v>Coeur De Li</c:v>
                </c:pt>
                <c:pt idx="157">
                  <c:v>Galbani</c:v>
                </c:pt>
                <c:pt idx="158">
                  <c:v>Boursin</c:v>
                </c:pt>
                <c:pt idx="159">
                  <c:v>President</c:v>
                </c:pt>
                <c:pt idx="160">
                  <c:v>Kiri</c:v>
                </c:pt>
                <c:pt idx="161">
                  <c:v>Salakis</c:v>
                </c:pt>
                <c:pt idx="162">
                  <c:v>All Others</c:v>
                </c:pt>
                <c:pt idx="163">
                  <c:v>Private Lab</c:v>
                </c:pt>
                <c:pt idx="164">
                  <c:v>Private Lab</c:v>
                </c:pt>
                <c:pt idx="165">
                  <c:v>Casa Azzurr</c:v>
                </c:pt>
                <c:pt idx="166">
                  <c:v>All Others</c:v>
                </c:pt>
                <c:pt idx="167">
                  <c:v>Private Lab</c:v>
                </c:pt>
                <c:pt idx="168">
                  <c:v>All Others</c:v>
                </c:pt>
                <c:pt idx="169">
                  <c:v>Paysan Bret</c:v>
                </c:pt>
                <c:pt idx="170">
                  <c:v>Private Lab</c:v>
                </c:pt>
                <c:pt idx="171">
                  <c:v>Chavroux</c:v>
                </c:pt>
                <c:pt idx="172">
                  <c:v>Salakis</c:v>
                </c:pt>
                <c:pt idx="173">
                  <c:v>La Vache Qu</c:v>
                </c:pt>
                <c:pt idx="174">
                  <c:v>All Others</c:v>
                </c:pt>
                <c:pt idx="175">
                  <c:v>President</c:v>
                </c:pt>
                <c:pt idx="176">
                  <c:v>Private Lab</c:v>
                </c:pt>
                <c:pt idx="177">
                  <c:v>Boursin</c:v>
                </c:pt>
                <c:pt idx="178">
                  <c:v>Lou Perac</c:v>
                </c:pt>
                <c:pt idx="179">
                  <c:v>Paysan Bret</c:v>
                </c:pt>
                <c:pt idx="180">
                  <c:v>Soignon</c:v>
                </c:pt>
                <c:pt idx="181">
                  <c:v>Casa Azzurr</c:v>
                </c:pt>
                <c:pt idx="182">
                  <c:v>Galbani</c:v>
                </c:pt>
                <c:pt idx="183">
                  <c:v>Casa Azzurr</c:v>
                </c:pt>
                <c:pt idx="184">
                  <c:v>Private Lab</c:v>
                </c:pt>
                <c:pt idx="185">
                  <c:v>Coeur De Li</c:v>
                </c:pt>
                <c:pt idx="186">
                  <c:v>Private Lab</c:v>
                </c:pt>
                <c:pt idx="187">
                  <c:v>Private Lab</c:v>
                </c:pt>
                <c:pt idx="188">
                  <c:v>All Others</c:v>
                </c:pt>
                <c:pt idx="189">
                  <c:v>All Others</c:v>
                </c:pt>
                <c:pt idx="190">
                  <c:v>All Others</c:v>
                </c:pt>
                <c:pt idx="191">
                  <c:v>Paysan Bret</c:v>
                </c:pt>
                <c:pt idx="192">
                  <c:v>Tartare</c:v>
                </c:pt>
                <c:pt idx="193">
                  <c:v>All Others</c:v>
                </c:pt>
                <c:pt idx="194">
                  <c:v>Lactalis: A</c:v>
                </c:pt>
                <c:pt idx="195">
                  <c:v>Mini Babybe</c:v>
                </c:pt>
                <c:pt idx="196">
                  <c:v>Casa Azzurr</c:v>
                </c:pt>
                <c:pt idx="197">
                  <c:v>All Others</c:v>
                </c:pt>
                <c:pt idx="198">
                  <c:v>Galbani</c:v>
                </c:pt>
                <c:pt idx="199">
                  <c:v>Galbani</c:v>
                </c:pt>
                <c:pt idx="200">
                  <c:v>St Moret</c:v>
                </c:pt>
                <c:pt idx="201">
                  <c:v>La Vache Qu</c:v>
                </c:pt>
                <c:pt idx="202">
                  <c:v>Kiri</c:v>
                </c:pt>
                <c:pt idx="203">
                  <c:v>Triballat N</c:v>
                </c:pt>
                <c:pt idx="204">
                  <c:v>Mini Babybe</c:v>
                </c:pt>
                <c:pt idx="205">
                  <c:v>All Others</c:v>
                </c:pt>
                <c:pt idx="206">
                  <c:v>All Others</c:v>
                </c:pt>
                <c:pt idx="207">
                  <c:v>Lactalis: A</c:v>
                </c:pt>
                <c:pt idx="208">
                  <c:v>La Table M</c:v>
                </c:pt>
                <c:pt idx="209">
                  <c:v>Tartare</c:v>
                </c:pt>
                <c:pt idx="210">
                  <c:v>All Others</c:v>
                </c:pt>
                <c:pt idx="211">
                  <c:v>Salakis</c:v>
                </c:pt>
                <c:pt idx="212">
                  <c:v>Kiri</c:v>
                </c:pt>
                <c:pt idx="213">
                  <c:v>Islos</c:v>
                </c:pt>
                <c:pt idx="214">
                  <c:v>All Others</c:v>
                </c:pt>
                <c:pt idx="215">
                  <c:v>Private Lab</c:v>
                </c:pt>
                <c:pt idx="216">
                  <c:v>Soignon</c:v>
                </c:pt>
                <c:pt idx="217">
                  <c:v>Caprice Des</c:v>
                </c:pt>
                <c:pt idx="218">
                  <c:v>Savencia: A</c:v>
                </c:pt>
                <c:pt idx="219">
                  <c:v>Salakis</c:v>
                </c:pt>
                <c:pt idx="220">
                  <c:v>Casa Azzurr</c:v>
                </c:pt>
                <c:pt idx="221">
                  <c:v>Paysan Bret</c:v>
                </c:pt>
                <c:pt idx="222">
                  <c:v>Boursin</c:v>
                </c:pt>
                <c:pt idx="223">
                  <c:v>Caprice Des</c:v>
                </c:pt>
                <c:pt idx="224">
                  <c:v>Galbani</c:v>
                </c:pt>
                <c:pt idx="225">
                  <c:v>Boursin</c:v>
                </c:pt>
                <c:pt idx="226">
                  <c:v>All Others</c:v>
                </c:pt>
                <c:pt idx="227">
                  <c:v>Le Rustique</c:v>
                </c:pt>
                <c:pt idx="228">
                  <c:v>Etorki</c:v>
                </c:pt>
                <c:pt idx="229">
                  <c:v>Pave D'Affi</c:v>
                </c:pt>
                <c:pt idx="230">
                  <c:v>All Others</c:v>
                </c:pt>
                <c:pt idx="231">
                  <c:v>All Others</c:v>
                </c:pt>
                <c:pt idx="232">
                  <c:v>Boursin</c:v>
                </c:pt>
                <c:pt idx="233">
                  <c:v>Caprice Des</c:v>
                </c:pt>
                <c:pt idx="234">
                  <c:v>All Others</c:v>
                </c:pt>
                <c:pt idx="235">
                  <c:v>Tartare</c:v>
                </c:pt>
                <c:pt idx="236">
                  <c:v>Milleret: A</c:v>
                </c:pt>
                <c:pt idx="237">
                  <c:v>Lactalis: A</c:v>
                </c:pt>
                <c:pt idx="238">
                  <c:v>Galbani</c:v>
                </c:pt>
                <c:pt idx="239">
                  <c:v>All Others</c:v>
                </c:pt>
                <c:pt idx="240">
                  <c:v>All Others</c:v>
                </c:pt>
                <c:pt idx="241">
                  <c:v>Corsica</c:v>
                </c:pt>
                <c:pt idx="242">
                  <c:v>Private Lab</c:v>
                </c:pt>
                <c:pt idx="243">
                  <c:v>Tartare</c:v>
                </c:pt>
                <c:pt idx="244">
                  <c:v>Islos</c:v>
                </c:pt>
                <c:pt idx="245">
                  <c:v>Soignon</c:v>
                </c:pt>
                <c:pt idx="246">
                  <c:v>Soignon</c:v>
                </c:pt>
                <c:pt idx="247">
                  <c:v>Saint Agur</c:v>
                </c:pt>
                <c:pt idx="248">
                  <c:v>Triballat N</c:v>
                </c:pt>
                <c:pt idx="249">
                  <c:v>Les Mousque</c:v>
                </c:pt>
                <c:pt idx="250">
                  <c:v>All Others</c:v>
                </c:pt>
                <c:pt idx="251">
                  <c:v>La Vache Qu</c:v>
                </c:pt>
                <c:pt idx="252">
                  <c:v>All Others</c:v>
                </c:pt>
                <c:pt idx="253">
                  <c:v>Triballat N</c:v>
                </c:pt>
                <c:pt idx="254">
                  <c:v>All Others</c:v>
                </c:pt>
                <c:pt idx="255">
                  <c:v>Lactalis: A</c:v>
                </c:pt>
                <c:pt idx="256">
                  <c:v>Mini Babybe</c:v>
                </c:pt>
                <c:pt idx="257">
                  <c:v>All Others</c:v>
                </c:pt>
                <c:pt idx="258">
                  <c:v>All Others</c:v>
                </c:pt>
                <c:pt idx="259">
                  <c:v>All Others</c:v>
                </c:pt>
                <c:pt idx="260">
                  <c:v>All Others</c:v>
                </c:pt>
                <c:pt idx="261">
                  <c:v>Le Rustique</c:v>
                </c:pt>
                <c:pt idx="262">
                  <c:v>Casa Azzurr</c:v>
                </c:pt>
                <c:pt idx="263">
                  <c:v>All Others</c:v>
                </c:pt>
                <c:pt idx="264">
                  <c:v>All Others</c:v>
                </c:pt>
                <c:pt idx="265">
                  <c:v>All Others</c:v>
                </c:pt>
                <c:pt idx="266">
                  <c:v>Paysan Bret</c:v>
                </c:pt>
                <c:pt idx="267">
                  <c:v>Paysan Bret</c:v>
                </c:pt>
                <c:pt idx="268">
                  <c:v>All Others</c:v>
                </c:pt>
                <c:pt idx="269">
                  <c:v>All Others</c:v>
                </c:pt>
                <c:pt idx="270">
                  <c:v>All Others</c:v>
                </c:pt>
                <c:pt idx="271">
                  <c:v>All Others</c:v>
                </c:pt>
                <c:pt idx="272">
                  <c:v>All Others</c:v>
                </c:pt>
                <c:pt idx="273">
                  <c:v>Milleret: A</c:v>
                </c:pt>
                <c:pt idx="274">
                  <c:v>Boursin</c:v>
                </c:pt>
                <c:pt idx="275">
                  <c:v>Istara</c:v>
                </c:pt>
                <c:pt idx="276">
                  <c:v>All Others</c:v>
                </c:pt>
                <c:pt idx="277">
                  <c:v>All Others</c:v>
                </c:pt>
                <c:pt idx="278">
                  <c:v>Etoile Du Q</c:v>
                </c:pt>
                <c:pt idx="279">
                  <c:v>Boursin</c:v>
                </c:pt>
                <c:pt idx="280">
                  <c:v>All Others</c:v>
                </c:pt>
                <c:pt idx="281">
                  <c:v>All Others</c:v>
                </c:pt>
                <c:pt idx="282">
                  <c:v>Paysan Bret</c:v>
                </c:pt>
                <c:pt idx="283">
                  <c:v>All Others</c:v>
                </c:pt>
                <c:pt idx="284">
                  <c:v>Carre Frais</c:v>
                </c:pt>
                <c:pt idx="285">
                  <c:v>All Others</c:v>
                </c:pt>
                <c:pt idx="286">
                  <c:v>Soignon</c:v>
                </c:pt>
                <c:pt idx="287">
                  <c:v>All Others</c:v>
                </c:pt>
                <c:pt idx="288">
                  <c:v>All Others</c:v>
                </c:pt>
                <c:pt idx="289">
                  <c:v>Private Lab</c:v>
                </c:pt>
                <c:pt idx="290">
                  <c:v>All Others</c:v>
                </c:pt>
                <c:pt idx="291">
                  <c:v>All Others</c:v>
                </c:pt>
                <c:pt idx="292">
                  <c:v>Soignon</c:v>
                </c:pt>
                <c:pt idx="293">
                  <c:v>All Others</c:v>
                </c:pt>
                <c:pt idx="294">
                  <c:v>Kiri</c:v>
                </c:pt>
                <c:pt idx="295">
                  <c:v>All Others</c:v>
                </c:pt>
                <c:pt idx="296">
                  <c:v>All Others</c:v>
                </c:pt>
                <c:pt idx="297">
                  <c:v>All Others</c:v>
                </c:pt>
                <c:pt idx="298">
                  <c:v>St Moret</c:v>
                </c:pt>
                <c:pt idx="299">
                  <c:v>Boursin</c:v>
                </c:pt>
                <c:pt idx="300">
                  <c:v>All Others</c:v>
                </c:pt>
                <c:pt idx="301">
                  <c:v>Chavroux</c:v>
                </c:pt>
                <c:pt idx="302">
                  <c:v>P'Tit Louis</c:v>
                </c:pt>
                <c:pt idx="303">
                  <c:v>All Others</c:v>
                </c:pt>
                <c:pt idx="304">
                  <c:v>All Others</c:v>
                </c:pt>
                <c:pt idx="305">
                  <c:v>All Others</c:v>
                </c:pt>
                <c:pt idx="306">
                  <c:v>Salakis</c:v>
                </c:pt>
                <c:pt idx="307">
                  <c:v>All Others</c:v>
                </c:pt>
                <c:pt idx="308">
                  <c:v>All Others</c:v>
                </c:pt>
                <c:pt idx="309">
                  <c:v>Salakis</c:v>
                </c:pt>
                <c:pt idx="310">
                  <c:v>All Others</c:v>
                </c:pt>
                <c:pt idx="311">
                  <c:v>Caprice Des</c:v>
                </c:pt>
                <c:pt idx="312">
                  <c:v>All Others</c:v>
                </c:pt>
                <c:pt idx="313">
                  <c:v>All Others</c:v>
                </c:pt>
                <c:pt idx="314">
                  <c:v>Triballat N</c:v>
                </c:pt>
                <c:pt idx="315">
                  <c:v>All Others</c:v>
                </c:pt>
                <c:pt idx="316">
                  <c:v>All Others</c:v>
                </c:pt>
                <c:pt idx="317">
                  <c:v>All Others</c:v>
                </c:pt>
                <c:pt idx="318">
                  <c:v>All Others</c:v>
                </c:pt>
                <c:pt idx="319">
                  <c:v>Mini Babybe</c:v>
                </c:pt>
                <c:pt idx="320">
                  <c:v>Lactalis: A</c:v>
                </c:pt>
                <c:pt idx="321">
                  <c:v>All Others</c:v>
                </c:pt>
                <c:pt idx="322">
                  <c:v>Istara</c:v>
                </c:pt>
                <c:pt idx="323">
                  <c:v>All Others</c:v>
                </c:pt>
                <c:pt idx="324">
                  <c:v>All Others</c:v>
                </c:pt>
                <c:pt idx="325">
                  <c:v>All Others</c:v>
                </c:pt>
                <c:pt idx="326">
                  <c:v>All Others</c:v>
                </c:pt>
                <c:pt idx="327">
                  <c:v>All Others</c:v>
                </c:pt>
                <c:pt idx="328">
                  <c:v>All Others</c:v>
                </c:pt>
                <c:pt idx="329">
                  <c:v>All Others</c:v>
                </c:pt>
                <c:pt idx="330">
                  <c:v>All Others</c:v>
                </c:pt>
                <c:pt idx="331">
                  <c:v>All Others</c:v>
                </c:pt>
                <c:pt idx="332">
                  <c:v>All Others</c:v>
                </c:pt>
                <c:pt idx="333">
                  <c:v>All Others</c:v>
                </c:pt>
                <c:pt idx="334">
                  <c:v>Le Brebiou</c:v>
                </c:pt>
                <c:pt idx="335">
                  <c:v>All Others</c:v>
                </c:pt>
                <c:pt idx="336">
                  <c:v>All Others</c:v>
                </c:pt>
                <c:pt idx="337">
                  <c:v>All Others</c:v>
                </c:pt>
                <c:pt idx="338">
                  <c:v>All Others</c:v>
                </c:pt>
                <c:pt idx="339">
                  <c:v>All Others</c:v>
                </c:pt>
                <c:pt idx="340">
                  <c:v>All Others</c:v>
                </c:pt>
                <c:pt idx="341">
                  <c:v>All Others</c:v>
                </c:pt>
                <c:pt idx="342">
                  <c:v>All Others</c:v>
                </c:pt>
                <c:pt idx="343">
                  <c:v>All Others</c:v>
                </c:pt>
                <c:pt idx="344">
                  <c:v>All Others</c:v>
                </c:pt>
                <c:pt idx="345">
                  <c:v>All Others</c:v>
                </c:pt>
                <c:pt idx="346">
                  <c:v>All Others</c:v>
                </c:pt>
                <c:pt idx="347">
                  <c:v>All Others</c:v>
                </c:pt>
                <c:pt idx="348">
                  <c:v>All Others</c:v>
                </c:pt>
                <c:pt idx="349">
                  <c:v>All Others</c:v>
                </c:pt>
                <c:pt idx="350">
                  <c:v>All Others</c:v>
                </c:pt>
                <c:pt idx="351">
                  <c:v>All Others</c:v>
                </c:pt>
                <c:pt idx="352">
                  <c:v>All Others</c:v>
                </c:pt>
                <c:pt idx="353">
                  <c:v>All Others</c:v>
                </c:pt>
                <c:pt idx="354">
                  <c:v>Etorki</c:v>
                </c:pt>
                <c:pt idx="355">
                  <c:v>All Others</c:v>
                </c:pt>
                <c:pt idx="356">
                  <c:v>Soignon</c:v>
                </c:pt>
                <c:pt idx="357">
                  <c:v>All Others</c:v>
                </c:pt>
                <c:pt idx="358">
                  <c:v>All Others</c:v>
                </c:pt>
                <c:pt idx="359">
                  <c:v>All Others</c:v>
                </c:pt>
                <c:pt idx="360">
                  <c:v>Lactalis: A</c:v>
                </c:pt>
                <c:pt idx="361">
                  <c:v>All Others</c:v>
                </c:pt>
                <c:pt idx="362">
                  <c:v>Tartare</c:v>
                </c:pt>
                <c:pt idx="363">
                  <c:v>All Others</c:v>
                </c:pt>
                <c:pt idx="364">
                  <c:v>All Others</c:v>
                </c:pt>
                <c:pt idx="365">
                  <c:v>All Others</c:v>
                </c:pt>
                <c:pt idx="366">
                  <c:v>Chavroux</c:v>
                </c:pt>
                <c:pt idx="367">
                  <c:v>All Others</c:v>
                </c:pt>
                <c:pt idx="368">
                  <c:v>All Others</c:v>
                </c:pt>
                <c:pt idx="369">
                  <c:v>All Others</c:v>
                </c:pt>
                <c:pt idx="370">
                  <c:v>Paysan Bret</c:v>
                </c:pt>
                <c:pt idx="371">
                  <c:v>All Others</c:v>
                </c:pt>
                <c:pt idx="372">
                  <c:v>All Others</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Other Suppl</c:v>
                </c:pt>
                <c:pt idx="390">
                  <c:v>All Others</c:v>
                </c:pt>
                <c:pt idx="391">
                  <c:v>All Others</c:v>
                </c:pt>
                <c:pt idx="392">
                  <c:v>All Others</c:v>
                </c:pt>
                <c:pt idx="393">
                  <c:v>All Others</c:v>
                </c:pt>
                <c:pt idx="394">
                  <c:v>All Others</c:v>
                </c:pt>
                <c:pt idx="395">
                  <c:v>Petit Billy</c:v>
                </c:pt>
                <c:pt idx="396">
                  <c:v>All Others</c:v>
                </c:pt>
                <c:pt idx="397">
                  <c:v>All Others</c:v>
                </c:pt>
                <c:pt idx="398">
                  <c:v>All Others</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Netto</c:v>
                </c:pt>
                <c:pt idx="420">
                  <c:v>All Others</c:v>
                </c:pt>
                <c:pt idx="421">
                  <c:v>All Others</c:v>
                </c:pt>
                <c:pt idx="422">
                  <c:v>Mini Babybe</c:v>
                </c:pt>
                <c:pt idx="423">
                  <c:v>Kiri</c:v>
                </c:pt>
                <c:pt idx="424">
                  <c:v>All Others</c:v>
                </c:pt>
                <c:pt idx="425">
                  <c:v>All Others</c:v>
                </c:pt>
                <c:pt idx="426">
                  <c:v>All Others</c:v>
                </c:pt>
                <c:pt idx="427">
                  <c:v>All Others</c:v>
                </c:pt>
                <c:pt idx="428">
                  <c:v>Mini Babybe</c:v>
                </c:pt>
                <c:pt idx="429">
                  <c:v>Corsica</c:v>
                </c:pt>
                <c:pt idx="430">
                  <c:v>All Others</c:v>
                </c:pt>
                <c:pt idx="431">
                  <c:v>Boursin</c:v>
                </c:pt>
                <c:pt idx="432">
                  <c:v>All Others</c:v>
                </c:pt>
              </c:strCache>
            </c:strRef>
          </c:cat>
          <c:val>
            <c:numRef>
              <c:f>Sheet1!$C$2:$C$434</c:f>
              <c:numCache>
                <c:formatCode>General</c:formatCode>
                <c:ptCount val="433"/>
                <c:pt idx="0">
                  <c:v>3.6415041356070661E-2</c:v>
                </c:pt>
                <c:pt idx="1">
                  <c:v>7.257926580210354E-2</c:v>
                </c:pt>
                <c:pt idx="2">
                  <c:v>0.10415912969905618</c:v>
                </c:pt>
                <c:pt idx="3">
                  <c:v>0.12454595848346486</c:v>
                </c:pt>
                <c:pt idx="4">
                  <c:v>0.1423338098641887</c:v>
                </c:pt>
                <c:pt idx="5">
                  <c:v>0.15973194227655321</c:v>
                </c:pt>
                <c:pt idx="6">
                  <c:v>0.1756574940555207</c:v>
                </c:pt>
                <c:pt idx="7">
                  <c:v>0.19118006119531442</c:v>
                </c:pt>
                <c:pt idx="8">
                  <c:v>0.20575748347945322</c:v>
                </c:pt>
                <c:pt idx="9">
                  <c:v>0.22010870556228207</c:v>
                </c:pt>
                <c:pt idx="10">
                  <c:v>0.23439514923195867</c:v>
                </c:pt>
                <c:pt idx="11">
                  <c:v>0.24839075104666597</c:v>
                </c:pt>
                <c:pt idx="12">
                  <c:v>0.26177152776764745</c:v>
                </c:pt>
                <c:pt idx="13">
                  <c:v>0.27505556994062813</c:v>
                </c:pt>
                <c:pt idx="14">
                  <c:v>0.2879362171959563</c:v>
                </c:pt>
                <c:pt idx="15">
                  <c:v>0.30046894830126475</c:v>
                </c:pt>
                <c:pt idx="16">
                  <c:v>0.31183999868710888</c:v>
                </c:pt>
                <c:pt idx="17">
                  <c:v>0.3229411770069</c:v>
                </c:pt>
                <c:pt idx="18">
                  <c:v>0.3338810247115287</c:v>
                </c:pt>
                <c:pt idx="19">
                  <c:v>0.34477400949657921</c:v>
                </c:pt>
                <c:pt idx="20">
                  <c:v>0.3555011050167029</c:v>
                </c:pt>
                <c:pt idx="21">
                  <c:v>0.36614505076512377</c:v>
                </c:pt>
                <c:pt idx="22">
                  <c:v>0.37646779405114439</c:v>
                </c:pt>
                <c:pt idx="23">
                  <c:v>0.38675233585213925</c:v>
                </c:pt>
                <c:pt idx="24">
                  <c:v>0.39697989453107901</c:v>
                </c:pt>
                <c:pt idx="25">
                  <c:v>0.4065584838295575</c:v>
                </c:pt>
                <c:pt idx="26">
                  <c:v>0.41606577584572063</c:v>
                </c:pt>
                <c:pt idx="27">
                  <c:v>0.42521088313810151</c:v>
                </c:pt>
                <c:pt idx="28">
                  <c:v>0.43433055316479696</c:v>
                </c:pt>
                <c:pt idx="29">
                  <c:v>0.44311493450132011</c:v>
                </c:pt>
                <c:pt idx="30">
                  <c:v>0.45178188501991212</c:v>
                </c:pt>
                <c:pt idx="31">
                  <c:v>0.4596540349520794</c:v>
                </c:pt>
                <c:pt idx="32">
                  <c:v>0.46747581180434999</c:v>
                </c:pt>
                <c:pt idx="33">
                  <c:v>0.47527242490992105</c:v>
                </c:pt>
                <c:pt idx="34">
                  <c:v>0.48305609145016115</c:v>
                </c:pt>
                <c:pt idx="35">
                  <c:v>0.49072401387288295</c:v>
                </c:pt>
                <c:pt idx="36">
                  <c:v>0.49837716627036804</c:v>
                </c:pt>
                <c:pt idx="37">
                  <c:v>0.50579650552143662</c:v>
                </c:pt>
                <c:pt idx="38">
                  <c:v>0.5132151609750405</c:v>
                </c:pt>
                <c:pt idx="39">
                  <c:v>0.52052814692710536</c:v>
                </c:pt>
                <c:pt idx="40">
                  <c:v>0.52773167969832679</c:v>
                </c:pt>
                <c:pt idx="41">
                  <c:v>0.53483177670639381</c:v>
                </c:pt>
                <c:pt idx="42">
                  <c:v>0.54187776254175724</c:v>
                </c:pt>
                <c:pt idx="43">
                  <c:v>0.54891043711980858</c:v>
                </c:pt>
                <c:pt idx="44">
                  <c:v>0.55585754584178204</c:v>
                </c:pt>
                <c:pt idx="45">
                  <c:v>0.56277693797318784</c:v>
                </c:pt>
                <c:pt idx="46">
                  <c:v>0.56966998110895539</c:v>
                </c:pt>
                <c:pt idx="47">
                  <c:v>0.57594190821432223</c:v>
                </c:pt>
                <c:pt idx="48">
                  <c:v>0.58219555513413379</c:v>
                </c:pt>
                <c:pt idx="49">
                  <c:v>0.58841063587693843</c:v>
                </c:pt>
                <c:pt idx="50">
                  <c:v>0.59445148502574729</c:v>
                </c:pt>
                <c:pt idx="51">
                  <c:v>0.60048134782862395</c:v>
                </c:pt>
                <c:pt idx="52">
                  <c:v>0.60650469176233757</c:v>
                </c:pt>
                <c:pt idx="53">
                  <c:v>0.61247264810141355</c:v>
                </c:pt>
                <c:pt idx="54">
                  <c:v>0.61831537833146122</c:v>
                </c:pt>
                <c:pt idx="55">
                  <c:v>0.6241227790258348</c:v>
                </c:pt>
                <c:pt idx="56">
                  <c:v>0.62979620100363232</c:v>
                </c:pt>
                <c:pt idx="57">
                  <c:v>0.6354531662557803</c:v>
                </c:pt>
                <c:pt idx="58">
                  <c:v>0.64102707290922079</c:v>
                </c:pt>
                <c:pt idx="59">
                  <c:v>0.64649312190923536</c:v>
                </c:pt>
                <c:pt idx="60">
                  <c:v>0.6518632113317091</c:v>
                </c:pt>
                <c:pt idx="61">
                  <c:v>0.65722887886391146</c:v>
                </c:pt>
                <c:pt idx="62">
                  <c:v>0.6622079728960919</c:v>
                </c:pt>
                <c:pt idx="63">
                  <c:v>0.66716509423640791</c:v>
                </c:pt>
                <c:pt idx="64">
                  <c:v>0.67189916084375134</c:v>
                </c:pt>
                <c:pt idx="65">
                  <c:v>0.67644869330863155</c:v>
                </c:pt>
                <c:pt idx="66">
                  <c:v>0.6808634720864758</c:v>
                </c:pt>
                <c:pt idx="67">
                  <c:v>0.68522500583507173</c:v>
                </c:pt>
                <c:pt idx="68">
                  <c:v>0.6894860213563625</c:v>
                </c:pt>
                <c:pt idx="69">
                  <c:v>0.69374699129115558</c:v>
                </c:pt>
                <c:pt idx="70">
                  <c:v>0.69799018249186751</c:v>
                </c:pt>
                <c:pt idx="71">
                  <c:v>0.70220948636781388</c:v>
                </c:pt>
                <c:pt idx="72">
                  <c:v>0.7064157069189364</c:v>
                </c:pt>
                <c:pt idx="73">
                  <c:v>0.71056494434800377</c:v>
                </c:pt>
                <c:pt idx="74">
                  <c:v>0.71456192287493991</c:v>
                </c:pt>
                <c:pt idx="75">
                  <c:v>0.71855251929220587</c:v>
                </c:pt>
                <c:pt idx="76">
                  <c:v>0.72238520408163276</c:v>
                </c:pt>
                <c:pt idx="77">
                  <c:v>0.72618296961386419</c:v>
                </c:pt>
                <c:pt idx="78">
                  <c:v>0.72984347420168927</c:v>
                </c:pt>
                <c:pt idx="79">
                  <c:v>0.73349021166722583</c:v>
                </c:pt>
                <c:pt idx="80">
                  <c:v>0.73702444165657688</c:v>
                </c:pt>
                <c:pt idx="81">
                  <c:v>0.74053081829586731</c:v>
                </c:pt>
                <c:pt idx="82">
                  <c:v>0.74400245802395293</c:v>
                </c:pt>
                <c:pt idx="83">
                  <c:v>0.74738789368499359</c:v>
                </c:pt>
                <c:pt idx="84">
                  <c:v>0.75073918505929882</c:v>
                </c:pt>
                <c:pt idx="85">
                  <c:v>0.75397062953129779</c:v>
                </c:pt>
                <c:pt idx="86">
                  <c:v>0.75714408797829347</c:v>
                </c:pt>
                <c:pt idx="87">
                  <c:v>0.76027300841709089</c:v>
                </c:pt>
                <c:pt idx="88">
                  <c:v>0.76336327150588612</c:v>
                </c:pt>
                <c:pt idx="89">
                  <c:v>0.76638401518577404</c:v>
                </c:pt>
                <c:pt idx="90">
                  <c:v>0.76935543427521114</c:v>
                </c:pt>
                <c:pt idx="91">
                  <c:v>0.77231860220857462</c:v>
                </c:pt>
                <c:pt idx="92">
                  <c:v>0.77524106139954196</c:v>
                </c:pt>
                <c:pt idx="93">
                  <c:v>0.77816260886055644</c:v>
                </c:pt>
                <c:pt idx="94">
                  <c:v>0.78097315319980753</c:v>
                </c:pt>
                <c:pt idx="95">
                  <c:v>0.7837340994296218</c:v>
                </c:pt>
                <c:pt idx="96">
                  <c:v>0.78646140282417476</c:v>
                </c:pt>
                <c:pt idx="97">
                  <c:v>0.78910765342591649</c:v>
                </c:pt>
                <c:pt idx="98">
                  <c:v>0.79174528817960355</c:v>
                </c:pt>
                <c:pt idx="99">
                  <c:v>0.79436874553252323</c:v>
                </c:pt>
                <c:pt idx="100">
                  <c:v>0.79697674906274163</c:v>
                </c:pt>
                <c:pt idx="101">
                  <c:v>0.79957823372379688</c:v>
                </c:pt>
                <c:pt idx="102">
                  <c:v>0.80217474945660894</c:v>
                </c:pt>
                <c:pt idx="103">
                  <c:v>0.80471802016017269</c:v>
                </c:pt>
                <c:pt idx="104">
                  <c:v>0.80725253825618881</c:v>
                </c:pt>
                <c:pt idx="105">
                  <c:v>0.80977511268982216</c:v>
                </c:pt>
                <c:pt idx="106">
                  <c:v>0.8122668250645505</c:v>
                </c:pt>
                <c:pt idx="107">
                  <c:v>0.8147357441904568</c:v>
                </c:pt>
                <c:pt idx="108">
                  <c:v>0.8171996943881199</c:v>
                </c:pt>
                <c:pt idx="109">
                  <c:v>0.81962763125264415</c:v>
                </c:pt>
                <c:pt idx="110">
                  <c:v>0.8220395672564953</c:v>
                </c:pt>
                <c:pt idx="111">
                  <c:v>0.82443996987644252</c:v>
                </c:pt>
                <c:pt idx="112">
                  <c:v>0.82680686642062129</c:v>
                </c:pt>
                <c:pt idx="113">
                  <c:v>0.82915657685518829</c:v>
                </c:pt>
                <c:pt idx="114">
                  <c:v>0.83150350651339899</c:v>
                </c:pt>
                <c:pt idx="115">
                  <c:v>0.83380261593558103</c:v>
                </c:pt>
                <c:pt idx="116">
                  <c:v>0.83608973610888271</c:v>
                </c:pt>
                <c:pt idx="117">
                  <c:v>0.83830884122769933</c:v>
                </c:pt>
                <c:pt idx="118">
                  <c:v>0.84049316384881356</c:v>
                </c:pt>
                <c:pt idx="119">
                  <c:v>0.84267657473997493</c:v>
                </c:pt>
                <c:pt idx="120">
                  <c:v>0.84485629312482713</c:v>
                </c:pt>
                <c:pt idx="121">
                  <c:v>0.84702735007512686</c:v>
                </c:pt>
                <c:pt idx="122">
                  <c:v>0.84916230251929248</c:v>
                </c:pt>
                <c:pt idx="123">
                  <c:v>0.85128038795932981</c:v>
                </c:pt>
                <c:pt idx="124">
                  <c:v>0.85336227772023776</c:v>
                </c:pt>
                <c:pt idx="125">
                  <c:v>0.85544393954865749</c:v>
                </c:pt>
                <c:pt idx="126">
                  <c:v>0.85750818733497713</c:v>
                </c:pt>
                <c:pt idx="127">
                  <c:v>0.85956577949264079</c:v>
                </c:pt>
                <c:pt idx="128">
                  <c:v>0.86160864721156538</c:v>
                </c:pt>
                <c:pt idx="129">
                  <c:v>0.8636506032005371</c:v>
                </c:pt>
                <c:pt idx="130">
                  <c:v>0.86568098021910722</c:v>
                </c:pt>
                <c:pt idx="131">
                  <c:v>0.86765647109451383</c:v>
                </c:pt>
                <c:pt idx="132">
                  <c:v>0.86961783015565075</c:v>
                </c:pt>
                <c:pt idx="133">
                  <c:v>0.87155648714096101</c:v>
                </c:pt>
                <c:pt idx="134">
                  <c:v>0.87347508606730784</c:v>
                </c:pt>
                <c:pt idx="135">
                  <c:v>0.87534340308675318</c:v>
                </c:pt>
                <c:pt idx="136">
                  <c:v>0.87720916726233045</c:v>
                </c:pt>
                <c:pt idx="137">
                  <c:v>0.87902907142127784</c:v>
                </c:pt>
                <c:pt idx="138">
                  <c:v>0.88082987483771236</c:v>
                </c:pt>
                <c:pt idx="139">
                  <c:v>0.88262119626263691</c:v>
                </c:pt>
                <c:pt idx="140">
                  <c:v>0.8844010754766527</c:v>
                </c:pt>
                <c:pt idx="141">
                  <c:v>0.88616805371183527</c:v>
                </c:pt>
                <c:pt idx="142">
                  <c:v>0.88793170413268985</c:v>
                </c:pt>
                <c:pt idx="143">
                  <c:v>0.88963522596315181</c:v>
                </c:pt>
                <c:pt idx="144">
                  <c:v>0.89131896325363624</c:v>
                </c:pt>
                <c:pt idx="145">
                  <c:v>0.89299321855261071</c:v>
                </c:pt>
                <c:pt idx="146">
                  <c:v>0.89465297734533433</c:v>
                </c:pt>
                <c:pt idx="147">
                  <c:v>0.89625169581771258</c:v>
                </c:pt>
                <c:pt idx="148">
                  <c:v>0.89784343955595125</c:v>
                </c:pt>
                <c:pt idx="149">
                  <c:v>0.89942137058540372</c:v>
                </c:pt>
                <c:pt idx="150">
                  <c:v>0.900992418053712</c:v>
                </c:pt>
                <c:pt idx="151">
                  <c:v>0.90254176634914163</c:v>
                </c:pt>
                <c:pt idx="152">
                  <c:v>0.90405833795276525</c:v>
                </c:pt>
                <c:pt idx="153">
                  <c:v>0.905563740864466</c:v>
                </c:pt>
                <c:pt idx="154">
                  <c:v>0.9070676850082422</c:v>
                </c:pt>
                <c:pt idx="155">
                  <c:v>0.90856998803810318</c:v>
                </c:pt>
                <c:pt idx="156">
                  <c:v>0.91005765780222037</c:v>
                </c:pt>
                <c:pt idx="157">
                  <c:v>0.91154500846085407</c:v>
                </c:pt>
                <c:pt idx="158">
                  <c:v>0.9130237432714331</c:v>
                </c:pt>
                <c:pt idx="159">
                  <c:v>0.91442967644527451</c:v>
                </c:pt>
                <c:pt idx="160">
                  <c:v>0.91583073186386799</c:v>
                </c:pt>
                <c:pt idx="161">
                  <c:v>0.91722349053989016</c:v>
                </c:pt>
                <c:pt idx="162">
                  <c:v>0.91861337726656078</c:v>
                </c:pt>
                <c:pt idx="163">
                  <c:v>0.91999391876121439</c:v>
                </c:pt>
                <c:pt idx="164">
                  <c:v>0.92133703374130216</c:v>
                </c:pt>
                <c:pt idx="165">
                  <c:v>0.92266082004638883</c:v>
                </c:pt>
                <c:pt idx="166">
                  <c:v>0.92397229799711167</c:v>
                </c:pt>
                <c:pt idx="167">
                  <c:v>0.92528231717990983</c:v>
                </c:pt>
                <c:pt idx="168">
                  <c:v>0.9265834925821651</c:v>
                </c:pt>
                <c:pt idx="169">
                  <c:v>0.92786242177357003</c:v>
                </c:pt>
                <c:pt idx="170">
                  <c:v>0.92902446718501552</c:v>
                </c:pt>
                <c:pt idx="171">
                  <c:v>0.93016859710288691</c:v>
                </c:pt>
                <c:pt idx="172">
                  <c:v>0.93124462079327797</c:v>
                </c:pt>
                <c:pt idx="173">
                  <c:v>0.93228759427287711</c:v>
                </c:pt>
                <c:pt idx="174">
                  <c:v>0.93331821381161473</c:v>
                </c:pt>
                <c:pt idx="175">
                  <c:v>0.93433725437995074</c:v>
                </c:pt>
                <c:pt idx="176">
                  <c:v>0.93535105250105766</c:v>
                </c:pt>
                <c:pt idx="177">
                  <c:v>0.93634506608218704</c:v>
                </c:pt>
                <c:pt idx="178">
                  <c:v>0.93733114761272629</c:v>
                </c:pt>
                <c:pt idx="179">
                  <c:v>0.93830218559904299</c:v>
                </c:pt>
                <c:pt idx="180">
                  <c:v>0.93925430518883746</c:v>
                </c:pt>
                <c:pt idx="181">
                  <c:v>0.94020409986725206</c:v>
                </c:pt>
                <c:pt idx="182">
                  <c:v>0.94114965500138581</c:v>
                </c:pt>
                <c:pt idx="183">
                  <c:v>0.9420732830301527</c:v>
                </c:pt>
                <c:pt idx="184">
                  <c:v>0.94298847755685544</c:v>
                </c:pt>
                <c:pt idx="185">
                  <c:v>0.94389683410891156</c:v>
                </c:pt>
                <c:pt idx="186">
                  <c:v>0.94480095111668683</c:v>
                </c:pt>
                <c:pt idx="187">
                  <c:v>0.94569070837770419</c:v>
                </c:pt>
                <c:pt idx="188">
                  <c:v>0.94657586140245953</c:v>
                </c:pt>
                <c:pt idx="189">
                  <c:v>0.94743293314466603</c:v>
                </c:pt>
                <c:pt idx="190">
                  <c:v>0.94828831818645976</c:v>
                </c:pt>
                <c:pt idx="191">
                  <c:v>0.94914151507636657</c:v>
                </c:pt>
                <c:pt idx="192">
                  <c:v>0.94999138415194528</c:v>
                </c:pt>
                <c:pt idx="193">
                  <c:v>0.95082051137109602</c:v>
                </c:pt>
                <c:pt idx="194">
                  <c:v>0.95163122164519853</c:v>
                </c:pt>
                <c:pt idx="195">
                  <c:v>0.95243586891511434</c:v>
                </c:pt>
                <c:pt idx="196">
                  <c:v>0.95323322234540708</c:v>
                </c:pt>
                <c:pt idx="197">
                  <c:v>0.95402980080523991</c:v>
                </c:pt>
                <c:pt idx="198">
                  <c:v>0.95481940453093317</c:v>
                </c:pt>
                <c:pt idx="199">
                  <c:v>0.9556054980963079</c:v>
                </c:pt>
                <c:pt idx="200">
                  <c:v>0.95638138028621034</c:v>
                </c:pt>
                <c:pt idx="201">
                  <c:v>0.957131232585958</c:v>
                </c:pt>
                <c:pt idx="202">
                  <c:v>0.95787689092792239</c:v>
                </c:pt>
                <c:pt idx="203">
                  <c:v>0.95858831381015608</c:v>
                </c:pt>
                <c:pt idx="204">
                  <c:v>0.95928829448148112</c:v>
                </c:pt>
                <c:pt idx="205">
                  <c:v>0.959986497279398</c:v>
                </c:pt>
                <c:pt idx="206">
                  <c:v>0.96066555374830431</c:v>
                </c:pt>
                <c:pt idx="207">
                  <c:v>0.96133941335647921</c:v>
                </c:pt>
                <c:pt idx="208">
                  <c:v>0.96199553981707064</c:v>
                </c:pt>
                <c:pt idx="209">
                  <c:v>0.96264323277559782</c:v>
                </c:pt>
                <c:pt idx="210">
                  <c:v>0.96328449803795724</c:v>
                </c:pt>
                <c:pt idx="211">
                  <c:v>0.9639248059838661</c:v>
                </c:pt>
                <c:pt idx="212">
                  <c:v>0.96456319929687395</c:v>
                </c:pt>
                <c:pt idx="213">
                  <c:v>0.96519575753818332</c:v>
                </c:pt>
                <c:pt idx="214">
                  <c:v>0.9658235747837377</c:v>
                </c:pt>
                <c:pt idx="215">
                  <c:v>0.96644665103353711</c:v>
                </c:pt>
                <c:pt idx="216">
                  <c:v>0.96706079232979825</c:v>
                </c:pt>
                <c:pt idx="217">
                  <c:v>0.96766344582865316</c:v>
                </c:pt>
                <c:pt idx="218">
                  <c:v>0.96826295385917061</c:v>
                </c:pt>
                <c:pt idx="219">
                  <c:v>0.9688156901431052</c:v>
                </c:pt>
                <c:pt idx="220">
                  <c:v>0.96935657393765229</c:v>
                </c:pt>
                <c:pt idx="221">
                  <c:v>0.96989718421321358</c:v>
                </c:pt>
                <c:pt idx="222">
                  <c:v>0.97043391963647507</c:v>
                </c:pt>
                <c:pt idx="223">
                  <c:v>0.9709548365450541</c:v>
                </c:pt>
                <c:pt idx="224">
                  <c:v>0.97147078452538993</c:v>
                </c:pt>
                <c:pt idx="225">
                  <c:v>0.97197747844670401</c:v>
                </c:pt>
                <c:pt idx="226">
                  <c:v>0.97247692411489262</c:v>
                </c:pt>
                <c:pt idx="227">
                  <c:v>0.97294901788449484</c:v>
                </c:pt>
                <c:pt idx="228">
                  <c:v>0.97341199435456827</c:v>
                </c:pt>
                <c:pt idx="229">
                  <c:v>0.97387487965164632</c:v>
                </c:pt>
                <c:pt idx="230">
                  <c:v>0.97432691536228511</c:v>
                </c:pt>
                <c:pt idx="231">
                  <c:v>0.97477744671850164</c:v>
                </c:pt>
                <c:pt idx="232">
                  <c:v>0.97522296355997729</c:v>
                </c:pt>
                <c:pt idx="233">
                  <c:v>0.97566807012297418</c:v>
                </c:pt>
                <c:pt idx="234">
                  <c:v>0.97610301089699647</c:v>
                </c:pt>
                <c:pt idx="235">
                  <c:v>0.97653170632084152</c:v>
                </c:pt>
                <c:pt idx="236">
                  <c:v>0.9769594900147337</c:v>
                </c:pt>
                <c:pt idx="237">
                  <c:v>0.97738394589429778</c:v>
                </c:pt>
                <c:pt idx="238">
                  <c:v>0.97780707976543024</c:v>
                </c:pt>
                <c:pt idx="239">
                  <c:v>0.97822893721462867</c:v>
                </c:pt>
                <c:pt idx="240">
                  <c:v>0.97863762016600797</c:v>
                </c:pt>
                <c:pt idx="241">
                  <c:v>0.97904106067015817</c:v>
                </c:pt>
                <c:pt idx="242">
                  <c:v>0.97943251192542802</c:v>
                </c:pt>
                <c:pt idx="243">
                  <c:v>0.97981963246342163</c:v>
                </c:pt>
                <c:pt idx="244">
                  <c:v>0.9801952652040089</c:v>
                </c:pt>
                <c:pt idx="245">
                  <c:v>0.98056565549736718</c:v>
                </c:pt>
                <c:pt idx="246">
                  <c:v>0.98092369184986383</c:v>
                </c:pt>
                <c:pt idx="247">
                  <c:v>0.98127912977199483</c:v>
                </c:pt>
                <c:pt idx="248">
                  <c:v>0.98162859586293438</c:v>
                </c:pt>
                <c:pt idx="249">
                  <c:v>0.98197491648553659</c:v>
                </c:pt>
                <c:pt idx="250">
                  <c:v>0.9823211915216411</c:v>
                </c:pt>
                <c:pt idx="251">
                  <c:v>0.98266619013581158</c:v>
                </c:pt>
                <c:pt idx="252">
                  <c:v>0.98300425960234017</c:v>
                </c:pt>
                <c:pt idx="253">
                  <c:v>0.98333886449504782</c:v>
                </c:pt>
                <c:pt idx="254">
                  <c:v>0.98365692148911066</c:v>
                </c:pt>
                <c:pt idx="255">
                  <c:v>0.98396891547898679</c:v>
                </c:pt>
                <c:pt idx="256">
                  <c:v>0.98427972421992416</c:v>
                </c:pt>
                <c:pt idx="257">
                  <c:v>0.98458984916339687</c:v>
                </c:pt>
                <c:pt idx="258">
                  <c:v>0.98489655511954632</c:v>
                </c:pt>
                <c:pt idx="259">
                  <c:v>0.98520275962422166</c:v>
                </c:pt>
                <c:pt idx="260">
                  <c:v>0.98549779543697424</c:v>
                </c:pt>
                <c:pt idx="261">
                  <c:v>0.98579182834677859</c:v>
                </c:pt>
                <c:pt idx="262">
                  <c:v>0.98608558773759714</c:v>
                </c:pt>
                <c:pt idx="263">
                  <c:v>0.98636475944916957</c:v>
                </c:pt>
                <c:pt idx="264">
                  <c:v>0.98664383998774674</c:v>
                </c:pt>
                <c:pt idx="265">
                  <c:v>0.9869179515980806</c:v>
                </c:pt>
                <c:pt idx="266">
                  <c:v>0.98718773249113834</c:v>
                </c:pt>
                <c:pt idx="267">
                  <c:v>0.98745404881037513</c:v>
                </c:pt>
                <c:pt idx="268">
                  <c:v>0.9877022217035496</c:v>
                </c:pt>
                <c:pt idx="269">
                  <c:v>0.98794998431824521</c:v>
                </c:pt>
                <c:pt idx="270">
                  <c:v>0.98819482939709158</c:v>
                </c:pt>
                <c:pt idx="271">
                  <c:v>0.98843684811308408</c:v>
                </c:pt>
                <c:pt idx="272">
                  <c:v>0.98867234795991343</c:v>
                </c:pt>
                <c:pt idx="273">
                  <c:v>0.98890620669282758</c:v>
                </c:pt>
                <c:pt idx="274">
                  <c:v>0.98913965514726299</c:v>
                </c:pt>
                <c:pt idx="275">
                  <c:v>0.98936745087599054</c:v>
                </c:pt>
                <c:pt idx="276">
                  <c:v>0.98959460839375102</c:v>
                </c:pt>
                <c:pt idx="277">
                  <c:v>0.98981269419848039</c:v>
                </c:pt>
                <c:pt idx="278">
                  <c:v>0.99003064324371681</c:v>
                </c:pt>
                <c:pt idx="279">
                  <c:v>0.99024029554638193</c:v>
                </c:pt>
                <c:pt idx="280">
                  <c:v>0.99044949198407062</c:v>
                </c:pt>
                <c:pt idx="281">
                  <c:v>0.99064587861592135</c:v>
                </c:pt>
                <c:pt idx="282">
                  <c:v>0.99084117117182868</c:v>
                </c:pt>
                <c:pt idx="283">
                  <c:v>0.99102807581216945</c:v>
                </c:pt>
                <c:pt idx="284">
                  <c:v>0.99120727633440842</c:v>
                </c:pt>
                <c:pt idx="285">
                  <c:v>0.99138301228282644</c:v>
                </c:pt>
                <c:pt idx="286">
                  <c:v>0.99155842912576087</c:v>
                </c:pt>
                <c:pt idx="287">
                  <c:v>0.99173234161427304</c:v>
                </c:pt>
                <c:pt idx="288">
                  <c:v>0.99190082930956558</c:v>
                </c:pt>
                <c:pt idx="289">
                  <c:v>0.99206092908929167</c:v>
                </c:pt>
                <c:pt idx="290">
                  <c:v>0.99221833926565672</c:v>
                </c:pt>
                <c:pt idx="291">
                  <c:v>0.99237401715511131</c:v>
                </c:pt>
                <c:pt idx="292">
                  <c:v>0.9925222188589522</c:v>
                </c:pt>
                <c:pt idx="293">
                  <c:v>0.9926679133054227</c:v>
                </c:pt>
                <c:pt idx="294">
                  <c:v>0.9928133342329073</c:v>
                </c:pt>
                <c:pt idx="295">
                  <c:v>0.99295861840089905</c:v>
                </c:pt>
                <c:pt idx="296">
                  <c:v>0.9931028084929473</c:v>
                </c:pt>
                <c:pt idx="297">
                  <c:v>0.99324348842467691</c:v>
                </c:pt>
                <c:pt idx="298">
                  <c:v>0.99338280076147722</c:v>
                </c:pt>
                <c:pt idx="299">
                  <c:v>0.99352051757086002</c:v>
                </c:pt>
                <c:pt idx="300">
                  <c:v>0.99365750499628047</c:v>
                </c:pt>
                <c:pt idx="301">
                  <c:v>0.99379294248078109</c:v>
                </c:pt>
                <c:pt idx="302">
                  <c:v>0.99392796968680286</c:v>
                </c:pt>
                <c:pt idx="303">
                  <c:v>0.99406185723038354</c:v>
                </c:pt>
                <c:pt idx="304">
                  <c:v>0.99419437717903492</c:v>
                </c:pt>
                <c:pt idx="305">
                  <c:v>0.99432639567621217</c:v>
                </c:pt>
                <c:pt idx="306">
                  <c:v>0.994454630494085</c:v>
                </c:pt>
                <c:pt idx="307">
                  <c:v>0.99457488767487012</c:v>
                </c:pt>
                <c:pt idx="308">
                  <c:v>0.99469418753920469</c:v>
                </c:pt>
                <c:pt idx="309">
                  <c:v>0.99481066104068538</c:v>
                </c:pt>
                <c:pt idx="310">
                  <c:v>0.9949256757742414</c:v>
                </c:pt>
                <c:pt idx="311">
                  <c:v>0.99504032581581625</c:v>
                </c:pt>
                <c:pt idx="312">
                  <c:v>0.99515488468439584</c:v>
                </c:pt>
                <c:pt idx="313">
                  <c:v>0.99526875975551077</c:v>
                </c:pt>
                <c:pt idx="314">
                  <c:v>0.99537853204183768</c:v>
                </c:pt>
                <c:pt idx="315">
                  <c:v>0.9954872102522212</c:v>
                </c:pt>
                <c:pt idx="316">
                  <c:v>0.99559561494361881</c:v>
                </c:pt>
                <c:pt idx="317">
                  <c:v>0.99570114768566487</c:v>
                </c:pt>
                <c:pt idx="318">
                  <c:v>0.99580590545725101</c:v>
                </c:pt>
                <c:pt idx="319">
                  <c:v>0.99591025295035829</c:v>
                </c:pt>
                <c:pt idx="320">
                  <c:v>0.99601136380213284</c:v>
                </c:pt>
                <c:pt idx="321">
                  <c:v>0.99610508964128908</c:v>
                </c:pt>
                <c:pt idx="322">
                  <c:v>0.99619585235809849</c:v>
                </c:pt>
                <c:pt idx="323">
                  <c:v>0.99628465485550921</c:v>
                </c:pt>
                <c:pt idx="324">
                  <c:v>0.99636835166518378</c:v>
                </c:pt>
                <c:pt idx="325">
                  <c:v>0.9964516381963795</c:v>
                </c:pt>
                <c:pt idx="326">
                  <c:v>0.99652995579933201</c:v>
                </c:pt>
                <c:pt idx="327">
                  <c:v>0.99660813664279158</c:v>
                </c:pt>
                <c:pt idx="328">
                  <c:v>0.99668235146095618</c:v>
                </c:pt>
                <c:pt idx="329">
                  <c:v>0.99675538103018202</c:v>
                </c:pt>
                <c:pt idx="330">
                  <c:v>0.99682412546862931</c:v>
                </c:pt>
                <c:pt idx="331">
                  <c:v>0.99689264197458838</c:v>
                </c:pt>
                <c:pt idx="332">
                  <c:v>0.9969599276451111</c:v>
                </c:pt>
                <c:pt idx="333">
                  <c:v>0.9970244781257751</c:v>
                </c:pt>
                <c:pt idx="334">
                  <c:v>0.99708775218450507</c:v>
                </c:pt>
                <c:pt idx="335">
                  <c:v>0.99714997775378922</c:v>
                </c:pt>
                <c:pt idx="336">
                  <c:v>0.99720741674082081</c:v>
                </c:pt>
                <c:pt idx="337">
                  <c:v>0.99726449103587123</c:v>
                </c:pt>
                <c:pt idx="338">
                  <c:v>0.99732065360096878</c:v>
                </c:pt>
                <c:pt idx="339">
                  <c:v>0.99737581326311808</c:v>
                </c:pt>
                <c:pt idx="340">
                  <c:v>0.99743088175227212</c:v>
                </c:pt>
                <c:pt idx="341">
                  <c:v>0.99753573069685353</c:v>
                </c:pt>
                <c:pt idx="342">
                  <c:v>0.99763611216466574</c:v>
                </c:pt>
                <c:pt idx="343">
                  <c:v>0.99768580144709784</c:v>
                </c:pt>
                <c:pt idx="344">
                  <c:v>0.9977350348645535</c:v>
                </c:pt>
                <c:pt idx="345">
                  <c:v>0.99778385800353031</c:v>
                </c:pt>
                <c:pt idx="346">
                  <c:v>0.99783049299062021</c:v>
                </c:pt>
                <c:pt idx="347">
                  <c:v>0.99787690004522189</c:v>
                </c:pt>
                <c:pt idx="348">
                  <c:v>0.99792326151332589</c:v>
                </c:pt>
                <c:pt idx="349">
                  <c:v>0.99796889359746765</c:v>
                </c:pt>
                <c:pt idx="350">
                  <c:v>0.99801443450861405</c:v>
                </c:pt>
                <c:pt idx="351">
                  <c:v>0.99805938279529116</c:v>
                </c:pt>
                <c:pt idx="352">
                  <c:v>0.99810428549547059</c:v>
                </c:pt>
                <c:pt idx="353">
                  <c:v>0.99814745590873954</c:v>
                </c:pt>
                <c:pt idx="354">
                  <c:v>0.99818743526717346</c:v>
                </c:pt>
                <c:pt idx="355">
                  <c:v>0.99822668524164504</c:v>
                </c:pt>
                <c:pt idx="356">
                  <c:v>0.99826452203468963</c:v>
                </c:pt>
                <c:pt idx="357">
                  <c:v>0.99830167503026956</c:v>
                </c:pt>
                <c:pt idx="358">
                  <c:v>0.99833864567985897</c:v>
                </c:pt>
                <c:pt idx="359">
                  <c:v>0.998375525156453</c:v>
                </c:pt>
                <c:pt idx="360">
                  <c:v>0.99841190318157302</c:v>
                </c:pt>
                <c:pt idx="361">
                  <c:v>0.99844777975521892</c:v>
                </c:pt>
                <c:pt idx="362">
                  <c:v>0.99851743592361908</c:v>
                </c:pt>
                <c:pt idx="363">
                  <c:v>0.99855089641288985</c:v>
                </c:pt>
                <c:pt idx="364">
                  <c:v>0.99858431131566294</c:v>
                </c:pt>
                <c:pt idx="365">
                  <c:v>0.99861695124797611</c:v>
                </c:pt>
                <c:pt idx="366">
                  <c:v>0.99864950000729402</c:v>
                </c:pt>
                <c:pt idx="367">
                  <c:v>0.99868177524762602</c:v>
                </c:pt>
                <c:pt idx="368">
                  <c:v>0.99871295641201463</c:v>
                </c:pt>
                <c:pt idx="369">
                  <c:v>0.99874231411649739</c:v>
                </c:pt>
                <c:pt idx="370">
                  <c:v>0.99877158064798488</c:v>
                </c:pt>
                <c:pt idx="371">
                  <c:v>0.9988004824874912</c:v>
                </c:pt>
                <c:pt idx="372">
                  <c:v>0.99882842701054708</c:v>
                </c:pt>
                <c:pt idx="373">
                  <c:v>0.99885336282475845</c:v>
                </c:pt>
                <c:pt idx="374">
                  <c:v>0.9988780707064816</c:v>
                </c:pt>
                <c:pt idx="375">
                  <c:v>0.99892584535601259</c:v>
                </c:pt>
                <c:pt idx="376">
                  <c:v>0.99894886653732284</c:v>
                </c:pt>
                <c:pt idx="377">
                  <c:v>0.99897138626715898</c:v>
                </c:pt>
                <c:pt idx="378">
                  <c:v>0.9989931310265352</c:v>
                </c:pt>
                <c:pt idx="379">
                  <c:v>0.99903648378579479</c:v>
                </c:pt>
                <c:pt idx="380">
                  <c:v>0.99905777268019458</c:v>
                </c:pt>
                <c:pt idx="381">
                  <c:v>0.9990789704015991</c:v>
                </c:pt>
                <c:pt idx="382">
                  <c:v>0.99910003136351067</c:v>
                </c:pt>
                <c:pt idx="383">
                  <c:v>0.99912086439293402</c:v>
                </c:pt>
                <c:pt idx="384">
                  <c:v>0.9991620290003066</c:v>
                </c:pt>
                <c:pt idx="385">
                  <c:v>0.99918222381876298</c:v>
                </c:pt>
                <c:pt idx="386">
                  <c:v>0.99922238552318743</c:v>
                </c:pt>
                <c:pt idx="387">
                  <c:v>0.99924194213067674</c:v>
                </c:pt>
                <c:pt idx="388">
                  <c:v>0.99929928994471307</c:v>
                </c:pt>
                <c:pt idx="389">
                  <c:v>0.99931788923575182</c:v>
                </c:pt>
                <c:pt idx="390">
                  <c:v>0.999336442940293</c:v>
                </c:pt>
                <c:pt idx="391">
                  <c:v>0.99935435843386711</c:v>
                </c:pt>
                <c:pt idx="392">
                  <c:v>0.99937190923546004</c:v>
                </c:pt>
                <c:pt idx="393">
                  <c:v>0.99940614469519073</c:v>
                </c:pt>
                <c:pt idx="394">
                  <c:v>0.99945556045863693</c:v>
                </c:pt>
                <c:pt idx="395">
                  <c:v>0.99947174366530056</c:v>
                </c:pt>
                <c:pt idx="396">
                  <c:v>0.99948792687196419</c:v>
                </c:pt>
                <c:pt idx="397">
                  <c:v>0.99950397331913488</c:v>
                </c:pt>
                <c:pt idx="398">
                  <c:v>0.99951979183381734</c:v>
                </c:pt>
                <c:pt idx="399">
                  <c:v>0.99953529124301632</c:v>
                </c:pt>
                <c:pt idx="400">
                  <c:v>0.99955056271972709</c:v>
                </c:pt>
                <c:pt idx="401">
                  <c:v>0.99956556067745195</c:v>
                </c:pt>
                <c:pt idx="402">
                  <c:v>0.99958055863517681</c:v>
                </c:pt>
                <c:pt idx="403">
                  <c:v>0.99959496396843239</c:v>
                </c:pt>
                <c:pt idx="404">
                  <c:v>0.99962331876996702</c:v>
                </c:pt>
                <c:pt idx="405">
                  <c:v>0.99963681237326962</c:v>
                </c:pt>
                <c:pt idx="406">
                  <c:v>0.9996501236305817</c:v>
                </c:pt>
                <c:pt idx="407">
                  <c:v>0.99967638145322468</c:v>
                </c:pt>
                <c:pt idx="408">
                  <c:v>0.99968900891307211</c:v>
                </c:pt>
                <c:pt idx="409">
                  <c:v>0.99970154519992427</c:v>
                </c:pt>
                <c:pt idx="410">
                  <c:v>0.99971403590027874</c:v>
                </c:pt>
                <c:pt idx="411">
                  <c:v>0.99973865260900652</c:v>
                </c:pt>
                <c:pt idx="412">
                  <c:v>0.99975073303088224</c:v>
                </c:pt>
                <c:pt idx="413">
                  <c:v>0.99976281345275797</c:v>
                </c:pt>
                <c:pt idx="414">
                  <c:v>0.99977462035564779</c:v>
                </c:pt>
                <c:pt idx="415">
                  <c:v>0.99978610815305413</c:v>
                </c:pt>
                <c:pt idx="416">
                  <c:v>0.99979759595046047</c:v>
                </c:pt>
                <c:pt idx="417">
                  <c:v>0.99980867346938795</c:v>
                </c:pt>
                <c:pt idx="418">
                  <c:v>0.99982905063383487</c:v>
                </c:pt>
                <c:pt idx="419">
                  <c:v>0.99983794000087545</c:v>
                </c:pt>
                <c:pt idx="420">
                  <c:v>0.99985986710624231</c:v>
                </c:pt>
                <c:pt idx="421">
                  <c:v>0.9998786487432717</c:v>
                </c:pt>
                <c:pt idx="422">
                  <c:v>0.99988439264197482</c:v>
                </c:pt>
                <c:pt idx="423">
                  <c:v>0.99991530028737763</c:v>
                </c:pt>
                <c:pt idx="424">
                  <c:v>0.99993221287800349</c:v>
                </c:pt>
                <c:pt idx="425">
                  <c:v>0.99994009934209593</c:v>
                </c:pt>
                <c:pt idx="426">
                  <c:v>0.9999528635614362</c:v>
                </c:pt>
                <c:pt idx="427">
                  <c:v>0.99995824276815815</c:v>
                </c:pt>
                <c:pt idx="428">
                  <c:v>0.99996571895377184</c:v>
                </c:pt>
                <c:pt idx="429">
                  <c:v>0.99997014084404334</c:v>
                </c:pt>
                <c:pt idx="430">
                  <c:v>0.99997397010984534</c:v>
                </c:pt>
                <c:pt idx="431">
                  <c:v>0.99999489431226396</c:v>
                </c:pt>
                <c:pt idx="432">
                  <c:v>0.999997538329127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7</c:f>
              <c:strCache>
                <c:ptCount val="76"/>
                <c:pt idx="0">
                  <c:v>Apericube</c:v>
                </c:pt>
                <c:pt idx="1">
                  <c:v>Apericube</c:v>
                </c:pt>
                <c:pt idx="2">
                  <c:v>Apericube</c:v>
                </c:pt>
                <c:pt idx="3">
                  <c:v>Boursin</c:v>
                </c:pt>
                <c:pt idx="4">
                  <c:v>Aperivrais</c:v>
                </c:pt>
                <c:pt idx="5">
                  <c:v>Aperivrais</c:v>
                </c:pt>
                <c:pt idx="6">
                  <c:v>Apericube</c:v>
                </c:pt>
                <c:pt idx="7">
                  <c:v>Apericube</c:v>
                </c:pt>
                <c:pt idx="8">
                  <c:v>Apericube</c:v>
                </c:pt>
                <c:pt idx="9">
                  <c:v>Apericube</c:v>
                </c:pt>
                <c:pt idx="10">
                  <c:v>Apericube</c:v>
                </c:pt>
                <c:pt idx="11">
                  <c:v>Boursin</c:v>
                </c:pt>
                <c:pt idx="12">
                  <c:v>Apericube</c:v>
                </c:pt>
                <c:pt idx="13">
                  <c:v>Apericube</c:v>
                </c:pt>
                <c:pt idx="14">
                  <c:v>Aperivrais</c:v>
                </c:pt>
                <c:pt idx="15">
                  <c:v>Apericube</c:v>
                </c:pt>
                <c:pt idx="16">
                  <c:v>St Moret</c:v>
                </c:pt>
                <c:pt idx="17">
                  <c:v>Apericube</c:v>
                </c:pt>
                <c:pt idx="18">
                  <c:v>Apericube</c:v>
                </c:pt>
                <c:pt idx="19">
                  <c:v>St Moret</c:v>
                </c:pt>
                <c:pt idx="20">
                  <c:v>Aperivrais</c:v>
                </c:pt>
                <c:pt idx="21">
                  <c:v>Leerdammer</c:v>
                </c:pt>
                <c:pt idx="22">
                  <c:v>Apericube</c:v>
                </c:pt>
                <c:pt idx="23">
                  <c:v>All Others</c:v>
                </c:pt>
                <c:pt idx="24">
                  <c:v>Aperivrais</c:v>
                </c:pt>
                <c:pt idx="25">
                  <c:v>All Others</c:v>
                </c:pt>
                <c:pt idx="26">
                  <c:v>Apericube</c:v>
                </c:pt>
                <c:pt idx="27">
                  <c:v>Boursin</c:v>
                </c:pt>
                <c:pt idx="28">
                  <c:v>Aperivrais</c:v>
                </c:pt>
                <c:pt idx="29">
                  <c:v>Apericube</c:v>
                </c:pt>
                <c:pt idx="30">
                  <c:v>Apericube</c:v>
                </c:pt>
                <c:pt idx="31">
                  <c:v>Aperivrais</c:v>
                </c:pt>
                <c:pt idx="32">
                  <c:v>O'Tapas Ape</c:v>
                </c:pt>
                <c:pt idx="33">
                  <c:v>Entremont</c:v>
                </c:pt>
                <c:pt idx="34">
                  <c:v>O'Tapas Ape</c:v>
                </c:pt>
                <c:pt idx="35">
                  <c:v>Richesmonts</c:v>
                </c:pt>
                <c:pt idx="36">
                  <c:v>Apericube</c:v>
                </c:pt>
                <c:pt idx="37">
                  <c:v>Entremont</c:v>
                </c:pt>
                <c:pt idx="38">
                  <c:v>Apericube</c:v>
                </c:pt>
                <c:pt idx="39">
                  <c:v>O'Tapas Ape</c:v>
                </c:pt>
                <c:pt idx="40">
                  <c:v>Apericube</c:v>
                </c:pt>
                <c:pt idx="41">
                  <c:v>All Others</c:v>
                </c:pt>
                <c:pt idx="42">
                  <c:v>Aperivrais</c:v>
                </c:pt>
                <c:pt idx="43">
                  <c:v>O'Tapas Ape</c:v>
                </c:pt>
                <c:pt idx="44">
                  <c:v>All Others</c:v>
                </c:pt>
                <c:pt idx="45">
                  <c:v>St Moret</c:v>
                </c:pt>
                <c:pt idx="46">
                  <c:v>All Others</c:v>
                </c:pt>
                <c:pt idx="47">
                  <c:v>All Others</c:v>
                </c:pt>
                <c:pt idx="48">
                  <c:v>Apericube</c:v>
                </c:pt>
                <c:pt idx="49">
                  <c:v>Richesmonts</c:v>
                </c:pt>
                <c:pt idx="50">
                  <c:v>Apericube</c:v>
                </c:pt>
                <c:pt idx="51">
                  <c:v>Apericube</c:v>
                </c:pt>
                <c:pt idx="52">
                  <c:v>Apericube</c:v>
                </c:pt>
                <c:pt idx="53">
                  <c:v>All Others</c:v>
                </c:pt>
                <c:pt idx="54">
                  <c:v>O'Tapas Ape</c:v>
                </c:pt>
                <c:pt idx="55">
                  <c:v>O'Tapas Ape</c:v>
                </c:pt>
                <c:pt idx="56">
                  <c:v>All Others</c:v>
                </c:pt>
                <c:pt idx="57">
                  <c:v>All Others</c:v>
                </c:pt>
                <c:pt idx="58">
                  <c:v>All Others</c:v>
                </c:pt>
                <c:pt idx="59">
                  <c:v>All Others</c:v>
                </c:pt>
                <c:pt idx="60">
                  <c:v>All Others</c:v>
                </c:pt>
                <c:pt idx="61">
                  <c:v>All Others</c:v>
                </c:pt>
                <c:pt idx="62">
                  <c:v>All Others</c:v>
                </c:pt>
                <c:pt idx="63">
                  <c:v>All Others</c:v>
                </c:pt>
                <c:pt idx="64">
                  <c:v>All Others</c:v>
                </c:pt>
                <c:pt idx="65">
                  <c:v>All Others</c:v>
                </c:pt>
                <c:pt idx="66">
                  <c:v>All Others</c:v>
                </c:pt>
                <c:pt idx="67">
                  <c:v>All Others</c:v>
                </c:pt>
                <c:pt idx="68">
                  <c:v>All Others</c:v>
                </c:pt>
                <c:pt idx="69">
                  <c:v>All Others</c:v>
                </c:pt>
                <c:pt idx="70">
                  <c:v>All Others</c:v>
                </c:pt>
                <c:pt idx="71">
                  <c:v>All Others</c:v>
                </c:pt>
                <c:pt idx="72">
                  <c:v>All Others</c:v>
                </c:pt>
                <c:pt idx="73">
                  <c:v>Leerdammer</c:v>
                </c:pt>
                <c:pt idx="74">
                  <c:v>All Others</c:v>
                </c:pt>
                <c:pt idx="75">
                  <c:v>Boursin</c:v>
                </c:pt>
              </c:strCache>
            </c:strRef>
          </c:cat>
          <c:val>
            <c:numRef>
              <c:f>Sheet1!$B$2:$B$77</c:f>
              <c:numCache>
                <c:formatCode>General</c:formatCode>
                <c:ptCount val="76"/>
                <c:pt idx="0">
                  <c:v>0.88500000000000001</c:v>
                </c:pt>
                <c:pt idx="1">
                  <c:v>0.86399999999999999</c:v>
                </c:pt>
                <c:pt idx="2">
                  <c:v>0.80500000000000005</c:v>
                </c:pt>
                <c:pt idx="3">
                  <c:v>0.89900000000000002</c:v>
                </c:pt>
                <c:pt idx="4">
                  <c:v>0.96099999999999997</c:v>
                </c:pt>
                <c:pt idx="5">
                  <c:v>0.93700000000000006</c:v>
                </c:pt>
                <c:pt idx="6">
                  <c:v>0.73599999999999999</c:v>
                </c:pt>
                <c:pt idx="7">
                  <c:v>0.83499999999999996</c:v>
                </c:pt>
                <c:pt idx="8">
                  <c:v>0.755</c:v>
                </c:pt>
                <c:pt idx="9">
                  <c:v>0.71499999999999997</c:v>
                </c:pt>
                <c:pt idx="10">
                  <c:v>0.69299999999999995</c:v>
                </c:pt>
                <c:pt idx="11">
                  <c:v>0.71899999999999997</c:v>
                </c:pt>
                <c:pt idx="12">
                  <c:v>0.52700000000000002</c:v>
                </c:pt>
                <c:pt idx="13">
                  <c:v>0.47199999999999998</c:v>
                </c:pt>
                <c:pt idx="14">
                  <c:v>0.78400000000000003</c:v>
                </c:pt>
                <c:pt idx="15">
                  <c:v>0.73599999999999999</c:v>
                </c:pt>
                <c:pt idx="16">
                  <c:v>0.72199999999999998</c:v>
                </c:pt>
                <c:pt idx="17">
                  <c:v>9.4E-2</c:v>
                </c:pt>
                <c:pt idx="18">
                  <c:v>0.46800000000000003</c:v>
                </c:pt>
                <c:pt idx="19">
                  <c:v>0.61</c:v>
                </c:pt>
                <c:pt idx="20">
                  <c:v>0.66600000000000004</c:v>
                </c:pt>
                <c:pt idx="21">
                  <c:v>0.76700000000000002</c:v>
                </c:pt>
                <c:pt idx="22">
                  <c:v>0.34699999999999998</c:v>
                </c:pt>
                <c:pt idx="23">
                  <c:v>0.45900000000000002</c:v>
                </c:pt>
                <c:pt idx="24">
                  <c:v>0.57299999999999995</c:v>
                </c:pt>
                <c:pt idx="25">
                  <c:v>0.317</c:v>
                </c:pt>
                <c:pt idx="26">
                  <c:v>0.47199999999999998</c:v>
                </c:pt>
                <c:pt idx="27">
                  <c:v>0.35</c:v>
                </c:pt>
                <c:pt idx="28">
                  <c:v>0.55000000000000004</c:v>
                </c:pt>
                <c:pt idx="29">
                  <c:v>0.26700000000000002</c:v>
                </c:pt>
                <c:pt idx="30">
                  <c:v>4.7E-2</c:v>
                </c:pt>
                <c:pt idx="31">
                  <c:v>0.51300000000000001</c:v>
                </c:pt>
                <c:pt idx="32">
                  <c:v>0.20300000000000001</c:v>
                </c:pt>
                <c:pt idx="33">
                  <c:v>0.47099999999999997</c:v>
                </c:pt>
                <c:pt idx="34">
                  <c:v>0.20799999999999999</c:v>
                </c:pt>
                <c:pt idx="35">
                  <c:v>0.46700000000000003</c:v>
                </c:pt>
                <c:pt idx="36">
                  <c:v>0.65700000000000003</c:v>
                </c:pt>
                <c:pt idx="37">
                  <c:v>0.44</c:v>
                </c:pt>
                <c:pt idx="38">
                  <c:v>0.34200000000000003</c:v>
                </c:pt>
                <c:pt idx="39">
                  <c:v>0.16700000000000001</c:v>
                </c:pt>
                <c:pt idx="40">
                  <c:v>4.2999999999999997E-2</c:v>
                </c:pt>
                <c:pt idx="41">
                  <c:v>1.0999999999999999E-2</c:v>
                </c:pt>
                <c:pt idx="42">
                  <c:v>0.39200000000000002</c:v>
                </c:pt>
                <c:pt idx="43">
                  <c:v>0.13</c:v>
                </c:pt>
                <c:pt idx="44">
                  <c:v>5.2999999999999999E-2</c:v>
                </c:pt>
                <c:pt idx="45">
                  <c:v>0.315</c:v>
                </c:pt>
                <c:pt idx="46">
                  <c:v>3.5000000000000003E-2</c:v>
                </c:pt>
                <c:pt idx="47">
                  <c:v>5.7000000000000002E-2</c:v>
                </c:pt>
                <c:pt idx="48">
                  <c:v>0.106</c:v>
                </c:pt>
                <c:pt idx="49">
                  <c:v>0.26200000000000001</c:v>
                </c:pt>
                <c:pt idx="50">
                  <c:v>9.6000000000000002E-2</c:v>
                </c:pt>
                <c:pt idx="51">
                  <c:v>0.08</c:v>
                </c:pt>
                <c:pt idx="52">
                  <c:v>0.115</c:v>
                </c:pt>
                <c:pt idx="53">
                  <c:v>2.7E-2</c:v>
                </c:pt>
                <c:pt idx="54">
                  <c:v>2.5000000000000001E-2</c:v>
                </c:pt>
                <c:pt idx="55">
                  <c:v>7.1999999999999995E-2</c:v>
                </c:pt>
                <c:pt idx="56">
                  <c:v>8.0000000000000002E-3</c:v>
                </c:pt>
                <c:pt idx="57">
                  <c:v>2.7E-2</c:v>
                </c:pt>
                <c:pt idx="58">
                  <c:v>8.9999999999999993E-3</c:v>
                </c:pt>
                <c:pt idx="59">
                  <c:v>1.7000000000000001E-2</c:v>
                </c:pt>
                <c:pt idx="60">
                  <c:v>1.4E-2</c:v>
                </c:pt>
                <c:pt idx="61">
                  <c:v>4.0000000000000001E-3</c:v>
                </c:pt>
                <c:pt idx="62">
                  <c:v>3.2000000000000001E-2</c:v>
                </c:pt>
                <c:pt idx="63">
                  <c:v>4.0000000000000001E-3</c:v>
                </c:pt>
                <c:pt idx="64">
                  <c:v>0.05</c:v>
                </c:pt>
                <c:pt idx="65">
                  <c:v>2.3E-2</c:v>
                </c:pt>
                <c:pt idx="66">
                  <c:v>1.4E-2</c:v>
                </c:pt>
                <c:pt idx="67">
                  <c:v>1.7999999999999999E-2</c:v>
                </c:pt>
                <c:pt idx="68">
                  <c:v>3.5999999999999997E-2</c:v>
                </c:pt>
                <c:pt idx="69">
                  <c:v>1.2999999999999999E-2</c:v>
                </c:pt>
                <c:pt idx="70">
                  <c:v>5.0000000000000001E-3</c:v>
                </c:pt>
                <c:pt idx="71">
                  <c:v>2.7E-2</c:v>
                </c:pt>
                <c:pt idx="72">
                  <c:v>5.0000000000000001E-3</c:v>
                </c:pt>
                <c:pt idx="73">
                  <c:v>4.0000000000000001E-3</c:v>
                </c:pt>
                <c:pt idx="74">
                  <c:v>8.9999999999999993E-3</c:v>
                </c:pt>
                <c:pt idx="75">
                  <c:v>8.9999999999999993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7</c:f>
              <c:strCache>
                <c:ptCount val="76"/>
                <c:pt idx="0">
                  <c:v>Apericube</c:v>
                </c:pt>
                <c:pt idx="1">
                  <c:v>Apericube</c:v>
                </c:pt>
                <c:pt idx="2">
                  <c:v>Apericube</c:v>
                </c:pt>
                <c:pt idx="3">
                  <c:v>Boursin</c:v>
                </c:pt>
                <c:pt idx="4">
                  <c:v>Aperivrais</c:v>
                </c:pt>
                <c:pt idx="5">
                  <c:v>Aperivrais</c:v>
                </c:pt>
                <c:pt idx="6">
                  <c:v>Apericube</c:v>
                </c:pt>
                <c:pt idx="7">
                  <c:v>Apericube</c:v>
                </c:pt>
                <c:pt idx="8">
                  <c:v>Apericube</c:v>
                </c:pt>
                <c:pt idx="9">
                  <c:v>Apericube</c:v>
                </c:pt>
                <c:pt idx="10">
                  <c:v>Apericube</c:v>
                </c:pt>
                <c:pt idx="11">
                  <c:v>Boursin</c:v>
                </c:pt>
                <c:pt idx="12">
                  <c:v>Apericube</c:v>
                </c:pt>
                <c:pt idx="13">
                  <c:v>Apericube</c:v>
                </c:pt>
                <c:pt idx="14">
                  <c:v>Aperivrais</c:v>
                </c:pt>
                <c:pt idx="15">
                  <c:v>Apericube</c:v>
                </c:pt>
                <c:pt idx="16">
                  <c:v>St Moret</c:v>
                </c:pt>
                <c:pt idx="17">
                  <c:v>Apericube</c:v>
                </c:pt>
                <c:pt idx="18">
                  <c:v>Apericube</c:v>
                </c:pt>
                <c:pt idx="19">
                  <c:v>St Moret</c:v>
                </c:pt>
                <c:pt idx="20">
                  <c:v>Aperivrais</c:v>
                </c:pt>
                <c:pt idx="21">
                  <c:v>Leerdammer</c:v>
                </c:pt>
                <c:pt idx="22">
                  <c:v>Apericube</c:v>
                </c:pt>
                <c:pt idx="23">
                  <c:v>All Others</c:v>
                </c:pt>
                <c:pt idx="24">
                  <c:v>Aperivrais</c:v>
                </c:pt>
                <c:pt idx="25">
                  <c:v>All Others</c:v>
                </c:pt>
                <c:pt idx="26">
                  <c:v>Apericube</c:v>
                </c:pt>
                <c:pt idx="27">
                  <c:v>Boursin</c:v>
                </c:pt>
                <c:pt idx="28">
                  <c:v>Aperivrais</c:v>
                </c:pt>
                <c:pt idx="29">
                  <c:v>Apericube</c:v>
                </c:pt>
                <c:pt idx="30">
                  <c:v>Apericube</c:v>
                </c:pt>
                <c:pt idx="31">
                  <c:v>Aperivrais</c:v>
                </c:pt>
                <c:pt idx="32">
                  <c:v>O'Tapas Ape</c:v>
                </c:pt>
                <c:pt idx="33">
                  <c:v>Entremont</c:v>
                </c:pt>
                <c:pt idx="34">
                  <c:v>O'Tapas Ape</c:v>
                </c:pt>
                <c:pt idx="35">
                  <c:v>Richesmonts</c:v>
                </c:pt>
                <c:pt idx="36">
                  <c:v>Apericube</c:v>
                </c:pt>
                <c:pt idx="37">
                  <c:v>Entremont</c:v>
                </c:pt>
                <c:pt idx="38">
                  <c:v>Apericube</c:v>
                </c:pt>
                <c:pt idx="39">
                  <c:v>O'Tapas Ape</c:v>
                </c:pt>
                <c:pt idx="40">
                  <c:v>Apericube</c:v>
                </c:pt>
                <c:pt idx="41">
                  <c:v>All Others</c:v>
                </c:pt>
                <c:pt idx="42">
                  <c:v>Aperivrais</c:v>
                </c:pt>
                <c:pt idx="43">
                  <c:v>O'Tapas Ape</c:v>
                </c:pt>
                <c:pt idx="44">
                  <c:v>All Others</c:v>
                </c:pt>
                <c:pt idx="45">
                  <c:v>St Moret</c:v>
                </c:pt>
                <c:pt idx="46">
                  <c:v>All Others</c:v>
                </c:pt>
                <c:pt idx="47">
                  <c:v>All Others</c:v>
                </c:pt>
                <c:pt idx="48">
                  <c:v>Apericube</c:v>
                </c:pt>
                <c:pt idx="49">
                  <c:v>Richesmonts</c:v>
                </c:pt>
                <c:pt idx="50">
                  <c:v>Apericube</c:v>
                </c:pt>
                <c:pt idx="51">
                  <c:v>Apericube</c:v>
                </c:pt>
                <c:pt idx="52">
                  <c:v>Apericube</c:v>
                </c:pt>
                <c:pt idx="53">
                  <c:v>All Others</c:v>
                </c:pt>
                <c:pt idx="54">
                  <c:v>O'Tapas Ape</c:v>
                </c:pt>
                <c:pt idx="55">
                  <c:v>O'Tapas Ape</c:v>
                </c:pt>
                <c:pt idx="56">
                  <c:v>All Others</c:v>
                </c:pt>
                <c:pt idx="57">
                  <c:v>All Others</c:v>
                </c:pt>
                <c:pt idx="58">
                  <c:v>All Others</c:v>
                </c:pt>
                <c:pt idx="59">
                  <c:v>All Others</c:v>
                </c:pt>
                <c:pt idx="60">
                  <c:v>All Others</c:v>
                </c:pt>
                <c:pt idx="61">
                  <c:v>All Others</c:v>
                </c:pt>
                <c:pt idx="62">
                  <c:v>All Others</c:v>
                </c:pt>
                <c:pt idx="63">
                  <c:v>All Others</c:v>
                </c:pt>
                <c:pt idx="64">
                  <c:v>All Others</c:v>
                </c:pt>
                <c:pt idx="65">
                  <c:v>All Others</c:v>
                </c:pt>
                <c:pt idx="66">
                  <c:v>All Others</c:v>
                </c:pt>
                <c:pt idx="67">
                  <c:v>All Others</c:v>
                </c:pt>
                <c:pt idx="68">
                  <c:v>All Others</c:v>
                </c:pt>
                <c:pt idx="69">
                  <c:v>All Others</c:v>
                </c:pt>
                <c:pt idx="70">
                  <c:v>All Others</c:v>
                </c:pt>
                <c:pt idx="71">
                  <c:v>All Others</c:v>
                </c:pt>
                <c:pt idx="72">
                  <c:v>All Others</c:v>
                </c:pt>
                <c:pt idx="73">
                  <c:v>Leerdammer</c:v>
                </c:pt>
                <c:pt idx="74">
                  <c:v>All Others</c:v>
                </c:pt>
                <c:pt idx="75">
                  <c:v>Boursin</c:v>
                </c:pt>
              </c:strCache>
            </c:strRef>
          </c:cat>
          <c:val>
            <c:numRef>
              <c:f>Sheet1!$C$2:$C$77</c:f>
              <c:numCache>
                <c:formatCode>General</c:formatCode>
                <c:ptCount val="76"/>
                <c:pt idx="0">
                  <c:v>0.11183931946611282</c:v>
                </c:pt>
                <c:pt idx="1">
                  <c:v>0.207244599621009</c:v>
                </c:pt>
                <c:pt idx="2">
                  <c:v>0.27779583498120813</c:v>
                </c:pt>
                <c:pt idx="3">
                  <c:v>0.34774340223269851</c:v>
                </c:pt>
                <c:pt idx="4">
                  <c:v>0.40850909990852774</c:v>
                </c:pt>
                <c:pt idx="5">
                  <c:v>0.46102647841668137</c:v>
                </c:pt>
                <c:pt idx="6">
                  <c:v>0.5555608071877266</c:v>
                </c:pt>
                <c:pt idx="7">
                  <c:v>0.59709472591090063</c:v>
                </c:pt>
                <c:pt idx="8">
                  <c:v>0.6371806175951783</c:v>
                </c:pt>
                <c:pt idx="9">
                  <c:v>0.67217677187993596</c:v>
                </c:pt>
                <c:pt idx="10">
                  <c:v>0.69801522272393091</c:v>
                </c:pt>
                <c:pt idx="11">
                  <c:v>0.72301038221799496</c:v>
                </c:pt>
                <c:pt idx="12">
                  <c:v>0.74662991602510742</c:v>
                </c:pt>
                <c:pt idx="13">
                  <c:v>0.76921913783189</c:v>
                </c:pt>
                <c:pt idx="14">
                  <c:v>0.78988186253933657</c:v>
                </c:pt>
                <c:pt idx="15">
                  <c:v>0.81016462572819881</c:v>
                </c:pt>
                <c:pt idx="16">
                  <c:v>0.83027444091549851</c:v>
                </c:pt>
                <c:pt idx="17">
                  <c:v>0.84500151644922794</c:v>
                </c:pt>
                <c:pt idx="18">
                  <c:v>0.85855415664799195</c:v>
                </c:pt>
                <c:pt idx="19">
                  <c:v>0.87132455167695011</c:v>
                </c:pt>
                <c:pt idx="20">
                  <c:v>0.88405214644289531</c:v>
                </c:pt>
                <c:pt idx="21">
                  <c:v>0.89582784783099223</c:v>
                </c:pt>
                <c:pt idx="22">
                  <c:v>0.90466420961453065</c:v>
                </c:pt>
                <c:pt idx="23">
                  <c:v>0.91220346138634989</c:v>
                </c:pt>
                <c:pt idx="24">
                  <c:v>0.91905373568168625</c:v>
                </c:pt>
                <c:pt idx="25">
                  <c:v>0.92487408618769507</c:v>
                </c:pt>
                <c:pt idx="26">
                  <c:v>0.92996498822022233</c:v>
                </c:pt>
                <c:pt idx="27">
                  <c:v>0.93505006708771377</c:v>
                </c:pt>
                <c:pt idx="28">
                  <c:v>0.94007274103657179</c:v>
                </c:pt>
                <c:pt idx="29">
                  <c:v>0.94494634196051397</c:v>
                </c:pt>
                <c:pt idx="30">
                  <c:v>0.94899053007786049</c:v>
                </c:pt>
                <c:pt idx="31">
                  <c:v>0.95282226972415174</c:v>
                </c:pt>
                <c:pt idx="32">
                  <c:v>0.95661557648120688</c:v>
                </c:pt>
                <c:pt idx="33">
                  <c:v>0.96040548639199108</c:v>
                </c:pt>
                <c:pt idx="34">
                  <c:v>0.96409252038714333</c:v>
                </c:pt>
                <c:pt idx="35">
                  <c:v>0.96748596981174184</c:v>
                </c:pt>
                <c:pt idx="36">
                  <c:v>0.9701890830213491</c:v>
                </c:pt>
                <c:pt idx="37">
                  <c:v>0.97270177873428643</c:v>
                </c:pt>
                <c:pt idx="38">
                  <c:v>0.97500726682470074</c:v>
                </c:pt>
                <c:pt idx="39">
                  <c:v>0.97730790227758524</c:v>
                </c:pt>
                <c:pt idx="40">
                  <c:v>0.97940618274547653</c:v>
                </c:pt>
                <c:pt idx="41">
                  <c:v>0.98141041909804005</c:v>
                </c:pt>
                <c:pt idx="42">
                  <c:v>0.98332944313558002</c:v>
                </c:pt>
                <c:pt idx="43">
                  <c:v>0.98491858487384332</c:v>
                </c:pt>
                <c:pt idx="44">
                  <c:v>0.98636428264672538</c:v>
                </c:pt>
                <c:pt idx="45">
                  <c:v>0.98740119423409589</c:v>
                </c:pt>
                <c:pt idx="46">
                  <c:v>0.98824720306104352</c:v>
                </c:pt>
                <c:pt idx="47">
                  <c:v>0.98908108029416664</c:v>
                </c:pt>
                <c:pt idx="48">
                  <c:v>0.98983527721905018</c:v>
                </c:pt>
                <c:pt idx="49">
                  <c:v>0.99058462150640392</c:v>
                </c:pt>
                <c:pt idx="50">
                  <c:v>0.99130290891356687</c:v>
                </c:pt>
                <c:pt idx="51">
                  <c:v>0.99199538028907119</c:v>
                </c:pt>
                <c:pt idx="52">
                  <c:v>0.9926413633970399</c:v>
                </c:pt>
                <c:pt idx="53">
                  <c:v>0.99324784603551597</c:v>
                </c:pt>
                <c:pt idx="54">
                  <c:v>0.99382414526855656</c:v>
                </c:pt>
                <c:pt idx="55">
                  <c:v>0.99432852841340535</c:v>
                </c:pt>
                <c:pt idx="56">
                  <c:v>0.99480845426510389</c:v>
                </c:pt>
                <c:pt idx="57">
                  <c:v>0.99522384003765596</c:v>
                </c:pt>
                <c:pt idx="58">
                  <c:v>0.9964919312769468</c:v>
                </c:pt>
                <c:pt idx="59">
                  <c:v>0.99673009872690999</c:v>
                </c:pt>
                <c:pt idx="60">
                  <c:v>0.99714276702244531</c:v>
                </c:pt>
                <c:pt idx="61">
                  <c:v>0.9973185295537752</c:v>
                </c:pt>
                <c:pt idx="62">
                  <c:v>0.99749254513559427</c:v>
                </c:pt>
                <c:pt idx="63">
                  <c:v>0.99781689542808694</c:v>
                </c:pt>
                <c:pt idx="64">
                  <c:v>0.99813008465426112</c:v>
                </c:pt>
                <c:pt idx="65">
                  <c:v>0.9985799241532749</c:v>
                </c:pt>
                <c:pt idx="66">
                  <c:v>0.99887370282932986</c:v>
                </c:pt>
                <c:pt idx="67">
                  <c:v>0.99911953744659021</c:v>
                </c:pt>
                <c:pt idx="68">
                  <c:v>0.99921988999070677</c:v>
                </c:pt>
                <c:pt idx="69">
                  <c:v>0.99940933695987078</c:v>
                </c:pt>
                <c:pt idx="70">
                  <c:v>0.999498237279417</c:v>
                </c:pt>
                <c:pt idx="71">
                  <c:v>0.99955588661327122</c:v>
                </c:pt>
                <c:pt idx="72">
                  <c:v>0.99960489825232235</c:v>
                </c:pt>
                <c:pt idx="73">
                  <c:v>0.99964905725384368</c:v>
                </c:pt>
                <c:pt idx="74">
                  <c:v>0.99987839290350267</c:v>
                </c:pt>
                <c:pt idx="75">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t Moret</c:v>
                </c:pt>
                <c:pt idx="5">
                  <c:v>Leerdammer</c:v>
                </c:pt>
                <c:pt idx="6">
                  <c:v>La Vache Qui Rit</c:v>
                </c:pt>
                <c:pt idx="7">
                  <c:v>Boursin</c:v>
                </c:pt>
                <c:pt idx="8">
                  <c:v>Kiri</c:v>
                </c:pt>
                <c:pt idx="9">
                  <c:v>Others</c:v>
                </c:pt>
              </c:strCache>
            </c:strRef>
          </c:cat>
          <c:val>
            <c:numRef>
              <c:f>Sheet1!$B$2:$B$11</c:f>
              <c:numCache>
                <c:formatCode>General</c:formatCode>
                <c:ptCount val="10"/>
                <c:pt idx="0">
                  <c:v>0.40184270745513667</c:v>
                </c:pt>
                <c:pt idx="1">
                  <c:v>7.0886348550404737E-2</c:v>
                </c:pt>
                <c:pt idx="2">
                  <c:v>4.3401905879608432E-2</c:v>
                </c:pt>
                <c:pt idx="3">
                  <c:v>4.0085061989916501E-2</c:v>
                </c:pt>
                <c:pt idx="4">
                  <c:v>2.7281237153325671E-2</c:v>
                </c:pt>
                <c:pt idx="5">
                  <c:v>2.4775274819959364E-2</c:v>
                </c:pt>
                <c:pt idx="6">
                  <c:v>1.6817249815598481E-2</c:v>
                </c:pt>
                <c:pt idx="7">
                  <c:v>1.5795906908502466E-2</c:v>
                </c:pt>
                <c:pt idx="8">
                  <c:v>1.3927698574123295E-2</c:v>
                </c:pt>
                <c:pt idx="9">
                  <c:v>0.3451866088534244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t Moret</c:v>
                </c:pt>
                <c:pt idx="5">
                  <c:v>Leerdammer</c:v>
                </c:pt>
                <c:pt idx="6">
                  <c:v>La Vache Qui Rit</c:v>
                </c:pt>
                <c:pt idx="7">
                  <c:v>Boursin</c:v>
                </c:pt>
                <c:pt idx="8">
                  <c:v>Kiri</c:v>
                </c:pt>
                <c:pt idx="9">
                  <c:v>Others</c:v>
                </c:pt>
              </c:strCache>
            </c:strRef>
          </c:cat>
          <c:val>
            <c:numRef>
              <c:f>Sheet1!$C$2:$C$11</c:f>
              <c:numCache>
                <c:formatCode>General</c:formatCode>
                <c:ptCount val="10"/>
                <c:pt idx="0">
                  <c:v>0.28484181839076644</c:v>
                </c:pt>
                <c:pt idx="1">
                  <c:v>5.7739981284168573E-2</c:v>
                </c:pt>
                <c:pt idx="2">
                  <c:v>3.7579419152533947E-2</c:v>
                </c:pt>
                <c:pt idx="3">
                  <c:v>3.6495871024937954E-2</c:v>
                </c:pt>
                <c:pt idx="4">
                  <c:v>2.2114232240481979E-2</c:v>
                </c:pt>
                <c:pt idx="5">
                  <c:v>1.9339692338001313E-2</c:v>
                </c:pt>
                <c:pt idx="6">
                  <c:v>1.2854820968297985E-2</c:v>
                </c:pt>
                <c:pt idx="7">
                  <c:v>3.2145261118681288E-2</c:v>
                </c:pt>
                <c:pt idx="8">
                  <c:v>1.4381638784455985E-2</c:v>
                </c:pt>
                <c:pt idx="9">
                  <c:v>0.4825072646976728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t Moret</c:v>
                </c:pt>
                <c:pt idx="5">
                  <c:v>Leerdammer</c:v>
                </c:pt>
                <c:pt idx="6">
                  <c:v>La Vache Qui Rit</c:v>
                </c:pt>
                <c:pt idx="7">
                  <c:v>Boursin</c:v>
                </c:pt>
                <c:pt idx="8">
                  <c:v>Kiri</c:v>
                </c:pt>
                <c:pt idx="9">
                  <c:v>Others</c:v>
                </c:pt>
              </c:strCache>
            </c:strRef>
          </c:cat>
          <c:val>
            <c:numRef>
              <c:f>Sheet1!$D$2:$D$11</c:f>
              <c:numCache>
                <c:formatCode>General</c:formatCode>
                <c:ptCount val="10"/>
                <c:pt idx="0">
                  <c:v>70.883908829567929</c:v>
                </c:pt>
                <c:pt idx="1">
                  <c:v>81.454303212009492</c:v>
                </c:pt>
                <c:pt idx="2">
                  <c:v>86.584721087536224</c:v>
                </c:pt>
                <c:pt idx="3">
                  <c:v>91.046063578792968</c:v>
                </c:pt>
                <c:pt idx="4">
                  <c:v>81.060225077755248</c:v>
                </c:pt>
                <c:pt idx="5">
                  <c:v>78.060455347284147</c:v>
                </c:pt>
                <c:pt idx="6">
                  <c:v>76.438306555776862</c:v>
                </c:pt>
                <c:pt idx="7">
                  <c:v>203.50373868928321</c:v>
                </c:pt>
                <c:pt idx="8">
                  <c:v>103.25926216680247</c:v>
                </c:pt>
                <c:pt idx="9">
                  <c:v>139.781570988623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Apericube</c:v>
                </c:pt>
                <c:pt idx="1">
                  <c:v>Apericube</c:v>
                </c:pt>
                <c:pt idx="2">
                  <c:v>Apericube</c:v>
                </c:pt>
                <c:pt idx="3">
                  <c:v>Apericube</c:v>
                </c:pt>
                <c:pt idx="4">
                  <c:v>Boursin</c:v>
                </c:pt>
                <c:pt idx="5">
                  <c:v>Private Lab</c:v>
                </c:pt>
                <c:pt idx="6">
                  <c:v>Aperivrais</c:v>
                </c:pt>
                <c:pt idx="7">
                  <c:v>Apericube</c:v>
                </c:pt>
                <c:pt idx="8">
                  <c:v>Apericube</c:v>
                </c:pt>
                <c:pt idx="9">
                  <c:v>Apericube</c:v>
                </c:pt>
                <c:pt idx="10">
                  <c:v>Apericube</c:v>
                </c:pt>
                <c:pt idx="11">
                  <c:v>Boursin</c:v>
                </c:pt>
                <c:pt idx="12">
                  <c:v>Apericube</c:v>
                </c:pt>
                <c:pt idx="13">
                  <c:v>Apericube</c:v>
                </c:pt>
                <c:pt idx="14">
                  <c:v>Aperivrais</c:v>
                </c:pt>
                <c:pt idx="15">
                  <c:v>St Moret</c:v>
                </c:pt>
                <c:pt idx="16">
                  <c:v>Aperivrais</c:v>
                </c:pt>
                <c:pt idx="17">
                  <c:v>St Moret</c:v>
                </c:pt>
                <c:pt idx="18">
                  <c:v>St Moret</c:v>
                </c:pt>
                <c:pt idx="19">
                  <c:v>Private Lab</c:v>
                </c:pt>
                <c:pt idx="20">
                  <c:v>Aperivrais</c:v>
                </c:pt>
                <c:pt idx="21">
                  <c:v>Boursin</c:v>
                </c:pt>
                <c:pt idx="22">
                  <c:v>Aperivrais</c:v>
                </c:pt>
                <c:pt idx="23">
                  <c:v>Apericube</c:v>
                </c:pt>
                <c:pt idx="24">
                  <c:v>St Moret</c:v>
                </c:pt>
                <c:pt idx="25">
                  <c:v>Apericube</c:v>
                </c:pt>
                <c:pt idx="26">
                  <c:v>Apericube</c:v>
                </c:pt>
                <c:pt idx="27">
                  <c:v>Boursin</c:v>
                </c:pt>
                <c:pt idx="28">
                  <c:v>Entremont</c:v>
                </c:pt>
                <c:pt idx="29">
                  <c:v>Aperivrais</c:v>
                </c:pt>
                <c:pt idx="30">
                  <c:v>Entremont</c:v>
                </c:pt>
                <c:pt idx="31">
                  <c:v>Aperivrais</c:v>
                </c:pt>
                <c:pt idx="32">
                  <c:v>All Others</c:v>
                </c:pt>
                <c:pt idx="33">
                  <c:v>Apericube</c:v>
                </c:pt>
                <c:pt idx="34">
                  <c:v>All Others</c:v>
                </c:pt>
                <c:pt idx="35">
                  <c:v>Entremont</c:v>
                </c:pt>
                <c:pt idx="36">
                  <c:v>Boursin</c:v>
                </c:pt>
                <c:pt idx="37">
                  <c:v>All Others</c:v>
                </c:pt>
                <c:pt idx="38">
                  <c:v>All Others</c:v>
                </c:pt>
                <c:pt idx="39">
                  <c:v>Apericube</c:v>
                </c:pt>
                <c:pt idx="40">
                  <c:v>All Others</c:v>
                </c:pt>
                <c:pt idx="41">
                  <c:v>O'Tapas Ape</c:v>
                </c:pt>
                <c:pt idx="42">
                  <c:v>O'Tapas Ape</c:v>
                </c:pt>
              </c:strCache>
            </c:strRef>
          </c:cat>
          <c:val>
            <c:numRef>
              <c:f>Sheet1!$B$2:$B$44</c:f>
              <c:numCache>
                <c:formatCode>General</c:formatCode>
                <c:ptCount val="43"/>
                <c:pt idx="0">
                  <c:v>0.94599999999999995</c:v>
                </c:pt>
                <c:pt idx="1">
                  <c:v>0.93100000000000005</c:v>
                </c:pt>
                <c:pt idx="2">
                  <c:v>0.89800000000000002</c:v>
                </c:pt>
                <c:pt idx="3">
                  <c:v>0.89800000000000002</c:v>
                </c:pt>
                <c:pt idx="4">
                  <c:v>0.94799999999999995</c:v>
                </c:pt>
                <c:pt idx="5">
                  <c:v>0.872</c:v>
                </c:pt>
                <c:pt idx="6">
                  <c:v>0.97899999999999998</c:v>
                </c:pt>
                <c:pt idx="7">
                  <c:v>0.86099999999999999</c:v>
                </c:pt>
                <c:pt idx="8">
                  <c:v>0.82899999999999996</c:v>
                </c:pt>
                <c:pt idx="9">
                  <c:v>0.90900000000000003</c:v>
                </c:pt>
                <c:pt idx="10">
                  <c:v>0.89300000000000002</c:v>
                </c:pt>
                <c:pt idx="11">
                  <c:v>0.88700000000000001</c:v>
                </c:pt>
                <c:pt idx="12">
                  <c:v>0.84599999999999997</c:v>
                </c:pt>
                <c:pt idx="13">
                  <c:v>0.76500000000000001</c:v>
                </c:pt>
                <c:pt idx="14">
                  <c:v>0.95599999999999996</c:v>
                </c:pt>
                <c:pt idx="15">
                  <c:v>0.92300000000000004</c:v>
                </c:pt>
                <c:pt idx="16">
                  <c:v>0.94399999999999995</c:v>
                </c:pt>
                <c:pt idx="17">
                  <c:v>0.84299999999999997</c:v>
                </c:pt>
                <c:pt idx="18">
                  <c:v>0.86399999999999999</c:v>
                </c:pt>
                <c:pt idx="19">
                  <c:v>0.89300000000000002</c:v>
                </c:pt>
                <c:pt idx="20">
                  <c:v>0.85299999999999998</c:v>
                </c:pt>
                <c:pt idx="21">
                  <c:v>0.8</c:v>
                </c:pt>
                <c:pt idx="22">
                  <c:v>0.85199999999999998</c:v>
                </c:pt>
                <c:pt idx="23">
                  <c:v>0.499</c:v>
                </c:pt>
                <c:pt idx="24">
                  <c:v>0.79300000000000004</c:v>
                </c:pt>
                <c:pt idx="25">
                  <c:v>0.28199999999999997</c:v>
                </c:pt>
                <c:pt idx="26">
                  <c:v>0.27</c:v>
                </c:pt>
                <c:pt idx="27">
                  <c:v>0.65800000000000003</c:v>
                </c:pt>
                <c:pt idx="28">
                  <c:v>0.312</c:v>
                </c:pt>
                <c:pt idx="29">
                  <c:v>0.311</c:v>
                </c:pt>
                <c:pt idx="30">
                  <c:v>0.217</c:v>
                </c:pt>
                <c:pt idx="31">
                  <c:v>0.105</c:v>
                </c:pt>
                <c:pt idx="32">
                  <c:v>0.04</c:v>
                </c:pt>
                <c:pt idx="33">
                  <c:v>0.25800000000000001</c:v>
                </c:pt>
                <c:pt idx="34">
                  <c:v>1.7000000000000001E-2</c:v>
                </c:pt>
                <c:pt idx="35">
                  <c:v>0.10199999999999999</c:v>
                </c:pt>
                <c:pt idx="36">
                  <c:v>0.29199999999999998</c:v>
                </c:pt>
                <c:pt idx="37">
                  <c:v>0.03</c:v>
                </c:pt>
                <c:pt idx="38">
                  <c:v>8.9999999999999993E-3</c:v>
                </c:pt>
                <c:pt idx="39">
                  <c:v>0.04</c:v>
                </c:pt>
                <c:pt idx="40">
                  <c:v>8.0000000000000002E-3</c:v>
                </c:pt>
                <c:pt idx="41">
                  <c:v>1.9E-2</c:v>
                </c:pt>
                <c:pt idx="42">
                  <c:v>1.4999999999999999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Apericube</c:v>
                </c:pt>
                <c:pt idx="1">
                  <c:v>Apericube</c:v>
                </c:pt>
                <c:pt idx="2">
                  <c:v>Apericube</c:v>
                </c:pt>
                <c:pt idx="3">
                  <c:v>Apericube</c:v>
                </c:pt>
                <c:pt idx="4">
                  <c:v>Boursin</c:v>
                </c:pt>
                <c:pt idx="5">
                  <c:v>Private Lab</c:v>
                </c:pt>
                <c:pt idx="6">
                  <c:v>Aperivrais</c:v>
                </c:pt>
                <c:pt idx="7">
                  <c:v>Apericube</c:v>
                </c:pt>
                <c:pt idx="8">
                  <c:v>Apericube</c:v>
                </c:pt>
                <c:pt idx="9">
                  <c:v>Apericube</c:v>
                </c:pt>
                <c:pt idx="10">
                  <c:v>Apericube</c:v>
                </c:pt>
                <c:pt idx="11">
                  <c:v>Boursin</c:v>
                </c:pt>
                <c:pt idx="12">
                  <c:v>Apericube</c:v>
                </c:pt>
                <c:pt idx="13">
                  <c:v>Apericube</c:v>
                </c:pt>
                <c:pt idx="14">
                  <c:v>Aperivrais</c:v>
                </c:pt>
                <c:pt idx="15">
                  <c:v>St Moret</c:v>
                </c:pt>
                <c:pt idx="16">
                  <c:v>Aperivrais</c:v>
                </c:pt>
                <c:pt idx="17">
                  <c:v>St Moret</c:v>
                </c:pt>
                <c:pt idx="18">
                  <c:v>St Moret</c:v>
                </c:pt>
                <c:pt idx="19">
                  <c:v>Private Lab</c:v>
                </c:pt>
                <c:pt idx="20">
                  <c:v>Aperivrais</c:v>
                </c:pt>
                <c:pt idx="21">
                  <c:v>Boursin</c:v>
                </c:pt>
                <c:pt idx="22">
                  <c:v>Aperivrais</c:v>
                </c:pt>
                <c:pt idx="23">
                  <c:v>Apericube</c:v>
                </c:pt>
                <c:pt idx="24">
                  <c:v>St Moret</c:v>
                </c:pt>
                <c:pt idx="25">
                  <c:v>Apericube</c:v>
                </c:pt>
                <c:pt idx="26">
                  <c:v>Apericube</c:v>
                </c:pt>
                <c:pt idx="27">
                  <c:v>Boursin</c:v>
                </c:pt>
                <c:pt idx="28">
                  <c:v>Entremont</c:v>
                </c:pt>
                <c:pt idx="29">
                  <c:v>Aperivrais</c:v>
                </c:pt>
                <c:pt idx="30">
                  <c:v>Entremont</c:v>
                </c:pt>
                <c:pt idx="31">
                  <c:v>Aperivrais</c:v>
                </c:pt>
                <c:pt idx="32">
                  <c:v>All Others</c:v>
                </c:pt>
                <c:pt idx="33">
                  <c:v>Apericube</c:v>
                </c:pt>
                <c:pt idx="34">
                  <c:v>All Others</c:v>
                </c:pt>
                <c:pt idx="35">
                  <c:v>Entremont</c:v>
                </c:pt>
                <c:pt idx="36">
                  <c:v>Boursin</c:v>
                </c:pt>
                <c:pt idx="37">
                  <c:v>All Others</c:v>
                </c:pt>
                <c:pt idx="38">
                  <c:v>All Others</c:v>
                </c:pt>
                <c:pt idx="39">
                  <c:v>Apericube</c:v>
                </c:pt>
                <c:pt idx="40">
                  <c:v>All Others</c:v>
                </c:pt>
                <c:pt idx="41">
                  <c:v>O'Tapas Ape</c:v>
                </c:pt>
                <c:pt idx="42">
                  <c:v>O'Tapas Ape</c:v>
                </c:pt>
              </c:strCache>
            </c:strRef>
          </c:cat>
          <c:val>
            <c:numRef>
              <c:f>Sheet1!$C$2:$C$44</c:f>
              <c:numCache>
                <c:formatCode>General</c:formatCode>
                <c:ptCount val="43"/>
                <c:pt idx="0">
                  <c:v>9.6882720790848545E-2</c:v>
                </c:pt>
                <c:pt idx="1">
                  <c:v>0.18417031185569094</c:v>
                </c:pt>
                <c:pt idx="2">
                  <c:v>0.25086377029983731</c:v>
                </c:pt>
                <c:pt idx="3">
                  <c:v>0.31149014888102899</c:v>
                </c:pt>
                <c:pt idx="4">
                  <c:v>0.37131796479516516</c:v>
                </c:pt>
                <c:pt idx="5">
                  <c:v>0.42530120036945501</c:v>
                </c:pt>
                <c:pt idx="6">
                  <c:v>0.47315187394209163</c:v>
                </c:pt>
                <c:pt idx="7">
                  <c:v>0.51740292647264186</c:v>
                </c:pt>
                <c:pt idx="8">
                  <c:v>0.56078933527543773</c:v>
                </c:pt>
                <c:pt idx="9">
                  <c:v>0.60289584776361027</c:v>
                </c:pt>
                <c:pt idx="10">
                  <c:v>0.64130381725931496</c:v>
                </c:pt>
                <c:pt idx="11">
                  <c:v>0.67740334172522876</c:v>
                </c:pt>
                <c:pt idx="12">
                  <c:v>0.71209889320212549</c:v>
                </c:pt>
                <c:pt idx="13">
                  <c:v>0.74538088893800047</c:v>
                </c:pt>
                <c:pt idx="14">
                  <c:v>0.77758422615135014</c:v>
                </c:pt>
                <c:pt idx="15">
                  <c:v>0.80839556881568864</c:v>
                </c:pt>
                <c:pt idx="16">
                  <c:v>0.83577578716068945</c:v>
                </c:pt>
                <c:pt idx="17">
                  <c:v>0.85663713881384895</c:v>
                </c:pt>
                <c:pt idx="18">
                  <c:v>0.87661228554724346</c:v>
                </c:pt>
                <c:pt idx="19">
                  <c:v>0.89611128929040618</c:v>
                </c:pt>
                <c:pt idx="20">
                  <c:v>0.91277319951818714</c:v>
                </c:pt>
                <c:pt idx="21">
                  <c:v>0.92924794662087695</c:v>
                </c:pt>
                <c:pt idx="22">
                  <c:v>0.94473067925041709</c:v>
                </c:pt>
                <c:pt idx="23">
                  <c:v>0.95870183257155439</c:v>
                </c:pt>
                <c:pt idx="24">
                  <c:v>0.96779835973231776</c:v>
                </c:pt>
                <c:pt idx="25">
                  <c:v>0.97517019117290782</c:v>
                </c:pt>
                <c:pt idx="26">
                  <c:v>0.9815219586266678</c:v>
                </c:pt>
                <c:pt idx="27">
                  <c:v>0.98634218270534857</c:v>
                </c:pt>
                <c:pt idx="28">
                  <c:v>0.99025044821825192</c:v>
                </c:pt>
                <c:pt idx="29">
                  <c:v>0.99318965793468328</c:v>
                </c:pt>
                <c:pt idx="30">
                  <c:v>0.99485426181416059</c:v>
                </c:pt>
                <c:pt idx="31">
                  <c:v>0.9960619880277487</c:v>
                </c:pt>
                <c:pt idx="32">
                  <c:v>0.99716799732162065</c:v>
                </c:pt>
                <c:pt idx="33">
                  <c:v>0.99796895567667743</c:v>
                </c:pt>
                <c:pt idx="34">
                  <c:v>0.99859852251931736</c:v>
                </c:pt>
                <c:pt idx="35">
                  <c:v>0.99908534628522105</c:v>
                </c:pt>
                <c:pt idx="36">
                  <c:v>0.99945787576940248</c:v>
                </c:pt>
                <c:pt idx="37">
                  <c:v>0.99978748251022964</c:v>
                </c:pt>
                <c:pt idx="38">
                  <c:v>0.99986364542460004</c:v>
                </c:pt>
                <c:pt idx="39">
                  <c:v>0.99992413654662948</c:v>
                </c:pt>
                <c:pt idx="40">
                  <c:v>0.99996646036798342</c:v>
                </c:pt>
                <c:pt idx="41">
                  <c:v>0.99998462766865892</c:v>
                </c:pt>
                <c:pt idx="42">
                  <c:v>0.9999942104206636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9</c:f>
              <c:strCache>
                <c:ptCount val="68"/>
                <c:pt idx="0">
                  <c:v>Apericube</c:v>
                </c:pt>
                <c:pt idx="1">
                  <c:v>Apericube</c:v>
                </c:pt>
                <c:pt idx="2">
                  <c:v>Apericube</c:v>
                </c:pt>
                <c:pt idx="3">
                  <c:v>Apericube</c:v>
                </c:pt>
                <c:pt idx="4">
                  <c:v>Boursin</c:v>
                </c:pt>
                <c:pt idx="5">
                  <c:v>Apericube</c:v>
                </c:pt>
                <c:pt idx="6">
                  <c:v>Apericube</c:v>
                </c:pt>
                <c:pt idx="7">
                  <c:v>Apericube</c:v>
                </c:pt>
                <c:pt idx="8">
                  <c:v>Apericube</c:v>
                </c:pt>
                <c:pt idx="9">
                  <c:v>Aperivrais</c:v>
                </c:pt>
                <c:pt idx="10">
                  <c:v>Apericube</c:v>
                </c:pt>
                <c:pt idx="11">
                  <c:v>Aperivrais</c:v>
                </c:pt>
                <c:pt idx="12">
                  <c:v>Apericube</c:v>
                </c:pt>
                <c:pt idx="13">
                  <c:v>Apericube</c:v>
                </c:pt>
                <c:pt idx="14">
                  <c:v>Boursin</c:v>
                </c:pt>
                <c:pt idx="15">
                  <c:v>Apericube</c:v>
                </c:pt>
                <c:pt idx="16">
                  <c:v>Aperivrais</c:v>
                </c:pt>
                <c:pt idx="17">
                  <c:v>St Moret</c:v>
                </c:pt>
                <c:pt idx="18">
                  <c:v>Apericube</c:v>
                </c:pt>
                <c:pt idx="19">
                  <c:v>Aperivrais</c:v>
                </c:pt>
                <c:pt idx="20">
                  <c:v>St Moret</c:v>
                </c:pt>
                <c:pt idx="21">
                  <c:v>Leerdammer</c:v>
                </c:pt>
                <c:pt idx="22">
                  <c:v>Apericube</c:v>
                </c:pt>
                <c:pt idx="23">
                  <c:v>All Others</c:v>
                </c:pt>
                <c:pt idx="24">
                  <c:v>Apericube</c:v>
                </c:pt>
                <c:pt idx="25">
                  <c:v>Aperivrais</c:v>
                </c:pt>
                <c:pt idx="26">
                  <c:v>Aperivrais</c:v>
                </c:pt>
                <c:pt idx="27">
                  <c:v>Aperivrais</c:v>
                </c:pt>
                <c:pt idx="28">
                  <c:v>Boursin</c:v>
                </c:pt>
                <c:pt idx="29">
                  <c:v>O'Tapas Ape</c:v>
                </c:pt>
                <c:pt idx="30">
                  <c:v>All Others</c:v>
                </c:pt>
                <c:pt idx="31">
                  <c:v>O'Tapas Ape</c:v>
                </c:pt>
                <c:pt idx="32">
                  <c:v>Apericube</c:v>
                </c:pt>
                <c:pt idx="33">
                  <c:v>Richesmonts</c:v>
                </c:pt>
                <c:pt idx="34">
                  <c:v>Entremont</c:v>
                </c:pt>
                <c:pt idx="35">
                  <c:v>Aperivrais</c:v>
                </c:pt>
                <c:pt idx="36">
                  <c:v>O'Tapas Ape</c:v>
                </c:pt>
                <c:pt idx="37">
                  <c:v>Entremont</c:v>
                </c:pt>
                <c:pt idx="38">
                  <c:v>Apericube</c:v>
                </c:pt>
                <c:pt idx="39">
                  <c:v>Apericube</c:v>
                </c:pt>
                <c:pt idx="40">
                  <c:v>St Moret</c:v>
                </c:pt>
                <c:pt idx="41">
                  <c:v>O'Tapas Ape</c:v>
                </c:pt>
                <c:pt idx="42">
                  <c:v>Richesmonts</c:v>
                </c:pt>
                <c:pt idx="43">
                  <c:v>All Others</c:v>
                </c:pt>
                <c:pt idx="44">
                  <c:v>All Others</c:v>
                </c:pt>
                <c:pt idx="45">
                  <c:v>All Others</c:v>
                </c:pt>
                <c:pt idx="46">
                  <c:v>O'Tapas Ape</c:v>
                </c:pt>
                <c:pt idx="47">
                  <c:v>Apericube</c:v>
                </c:pt>
                <c:pt idx="48">
                  <c:v>All Others</c:v>
                </c:pt>
                <c:pt idx="49">
                  <c:v>All Others</c:v>
                </c:pt>
                <c:pt idx="50">
                  <c:v>All Others</c:v>
                </c:pt>
                <c:pt idx="51">
                  <c:v>Apericube</c:v>
                </c:pt>
                <c:pt idx="52">
                  <c:v>All Others</c:v>
                </c:pt>
                <c:pt idx="53">
                  <c:v>All Others</c:v>
                </c:pt>
                <c:pt idx="54">
                  <c:v>All Others</c:v>
                </c:pt>
                <c:pt idx="55">
                  <c:v>Apericube</c:v>
                </c:pt>
                <c:pt idx="56">
                  <c:v>All Others</c:v>
                </c:pt>
                <c:pt idx="57">
                  <c:v>All Others</c:v>
                </c:pt>
                <c:pt idx="58">
                  <c:v>All Others</c:v>
                </c:pt>
                <c:pt idx="59">
                  <c:v>All Others</c:v>
                </c:pt>
                <c:pt idx="60">
                  <c:v>All Others</c:v>
                </c:pt>
                <c:pt idx="61">
                  <c:v>Apericube</c:v>
                </c:pt>
                <c:pt idx="62">
                  <c:v>All Others</c:v>
                </c:pt>
                <c:pt idx="63">
                  <c:v>All Others</c:v>
                </c:pt>
                <c:pt idx="64">
                  <c:v>All Others</c:v>
                </c:pt>
                <c:pt idx="65">
                  <c:v>All Others</c:v>
                </c:pt>
                <c:pt idx="66">
                  <c:v>All Others</c:v>
                </c:pt>
                <c:pt idx="67">
                  <c:v>Boursin</c:v>
                </c:pt>
              </c:strCache>
            </c:strRef>
          </c:cat>
          <c:val>
            <c:numRef>
              <c:f>Sheet1!$B$2:$B$69</c:f>
              <c:numCache>
                <c:formatCode>General</c:formatCode>
                <c:ptCount val="68"/>
                <c:pt idx="0">
                  <c:v>1</c:v>
                </c:pt>
                <c:pt idx="1">
                  <c:v>0.99</c:v>
                </c:pt>
                <c:pt idx="2">
                  <c:v>0.99</c:v>
                </c:pt>
                <c:pt idx="3">
                  <c:v>0.97</c:v>
                </c:pt>
                <c:pt idx="4">
                  <c:v>0.99</c:v>
                </c:pt>
                <c:pt idx="5">
                  <c:v>0.93</c:v>
                </c:pt>
                <c:pt idx="6">
                  <c:v>1</c:v>
                </c:pt>
                <c:pt idx="7">
                  <c:v>0.97</c:v>
                </c:pt>
                <c:pt idx="8">
                  <c:v>0.89</c:v>
                </c:pt>
                <c:pt idx="9">
                  <c:v>1</c:v>
                </c:pt>
                <c:pt idx="10">
                  <c:v>0.96</c:v>
                </c:pt>
                <c:pt idx="11">
                  <c:v>1</c:v>
                </c:pt>
                <c:pt idx="12">
                  <c:v>0.98</c:v>
                </c:pt>
                <c:pt idx="13">
                  <c:v>0.96</c:v>
                </c:pt>
                <c:pt idx="14">
                  <c:v>0.9</c:v>
                </c:pt>
                <c:pt idx="15">
                  <c:v>0.97</c:v>
                </c:pt>
                <c:pt idx="16">
                  <c:v>0.97</c:v>
                </c:pt>
                <c:pt idx="17">
                  <c:v>0.98</c:v>
                </c:pt>
                <c:pt idx="18">
                  <c:v>0.71</c:v>
                </c:pt>
                <c:pt idx="19">
                  <c:v>0.92</c:v>
                </c:pt>
                <c:pt idx="20">
                  <c:v>0.87</c:v>
                </c:pt>
                <c:pt idx="21">
                  <c:v>0.96</c:v>
                </c:pt>
                <c:pt idx="22">
                  <c:v>0.97</c:v>
                </c:pt>
                <c:pt idx="23">
                  <c:v>0.63</c:v>
                </c:pt>
                <c:pt idx="24">
                  <c:v>0.54</c:v>
                </c:pt>
                <c:pt idx="25">
                  <c:v>0.89</c:v>
                </c:pt>
                <c:pt idx="26">
                  <c:v>0.79</c:v>
                </c:pt>
                <c:pt idx="27">
                  <c:v>0.85</c:v>
                </c:pt>
                <c:pt idx="28">
                  <c:v>0.53</c:v>
                </c:pt>
                <c:pt idx="29">
                  <c:v>0.4</c:v>
                </c:pt>
                <c:pt idx="30">
                  <c:v>0.54</c:v>
                </c:pt>
                <c:pt idx="31">
                  <c:v>0.37</c:v>
                </c:pt>
                <c:pt idx="32">
                  <c:v>0.75</c:v>
                </c:pt>
                <c:pt idx="33">
                  <c:v>0.74</c:v>
                </c:pt>
                <c:pt idx="34">
                  <c:v>0.68</c:v>
                </c:pt>
                <c:pt idx="35">
                  <c:v>0.64</c:v>
                </c:pt>
                <c:pt idx="36">
                  <c:v>0.28000000000000003</c:v>
                </c:pt>
                <c:pt idx="37">
                  <c:v>0.68</c:v>
                </c:pt>
                <c:pt idx="38">
                  <c:v>7.0000000000000007E-2</c:v>
                </c:pt>
                <c:pt idx="39">
                  <c:v>0.91</c:v>
                </c:pt>
                <c:pt idx="40">
                  <c:v>0.69</c:v>
                </c:pt>
                <c:pt idx="41">
                  <c:v>0.23</c:v>
                </c:pt>
                <c:pt idx="42">
                  <c:v>0.57999999999999996</c:v>
                </c:pt>
                <c:pt idx="43">
                  <c:v>0.1</c:v>
                </c:pt>
                <c:pt idx="44">
                  <c:v>0.06</c:v>
                </c:pt>
                <c:pt idx="45">
                  <c:v>7.0000000000000007E-2</c:v>
                </c:pt>
                <c:pt idx="46">
                  <c:v>0.16</c:v>
                </c:pt>
                <c:pt idx="47">
                  <c:v>0.23</c:v>
                </c:pt>
                <c:pt idx="48">
                  <c:v>0.06</c:v>
                </c:pt>
                <c:pt idx="49">
                  <c:v>0.1</c:v>
                </c:pt>
                <c:pt idx="50">
                  <c:v>0.03</c:v>
                </c:pt>
                <c:pt idx="51">
                  <c:v>0.16</c:v>
                </c:pt>
                <c:pt idx="52">
                  <c:v>7.0000000000000007E-2</c:v>
                </c:pt>
                <c:pt idx="53">
                  <c:v>0.11</c:v>
                </c:pt>
                <c:pt idx="54">
                  <c:v>0.05</c:v>
                </c:pt>
                <c:pt idx="55">
                  <c:v>0.12</c:v>
                </c:pt>
                <c:pt idx="56">
                  <c:v>0.03</c:v>
                </c:pt>
                <c:pt idx="57">
                  <c:v>0.04</c:v>
                </c:pt>
                <c:pt idx="58">
                  <c:v>0.08</c:v>
                </c:pt>
                <c:pt idx="59">
                  <c:v>0.02</c:v>
                </c:pt>
                <c:pt idx="60">
                  <c:v>0.03</c:v>
                </c:pt>
                <c:pt idx="61">
                  <c:v>0.11</c:v>
                </c:pt>
                <c:pt idx="62">
                  <c:v>0.06</c:v>
                </c:pt>
                <c:pt idx="63">
                  <c:v>0.01</c:v>
                </c:pt>
                <c:pt idx="64">
                  <c:v>0.02</c:v>
                </c:pt>
                <c:pt idx="65">
                  <c:v>0.01</c:v>
                </c:pt>
                <c:pt idx="66">
                  <c:v>0.02</c:v>
                </c:pt>
                <c:pt idx="67">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9</c:f>
              <c:strCache>
                <c:ptCount val="68"/>
                <c:pt idx="0">
                  <c:v>Apericube</c:v>
                </c:pt>
                <c:pt idx="1">
                  <c:v>Apericube</c:v>
                </c:pt>
                <c:pt idx="2">
                  <c:v>Apericube</c:v>
                </c:pt>
                <c:pt idx="3">
                  <c:v>Apericube</c:v>
                </c:pt>
                <c:pt idx="4">
                  <c:v>Boursin</c:v>
                </c:pt>
                <c:pt idx="5">
                  <c:v>Apericube</c:v>
                </c:pt>
                <c:pt idx="6">
                  <c:v>Apericube</c:v>
                </c:pt>
                <c:pt idx="7">
                  <c:v>Apericube</c:v>
                </c:pt>
                <c:pt idx="8">
                  <c:v>Apericube</c:v>
                </c:pt>
                <c:pt idx="9">
                  <c:v>Aperivrais</c:v>
                </c:pt>
                <c:pt idx="10">
                  <c:v>Apericube</c:v>
                </c:pt>
                <c:pt idx="11">
                  <c:v>Aperivrais</c:v>
                </c:pt>
                <c:pt idx="12">
                  <c:v>Apericube</c:v>
                </c:pt>
                <c:pt idx="13">
                  <c:v>Apericube</c:v>
                </c:pt>
                <c:pt idx="14">
                  <c:v>Boursin</c:v>
                </c:pt>
                <c:pt idx="15">
                  <c:v>Apericube</c:v>
                </c:pt>
                <c:pt idx="16">
                  <c:v>Aperivrais</c:v>
                </c:pt>
                <c:pt idx="17">
                  <c:v>St Moret</c:v>
                </c:pt>
                <c:pt idx="18">
                  <c:v>Apericube</c:v>
                </c:pt>
                <c:pt idx="19">
                  <c:v>Aperivrais</c:v>
                </c:pt>
                <c:pt idx="20">
                  <c:v>St Moret</c:v>
                </c:pt>
                <c:pt idx="21">
                  <c:v>Leerdammer</c:v>
                </c:pt>
                <c:pt idx="22">
                  <c:v>Apericube</c:v>
                </c:pt>
                <c:pt idx="23">
                  <c:v>All Others</c:v>
                </c:pt>
                <c:pt idx="24">
                  <c:v>Apericube</c:v>
                </c:pt>
                <c:pt idx="25">
                  <c:v>Aperivrais</c:v>
                </c:pt>
                <c:pt idx="26">
                  <c:v>Aperivrais</c:v>
                </c:pt>
                <c:pt idx="27">
                  <c:v>Aperivrais</c:v>
                </c:pt>
                <c:pt idx="28">
                  <c:v>Boursin</c:v>
                </c:pt>
                <c:pt idx="29">
                  <c:v>O'Tapas Ape</c:v>
                </c:pt>
                <c:pt idx="30">
                  <c:v>All Others</c:v>
                </c:pt>
                <c:pt idx="31">
                  <c:v>O'Tapas Ape</c:v>
                </c:pt>
                <c:pt idx="32">
                  <c:v>Apericube</c:v>
                </c:pt>
                <c:pt idx="33">
                  <c:v>Richesmonts</c:v>
                </c:pt>
                <c:pt idx="34">
                  <c:v>Entremont</c:v>
                </c:pt>
                <c:pt idx="35">
                  <c:v>Aperivrais</c:v>
                </c:pt>
                <c:pt idx="36">
                  <c:v>O'Tapas Ape</c:v>
                </c:pt>
                <c:pt idx="37">
                  <c:v>Entremont</c:v>
                </c:pt>
                <c:pt idx="38">
                  <c:v>Apericube</c:v>
                </c:pt>
                <c:pt idx="39">
                  <c:v>Apericube</c:v>
                </c:pt>
                <c:pt idx="40">
                  <c:v>St Moret</c:v>
                </c:pt>
                <c:pt idx="41">
                  <c:v>O'Tapas Ape</c:v>
                </c:pt>
                <c:pt idx="42">
                  <c:v>Richesmonts</c:v>
                </c:pt>
                <c:pt idx="43">
                  <c:v>All Others</c:v>
                </c:pt>
                <c:pt idx="44">
                  <c:v>All Others</c:v>
                </c:pt>
                <c:pt idx="45">
                  <c:v>All Others</c:v>
                </c:pt>
                <c:pt idx="46">
                  <c:v>O'Tapas Ape</c:v>
                </c:pt>
                <c:pt idx="47">
                  <c:v>Apericube</c:v>
                </c:pt>
                <c:pt idx="48">
                  <c:v>All Others</c:v>
                </c:pt>
                <c:pt idx="49">
                  <c:v>All Others</c:v>
                </c:pt>
                <c:pt idx="50">
                  <c:v>All Others</c:v>
                </c:pt>
                <c:pt idx="51">
                  <c:v>Apericube</c:v>
                </c:pt>
                <c:pt idx="52">
                  <c:v>All Others</c:v>
                </c:pt>
                <c:pt idx="53">
                  <c:v>All Others</c:v>
                </c:pt>
                <c:pt idx="54">
                  <c:v>All Others</c:v>
                </c:pt>
                <c:pt idx="55">
                  <c:v>Apericube</c:v>
                </c:pt>
                <c:pt idx="56">
                  <c:v>All Others</c:v>
                </c:pt>
                <c:pt idx="57">
                  <c:v>All Others</c:v>
                </c:pt>
                <c:pt idx="58">
                  <c:v>All Others</c:v>
                </c:pt>
                <c:pt idx="59">
                  <c:v>All Others</c:v>
                </c:pt>
                <c:pt idx="60">
                  <c:v>All Others</c:v>
                </c:pt>
                <c:pt idx="61">
                  <c:v>Apericube</c:v>
                </c:pt>
                <c:pt idx="62">
                  <c:v>All Others</c:v>
                </c:pt>
                <c:pt idx="63">
                  <c:v>All Others</c:v>
                </c:pt>
                <c:pt idx="64">
                  <c:v>All Others</c:v>
                </c:pt>
                <c:pt idx="65">
                  <c:v>All Others</c:v>
                </c:pt>
                <c:pt idx="66">
                  <c:v>All Others</c:v>
                </c:pt>
                <c:pt idx="67">
                  <c:v>Boursin</c:v>
                </c:pt>
              </c:strCache>
            </c:strRef>
          </c:cat>
          <c:val>
            <c:numRef>
              <c:f>Sheet1!$C$2:$C$69</c:f>
              <c:numCache>
                <c:formatCode>General</c:formatCode>
                <c:ptCount val="68"/>
                <c:pt idx="0">
                  <c:v>8.7961103249536085E-2</c:v>
                </c:pt>
                <c:pt idx="1">
                  <c:v>0.16370135035245845</c:v>
                </c:pt>
                <c:pt idx="2">
                  <c:v>0.23063306589395638</c:v>
                </c:pt>
                <c:pt idx="3">
                  <c:v>0.28065033844353937</c:v>
                </c:pt>
                <c:pt idx="4">
                  <c:v>0.33031723837946453</c:v>
                </c:pt>
                <c:pt idx="5">
                  <c:v>0.37916222744174555</c:v>
                </c:pt>
                <c:pt idx="6">
                  <c:v>0.425439067272948</c:v>
                </c:pt>
                <c:pt idx="7">
                  <c:v>0.46831811302200244</c:v>
                </c:pt>
                <c:pt idx="8">
                  <c:v>0.50853971725515978</c:v>
                </c:pt>
                <c:pt idx="9">
                  <c:v>0.58264973566202605</c:v>
                </c:pt>
                <c:pt idx="10">
                  <c:v>0.61788034646343948</c:v>
                </c:pt>
                <c:pt idx="11">
                  <c:v>0.65300455648451805</c:v>
                </c:pt>
                <c:pt idx="12">
                  <c:v>0.6842249828094773</c:v>
                </c:pt>
                <c:pt idx="13">
                  <c:v>0.71425882950704556</c:v>
                </c:pt>
                <c:pt idx="14">
                  <c:v>0.73872163446597816</c:v>
                </c:pt>
                <c:pt idx="15">
                  <c:v>0.76021834190086157</c:v>
                </c:pt>
                <c:pt idx="16">
                  <c:v>0.78071174153703649</c:v>
                </c:pt>
                <c:pt idx="17">
                  <c:v>0.80076477318587824</c:v>
                </c:pt>
                <c:pt idx="18">
                  <c:v>0.82001839280449473</c:v>
                </c:pt>
                <c:pt idx="19">
                  <c:v>0.83655832379866701</c:v>
                </c:pt>
                <c:pt idx="20">
                  <c:v>0.85288826558759689</c:v>
                </c:pt>
                <c:pt idx="21">
                  <c:v>0.86457735219548848</c:v>
                </c:pt>
                <c:pt idx="22">
                  <c:v>0.87570209281429101</c:v>
                </c:pt>
                <c:pt idx="23">
                  <c:v>0.88605413877942807</c:v>
                </c:pt>
                <c:pt idx="24">
                  <c:v>0.89607362371528054</c:v>
                </c:pt>
                <c:pt idx="25">
                  <c:v>0.90602444030611518</c:v>
                </c:pt>
                <c:pt idx="26">
                  <c:v>0.91495296569910667</c:v>
                </c:pt>
                <c:pt idx="27">
                  <c:v>0.92247179793413714</c:v>
                </c:pt>
                <c:pt idx="28">
                  <c:v>0.92980759270343727</c:v>
                </c:pt>
                <c:pt idx="29">
                  <c:v>0.93654365267785422</c:v>
                </c:pt>
                <c:pt idx="30">
                  <c:v>0.94237296238990187</c:v>
                </c:pt>
                <c:pt idx="31">
                  <c:v>0.947928536173687</c:v>
                </c:pt>
                <c:pt idx="32">
                  <c:v>0.95344309644082326</c:v>
                </c:pt>
                <c:pt idx="33">
                  <c:v>0.95861220571629957</c:v>
                </c:pt>
                <c:pt idx="34">
                  <c:v>0.96286378403360173</c:v>
                </c:pt>
                <c:pt idx="35">
                  <c:v>0.96641461712358823</c:v>
                </c:pt>
                <c:pt idx="36">
                  <c:v>0.96917236598306089</c:v>
                </c:pt>
                <c:pt idx="37">
                  <c:v>0.97188839823702788</c:v>
                </c:pt>
                <c:pt idx="38">
                  <c:v>0.97456130770777538</c:v>
                </c:pt>
                <c:pt idx="39">
                  <c:v>0.9772140619646269</c:v>
                </c:pt>
                <c:pt idx="40">
                  <c:v>0.97963831234300591</c:v>
                </c:pt>
                <c:pt idx="41">
                  <c:v>0.98172789242552982</c:v>
                </c:pt>
                <c:pt idx="42">
                  <c:v>0.98353740878007967</c:v>
                </c:pt>
                <c:pt idx="43">
                  <c:v>0.98515451315080815</c:v>
                </c:pt>
                <c:pt idx="44">
                  <c:v>0.9866190472396027</c:v>
                </c:pt>
                <c:pt idx="45">
                  <c:v>0.98807069136602177</c:v>
                </c:pt>
                <c:pt idx="46">
                  <c:v>0.98928867562901823</c:v>
                </c:pt>
                <c:pt idx="47">
                  <c:v>0.99037658845349963</c:v>
                </c:pt>
                <c:pt idx="48">
                  <c:v>0.99137966188925586</c:v>
                </c:pt>
                <c:pt idx="49">
                  <c:v>0.99304973228719939</c:v>
                </c:pt>
                <c:pt idx="50">
                  <c:v>0.99468933550134664</c:v>
                </c:pt>
                <c:pt idx="51">
                  <c:v>0.99513321893296403</c:v>
                </c:pt>
                <c:pt idx="52">
                  <c:v>0.99554194792173945</c:v>
                </c:pt>
                <c:pt idx="53">
                  <c:v>0.99591974100081393</c:v>
                </c:pt>
                <c:pt idx="54">
                  <c:v>0.9962375371641049</c:v>
                </c:pt>
                <c:pt idx="55">
                  <c:v>0.99686797350573675</c:v>
                </c:pt>
                <c:pt idx="56">
                  <c:v>0.99717639515093659</c:v>
                </c:pt>
                <c:pt idx="57">
                  <c:v>0.99775433419125781</c:v>
                </c:pt>
                <c:pt idx="58">
                  <c:v>0.99854062189615544</c:v>
                </c:pt>
                <c:pt idx="59">
                  <c:v>0.9987665477821529</c:v>
                </c:pt>
                <c:pt idx="60">
                  <c:v>0.99895544432169014</c:v>
                </c:pt>
                <c:pt idx="61">
                  <c:v>0.99912535746209274</c:v>
                </c:pt>
                <c:pt idx="62">
                  <c:v>0.99926456905574679</c:v>
                </c:pt>
                <c:pt idx="63">
                  <c:v>0.99938292234664794</c:v>
                </c:pt>
                <c:pt idx="64">
                  <c:v>0.99970517140603221</c:v>
                </c:pt>
                <c:pt idx="65">
                  <c:v>0.99979141697247109</c:v>
                </c:pt>
                <c:pt idx="66">
                  <c:v>0.99989055250128533</c:v>
                </c:pt>
                <c:pt idx="67">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7</c:f>
              <c:strCache>
                <c:ptCount val="56"/>
                <c:pt idx="0">
                  <c:v>Apericube</c:v>
                </c:pt>
                <c:pt idx="1">
                  <c:v>Apericube</c:v>
                </c:pt>
                <c:pt idx="2">
                  <c:v>Apericube</c:v>
                </c:pt>
                <c:pt idx="3">
                  <c:v>Apericube</c:v>
                </c:pt>
                <c:pt idx="4">
                  <c:v>Boursin</c:v>
                </c:pt>
                <c:pt idx="5">
                  <c:v>Apericube</c:v>
                </c:pt>
                <c:pt idx="6">
                  <c:v>Aperivrais</c:v>
                </c:pt>
                <c:pt idx="7">
                  <c:v>Apericube</c:v>
                </c:pt>
                <c:pt idx="8">
                  <c:v>Apericube</c:v>
                </c:pt>
                <c:pt idx="9">
                  <c:v>Aperivrais</c:v>
                </c:pt>
                <c:pt idx="10">
                  <c:v>Boursin</c:v>
                </c:pt>
                <c:pt idx="11">
                  <c:v>Apericube</c:v>
                </c:pt>
                <c:pt idx="12">
                  <c:v>Aperivrais</c:v>
                </c:pt>
                <c:pt idx="13">
                  <c:v>Apericube</c:v>
                </c:pt>
                <c:pt idx="14">
                  <c:v>St Moret</c:v>
                </c:pt>
                <c:pt idx="15">
                  <c:v>Apericube</c:v>
                </c:pt>
                <c:pt idx="16">
                  <c:v>Leerdammer</c:v>
                </c:pt>
                <c:pt idx="17">
                  <c:v>St Moret</c:v>
                </c:pt>
                <c:pt idx="18">
                  <c:v>Aperivrais</c:v>
                </c:pt>
                <c:pt idx="19">
                  <c:v>All Others</c:v>
                </c:pt>
                <c:pt idx="20">
                  <c:v>Aperivrais</c:v>
                </c:pt>
                <c:pt idx="21">
                  <c:v>All Others</c:v>
                </c:pt>
                <c:pt idx="22">
                  <c:v>Boursin</c:v>
                </c:pt>
                <c:pt idx="23">
                  <c:v>Entremont</c:v>
                </c:pt>
                <c:pt idx="24">
                  <c:v>Apericube</c:v>
                </c:pt>
                <c:pt idx="25">
                  <c:v>All Others</c:v>
                </c:pt>
                <c:pt idx="26">
                  <c:v>O'Tapas Ape</c:v>
                </c:pt>
                <c:pt idx="27">
                  <c:v>Entremont</c:v>
                </c:pt>
                <c:pt idx="28">
                  <c:v>Richesmonts</c:v>
                </c:pt>
                <c:pt idx="29">
                  <c:v>Apericube</c:v>
                </c:pt>
                <c:pt idx="30">
                  <c:v>O'Tapas Ape</c:v>
                </c:pt>
                <c:pt idx="31">
                  <c:v>Apericube</c:v>
                </c:pt>
                <c:pt idx="32">
                  <c:v>Aperivrais</c:v>
                </c:pt>
                <c:pt idx="33">
                  <c:v>Apericube</c:v>
                </c:pt>
                <c:pt idx="34">
                  <c:v>All Others</c:v>
                </c:pt>
                <c:pt idx="35">
                  <c:v>Apericube</c:v>
                </c:pt>
                <c:pt idx="36">
                  <c:v>O'Tapas Ape</c:v>
                </c:pt>
                <c:pt idx="37">
                  <c:v>Aperivrais</c:v>
                </c:pt>
                <c:pt idx="38">
                  <c:v>Apericube</c:v>
                </c:pt>
                <c:pt idx="39">
                  <c:v>Apericube</c:v>
                </c:pt>
                <c:pt idx="40">
                  <c:v>Apericube</c:v>
                </c:pt>
                <c:pt idx="41">
                  <c:v>Apericube</c:v>
                </c:pt>
                <c:pt idx="42">
                  <c:v>Apericube</c:v>
                </c:pt>
                <c:pt idx="43">
                  <c:v>Aperivrais</c:v>
                </c:pt>
                <c:pt idx="44">
                  <c:v>All Others</c:v>
                </c:pt>
                <c:pt idx="45">
                  <c:v>O'Tapas Ape</c:v>
                </c:pt>
                <c:pt idx="46">
                  <c:v>All Others</c:v>
                </c:pt>
                <c:pt idx="47">
                  <c:v>All Others</c:v>
                </c:pt>
                <c:pt idx="48">
                  <c:v>Apericube</c:v>
                </c:pt>
                <c:pt idx="49">
                  <c:v>All Others</c:v>
                </c:pt>
                <c:pt idx="50">
                  <c:v>All Others</c:v>
                </c:pt>
                <c:pt idx="51">
                  <c:v>All Others</c:v>
                </c:pt>
                <c:pt idx="52">
                  <c:v>All Others</c:v>
                </c:pt>
                <c:pt idx="53">
                  <c:v>Leerdammer</c:v>
                </c:pt>
                <c:pt idx="54">
                  <c:v>St Moret</c:v>
                </c:pt>
                <c:pt idx="55">
                  <c:v>Apericube</c:v>
                </c:pt>
              </c:strCache>
            </c:strRef>
          </c:cat>
          <c:val>
            <c:numRef>
              <c:f>Sheet1!$B$2:$B$57</c:f>
              <c:numCache>
                <c:formatCode>General</c:formatCode>
                <c:ptCount val="56"/>
                <c:pt idx="0">
                  <c:v>0.95</c:v>
                </c:pt>
                <c:pt idx="1">
                  <c:v>0.95</c:v>
                </c:pt>
                <c:pt idx="2">
                  <c:v>0.94</c:v>
                </c:pt>
                <c:pt idx="3">
                  <c:v>0.83</c:v>
                </c:pt>
                <c:pt idx="4">
                  <c:v>0.94</c:v>
                </c:pt>
                <c:pt idx="5">
                  <c:v>0.83</c:v>
                </c:pt>
                <c:pt idx="6">
                  <c:v>0.99</c:v>
                </c:pt>
                <c:pt idx="7">
                  <c:v>0.93</c:v>
                </c:pt>
                <c:pt idx="8">
                  <c:v>0.74</c:v>
                </c:pt>
                <c:pt idx="9">
                  <c:v>0.99</c:v>
                </c:pt>
                <c:pt idx="10">
                  <c:v>0.79</c:v>
                </c:pt>
                <c:pt idx="11">
                  <c:v>0.66</c:v>
                </c:pt>
                <c:pt idx="12">
                  <c:v>0.91</c:v>
                </c:pt>
                <c:pt idx="13">
                  <c:v>0.7</c:v>
                </c:pt>
                <c:pt idx="14">
                  <c:v>0.63</c:v>
                </c:pt>
                <c:pt idx="15">
                  <c:v>0.33</c:v>
                </c:pt>
                <c:pt idx="16">
                  <c:v>0.85</c:v>
                </c:pt>
                <c:pt idx="17">
                  <c:v>0.56999999999999995</c:v>
                </c:pt>
                <c:pt idx="18">
                  <c:v>0.66</c:v>
                </c:pt>
                <c:pt idx="19">
                  <c:v>0.46</c:v>
                </c:pt>
                <c:pt idx="20">
                  <c:v>0.56999999999999995</c:v>
                </c:pt>
                <c:pt idx="21">
                  <c:v>0.18</c:v>
                </c:pt>
                <c:pt idx="22">
                  <c:v>0.28999999999999998</c:v>
                </c:pt>
                <c:pt idx="23">
                  <c:v>0.43</c:v>
                </c:pt>
                <c:pt idx="24">
                  <c:v>0.09</c:v>
                </c:pt>
                <c:pt idx="25">
                  <c:v>0.03</c:v>
                </c:pt>
                <c:pt idx="26">
                  <c:v>0.2</c:v>
                </c:pt>
                <c:pt idx="27">
                  <c:v>0.35</c:v>
                </c:pt>
                <c:pt idx="28">
                  <c:v>0.35</c:v>
                </c:pt>
                <c:pt idx="29">
                  <c:v>0.09</c:v>
                </c:pt>
                <c:pt idx="30">
                  <c:v>0.06</c:v>
                </c:pt>
                <c:pt idx="31">
                  <c:v>0.03</c:v>
                </c:pt>
                <c:pt idx="32">
                  <c:v>0.39</c:v>
                </c:pt>
                <c:pt idx="33">
                  <c:v>7.0000000000000007E-2</c:v>
                </c:pt>
                <c:pt idx="34">
                  <c:v>0.02</c:v>
                </c:pt>
                <c:pt idx="35">
                  <c:v>0.06</c:v>
                </c:pt>
                <c:pt idx="36">
                  <c:v>7.0000000000000007E-2</c:v>
                </c:pt>
                <c:pt idx="37">
                  <c:v>0.34</c:v>
                </c:pt>
                <c:pt idx="38">
                  <c:v>0.55000000000000004</c:v>
                </c:pt>
                <c:pt idx="39">
                  <c:v>0.08</c:v>
                </c:pt>
                <c:pt idx="40">
                  <c:v>0.11</c:v>
                </c:pt>
                <c:pt idx="41">
                  <c:v>0.09</c:v>
                </c:pt>
                <c:pt idx="42">
                  <c:v>0.09</c:v>
                </c:pt>
                <c:pt idx="43">
                  <c:v>0.27</c:v>
                </c:pt>
                <c:pt idx="44">
                  <c:v>0.02</c:v>
                </c:pt>
                <c:pt idx="45">
                  <c:v>0.06</c:v>
                </c:pt>
                <c:pt idx="46">
                  <c:v>0.03</c:v>
                </c:pt>
                <c:pt idx="47">
                  <c:v>0.01</c:v>
                </c:pt>
                <c:pt idx="48">
                  <c:v>0.03</c:v>
                </c:pt>
                <c:pt idx="49">
                  <c:v>0.01</c:v>
                </c:pt>
                <c:pt idx="50">
                  <c:v>0.01</c:v>
                </c:pt>
                <c:pt idx="51">
                  <c:v>0.01</c:v>
                </c:pt>
                <c:pt idx="52">
                  <c:v>0.01</c:v>
                </c:pt>
                <c:pt idx="53">
                  <c:v>0.01</c:v>
                </c:pt>
                <c:pt idx="54">
                  <c:v>0.01</c:v>
                </c:pt>
                <c:pt idx="5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7</c:f>
              <c:strCache>
                <c:ptCount val="56"/>
                <c:pt idx="0">
                  <c:v>Apericube</c:v>
                </c:pt>
                <c:pt idx="1">
                  <c:v>Apericube</c:v>
                </c:pt>
                <c:pt idx="2">
                  <c:v>Apericube</c:v>
                </c:pt>
                <c:pt idx="3">
                  <c:v>Apericube</c:v>
                </c:pt>
                <c:pt idx="4">
                  <c:v>Boursin</c:v>
                </c:pt>
                <c:pt idx="5">
                  <c:v>Apericube</c:v>
                </c:pt>
                <c:pt idx="6">
                  <c:v>Aperivrais</c:v>
                </c:pt>
                <c:pt idx="7">
                  <c:v>Apericube</c:v>
                </c:pt>
                <c:pt idx="8">
                  <c:v>Apericube</c:v>
                </c:pt>
                <c:pt idx="9">
                  <c:v>Aperivrais</c:v>
                </c:pt>
                <c:pt idx="10">
                  <c:v>Boursin</c:v>
                </c:pt>
                <c:pt idx="11">
                  <c:v>Apericube</c:v>
                </c:pt>
                <c:pt idx="12">
                  <c:v>Aperivrais</c:v>
                </c:pt>
                <c:pt idx="13">
                  <c:v>Apericube</c:v>
                </c:pt>
                <c:pt idx="14">
                  <c:v>St Moret</c:v>
                </c:pt>
                <c:pt idx="15">
                  <c:v>Apericube</c:v>
                </c:pt>
                <c:pt idx="16">
                  <c:v>Leerdammer</c:v>
                </c:pt>
                <c:pt idx="17">
                  <c:v>St Moret</c:v>
                </c:pt>
                <c:pt idx="18">
                  <c:v>Aperivrais</c:v>
                </c:pt>
                <c:pt idx="19">
                  <c:v>All Others</c:v>
                </c:pt>
                <c:pt idx="20">
                  <c:v>Aperivrais</c:v>
                </c:pt>
                <c:pt idx="21">
                  <c:v>All Others</c:v>
                </c:pt>
                <c:pt idx="22">
                  <c:v>Boursin</c:v>
                </c:pt>
                <c:pt idx="23">
                  <c:v>Entremont</c:v>
                </c:pt>
                <c:pt idx="24">
                  <c:v>Apericube</c:v>
                </c:pt>
                <c:pt idx="25">
                  <c:v>All Others</c:v>
                </c:pt>
                <c:pt idx="26">
                  <c:v>O'Tapas Ape</c:v>
                </c:pt>
                <c:pt idx="27">
                  <c:v>Entremont</c:v>
                </c:pt>
                <c:pt idx="28">
                  <c:v>Richesmonts</c:v>
                </c:pt>
                <c:pt idx="29">
                  <c:v>Apericube</c:v>
                </c:pt>
                <c:pt idx="30">
                  <c:v>O'Tapas Ape</c:v>
                </c:pt>
                <c:pt idx="31">
                  <c:v>Apericube</c:v>
                </c:pt>
                <c:pt idx="32">
                  <c:v>Aperivrais</c:v>
                </c:pt>
                <c:pt idx="33">
                  <c:v>Apericube</c:v>
                </c:pt>
                <c:pt idx="34">
                  <c:v>All Others</c:v>
                </c:pt>
                <c:pt idx="35">
                  <c:v>Apericube</c:v>
                </c:pt>
                <c:pt idx="36">
                  <c:v>O'Tapas Ape</c:v>
                </c:pt>
                <c:pt idx="37">
                  <c:v>Aperivrais</c:v>
                </c:pt>
                <c:pt idx="38">
                  <c:v>Apericube</c:v>
                </c:pt>
                <c:pt idx="39">
                  <c:v>Apericube</c:v>
                </c:pt>
                <c:pt idx="40">
                  <c:v>Apericube</c:v>
                </c:pt>
                <c:pt idx="41">
                  <c:v>Apericube</c:v>
                </c:pt>
                <c:pt idx="42">
                  <c:v>Apericube</c:v>
                </c:pt>
                <c:pt idx="43">
                  <c:v>Aperivrais</c:v>
                </c:pt>
                <c:pt idx="44">
                  <c:v>All Others</c:v>
                </c:pt>
                <c:pt idx="45">
                  <c:v>O'Tapas Ape</c:v>
                </c:pt>
                <c:pt idx="46">
                  <c:v>All Others</c:v>
                </c:pt>
                <c:pt idx="47">
                  <c:v>All Others</c:v>
                </c:pt>
                <c:pt idx="48">
                  <c:v>Apericube</c:v>
                </c:pt>
                <c:pt idx="49">
                  <c:v>All Others</c:v>
                </c:pt>
                <c:pt idx="50">
                  <c:v>All Others</c:v>
                </c:pt>
                <c:pt idx="51">
                  <c:v>All Others</c:v>
                </c:pt>
                <c:pt idx="52">
                  <c:v>All Others</c:v>
                </c:pt>
                <c:pt idx="53">
                  <c:v>Leerdammer</c:v>
                </c:pt>
                <c:pt idx="54">
                  <c:v>St Moret</c:v>
                </c:pt>
                <c:pt idx="55">
                  <c:v>Apericube</c:v>
                </c:pt>
              </c:strCache>
            </c:strRef>
          </c:cat>
          <c:val>
            <c:numRef>
              <c:f>Sheet1!$C$2:$C$57</c:f>
              <c:numCache>
                <c:formatCode>General</c:formatCode>
                <c:ptCount val="56"/>
                <c:pt idx="0">
                  <c:v>0.12528418452402951</c:v>
                </c:pt>
                <c:pt idx="1">
                  <c:v>0.24177278472174424</c:v>
                </c:pt>
                <c:pt idx="2">
                  <c:v>0.33944550904909027</c:v>
                </c:pt>
                <c:pt idx="3">
                  <c:v>0.39701051048425945</c:v>
                </c:pt>
                <c:pt idx="4">
                  <c:v>0.45375203241866835</c:v>
                </c:pt>
                <c:pt idx="5">
                  <c:v>0.50340379641533017</c:v>
                </c:pt>
                <c:pt idx="6">
                  <c:v>0.5522112781503955</c:v>
                </c:pt>
                <c:pt idx="7">
                  <c:v>0.64832954937015208</c:v>
                </c:pt>
                <c:pt idx="8">
                  <c:v>0.69483522774928952</c:v>
                </c:pt>
                <c:pt idx="9">
                  <c:v>0.7408396481146613</c:v>
                </c:pt>
                <c:pt idx="10">
                  <c:v>0.77030498839139561</c:v>
                </c:pt>
                <c:pt idx="11">
                  <c:v>0.79967074098327573</c:v>
                </c:pt>
                <c:pt idx="12">
                  <c:v>0.82739528852876021</c:v>
                </c:pt>
                <c:pt idx="13">
                  <c:v>0.84509290535120041</c:v>
                </c:pt>
                <c:pt idx="14">
                  <c:v>0.86187874159230971</c:v>
                </c:pt>
                <c:pt idx="15">
                  <c:v>0.87774571546116509</c:v>
                </c:pt>
                <c:pt idx="16">
                  <c:v>0.89189579764313565</c:v>
                </c:pt>
                <c:pt idx="17">
                  <c:v>0.90559552218359929</c:v>
                </c:pt>
                <c:pt idx="18">
                  <c:v>0.91899936064706311</c:v>
                </c:pt>
                <c:pt idx="19">
                  <c:v>0.92641554488516531</c:v>
                </c:pt>
                <c:pt idx="20">
                  <c:v>0.93360489050776652</c:v>
                </c:pt>
                <c:pt idx="21">
                  <c:v>0.93927696242512382</c:v>
                </c:pt>
                <c:pt idx="22">
                  <c:v>0.94394519047915171</c:v>
                </c:pt>
                <c:pt idx="23">
                  <c:v>0.94857247692940627</c:v>
                </c:pt>
                <c:pt idx="24">
                  <c:v>0.95285120648267141</c:v>
                </c:pt>
                <c:pt idx="25">
                  <c:v>0.95676876469886563</c:v>
                </c:pt>
                <c:pt idx="26">
                  <c:v>0.96068499507926186</c:v>
                </c:pt>
                <c:pt idx="27">
                  <c:v>0.96384989170392543</c:v>
                </c:pt>
                <c:pt idx="28">
                  <c:v>0.96670673042344024</c:v>
                </c:pt>
                <c:pt idx="29">
                  <c:v>0.96924975728268148</c:v>
                </c:pt>
                <c:pt idx="30">
                  <c:v>0.97153872489256154</c:v>
                </c:pt>
                <c:pt idx="31">
                  <c:v>0.97379936533874978</c:v>
                </c:pt>
                <c:pt idx="32">
                  <c:v>0.97584910119901369</c:v>
                </c:pt>
                <c:pt idx="33">
                  <c:v>0.9778173964636635</c:v>
                </c:pt>
                <c:pt idx="34">
                  <c:v>0.97958695897053782</c:v>
                </c:pt>
                <c:pt idx="35">
                  <c:v>0.98123878670331799</c:v>
                </c:pt>
                <c:pt idx="36">
                  <c:v>0.98288928660030006</c:v>
                </c:pt>
                <c:pt idx="37">
                  <c:v>0.98452672944526798</c:v>
                </c:pt>
                <c:pt idx="38">
                  <c:v>0.98610574751512148</c:v>
                </c:pt>
                <c:pt idx="39">
                  <c:v>0.98752431875937663</c:v>
                </c:pt>
                <c:pt idx="40">
                  <c:v>0.98886521160944563</c:v>
                </c:pt>
                <c:pt idx="41">
                  <c:v>0.99016582677364029</c:v>
                </c:pt>
                <c:pt idx="42">
                  <c:v>0.99126947962779011</c:v>
                </c:pt>
                <c:pt idx="43">
                  <c:v>0.99229235580422492</c:v>
                </c:pt>
                <c:pt idx="44">
                  <c:v>0.99327561821268451</c:v>
                </c:pt>
                <c:pt idx="45">
                  <c:v>0.99419182491334235</c:v>
                </c:pt>
                <c:pt idx="46">
                  <c:v>0.99506996698778927</c:v>
                </c:pt>
                <c:pt idx="47">
                  <c:v>0.99562832194087125</c:v>
                </c:pt>
                <c:pt idx="48">
                  <c:v>0.99655249565631743</c:v>
                </c:pt>
                <c:pt idx="49">
                  <c:v>0.9969105687098595</c:v>
                </c:pt>
                <c:pt idx="50">
                  <c:v>0.99726797784550258</c:v>
                </c:pt>
                <c:pt idx="51">
                  <c:v>0.99825101894799584</c:v>
                </c:pt>
                <c:pt idx="52">
                  <c:v>0.99920418374503284</c:v>
                </c:pt>
                <c:pt idx="53">
                  <c:v>0.99930487795971867</c:v>
                </c:pt>
                <c:pt idx="54">
                  <c:v>0.99954942105252709</c:v>
                </c:pt>
                <c:pt idx="55">
                  <c:v>0.9997209331764425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8</c:f>
              <c:strCache>
                <c:ptCount val="17"/>
                <c:pt idx="0">
                  <c:v>Aperivrais</c:v>
                </c:pt>
                <c:pt idx="1">
                  <c:v>Boursin</c:v>
                </c:pt>
                <c:pt idx="2">
                  <c:v>Apericube</c:v>
                </c:pt>
                <c:pt idx="3">
                  <c:v>Aperivrais</c:v>
                </c:pt>
                <c:pt idx="4">
                  <c:v>Apericube</c:v>
                </c:pt>
                <c:pt idx="5">
                  <c:v>Apericube</c:v>
                </c:pt>
                <c:pt idx="6">
                  <c:v>St Moret</c:v>
                </c:pt>
                <c:pt idx="7">
                  <c:v>Apericube</c:v>
                </c:pt>
                <c:pt idx="8">
                  <c:v>Apericube</c:v>
                </c:pt>
                <c:pt idx="9">
                  <c:v>Boursin</c:v>
                </c:pt>
                <c:pt idx="10">
                  <c:v>Apericube</c:v>
                </c:pt>
                <c:pt idx="11">
                  <c:v>All Others</c:v>
                </c:pt>
                <c:pt idx="12">
                  <c:v>Apericube</c:v>
                </c:pt>
                <c:pt idx="13">
                  <c:v>O'Tapas Ape</c:v>
                </c:pt>
                <c:pt idx="14">
                  <c:v>Leerdammer</c:v>
                </c:pt>
                <c:pt idx="15">
                  <c:v>Apericube</c:v>
                </c:pt>
                <c:pt idx="16">
                  <c:v>O'Tapas Ape</c:v>
                </c:pt>
              </c:strCache>
            </c:strRef>
          </c:cat>
          <c:val>
            <c:numRef>
              <c:f>Sheet1!$B$2:$B$18</c:f>
              <c:numCache>
                <c:formatCode>General</c:formatCode>
                <c:ptCount val="17"/>
                <c:pt idx="0">
                  <c:v>0.79</c:v>
                </c:pt>
                <c:pt idx="1">
                  <c:v>0.56000000000000005</c:v>
                </c:pt>
                <c:pt idx="2">
                  <c:v>0.43</c:v>
                </c:pt>
                <c:pt idx="3">
                  <c:v>0.65</c:v>
                </c:pt>
                <c:pt idx="4">
                  <c:v>0.56000000000000005</c:v>
                </c:pt>
                <c:pt idx="5">
                  <c:v>0.33</c:v>
                </c:pt>
                <c:pt idx="6">
                  <c:v>0.24</c:v>
                </c:pt>
                <c:pt idx="7">
                  <c:v>0.28000000000000003</c:v>
                </c:pt>
                <c:pt idx="8">
                  <c:v>0.19</c:v>
                </c:pt>
                <c:pt idx="9">
                  <c:v>7.0000000000000007E-2</c:v>
                </c:pt>
                <c:pt idx="10">
                  <c:v>0.18</c:v>
                </c:pt>
                <c:pt idx="11">
                  <c:v>0.03</c:v>
                </c:pt>
                <c:pt idx="12">
                  <c:v>0.22</c:v>
                </c:pt>
                <c:pt idx="13">
                  <c:v>0.03</c:v>
                </c:pt>
                <c:pt idx="14">
                  <c:v>0.06</c:v>
                </c:pt>
                <c:pt idx="15">
                  <c:v>0.01</c:v>
                </c:pt>
                <c:pt idx="1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8</c:f>
              <c:strCache>
                <c:ptCount val="17"/>
                <c:pt idx="0">
                  <c:v>Aperivrais</c:v>
                </c:pt>
                <c:pt idx="1">
                  <c:v>Boursin</c:v>
                </c:pt>
                <c:pt idx="2">
                  <c:v>Apericube</c:v>
                </c:pt>
                <c:pt idx="3">
                  <c:v>Aperivrais</c:v>
                </c:pt>
                <c:pt idx="4">
                  <c:v>Apericube</c:v>
                </c:pt>
                <c:pt idx="5">
                  <c:v>Apericube</c:v>
                </c:pt>
                <c:pt idx="6">
                  <c:v>St Moret</c:v>
                </c:pt>
                <c:pt idx="7">
                  <c:v>Apericube</c:v>
                </c:pt>
                <c:pt idx="8">
                  <c:v>Apericube</c:v>
                </c:pt>
                <c:pt idx="9">
                  <c:v>Boursin</c:v>
                </c:pt>
                <c:pt idx="10">
                  <c:v>Apericube</c:v>
                </c:pt>
                <c:pt idx="11">
                  <c:v>All Others</c:v>
                </c:pt>
                <c:pt idx="12">
                  <c:v>Apericube</c:v>
                </c:pt>
                <c:pt idx="13">
                  <c:v>O'Tapas Ape</c:v>
                </c:pt>
                <c:pt idx="14">
                  <c:v>Leerdammer</c:v>
                </c:pt>
                <c:pt idx="15">
                  <c:v>Apericube</c:v>
                </c:pt>
                <c:pt idx="16">
                  <c:v>O'Tapas Ape</c:v>
                </c:pt>
              </c:strCache>
            </c:strRef>
          </c:cat>
          <c:val>
            <c:numRef>
              <c:f>Sheet1!$C$2:$C$18</c:f>
              <c:numCache>
                <c:formatCode>General</c:formatCode>
                <c:ptCount val="17"/>
                <c:pt idx="0">
                  <c:v>0.16842515732881558</c:v>
                </c:pt>
                <c:pt idx="1">
                  <c:v>0.33467926263274311</c:v>
                </c:pt>
                <c:pt idx="2">
                  <c:v>0.47361275967323557</c:v>
                </c:pt>
                <c:pt idx="3">
                  <c:v>0.58994781834301824</c:v>
                </c:pt>
                <c:pt idx="4">
                  <c:v>0.68971147930584298</c:v>
                </c:pt>
                <c:pt idx="5">
                  <c:v>0.77763447546302822</c:v>
                </c:pt>
                <c:pt idx="6">
                  <c:v>0.89190321428994879</c:v>
                </c:pt>
                <c:pt idx="7">
                  <c:v>0.91934436336665881</c:v>
                </c:pt>
                <c:pt idx="8">
                  <c:v>0.94390965894195467</c:v>
                </c:pt>
                <c:pt idx="9">
                  <c:v>0.95709603348268102</c:v>
                </c:pt>
                <c:pt idx="10">
                  <c:v>0.96645671926110466</c:v>
                </c:pt>
                <c:pt idx="11">
                  <c:v>0.97269322428890814</c:v>
                </c:pt>
                <c:pt idx="12">
                  <c:v>0.97888362080890146</c:v>
                </c:pt>
                <c:pt idx="13">
                  <c:v>0.98450029575314313</c:v>
                </c:pt>
                <c:pt idx="14">
                  <c:v>0.98945234949195027</c:v>
                </c:pt>
                <c:pt idx="15">
                  <c:v>0.99321612111519375</c:v>
                </c:pt>
                <c:pt idx="16">
                  <c:v>0.9944004510729451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Apericube</c:v>
                </c:pt>
                <c:pt idx="1">
                  <c:v>Apericube</c:v>
                </c:pt>
                <c:pt idx="2">
                  <c:v>Apericube</c:v>
                </c:pt>
                <c:pt idx="3">
                  <c:v>Apericube</c:v>
                </c:pt>
                <c:pt idx="4">
                  <c:v>Boursin</c:v>
                </c:pt>
                <c:pt idx="5">
                  <c:v>Private Lab</c:v>
                </c:pt>
                <c:pt idx="6">
                  <c:v>Aperivrais</c:v>
                </c:pt>
                <c:pt idx="7">
                  <c:v>Apericube</c:v>
                </c:pt>
                <c:pt idx="8">
                  <c:v>Apericube</c:v>
                </c:pt>
                <c:pt idx="9">
                  <c:v>Apericube</c:v>
                </c:pt>
                <c:pt idx="10">
                  <c:v>Apericube</c:v>
                </c:pt>
                <c:pt idx="11">
                  <c:v>Boursin</c:v>
                </c:pt>
                <c:pt idx="12">
                  <c:v>Apericube</c:v>
                </c:pt>
                <c:pt idx="13">
                  <c:v>Apericube</c:v>
                </c:pt>
                <c:pt idx="14">
                  <c:v>Aperivrais</c:v>
                </c:pt>
                <c:pt idx="15">
                  <c:v>St Moret</c:v>
                </c:pt>
                <c:pt idx="16">
                  <c:v>Aperivrais</c:v>
                </c:pt>
                <c:pt idx="17">
                  <c:v>St Moret</c:v>
                </c:pt>
                <c:pt idx="18">
                  <c:v>St Moret</c:v>
                </c:pt>
                <c:pt idx="19">
                  <c:v>Private Lab</c:v>
                </c:pt>
                <c:pt idx="20">
                  <c:v>Boursin</c:v>
                </c:pt>
                <c:pt idx="21">
                  <c:v>Aperivrais</c:v>
                </c:pt>
                <c:pt idx="22">
                  <c:v>Aperivrais</c:v>
                </c:pt>
                <c:pt idx="23">
                  <c:v>Apericube</c:v>
                </c:pt>
                <c:pt idx="24">
                  <c:v>St Moret</c:v>
                </c:pt>
                <c:pt idx="25">
                  <c:v>Apericube</c:v>
                </c:pt>
                <c:pt idx="26">
                  <c:v>Apericube</c:v>
                </c:pt>
                <c:pt idx="27">
                  <c:v>Boursin</c:v>
                </c:pt>
                <c:pt idx="28">
                  <c:v>Entremont</c:v>
                </c:pt>
                <c:pt idx="29">
                  <c:v>Aperivrais</c:v>
                </c:pt>
                <c:pt idx="30">
                  <c:v>Entremont</c:v>
                </c:pt>
                <c:pt idx="31">
                  <c:v>Aperivrais</c:v>
                </c:pt>
                <c:pt idx="32">
                  <c:v>All Others</c:v>
                </c:pt>
                <c:pt idx="33">
                  <c:v>Apericube</c:v>
                </c:pt>
                <c:pt idx="34">
                  <c:v>All Others</c:v>
                </c:pt>
                <c:pt idx="35">
                  <c:v>Entremont</c:v>
                </c:pt>
                <c:pt idx="36">
                  <c:v>Boursin</c:v>
                </c:pt>
                <c:pt idx="37">
                  <c:v>All Others</c:v>
                </c:pt>
                <c:pt idx="38">
                  <c:v>All Others</c:v>
                </c:pt>
                <c:pt idx="39">
                  <c:v>Apericube</c:v>
                </c:pt>
                <c:pt idx="40">
                  <c:v>All Others</c:v>
                </c:pt>
                <c:pt idx="41">
                  <c:v>O'Tapas Ape</c:v>
                </c:pt>
                <c:pt idx="42">
                  <c:v>O'Tapas Ape</c:v>
                </c:pt>
              </c:strCache>
            </c:strRef>
          </c:cat>
          <c:val>
            <c:numRef>
              <c:f>Sheet1!$B$2:$B$44</c:f>
              <c:numCache>
                <c:formatCode>General</c:formatCode>
                <c:ptCount val="43"/>
                <c:pt idx="0">
                  <c:v>0.97</c:v>
                </c:pt>
                <c:pt idx="1">
                  <c:v>0.96</c:v>
                </c:pt>
                <c:pt idx="2">
                  <c:v>0.94</c:v>
                </c:pt>
                <c:pt idx="3">
                  <c:v>0.94</c:v>
                </c:pt>
                <c:pt idx="4">
                  <c:v>0.97</c:v>
                </c:pt>
                <c:pt idx="5">
                  <c:v>0.91</c:v>
                </c:pt>
                <c:pt idx="6">
                  <c:v>0.99</c:v>
                </c:pt>
                <c:pt idx="7">
                  <c:v>0.91</c:v>
                </c:pt>
                <c:pt idx="8">
                  <c:v>0.88</c:v>
                </c:pt>
                <c:pt idx="9">
                  <c:v>0.93</c:v>
                </c:pt>
                <c:pt idx="10">
                  <c:v>0.91</c:v>
                </c:pt>
                <c:pt idx="11">
                  <c:v>0.93</c:v>
                </c:pt>
                <c:pt idx="12">
                  <c:v>0.9</c:v>
                </c:pt>
                <c:pt idx="13">
                  <c:v>0.8</c:v>
                </c:pt>
                <c:pt idx="14">
                  <c:v>0.98</c:v>
                </c:pt>
                <c:pt idx="15">
                  <c:v>0.95</c:v>
                </c:pt>
                <c:pt idx="16">
                  <c:v>0.97</c:v>
                </c:pt>
                <c:pt idx="17">
                  <c:v>0.89</c:v>
                </c:pt>
                <c:pt idx="18">
                  <c:v>0.91</c:v>
                </c:pt>
                <c:pt idx="19">
                  <c:v>0.9</c:v>
                </c:pt>
                <c:pt idx="20">
                  <c:v>0.85</c:v>
                </c:pt>
                <c:pt idx="21">
                  <c:v>0.89</c:v>
                </c:pt>
                <c:pt idx="22">
                  <c:v>0.89</c:v>
                </c:pt>
                <c:pt idx="23">
                  <c:v>0.5</c:v>
                </c:pt>
                <c:pt idx="24">
                  <c:v>0.84</c:v>
                </c:pt>
                <c:pt idx="25">
                  <c:v>0.24</c:v>
                </c:pt>
                <c:pt idx="26">
                  <c:v>0.23</c:v>
                </c:pt>
                <c:pt idx="27">
                  <c:v>0.7</c:v>
                </c:pt>
                <c:pt idx="28">
                  <c:v>0.31</c:v>
                </c:pt>
                <c:pt idx="29">
                  <c:v>0.28000000000000003</c:v>
                </c:pt>
                <c:pt idx="30">
                  <c:v>0.2</c:v>
                </c:pt>
                <c:pt idx="31">
                  <c:v>0.09</c:v>
                </c:pt>
                <c:pt idx="32">
                  <c:v>0.04</c:v>
                </c:pt>
                <c:pt idx="33">
                  <c:v>0.27</c:v>
                </c:pt>
                <c:pt idx="34">
                  <c:v>0.02</c:v>
                </c:pt>
                <c:pt idx="35">
                  <c:v>0.1</c:v>
                </c:pt>
                <c:pt idx="36">
                  <c:v>0.28999999999999998</c:v>
                </c:pt>
                <c:pt idx="37">
                  <c:v>0.03</c:v>
                </c:pt>
                <c:pt idx="38">
                  <c:v>0.01</c:v>
                </c:pt>
                <c:pt idx="39">
                  <c:v>0.04</c:v>
                </c:pt>
                <c:pt idx="40">
                  <c:v>0.01</c:v>
                </c:pt>
                <c:pt idx="41">
                  <c:v>0.02</c:v>
                </c:pt>
                <c:pt idx="42">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Apericube</c:v>
                </c:pt>
                <c:pt idx="1">
                  <c:v>Apericube</c:v>
                </c:pt>
                <c:pt idx="2">
                  <c:v>Apericube</c:v>
                </c:pt>
                <c:pt idx="3">
                  <c:v>Apericube</c:v>
                </c:pt>
                <c:pt idx="4">
                  <c:v>Boursin</c:v>
                </c:pt>
                <c:pt idx="5">
                  <c:v>Private Lab</c:v>
                </c:pt>
                <c:pt idx="6">
                  <c:v>Aperivrais</c:v>
                </c:pt>
                <c:pt idx="7">
                  <c:v>Apericube</c:v>
                </c:pt>
                <c:pt idx="8">
                  <c:v>Apericube</c:v>
                </c:pt>
                <c:pt idx="9">
                  <c:v>Apericube</c:v>
                </c:pt>
                <c:pt idx="10">
                  <c:v>Apericube</c:v>
                </c:pt>
                <c:pt idx="11">
                  <c:v>Boursin</c:v>
                </c:pt>
                <c:pt idx="12">
                  <c:v>Apericube</c:v>
                </c:pt>
                <c:pt idx="13">
                  <c:v>Apericube</c:v>
                </c:pt>
                <c:pt idx="14">
                  <c:v>Aperivrais</c:v>
                </c:pt>
                <c:pt idx="15">
                  <c:v>St Moret</c:v>
                </c:pt>
                <c:pt idx="16">
                  <c:v>Aperivrais</c:v>
                </c:pt>
                <c:pt idx="17">
                  <c:v>St Moret</c:v>
                </c:pt>
                <c:pt idx="18">
                  <c:v>St Moret</c:v>
                </c:pt>
                <c:pt idx="19">
                  <c:v>Private Lab</c:v>
                </c:pt>
                <c:pt idx="20">
                  <c:v>Boursin</c:v>
                </c:pt>
                <c:pt idx="21">
                  <c:v>Aperivrais</c:v>
                </c:pt>
                <c:pt idx="22">
                  <c:v>Aperivrais</c:v>
                </c:pt>
                <c:pt idx="23">
                  <c:v>Apericube</c:v>
                </c:pt>
                <c:pt idx="24">
                  <c:v>St Moret</c:v>
                </c:pt>
                <c:pt idx="25">
                  <c:v>Apericube</c:v>
                </c:pt>
                <c:pt idx="26">
                  <c:v>Apericube</c:v>
                </c:pt>
                <c:pt idx="27">
                  <c:v>Boursin</c:v>
                </c:pt>
                <c:pt idx="28">
                  <c:v>Entremont</c:v>
                </c:pt>
                <c:pt idx="29">
                  <c:v>Aperivrais</c:v>
                </c:pt>
                <c:pt idx="30">
                  <c:v>Entremont</c:v>
                </c:pt>
                <c:pt idx="31">
                  <c:v>Aperivrais</c:v>
                </c:pt>
                <c:pt idx="32">
                  <c:v>All Others</c:v>
                </c:pt>
                <c:pt idx="33">
                  <c:v>Apericube</c:v>
                </c:pt>
                <c:pt idx="34">
                  <c:v>All Others</c:v>
                </c:pt>
                <c:pt idx="35">
                  <c:v>Entremont</c:v>
                </c:pt>
                <c:pt idx="36">
                  <c:v>Boursin</c:v>
                </c:pt>
                <c:pt idx="37">
                  <c:v>All Others</c:v>
                </c:pt>
                <c:pt idx="38">
                  <c:v>All Others</c:v>
                </c:pt>
                <c:pt idx="39">
                  <c:v>Apericube</c:v>
                </c:pt>
                <c:pt idx="40">
                  <c:v>All Others</c:v>
                </c:pt>
                <c:pt idx="41">
                  <c:v>O'Tapas Ape</c:v>
                </c:pt>
                <c:pt idx="42">
                  <c:v>O'Tapas Ape</c:v>
                </c:pt>
              </c:strCache>
            </c:strRef>
          </c:cat>
          <c:val>
            <c:numRef>
              <c:f>Sheet1!$C$2:$C$44</c:f>
              <c:numCache>
                <c:formatCode>General</c:formatCode>
                <c:ptCount val="43"/>
                <c:pt idx="0">
                  <c:v>9.6603025880470969E-2</c:v>
                </c:pt>
                <c:pt idx="1">
                  <c:v>0.18456286778263103</c:v>
                </c:pt>
                <c:pt idx="2">
                  <c:v>0.25217748092594228</c:v>
                </c:pt>
                <c:pt idx="3">
                  <c:v>0.31352596097414032</c:v>
                </c:pt>
                <c:pt idx="4">
                  <c:v>0.3710604085406074</c:v>
                </c:pt>
                <c:pt idx="5">
                  <c:v>0.42569674195877205</c:v>
                </c:pt>
                <c:pt idx="6">
                  <c:v>0.47190893792945854</c:v>
                </c:pt>
                <c:pt idx="7">
                  <c:v>0.51736037893621556</c:v>
                </c:pt>
                <c:pt idx="8">
                  <c:v>0.5615914178426189</c:v>
                </c:pt>
                <c:pt idx="9">
                  <c:v>0.60330205828429562</c:v>
                </c:pt>
                <c:pt idx="10">
                  <c:v>0.64092846124681235</c:v>
                </c:pt>
                <c:pt idx="11">
                  <c:v>0.67779683596570051</c:v>
                </c:pt>
                <c:pt idx="12">
                  <c:v>0.71373098437199745</c:v>
                </c:pt>
                <c:pt idx="13">
                  <c:v>0.74736767615911592</c:v>
                </c:pt>
                <c:pt idx="14">
                  <c:v>0.77941845548174671</c:v>
                </c:pt>
                <c:pt idx="15">
                  <c:v>0.81028960366471225</c:v>
                </c:pt>
                <c:pt idx="16">
                  <c:v>0.8377653358540349</c:v>
                </c:pt>
                <c:pt idx="17">
                  <c:v>0.85893559226961824</c:v>
                </c:pt>
                <c:pt idx="18">
                  <c:v>0.87931120448324773</c:v>
                </c:pt>
                <c:pt idx="19">
                  <c:v>0.89779330421369197</c:v>
                </c:pt>
                <c:pt idx="20">
                  <c:v>0.91459003111058035</c:v>
                </c:pt>
                <c:pt idx="21">
                  <c:v>0.93102799952217485</c:v>
                </c:pt>
                <c:pt idx="22">
                  <c:v>0.94677779566737141</c:v>
                </c:pt>
                <c:pt idx="23">
                  <c:v>0.9607139332810497</c:v>
                </c:pt>
                <c:pt idx="24">
                  <c:v>0.96994388149933275</c:v>
                </c:pt>
                <c:pt idx="25">
                  <c:v>0.97616638706963277</c:v>
                </c:pt>
                <c:pt idx="26">
                  <c:v>0.9816938386508709</c:v>
                </c:pt>
                <c:pt idx="27">
                  <c:v>0.98672087213499615</c:v>
                </c:pt>
                <c:pt idx="28">
                  <c:v>0.99061969263370031</c:v>
                </c:pt>
                <c:pt idx="29">
                  <c:v>0.99334160871304011</c:v>
                </c:pt>
                <c:pt idx="30">
                  <c:v>0.99496855182586397</c:v>
                </c:pt>
                <c:pt idx="31">
                  <c:v>0.99612286341987866</c:v>
                </c:pt>
                <c:pt idx="32">
                  <c:v>0.99707656630604713</c:v>
                </c:pt>
                <c:pt idx="33">
                  <c:v>0.99789730911659458</c:v>
                </c:pt>
                <c:pt idx="34">
                  <c:v>0.99853393338492458</c:v>
                </c:pt>
                <c:pt idx="35">
                  <c:v>0.99901461522081236</c:v>
                </c:pt>
                <c:pt idx="36">
                  <c:v>0.99939362934262665</c:v>
                </c:pt>
                <c:pt idx="37">
                  <c:v>0.99975771142469838</c:v>
                </c:pt>
                <c:pt idx="38">
                  <c:v>0.99984704397550628</c:v>
                </c:pt>
                <c:pt idx="39">
                  <c:v>0.99990742135359589</c:v>
                </c:pt>
                <c:pt idx="40">
                  <c:v>0.99995961857078308</c:v>
                </c:pt>
                <c:pt idx="41">
                  <c:v>0.9999800040511273</c:v>
                </c:pt>
                <c:pt idx="42">
                  <c:v>0.9999924690582168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c:f>
              <c:strCache>
                <c:ptCount val="39"/>
                <c:pt idx="0">
                  <c:v>Apericube</c:v>
                </c:pt>
                <c:pt idx="1">
                  <c:v>Apericube</c:v>
                </c:pt>
                <c:pt idx="2">
                  <c:v>Apericube</c:v>
                </c:pt>
                <c:pt idx="3">
                  <c:v>Boursin</c:v>
                </c:pt>
                <c:pt idx="4">
                  <c:v>Apericube</c:v>
                </c:pt>
                <c:pt idx="5">
                  <c:v>Private Lab</c:v>
                </c:pt>
                <c:pt idx="6">
                  <c:v>Apericube</c:v>
                </c:pt>
                <c:pt idx="7">
                  <c:v>Apericube</c:v>
                </c:pt>
                <c:pt idx="8">
                  <c:v>Apericube</c:v>
                </c:pt>
                <c:pt idx="9">
                  <c:v>Aperivrais</c:v>
                </c:pt>
                <c:pt idx="10">
                  <c:v>Apericube</c:v>
                </c:pt>
                <c:pt idx="11">
                  <c:v>Boursin</c:v>
                </c:pt>
                <c:pt idx="12">
                  <c:v>Apericube</c:v>
                </c:pt>
                <c:pt idx="13">
                  <c:v>Apericube</c:v>
                </c:pt>
                <c:pt idx="14">
                  <c:v>Aperivrais</c:v>
                </c:pt>
                <c:pt idx="15">
                  <c:v>St Moret</c:v>
                </c:pt>
                <c:pt idx="16">
                  <c:v>St Moret</c:v>
                </c:pt>
                <c:pt idx="17">
                  <c:v>Aperivrais</c:v>
                </c:pt>
                <c:pt idx="18">
                  <c:v>St Moret</c:v>
                </c:pt>
                <c:pt idx="19">
                  <c:v>Aperivrais</c:v>
                </c:pt>
                <c:pt idx="20">
                  <c:v>Apericube</c:v>
                </c:pt>
                <c:pt idx="21">
                  <c:v>Boursin</c:v>
                </c:pt>
                <c:pt idx="22">
                  <c:v>Aperivrais</c:v>
                </c:pt>
                <c:pt idx="23">
                  <c:v>Apericube</c:v>
                </c:pt>
                <c:pt idx="24">
                  <c:v>Private Lab</c:v>
                </c:pt>
                <c:pt idx="25">
                  <c:v>Apericube</c:v>
                </c:pt>
                <c:pt idx="26">
                  <c:v>St Moret</c:v>
                </c:pt>
                <c:pt idx="27">
                  <c:v>Entremont</c:v>
                </c:pt>
                <c:pt idx="28">
                  <c:v>Aperivrais</c:v>
                </c:pt>
                <c:pt idx="29">
                  <c:v>Boursin</c:v>
                </c:pt>
                <c:pt idx="30">
                  <c:v>Entremont</c:v>
                </c:pt>
                <c:pt idx="31">
                  <c:v>Aperivrais</c:v>
                </c:pt>
                <c:pt idx="32">
                  <c:v>All Others</c:v>
                </c:pt>
                <c:pt idx="33">
                  <c:v>Apericube</c:v>
                </c:pt>
                <c:pt idx="34">
                  <c:v>Entremont</c:v>
                </c:pt>
                <c:pt idx="35">
                  <c:v>Boursin</c:v>
                </c:pt>
                <c:pt idx="36">
                  <c:v>All Others</c:v>
                </c:pt>
                <c:pt idx="37">
                  <c:v>Apericube</c:v>
                </c:pt>
                <c:pt idx="38">
                  <c:v>O'Tapas Ape</c:v>
                </c:pt>
              </c:strCache>
            </c:strRef>
          </c:cat>
          <c:val>
            <c:numRef>
              <c:f>Sheet1!$B$2:$B$40</c:f>
              <c:numCache>
                <c:formatCode>General</c:formatCode>
                <c:ptCount val="39"/>
                <c:pt idx="0">
                  <c:v>0.99</c:v>
                </c:pt>
                <c:pt idx="1">
                  <c:v>0.99</c:v>
                </c:pt>
                <c:pt idx="2">
                  <c:v>0.98</c:v>
                </c:pt>
                <c:pt idx="3">
                  <c:v>0.99</c:v>
                </c:pt>
                <c:pt idx="4">
                  <c:v>0.97</c:v>
                </c:pt>
                <c:pt idx="5">
                  <c:v>0.99</c:v>
                </c:pt>
                <c:pt idx="6">
                  <c:v>0.99</c:v>
                </c:pt>
                <c:pt idx="7">
                  <c:v>0.99</c:v>
                </c:pt>
                <c:pt idx="8">
                  <c:v>0.96</c:v>
                </c:pt>
                <c:pt idx="9">
                  <c:v>0.99</c:v>
                </c:pt>
                <c:pt idx="10">
                  <c:v>0.96</c:v>
                </c:pt>
                <c:pt idx="11">
                  <c:v>0.99</c:v>
                </c:pt>
                <c:pt idx="12">
                  <c:v>0.97</c:v>
                </c:pt>
                <c:pt idx="13">
                  <c:v>0.96</c:v>
                </c:pt>
                <c:pt idx="14">
                  <c:v>0.99</c:v>
                </c:pt>
                <c:pt idx="15">
                  <c:v>0.98</c:v>
                </c:pt>
                <c:pt idx="16">
                  <c:v>0.97</c:v>
                </c:pt>
                <c:pt idx="17">
                  <c:v>0.99</c:v>
                </c:pt>
                <c:pt idx="18">
                  <c:v>0.98</c:v>
                </c:pt>
                <c:pt idx="19">
                  <c:v>0.95</c:v>
                </c:pt>
                <c:pt idx="20">
                  <c:v>0.8</c:v>
                </c:pt>
                <c:pt idx="21">
                  <c:v>0.95</c:v>
                </c:pt>
                <c:pt idx="22">
                  <c:v>0.97</c:v>
                </c:pt>
                <c:pt idx="23">
                  <c:v>0.7</c:v>
                </c:pt>
                <c:pt idx="24">
                  <c:v>0.98</c:v>
                </c:pt>
                <c:pt idx="25">
                  <c:v>0.68</c:v>
                </c:pt>
                <c:pt idx="26">
                  <c:v>0.96</c:v>
                </c:pt>
                <c:pt idx="27">
                  <c:v>0.54</c:v>
                </c:pt>
                <c:pt idx="28">
                  <c:v>0.73</c:v>
                </c:pt>
                <c:pt idx="29">
                  <c:v>0.86</c:v>
                </c:pt>
                <c:pt idx="30">
                  <c:v>0.46</c:v>
                </c:pt>
                <c:pt idx="31">
                  <c:v>0.26</c:v>
                </c:pt>
                <c:pt idx="32">
                  <c:v>0.06</c:v>
                </c:pt>
                <c:pt idx="33">
                  <c:v>0.37</c:v>
                </c:pt>
                <c:pt idx="34">
                  <c:v>0.18</c:v>
                </c:pt>
                <c:pt idx="35">
                  <c:v>0.52</c:v>
                </c:pt>
                <c:pt idx="36">
                  <c:v>0.05</c:v>
                </c:pt>
                <c:pt idx="37">
                  <c:v>0.05</c:v>
                </c:pt>
                <c:pt idx="38">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0</c:f>
              <c:strCache>
                <c:ptCount val="39"/>
                <c:pt idx="0">
                  <c:v>Apericube</c:v>
                </c:pt>
                <c:pt idx="1">
                  <c:v>Apericube</c:v>
                </c:pt>
                <c:pt idx="2">
                  <c:v>Apericube</c:v>
                </c:pt>
                <c:pt idx="3">
                  <c:v>Boursin</c:v>
                </c:pt>
                <c:pt idx="4">
                  <c:v>Apericube</c:v>
                </c:pt>
                <c:pt idx="5">
                  <c:v>Private Lab</c:v>
                </c:pt>
                <c:pt idx="6">
                  <c:v>Apericube</c:v>
                </c:pt>
                <c:pt idx="7">
                  <c:v>Apericube</c:v>
                </c:pt>
                <c:pt idx="8">
                  <c:v>Apericube</c:v>
                </c:pt>
                <c:pt idx="9">
                  <c:v>Aperivrais</c:v>
                </c:pt>
                <c:pt idx="10">
                  <c:v>Apericube</c:v>
                </c:pt>
                <c:pt idx="11">
                  <c:v>Boursin</c:v>
                </c:pt>
                <c:pt idx="12">
                  <c:v>Apericube</c:v>
                </c:pt>
                <c:pt idx="13">
                  <c:v>Apericube</c:v>
                </c:pt>
                <c:pt idx="14">
                  <c:v>Aperivrais</c:v>
                </c:pt>
                <c:pt idx="15">
                  <c:v>St Moret</c:v>
                </c:pt>
                <c:pt idx="16">
                  <c:v>St Moret</c:v>
                </c:pt>
                <c:pt idx="17">
                  <c:v>Aperivrais</c:v>
                </c:pt>
                <c:pt idx="18">
                  <c:v>St Moret</c:v>
                </c:pt>
                <c:pt idx="19">
                  <c:v>Aperivrais</c:v>
                </c:pt>
                <c:pt idx="20">
                  <c:v>Apericube</c:v>
                </c:pt>
                <c:pt idx="21">
                  <c:v>Boursin</c:v>
                </c:pt>
                <c:pt idx="22">
                  <c:v>Aperivrais</c:v>
                </c:pt>
                <c:pt idx="23">
                  <c:v>Apericube</c:v>
                </c:pt>
                <c:pt idx="24">
                  <c:v>Private Lab</c:v>
                </c:pt>
                <c:pt idx="25">
                  <c:v>Apericube</c:v>
                </c:pt>
                <c:pt idx="26">
                  <c:v>St Moret</c:v>
                </c:pt>
                <c:pt idx="27">
                  <c:v>Entremont</c:v>
                </c:pt>
                <c:pt idx="28">
                  <c:v>Aperivrais</c:v>
                </c:pt>
                <c:pt idx="29">
                  <c:v>Boursin</c:v>
                </c:pt>
                <c:pt idx="30">
                  <c:v>Entremont</c:v>
                </c:pt>
                <c:pt idx="31">
                  <c:v>Aperivrais</c:v>
                </c:pt>
                <c:pt idx="32">
                  <c:v>All Others</c:v>
                </c:pt>
                <c:pt idx="33">
                  <c:v>Apericube</c:v>
                </c:pt>
                <c:pt idx="34">
                  <c:v>Entremont</c:v>
                </c:pt>
                <c:pt idx="35">
                  <c:v>Boursin</c:v>
                </c:pt>
                <c:pt idx="36">
                  <c:v>All Others</c:v>
                </c:pt>
                <c:pt idx="37">
                  <c:v>Apericube</c:v>
                </c:pt>
                <c:pt idx="38">
                  <c:v>O'Tapas Ape</c:v>
                </c:pt>
              </c:strCache>
            </c:strRef>
          </c:cat>
          <c:val>
            <c:numRef>
              <c:f>Sheet1!$C$2:$C$40</c:f>
              <c:numCache>
                <c:formatCode>General</c:formatCode>
                <c:ptCount val="39"/>
                <c:pt idx="0">
                  <c:v>8.9709577497778678E-2</c:v>
                </c:pt>
                <c:pt idx="1">
                  <c:v>0.17179129524943598</c:v>
                </c:pt>
                <c:pt idx="2">
                  <c:v>0.23894268901516663</c:v>
                </c:pt>
                <c:pt idx="3">
                  <c:v>0.29945363008842479</c:v>
                </c:pt>
                <c:pt idx="4">
                  <c:v>0.35933131223452036</c:v>
                </c:pt>
                <c:pt idx="5">
                  <c:v>0.41087424094835956</c:v>
                </c:pt>
                <c:pt idx="6">
                  <c:v>0.45898438732724756</c:v>
                </c:pt>
                <c:pt idx="7">
                  <c:v>0.50387353896365739</c:v>
                </c:pt>
                <c:pt idx="8">
                  <c:v>0.54544281489554036</c:v>
                </c:pt>
                <c:pt idx="9">
                  <c:v>0.58536267222644167</c:v>
                </c:pt>
                <c:pt idx="10">
                  <c:v>0.62467030913274391</c:v>
                </c:pt>
                <c:pt idx="11">
                  <c:v>0.66035792103127944</c:v>
                </c:pt>
                <c:pt idx="12">
                  <c:v>0.69420045625499238</c:v>
                </c:pt>
                <c:pt idx="13">
                  <c:v>0.72667899522916901</c:v>
                </c:pt>
                <c:pt idx="14">
                  <c:v>0.75624440288171391</c:v>
                </c:pt>
                <c:pt idx="15">
                  <c:v>0.78498720508402431</c:v>
                </c:pt>
                <c:pt idx="16">
                  <c:v>0.80889465811381411</c:v>
                </c:pt>
                <c:pt idx="17">
                  <c:v>0.83187220933029538</c:v>
                </c:pt>
                <c:pt idx="18">
                  <c:v>0.85217506558753175</c:v>
                </c:pt>
                <c:pt idx="19">
                  <c:v>0.87069946709473012</c:v>
                </c:pt>
                <c:pt idx="20">
                  <c:v>0.88841178240297569</c:v>
                </c:pt>
                <c:pt idx="21">
                  <c:v>0.9052643242397912</c:v>
                </c:pt>
                <c:pt idx="22">
                  <c:v>0.92180830137234149</c:v>
                </c:pt>
                <c:pt idx="23">
                  <c:v>0.9379511443893469</c:v>
                </c:pt>
                <c:pt idx="24">
                  <c:v>0.95340322323884941</c:v>
                </c:pt>
                <c:pt idx="25">
                  <c:v>0.96631034456158216</c:v>
                </c:pt>
                <c:pt idx="26">
                  <c:v>0.97678822012164468</c:v>
                </c:pt>
                <c:pt idx="27">
                  <c:v>0.98211937667124616</c:v>
                </c:pt>
                <c:pt idx="28">
                  <c:v>0.98719596733982873</c:v>
                </c:pt>
                <c:pt idx="29">
                  <c:v>0.99221294891781464</c:v>
                </c:pt>
                <c:pt idx="30">
                  <c:v>0.99452157393245388</c:v>
                </c:pt>
                <c:pt idx="31">
                  <c:v>0.9962895094312102</c:v>
                </c:pt>
                <c:pt idx="32">
                  <c:v>0.99782742396860513</c:v>
                </c:pt>
                <c:pt idx="33">
                  <c:v>0.99853852535525278</c:v>
                </c:pt>
                <c:pt idx="34">
                  <c:v>0.9991128764752375</c:v>
                </c:pt>
                <c:pt idx="35">
                  <c:v>0.99959886588445535</c:v>
                </c:pt>
                <c:pt idx="36">
                  <c:v>0.99993478064205321</c:v>
                </c:pt>
                <c:pt idx="37">
                  <c:v>0.9999824679145306</c:v>
                </c:pt>
                <c:pt idx="3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Apericube</c:v>
                </c:pt>
                <c:pt idx="1">
                  <c:v>Apericube</c:v>
                </c:pt>
                <c:pt idx="2">
                  <c:v>Boursin</c:v>
                </c:pt>
                <c:pt idx="3">
                  <c:v>Aperivrais</c:v>
                </c:pt>
                <c:pt idx="4">
                  <c:v>Apericube</c:v>
                </c:pt>
                <c:pt idx="5">
                  <c:v>Apericube</c:v>
                </c:pt>
                <c:pt idx="6">
                  <c:v>Apericube</c:v>
                </c:pt>
                <c:pt idx="7">
                  <c:v>Private Lab</c:v>
                </c:pt>
                <c:pt idx="8">
                  <c:v>Apericube</c:v>
                </c:pt>
                <c:pt idx="9">
                  <c:v>Apericube</c:v>
                </c:pt>
                <c:pt idx="10">
                  <c:v>Aperivrais</c:v>
                </c:pt>
                <c:pt idx="11">
                  <c:v>Private Lab</c:v>
                </c:pt>
                <c:pt idx="12">
                  <c:v>St Moret</c:v>
                </c:pt>
                <c:pt idx="13">
                  <c:v>Aperivrais</c:v>
                </c:pt>
                <c:pt idx="14">
                  <c:v>Boursin</c:v>
                </c:pt>
                <c:pt idx="15">
                  <c:v>Apericube</c:v>
                </c:pt>
                <c:pt idx="16">
                  <c:v>Apericube</c:v>
                </c:pt>
                <c:pt idx="17">
                  <c:v>Apericube</c:v>
                </c:pt>
                <c:pt idx="18">
                  <c:v>St Moret</c:v>
                </c:pt>
                <c:pt idx="19">
                  <c:v>Aperivrais</c:v>
                </c:pt>
                <c:pt idx="20">
                  <c:v>St Moret</c:v>
                </c:pt>
                <c:pt idx="21">
                  <c:v>Boursin</c:v>
                </c:pt>
                <c:pt idx="22">
                  <c:v>Aperivrais</c:v>
                </c:pt>
                <c:pt idx="23">
                  <c:v>Apericube</c:v>
                </c:pt>
                <c:pt idx="24">
                  <c:v>St Moret</c:v>
                </c:pt>
                <c:pt idx="25">
                  <c:v>Apericube</c:v>
                </c:pt>
                <c:pt idx="26">
                  <c:v>Apericube</c:v>
                </c:pt>
                <c:pt idx="27">
                  <c:v>Boursin</c:v>
                </c:pt>
                <c:pt idx="28">
                  <c:v>All Others</c:v>
                </c:pt>
                <c:pt idx="29">
                  <c:v>Entremont</c:v>
                </c:pt>
                <c:pt idx="30">
                  <c:v>All Others</c:v>
                </c:pt>
                <c:pt idx="31">
                  <c:v>Aperivrais</c:v>
                </c:pt>
                <c:pt idx="32">
                  <c:v>Entremont</c:v>
                </c:pt>
                <c:pt idx="33">
                  <c:v>Apericube</c:v>
                </c:pt>
                <c:pt idx="34">
                  <c:v>Aperivrais</c:v>
                </c:pt>
                <c:pt idx="35">
                  <c:v>Entremont</c:v>
                </c:pt>
                <c:pt idx="36">
                  <c:v>Boursin</c:v>
                </c:pt>
                <c:pt idx="37">
                  <c:v>All Others</c:v>
                </c:pt>
                <c:pt idx="38">
                  <c:v>Apericube</c:v>
                </c:pt>
                <c:pt idx="39">
                  <c:v>All Others</c:v>
                </c:pt>
              </c:strCache>
            </c:strRef>
          </c:cat>
          <c:val>
            <c:numRef>
              <c:f>Sheet1!$B$2:$B$41</c:f>
              <c:numCache>
                <c:formatCode>General</c:formatCode>
                <c:ptCount val="40"/>
                <c:pt idx="0">
                  <c:v>0.75</c:v>
                </c:pt>
                <c:pt idx="1">
                  <c:v>0.68</c:v>
                </c:pt>
                <c:pt idx="2">
                  <c:v>0.76</c:v>
                </c:pt>
                <c:pt idx="3">
                  <c:v>0.9</c:v>
                </c:pt>
                <c:pt idx="4">
                  <c:v>0.54</c:v>
                </c:pt>
                <c:pt idx="5">
                  <c:v>0.55000000000000004</c:v>
                </c:pt>
                <c:pt idx="6">
                  <c:v>0.7</c:v>
                </c:pt>
                <c:pt idx="7">
                  <c:v>0.5</c:v>
                </c:pt>
                <c:pt idx="8">
                  <c:v>0.69</c:v>
                </c:pt>
                <c:pt idx="9">
                  <c:v>0.44</c:v>
                </c:pt>
                <c:pt idx="10">
                  <c:v>0.77</c:v>
                </c:pt>
                <c:pt idx="11">
                  <c:v>0.75</c:v>
                </c:pt>
                <c:pt idx="12">
                  <c:v>0.69</c:v>
                </c:pt>
                <c:pt idx="13">
                  <c:v>0.73</c:v>
                </c:pt>
                <c:pt idx="14">
                  <c:v>0.5</c:v>
                </c:pt>
                <c:pt idx="15">
                  <c:v>0.33</c:v>
                </c:pt>
                <c:pt idx="16">
                  <c:v>0.38</c:v>
                </c:pt>
                <c:pt idx="17">
                  <c:v>0.33</c:v>
                </c:pt>
                <c:pt idx="18">
                  <c:v>0.45</c:v>
                </c:pt>
                <c:pt idx="19">
                  <c:v>0.51</c:v>
                </c:pt>
                <c:pt idx="20">
                  <c:v>0.41</c:v>
                </c:pt>
                <c:pt idx="21">
                  <c:v>0.32</c:v>
                </c:pt>
                <c:pt idx="22">
                  <c:v>0.48</c:v>
                </c:pt>
                <c:pt idx="23">
                  <c:v>0.16</c:v>
                </c:pt>
                <c:pt idx="24">
                  <c:v>0.31</c:v>
                </c:pt>
                <c:pt idx="25">
                  <c:v>0.09</c:v>
                </c:pt>
                <c:pt idx="26">
                  <c:v>7.0000000000000007E-2</c:v>
                </c:pt>
                <c:pt idx="27">
                  <c:v>0.17</c:v>
                </c:pt>
                <c:pt idx="28">
                  <c:v>0.02</c:v>
                </c:pt>
                <c:pt idx="29">
                  <c:v>7.0000000000000007E-2</c:v>
                </c:pt>
                <c:pt idx="30">
                  <c:v>0.02</c:v>
                </c:pt>
                <c:pt idx="31">
                  <c:v>0.05</c:v>
                </c:pt>
                <c:pt idx="32">
                  <c:v>0.06</c:v>
                </c:pt>
                <c:pt idx="33">
                  <c:v>0.06</c:v>
                </c:pt>
                <c:pt idx="34">
                  <c:v>0.03</c:v>
                </c:pt>
                <c:pt idx="35">
                  <c:v>0.03</c:v>
                </c:pt>
                <c:pt idx="36">
                  <c:v>0.05</c:v>
                </c:pt>
                <c:pt idx="37">
                  <c:v>0.01</c:v>
                </c:pt>
                <c:pt idx="38">
                  <c:v>0.03</c:v>
                </c:pt>
                <c:pt idx="3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Apericube</c:v>
                </c:pt>
                <c:pt idx="1">
                  <c:v>Apericube</c:v>
                </c:pt>
                <c:pt idx="2">
                  <c:v>Boursin</c:v>
                </c:pt>
                <c:pt idx="3">
                  <c:v>Aperivrais</c:v>
                </c:pt>
                <c:pt idx="4">
                  <c:v>Apericube</c:v>
                </c:pt>
                <c:pt idx="5">
                  <c:v>Apericube</c:v>
                </c:pt>
                <c:pt idx="6">
                  <c:v>Apericube</c:v>
                </c:pt>
                <c:pt idx="7">
                  <c:v>Private Lab</c:v>
                </c:pt>
                <c:pt idx="8">
                  <c:v>Apericube</c:v>
                </c:pt>
                <c:pt idx="9">
                  <c:v>Apericube</c:v>
                </c:pt>
                <c:pt idx="10">
                  <c:v>Aperivrais</c:v>
                </c:pt>
                <c:pt idx="11">
                  <c:v>Private Lab</c:v>
                </c:pt>
                <c:pt idx="12">
                  <c:v>St Moret</c:v>
                </c:pt>
                <c:pt idx="13">
                  <c:v>Aperivrais</c:v>
                </c:pt>
                <c:pt idx="14">
                  <c:v>Boursin</c:v>
                </c:pt>
                <c:pt idx="15">
                  <c:v>Apericube</c:v>
                </c:pt>
                <c:pt idx="16">
                  <c:v>Apericube</c:v>
                </c:pt>
                <c:pt idx="17">
                  <c:v>Apericube</c:v>
                </c:pt>
                <c:pt idx="18">
                  <c:v>St Moret</c:v>
                </c:pt>
                <c:pt idx="19">
                  <c:v>Aperivrais</c:v>
                </c:pt>
                <c:pt idx="20">
                  <c:v>St Moret</c:v>
                </c:pt>
                <c:pt idx="21">
                  <c:v>Boursin</c:v>
                </c:pt>
                <c:pt idx="22">
                  <c:v>Aperivrais</c:v>
                </c:pt>
                <c:pt idx="23">
                  <c:v>Apericube</c:v>
                </c:pt>
                <c:pt idx="24">
                  <c:v>St Moret</c:v>
                </c:pt>
                <c:pt idx="25">
                  <c:v>Apericube</c:v>
                </c:pt>
                <c:pt idx="26">
                  <c:v>Apericube</c:v>
                </c:pt>
                <c:pt idx="27">
                  <c:v>Boursin</c:v>
                </c:pt>
                <c:pt idx="28">
                  <c:v>All Others</c:v>
                </c:pt>
                <c:pt idx="29">
                  <c:v>Entremont</c:v>
                </c:pt>
                <c:pt idx="30">
                  <c:v>All Others</c:v>
                </c:pt>
                <c:pt idx="31">
                  <c:v>Aperivrais</c:v>
                </c:pt>
                <c:pt idx="32">
                  <c:v>Entremont</c:v>
                </c:pt>
                <c:pt idx="33">
                  <c:v>Apericube</c:v>
                </c:pt>
                <c:pt idx="34">
                  <c:v>Aperivrais</c:v>
                </c:pt>
                <c:pt idx="35">
                  <c:v>Entremont</c:v>
                </c:pt>
                <c:pt idx="36">
                  <c:v>Boursin</c:v>
                </c:pt>
                <c:pt idx="37">
                  <c:v>All Others</c:v>
                </c:pt>
                <c:pt idx="38">
                  <c:v>Apericube</c:v>
                </c:pt>
                <c:pt idx="39">
                  <c:v>All Others</c:v>
                </c:pt>
              </c:strCache>
            </c:strRef>
          </c:cat>
          <c:val>
            <c:numRef>
              <c:f>Sheet1!$C$2:$C$41</c:f>
              <c:numCache>
                <c:formatCode>General</c:formatCode>
                <c:ptCount val="40"/>
                <c:pt idx="0">
                  <c:v>0.11078831464308093</c:v>
                </c:pt>
                <c:pt idx="1">
                  <c:v>0.20059810304980896</c:v>
                </c:pt>
                <c:pt idx="2">
                  <c:v>0.27916678832362696</c:v>
                </c:pt>
                <c:pt idx="3">
                  <c:v>0.35388811901868872</c:v>
                </c:pt>
                <c:pt idx="4">
                  <c:v>0.41188143050617526</c:v>
                </c:pt>
                <c:pt idx="5">
                  <c:v>0.46746144223016295</c:v>
                </c:pt>
                <c:pt idx="6">
                  <c:v>0.51993976295983524</c:v>
                </c:pt>
                <c:pt idx="7">
                  <c:v>0.5721822563510548</c:v>
                </c:pt>
                <c:pt idx="8">
                  <c:v>0.61325664078555209</c:v>
                </c:pt>
                <c:pt idx="9">
                  <c:v>0.65142024207114801</c:v>
                </c:pt>
                <c:pt idx="10">
                  <c:v>0.68916721505881084</c:v>
                </c:pt>
                <c:pt idx="11">
                  <c:v>0.72394164059464428</c:v>
                </c:pt>
                <c:pt idx="12">
                  <c:v>0.75754815931147401</c:v>
                </c:pt>
                <c:pt idx="13">
                  <c:v>0.79115243205365182</c:v>
                </c:pt>
                <c:pt idx="14">
                  <c:v>0.82126196823742648</c:v>
                </c:pt>
                <c:pt idx="15">
                  <c:v>0.84977910839298265</c:v>
                </c:pt>
                <c:pt idx="16">
                  <c:v>0.87731251165099344</c:v>
                </c:pt>
                <c:pt idx="17">
                  <c:v>0.89787777855139117</c:v>
                </c:pt>
                <c:pt idx="18">
                  <c:v>0.91386462612382946</c:v>
                </c:pt>
                <c:pt idx="19">
                  <c:v>0.92948088787869931</c:v>
                </c:pt>
                <c:pt idx="20">
                  <c:v>0.94279277964068886</c:v>
                </c:pt>
                <c:pt idx="21">
                  <c:v>0.95587782796283349</c:v>
                </c:pt>
                <c:pt idx="22">
                  <c:v>0.96735138947221833</c:v>
                </c:pt>
                <c:pt idx="23">
                  <c:v>0.97563454398853644</c:v>
                </c:pt>
                <c:pt idx="24">
                  <c:v>0.98136514831293609</c:v>
                </c:pt>
                <c:pt idx="25">
                  <c:v>0.98463191844416842</c:v>
                </c:pt>
                <c:pt idx="26">
                  <c:v>0.98761569576925756</c:v>
                </c:pt>
                <c:pt idx="27">
                  <c:v>0.990332202110767</c:v>
                </c:pt>
                <c:pt idx="28">
                  <c:v>0.99206384856740504</c:v>
                </c:pt>
                <c:pt idx="29">
                  <c:v>0.99377528125217574</c:v>
                </c:pt>
                <c:pt idx="30">
                  <c:v>0.99535195545783062</c:v>
                </c:pt>
                <c:pt idx="31">
                  <c:v>0.99674782870400513</c:v>
                </c:pt>
                <c:pt idx="32">
                  <c:v>0.99770685988037933</c:v>
                </c:pt>
                <c:pt idx="33">
                  <c:v>0.99848059814796919</c:v>
                </c:pt>
                <c:pt idx="34">
                  <c:v>0.99925321342823314</c:v>
                </c:pt>
                <c:pt idx="35">
                  <c:v>0.99965299691627674</c:v>
                </c:pt>
                <c:pt idx="36">
                  <c:v>0.99978775539539255</c:v>
                </c:pt>
                <c:pt idx="37">
                  <c:v>0.99987197944483996</c:v>
                </c:pt>
                <c:pt idx="38">
                  <c:v>0.99995395751963545</c:v>
                </c:pt>
                <c:pt idx="3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8</c:f>
              <c:strCache>
                <c:ptCount val="87"/>
                <c:pt idx="0">
                  <c:v>Private Lab</c:v>
                </c:pt>
                <c:pt idx="1">
                  <c:v>Private Lab</c:v>
                </c:pt>
                <c:pt idx="2">
                  <c:v>President</c:v>
                </c:pt>
                <c:pt idx="3">
                  <c:v>President</c:v>
                </c:pt>
                <c:pt idx="4">
                  <c:v>President</c:v>
                </c:pt>
                <c:pt idx="5">
                  <c:v>Private Lab</c:v>
                </c:pt>
                <c:pt idx="6">
                  <c:v>President</c:v>
                </c:pt>
                <c:pt idx="7">
                  <c:v>Private Lab</c:v>
                </c:pt>
                <c:pt idx="8">
                  <c:v>Boursin</c:v>
                </c:pt>
                <c:pt idx="9">
                  <c:v>La Belle Et</c:v>
                </c:pt>
                <c:pt idx="10">
                  <c:v>Les Mousque</c:v>
                </c:pt>
                <c:pt idx="11">
                  <c:v>La Belle Et</c:v>
                </c:pt>
                <c:pt idx="12">
                  <c:v>President</c:v>
                </c:pt>
                <c:pt idx="13">
                  <c:v>Raguin</c:v>
                </c:pt>
                <c:pt idx="14">
                  <c:v>President</c:v>
                </c:pt>
                <c:pt idx="15">
                  <c:v>Raguin</c:v>
                </c:pt>
                <c:pt idx="16">
                  <c:v>Richesmonts</c:v>
                </c:pt>
                <c:pt idx="17">
                  <c:v>La Belle Et</c:v>
                </c:pt>
                <c:pt idx="18">
                  <c:v>Raguin</c:v>
                </c:pt>
                <c:pt idx="19">
                  <c:v>Raguin</c:v>
                </c:pt>
                <c:pt idx="20">
                  <c:v>All Others</c:v>
                </c:pt>
                <c:pt idx="21">
                  <c:v>All Others</c:v>
                </c:pt>
                <c:pt idx="22">
                  <c:v>Milleret: A</c:v>
                </c:pt>
                <c:pt idx="23">
                  <c:v>Milleret: A</c:v>
                </c:pt>
                <c:pt idx="24">
                  <c:v>All Others</c:v>
                </c:pt>
                <c:pt idx="25">
                  <c:v>All Others</c:v>
                </c:pt>
                <c:pt idx="26">
                  <c:v>All Others</c:v>
                </c:pt>
                <c:pt idx="27">
                  <c:v>La Belle Et</c:v>
                </c:pt>
                <c:pt idx="28">
                  <c:v>All Others</c:v>
                </c:pt>
                <c:pt idx="29">
                  <c:v>La Belle Et</c:v>
                </c:pt>
                <c:pt idx="30">
                  <c:v>All Others</c:v>
                </c:pt>
                <c:pt idx="31">
                  <c:v>All Others</c:v>
                </c:pt>
                <c:pt idx="32">
                  <c:v>La Belle Et</c:v>
                </c:pt>
                <c:pt idx="33">
                  <c:v>La Belle Et</c:v>
                </c:pt>
                <c:pt idx="34">
                  <c:v>Milleret: A</c:v>
                </c:pt>
                <c:pt idx="35">
                  <c:v>All Others</c:v>
                </c:pt>
                <c:pt idx="36">
                  <c:v>La Belle Et</c:v>
                </c:pt>
                <c:pt idx="37">
                  <c:v>La Belle Et</c:v>
                </c:pt>
                <c:pt idx="38">
                  <c:v>All Others</c:v>
                </c:pt>
                <c:pt idx="39">
                  <c:v>Milleret: A</c:v>
                </c:pt>
                <c:pt idx="40">
                  <c:v>All Others</c:v>
                </c:pt>
                <c:pt idx="41">
                  <c:v>La Belle Et</c:v>
                </c:pt>
                <c:pt idx="42">
                  <c:v>All Others</c:v>
                </c:pt>
                <c:pt idx="43">
                  <c:v>La Belle Et</c:v>
                </c:pt>
                <c:pt idx="44">
                  <c:v>La Belle Et</c:v>
                </c:pt>
                <c:pt idx="45">
                  <c:v>La Belle Et</c:v>
                </c:pt>
                <c:pt idx="46">
                  <c:v>All Others</c:v>
                </c:pt>
                <c:pt idx="47">
                  <c:v>La Belle Et</c:v>
                </c:pt>
                <c:pt idx="48">
                  <c:v>All Others</c:v>
                </c:pt>
                <c:pt idx="49">
                  <c:v>All Others</c:v>
                </c:pt>
                <c:pt idx="50">
                  <c:v>Raguin</c:v>
                </c:pt>
                <c:pt idx="51">
                  <c:v>All Others</c:v>
                </c:pt>
                <c:pt idx="52">
                  <c:v>Raguin</c:v>
                </c:pt>
                <c:pt idx="53">
                  <c:v>La Belle Et</c:v>
                </c:pt>
                <c:pt idx="54">
                  <c:v>Raguin</c:v>
                </c:pt>
                <c:pt idx="55">
                  <c:v>Raguin</c:v>
                </c:pt>
                <c:pt idx="56">
                  <c:v>Raguin</c:v>
                </c:pt>
                <c:pt idx="57">
                  <c:v>Raguin</c:v>
                </c:pt>
                <c:pt idx="58">
                  <c:v>Raguin</c:v>
                </c:pt>
                <c:pt idx="59">
                  <c:v>All Others</c:v>
                </c:pt>
                <c:pt idx="60">
                  <c:v>All Others</c:v>
                </c:pt>
                <c:pt idx="61">
                  <c:v>La Belle Et</c:v>
                </c:pt>
                <c:pt idx="62">
                  <c:v>La Belle Et</c:v>
                </c:pt>
                <c:pt idx="63">
                  <c:v>Raguin</c:v>
                </c:pt>
                <c:pt idx="64">
                  <c:v>All Others</c:v>
                </c:pt>
                <c:pt idx="65">
                  <c:v>Raguin</c:v>
                </c:pt>
                <c:pt idx="66">
                  <c:v>All Others</c:v>
                </c:pt>
                <c:pt idx="67">
                  <c:v>Raguin</c:v>
                </c:pt>
                <c:pt idx="68">
                  <c:v>All Others</c:v>
                </c:pt>
                <c:pt idx="69">
                  <c:v>All Others</c:v>
                </c:pt>
                <c:pt idx="70">
                  <c:v>Raguin</c:v>
                </c:pt>
                <c:pt idx="71">
                  <c:v>Raguin</c:v>
                </c:pt>
                <c:pt idx="72">
                  <c:v>Raguin</c:v>
                </c:pt>
                <c:pt idx="73">
                  <c:v>Raguin</c:v>
                </c:pt>
                <c:pt idx="74">
                  <c:v>Raguin</c:v>
                </c:pt>
                <c:pt idx="75">
                  <c:v>Raguin</c:v>
                </c:pt>
                <c:pt idx="76">
                  <c:v>All Others</c:v>
                </c:pt>
                <c:pt idx="77">
                  <c:v>All Others</c:v>
                </c:pt>
                <c:pt idx="78">
                  <c:v>Raguin</c:v>
                </c:pt>
                <c:pt idx="79">
                  <c:v>Raguin</c:v>
                </c:pt>
                <c:pt idx="80">
                  <c:v>All Others</c:v>
                </c:pt>
                <c:pt idx="81">
                  <c:v>Private Lab</c:v>
                </c:pt>
                <c:pt idx="82">
                  <c:v>All Others</c:v>
                </c:pt>
                <c:pt idx="83">
                  <c:v>All Others</c:v>
                </c:pt>
                <c:pt idx="84">
                  <c:v>All Others</c:v>
                </c:pt>
                <c:pt idx="85">
                  <c:v>All Others</c:v>
                </c:pt>
                <c:pt idx="86">
                  <c:v>All Others</c:v>
                </c:pt>
              </c:strCache>
            </c:strRef>
          </c:cat>
          <c:val>
            <c:numRef>
              <c:f>Sheet1!$B$2:$B$88</c:f>
              <c:numCache>
                <c:formatCode>General</c:formatCode>
                <c:ptCount val="87"/>
                <c:pt idx="0">
                  <c:v>0.998</c:v>
                </c:pt>
                <c:pt idx="1">
                  <c:v>0.92600000000000005</c:v>
                </c:pt>
                <c:pt idx="2">
                  <c:v>0.96699999999999997</c:v>
                </c:pt>
                <c:pt idx="3">
                  <c:v>0.95499999999999996</c:v>
                </c:pt>
                <c:pt idx="4">
                  <c:v>0.92100000000000004</c:v>
                </c:pt>
                <c:pt idx="5">
                  <c:v>0.94799999999999995</c:v>
                </c:pt>
                <c:pt idx="6">
                  <c:v>0.93500000000000005</c:v>
                </c:pt>
                <c:pt idx="7">
                  <c:v>0.90900000000000003</c:v>
                </c:pt>
                <c:pt idx="8">
                  <c:v>0.84299999999999997</c:v>
                </c:pt>
                <c:pt idx="9">
                  <c:v>5.3999999999999999E-2</c:v>
                </c:pt>
                <c:pt idx="10">
                  <c:v>0.55000000000000004</c:v>
                </c:pt>
                <c:pt idx="11">
                  <c:v>4.9000000000000002E-2</c:v>
                </c:pt>
                <c:pt idx="12">
                  <c:v>0.39700000000000002</c:v>
                </c:pt>
                <c:pt idx="13">
                  <c:v>0.04</c:v>
                </c:pt>
                <c:pt idx="14">
                  <c:v>0.375</c:v>
                </c:pt>
                <c:pt idx="15">
                  <c:v>0.06</c:v>
                </c:pt>
                <c:pt idx="16">
                  <c:v>0.38400000000000001</c:v>
                </c:pt>
                <c:pt idx="17">
                  <c:v>3.3000000000000002E-2</c:v>
                </c:pt>
                <c:pt idx="18">
                  <c:v>0.04</c:v>
                </c:pt>
                <c:pt idx="19">
                  <c:v>5.1999999999999998E-2</c:v>
                </c:pt>
                <c:pt idx="20">
                  <c:v>7.0999999999999994E-2</c:v>
                </c:pt>
                <c:pt idx="21">
                  <c:v>0.11700000000000001</c:v>
                </c:pt>
                <c:pt idx="22">
                  <c:v>0.126</c:v>
                </c:pt>
                <c:pt idx="23">
                  <c:v>0.13</c:v>
                </c:pt>
                <c:pt idx="24">
                  <c:v>0.11700000000000001</c:v>
                </c:pt>
                <c:pt idx="25">
                  <c:v>7.1999999999999995E-2</c:v>
                </c:pt>
                <c:pt idx="26">
                  <c:v>6.9000000000000006E-2</c:v>
                </c:pt>
                <c:pt idx="27">
                  <c:v>1.4E-2</c:v>
                </c:pt>
                <c:pt idx="28">
                  <c:v>7.4999999999999997E-2</c:v>
                </c:pt>
                <c:pt idx="29">
                  <c:v>5.1999999999999998E-2</c:v>
                </c:pt>
                <c:pt idx="30">
                  <c:v>8.6999999999999994E-2</c:v>
                </c:pt>
                <c:pt idx="31">
                  <c:v>5.6000000000000001E-2</c:v>
                </c:pt>
                <c:pt idx="32">
                  <c:v>3.4000000000000002E-2</c:v>
                </c:pt>
                <c:pt idx="33">
                  <c:v>3.3000000000000002E-2</c:v>
                </c:pt>
                <c:pt idx="34">
                  <c:v>6.4000000000000001E-2</c:v>
                </c:pt>
                <c:pt idx="35">
                  <c:v>4.8000000000000001E-2</c:v>
                </c:pt>
                <c:pt idx="36">
                  <c:v>4.2999999999999997E-2</c:v>
                </c:pt>
                <c:pt idx="37">
                  <c:v>4.4999999999999998E-2</c:v>
                </c:pt>
                <c:pt idx="38">
                  <c:v>4.8000000000000001E-2</c:v>
                </c:pt>
                <c:pt idx="39">
                  <c:v>4.3999999999999997E-2</c:v>
                </c:pt>
                <c:pt idx="40">
                  <c:v>4.2000000000000003E-2</c:v>
                </c:pt>
                <c:pt idx="41">
                  <c:v>2.7E-2</c:v>
                </c:pt>
                <c:pt idx="42">
                  <c:v>3.9E-2</c:v>
                </c:pt>
                <c:pt idx="43">
                  <c:v>3.3000000000000002E-2</c:v>
                </c:pt>
                <c:pt idx="44">
                  <c:v>2.5000000000000001E-2</c:v>
                </c:pt>
                <c:pt idx="45">
                  <c:v>2.3E-2</c:v>
                </c:pt>
                <c:pt idx="46">
                  <c:v>2.4E-2</c:v>
                </c:pt>
                <c:pt idx="47">
                  <c:v>0.03</c:v>
                </c:pt>
                <c:pt idx="48">
                  <c:v>3.3000000000000002E-2</c:v>
                </c:pt>
                <c:pt idx="49">
                  <c:v>3.2000000000000001E-2</c:v>
                </c:pt>
                <c:pt idx="50">
                  <c:v>2.1999999999999999E-2</c:v>
                </c:pt>
                <c:pt idx="51">
                  <c:v>3.9E-2</c:v>
                </c:pt>
                <c:pt idx="52">
                  <c:v>4.0000000000000001E-3</c:v>
                </c:pt>
                <c:pt idx="53">
                  <c:v>2.4E-2</c:v>
                </c:pt>
                <c:pt idx="54">
                  <c:v>1.2999999999999999E-2</c:v>
                </c:pt>
                <c:pt idx="55">
                  <c:v>0.01</c:v>
                </c:pt>
                <c:pt idx="56">
                  <c:v>1.2999999999999999E-2</c:v>
                </c:pt>
                <c:pt idx="57">
                  <c:v>4.0000000000000001E-3</c:v>
                </c:pt>
                <c:pt idx="58">
                  <c:v>2.3E-2</c:v>
                </c:pt>
                <c:pt idx="59">
                  <c:v>8.9999999999999993E-3</c:v>
                </c:pt>
                <c:pt idx="60">
                  <c:v>2.4E-2</c:v>
                </c:pt>
                <c:pt idx="61">
                  <c:v>2.1000000000000001E-2</c:v>
                </c:pt>
                <c:pt idx="62">
                  <c:v>1.2999999999999999E-2</c:v>
                </c:pt>
                <c:pt idx="63">
                  <c:v>1.4E-2</c:v>
                </c:pt>
                <c:pt idx="64">
                  <c:v>3.1E-2</c:v>
                </c:pt>
                <c:pt idx="65">
                  <c:v>1.4E-2</c:v>
                </c:pt>
                <c:pt idx="66">
                  <c:v>8.9999999999999993E-3</c:v>
                </c:pt>
                <c:pt idx="67">
                  <c:v>1.4E-2</c:v>
                </c:pt>
                <c:pt idx="68">
                  <c:v>8.9999999999999993E-3</c:v>
                </c:pt>
                <c:pt idx="69">
                  <c:v>2.9000000000000001E-2</c:v>
                </c:pt>
                <c:pt idx="70">
                  <c:v>3.0000000000000001E-3</c:v>
                </c:pt>
                <c:pt idx="71">
                  <c:v>4.0000000000000001E-3</c:v>
                </c:pt>
                <c:pt idx="72">
                  <c:v>1.2999999999999999E-2</c:v>
                </c:pt>
                <c:pt idx="73">
                  <c:v>4.0000000000000001E-3</c:v>
                </c:pt>
                <c:pt idx="74">
                  <c:v>1.4E-2</c:v>
                </c:pt>
                <c:pt idx="75">
                  <c:v>4.0000000000000001E-3</c:v>
                </c:pt>
                <c:pt idx="76">
                  <c:v>1.9E-2</c:v>
                </c:pt>
                <c:pt idx="77">
                  <c:v>3.0000000000000001E-3</c:v>
                </c:pt>
                <c:pt idx="78">
                  <c:v>1E-3</c:v>
                </c:pt>
                <c:pt idx="79">
                  <c:v>4.0000000000000001E-3</c:v>
                </c:pt>
                <c:pt idx="80">
                  <c:v>3.0000000000000001E-3</c:v>
                </c:pt>
                <c:pt idx="81">
                  <c:v>8.0000000000000002E-3</c:v>
                </c:pt>
                <c:pt idx="82">
                  <c:v>1E-3</c:v>
                </c:pt>
                <c:pt idx="83">
                  <c:v>3.0000000000000001E-3</c:v>
                </c:pt>
                <c:pt idx="84">
                  <c:v>1E-3</c:v>
                </c:pt>
                <c:pt idx="85">
                  <c:v>1E-3</c:v>
                </c:pt>
                <c:pt idx="86">
                  <c:v>4.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8</c:f>
              <c:strCache>
                <c:ptCount val="87"/>
                <c:pt idx="0">
                  <c:v>Private Lab</c:v>
                </c:pt>
                <c:pt idx="1">
                  <c:v>Private Lab</c:v>
                </c:pt>
                <c:pt idx="2">
                  <c:v>President</c:v>
                </c:pt>
                <c:pt idx="3">
                  <c:v>President</c:v>
                </c:pt>
                <c:pt idx="4">
                  <c:v>President</c:v>
                </c:pt>
                <c:pt idx="5">
                  <c:v>Private Lab</c:v>
                </c:pt>
                <c:pt idx="6">
                  <c:v>President</c:v>
                </c:pt>
                <c:pt idx="7">
                  <c:v>Private Lab</c:v>
                </c:pt>
                <c:pt idx="8">
                  <c:v>Boursin</c:v>
                </c:pt>
                <c:pt idx="9">
                  <c:v>La Belle Et</c:v>
                </c:pt>
                <c:pt idx="10">
                  <c:v>Les Mousque</c:v>
                </c:pt>
                <c:pt idx="11">
                  <c:v>La Belle Et</c:v>
                </c:pt>
                <c:pt idx="12">
                  <c:v>President</c:v>
                </c:pt>
                <c:pt idx="13">
                  <c:v>Raguin</c:v>
                </c:pt>
                <c:pt idx="14">
                  <c:v>President</c:v>
                </c:pt>
                <c:pt idx="15">
                  <c:v>Raguin</c:v>
                </c:pt>
                <c:pt idx="16">
                  <c:v>Richesmonts</c:v>
                </c:pt>
                <c:pt idx="17">
                  <c:v>La Belle Et</c:v>
                </c:pt>
                <c:pt idx="18">
                  <c:v>Raguin</c:v>
                </c:pt>
                <c:pt idx="19">
                  <c:v>Raguin</c:v>
                </c:pt>
                <c:pt idx="20">
                  <c:v>All Others</c:v>
                </c:pt>
                <c:pt idx="21">
                  <c:v>All Others</c:v>
                </c:pt>
                <c:pt idx="22">
                  <c:v>Milleret: A</c:v>
                </c:pt>
                <c:pt idx="23">
                  <c:v>Milleret: A</c:v>
                </c:pt>
                <c:pt idx="24">
                  <c:v>All Others</c:v>
                </c:pt>
                <c:pt idx="25">
                  <c:v>All Others</c:v>
                </c:pt>
                <c:pt idx="26">
                  <c:v>All Others</c:v>
                </c:pt>
                <c:pt idx="27">
                  <c:v>La Belle Et</c:v>
                </c:pt>
                <c:pt idx="28">
                  <c:v>All Others</c:v>
                </c:pt>
                <c:pt idx="29">
                  <c:v>La Belle Et</c:v>
                </c:pt>
                <c:pt idx="30">
                  <c:v>All Others</c:v>
                </c:pt>
                <c:pt idx="31">
                  <c:v>All Others</c:v>
                </c:pt>
                <c:pt idx="32">
                  <c:v>La Belle Et</c:v>
                </c:pt>
                <c:pt idx="33">
                  <c:v>La Belle Et</c:v>
                </c:pt>
                <c:pt idx="34">
                  <c:v>Milleret: A</c:v>
                </c:pt>
                <c:pt idx="35">
                  <c:v>All Others</c:v>
                </c:pt>
                <c:pt idx="36">
                  <c:v>La Belle Et</c:v>
                </c:pt>
                <c:pt idx="37">
                  <c:v>La Belle Et</c:v>
                </c:pt>
                <c:pt idx="38">
                  <c:v>All Others</c:v>
                </c:pt>
                <c:pt idx="39">
                  <c:v>Milleret: A</c:v>
                </c:pt>
                <c:pt idx="40">
                  <c:v>All Others</c:v>
                </c:pt>
                <c:pt idx="41">
                  <c:v>La Belle Et</c:v>
                </c:pt>
                <c:pt idx="42">
                  <c:v>All Others</c:v>
                </c:pt>
                <c:pt idx="43">
                  <c:v>La Belle Et</c:v>
                </c:pt>
                <c:pt idx="44">
                  <c:v>La Belle Et</c:v>
                </c:pt>
                <c:pt idx="45">
                  <c:v>La Belle Et</c:v>
                </c:pt>
                <c:pt idx="46">
                  <c:v>All Others</c:v>
                </c:pt>
                <c:pt idx="47">
                  <c:v>La Belle Et</c:v>
                </c:pt>
                <c:pt idx="48">
                  <c:v>All Others</c:v>
                </c:pt>
                <c:pt idx="49">
                  <c:v>All Others</c:v>
                </c:pt>
                <c:pt idx="50">
                  <c:v>Raguin</c:v>
                </c:pt>
                <c:pt idx="51">
                  <c:v>All Others</c:v>
                </c:pt>
                <c:pt idx="52">
                  <c:v>Raguin</c:v>
                </c:pt>
                <c:pt idx="53">
                  <c:v>La Belle Et</c:v>
                </c:pt>
                <c:pt idx="54">
                  <c:v>Raguin</c:v>
                </c:pt>
                <c:pt idx="55">
                  <c:v>Raguin</c:v>
                </c:pt>
                <c:pt idx="56">
                  <c:v>Raguin</c:v>
                </c:pt>
                <c:pt idx="57">
                  <c:v>Raguin</c:v>
                </c:pt>
                <c:pt idx="58">
                  <c:v>Raguin</c:v>
                </c:pt>
                <c:pt idx="59">
                  <c:v>All Others</c:v>
                </c:pt>
                <c:pt idx="60">
                  <c:v>All Others</c:v>
                </c:pt>
                <c:pt idx="61">
                  <c:v>La Belle Et</c:v>
                </c:pt>
                <c:pt idx="62">
                  <c:v>La Belle Et</c:v>
                </c:pt>
                <c:pt idx="63">
                  <c:v>Raguin</c:v>
                </c:pt>
                <c:pt idx="64">
                  <c:v>All Others</c:v>
                </c:pt>
                <c:pt idx="65">
                  <c:v>Raguin</c:v>
                </c:pt>
                <c:pt idx="66">
                  <c:v>All Others</c:v>
                </c:pt>
                <c:pt idx="67">
                  <c:v>Raguin</c:v>
                </c:pt>
                <c:pt idx="68">
                  <c:v>All Others</c:v>
                </c:pt>
                <c:pt idx="69">
                  <c:v>All Others</c:v>
                </c:pt>
                <c:pt idx="70">
                  <c:v>Raguin</c:v>
                </c:pt>
                <c:pt idx="71">
                  <c:v>Raguin</c:v>
                </c:pt>
                <c:pt idx="72">
                  <c:v>Raguin</c:v>
                </c:pt>
                <c:pt idx="73">
                  <c:v>Raguin</c:v>
                </c:pt>
                <c:pt idx="74">
                  <c:v>Raguin</c:v>
                </c:pt>
                <c:pt idx="75">
                  <c:v>Raguin</c:v>
                </c:pt>
                <c:pt idx="76">
                  <c:v>All Others</c:v>
                </c:pt>
                <c:pt idx="77">
                  <c:v>All Others</c:v>
                </c:pt>
                <c:pt idx="78">
                  <c:v>Raguin</c:v>
                </c:pt>
                <c:pt idx="79">
                  <c:v>Raguin</c:v>
                </c:pt>
                <c:pt idx="80">
                  <c:v>All Others</c:v>
                </c:pt>
                <c:pt idx="81">
                  <c:v>Private Lab</c:v>
                </c:pt>
                <c:pt idx="82">
                  <c:v>All Others</c:v>
                </c:pt>
                <c:pt idx="83">
                  <c:v>All Others</c:v>
                </c:pt>
                <c:pt idx="84">
                  <c:v>All Others</c:v>
                </c:pt>
                <c:pt idx="85">
                  <c:v>All Others</c:v>
                </c:pt>
                <c:pt idx="86">
                  <c:v>All Others</c:v>
                </c:pt>
              </c:strCache>
            </c:strRef>
          </c:cat>
          <c:val>
            <c:numRef>
              <c:f>Sheet1!$C$2:$C$88</c:f>
              <c:numCache>
                <c:formatCode>General</c:formatCode>
                <c:ptCount val="87"/>
                <c:pt idx="0">
                  <c:v>0.22201058651539465</c:v>
                </c:pt>
                <c:pt idx="1">
                  <c:v>0.38221400450656506</c:v>
                </c:pt>
                <c:pt idx="2">
                  <c:v>0.51578614264457168</c:v>
                </c:pt>
                <c:pt idx="3">
                  <c:v>0.60863223510519215</c:v>
                </c:pt>
                <c:pt idx="4">
                  <c:v>0.66684564313290184</c:v>
                </c:pt>
                <c:pt idx="5">
                  <c:v>0.71686669460405639</c:v>
                </c:pt>
                <c:pt idx="6">
                  <c:v>0.76327577624070186</c:v>
                </c:pt>
                <c:pt idx="7">
                  <c:v>0.80246842340844848</c:v>
                </c:pt>
                <c:pt idx="8">
                  <c:v>0.82382490097442107</c:v>
                </c:pt>
                <c:pt idx="9">
                  <c:v>0.84139937286055666</c:v>
                </c:pt>
                <c:pt idx="10">
                  <c:v>0.85672696008144011</c:v>
                </c:pt>
                <c:pt idx="11">
                  <c:v>0.86956737319718336</c:v>
                </c:pt>
                <c:pt idx="12">
                  <c:v>0.87846435731248884</c:v>
                </c:pt>
                <c:pt idx="13">
                  <c:v>0.88667713785625413</c:v>
                </c:pt>
                <c:pt idx="14">
                  <c:v>0.89476060749304431</c:v>
                </c:pt>
                <c:pt idx="15">
                  <c:v>0.9023051791540484</c:v>
                </c:pt>
                <c:pt idx="16">
                  <c:v>0.90953871563633404</c:v>
                </c:pt>
                <c:pt idx="17">
                  <c:v>0.91540212247059383</c:v>
                </c:pt>
                <c:pt idx="18">
                  <c:v>0.92114458485047068</c:v>
                </c:pt>
                <c:pt idx="19">
                  <c:v>0.92687351326291911</c:v>
                </c:pt>
                <c:pt idx="20">
                  <c:v>0.93215200663213638</c:v>
                </c:pt>
                <c:pt idx="21">
                  <c:v>0.93732788792103272</c:v>
                </c:pt>
                <c:pt idx="22">
                  <c:v>0.9415176351286676</c:v>
                </c:pt>
                <c:pt idx="23">
                  <c:v>0.94530087116917993</c:v>
                </c:pt>
                <c:pt idx="24">
                  <c:v>0.94883372881226657</c:v>
                </c:pt>
                <c:pt idx="25">
                  <c:v>0.95235452892073513</c:v>
                </c:pt>
                <c:pt idx="26">
                  <c:v>0.9558275910350017</c:v>
                </c:pt>
                <c:pt idx="27">
                  <c:v>0.95895147678961512</c:v>
                </c:pt>
                <c:pt idx="28">
                  <c:v>0.96180837427768617</c:v>
                </c:pt>
                <c:pt idx="29">
                  <c:v>0.96445980153298039</c:v>
                </c:pt>
                <c:pt idx="30">
                  <c:v>0.96683710442981541</c:v>
                </c:pt>
                <c:pt idx="31">
                  <c:v>0.96900155492982165</c:v>
                </c:pt>
                <c:pt idx="32">
                  <c:v>0.97089237321563882</c:v>
                </c:pt>
                <c:pt idx="33">
                  <c:v>0.97276855020941988</c:v>
                </c:pt>
                <c:pt idx="34">
                  <c:v>0.97463697593094645</c:v>
                </c:pt>
                <c:pt idx="35">
                  <c:v>0.976469721192889</c:v>
                </c:pt>
                <c:pt idx="36">
                  <c:v>0.97824267092601147</c:v>
                </c:pt>
                <c:pt idx="37">
                  <c:v>0.97986674701742138</c:v>
                </c:pt>
                <c:pt idx="38">
                  <c:v>0.98132029511923324</c:v>
                </c:pt>
                <c:pt idx="39">
                  <c:v>0.98275994014541412</c:v>
                </c:pt>
                <c:pt idx="40">
                  <c:v>0.98373943027902888</c:v>
                </c:pt>
                <c:pt idx="41">
                  <c:v>0.98461778476513306</c:v>
                </c:pt>
                <c:pt idx="42">
                  <c:v>0.98543535943387695</c:v>
                </c:pt>
                <c:pt idx="43">
                  <c:v>0.98625145766981037</c:v>
                </c:pt>
                <c:pt idx="44">
                  <c:v>0.9870625114269751</c:v>
                </c:pt>
                <c:pt idx="45">
                  <c:v>0.98785892389210361</c:v>
                </c:pt>
                <c:pt idx="46">
                  <c:v>0.98855752268354491</c:v>
                </c:pt>
                <c:pt idx="47">
                  <c:v>0.98919657201830125</c:v>
                </c:pt>
                <c:pt idx="48">
                  <c:v>0.98981728897899546</c:v>
                </c:pt>
                <c:pt idx="49">
                  <c:v>0.99041106104090026</c:v>
                </c:pt>
                <c:pt idx="50">
                  <c:v>0.99099609754201046</c:v>
                </c:pt>
                <c:pt idx="51">
                  <c:v>0.99155578861320925</c:v>
                </c:pt>
                <c:pt idx="52">
                  <c:v>0.99210268393338474</c:v>
                </c:pt>
                <c:pt idx="53">
                  <c:v>0.99264453477479153</c:v>
                </c:pt>
                <c:pt idx="54">
                  <c:v>0.99318404793091519</c:v>
                </c:pt>
                <c:pt idx="55">
                  <c:v>0.99364678658089944</c:v>
                </c:pt>
                <c:pt idx="56">
                  <c:v>0.99410509593245266</c:v>
                </c:pt>
                <c:pt idx="57">
                  <c:v>0.99453424573600102</c:v>
                </c:pt>
                <c:pt idx="58">
                  <c:v>0.99491221253545636</c:v>
                </c:pt>
                <c:pt idx="59">
                  <c:v>0.99528784164962869</c:v>
                </c:pt>
                <c:pt idx="60">
                  <c:v>0.99566002575391011</c:v>
                </c:pt>
                <c:pt idx="61">
                  <c:v>0.99603134860571885</c:v>
                </c:pt>
                <c:pt idx="62">
                  <c:v>0.99639885733943412</c:v>
                </c:pt>
                <c:pt idx="63">
                  <c:v>0.99674557297773658</c:v>
                </c:pt>
                <c:pt idx="64">
                  <c:v>0.99707063426815368</c:v>
                </c:pt>
                <c:pt idx="65">
                  <c:v>0.99738462231249292</c:v>
                </c:pt>
                <c:pt idx="66">
                  <c:v>0.99767314189085321</c:v>
                </c:pt>
                <c:pt idx="67">
                  <c:v>0.99794148355413848</c:v>
                </c:pt>
                <c:pt idx="68">
                  <c:v>0.99819383052864463</c:v>
                </c:pt>
                <c:pt idx="69">
                  <c:v>0.99843448907673538</c:v>
                </c:pt>
                <c:pt idx="70">
                  <c:v>0.99866936492965219</c:v>
                </c:pt>
                <c:pt idx="71">
                  <c:v>0.99886474620489152</c:v>
                </c:pt>
                <c:pt idx="72">
                  <c:v>0.99904388671921673</c:v>
                </c:pt>
                <c:pt idx="73">
                  <c:v>0.99918894624283583</c:v>
                </c:pt>
                <c:pt idx="74">
                  <c:v>0.99932773092701088</c:v>
                </c:pt>
                <c:pt idx="75">
                  <c:v>0.999459133447134</c:v>
                </c:pt>
                <c:pt idx="76">
                  <c:v>0.9995519026420524</c:v>
                </c:pt>
                <c:pt idx="77">
                  <c:v>0.9996412268270799</c:v>
                </c:pt>
                <c:pt idx="78">
                  <c:v>0.99969929985095451</c:v>
                </c:pt>
                <c:pt idx="79">
                  <c:v>0.99975306661246555</c:v>
                </c:pt>
                <c:pt idx="80">
                  <c:v>0.99980154282307276</c:v>
                </c:pt>
                <c:pt idx="81">
                  <c:v>0.99984780438446441</c:v>
                </c:pt>
                <c:pt idx="82">
                  <c:v>0.99988582252933156</c:v>
                </c:pt>
                <c:pt idx="83">
                  <c:v>0.99991350564452608</c:v>
                </c:pt>
                <c:pt idx="84">
                  <c:v>0.99994081965151793</c:v>
                </c:pt>
                <c:pt idx="85">
                  <c:v>0.99996739544210467</c:v>
                </c:pt>
                <c:pt idx="86">
                  <c:v>0.9999840053112213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3</c:f>
              <c:strCache>
                <c:ptCount val="72"/>
                <c:pt idx="0">
                  <c:v>Private Lab</c:v>
                </c:pt>
                <c:pt idx="1">
                  <c:v>Private Lab</c:v>
                </c:pt>
                <c:pt idx="2">
                  <c:v>President</c:v>
                </c:pt>
                <c:pt idx="3">
                  <c:v>President</c:v>
                </c:pt>
                <c:pt idx="4">
                  <c:v>President</c:v>
                </c:pt>
                <c:pt idx="5">
                  <c:v>Private Lab</c:v>
                </c:pt>
                <c:pt idx="6">
                  <c:v>President</c:v>
                </c:pt>
                <c:pt idx="7">
                  <c:v>Private Lab</c:v>
                </c:pt>
                <c:pt idx="8">
                  <c:v>Boursin</c:v>
                </c:pt>
                <c:pt idx="9">
                  <c:v>La Belle Et</c:v>
                </c:pt>
                <c:pt idx="10">
                  <c:v>Les Mousque</c:v>
                </c:pt>
                <c:pt idx="11">
                  <c:v>La Belle Et</c:v>
                </c:pt>
                <c:pt idx="12">
                  <c:v>President</c:v>
                </c:pt>
                <c:pt idx="13">
                  <c:v>Raguin</c:v>
                </c:pt>
                <c:pt idx="14">
                  <c:v>President</c:v>
                </c:pt>
                <c:pt idx="15">
                  <c:v>Raguin</c:v>
                </c:pt>
                <c:pt idx="16">
                  <c:v>Richesmonts</c:v>
                </c:pt>
                <c:pt idx="17">
                  <c:v>La Belle Et</c:v>
                </c:pt>
                <c:pt idx="18">
                  <c:v>Raguin</c:v>
                </c:pt>
                <c:pt idx="19">
                  <c:v>Raguin</c:v>
                </c:pt>
                <c:pt idx="20">
                  <c:v>All Others</c:v>
                </c:pt>
                <c:pt idx="21">
                  <c:v>All Others</c:v>
                </c:pt>
                <c:pt idx="22">
                  <c:v>Milleret: A</c:v>
                </c:pt>
                <c:pt idx="23">
                  <c:v>Milleret: A</c:v>
                </c:pt>
                <c:pt idx="24">
                  <c:v>All Others</c:v>
                </c:pt>
                <c:pt idx="25">
                  <c:v>All Others</c:v>
                </c:pt>
                <c:pt idx="26">
                  <c:v>All Others</c:v>
                </c:pt>
                <c:pt idx="27">
                  <c:v>La Belle Et</c:v>
                </c:pt>
                <c:pt idx="28">
                  <c:v>All Others</c:v>
                </c:pt>
                <c:pt idx="29">
                  <c:v>La Belle Et</c:v>
                </c:pt>
                <c:pt idx="30">
                  <c:v>All Others</c:v>
                </c:pt>
                <c:pt idx="31">
                  <c:v>All Others</c:v>
                </c:pt>
                <c:pt idx="32">
                  <c:v>All Others</c:v>
                </c:pt>
                <c:pt idx="33">
                  <c:v>La Belle Et</c:v>
                </c:pt>
                <c:pt idx="34">
                  <c:v>Milleret: A</c:v>
                </c:pt>
                <c:pt idx="35">
                  <c:v>La Belle Et</c:v>
                </c:pt>
                <c:pt idx="36">
                  <c:v>La Belle Et</c:v>
                </c:pt>
                <c:pt idx="37">
                  <c:v>All Others</c:v>
                </c:pt>
                <c:pt idx="38">
                  <c:v>La Belle Et</c:v>
                </c:pt>
                <c:pt idx="39">
                  <c:v>Milleret: A</c:v>
                </c:pt>
                <c:pt idx="40">
                  <c:v>All Others</c:v>
                </c:pt>
                <c:pt idx="41">
                  <c:v>La Belle Et</c:v>
                </c:pt>
                <c:pt idx="42">
                  <c:v>La Belle Et</c:v>
                </c:pt>
                <c:pt idx="43">
                  <c:v>La Belle Et</c:v>
                </c:pt>
                <c:pt idx="44">
                  <c:v>La Belle Et</c:v>
                </c:pt>
                <c:pt idx="45">
                  <c:v>All Others</c:v>
                </c:pt>
                <c:pt idx="46">
                  <c:v>All Others</c:v>
                </c:pt>
                <c:pt idx="47">
                  <c:v>La Belle Et</c:v>
                </c:pt>
                <c:pt idx="48">
                  <c:v>All Others</c:v>
                </c:pt>
                <c:pt idx="49">
                  <c:v>La Belle Et</c:v>
                </c:pt>
                <c:pt idx="50">
                  <c:v>Raguin</c:v>
                </c:pt>
                <c:pt idx="51">
                  <c:v>Raguin</c:v>
                </c:pt>
                <c:pt idx="52">
                  <c:v>All Others</c:v>
                </c:pt>
                <c:pt idx="53">
                  <c:v>Raguin</c:v>
                </c:pt>
                <c:pt idx="54">
                  <c:v>Raguin</c:v>
                </c:pt>
                <c:pt idx="55">
                  <c:v>All Others</c:v>
                </c:pt>
                <c:pt idx="56">
                  <c:v>La Belle Et</c:v>
                </c:pt>
                <c:pt idx="57">
                  <c:v>Raguin</c:v>
                </c:pt>
                <c:pt idx="58">
                  <c:v>All Others</c:v>
                </c:pt>
                <c:pt idx="59">
                  <c:v>La Belle Et</c:v>
                </c:pt>
                <c:pt idx="60">
                  <c:v>All Others</c:v>
                </c:pt>
                <c:pt idx="61">
                  <c:v>Raguin</c:v>
                </c:pt>
                <c:pt idx="62">
                  <c:v>All Others</c:v>
                </c:pt>
                <c:pt idx="63">
                  <c:v>All Others</c:v>
                </c:pt>
                <c:pt idx="64">
                  <c:v>All Others</c:v>
                </c:pt>
                <c:pt idx="65">
                  <c:v>All Others</c:v>
                </c:pt>
                <c:pt idx="66">
                  <c:v>Raguin</c:v>
                </c:pt>
                <c:pt idx="67">
                  <c:v>Raguin</c:v>
                </c:pt>
                <c:pt idx="68">
                  <c:v>Raguin</c:v>
                </c:pt>
                <c:pt idx="69">
                  <c:v>All Others</c:v>
                </c:pt>
                <c:pt idx="70">
                  <c:v>Raguin</c:v>
                </c:pt>
                <c:pt idx="71">
                  <c:v>Private Lab</c:v>
                </c:pt>
              </c:strCache>
            </c:strRef>
          </c:cat>
          <c:val>
            <c:numRef>
              <c:f>Sheet1!$B$2:$B$73</c:f>
              <c:numCache>
                <c:formatCode>General</c:formatCode>
                <c:ptCount val="72"/>
                <c:pt idx="0">
                  <c:v>1</c:v>
                </c:pt>
                <c:pt idx="1">
                  <c:v>0.95</c:v>
                </c:pt>
                <c:pt idx="2">
                  <c:v>0.98</c:v>
                </c:pt>
                <c:pt idx="3">
                  <c:v>0.98</c:v>
                </c:pt>
                <c:pt idx="4">
                  <c:v>0.95</c:v>
                </c:pt>
                <c:pt idx="5">
                  <c:v>0.96</c:v>
                </c:pt>
                <c:pt idx="6">
                  <c:v>0.96</c:v>
                </c:pt>
                <c:pt idx="7">
                  <c:v>0.92</c:v>
                </c:pt>
                <c:pt idx="8">
                  <c:v>0.85</c:v>
                </c:pt>
                <c:pt idx="9">
                  <c:v>0.05</c:v>
                </c:pt>
                <c:pt idx="10">
                  <c:v>0.55000000000000004</c:v>
                </c:pt>
                <c:pt idx="11">
                  <c:v>0.05</c:v>
                </c:pt>
                <c:pt idx="12">
                  <c:v>0.38</c:v>
                </c:pt>
                <c:pt idx="13">
                  <c:v>0.04</c:v>
                </c:pt>
                <c:pt idx="14">
                  <c:v>0.35</c:v>
                </c:pt>
                <c:pt idx="15">
                  <c:v>0.06</c:v>
                </c:pt>
                <c:pt idx="16">
                  <c:v>0.37</c:v>
                </c:pt>
                <c:pt idx="17">
                  <c:v>0.03</c:v>
                </c:pt>
                <c:pt idx="18">
                  <c:v>0.05</c:v>
                </c:pt>
                <c:pt idx="19">
                  <c:v>0.04</c:v>
                </c:pt>
                <c:pt idx="20">
                  <c:v>7.0000000000000007E-2</c:v>
                </c:pt>
                <c:pt idx="21">
                  <c:v>0.11</c:v>
                </c:pt>
                <c:pt idx="22">
                  <c:v>0.12</c:v>
                </c:pt>
                <c:pt idx="23">
                  <c:v>0.13</c:v>
                </c:pt>
                <c:pt idx="24">
                  <c:v>0.12</c:v>
                </c:pt>
                <c:pt idx="25">
                  <c:v>7.0000000000000007E-2</c:v>
                </c:pt>
                <c:pt idx="26">
                  <c:v>7.0000000000000007E-2</c:v>
                </c:pt>
                <c:pt idx="27">
                  <c:v>0.01</c:v>
                </c:pt>
                <c:pt idx="28">
                  <c:v>7.0000000000000007E-2</c:v>
                </c:pt>
                <c:pt idx="29">
                  <c:v>0.05</c:v>
                </c:pt>
                <c:pt idx="30">
                  <c:v>0.09</c:v>
                </c:pt>
                <c:pt idx="31">
                  <c:v>0.06</c:v>
                </c:pt>
                <c:pt idx="32">
                  <c:v>0.05</c:v>
                </c:pt>
                <c:pt idx="33">
                  <c:v>0.03</c:v>
                </c:pt>
                <c:pt idx="34">
                  <c:v>0.06</c:v>
                </c:pt>
                <c:pt idx="35">
                  <c:v>0.03</c:v>
                </c:pt>
                <c:pt idx="36">
                  <c:v>0.04</c:v>
                </c:pt>
                <c:pt idx="37">
                  <c:v>0.05</c:v>
                </c:pt>
                <c:pt idx="38">
                  <c:v>0.04</c:v>
                </c:pt>
                <c:pt idx="39">
                  <c:v>0.04</c:v>
                </c:pt>
                <c:pt idx="40">
                  <c:v>0.04</c:v>
                </c:pt>
                <c:pt idx="41">
                  <c:v>0.02</c:v>
                </c:pt>
                <c:pt idx="42">
                  <c:v>0.02</c:v>
                </c:pt>
                <c:pt idx="43">
                  <c:v>0.02</c:v>
                </c:pt>
                <c:pt idx="44">
                  <c:v>0.03</c:v>
                </c:pt>
                <c:pt idx="45">
                  <c:v>0.04</c:v>
                </c:pt>
                <c:pt idx="46">
                  <c:v>0.03</c:v>
                </c:pt>
                <c:pt idx="47">
                  <c:v>0.03</c:v>
                </c:pt>
                <c:pt idx="48">
                  <c:v>0.03</c:v>
                </c:pt>
                <c:pt idx="49">
                  <c:v>0.02</c:v>
                </c:pt>
                <c:pt idx="50">
                  <c:v>0.01</c:v>
                </c:pt>
                <c:pt idx="51">
                  <c:v>0.02</c:v>
                </c:pt>
                <c:pt idx="52">
                  <c:v>0.03</c:v>
                </c:pt>
                <c:pt idx="53">
                  <c:v>0.01</c:v>
                </c:pt>
                <c:pt idx="54">
                  <c:v>0.01</c:v>
                </c:pt>
                <c:pt idx="55">
                  <c:v>0.02</c:v>
                </c:pt>
                <c:pt idx="56">
                  <c:v>0.02</c:v>
                </c:pt>
                <c:pt idx="57">
                  <c:v>0.02</c:v>
                </c:pt>
                <c:pt idx="58">
                  <c:v>0.01</c:v>
                </c:pt>
                <c:pt idx="59">
                  <c:v>0.01</c:v>
                </c:pt>
                <c:pt idx="60">
                  <c:v>0.02</c:v>
                </c:pt>
                <c:pt idx="61">
                  <c:v>0.01</c:v>
                </c:pt>
                <c:pt idx="62">
                  <c:v>0.03</c:v>
                </c:pt>
                <c:pt idx="63">
                  <c:v>0.01</c:v>
                </c:pt>
                <c:pt idx="64">
                  <c:v>0.03</c:v>
                </c:pt>
                <c:pt idx="65">
                  <c:v>0.01</c:v>
                </c:pt>
                <c:pt idx="66">
                  <c:v>0.01</c:v>
                </c:pt>
                <c:pt idx="67">
                  <c:v>0.01</c:v>
                </c:pt>
                <c:pt idx="68">
                  <c:v>0.01</c:v>
                </c:pt>
                <c:pt idx="69">
                  <c:v>0.02</c:v>
                </c:pt>
                <c:pt idx="70">
                  <c:v>0.01</c:v>
                </c:pt>
                <c:pt idx="7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3</c:f>
              <c:strCache>
                <c:ptCount val="72"/>
                <c:pt idx="0">
                  <c:v>Private Lab</c:v>
                </c:pt>
                <c:pt idx="1">
                  <c:v>Private Lab</c:v>
                </c:pt>
                <c:pt idx="2">
                  <c:v>President</c:v>
                </c:pt>
                <c:pt idx="3">
                  <c:v>President</c:v>
                </c:pt>
                <c:pt idx="4">
                  <c:v>President</c:v>
                </c:pt>
                <c:pt idx="5">
                  <c:v>Private Lab</c:v>
                </c:pt>
                <c:pt idx="6">
                  <c:v>President</c:v>
                </c:pt>
                <c:pt idx="7">
                  <c:v>Private Lab</c:v>
                </c:pt>
                <c:pt idx="8">
                  <c:v>Boursin</c:v>
                </c:pt>
                <c:pt idx="9">
                  <c:v>La Belle Et</c:v>
                </c:pt>
                <c:pt idx="10">
                  <c:v>Les Mousque</c:v>
                </c:pt>
                <c:pt idx="11">
                  <c:v>La Belle Et</c:v>
                </c:pt>
                <c:pt idx="12">
                  <c:v>President</c:v>
                </c:pt>
                <c:pt idx="13">
                  <c:v>Raguin</c:v>
                </c:pt>
                <c:pt idx="14">
                  <c:v>President</c:v>
                </c:pt>
                <c:pt idx="15">
                  <c:v>Raguin</c:v>
                </c:pt>
                <c:pt idx="16">
                  <c:v>Richesmonts</c:v>
                </c:pt>
                <c:pt idx="17">
                  <c:v>La Belle Et</c:v>
                </c:pt>
                <c:pt idx="18">
                  <c:v>Raguin</c:v>
                </c:pt>
                <c:pt idx="19">
                  <c:v>Raguin</c:v>
                </c:pt>
                <c:pt idx="20">
                  <c:v>All Others</c:v>
                </c:pt>
                <c:pt idx="21">
                  <c:v>All Others</c:v>
                </c:pt>
                <c:pt idx="22">
                  <c:v>Milleret: A</c:v>
                </c:pt>
                <c:pt idx="23">
                  <c:v>Milleret: A</c:v>
                </c:pt>
                <c:pt idx="24">
                  <c:v>All Others</c:v>
                </c:pt>
                <c:pt idx="25">
                  <c:v>All Others</c:v>
                </c:pt>
                <c:pt idx="26">
                  <c:v>All Others</c:v>
                </c:pt>
                <c:pt idx="27">
                  <c:v>La Belle Et</c:v>
                </c:pt>
                <c:pt idx="28">
                  <c:v>All Others</c:v>
                </c:pt>
                <c:pt idx="29">
                  <c:v>La Belle Et</c:v>
                </c:pt>
                <c:pt idx="30">
                  <c:v>All Others</c:v>
                </c:pt>
                <c:pt idx="31">
                  <c:v>All Others</c:v>
                </c:pt>
                <c:pt idx="32">
                  <c:v>All Others</c:v>
                </c:pt>
                <c:pt idx="33">
                  <c:v>La Belle Et</c:v>
                </c:pt>
                <c:pt idx="34">
                  <c:v>Milleret: A</c:v>
                </c:pt>
                <c:pt idx="35">
                  <c:v>La Belle Et</c:v>
                </c:pt>
                <c:pt idx="36">
                  <c:v>La Belle Et</c:v>
                </c:pt>
                <c:pt idx="37">
                  <c:v>All Others</c:v>
                </c:pt>
                <c:pt idx="38">
                  <c:v>La Belle Et</c:v>
                </c:pt>
                <c:pt idx="39">
                  <c:v>Milleret: A</c:v>
                </c:pt>
                <c:pt idx="40">
                  <c:v>All Others</c:v>
                </c:pt>
                <c:pt idx="41">
                  <c:v>La Belle Et</c:v>
                </c:pt>
                <c:pt idx="42">
                  <c:v>La Belle Et</c:v>
                </c:pt>
                <c:pt idx="43">
                  <c:v>La Belle Et</c:v>
                </c:pt>
                <c:pt idx="44">
                  <c:v>La Belle Et</c:v>
                </c:pt>
                <c:pt idx="45">
                  <c:v>All Others</c:v>
                </c:pt>
                <c:pt idx="46">
                  <c:v>All Others</c:v>
                </c:pt>
                <c:pt idx="47">
                  <c:v>La Belle Et</c:v>
                </c:pt>
                <c:pt idx="48">
                  <c:v>All Others</c:v>
                </c:pt>
                <c:pt idx="49">
                  <c:v>La Belle Et</c:v>
                </c:pt>
                <c:pt idx="50">
                  <c:v>Raguin</c:v>
                </c:pt>
                <c:pt idx="51">
                  <c:v>Raguin</c:v>
                </c:pt>
                <c:pt idx="52">
                  <c:v>All Others</c:v>
                </c:pt>
                <c:pt idx="53">
                  <c:v>Raguin</c:v>
                </c:pt>
                <c:pt idx="54">
                  <c:v>Raguin</c:v>
                </c:pt>
                <c:pt idx="55">
                  <c:v>All Others</c:v>
                </c:pt>
                <c:pt idx="56">
                  <c:v>La Belle Et</c:v>
                </c:pt>
                <c:pt idx="57">
                  <c:v>Raguin</c:v>
                </c:pt>
                <c:pt idx="58">
                  <c:v>All Others</c:v>
                </c:pt>
                <c:pt idx="59">
                  <c:v>La Belle Et</c:v>
                </c:pt>
                <c:pt idx="60">
                  <c:v>All Others</c:v>
                </c:pt>
                <c:pt idx="61">
                  <c:v>Raguin</c:v>
                </c:pt>
                <c:pt idx="62">
                  <c:v>All Others</c:v>
                </c:pt>
                <c:pt idx="63">
                  <c:v>All Others</c:v>
                </c:pt>
                <c:pt idx="64">
                  <c:v>All Others</c:v>
                </c:pt>
                <c:pt idx="65">
                  <c:v>All Others</c:v>
                </c:pt>
                <c:pt idx="66">
                  <c:v>Raguin</c:v>
                </c:pt>
                <c:pt idx="67">
                  <c:v>Raguin</c:v>
                </c:pt>
                <c:pt idx="68">
                  <c:v>Raguin</c:v>
                </c:pt>
                <c:pt idx="69">
                  <c:v>All Others</c:v>
                </c:pt>
                <c:pt idx="70">
                  <c:v>Raguin</c:v>
                </c:pt>
                <c:pt idx="71">
                  <c:v>Private Lab</c:v>
                </c:pt>
              </c:strCache>
            </c:strRef>
          </c:cat>
          <c:val>
            <c:numRef>
              <c:f>Sheet1!$C$2:$C$73</c:f>
              <c:numCache>
                <c:formatCode>General</c:formatCode>
                <c:ptCount val="72"/>
                <c:pt idx="0">
                  <c:v>0.21587807881283708</c:v>
                </c:pt>
                <c:pt idx="1">
                  <c:v>0.38214126189078179</c:v>
                </c:pt>
                <c:pt idx="2">
                  <c:v>0.51277981526128902</c:v>
                </c:pt>
                <c:pt idx="3">
                  <c:v>0.60941822150884528</c:v>
                </c:pt>
                <c:pt idx="4">
                  <c:v>0.6693633685058803</c:v>
                </c:pt>
                <c:pt idx="5">
                  <c:v>0.71893966103402251</c:v>
                </c:pt>
                <c:pt idx="6">
                  <c:v>0.76683166085906551</c:v>
                </c:pt>
                <c:pt idx="7">
                  <c:v>0.80565869993677697</c:v>
                </c:pt>
                <c:pt idx="8">
                  <c:v>0.82664708119994013</c:v>
                </c:pt>
                <c:pt idx="9">
                  <c:v>0.84430316075766998</c:v>
                </c:pt>
                <c:pt idx="10">
                  <c:v>0.85946046965357192</c:v>
                </c:pt>
                <c:pt idx="11">
                  <c:v>0.87159960422600746</c:v>
                </c:pt>
                <c:pt idx="12">
                  <c:v>0.88042283931390353</c:v>
                </c:pt>
                <c:pt idx="13">
                  <c:v>0.8888017233266754</c:v>
                </c:pt>
                <c:pt idx="14">
                  <c:v>0.89641086271042902</c:v>
                </c:pt>
                <c:pt idx="15">
                  <c:v>0.90393732827371776</c:v>
                </c:pt>
                <c:pt idx="16">
                  <c:v>0.91125785484133925</c:v>
                </c:pt>
                <c:pt idx="17">
                  <c:v>0.91715900942514694</c:v>
                </c:pt>
                <c:pt idx="18">
                  <c:v>0.92294816500567955</c:v>
                </c:pt>
                <c:pt idx="19">
                  <c:v>0.92861736899098846</c:v>
                </c:pt>
                <c:pt idx="20">
                  <c:v>0.93388082510792336</c:v>
                </c:pt>
                <c:pt idx="21">
                  <c:v>0.93907585579830111</c:v>
                </c:pt>
                <c:pt idx="22">
                  <c:v>0.94330646903592053</c:v>
                </c:pt>
                <c:pt idx="23">
                  <c:v>0.94722013834859131</c:v>
                </c:pt>
                <c:pt idx="24">
                  <c:v>0.95086126570802598</c:v>
                </c:pt>
                <c:pt idx="25">
                  <c:v>0.9542626555560122</c:v>
                </c:pt>
                <c:pt idx="26">
                  <c:v>0.95754343109277906</c:v>
                </c:pt>
                <c:pt idx="27">
                  <c:v>0.96081857354358235</c:v>
                </c:pt>
                <c:pt idx="28">
                  <c:v>0.96353835998997994</c:v>
                </c:pt>
                <c:pt idx="29">
                  <c:v>0.96609329583244441</c:v>
                </c:pt>
                <c:pt idx="30">
                  <c:v>0.96849530995889854</c:v>
                </c:pt>
                <c:pt idx="31">
                  <c:v>0.97071143224855583</c:v>
                </c:pt>
                <c:pt idx="32">
                  <c:v>0.97276535479826287</c:v>
                </c:pt>
                <c:pt idx="33">
                  <c:v>0.97470081686373655</c:v>
                </c:pt>
                <c:pt idx="34">
                  <c:v>0.97652179474095113</c:v>
                </c:pt>
                <c:pt idx="35">
                  <c:v>0.97833763656919903</c:v>
                </c:pt>
                <c:pt idx="36">
                  <c:v>0.97997404804160815</c:v>
                </c:pt>
                <c:pt idx="37">
                  <c:v>0.98159008099714917</c:v>
                </c:pt>
                <c:pt idx="38">
                  <c:v>0.98315243395703766</c:v>
                </c:pt>
                <c:pt idx="39">
                  <c:v>0.98453303705510242</c:v>
                </c:pt>
                <c:pt idx="40">
                  <c:v>0.98543631895725636</c:v>
                </c:pt>
                <c:pt idx="41">
                  <c:v>0.9862917196287202</c:v>
                </c:pt>
                <c:pt idx="42">
                  <c:v>0.98712757017831054</c:v>
                </c:pt>
                <c:pt idx="43">
                  <c:v>0.98791852171919148</c:v>
                </c:pt>
                <c:pt idx="44">
                  <c:v>0.98867700017628257</c:v>
                </c:pt>
                <c:pt idx="45">
                  <c:v>0.9893963783896268</c:v>
                </c:pt>
                <c:pt idx="46">
                  <c:v>0.9900585973483409</c:v>
                </c:pt>
                <c:pt idx="47">
                  <c:v>0.99067508890335099</c:v>
                </c:pt>
                <c:pt idx="48">
                  <c:v>0.99125728490558307</c:v>
                </c:pt>
                <c:pt idx="49">
                  <c:v>0.99178662930715711</c:v>
                </c:pt>
                <c:pt idx="50">
                  <c:v>0.9923136542027462</c:v>
                </c:pt>
                <c:pt idx="51">
                  <c:v>0.99280041910159589</c:v>
                </c:pt>
                <c:pt idx="52">
                  <c:v>0.99328121955648419</c:v>
                </c:pt>
                <c:pt idx="53">
                  <c:v>0.99375207927143683</c:v>
                </c:pt>
                <c:pt idx="54">
                  <c:v>0.99420603972849875</c:v>
                </c:pt>
                <c:pt idx="55">
                  <c:v>0.99459422562298638</c:v>
                </c:pt>
                <c:pt idx="56">
                  <c:v>0.99535585198105714</c:v>
                </c:pt>
                <c:pt idx="57">
                  <c:v>0.99609925364924579</c:v>
                </c:pt>
                <c:pt idx="58">
                  <c:v>0.99646043386690819</c:v>
                </c:pt>
                <c:pt idx="59">
                  <c:v>0.99681846618359105</c:v>
                </c:pt>
                <c:pt idx="60">
                  <c:v>0.99715429751441753</c:v>
                </c:pt>
                <c:pt idx="61">
                  <c:v>0.99748780933925907</c:v>
                </c:pt>
                <c:pt idx="62">
                  <c:v>0.99780491894320678</c:v>
                </c:pt>
                <c:pt idx="63">
                  <c:v>0.9980829283034075</c:v>
                </c:pt>
                <c:pt idx="64">
                  <c:v>0.99834685494869935</c:v>
                </c:pt>
                <c:pt idx="65">
                  <c:v>0.99857996530019066</c:v>
                </c:pt>
                <c:pt idx="66">
                  <c:v>0.99880909935570772</c:v>
                </c:pt>
                <c:pt idx="67">
                  <c:v>0.99902547612830728</c:v>
                </c:pt>
                <c:pt idx="68">
                  <c:v>0.99934341412724959</c:v>
                </c:pt>
                <c:pt idx="69">
                  <c:v>0.99944944868656338</c:v>
                </c:pt>
                <c:pt idx="70">
                  <c:v>0.99954902176491889</c:v>
                </c:pt>
                <c:pt idx="71">
                  <c:v>0.9997592684145580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6</c:f>
              <c:strCache>
                <c:ptCount val="85"/>
                <c:pt idx="0">
                  <c:v>Private Lab</c:v>
                </c:pt>
                <c:pt idx="1">
                  <c:v>Private Lab</c:v>
                </c:pt>
                <c:pt idx="2">
                  <c:v>President</c:v>
                </c:pt>
                <c:pt idx="3">
                  <c:v>President</c:v>
                </c:pt>
                <c:pt idx="4">
                  <c:v>President</c:v>
                </c:pt>
                <c:pt idx="5">
                  <c:v>President</c:v>
                </c:pt>
                <c:pt idx="6">
                  <c:v>Private Lab</c:v>
                </c:pt>
                <c:pt idx="7">
                  <c:v>Private Lab</c:v>
                </c:pt>
                <c:pt idx="8">
                  <c:v>La Belle Et</c:v>
                </c:pt>
                <c:pt idx="9">
                  <c:v>La Belle Et</c:v>
                </c:pt>
                <c:pt idx="10">
                  <c:v>Boursin</c:v>
                </c:pt>
                <c:pt idx="11">
                  <c:v>Les Mousque</c:v>
                </c:pt>
                <c:pt idx="12">
                  <c:v>President</c:v>
                </c:pt>
                <c:pt idx="13">
                  <c:v>President</c:v>
                </c:pt>
                <c:pt idx="14">
                  <c:v>Richesmonts</c:v>
                </c:pt>
                <c:pt idx="15">
                  <c:v>Raguin</c:v>
                </c:pt>
                <c:pt idx="16">
                  <c:v>Raguin</c:v>
                </c:pt>
                <c:pt idx="17">
                  <c:v>All Others</c:v>
                </c:pt>
                <c:pt idx="18">
                  <c:v>La Belle Et</c:v>
                </c:pt>
                <c:pt idx="19">
                  <c:v>Raguin</c:v>
                </c:pt>
                <c:pt idx="20">
                  <c:v>All Others</c:v>
                </c:pt>
                <c:pt idx="21">
                  <c:v>Raguin</c:v>
                </c:pt>
                <c:pt idx="22">
                  <c:v>All Others</c:v>
                </c:pt>
                <c:pt idx="23">
                  <c:v>All Others</c:v>
                </c:pt>
                <c:pt idx="24">
                  <c:v>Milleret: A</c:v>
                </c:pt>
                <c:pt idx="25">
                  <c:v>All Others</c:v>
                </c:pt>
                <c:pt idx="26">
                  <c:v>All Others</c:v>
                </c:pt>
                <c:pt idx="27">
                  <c:v>La Belle Et</c:v>
                </c:pt>
                <c:pt idx="28">
                  <c:v>La Belle Et</c:v>
                </c:pt>
                <c:pt idx="29">
                  <c:v>Milleret: A</c:v>
                </c:pt>
                <c:pt idx="30">
                  <c:v>La Belle Et</c:v>
                </c:pt>
                <c:pt idx="31">
                  <c:v>La Belle Et</c:v>
                </c:pt>
                <c:pt idx="32">
                  <c:v>La Belle Et</c:v>
                </c:pt>
                <c:pt idx="33">
                  <c:v>All Others</c:v>
                </c:pt>
                <c:pt idx="34">
                  <c:v>All Others</c:v>
                </c:pt>
                <c:pt idx="35">
                  <c:v>All Others</c:v>
                </c:pt>
                <c:pt idx="36">
                  <c:v>Milleret: A</c:v>
                </c:pt>
                <c:pt idx="37">
                  <c:v>Raguin</c:v>
                </c:pt>
                <c:pt idx="38">
                  <c:v>All Others</c:v>
                </c:pt>
                <c:pt idx="39">
                  <c:v>La Belle Et</c:v>
                </c:pt>
                <c:pt idx="40">
                  <c:v>La Belle Et</c:v>
                </c:pt>
                <c:pt idx="41">
                  <c:v>Milleret: A</c:v>
                </c:pt>
                <c:pt idx="42">
                  <c:v>Raguin</c:v>
                </c:pt>
                <c:pt idx="43">
                  <c:v>La Belle Et</c:v>
                </c:pt>
                <c:pt idx="44">
                  <c:v>All Others</c:v>
                </c:pt>
                <c:pt idx="45">
                  <c:v>Raguin</c:v>
                </c:pt>
                <c:pt idx="46">
                  <c:v>All Others</c:v>
                </c:pt>
                <c:pt idx="47">
                  <c:v>La Belle Et</c:v>
                </c:pt>
                <c:pt idx="48">
                  <c:v>Raguin</c:v>
                </c:pt>
                <c:pt idx="49">
                  <c:v>Raguin</c:v>
                </c:pt>
                <c:pt idx="50">
                  <c:v>Raguin</c:v>
                </c:pt>
                <c:pt idx="51">
                  <c:v>All Others</c:v>
                </c:pt>
                <c:pt idx="52">
                  <c:v>Raguin</c:v>
                </c:pt>
                <c:pt idx="53">
                  <c:v>La Belle Et</c:v>
                </c:pt>
                <c:pt idx="54">
                  <c:v>La Belle Et</c:v>
                </c:pt>
                <c:pt idx="55">
                  <c:v>La Belle Et</c:v>
                </c:pt>
                <c:pt idx="56">
                  <c:v>All Others</c:v>
                </c:pt>
                <c:pt idx="57">
                  <c:v>Raguin</c:v>
                </c:pt>
                <c:pt idx="58">
                  <c:v>La Belle Et</c:v>
                </c:pt>
                <c:pt idx="59">
                  <c:v>Raguin</c:v>
                </c:pt>
                <c:pt idx="60">
                  <c:v>Raguin</c:v>
                </c:pt>
                <c:pt idx="61">
                  <c:v>Raguin</c:v>
                </c:pt>
                <c:pt idx="62">
                  <c:v>Raguin</c:v>
                </c:pt>
                <c:pt idx="63">
                  <c:v>All Others</c:v>
                </c:pt>
                <c:pt idx="64">
                  <c:v>All Others</c:v>
                </c:pt>
                <c:pt idx="65">
                  <c:v>La Belle Et</c:v>
                </c:pt>
                <c:pt idx="66">
                  <c:v>Raguin</c:v>
                </c:pt>
                <c:pt idx="67">
                  <c:v>All Others</c:v>
                </c:pt>
                <c:pt idx="68">
                  <c:v>All Others</c:v>
                </c:pt>
                <c:pt idx="69">
                  <c:v>All Others</c:v>
                </c:pt>
                <c:pt idx="70">
                  <c:v>Raguin</c:v>
                </c:pt>
                <c:pt idx="71">
                  <c:v>Raguin</c:v>
                </c:pt>
                <c:pt idx="72">
                  <c:v>Raguin</c:v>
                </c:pt>
                <c:pt idx="73">
                  <c:v>All Others</c:v>
                </c:pt>
                <c:pt idx="74">
                  <c:v>All Others</c:v>
                </c:pt>
                <c:pt idx="75">
                  <c:v>Raguin</c:v>
                </c:pt>
                <c:pt idx="76">
                  <c:v>All Others</c:v>
                </c:pt>
                <c:pt idx="77">
                  <c:v>Raguin</c:v>
                </c:pt>
                <c:pt idx="78">
                  <c:v>All Others</c:v>
                </c:pt>
                <c:pt idx="79">
                  <c:v>All Others</c:v>
                </c:pt>
                <c:pt idx="80">
                  <c:v>All Others</c:v>
                </c:pt>
                <c:pt idx="81">
                  <c:v>All Others</c:v>
                </c:pt>
                <c:pt idx="82">
                  <c:v>All Others</c:v>
                </c:pt>
                <c:pt idx="83">
                  <c:v>All Others</c:v>
                </c:pt>
                <c:pt idx="84">
                  <c:v>All Others</c:v>
                </c:pt>
              </c:strCache>
            </c:strRef>
          </c:cat>
          <c:val>
            <c:numRef>
              <c:f>Sheet1!$B$2:$B$86</c:f>
              <c:numCache>
                <c:formatCode>General</c:formatCode>
                <c:ptCount val="85"/>
                <c:pt idx="0">
                  <c:v>0.99</c:v>
                </c:pt>
                <c:pt idx="1">
                  <c:v>0.99</c:v>
                </c:pt>
                <c:pt idx="2">
                  <c:v>0.99</c:v>
                </c:pt>
                <c:pt idx="3">
                  <c:v>0.99</c:v>
                </c:pt>
                <c:pt idx="4">
                  <c:v>0.99</c:v>
                </c:pt>
                <c:pt idx="5">
                  <c:v>0.99</c:v>
                </c:pt>
                <c:pt idx="6">
                  <c:v>0.97</c:v>
                </c:pt>
                <c:pt idx="7">
                  <c:v>0.96</c:v>
                </c:pt>
                <c:pt idx="8">
                  <c:v>0.09</c:v>
                </c:pt>
                <c:pt idx="9">
                  <c:v>0.06</c:v>
                </c:pt>
                <c:pt idx="10">
                  <c:v>0.96</c:v>
                </c:pt>
                <c:pt idx="11">
                  <c:v>0.74</c:v>
                </c:pt>
                <c:pt idx="12">
                  <c:v>0.69</c:v>
                </c:pt>
                <c:pt idx="13">
                  <c:v>0.69</c:v>
                </c:pt>
                <c:pt idx="14">
                  <c:v>0.74</c:v>
                </c:pt>
                <c:pt idx="15">
                  <c:v>0.09</c:v>
                </c:pt>
                <c:pt idx="16">
                  <c:v>0.06</c:v>
                </c:pt>
                <c:pt idx="17">
                  <c:v>0.2</c:v>
                </c:pt>
                <c:pt idx="18">
                  <c:v>0.06</c:v>
                </c:pt>
                <c:pt idx="19">
                  <c:v>0.06</c:v>
                </c:pt>
                <c:pt idx="20">
                  <c:v>0.14000000000000001</c:v>
                </c:pt>
                <c:pt idx="21">
                  <c:v>0.08</c:v>
                </c:pt>
                <c:pt idx="22">
                  <c:v>0.15</c:v>
                </c:pt>
                <c:pt idx="23">
                  <c:v>0.08</c:v>
                </c:pt>
                <c:pt idx="24">
                  <c:v>0.23</c:v>
                </c:pt>
                <c:pt idx="25">
                  <c:v>7.0000000000000007E-2</c:v>
                </c:pt>
                <c:pt idx="26">
                  <c:v>0.16</c:v>
                </c:pt>
                <c:pt idx="27">
                  <c:v>0.09</c:v>
                </c:pt>
                <c:pt idx="28">
                  <c:v>0.08</c:v>
                </c:pt>
                <c:pt idx="29">
                  <c:v>0.2</c:v>
                </c:pt>
                <c:pt idx="30">
                  <c:v>7.0000000000000007E-2</c:v>
                </c:pt>
                <c:pt idx="31">
                  <c:v>0.1</c:v>
                </c:pt>
                <c:pt idx="32">
                  <c:v>0.08</c:v>
                </c:pt>
                <c:pt idx="33">
                  <c:v>7.0000000000000007E-2</c:v>
                </c:pt>
                <c:pt idx="34">
                  <c:v>0.06</c:v>
                </c:pt>
                <c:pt idx="35">
                  <c:v>0.08</c:v>
                </c:pt>
                <c:pt idx="36">
                  <c:v>0.12</c:v>
                </c:pt>
                <c:pt idx="37">
                  <c:v>0.03</c:v>
                </c:pt>
                <c:pt idx="38">
                  <c:v>0.1</c:v>
                </c:pt>
                <c:pt idx="39">
                  <c:v>0.04</c:v>
                </c:pt>
                <c:pt idx="40">
                  <c:v>0.08</c:v>
                </c:pt>
                <c:pt idx="41">
                  <c:v>0.08</c:v>
                </c:pt>
                <c:pt idx="42">
                  <c:v>0.05</c:v>
                </c:pt>
                <c:pt idx="43">
                  <c:v>7.0000000000000007E-2</c:v>
                </c:pt>
                <c:pt idx="44">
                  <c:v>0.13</c:v>
                </c:pt>
                <c:pt idx="45">
                  <c:v>0.04</c:v>
                </c:pt>
                <c:pt idx="46">
                  <c:v>0.05</c:v>
                </c:pt>
                <c:pt idx="47">
                  <c:v>0.05</c:v>
                </c:pt>
                <c:pt idx="48">
                  <c:v>0.03</c:v>
                </c:pt>
                <c:pt idx="49">
                  <c:v>0.03</c:v>
                </c:pt>
                <c:pt idx="50">
                  <c:v>0.03</c:v>
                </c:pt>
                <c:pt idx="51">
                  <c:v>0.05</c:v>
                </c:pt>
                <c:pt idx="52">
                  <c:v>0.05</c:v>
                </c:pt>
                <c:pt idx="53">
                  <c:v>0.05</c:v>
                </c:pt>
                <c:pt idx="54">
                  <c:v>0.06</c:v>
                </c:pt>
                <c:pt idx="55">
                  <c:v>0.06</c:v>
                </c:pt>
                <c:pt idx="56">
                  <c:v>0.06</c:v>
                </c:pt>
                <c:pt idx="57">
                  <c:v>0.05</c:v>
                </c:pt>
                <c:pt idx="58">
                  <c:v>0.04</c:v>
                </c:pt>
                <c:pt idx="59">
                  <c:v>0.04</c:v>
                </c:pt>
                <c:pt idx="60">
                  <c:v>0.05</c:v>
                </c:pt>
                <c:pt idx="61">
                  <c:v>0.05</c:v>
                </c:pt>
                <c:pt idx="62">
                  <c:v>0.02</c:v>
                </c:pt>
                <c:pt idx="63">
                  <c:v>7.0000000000000007E-2</c:v>
                </c:pt>
                <c:pt idx="64">
                  <c:v>0.01</c:v>
                </c:pt>
                <c:pt idx="65">
                  <c:v>0.04</c:v>
                </c:pt>
                <c:pt idx="66">
                  <c:v>0.04</c:v>
                </c:pt>
                <c:pt idx="67">
                  <c:v>0.01</c:v>
                </c:pt>
                <c:pt idx="68">
                  <c:v>0.05</c:v>
                </c:pt>
                <c:pt idx="69">
                  <c:v>0.06</c:v>
                </c:pt>
                <c:pt idx="70">
                  <c:v>0.02</c:v>
                </c:pt>
                <c:pt idx="71">
                  <c:v>0.03</c:v>
                </c:pt>
                <c:pt idx="72">
                  <c:v>0.05</c:v>
                </c:pt>
                <c:pt idx="73">
                  <c:v>0.01</c:v>
                </c:pt>
                <c:pt idx="74">
                  <c:v>0.02</c:v>
                </c:pt>
                <c:pt idx="75">
                  <c:v>0.01</c:v>
                </c:pt>
                <c:pt idx="76">
                  <c:v>0.05</c:v>
                </c:pt>
                <c:pt idx="77">
                  <c:v>0.03</c:v>
                </c:pt>
                <c:pt idx="78">
                  <c:v>0.04</c:v>
                </c:pt>
                <c:pt idx="79">
                  <c:v>0.01</c:v>
                </c:pt>
                <c:pt idx="80">
                  <c:v>0.02</c:v>
                </c:pt>
                <c:pt idx="81">
                  <c:v>0.01</c:v>
                </c:pt>
                <c:pt idx="82">
                  <c:v>0.03</c:v>
                </c:pt>
                <c:pt idx="83">
                  <c:v>0.01</c:v>
                </c:pt>
                <c:pt idx="8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6</c:f>
              <c:strCache>
                <c:ptCount val="85"/>
                <c:pt idx="0">
                  <c:v>Private Lab</c:v>
                </c:pt>
                <c:pt idx="1">
                  <c:v>Private Lab</c:v>
                </c:pt>
                <c:pt idx="2">
                  <c:v>President</c:v>
                </c:pt>
                <c:pt idx="3">
                  <c:v>President</c:v>
                </c:pt>
                <c:pt idx="4">
                  <c:v>President</c:v>
                </c:pt>
                <c:pt idx="5">
                  <c:v>President</c:v>
                </c:pt>
                <c:pt idx="6">
                  <c:v>Private Lab</c:v>
                </c:pt>
                <c:pt idx="7">
                  <c:v>Private Lab</c:v>
                </c:pt>
                <c:pt idx="8">
                  <c:v>La Belle Et</c:v>
                </c:pt>
                <c:pt idx="9">
                  <c:v>La Belle Et</c:v>
                </c:pt>
                <c:pt idx="10">
                  <c:v>Boursin</c:v>
                </c:pt>
                <c:pt idx="11">
                  <c:v>Les Mousque</c:v>
                </c:pt>
                <c:pt idx="12">
                  <c:v>President</c:v>
                </c:pt>
                <c:pt idx="13">
                  <c:v>President</c:v>
                </c:pt>
                <c:pt idx="14">
                  <c:v>Richesmonts</c:v>
                </c:pt>
                <c:pt idx="15">
                  <c:v>Raguin</c:v>
                </c:pt>
                <c:pt idx="16">
                  <c:v>Raguin</c:v>
                </c:pt>
                <c:pt idx="17">
                  <c:v>All Others</c:v>
                </c:pt>
                <c:pt idx="18">
                  <c:v>La Belle Et</c:v>
                </c:pt>
                <c:pt idx="19">
                  <c:v>Raguin</c:v>
                </c:pt>
                <c:pt idx="20">
                  <c:v>All Others</c:v>
                </c:pt>
                <c:pt idx="21">
                  <c:v>Raguin</c:v>
                </c:pt>
                <c:pt idx="22">
                  <c:v>All Others</c:v>
                </c:pt>
                <c:pt idx="23">
                  <c:v>All Others</c:v>
                </c:pt>
                <c:pt idx="24">
                  <c:v>Milleret: A</c:v>
                </c:pt>
                <c:pt idx="25">
                  <c:v>All Others</c:v>
                </c:pt>
                <c:pt idx="26">
                  <c:v>All Others</c:v>
                </c:pt>
                <c:pt idx="27">
                  <c:v>La Belle Et</c:v>
                </c:pt>
                <c:pt idx="28">
                  <c:v>La Belle Et</c:v>
                </c:pt>
                <c:pt idx="29">
                  <c:v>Milleret: A</c:v>
                </c:pt>
                <c:pt idx="30">
                  <c:v>La Belle Et</c:v>
                </c:pt>
                <c:pt idx="31">
                  <c:v>La Belle Et</c:v>
                </c:pt>
                <c:pt idx="32">
                  <c:v>La Belle Et</c:v>
                </c:pt>
                <c:pt idx="33">
                  <c:v>All Others</c:v>
                </c:pt>
                <c:pt idx="34">
                  <c:v>All Others</c:v>
                </c:pt>
                <c:pt idx="35">
                  <c:v>All Others</c:v>
                </c:pt>
                <c:pt idx="36">
                  <c:v>Milleret: A</c:v>
                </c:pt>
                <c:pt idx="37">
                  <c:v>Raguin</c:v>
                </c:pt>
                <c:pt idx="38">
                  <c:v>All Others</c:v>
                </c:pt>
                <c:pt idx="39">
                  <c:v>La Belle Et</c:v>
                </c:pt>
                <c:pt idx="40">
                  <c:v>La Belle Et</c:v>
                </c:pt>
                <c:pt idx="41">
                  <c:v>Milleret: A</c:v>
                </c:pt>
                <c:pt idx="42">
                  <c:v>Raguin</c:v>
                </c:pt>
                <c:pt idx="43">
                  <c:v>La Belle Et</c:v>
                </c:pt>
                <c:pt idx="44">
                  <c:v>All Others</c:v>
                </c:pt>
                <c:pt idx="45">
                  <c:v>Raguin</c:v>
                </c:pt>
                <c:pt idx="46">
                  <c:v>All Others</c:v>
                </c:pt>
                <c:pt idx="47">
                  <c:v>La Belle Et</c:v>
                </c:pt>
                <c:pt idx="48">
                  <c:v>Raguin</c:v>
                </c:pt>
                <c:pt idx="49">
                  <c:v>Raguin</c:v>
                </c:pt>
                <c:pt idx="50">
                  <c:v>Raguin</c:v>
                </c:pt>
                <c:pt idx="51">
                  <c:v>All Others</c:v>
                </c:pt>
                <c:pt idx="52">
                  <c:v>Raguin</c:v>
                </c:pt>
                <c:pt idx="53">
                  <c:v>La Belle Et</c:v>
                </c:pt>
                <c:pt idx="54">
                  <c:v>La Belle Et</c:v>
                </c:pt>
                <c:pt idx="55">
                  <c:v>La Belle Et</c:v>
                </c:pt>
                <c:pt idx="56">
                  <c:v>All Others</c:v>
                </c:pt>
                <c:pt idx="57">
                  <c:v>Raguin</c:v>
                </c:pt>
                <c:pt idx="58">
                  <c:v>La Belle Et</c:v>
                </c:pt>
                <c:pt idx="59">
                  <c:v>Raguin</c:v>
                </c:pt>
                <c:pt idx="60">
                  <c:v>Raguin</c:v>
                </c:pt>
                <c:pt idx="61">
                  <c:v>Raguin</c:v>
                </c:pt>
                <c:pt idx="62">
                  <c:v>Raguin</c:v>
                </c:pt>
                <c:pt idx="63">
                  <c:v>All Others</c:v>
                </c:pt>
                <c:pt idx="64">
                  <c:v>All Others</c:v>
                </c:pt>
                <c:pt idx="65">
                  <c:v>La Belle Et</c:v>
                </c:pt>
                <c:pt idx="66">
                  <c:v>Raguin</c:v>
                </c:pt>
                <c:pt idx="67">
                  <c:v>All Others</c:v>
                </c:pt>
                <c:pt idx="68">
                  <c:v>All Others</c:v>
                </c:pt>
                <c:pt idx="69">
                  <c:v>All Others</c:v>
                </c:pt>
                <c:pt idx="70">
                  <c:v>Raguin</c:v>
                </c:pt>
                <c:pt idx="71">
                  <c:v>Raguin</c:v>
                </c:pt>
                <c:pt idx="72">
                  <c:v>Raguin</c:v>
                </c:pt>
                <c:pt idx="73">
                  <c:v>All Others</c:v>
                </c:pt>
                <c:pt idx="74">
                  <c:v>All Others</c:v>
                </c:pt>
                <c:pt idx="75">
                  <c:v>Raguin</c:v>
                </c:pt>
                <c:pt idx="76">
                  <c:v>All Others</c:v>
                </c:pt>
                <c:pt idx="77">
                  <c:v>Raguin</c:v>
                </c:pt>
                <c:pt idx="78">
                  <c:v>All Others</c:v>
                </c:pt>
                <c:pt idx="79">
                  <c:v>All Others</c:v>
                </c:pt>
                <c:pt idx="80">
                  <c:v>All Others</c:v>
                </c:pt>
                <c:pt idx="81">
                  <c:v>All Others</c:v>
                </c:pt>
                <c:pt idx="82">
                  <c:v>All Others</c:v>
                </c:pt>
                <c:pt idx="83">
                  <c:v>All Others</c:v>
                </c:pt>
                <c:pt idx="84">
                  <c:v>All Others</c:v>
                </c:pt>
              </c:strCache>
            </c:strRef>
          </c:cat>
          <c:val>
            <c:numRef>
              <c:f>Sheet1!$C$2:$C$86</c:f>
              <c:numCache>
                <c:formatCode>General</c:formatCode>
                <c:ptCount val="85"/>
                <c:pt idx="0">
                  <c:v>0.19527364301123168</c:v>
                </c:pt>
                <c:pt idx="1">
                  <c:v>0.36973823889181268</c:v>
                </c:pt>
                <c:pt idx="2">
                  <c:v>0.48533667188165153</c:v>
                </c:pt>
                <c:pt idx="3">
                  <c:v>0.58312661995333448</c:v>
                </c:pt>
                <c:pt idx="4">
                  <c:v>0.63721038422643683</c:v>
                </c:pt>
                <c:pt idx="5">
                  <c:v>0.68453322891388801</c:v>
                </c:pt>
                <c:pt idx="6">
                  <c:v>0.72378033118447205</c:v>
                </c:pt>
                <c:pt idx="7">
                  <c:v>0.7560168412279582</c:v>
                </c:pt>
                <c:pt idx="8">
                  <c:v>0.77724440436909148</c:v>
                </c:pt>
                <c:pt idx="9">
                  <c:v>0.79770678373140236</c:v>
                </c:pt>
                <c:pt idx="10">
                  <c:v>0.81491982634279858</c:v>
                </c:pt>
                <c:pt idx="11">
                  <c:v>0.8302495469070228</c:v>
                </c:pt>
                <c:pt idx="12">
                  <c:v>0.84191410901893005</c:v>
                </c:pt>
                <c:pt idx="13">
                  <c:v>0.85272726946144339</c:v>
                </c:pt>
                <c:pt idx="14">
                  <c:v>0.86340391824388507</c:v>
                </c:pt>
                <c:pt idx="15">
                  <c:v>0.87162425524806486</c:v>
                </c:pt>
                <c:pt idx="16">
                  <c:v>0.87894828543151138</c:v>
                </c:pt>
                <c:pt idx="17">
                  <c:v>0.88581697738037701</c:v>
                </c:pt>
                <c:pt idx="18">
                  <c:v>0.89259855333564431</c:v>
                </c:pt>
                <c:pt idx="19">
                  <c:v>0.89900651843176826</c:v>
                </c:pt>
                <c:pt idx="20">
                  <c:v>0.90531030357678499</c:v>
                </c:pt>
                <c:pt idx="21">
                  <c:v>0.91157277598256947</c:v>
                </c:pt>
                <c:pt idx="22">
                  <c:v>0.91663717895062036</c:v>
                </c:pt>
                <c:pt idx="23">
                  <c:v>0.9216315298825819</c:v>
                </c:pt>
                <c:pt idx="24">
                  <c:v>0.92608252848333739</c:v>
                </c:pt>
                <c:pt idx="25">
                  <c:v>0.93051646312658387</c:v>
                </c:pt>
                <c:pt idx="26">
                  <c:v>0.93452200262605312</c:v>
                </c:pt>
                <c:pt idx="27">
                  <c:v>0.93846916542878123</c:v>
                </c:pt>
                <c:pt idx="28">
                  <c:v>0.9417301775190442</c:v>
                </c:pt>
                <c:pt idx="29">
                  <c:v>0.94486365897950342</c:v>
                </c:pt>
                <c:pt idx="30">
                  <c:v>0.94760377131423001</c:v>
                </c:pt>
                <c:pt idx="31">
                  <c:v>0.95018132700110824</c:v>
                </c:pt>
                <c:pt idx="32">
                  <c:v>0.95248675747086997</c:v>
                </c:pt>
                <c:pt idx="33">
                  <c:v>0.95471674728638167</c:v>
                </c:pt>
                <c:pt idx="34">
                  <c:v>0.95693595986557189</c:v>
                </c:pt>
                <c:pt idx="35">
                  <c:v>0.95908781471775306</c:v>
                </c:pt>
                <c:pt idx="36">
                  <c:v>0.96119835683070209</c:v>
                </c:pt>
                <c:pt idx="37">
                  <c:v>0.96316161004725809</c:v>
                </c:pt>
                <c:pt idx="38">
                  <c:v>0.96510330879117123</c:v>
                </c:pt>
                <c:pt idx="39">
                  <c:v>0.96692466172949487</c:v>
                </c:pt>
                <c:pt idx="40">
                  <c:v>0.96856280165035402</c:v>
                </c:pt>
                <c:pt idx="41">
                  <c:v>0.97019555295305249</c:v>
                </c:pt>
                <c:pt idx="42">
                  <c:v>0.97182740615272412</c:v>
                </c:pt>
                <c:pt idx="43">
                  <c:v>0.9733460983710206</c:v>
                </c:pt>
                <c:pt idx="44">
                  <c:v>0.97474534288675452</c:v>
                </c:pt>
                <c:pt idx="45">
                  <c:v>0.97608980311785443</c:v>
                </c:pt>
                <c:pt idx="46">
                  <c:v>0.97740732025815069</c:v>
                </c:pt>
                <c:pt idx="47">
                  <c:v>0.97848773819937529</c:v>
                </c:pt>
                <c:pt idx="48">
                  <c:v>0.97956725803757305</c:v>
                </c:pt>
                <c:pt idx="49">
                  <c:v>0.98063151012431549</c:v>
                </c:pt>
                <c:pt idx="50">
                  <c:v>0.98169037359289713</c:v>
                </c:pt>
                <c:pt idx="51">
                  <c:v>0.98274295034029124</c:v>
                </c:pt>
                <c:pt idx="52">
                  <c:v>0.98379283277860508</c:v>
                </c:pt>
                <c:pt idx="53">
                  <c:v>0.98481217971400814</c:v>
                </c:pt>
                <c:pt idx="54">
                  <c:v>0.98576686323148255</c:v>
                </c:pt>
                <c:pt idx="55">
                  <c:v>0.98667574349459086</c:v>
                </c:pt>
                <c:pt idx="56">
                  <c:v>0.98748134190961867</c:v>
                </c:pt>
                <c:pt idx="57">
                  <c:v>0.98826718205805719</c:v>
                </c:pt>
                <c:pt idx="58">
                  <c:v>0.98900901515818307</c:v>
                </c:pt>
                <c:pt idx="59">
                  <c:v>0.98973288619777322</c:v>
                </c:pt>
                <c:pt idx="60">
                  <c:v>0.99045585913433665</c:v>
                </c:pt>
                <c:pt idx="61">
                  <c:v>0.99114111174377495</c:v>
                </c:pt>
                <c:pt idx="62">
                  <c:v>0.99181828142597217</c:v>
                </c:pt>
                <c:pt idx="63">
                  <c:v>0.99248377576882119</c:v>
                </c:pt>
                <c:pt idx="64">
                  <c:v>0.99310795737243807</c:v>
                </c:pt>
                <c:pt idx="65">
                  <c:v>0.99371417691551922</c:v>
                </c:pt>
                <c:pt idx="66">
                  <c:v>0.99431590594346642</c:v>
                </c:pt>
                <c:pt idx="67">
                  <c:v>0.99489428429271709</c:v>
                </c:pt>
                <c:pt idx="68">
                  <c:v>0.99544302524208383</c:v>
                </c:pt>
                <c:pt idx="69">
                  <c:v>0.99598009085210237</c:v>
                </c:pt>
                <c:pt idx="70">
                  <c:v>0.99650099060763875</c:v>
                </c:pt>
                <c:pt idx="71">
                  <c:v>0.99697698521183575</c:v>
                </c:pt>
                <c:pt idx="72">
                  <c:v>0.99745028550695236</c:v>
                </c:pt>
                <c:pt idx="73">
                  <c:v>0.99789754081429216</c:v>
                </c:pt>
                <c:pt idx="74">
                  <c:v>0.99833671319439088</c:v>
                </c:pt>
                <c:pt idx="75">
                  <c:v>0.99869505630207878</c:v>
                </c:pt>
                <c:pt idx="76">
                  <c:v>0.99900400374329346</c:v>
                </c:pt>
                <c:pt idx="77">
                  <c:v>0.99930037774213309</c:v>
                </c:pt>
                <c:pt idx="78">
                  <c:v>0.99953657883817804</c:v>
                </c:pt>
                <c:pt idx="79">
                  <c:v>0.99965872084982099</c:v>
                </c:pt>
                <c:pt idx="80">
                  <c:v>0.99977277993422287</c:v>
                </c:pt>
                <c:pt idx="81">
                  <c:v>0.99985181300058013</c:v>
                </c:pt>
                <c:pt idx="82">
                  <c:v>0.99992455934574986</c:v>
                </c:pt>
                <c:pt idx="83">
                  <c:v>0.99996227967287488</c:v>
                </c:pt>
                <c:pt idx="8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Galbani</c:v>
                </c:pt>
                <c:pt idx="3">
                  <c:v>Entremont</c:v>
                </c:pt>
                <c:pt idx="4">
                  <c:v>St Moret</c:v>
                </c:pt>
                <c:pt idx="5">
                  <c:v>Soignon</c:v>
                </c:pt>
                <c:pt idx="6">
                  <c:v>Boursin</c:v>
                </c:pt>
                <c:pt idx="7">
                  <c:v>La Vache Qui Rit</c:v>
                </c:pt>
                <c:pt idx="8">
                  <c:v>Kiri</c:v>
                </c:pt>
                <c:pt idx="9">
                  <c:v>Others</c:v>
                </c:pt>
              </c:strCache>
            </c:strRef>
          </c:cat>
          <c:val>
            <c:numRef>
              <c:f>Sheet1!$B$2:$B$11</c:f>
              <c:numCache>
                <c:formatCode>General</c:formatCode>
                <c:ptCount val="10"/>
                <c:pt idx="0">
                  <c:v>0.50289307385410109</c:v>
                </c:pt>
                <c:pt idx="1">
                  <c:v>6.649350872579278E-2</c:v>
                </c:pt>
                <c:pt idx="2">
                  <c:v>3.8494194560108178E-2</c:v>
                </c:pt>
                <c:pt idx="3">
                  <c:v>3.4812548482157361E-2</c:v>
                </c:pt>
                <c:pt idx="4">
                  <c:v>2.4379988027822052E-2</c:v>
                </c:pt>
                <c:pt idx="5">
                  <c:v>2.2312315907290697E-2</c:v>
                </c:pt>
                <c:pt idx="6">
                  <c:v>1.5046440841851949E-2</c:v>
                </c:pt>
                <c:pt idx="7">
                  <c:v>1.2638798824326456E-2</c:v>
                </c:pt>
                <c:pt idx="8">
                  <c:v>1.1870643692761975E-2</c:v>
                </c:pt>
                <c:pt idx="9">
                  <c:v>0.2710584870837873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Galbani</c:v>
                </c:pt>
                <c:pt idx="3">
                  <c:v>Entremont</c:v>
                </c:pt>
                <c:pt idx="4">
                  <c:v>St Moret</c:v>
                </c:pt>
                <c:pt idx="5">
                  <c:v>Soignon</c:v>
                </c:pt>
                <c:pt idx="6">
                  <c:v>Boursin</c:v>
                </c:pt>
                <c:pt idx="7">
                  <c:v>La Vache Qui Rit</c:v>
                </c:pt>
                <c:pt idx="8">
                  <c:v>Kiri</c:v>
                </c:pt>
                <c:pt idx="9">
                  <c:v>Others</c:v>
                </c:pt>
              </c:strCache>
            </c:strRef>
          </c:cat>
          <c:val>
            <c:numRef>
              <c:f>Sheet1!$C$2:$C$11</c:f>
              <c:numCache>
                <c:formatCode>General</c:formatCode>
                <c:ptCount val="10"/>
                <c:pt idx="0">
                  <c:v>0.39368825631324594</c:v>
                </c:pt>
                <c:pt idx="1">
                  <c:v>6.7981863495781308E-2</c:v>
                </c:pt>
                <c:pt idx="2">
                  <c:v>3.3450439900309353E-2</c:v>
                </c:pt>
                <c:pt idx="3">
                  <c:v>3.33003032759812E-2</c:v>
                </c:pt>
                <c:pt idx="4">
                  <c:v>2.3901750593039717E-2</c:v>
                </c:pt>
                <c:pt idx="5">
                  <c:v>2.6183827282827431E-2</c:v>
                </c:pt>
                <c:pt idx="6">
                  <c:v>3.4291204996546941E-2</c:v>
                </c:pt>
                <c:pt idx="7">
                  <c:v>1.2521394468966785E-2</c:v>
                </c:pt>
                <c:pt idx="8">
                  <c:v>1.6124673452842117E-2</c:v>
                </c:pt>
                <c:pt idx="9">
                  <c:v>0.3585562862204613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Galbani</c:v>
                </c:pt>
                <c:pt idx="3">
                  <c:v>Entremont</c:v>
                </c:pt>
                <c:pt idx="4">
                  <c:v>St Moret</c:v>
                </c:pt>
                <c:pt idx="5">
                  <c:v>Soignon</c:v>
                </c:pt>
                <c:pt idx="6">
                  <c:v>Boursin</c:v>
                </c:pt>
                <c:pt idx="7">
                  <c:v>La Vache Qui Rit</c:v>
                </c:pt>
                <c:pt idx="8">
                  <c:v>Kiri</c:v>
                </c:pt>
                <c:pt idx="9">
                  <c:v>Others</c:v>
                </c:pt>
              </c:strCache>
            </c:strRef>
          </c:cat>
          <c:val>
            <c:numRef>
              <c:f>Sheet1!$D$2:$D$11</c:f>
              <c:numCache>
                <c:formatCode>General</c:formatCode>
                <c:ptCount val="10"/>
                <c:pt idx="0">
                  <c:v>78.28468451475679</c:v>
                </c:pt>
                <c:pt idx="1">
                  <c:v>102.23834596565844</c:v>
                </c:pt>
                <c:pt idx="2">
                  <c:v>86.89736279084093</c:v>
                </c:pt>
                <c:pt idx="3">
                  <c:v>95.656034182756713</c:v>
                </c:pt>
                <c:pt idx="4">
                  <c:v>98.038401683230617</c:v>
                </c:pt>
                <c:pt idx="5">
                  <c:v>117.35145464784178</c:v>
                </c:pt>
                <c:pt idx="6">
                  <c:v>227.90243458217262</c:v>
                </c:pt>
                <c:pt idx="7">
                  <c:v>99.071079799658676</c:v>
                </c:pt>
                <c:pt idx="8">
                  <c:v>135.8365550359666</c:v>
                </c:pt>
                <c:pt idx="9">
                  <c:v>132.280044088649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7</c:f>
              <c:strCache>
                <c:ptCount val="56"/>
                <c:pt idx="0">
                  <c:v>Private Lab</c:v>
                </c:pt>
                <c:pt idx="1">
                  <c:v>President</c:v>
                </c:pt>
                <c:pt idx="2">
                  <c:v>Private Lab</c:v>
                </c:pt>
                <c:pt idx="3">
                  <c:v>Private Lab</c:v>
                </c:pt>
                <c:pt idx="4">
                  <c:v>President</c:v>
                </c:pt>
                <c:pt idx="5">
                  <c:v>President</c:v>
                </c:pt>
                <c:pt idx="6">
                  <c:v>Private Lab</c:v>
                </c:pt>
                <c:pt idx="7">
                  <c:v>President</c:v>
                </c:pt>
                <c:pt idx="8">
                  <c:v>Boursin</c:v>
                </c:pt>
                <c:pt idx="9">
                  <c:v>Les Mousque</c:v>
                </c:pt>
                <c:pt idx="10">
                  <c:v>La Belle Et</c:v>
                </c:pt>
                <c:pt idx="11">
                  <c:v>La Belle Et</c:v>
                </c:pt>
                <c:pt idx="12">
                  <c:v>Raguin</c:v>
                </c:pt>
                <c:pt idx="13">
                  <c:v>President</c:v>
                </c:pt>
                <c:pt idx="14">
                  <c:v>President</c:v>
                </c:pt>
                <c:pt idx="15">
                  <c:v>Raguin</c:v>
                </c:pt>
                <c:pt idx="16">
                  <c:v>All Others</c:v>
                </c:pt>
                <c:pt idx="17">
                  <c:v>Raguin</c:v>
                </c:pt>
                <c:pt idx="18">
                  <c:v>Raguin</c:v>
                </c:pt>
                <c:pt idx="19">
                  <c:v>La Belle Et</c:v>
                </c:pt>
                <c:pt idx="20">
                  <c:v>Milleret: A</c:v>
                </c:pt>
                <c:pt idx="21">
                  <c:v>La Belle Et</c:v>
                </c:pt>
                <c:pt idx="22">
                  <c:v>Milleret: A</c:v>
                </c:pt>
                <c:pt idx="23">
                  <c:v>All Others</c:v>
                </c:pt>
                <c:pt idx="24">
                  <c:v>All Others</c:v>
                </c:pt>
                <c:pt idx="25">
                  <c:v>Richesmonts</c:v>
                </c:pt>
                <c:pt idx="26">
                  <c:v>All Others</c:v>
                </c:pt>
                <c:pt idx="27">
                  <c:v>All Others</c:v>
                </c:pt>
                <c:pt idx="28">
                  <c:v>Milleret: A</c:v>
                </c:pt>
                <c:pt idx="29">
                  <c:v>All Others</c:v>
                </c:pt>
                <c:pt idx="30">
                  <c:v>La Belle Et</c:v>
                </c:pt>
                <c:pt idx="31">
                  <c:v>Milleret: A</c:v>
                </c:pt>
                <c:pt idx="32">
                  <c:v>La Belle Et</c:v>
                </c:pt>
                <c:pt idx="33">
                  <c:v>All Others</c:v>
                </c:pt>
                <c:pt idx="34">
                  <c:v>All Others</c:v>
                </c:pt>
                <c:pt idx="35">
                  <c:v>La Belle Et</c:v>
                </c:pt>
                <c:pt idx="36">
                  <c:v>All Others</c:v>
                </c:pt>
                <c:pt idx="37">
                  <c:v>All Others</c:v>
                </c:pt>
                <c:pt idx="38">
                  <c:v>La Belle Et</c:v>
                </c:pt>
                <c:pt idx="39">
                  <c:v>La Belle Et</c:v>
                </c:pt>
                <c:pt idx="40">
                  <c:v>All Others</c:v>
                </c:pt>
                <c:pt idx="41">
                  <c:v>La Belle Et</c:v>
                </c:pt>
                <c:pt idx="42">
                  <c:v>All Others</c:v>
                </c:pt>
                <c:pt idx="43">
                  <c:v>All Others</c:v>
                </c:pt>
                <c:pt idx="44">
                  <c:v>All Others</c:v>
                </c:pt>
                <c:pt idx="45">
                  <c:v>All Others</c:v>
                </c:pt>
                <c:pt idx="46">
                  <c:v>La Belle Et</c:v>
                </c:pt>
                <c:pt idx="47">
                  <c:v>La Belle Et</c:v>
                </c:pt>
                <c:pt idx="48">
                  <c:v>All Others</c:v>
                </c:pt>
                <c:pt idx="49">
                  <c:v>La Belle Et</c:v>
                </c:pt>
                <c:pt idx="50">
                  <c:v>La Belle Et</c:v>
                </c:pt>
                <c:pt idx="51">
                  <c:v>All Others</c:v>
                </c:pt>
                <c:pt idx="52">
                  <c:v>La Belle Et</c:v>
                </c:pt>
                <c:pt idx="53">
                  <c:v>All Others</c:v>
                </c:pt>
                <c:pt idx="54">
                  <c:v>Raguin</c:v>
                </c:pt>
                <c:pt idx="55">
                  <c:v>La Belle Et</c:v>
                </c:pt>
              </c:strCache>
            </c:strRef>
          </c:cat>
          <c:val>
            <c:numRef>
              <c:f>Sheet1!$B$2:$B$57</c:f>
              <c:numCache>
                <c:formatCode>General</c:formatCode>
                <c:ptCount val="56"/>
                <c:pt idx="0">
                  <c:v>0.99</c:v>
                </c:pt>
                <c:pt idx="1">
                  <c:v>0.86</c:v>
                </c:pt>
                <c:pt idx="2">
                  <c:v>0.7</c:v>
                </c:pt>
                <c:pt idx="3">
                  <c:v>0.85</c:v>
                </c:pt>
                <c:pt idx="4">
                  <c:v>0.76</c:v>
                </c:pt>
                <c:pt idx="5">
                  <c:v>0.66</c:v>
                </c:pt>
                <c:pt idx="6">
                  <c:v>0.78</c:v>
                </c:pt>
                <c:pt idx="7">
                  <c:v>0.72</c:v>
                </c:pt>
                <c:pt idx="8">
                  <c:v>0.67</c:v>
                </c:pt>
                <c:pt idx="9">
                  <c:v>0.34</c:v>
                </c:pt>
                <c:pt idx="10">
                  <c:v>0.04</c:v>
                </c:pt>
                <c:pt idx="11">
                  <c:v>0.03</c:v>
                </c:pt>
                <c:pt idx="12">
                  <c:v>0.02</c:v>
                </c:pt>
                <c:pt idx="13">
                  <c:v>0.18</c:v>
                </c:pt>
                <c:pt idx="14">
                  <c:v>0.19</c:v>
                </c:pt>
                <c:pt idx="15">
                  <c:v>0.03</c:v>
                </c:pt>
                <c:pt idx="16">
                  <c:v>7.0000000000000007E-2</c:v>
                </c:pt>
                <c:pt idx="17">
                  <c:v>0.02</c:v>
                </c:pt>
                <c:pt idx="18">
                  <c:v>0.03</c:v>
                </c:pt>
                <c:pt idx="19">
                  <c:v>0.02</c:v>
                </c:pt>
                <c:pt idx="20">
                  <c:v>0.05</c:v>
                </c:pt>
                <c:pt idx="21">
                  <c:v>0.01</c:v>
                </c:pt>
                <c:pt idx="22">
                  <c:v>0.05</c:v>
                </c:pt>
                <c:pt idx="23">
                  <c:v>0.06</c:v>
                </c:pt>
                <c:pt idx="24">
                  <c:v>7.0000000000000007E-2</c:v>
                </c:pt>
                <c:pt idx="25">
                  <c:v>0.08</c:v>
                </c:pt>
                <c:pt idx="26">
                  <c:v>0.05</c:v>
                </c:pt>
                <c:pt idx="27">
                  <c:v>0.05</c:v>
                </c:pt>
                <c:pt idx="28">
                  <c:v>0.03</c:v>
                </c:pt>
                <c:pt idx="29">
                  <c:v>0.03</c:v>
                </c:pt>
                <c:pt idx="30">
                  <c:v>0.02</c:v>
                </c:pt>
                <c:pt idx="31">
                  <c:v>0.03</c:v>
                </c:pt>
                <c:pt idx="32">
                  <c:v>0.01</c:v>
                </c:pt>
                <c:pt idx="33">
                  <c:v>0.01</c:v>
                </c:pt>
                <c:pt idx="34">
                  <c:v>0.02</c:v>
                </c:pt>
                <c:pt idx="35">
                  <c:v>0.01</c:v>
                </c:pt>
                <c:pt idx="36">
                  <c:v>0.01</c:v>
                </c:pt>
                <c:pt idx="37">
                  <c:v>0.03</c:v>
                </c:pt>
                <c:pt idx="38">
                  <c:v>0.02</c:v>
                </c:pt>
                <c:pt idx="39">
                  <c:v>0.02</c:v>
                </c:pt>
                <c:pt idx="40">
                  <c:v>0.03</c:v>
                </c:pt>
                <c:pt idx="41">
                  <c:v>0.02</c:v>
                </c:pt>
                <c:pt idx="42">
                  <c:v>0.01</c:v>
                </c:pt>
                <c:pt idx="43">
                  <c:v>0.01</c:v>
                </c:pt>
                <c:pt idx="44">
                  <c:v>0.02</c:v>
                </c:pt>
                <c:pt idx="45">
                  <c:v>0.02</c:v>
                </c:pt>
                <c:pt idx="46">
                  <c:v>0.01</c:v>
                </c:pt>
                <c:pt idx="47">
                  <c:v>0.01</c:v>
                </c:pt>
                <c:pt idx="48">
                  <c:v>0.01</c:v>
                </c:pt>
                <c:pt idx="49">
                  <c:v>0.01</c:v>
                </c:pt>
                <c:pt idx="50">
                  <c:v>0.01</c:v>
                </c:pt>
                <c:pt idx="51">
                  <c:v>0.03</c:v>
                </c:pt>
                <c:pt idx="52">
                  <c:v>0.01</c:v>
                </c:pt>
                <c:pt idx="53">
                  <c:v>0.01</c:v>
                </c:pt>
                <c:pt idx="54">
                  <c:v>0.01</c:v>
                </c:pt>
                <c:pt idx="5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7</c:f>
              <c:strCache>
                <c:ptCount val="56"/>
                <c:pt idx="0">
                  <c:v>Private Lab</c:v>
                </c:pt>
                <c:pt idx="1">
                  <c:v>President</c:v>
                </c:pt>
                <c:pt idx="2">
                  <c:v>Private Lab</c:v>
                </c:pt>
                <c:pt idx="3">
                  <c:v>Private Lab</c:v>
                </c:pt>
                <c:pt idx="4">
                  <c:v>President</c:v>
                </c:pt>
                <c:pt idx="5">
                  <c:v>President</c:v>
                </c:pt>
                <c:pt idx="6">
                  <c:v>Private Lab</c:v>
                </c:pt>
                <c:pt idx="7">
                  <c:v>President</c:v>
                </c:pt>
                <c:pt idx="8">
                  <c:v>Boursin</c:v>
                </c:pt>
                <c:pt idx="9">
                  <c:v>Les Mousque</c:v>
                </c:pt>
                <c:pt idx="10">
                  <c:v>La Belle Et</c:v>
                </c:pt>
                <c:pt idx="11">
                  <c:v>La Belle Et</c:v>
                </c:pt>
                <c:pt idx="12">
                  <c:v>Raguin</c:v>
                </c:pt>
                <c:pt idx="13">
                  <c:v>President</c:v>
                </c:pt>
                <c:pt idx="14">
                  <c:v>President</c:v>
                </c:pt>
                <c:pt idx="15">
                  <c:v>Raguin</c:v>
                </c:pt>
                <c:pt idx="16">
                  <c:v>All Others</c:v>
                </c:pt>
                <c:pt idx="17">
                  <c:v>Raguin</c:v>
                </c:pt>
                <c:pt idx="18">
                  <c:v>Raguin</c:v>
                </c:pt>
                <c:pt idx="19">
                  <c:v>La Belle Et</c:v>
                </c:pt>
                <c:pt idx="20">
                  <c:v>Milleret: A</c:v>
                </c:pt>
                <c:pt idx="21">
                  <c:v>La Belle Et</c:v>
                </c:pt>
                <c:pt idx="22">
                  <c:v>Milleret: A</c:v>
                </c:pt>
                <c:pt idx="23">
                  <c:v>All Others</c:v>
                </c:pt>
                <c:pt idx="24">
                  <c:v>All Others</c:v>
                </c:pt>
                <c:pt idx="25">
                  <c:v>Richesmonts</c:v>
                </c:pt>
                <c:pt idx="26">
                  <c:v>All Others</c:v>
                </c:pt>
                <c:pt idx="27">
                  <c:v>All Others</c:v>
                </c:pt>
                <c:pt idx="28">
                  <c:v>Milleret: A</c:v>
                </c:pt>
                <c:pt idx="29">
                  <c:v>All Others</c:v>
                </c:pt>
                <c:pt idx="30">
                  <c:v>La Belle Et</c:v>
                </c:pt>
                <c:pt idx="31">
                  <c:v>Milleret: A</c:v>
                </c:pt>
                <c:pt idx="32">
                  <c:v>La Belle Et</c:v>
                </c:pt>
                <c:pt idx="33">
                  <c:v>All Others</c:v>
                </c:pt>
                <c:pt idx="34">
                  <c:v>All Others</c:v>
                </c:pt>
                <c:pt idx="35">
                  <c:v>La Belle Et</c:v>
                </c:pt>
                <c:pt idx="36">
                  <c:v>All Others</c:v>
                </c:pt>
                <c:pt idx="37">
                  <c:v>All Others</c:v>
                </c:pt>
                <c:pt idx="38">
                  <c:v>La Belle Et</c:v>
                </c:pt>
                <c:pt idx="39">
                  <c:v>La Belle Et</c:v>
                </c:pt>
                <c:pt idx="40">
                  <c:v>All Others</c:v>
                </c:pt>
                <c:pt idx="41">
                  <c:v>La Belle Et</c:v>
                </c:pt>
                <c:pt idx="42">
                  <c:v>All Others</c:v>
                </c:pt>
                <c:pt idx="43">
                  <c:v>All Others</c:v>
                </c:pt>
                <c:pt idx="44">
                  <c:v>All Others</c:v>
                </c:pt>
                <c:pt idx="45">
                  <c:v>All Others</c:v>
                </c:pt>
                <c:pt idx="46">
                  <c:v>La Belle Et</c:v>
                </c:pt>
                <c:pt idx="47">
                  <c:v>La Belle Et</c:v>
                </c:pt>
                <c:pt idx="48">
                  <c:v>All Others</c:v>
                </c:pt>
                <c:pt idx="49">
                  <c:v>La Belle Et</c:v>
                </c:pt>
                <c:pt idx="50">
                  <c:v>La Belle Et</c:v>
                </c:pt>
                <c:pt idx="51">
                  <c:v>All Others</c:v>
                </c:pt>
                <c:pt idx="52">
                  <c:v>La Belle Et</c:v>
                </c:pt>
                <c:pt idx="53">
                  <c:v>All Others</c:v>
                </c:pt>
                <c:pt idx="54">
                  <c:v>Raguin</c:v>
                </c:pt>
                <c:pt idx="55">
                  <c:v>La Belle Et</c:v>
                </c:pt>
              </c:strCache>
            </c:strRef>
          </c:cat>
          <c:val>
            <c:numRef>
              <c:f>Sheet1!$C$2:$C$57</c:f>
              <c:numCache>
                <c:formatCode>General</c:formatCode>
                <c:ptCount val="56"/>
                <c:pt idx="0">
                  <c:v>0.29026482106795087</c:v>
                </c:pt>
                <c:pt idx="1">
                  <c:v>0.46238625121618199</c:v>
                </c:pt>
                <c:pt idx="2">
                  <c:v>0.5689810234733339</c:v>
                </c:pt>
                <c:pt idx="3">
                  <c:v>0.63400587855349966</c:v>
                </c:pt>
                <c:pt idx="4">
                  <c:v>0.69783294769804338</c:v>
                </c:pt>
                <c:pt idx="5">
                  <c:v>0.75006336410239627</c:v>
                </c:pt>
                <c:pt idx="6">
                  <c:v>0.79942706587413837</c:v>
                </c:pt>
                <c:pt idx="7">
                  <c:v>0.83564884840853892</c:v>
                </c:pt>
                <c:pt idx="8">
                  <c:v>0.86399099820945302</c:v>
                </c:pt>
                <c:pt idx="9">
                  <c:v>0.88036653067231352</c:v>
                </c:pt>
                <c:pt idx="10">
                  <c:v>0.89328054354135833</c:v>
                </c:pt>
                <c:pt idx="11">
                  <c:v>0.90177337726577766</c:v>
                </c:pt>
                <c:pt idx="12">
                  <c:v>0.90997289651620072</c:v>
                </c:pt>
                <c:pt idx="13">
                  <c:v>0.91714428210515986</c:v>
                </c:pt>
                <c:pt idx="14">
                  <c:v>0.92407856331095828</c:v>
                </c:pt>
                <c:pt idx="15">
                  <c:v>0.93096583244078523</c:v>
                </c:pt>
                <c:pt idx="16">
                  <c:v>0.93666042564324781</c:v>
                </c:pt>
                <c:pt idx="17">
                  <c:v>0.94209747442951863</c:v>
                </c:pt>
                <c:pt idx="18">
                  <c:v>0.94684773810594469</c:v>
                </c:pt>
                <c:pt idx="19">
                  <c:v>0.95143345951647051</c:v>
                </c:pt>
                <c:pt idx="20">
                  <c:v>0.95515150152482642</c:v>
                </c:pt>
                <c:pt idx="21">
                  <c:v>0.95882457546051392</c:v>
                </c:pt>
                <c:pt idx="22">
                  <c:v>0.9624649453433517</c:v>
                </c:pt>
                <c:pt idx="23">
                  <c:v>0.96603070910562594</c:v>
                </c:pt>
                <c:pt idx="24">
                  <c:v>0.9691621221659894</c:v>
                </c:pt>
                <c:pt idx="25">
                  <c:v>0.97194094465656655</c:v>
                </c:pt>
                <c:pt idx="26">
                  <c:v>0.97466151305300508</c:v>
                </c:pt>
                <c:pt idx="27">
                  <c:v>0.97698861081359512</c:v>
                </c:pt>
                <c:pt idx="28">
                  <c:v>0.97887420386071344</c:v>
                </c:pt>
                <c:pt idx="29">
                  <c:v>0.98065759674267639</c:v>
                </c:pt>
                <c:pt idx="30">
                  <c:v>0.98242974760647217</c:v>
                </c:pt>
                <c:pt idx="31">
                  <c:v>0.98401385016638188</c:v>
                </c:pt>
                <c:pt idx="32">
                  <c:v>0.98527908821100652</c:v>
                </c:pt>
                <c:pt idx="33">
                  <c:v>0.98652899623085788</c:v>
                </c:pt>
                <c:pt idx="34">
                  <c:v>0.98771962815491909</c:v>
                </c:pt>
                <c:pt idx="35">
                  <c:v>0.98886324800300873</c:v>
                </c:pt>
                <c:pt idx="36">
                  <c:v>0.98995372376521762</c:v>
                </c:pt>
                <c:pt idx="37">
                  <c:v>0.99100842946962209</c:v>
                </c:pt>
                <c:pt idx="38">
                  <c:v>0.9919302749593244</c:v>
                </c:pt>
                <c:pt idx="39">
                  <c:v>0.99285007644572365</c:v>
                </c:pt>
                <c:pt idx="40">
                  <c:v>0.99375761391230422</c:v>
                </c:pt>
                <c:pt idx="41">
                  <c:v>0.99539997056635265</c:v>
                </c:pt>
                <c:pt idx="42">
                  <c:v>0.99600806154902766</c:v>
                </c:pt>
                <c:pt idx="43">
                  <c:v>0.99643219223442281</c:v>
                </c:pt>
                <c:pt idx="44">
                  <c:v>0.99682770687357447</c:v>
                </c:pt>
                <c:pt idx="45">
                  <c:v>0.99722015550777143</c:v>
                </c:pt>
                <c:pt idx="46">
                  <c:v>0.99759216410893736</c:v>
                </c:pt>
                <c:pt idx="47">
                  <c:v>0.99793760066716286</c:v>
                </c:pt>
                <c:pt idx="48">
                  <c:v>0.99825135517419017</c:v>
                </c:pt>
                <c:pt idx="49">
                  <c:v>0.99852729562010989</c:v>
                </c:pt>
                <c:pt idx="50">
                  <c:v>0.99872862994546618</c:v>
                </c:pt>
                <c:pt idx="51">
                  <c:v>0.99935102895126293</c:v>
                </c:pt>
                <c:pt idx="52">
                  <c:v>0.99946038312797925</c:v>
                </c:pt>
                <c:pt idx="53">
                  <c:v>0.99956258329313474</c:v>
                </c:pt>
                <c:pt idx="54">
                  <c:v>0.99973632357389897</c:v>
                </c:pt>
                <c:pt idx="55">
                  <c:v>0.999865095781994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2</c:f>
              <c:strCache>
                <c:ptCount val="41"/>
                <c:pt idx="0">
                  <c:v>Mini Babybe</c:v>
                </c:pt>
                <c:pt idx="1">
                  <c:v>Mini Babybe</c:v>
                </c:pt>
                <c:pt idx="2">
                  <c:v>La Vache Qu</c:v>
                </c:pt>
                <c:pt idx="3">
                  <c:v>La Vache Qu</c:v>
                </c:pt>
                <c:pt idx="4">
                  <c:v>La Vache Qu</c:v>
                </c:pt>
                <c:pt idx="5">
                  <c:v>Kiri</c:v>
                </c:pt>
                <c:pt idx="6">
                  <c:v>Ficello</c:v>
                </c:pt>
                <c:pt idx="7">
                  <c:v>Kiri</c:v>
                </c:pt>
                <c:pt idx="8">
                  <c:v>Kiri</c:v>
                </c:pt>
                <c:pt idx="9">
                  <c:v>Mini Babybe</c:v>
                </c:pt>
                <c:pt idx="10">
                  <c:v>Ficello</c:v>
                </c:pt>
                <c:pt idx="11">
                  <c:v>Mini Babybe</c:v>
                </c:pt>
                <c:pt idx="12">
                  <c:v>Kiri</c:v>
                </c:pt>
                <c:pt idx="13">
                  <c:v>La Vache Qu</c:v>
                </c:pt>
                <c:pt idx="14">
                  <c:v>La Vache Qu</c:v>
                </c:pt>
                <c:pt idx="15">
                  <c:v>Kiri</c:v>
                </c:pt>
                <c:pt idx="16">
                  <c:v>Kiri</c:v>
                </c:pt>
                <c:pt idx="17">
                  <c:v>La Vache Qu</c:v>
                </c:pt>
                <c:pt idx="18">
                  <c:v>P'Tit Louis</c:v>
                </c:pt>
                <c:pt idx="19">
                  <c:v>Mini Babybe</c:v>
                </c:pt>
                <c:pt idx="20">
                  <c:v>Mini Babybe</c:v>
                </c:pt>
                <c:pt idx="21">
                  <c:v>Ficello</c:v>
                </c:pt>
                <c:pt idx="22">
                  <c:v>Mini Babybe</c:v>
                </c:pt>
                <c:pt idx="23">
                  <c:v>Mini Babybe</c:v>
                </c:pt>
                <c:pt idx="24">
                  <c:v>La Vache Qu</c:v>
                </c:pt>
                <c:pt idx="25">
                  <c:v>P'Tit Louis</c:v>
                </c:pt>
                <c:pt idx="26">
                  <c:v>La Vache Qu</c:v>
                </c:pt>
                <c:pt idx="27">
                  <c:v>P'Tit Louis</c:v>
                </c:pt>
                <c:pt idx="28">
                  <c:v>Kiri</c:v>
                </c:pt>
                <c:pt idx="29">
                  <c:v>Ficello</c:v>
                </c:pt>
                <c:pt idx="30">
                  <c:v>Mini Babybe</c:v>
                </c:pt>
                <c:pt idx="31">
                  <c:v>Mini Babybe</c:v>
                </c:pt>
                <c:pt idx="32">
                  <c:v>La Vache Qu</c:v>
                </c:pt>
                <c:pt idx="33">
                  <c:v>La Vache Qu</c:v>
                </c:pt>
                <c:pt idx="34">
                  <c:v>La Vache Qu</c:v>
                </c:pt>
                <c:pt idx="35">
                  <c:v>Kiri</c:v>
                </c:pt>
                <c:pt idx="36">
                  <c:v>Mini Babybe</c:v>
                </c:pt>
                <c:pt idx="37">
                  <c:v>Lactalis: A</c:v>
                </c:pt>
                <c:pt idx="38">
                  <c:v>Mini Babybe</c:v>
                </c:pt>
                <c:pt idx="39">
                  <c:v>Mini Babybe</c:v>
                </c:pt>
                <c:pt idx="40">
                  <c:v>Mini Babybe</c:v>
                </c:pt>
              </c:strCache>
            </c:strRef>
          </c:cat>
          <c:val>
            <c:numRef>
              <c:f>Sheet1!$B$2:$B$42</c:f>
              <c:numCache>
                <c:formatCode>General</c:formatCode>
                <c:ptCount val="41"/>
                <c:pt idx="0">
                  <c:v>0.98899999999999999</c:v>
                </c:pt>
                <c:pt idx="1">
                  <c:v>0.86199999999999999</c:v>
                </c:pt>
                <c:pt idx="2">
                  <c:v>0.86399999999999999</c:v>
                </c:pt>
                <c:pt idx="3">
                  <c:v>0.80400000000000005</c:v>
                </c:pt>
                <c:pt idx="4">
                  <c:v>0.97799999999999998</c:v>
                </c:pt>
                <c:pt idx="5">
                  <c:v>0.76200000000000001</c:v>
                </c:pt>
                <c:pt idx="6">
                  <c:v>0.82899999999999996</c:v>
                </c:pt>
                <c:pt idx="7">
                  <c:v>0.98899999999999999</c:v>
                </c:pt>
                <c:pt idx="8">
                  <c:v>0.94699999999999995</c:v>
                </c:pt>
                <c:pt idx="9">
                  <c:v>0.80500000000000005</c:v>
                </c:pt>
                <c:pt idx="10">
                  <c:v>0.94499999999999995</c:v>
                </c:pt>
                <c:pt idx="11">
                  <c:v>0.438</c:v>
                </c:pt>
                <c:pt idx="12">
                  <c:v>0.82399999999999995</c:v>
                </c:pt>
                <c:pt idx="13">
                  <c:v>0.71699999999999997</c:v>
                </c:pt>
                <c:pt idx="14">
                  <c:v>0.90600000000000003</c:v>
                </c:pt>
                <c:pt idx="15">
                  <c:v>0.72</c:v>
                </c:pt>
                <c:pt idx="16">
                  <c:v>0.71199999999999997</c:v>
                </c:pt>
                <c:pt idx="17">
                  <c:v>0.67800000000000005</c:v>
                </c:pt>
                <c:pt idx="18">
                  <c:v>0.76200000000000001</c:v>
                </c:pt>
                <c:pt idx="19">
                  <c:v>0.69299999999999995</c:v>
                </c:pt>
                <c:pt idx="20">
                  <c:v>0.41099999999999998</c:v>
                </c:pt>
                <c:pt idx="21">
                  <c:v>0.63100000000000001</c:v>
                </c:pt>
                <c:pt idx="22">
                  <c:v>0.64100000000000001</c:v>
                </c:pt>
                <c:pt idx="23">
                  <c:v>0.59599999999999997</c:v>
                </c:pt>
                <c:pt idx="24">
                  <c:v>0.42</c:v>
                </c:pt>
                <c:pt idx="25">
                  <c:v>0.44400000000000001</c:v>
                </c:pt>
                <c:pt idx="26">
                  <c:v>0.48199999999999998</c:v>
                </c:pt>
                <c:pt idx="27">
                  <c:v>0.42899999999999999</c:v>
                </c:pt>
                <c:pt idx="28">
                  <c:v>0.39200000000000002</c:v>
                </c:pt>
                <c:pt idx="29">
                  <c:v>0.51500000000000001</c:v>
                </c:pt>
                <c:pt idx="30">
                  <c:v>0.307</c:v>
                </c:pt>
                <c:pt idx="31">
                  <c:v>0.124</c:v>
                </c:pt>
                <c:pt idx="32">
                  <c:v>8.0000000000000002E-3</c:v>
                </c:pt>
                <c:pt idx="33">
                  <c:v>2.7E-2</c:v>
                </c:pt>
                <c:pt idx="34">
                  <c:v>0.155</c:v>
                </c:pt>
                <c:pt idx="35">
                  <c:v>7.9000000000000001E-2</c:v>
                </c:pt>
                <c:pt idx="36">
                  <c:v>0.17799999999999999</c:v>
                </c:pt>
                <c:pt idx="37">
                  <c:v>5.0000000000000001E-3</c:v>
                </c:pt>
                <c:pt idx="38">
                  <c:v>1.7999999999999999E-2</c:v>
                </c:pt>
                <c:pt idx="39">
                  <c:v>3.6999999999999998E-2</c:v>
                </c:pt>
                <c:pt idx="40">
                  <c:v>3.2000000000000001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2</c:f>
              <c:strCache>
                <c:ptCount val="41"/>
                <c:pt idx="0">
                  <c:v>Mini Babybe</c:v>
                </c:pt>
                <c:pt idx="1">
                  <c:v>Mini Babybe</c:v>
                </c:pt>
                <c:pt idx="2">
                  <c:v>La Vache Qu</c:v>
                </c:pt>
                <c:pt idx="3">
                  <c:v>La Vache Qu</c:v>
                </c:pt>
                <c:pt idx="4">
                  <c:v>La Vache Qu</c:v>
                </c:pt>
                <c:pt idx="5">
                  <c:v>Kiri</c:v>
                </c:pt>
                <c:pt idx="6">
                  <c:v>Ficello</c:v>
                </c:pt>
                <c:pt idx="7">
                  <c:v>Kiri</c:v>
                </c:pt>
                <c:pt idx="8">
                  <c:v>Kiri</c:v>
                </c:pt>
                <c:pt idx="9">
                  <c:v>Mini Babybe</c:v>
                </c:pt>
                <c:pt idx="10">
                  <c:v>Ficello</c:v>
                </c:pt>
                <c:pt idx="11">
                  <c:v>Mini Babybe</c:v>
                </c:pt>
                <c:pt idx="12">
                  <c:v>Kiri</c:v>
                </c:pt>
                <c:pt idx="13">
                  <c:v>La Vache Qu</c:v>
                </c:pt>
                <c:pt idx="14">
                  <c:v>La Vache Qu</c:v>
                </c:pt>
                <c:pt idx="15">
                  <c:v>Kiri</c:v>
                </c:pt>
                <c:pt idx="16">
                  <c:v>Kiri</c:v>
                </c:pt>
                <c:pt idx="17">
                  <c:v>La Vache Qu</c:v>
                </c:pt>
                <c:pt idx="18">
                  <c:v>P'Tit Louis</c:v>
                </c:pt>
                <c:pt idx="19">
                  <c:v>Mini Babybe</c:v>
                </c:pt>
                <c:pt idx="20">
                  <c:v>Mini Babybe</c:v>
                </c:pt>
                <c:pt idx="21">
                  <c:v>Ficello</c:v>
                </c:pt>
                <c:pt idx="22">
                  <c:v>Mini Babybe</c:v>
                </c:pt>
                <c:pt idx="23">
                  <c:v>Mini Babybe</c:v>
                </c:pt>
                <c:pt idx="24">
                  <c:v>La Vache Qu</c:v>
                </c:pt>
                <c:pt idx="25">
                  <c:v>P'Tit Louis</c:v>
                </c:pt>
                <c:pt idx="26">
                  <c:v>La Vache Qu</c:v>
                </c:pt>
                <c:pt idx="27">
                  <c:v>P'Tit Louis</c:v>
                </c:pt>
                <c:pt idx="28">
                  <c:v>Kiri</c:v>
                </c:pt>
                <c:pt idx="29">
                  <c:v>Ficello</c:v>
                </c:pt>
                <c:pt idx="30">
                  <c:v>Mini Babybe</c:v>
                </c:pt>
                <c:pt idx="31">
                  <c:v>Mini Babybe</c:v>
                </c:pt>
                <c:pt idx="32">
                  <c:v>La Vache Qu</c:v>
                </c:pt>
                <c:pt idx="33">
                  <c:v>La Vache Qu</c:v>
                </c:pt>
                <c:pt idx="34">
                  <c:v>La Vache Qu</c:v>
                </c:pt>
                <c:pt idx="35">
                  <c:v>Kiri</c:v>
                </c:pt>
                <c:pt idx="36">
                  <c:v>Mini Babybe</c:v>
                </c:pt>
                <c:pt idx="37">
                  <c:v>Lactalis: A</c:v>
                </c:pt>
                <c:pt idx="38">
                  <c:v>Mini Babybe</c:v>
                </c:pt>
                <c:pt idx="39">
                  <c:v>Mini Babybe</c:v>
                </c:pt>
                <c:pt idx="40">
                  <c:v>Mini Babybe</c:v>
                </c:pt>
              </c:strCache>
            </c:strRef>
          </c:cat>
          <c:val>
            <c:numRef>
              <c:f>Sheet1!$C$2:$C$42</c:f>
              <c:numCache>
                <c:formatCode>General</c:formatCode>
                <c:ptCount val="41"/>
                <c:pt idx="0">
                  <c:v>8.2112883143233895E-2</c:v>
                </c:pt>
                <c:pt idx="1">
                  <c:v>0.16290683528054431</c:v>
                </c:pt>
                <c:pt idx="2">
                  <c:v>0.24070738964011451</c:v>
                </c:pt>
                <c:pt idx="3">
                  <c:v>0.30806595200862613</c:v>
                </c:pt>
                <c:pt idx="4">
                  <c:v>0.37038482177374138</c:v>
                </c:pt>
                <c:pt idx="5">
                  <c:v>0.43002104641064975</c:v>
                </c:pt>
                <c:pt idx="6">
                  <c:v>0.47878576637909398</c:v>
                </c:pt>
                <c:pt idx="7">
                  <c:v>0.52731085739157735</c:v>
                </c:pt>
                <c:pt idx="8">
                  <c:v>0.57275054468550735</c:v>
                </c:pt>
                <c:pt idx="9">
                  <c:v>0.61812638605916059</c:v>
                </c:pt>
                <c:pt idx="10">
                  <c:v>0.65536162449162583</c:v>
                </c:pt>
                <c:pt idx="11">
                  <c:v>0.69215184362744731</c:v>
                </c:pt>
                <c:pt idx="12">
                  <c:v>0.72645963910266542</c:v>
                </c:pt>
                <c:pt idx="13">
                  <c:v>0.78490892507660581</c:v>
                </c:pt>
                <c:pt idx="14">
                  <c:v>0.83208043295804146</c:v>
                </c:pt>
                <c:pt idx="15">
                  <c:v>0.85096278117790847</c:v>
                </c:pt>
                <c:pt idx="16">
                  <c:v>0.86963796096475321</c:v>
                </c:pt>
                <c:pt idx="17">
                  <c:v>0.88424015146700263</c:v>
                </c:pt>
                <c:pt idx="18">
                  <c:v>0.91790808180597616</c:v>
                </c:pt>
                <c:pt idx="19">
                  <c:v>0.92740479028827472</c:v>
                </c:pt>
                <c:pt idx="20">
                  <c:v>0.94500984794374587</c:v>
                </c:pt>
                <c:pt idx="21">
                  <c:v>0.95213458124540162</c:v>
                </c:pt>
                <c:pt idx="22">
                  <c:v>0.9576829736617799</c:v>
                </c:pt>
                <c:pt idx="23">
                  <c:v>0.96292450042118061</c:v>
                </c:pt>
                <c:pt idx="24">
                  <c:v>0.97274366388166422</c:v>
                </c:pt>
                <c:pt idx="25">
                  <c:v>0.98085246791566782</c:v>
                </c:pt>
                <c:pt idx="26">
                  <c:v>0.98858989875666292</c:v>
                </c:pt>
                <c:pt idx="27">
                  <c:v>0.99172380718019348</c:v>
                </c:pt>
                <c:pt idx="28">
                  <c:v>0.99460638431911141</c:v>
                </c:pt>
                <c:pt idx="29">
                  <c:v>0.99720707179577139</c:v>
                </c:pt>
                <c:pt idx="30">
                  <c:v>0.99824833093986964</c:v>
                </c:pt>
                <c:pt idx="31">
                  <c:v>0.99882236530857516</c:v>
                </c:pt>
                <c:pt idx="32">
                  <c:v>0.99912621234367438</c:v>
                </c:pt>
                <c:pt idx="33">
                  <c:v>0.99942174783086202</c:v>
                </c:pt>
                <c:pt idx="34">
                  <c:v>0.99960141785910184</c:v>
                </c:pt>
                <c:pt idx="35">
                  <c:v>0.9997091371740765</c:v>
                </c:pt>
                <c:pt idx="36">
                  <c:v>0.99976959231361318</c:v>
                </c:pt>
                <c:pt idx="37">
                  <c:v>0.99982334859363886</c:v>
                </c:pt>
                <c:pt idx="38">
                  <c:v>0.99991105403205005</c:v>
                </c:pt>
                <c:pt idx="39">
                  <c:v>0.99997783587223588</c:v>
                </c:pt>
                <c:pt idx="40">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6</c:f>
              <c:strCache>
                <c:ptCount val="35"/>
                <c:pt idx="0">
                  <c:v>Mini Babybe</c:v>
                </c:pt>
                <c:pt idx="1">
                  <c:v>La Vache Qu</c:v>
                </c:pt>
                <c:pt idx="2">
                  <c:v>La Vache Qu</c:v>
                </c:pt>
                <c:pt idx="3">
                  <c:v>La Vache Qu</c:v>
                </c:pt>
                <c:pt idx="4">
                  <c:v>Mini Babybe</c:v>
                </c:pt>
                <c:pt idx="5">
                  <c:v>Kiri</c:v>
                </c:pt>
                <c:pt idx="6">
                  <c:v>Private Lab</c:v>
                </c:pt>
                <c:pt idx="7">
                  <c:v>Kiri</c:v>
                </c:pt>
                <c:pt idx="8">
                  <c:v>Private Lab</c:v>
                </c:pt>
                <c:pt idx="9">
                  <c:v>Ficello</c:v>
                </c:pt>
                <c:pt idx="10">
                  <c:v>Kiri</c:v>
                </c:pt>
                <c:pt idx="11">
                  <c:v>Kiri</c:v>
                </c:pt>
                <c:pt idx="12">
                  <c:v>Kiri</c:v>
                </c:pt>
                <c:pt idx="13">
                  <c:v>Ficello</c:v>
                </c:pt>
                <c:pt idx="14">
                  <c:v>Private Lab</c:v>
                </c:pt>
                <c:pt idx="15">
                  <c:v>La Vache Qu</c:v>
                </c:pt>
                <c:pt idx="16">
                  <c:v>P'Tit Louis</c:v>
                </c:pt>
                <c:pt idx="17">
                  <c:v>Ficello</c:v>
                </c:pt>
                <c:pt idx="18">
                  <c:v>La Vache Qu</c:v>
                </c:pt>
                <c:pt idx="19">
                  <c:v>Kiri</c:v>
                </c:pt>
                <c:pt idx="20">
                  <c:v>Mini Babybe</c:v>
                </c:pt>
                <c:pt idx="21">
                  <c:v>La Vache Qu</c:v>
                </c:pt>
                <c:pt idx="22">
                  <c:v>Private Lab</c:v>
                </c:pt>
                <c:pt idx="23">
                  <c:v>Mini Babybe</c:v>
                </c:pt>
                <c:pt idx="24">
                  <c:v>Kiri</c:v>
                </c:pt>
                <c:pt idx="25">
                  <c:v>La Vache Qu</c:v>
                </c:pt>
                <c:pt idx="26">
                  <c:v>Mini Babybe</c:v>
                </c:pt>
                <c:pt idx="27">
                  <c:v>P'Tit Louis</c:v>
                </c:pt>
                <c:pt idx="28">
                  <c:v>Kiri</c:v>
                </c:pt>
                <c:pt idx="29">
                  <c:v>Mini Babybe</c:v>
                </c:pt>
                <c:pt idx="30">
                  <c:v>Mini Babybe</c:v>
                </c:pt>
                <c:pt idx="31">
                  <c:v>La Vache Qu</c:v>
                </c:pt>
                <c:pt idx="32">
                  <c:v>Mini Babybe</c:v>
                </c:pt>
                <c:pt idx="33">
                  <c:v>Private Lab</c:v>
                </c:pt>
                <c:pt idx="34">
                  <c:v>Mini Babybe</c:v>
                </c:pt>
              </c:strCache>
            </c:strRef>
          </c:cat>
          <c:val>
            <c:numRef>
              <c:f>Sheet1!$B$2:$B$36</c:f>
              <c:numCache>
                <c:formatCode>General</c:formatCode>
                <c:ptCount val="35"/>
                <c:pt idx="0">
                  <c:v>0.97699999999999998</c:v>
                </c:pt>
                <c:pt idx="1">
                  <c:v>0.94199999999999995</c:v>
                </c:pt>
                <c:pt idx="2">
                  <c:v>0.996</c:v>
                </c:pt>
                <c:pt idx="3">
                  <c:v>0.93799999999999994</c:v>
                </c:pt>
                <c:pt idx="4">
                  <c:v>0.98899999999999999</c:v>
                </c:pt>
                <c:pt idx="5">
                  <c:v>0.97299999999999998</c:v>
                </c:pt>
                <c:pt idx="6">
                  <c:v>0.98499999999999999</c:v>
                </c:pt>
                <c:pt idx="7">
                  <c:v>0.85299999999999998</c:v>
                </c:pt>
                <c:pt idx="8">
                  <c:v>0.98399999999999999</c:v>
                </c:pt>
                <c:pt idx="9">
                  <c:v>0.70599999999999996</c:v>
                </c:pt>
                <c:pt idx="10">
                  <c:v>0.92900000000000005</c:v>
                </c:pt>
                <c:pt idx="11">
                  <c:v>0.98199999999999998</c:v>
                </c:pt>
                <c:pt idx="12">
                  <c:v>0.97799999999999998</c:v>
                </c:pt>
                <c:pt idx="13">
                  <c:v>0.84499999999999997</c:v>
                </c:pt>
                <c:pt idx="14">
                  <c:v>0.97</c:v>
                </c:pt>
                <c:pt idx="15">
                  <c:v>0.93400000000000005</c:v>
                </c:pt>
                <c:pt idx="16">
                  <c:v>0.89600000000000002</c:v>
                </c:pt>
                <c:pt idx="17">
                  <c:v>0.88800000000000001</c:v>
                </c:pt>
                <c:pt idx="18">
                  <c:v>0.81100000000000005</c:v>
                </c:pt>
                <c:pt idx="19">
                  <c:v>0.81599999999999995</c:v>
                </c:pt>
                <c:pt idx="20">
                  <c:v>0.70799999999999996</c:v>
                </c:pt>
                <c:pt idx="21">
                  <c:v>0.80600000000000005</c:v>
                </c:pt>
                <c:pt idx="22">
                  <c:v>0.91200000000000003</c:v>
                </c:pt>
                <c:pt idx="23">
                  <c:v>0.73399999999999999</c:v>
                </c:pt>
                <c:pt idx="24">
                  <c:v>0.6</c:v>
                </c:pt>
                <c:pt idx="25">
                  <c:v>0.625</c:v>
                </c:pt>
                <c:pt idx="26">
                  <c:v>0.58299999999999996</c:v>
                </c:pt>
                <c:pt idx="27">
                  <c:v>0.373</c:v>
                </c:pt>
                <c:pt idx="28">
                  <c:v>0.54300000000000004</c:v>
                </c:pt>
                <c:pt idx="29">
                  <c:v>0.11</c:v>
                </c:pt>
                <c:pt idx="30">
                  <c:v>0.113</c:v>
                </c:pt>
                <c:pt idx="31">
                  <c:v>1E-3</c:v>
                </c:pt>
                <c:pt idx="32">
                  <c:v>1.9E-2</c:v>
                </c:pt>
                <c:pt idx="33">
                  <c:v>1E-3</c:v>
                </c:pt>
                <c:pt idx="34">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6</c:f>
              <c:strCache>
                <c:ptCount val="35"/>
                <c:pt idx="0">
                  <c:v>Mini Babybe</c:v>
                </c:pt>
                <c:pt idx="1">
                  <c:v>La Vache Qu</c:v>
                </c:pt>
                <c:pt idx="2">
                  <c:v>La Vache Qu</c:v>
                </c:pt>
                <c:pt idx="3">
                  <c:v>La Vache Qu</c:v>
                </c:pt>
                <c:pt idx="4">
                  <c:v>Mini Babybe</c:v>
                </c:pt>
                <c:pt idx="5">
                  <c:v>Kiri</c:v>
                </c:pt>
                <c:pt idx="6">
                  <c:v>Private Lab</c:v>
                </c:pt>
                <c:pt idx="7">
                  <c:v>Kiri</c:v>
                </c:pt>
                <c:pt idx="8">
                  <c:v>Private Lab</c:v>
                </c:pt>
                <c:pt idx="9">
                  <c:v>Ficello</c:v>
                </c:pt>
                <c:pt idx="10">
                  <c:v>Kiri</c:v>
                </c:pt>
                <c:pt idx="11">
                  <c:v>Kiri</c:v>
                </c:pt>
                <c:pt idx="12">
                  <c:v>Kiri</c:v>
                </c:pt>
                <c:pt idx="13">
                  <c:v>Ficello</c:v>
                </c:pt>
                <c:pt idx="14">
                  <c:v>Private Lab</c:v>
                </c:pt>
                <c:pt idx="15">
                  <c:v>La Vache Qu</c:v>
                </c:pt>
                <c:pt idx="16">
                  <c:v>P'Tit Louis</c:v>
                </c:pt>
                <c:pt idx="17">
                  <c:v>Ficello</c:v>
                </c:pt>
                <c:pt idx="18">
                  <c:v>La Vache Qu</c:v>
                </c:pt>
                <c:pt idx="19">
                  <c:v>Kiri</c:v>
                </c:pt>
                <c:pt idx="20">
                  <c:v>Mini Babybe</c:v>
                </c:pt>
                <c:pt idx="21">
                  <c:v>La Vache Qu</c:v>
                </c:pt>
                <c:pt idx="22">
                  <c:v>Private Lab</c:v>
                </c:pt>
                <c:pt idx="23">
                  <c:v>Mini Babybe</c:v>
                </c:pt>
                <c:pt idx="24">
                  <c:v>Kiri</c:v>
                </c:pt>
                <c:pt idx="25">
                  <c:v>La Vache Qu</c:v>
                </c:pt>
                <c:pt idx="26">
                  <c:v>Mini Babybe</c:v>
                </c:pt>
                <c:pt idx="27">
                  <c:v>P'Tit Louis</c:v>
                </c:pt>
                <c:pt idx="28">
                  <c:v>Kiri</c:v>
                </c:pt>
                <c:pt idx="29">
                  <c:v>Mini Babybe</c:v>
                </c:pt>
                <c:pt idx="30">
                  <c:v>Mini Babybe</c:v>
                </c:pt>
                <c:pt idx="31">
                  <c:v>La Vache Qu</c:v>
                </c:pt>
                <c:pt idx="32">
                  <c:v>Mini Babybe</c:v>
                </c:pt>
                <c:pt idx="33">
                  <c:v>Private Lab</c:v>
                </c:pt>
                <c:pt idx="34">
                  <c:v>Mini Babybe</c:v>
                </c:pt>
              </c:strCache>
            </c:strRef>
          </c:cat>
          <c:val>
            <c:numRef>
              <c:f>Sheet1!$C$2:$C$36</c:f>
              <c:numCache>
                <c:formatCode>General</c:formatCode>
                <c:ptCount val="35"/>
                <c:pt idx="0">
                  <c:v>0.14542215544022347</c:v>
                </c:pt>
                <c:pt idx="1">
                  <c:v>0.23089476611448606</c:v>
                </c:pt>
                <c:pt idx="2">
                  <c:v>0.3068824892887615</c:v>
                </c:pt>
                <c:pt idx="3">
                  <c:v>0.38198238061437395</c:v>
                </c:pt>
                <c:pt idx="4">
                  <c:v>0.45354390148221219</c:v>
                </c:pt>
                <c:pt idx="5">
                  <c:v>0.51157925087395317</c:v>
                </c:pt>
                <c:pt idx="6">
                  <c:v>0.56329479028711149</c:v>
                </c:pt>
                <c:pt idx="7">
                  <c:v>0.61022302319650201</c:v>
                </c:pt>
                <c:pt idx="8">
                  <c:v>0.65389230480861127</c:v>
                </c:pt>
                <c:pt idx="9">
                  <c:v>0.69741173662900457</c:v>
                </c:pt>
                <c:pt idx="10">
                  <c:v>0.73797504074009213</c:v>
                </c:pt>
                <c:pt idx="11">
                  <c:v>0.77158702503607979</c:v>
                </c:pt>
                <c:pt idx="12">
                  <c:v>0.80458946995373415</c:v>
                </c:pt>
                <c:pt idx="13">
                  <c:v>0.8297213183094323</c:v>
                </c:pt>
                <c:pt idx="14">
                  <c:v>0.84920296913585958</c:v>
                </c:pt>
                <c:pt idx="15">
                  <c:v>0.86797081053066105</c:v>
                </c:pt>
                <c:pt idx="16">
                  <c:v>0.88665374045770273</c:v>
                </c:pt>
                <c:pt idx="17">
                  <c:v>0.90438564146055944</c:v>
                </c:pt>
                <c:pt idx="18">
                  <c:v>0.92173994761915035</c:v>
                </c:pt>
                <c:pt idx="19">
                  <c:v>0.93416457460788649</c:v>
                </c:pt>
                <c:pt idx="20">
                  <c:v>0.94567407311809482</c:v>
                </c:pt>
                <c:pt idx="21">
                  <c:v>0.95675558300582531</c:v>
                </c:pt>
                <c:pt idx="22">
                  <c:v>0.96769932941450043</c:v>
                </c:pt>
                <c:pt idx="23">
                  <c:v>0.97590788181225074</c:v>
                </c:pt>
                <c:pt idx="24">
                  <c:v>0.98220428736335075</c:v>
                </c:pt>
                <c:pt idx="25">
                  <c:v>0.98818726819630254</c:v>
                </c:pt>
                <c:pt idx="26">
                  <c:v>0.9923693884428223</c:v>
                </c:pt>
                <c:pt idx="27">
                  <c:v>0.9961025226592759</c:v>
                </c:pt>
                <c:pt idx="28">
                  <c:v>0.99943373576657468</c:v>
                </c:pt>
                <c:pt idx="29">
                  <c:v>0.99985035506104125</c:v>
                </c:pt>
                <c:pt idx="30">
                  <c:v>0.99989992942822548</c:v>
                </c:pt>
                <c:pt idx="31">
                  <c:v>0.99994463854243187</c:v>
                </c:pt>
                <c:pt idx="32">
                  <c:v>0.99996532867088483</c:v>
                </c:pt>
                <c:pt idx="33">
                  <c:v>0.99998002685619669</c:v>
                </c:pt>
                <c:pt idx="34">
                  <c:v>0.9999890915906921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La Vache Qu</c:v>
                </c:pt>
                <c:pt idx="1">
                  <c:v>La Vache Qu</c:v>
                </c:pt>
                <c:pt idx="2">
                  <c:v>Kiri</c:v>
                </c:pt>
                <c:pt idx="3">
                  <c:v>Mini Babybe</c:v>
                </c:pt>
                <c:pt idx="4">
                  <c:v>Mini Babybe</c:v>
                </c:pt>
                <c:pt idx="5">
                  <c:v>Ficello</c:v>
                </c:pt>
                <c:pt idx="6">
                  <c:v>Mini Babybe</c:v>
                </c:pt>
                <c:pt idx="7">
                  <c:v>Kiri</c:v>
                </c:pt>
                <c:pt idx="8">
                  <c:v>Mini Babybe</c:v>
                </c:pt>
                <c:pt idx="9">
                  <c:v>Kiri</c:v>
                </c:pt>
                <c:pt idx="10">
                  <c:v>La Vache Qu</c:v>
                </c:pt>
                <c:pt idx="11">
                  <c:v>La Vache Qu</c:v>
                </c:pt>
                <c:pt idx="12">
                  <c:v>Kiri</c:v>
                </c:pt>
                <c:pt idx="13">
                  <c:v>Kiri</c:v>
                </c:pt>
                <c:pt idx="14">
                  <c:v>Kiri</c:v>
                </c:pt>
                <c:pt idx="15">
                  <c:v>La Vache Qu</c:v>
                </c:pt>
                <c:pt idx="16">
                  <c:v>Ficello</c:v>
                </c:pt>
                <c:pt idx="17">
                  <c:v>Mini Babybe</c:v>
                </c:pt>
                <c:pt idx="18">
                  <c:v>La Vache Qu</c:v>
                </c:pt>
                <c:pt idx="19">
                  <c:v>Mini Babybe</c:v>
                </c:pt>
                <c:pt idx="20">
                  <c:v>Ficello</c:v>
                </c:pt>
                <c:pt idx="21">
                  <c:v>La Vache Qu</c:v>
                </c:pt>
                <c:pt idx="22">
                  <c:v>P'Tit Louis</c:v>
                </c:pt>
                <c:pt idx="23">
                  <c:v>Mini Babybe</c:v>
                </c:pt>
                <c:pt idx="24">
                  <c:v>P'Tit Louis</c:v>
                </c:pt>
                <c:pt idx="25">
                  <c:v>Mini Babybe</c:v>
                </c:pt>
                <c:pt idx="26">
                  <c:v>P'Tit Louis</c:v>
                </c:pt>
                <c:pt idx="27">
                  <c:v>La Vache Qu</c:v>
                </c:pt>
                <c:pt idx="28">
                  <c:v>Ficello</c:v>
                </c:pt>
                <c:pt idx="29">
                  <c:v>Kiri</c:v>
                </c:pt>
                <c:pt idx="30">
                  <c:v>Mini Babybe</c:v>
                </c:pt>
                <c:pt idx="31">
                  <c:v>La Vache Qu</c:v>
                </c:pt>
                <c:pt idx="32">
                  <c:v>Mini Babybe</c:v>
                </c:pt>
                <c:pt idx="33">
                  <c:v>Kiri</c:v>
                </c:pt>
                <c:pt idx="34">
                  <c:v>Mini Babybe</c:v>
                </c:pt>
                <c:pt idx="35">
                  <c:v>Mini Babybe</c:v>
                </c:pt>
                <c:pt idx="36">
                  <c:v>La Vache Qu</c:v>
                </c:pt>
                <c:pt idx="37">
                  <c:v>Lactalis: A</c:v>
                </c:pt>
                <c:pt idx="38">
                  <c:v>Mini Babybe</c:v>
                </c:pt>
                <c:pt idx="39">
                  <c:v>Mini Babybe</c:v>
                </c:pt>
              </c:strCache>
            </c:strRef>
          </c:cat>
          <c:val>
            <c:numRef>
              <c:f>Sheet1!$B$2:$B$41</c:f>
              <c:numCache>
                <c:formatCode>General</c:formatCode>
                <c:ptCount val="40"/>
                <c:pt idx="0">
                  <c:v>0.98</c:v>
                </c:pt>
                <c:pt idx="1">
                  <c:v>0.98</c:v>
                </c:pt>
                <c:pt idx="2">
                  <c:v>0.98</c:v>
                </c:pt>
                <c:pt idx="3">
                  <c:v>0.97</c:v>
                </c:pt>
                <c:pt idx="4">
                  <c:v>1</c:v>
                </c:pt>
                <c:pt idx="5">
                  <c:v>1</c:v>
                </c:pt>
                <c:pt idx="6">
                  <c:v>1</c:v>
                </c:pt>
                <c:pt idx="7">
                  <c:v>1</c:v>
                </c:pt>
                <c:pt idx="8">
                  <c:v>0.99</c:v>
                </c:pt>
                <c:pt idx="9">
                  <c:v>1</c:v>
                </c:pt>
                <c:pt idx="10">
                  <c:v>1</c:v>
                </c:pt>
                <c:pt idx="11">
                  <c:v>0.93</c:v>
                </c:pt>
                <c:pt idx="12">
                  <c:v>0.98</c:v>
                </c:pt>
                <c:pt idx="13">
                  <c:v>1</c:v>
                </c:pt>
                <c:pt idx="14">
                  <c:v>0.98</c:v>
                </c:pt>
                <c:pt idx="15">
                  <c:v>1</c:v>
                </c:pt>
                <c:pt idx="16">
                  <c:v>1</c:v>
                </c:pt>
                <c:pt idx="17">
                  <c:v>0.91</c:v>
                </c:pt>
                <c:pt idx="18">
                  <c:v>0.93</c:v>
                </c:pt>
                <c:pt idx="19">
                  <c:v>0.96</c:v>
                </c:pt>
                <c:pt idx="20">
                  <c:v>0.97</c:v>
                </c:pt>
                <c:pt idx="21">
                  <c:v>0.93</c:v>
                </c:pt>
                <c:pt idx="22">
                  <c:v>0.94</c:v>
                </c:pt>
                <c:pt idx="23">
                  <c:v>0.94</c:v>
                </c:pt>
                <c:pt idx="24">
                  <c:v>0.95</c:v>
                </c:pt>
                <c:pt idx="25">
                  <c:v>0.92</c:v>
                </c:pt>
                <c:pt idx="26">
                  <c:v>0.88</c:v>
                </c:pt>
                <c:pt idx="27">
                  <c:v>0.84</c:v>
                </c:pt>
                <c:pt idx="28">
                  <c:v>0.93</c:v>
                </c:pt>
                <c:pt idx="29">
                  <c:v>0.54</c:v>
                </c:pt>
                <c:pt idx="30">
                  <c:v>0.68</c:v>
                </c:pt>
                <c:pt idx="31">
                  <c:v>0.06</c:v>
                </c:pt>
                <c:pt idx="32">
                  <c:v>0.21</c:v>
                </c:pt>
                <c:pt idx="33">
                  <c:v>0.15</c:v>
                </c:pt>
                <c:pt idx="34">
                  <c:v>0.38</c:v>
                </c:pt>
                <c:pt idx="35">
                  <c:v>0.04</c:v>
                </c:pt>
                <c:pt idx="36">
                  <c:v>0.19</c:v>
                </c:pt>
                <c:pt idx="37">
                  <c:v>0.01</c:v>
                </c:pt>
                <c:pt idx="38">
                  <c:v>7.0000000000000007E-2</c:v>
                </c:pt>
                <c:pt idx="39">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La Vache Qu</c:v>
                </c:pt>
                <c:pt idx="1">
                  <c:v>La Vache Qu</c:v>
                </c:pt>
                <c:pt idx="2">
                  <c:v>Kiri</c:v>
                </c:pt>
                <c:pt idx="3">
                  <c:v>Mini Babybe</c:v>
                </c:pt>
                <c:pt idx="4">
                  <c:v>Mini Babybe</c:v>
                </c:pt>
                <c:pt idx="5">
                  <c:v>Ficello</c:v>
                </c:pt>
                <c:pt idx="6">
                  <c:v>Mini Babybe</c:v>
                </c:pt>
                <c:pt idx="7">
                  <c:v>Kiri</c:v>
                </c:pt>
                <c:pt idx="8">
                  <c:v>Mini Babybe</c:v>
                </c:pt>
                <c:pt idx="9">
                  <c:v>Kiri</c:v>
                </c:pt>
                <c:pt idx="10">
                  <c:v>La Vache Qu</c:v>
                </c:pt>
                <c:pt idx="11">
                  <c:v>La Vache Qu</c:v>
                </c:pt>
                <c:pt idx="12">
                  <c:v>Kiri</c:v>
                </c:pt>
                <c:pt idx="13">
                  <c:v>Kiri</c:v>
                </c:pt>
                <c:pt idx="14">
                  <c:v>Kiri</c:v>
                </c:pt>
                <c:pt idx="15">
                  <c:v>La Vache Qu</c:v>
                </c:pt>
                <c:pt idx="16">
                  <c:v>Ficello</c:v>
                </c:pt>
                <c:pt idx="17">
                  <c:v>Mini Babybe</c:v>
                </c:pt>
                <c:pt idx="18">
                  <c:v>La Vache Qu</c:v>
                </c:pt>
                <c:pt idx="19">
                  <c:v>Mini Babybe</c:v>
                </c:pt>
                <c:pt idx="20">
                  <c:v>Ficello</c:v>
                </c:pt>
                <c:pt idx="21">
                  <c:v>La Vache Qu</c:v>
                </c:pt>
                <c:pt idx="22">
                  <c:v>P'Tit Louis</c:v>
                </c:pt>
                <c:pt idx="23">
                  <c:v>Mini Babybe</c:v>
                </c:pt>
                <c:pt idx="24">
                  <c:v>P'Tit Louis</c:v>
                </c:pt>
                <c:pt idx="25">
                  <c:v>Mini Babybe</c:v>
                </c:pt>
                <c:pt idx="26">
                  <c:v>P'Tit Louis</c:v>
                </c:pt>
                <c:pt idx="27">
                  <c:v>La Vache Qu</c:v>
                </c:pt>
                <c:pt idx="28">
                  <c:v>Ficello</c:v>
                </c:pt>
                <c:pt idx="29">
                  <c:v>Kiri</c:v>
                </c:pt>
                <c:pt idx="30">
                  <c:v>Mini Babybe</c:v>
                </c:pt>
                <c:pt idx="31">
                  <c:v>La Vache Qu</c:v>
                </c:pt>
                <c:pt idx="32">
                  <c:v>Mini Babybe</c:v>
                </c:pt>
                <c:pt idx="33">
                  <c:v>Kiri</c:v>
                </c:pt>
                <c:pt idx="34">
                  <c:v>Mini Babybe</c:v>
                </c:pt>
                <c:pt idx="35">
                  <c:v>Mini Babybe</c:v>
                </c:pt>
                <c:pt idx="36">
                  <c:v>La Vache Qu</c:v>
                </c:pt>
                <c:pt idx="37">
                  <c:v>Lactalis: A</c:v>
                </c:pt>
                <c:pt idx="38">
                  <c:v>Mini Babybe</c:v>
                </c:pt>
                <c:pt idx="39">
                  <c:v>Mini Babybe</c:v>
                </c:pt>
              </c:strCache>
            </c:strRef>
          </c:cat>
          <c:val>
            <c:numRef>
              <c:f>Sheet1!$C$2:$C$41</c:f>
              <c:numCache>
                <c:formatCode>General</c:formatCode>
                <c:ptCount val="40"/>
                <c:pt idx="0">
                  <c:v>8.9265727326687347E-2</c:v>
                </c:pt>
                <c:pt idx="1">
                  <c:v>0.17834813095776308</c:v>
                </c:pt>
                <c:pt idx="2">
                  <c:v>0.26066433579374182</c:v>
                </c:pt>
                <c:pt idx="3">
                  <c:v>0.33371237227688438</c:v>
                </c:pt>
                <c:pt idx="4">
                  <c:v>0.40174553108397593</c:v>
                </c:pt>
                <c:pt idx="5">
                  <c:v>0.45457886089448962</c:v>
                </c:pt>
                <c:pt idx="6">
                  <c:v>0.50180465688243947</c:v>
                </c:pt>
                <c:pt idx="7">
                  <c:v>0.5457782460980386</c:v>
                </c:pt>
                <c:pt idx="8">
                  <c:v>0.5877115881548054</c:v>
                </c:pt>
                <c:pt idx="9">
                  <c:v>0.62134009539247259</c:v>
                </c:pt>
                <c:pt idx="10">
                  <c:v>0.65353762507072022</c:v>
                </c:pt>
                <c:pt idx="11">
                  <c:v>0.70611648941949212</c:v>
                </c:pt>
                <c:pt idx="12">
                  <c:v>0.7312284636808124</c:v>
                </c:pt>
                <c:pt idx="13">
                  <c:v>0.77738474807713676</c:v>
                </c:pt>
                <c:pt idx="14">
                  <c:v>0.81933980276541607</c:v>
                </c:pt>
                <c:pt idx="15">
                  <c:v>0.83917059063539134</c:v>
                </c:pt>
                <c:pt idx="16">
                  <c:v>0.85791097673039185</c:v>
                </c:pt>
                <c:pt idx="17">
                  <c:v>0.87502357342048209</c:v>
                </c:pt>
                <c:pt idx="18">
                  <c:v>0.89022644547526442</c:v>
                </c:pt>
                <c:pt idx="19">
                  <c:v>0.90030817955129039</c:v>
                </c:pt>
                <c:pt idx="20">
                  <c:v>0.91997151697520674</c:v>
                </c:pt>
                <c:pt idx="21">
                  <c:v>0.92937390886830229</c:v>
                </c:pt>
                <c:pt idx="22">
                  <c:v>0.94572853733104556</c:v>
                </c:pt>
                <c:pt idx="23">
                  <c:v>0.95267657941506012</c:v>
                </c:pt>
                <c:pt idx="24">
                  <c:v>0.96569585159613747</c:v>
                </c:pt>
                <c:pt idx="25">
                  <c:v>0.97172135357531786</c:v>
                </c:pt>
                <c:pt idx="26">
                  <c:v>0.97747668133283649</c:v>
                </c:pt>
                <c:pt idx="27">
                  <c:v>0.98304868539474344</c:v>
                </c:pt>
                <c:pt idx="28">
                  <c:v>0.98790260996522605</c:v>
                </c:pt>
                <c:pt idx="29">
                  <c:v>0.99664827699988345</c:v>
                </c:pt>
                <c:pt idx="30">
                  <c:v>0.99871928372002516</c:v>
                </c:pt>
                <c:pt idx="31">
                  <c:v>0.99930708742237428</c:v>
                </c:pt>
                <c:pt idx="32">
                  <c:v>0.99956739226607583</c:v>
                </c:pt>
                <c:pt idx="33">
                  <c:v>0.99968121909188401</c:v>
                </c:pt>
                <c:pt idx="34">
                  <c:v>0.99976658921124018</c:v>
                </c:pt>
                <c:pt idx="35">
                  <c:v>0.99984850504831024</c:v>
                </c:pt>
                <c:pt idx="36">
                  <c:v>0.99992844700978822</c:v>
                </c:pt>
                <c:pt idx="37">
                  <c:v>0.99997113206946631</c:v>
                </c:pt>
                <c:pt idx="38">
                  <c:v>0.99998996613240709</c:v>
                </c:pt>
                <c:pt idx="3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c:f>
              <c:strCache>
                <c:ptCount val="30"/>
                <c:pt idx="0">
                  <c:v>Mini Babybe</c:v>
                </c:pt>
                <c:pt idx="1">
                  <c:v>Mini Babybe</c:v>
                </c:pt>
                <c:pt idx="2">
                  <c:v>La Vache Qu</c:v>
                </c:pt>
                <c:pt idx="3">
                  <c:v>Ficello</c:v>
                </c:pt>
                <c:pt idx="4">
                  <c:v>Mini Babybe</c:v>
                </c:pt>
                <c:pt idx="5">
                  <c:v>La Vache Qu</c:v>
                </c:pt>
                <c:pt idx="6">
                  <c:v>La Vache Qu</c:v>
                </c:pt>
                <c:pt idx="7">
                  <c:v>Kiri</c:v>
                </c:pt>
                <c:pt idx="8">
                  <c:v>Kiri</c:v>
                </c:pt>
                <c:pt idx="9">
                  <c:v>Kiri</c:v>
                </c:pt>
                <c:pt idx="10">
                  <c:v>Kiri</c:v>
                </c:pt>
                <c:pt idx="11">
                  <c:v>La Vache Qu</c:v>
                </c:pt>
                <c:pt idx="12">
                  <c:v>Ficello</c:v>
                </c:pt>
                <c:pt idx="13">
                  <c:v>Kiri</c:v>
                </c:pt>
                <c:pt idx="14">
                  <c:v>La Vache Qu</c:v>
                </c:pt>
                <c:pt idx="15">
                  <c:v>Kiri</c:v>
                </c:pt>
                <c:pt idx="16">
                  <c:v>La Vache Qu</c:v>
                </c:pt>
                <c:pt idx="17">
                  <c:v>P'Tit Louis</c:v>
                </c:pt>
                <c:pt idx="18">
                  <c:v>Mini Babybe</c:v>
                </c:pt>
                <c:pt idx="19">
                  <c:v>Ficello</c:v>
                </c:pt>
                <c:pt idx="20">
                  <c:v>Mini Babybe</c:v>
                </c:pt>
                <c:pt idx="21">
                  <c:v>Mini Babybe</c:v>
                </c:pt>
                <c:pt idx="22">
                  <c:v>Kiri</c:v>
                </c:pt>
                <c:pt idx="23">
                  <c:v>La Vache Qu</c:v>
                </c:pt>
                <c:pt idx="24">
                  <c:v>Ficello</c:v>
                </c:pt>
                <c:pt idx="25">
                  <c:v>La Vache Qu</c:v>
                </c:pt>
                <c:pt idx="26">
                  <c:v>Mini Babybe</c:v>
                </c:pt>
                <c:pt idx="27">
                  <c:v>Kiri</c:v>
                </c:pt>
                <c:pt idx="28">
                  <c:v>Mini Babybe</c:v>
                </c:pt>
                <c:pt idx="29">
                  <c:v>P'Tit Louis</c:v>
                </c:pt>
              </c:strCache>
            </c:strRef>
          </c:cat>
          <c:val>
            <c:numRef>
              <c:f>Sheet1!$B$2:$B$31</c:f>
              <c:numCache>
                <c:formatCode>General</c:formatCode>
                <c:ptCount val="30"/>
                <c:pt idx="0">
                  <c:v>0.99</c:v>
                </c:pt>
                <c:pt idx="1">
                  <c:v>0.94</c:v>
                </c:pt>
                <c:pt idx="2">
                  <c:v>0.95</c:v>
                </c:pt>
                <c:pt idx="3">
                  <c:v>0.98</c:v>
                </c:pt>
                <c:pt idx="4">
                  <c:v>0.99</c:v>
                </c:pt>
                <c:pt idx="5">
                  <c:v>0.91</c:v>
                </c:pt>
                <c:pt idx="6">
                  <c:v>0.99</c:v>
                </c:pt>
                <c:pt idx="7">
                  <c:v>0.84</c:v>
                </c:pt>
                <c:pt idx="8">
                  <c:v>0.97</c:v>
                </c:pt>
                <c:pt idx="9">
                  <c:v>0.99</c:v>
                </c:pt>
                <c:pt idx="10">
                  <c:v>0.99</c:v>
                </c:pt>
                <c:pt idx="11">
                  <c:v>0.78</c:v>
                </c:pt>
                <c:pt idx="12">
                  <c:v>0.93</c:v>
                </c:pt>
                <c:pt idx="13">
                  <c:v>0.72</c:v>
                </c:pt>
                <c:pt idx="14">
                  <c:v>0.97</c:v>
                </c:pt>
                <c:pt idx="15">
                  <c:v>0.71</c:v>
                </c:pt>
                <c:pt idx="16">
                  <c:v>0.64</c:v>
                </c:pt>
                <c:pt idx="17">
                  <c:v>0.8</c:v>
                </c:pt>
                <c:pt idx="18">
                  <c:v>0.66</c:v>
                </c:pt>
                <c:pt idx="19">
                  <c:v>0.5</c:v>
                </c:pt>
                <c:pt idx="20">
                  <c:v>0.56999999999999995</c:v>
                </c:pt>
                <c:pt idx="21">
                  <c:v>0.44</c:v>
                </c:pt>
                <c:pt idx="22">
                  <c:v>0.39</c:v>
                </c:pt>
                <c:pt idx="23">
                  <c:v>0.27</c:v>
                </c:pt>
                <c:pt idx="24">
                  <c:v>0.25</c:v>
                </c:pt>
                <c:pt idx="25">
                  <c:v>0.16</c:v>
                </c:pt>
                <c:pt idx="26">
                  <c:v>0.05</c:v>
                </c:pt>
                <c:pt idx="27">
                  <c:v>0.03</c:v>
                </c:pt>
                <c:pt idx="28">
                  <c:v>0.05</c:v>
                </c:pt>
                <c:pt idx="29">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1</c:f>
              <c:strCache>
                <c:ptCount val="30"/>
                <c:pt idx="0">
                  <c:v>Mini Babybe</c:v>
                </c:pt>
                <c:pt idx="1">
                  <c:v>Mini Babybe</c:v>
                </c:pt>
                <c:pt idx="2">
                  <c:v>La Vache Qu</c:v>
                </c:pt>
                <c:pt idx="3">
                  <c:v>Ficello</c:v>
                </c:pt>
                <c:pt idx="4">
                  <c:v>Mini Babybe</c:v>
                </c:pt>
                <c:pt idx="5">
                  <c:v>La Vache Qu</c:v>
                </c:pt>
                <c:pt idx="6">
                  <c:v>La Vache Qu</c:v>
                </c:pt>
                <c:pt idx="7">
                  <c:v>Kiri</c:v>
                </c:pt>
                <c:pt idx="8">
                  <c:v>Kiri</c:v>
                </c:pt>
                <c:pt idx="9">
                  <c:v>Kiri</c:v>
                </c:pt>
                <c:pt idx="10">
                  <c:v>Kiri</c:v>
                </c:pt>
                <c:pt idx="11">
                  <c:v>La Vache Qu</c:v>
                </c:pt>
                <c:pt idx="12">
                  <c:v>Ficello</c:v>
                </c:pt>
                <c:pt idx="13">
                  <c:v>Kiri</c:v>
                </c:pt>
                <c:pt idx="14">
                  <c:v>La Vache Qu</c:v>
                </c:pt>
                <c:pt idx="15">
                  <c:v>Kiri</c:v>
                </c:pt>
                <c:pt idx="16">
                  <c:v>La Vache Qu</c:v>
                </c:pt>
                <c:pt idx="17">
                  <c:v>P'Tit Louis</c:v>
                </c:pt>
                <c:pt idx="18">
                  <c:v>Mini Babybe</c:v>
                </c:pt>
                <c:pt idx="19">
                  <c:v>Ficello</c:v>
                </c:pt>
                <c:pt idx="20">
                  <c:v>Mini Babybe</c:v>
                </c:pt>
                <c:pt idx="21">
                  <c:v>Mini Babybe</c:v>
                </c:pt>
                <c:pt idx="22">
                  <c:v>Kiri</c:v>
                </c:pt>
                <c:pt idx="23">
                  <c:v>La Vache Qu</c:v>
                </c:pt>
                <c:pt idx="24">
                  <c:v>Ficello</c:v>
                </c:pt>
                <c:pt idx="25">
                  <c:v>La Vache Qu</c:v>
                </c:pt>
                <c:pt idx="26">
                  <c:v>Mini Babybe</c:v>
                </c:pt>
                <c:pt idx="27">
                  <c:v>Kiri</c:v>
                </c:pt>
                <c:pt idx="28">
                  <c:v>Mini Babybe</c:v>
                </c:pt>
                <c:pt idx="29">
                  <c:v>P'Tit Louis</c:v>
                </c:pt>
              </c:strCache>
            </c:strRef>
          </c:cat>
          <c:val>
            <c:numRef>
              <c:f>Sheet1!$C$2:$C$31</c:f>
              <c:numCache>
                <c:formatCode>General</c:formatCode>
                <c:ptCount val="30"/>
                <c:pt idx="0">
                  <c:v>0.11978313290021349</c:v>
                </c:pt>
                <c:pt idx="1">
                  <c:v>0.19193868743184506</c:v>
                </c:pt>
                <c:pt idx="2">
                  <c:v>0.25883315670644613</c:v>
                </c:pt>
                <c:pt idx="3">
                  <c:v>0.32393469412830794</c:v>
                </c:pt>
                <c:pt idx="4">
                  <c:v>0.38421207513554195</c:v>
                </c:pt>
                <c:pt idx="5">
                  <c:v>0.4434217082123823</c:v>
                </c:pt>
                <c:pt idx="6">
                  <c:v>0.49800095224930502</c:v>
                </c:pt>
                <c:pt idx="7">
                  <c:v>0.55221490116573746</c:v>
                </c:pt>
                <c:pt idx="8">
                  <c:v>0.60283020780537255</c:v>
                </c:pt>
                <c:pt idx="9">
                  <c:v>0.72741009691440506</c:v>
                </c:pt>
                <c:pt idx="10">
                  <c:v>0.76552574912838467</c:v>
                </c:pt>
                <c:pt idx="11">
                  <c:v>0.80291928919197031</c:v>
                </c:pt>
                <c:pt idx="12">
                  <c:v>0.8285538404828825</c:v>
                </c:pt>
                <c:pt idx="13">
                  <c:v>0.85325223855380972</c:v>
                </c:pt>
                <c:pt idx="14">
                  <c:v>0.87306664209249096</c:v>
                </c:pt>
                <c:pt idx="15">
                  <c:v>0.89104191432828017</c:v>
                </c:pt>
                <c:pt idx="16">
                  <c:v>0.90870681472607462</c:v>
                </c:pt>
                <c:pt idx="17">
                  <c:v>0.93922474619484242</c:v>
                </c:pt>
                <c:pt idx="18">
                  <c:v>0.950818227894761</c:v>
                </c:pt>
                <c:pt idx="19">
                  <c:v>0.972908445836981</c:v>
                </c:pt>
                <c:pt idx="20">
                  <c:v>0.97900603603188496</c:v>
                </c:pt>
                <c:pt idx="21">
                  <c:v>0.98966434747884313</c:v>
                </c:pt>
                <c:pt idx="22">
                  <c:v>0.99465229077393291</c:v>
                </c:pt>
                <c:pt idx="23">
                  <c:v>0.99772627440138839</c:v>
                </c:pt>
                <c:pt idx="24">
                  <c:v>0.99884489087530137</c:v>
                </c:pt>
                <c:pt idx="25">
                  <c:v>0.9990629866838685</c:v>
                </c:pt>
                <c:pt idx="26">
                  <c:v>0.99926707521233615</c:v>
                </c:pt>
                <c:pt idx="27">
                  <c:v>0.99960189835506608</c:v>
                </c:pt>
                <c:pt idx="28">
                  <c:v>0.99992074828364741</c:v>
                </c:pt>
                <c:pt idx="2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2</c:f>
              <c:strCache>
                <c:ptCount val="21"/>
                <c:pt idx="0">
                  <c:v>Mini Babybe</c:v>
                </c:pt>
                <c:pt idx="1">
                  <c:v>La Vache Qu</c:v>
                </c:pt>
                <c:pt idx="2">
                  <c:v>Kiri</c:v>
                </c:pt>
                <c:pt idx="3">
                  <c:v>Ficello</c:v>
                </c:pt>
                <c:pt idx="4">
                  <c:v>La Vache Qu</c:v>
                </c:pt>
                <c:pt idx="5">
                  <c:v>Kiri</c:v>
                </c:pt>
                <c:pt idx="6">
                  <c:v>Mini Babybe</c:v>
                </c:pt>
                <c:pt idx="7">
                  <c:v>La Vache Qu</c:v>
                </c:pt>
                <c:pt idx="8">
                  <c:v>P'Tit Louis</c:v>
                </c:pt>
                <c:pt idx="9">
                  <c:v>La Vache Qu</c:v>
                </c:pt>
                <c:pt idx="10">
                  <c:v>Mini Babybe</c:v>
                </c:pt>
                <c:pt idx="11">
                  <c:v>Mini Babybe</c:v>
                </c:pt>
                <c:pt idx="12">
                  <c:v>Mini Babybe</c:v>
                </c:pt>
                <c:pt idx="13">
                  <c:v>Kiri</c:v>
                </c:pt>
                <c:pt idx="14">
                  <c:v>La Vache Qu</c:v>
                </c:pt>
                <c:pt idx="15">
                  <c:v>Ficello</c:v>
                </c:pt>
                <c:pt idx="16">
                  <c:v>P'Tit Louis</c:v>
                </c:pt>
                <c:pt idx="17">
                  <c:v>Kiri</c:v>
                </c:pt>
                <c:pt idx="18">
                  <c:v>Ficello</c:v>
                </c:pt>
                <c:pt idx="19">
                  <c:v>La Vache Qu</c:v>
                </c:pt>
                <c:pt idx="20">
                  <c:v>Mini Babybe</c:v>
                </c:pt>
              </c:strCache>
            </c:strRef>
          </c:cat>
          <c:val>
            <c:numRef>
              <c:f>Sheet1!$B$2:$B$22</c:f>
              <c:numCache>
                <c:formatCode>General</c:formatCode>
                <c:ptCount val="21"/>
                <c:pt idx="0">
                  <c:v>0.96</c:v>
                </c:pt>
                <c:pt idx="1">
                  <c:v>0.89</c:v>
                </c:pt>
                <c:pt idx="2">
                  <c:v>0.96</c:v>
                </c:pt>
                <c:pt idx="3">
                  <c:v>0.83</c:v>
                </c:pt>
                <c:pt idx="4">
                  <c:v>0.45</c:v>
                </c:pt>
                <c:pt idx="5">
                  <c:v>0.71</c:v>
                </c:pt>
                <c:pt idx="6">
                  <c:v>0.2</c:v>
                </c:pt>
                <c:pt idx="7">
                  <c:v>0.51</c:v>
                </c:pt>
                <c:pt idx="8">
                  <c:v>0.36</c:v>
                </c:pt>
                <c:pt idx="9">
                  <c:v>0.09</c:v>
                </c:pt>
                <c:pt idx="10">
                  <c:v>0.05</c:v>
                </c:pt>
                <c:pt idx="11">
                  <c:v>0.08</c:v>
                </c:pt>
                <c:pt idx="12">
                  <c:v>0.06</c:v>
                </c:pt>
                <c:pt idx="13">
                  <c:v>0.02</c:v>
                </c:pt>
                <c:pt idx="14">
                  <c:v>0.05</c:v>
                </c:pt>
                <c:pt idx="15">
                  <c:v>0.03</c:v>
                </c:pt>
                <c:pt idx="16">
                  <c:v>0.05</c:v>
                </c:pt>
                <c:pt idx="17">
                  <c:v>0.02</c:v>
                </c:pt>
                <c:pt idx="18">
                  <c:v>0.02</c:v>
                </c:pt>
                <c:pt idx="19">
                  <c:v>0.05</c:v>
                </c:pt>
                <c:pt idx="20">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2</c:f>
              <c:strCache>
                <c:ptCount val="21"/>
                <c:pt idx="0">
                  <c:v>Mini Babybe</c:v>
                </c:pt>
                <c:pt idx="1">
                  <c:v>La Vache Qu</c:v>
                </c:pt>
                <c:pt idx="2">
                  <c:v>Kiri</c:v>
                </c:pt>
                <c:pt idx="3">
                  <c:v>Ficello</c:v>
                </c:pt>
                <c:pt idx="4">
                  <c:v>La Vache Qu</c:v>
                </c:pt>
                <c:pt idx="5">
                  <c:v>Kiri</c:v>
                </c:pt>
                <c:pt idx="6">
                  <c:v>Mini Babybe</c:v>
                </c:pt>
                <c:pt idx="7">
                  <c:v>La Vache Qu</c:v>
                </c:pt>
                <c:pt idx="8">
                  <c:v>P'Tit Louis</c:v>
                </c:pt>
                <c:pt idx="9">
                  <c:v>La Vache Qu</c:v>
                </c:pt>
                <c:pt idx="10">
                  <c:v>Mini Babybe</c:v>
                </c:pt>
                <c:pt idx="11">
                  <c:v>Mini Babybe</c:v>
                </c:pt>
                <c:pt idx="12">
                  <c:v>Mini Babybe</c:v>
                </c:pt>
                <c:pt idx="13">
                  <c:v>Kiri</c:v>
                </c:pt>
                <c:pt idx="14">
                  <c:v>La Vache Qu</c:v>
                </c:pt>
                <c:pt idx="15">
                  <c:v>Ficello</c:v>
                </c:pt>
                <c:pt idx="16">
                  <c:v>P'Tit Louis</c:v>
                </c:pt>
                <c:pt idx="17">
                  <c:v>Kiri</c:v>
                </c:pt>
                <c:pt idx="18">
                  <c:v>Ficello</c:v>
                </c:pt>
                <c:pt idx="19">
                  <c:v>La Vache Qu</c:v>
                </c:pt>
                <c:pt idx="20">
                  <c:v>Mini Babybe</c:v>
                </c:pt>
              </c:strCache>
            </c:strRef>
          </c:cat>
          <c:val>
            <c:numRef>
              <c:f>Sheet1!$C$2:$C$22</c:f>
              <c:numCache>
                <c:formatCode>General</c:formatCode>
                <c:ptCount val="21"/>
                <c:pt idx="0">
                  <c:v>0.23701037759520302</c:v>
                </c:pt>
                <c:pt idx="1">
                  <c:v>0.40979109701410915</c:v>
                </c:pt>
                <c:pt idx="2">
                  <c:v>0.56234496335994755</c:v>
                </c:pt>
                <c:pt idx="3">
                  <c:v>0.68174894326099689</c:v>
                </c:pt>
                <c:pt idx="4">
                  <c:v>0.76261234888793106</c:v>
                </c:pt>
                <c:pt idx="5">
                  <c:v>0.82797948929106813</c:v>
                </c:pt>
                <c:pt idx="6">
                  <c:v>0.86704119512838496</c:v>
                </c:pt>
                <c:pt idx="7">
                  <c:v>0.90019082422425389</c:v>
                </c:pt>
                <c:pt idx="8">
                  <c:v>0.94448855118991715</c:v>
                </c:pt>
                <c:pt idx="9">
                  <c:v>0.97068229632441405</c:v>
                </c:pt>
                <c:pt idx="10">
                  <c:v>0.97972064774723189</c:v>
                </c:pt>
                <c:pt idx="11">
                  <c:v>0.98234818022144876</c:v>
                </c:pt>
                <c:pt idx="12">
                  <c:v>0.98730317632904641</c:v>
                </c:pt>
                <c:pt idx="13">
                  <c:v>0.9895809716208479</c:v>
                </c:pt>
                <c:pt idx="14">
                  <c:v>0.99147197148573973</c:v>
                </c:pt>
                <c:pt idx="15">
                  <c:v>0.99328885486164287</c:v>
                </c:pt>
                <c:pt idx="16">
                  <c:v>0.99485508038936898</c:v>
                </c:pt>
                <c:pt idx="17">
                  <c:v>0.99623421325218275</c:v>
                </c:pt>
                <c:pt idx="18">
                  <c:v>0.99755312646769312</c:v>
                </c:pt>
                <c:pt idx="19">
                  <c:v>0.99873718884907126</c:v>
                </c:pt>
                <c:pt idx="20">
                  <c:v>0.9997395628928592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3</c:f>
              <c:strCache>
                <c:ptCount val="32"/>
                <c:pt idx="0">
                  <c:v>Mini Babybe</c:v>
                </c:pt>
                <c:pt idx="1">
                  <c:v>La Vache Qu</c:v>
                </c:pt>
                <c:pt idx="2">
                  <c:v>La Vache Qu</c:v>
                </c:pt>
                <c:pt idx="3">
                  <c:v>La Vache Qu</c:v>
                </c:pt>
                <c:pt idx="4">
                  <c:v>Mini Babybe</c:v>
                </c:pt>
                <c:pt idx="5">
                  <c:v>Kiri</c:v>
                </c:pt>
                <c:pt idx="6">
                  <c:v>Private Lab</c:v>
                </c:pt>
                <c:pt idx="7">
                  <c:v>Kiri</c:v>
                </c:pt>
                <c:pt idx="8">
                  <c:v>Ficello</c:v>
                </c:pt>
                <c:pt idx="9">
                  <c:v>Private Lab</c:v>
                </c:pt>
                <c:pt idx="10">
                  <c:v>Kiri</c:v>
                </c:pt>
                <c:pt idx="11">
                  <c:v>Kiri</c:v>
                </c:pt>
                <c:pt idx="12">
                  <c:v>Kiri</c:v>
                </c:pt>
                <c:pt idx="13">
                  <c:v>Ficello</c:v>
                </c:pt>
                <c:pt idx="14">
                  <c:v>P'Tit Louis</c:v>
                </c:pt>
                <c:pt idx="15">
                  <c:v>Private Lab</c:v>
                </c:pt>
                <c:pt idx="16">
                  <c:v>La Vache Qu</c:v>
                </c:pt>
                <c:pt idx="17">
                  <c:v>La Vache Qu</c:v>
                </c:pt>
                <c:pt idx="18">
                  <c:v>Ficello</c:v>
                </c:pt>
                <c:pt idx="19">
                  <c:v>Kiri</c:v>
                </c:pt>
                <c:pt idx="20">
                  <c:v>Mini Babybe</c:v>
                </c:pt>
                <c:pt idx="21">
                  <c:v>La Vache Qu</c:v>
                </c:pt>
                <c:pt idx="22">
                  <c:v>Private Lab</c:v>
                </c:pt>
                <c:pt idx="23">
                  <c:v>Mini Babybe</c:v>
                </c:pt>
                <c:pt idx="24">
                  <c:v>Kiri</c:v>
                </c:pt>
                <c:pt idx="25">
                  <c:v>La Vache Qu</c:v>
                </c:pt>
                <c:pt idx="26">
                  <c:v>Mini Babybe</c:v>
                </c:pt>
                <c:pt idx="27">
                  <c:v>Kiri</c:v>
                </c:pt>
                <c:pt idx="28">
                  <c:v>P'Tit Louis</c:v>
                </c:pt>
                <c:pt idx="29">
                  <c:v>Mini Babybe</c:v>
                </c:pt>
                <c:pt idx="30">
                  <c:v>Mini Babybe</c:v>
                </c:pt>
                <c:pt idx="31">
                  <c:v>Mini Babybe</c:v>
                </c:pt>
              </c:strCache>
            </c:strRef>
          </c:cat>
          <c:val>
            <c:numRef>
              <c:f>Sheet1!$B$2:$B$33</c:f>
              <c:numCache>
                <c:formatCode>General</c:formatCode>
                <c:ptCount val="32"/>
                <c:pt idx="0">
                  <c:v>0.99</c:v>
                </c:pt>
                <c:pt idx="1">
                  <c:v>0.98</c:v>
                </c:pt>
                <c:pt idx="2">
                  <c:v>0.97</c:v>
                </c:pt>
                <c:pt idx="3">
                  <c:v>1</c:v>
                </c:pt>
                <c:pt idx="4">
                  <c:v>0.99</c:v>
                </c:pt>
                <c:pt idx="5">
                  <c:v>0.99</c:v>
                </c:pt>
                <c:pt idx="6">
                  <c:v>0.99</c:v>
                </c:pt>
                <c:pt idx="7">
                  <c:v>0.89</c:v>
                </c:pt>
                <c:pt idx="8">
                  <c:v>0.71</c:v>
                </c:pt>
                <c:pt idx="9">
                  <c:v>0.99</c:v>
                </c:pt>
                <c:pt idx="10">
                  <c:v>0.96</c:v>
                </c:pt>
                <c:pt idx="11">
                  <c:v>0.99</c:v>
                </c:pt>
                <c:pt idx="12">
                  <c:v>0.99</c:v>
                </c:pt>
                <c:pt idx="13">
                  <c:v>0.84</c:v>
                </c:pt>
                <c:pt idx="14">
                  <c:v>0.92</c:v>
                </c:pt>
                <c:pt idx="15">
                  <c:v>0.98</c:v>
                </c:pt>
                <c:pt idx="16">
                  <c:v>0.95</c:v>
                </c:pt>
                <c:pt idx="17">
                  <c:v>0.86</c:v>
                </c:pt>
                <c:pt idx="18">
                  <c:v>0.9</c:v>
                </c:pt>
                <c:pt idx="19">
                  <c:v>0.83</c:v>
                </c:pt>
                <c:pt idx="20">
                  <c:v>0.73</c:v>
                </c:pt>
                <c:pt idx="21">
                  <c:v>0.84</c:v>
                </c:pt>
                <c:pt idx="22">
                  <c:v>0.93</c:v>
                </c:pt>
                <c:pt idx="23">
                  <c:v>0.75</c:v>
                </c:pt>
                <c:pt idx="24">
                  <c:v>0.6</c:v>
                </c:pt>
                <c:pt idx="25">
                  <c:v>0.64</c:v>
                </c:pt>
                <c:pt idx="26">
                  <c:v>0.59</c:v>
                </c:pt>
                <c:pt idx="27">
                  <c:v>0.57999999999999996</c:v>
                </c:pt>
                <c:pt idx="28">
                  <c:v>0.35</c:v>
                </c:pt>
                <c:pt idx="29">
                  <c:v>0.09</c:v>
                </c:pt>
                <c:pt idx="30">
                  <c:v>0.11</c:v>
                </c:pt>
                <c:pt idx="31">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3</c:f>
              <c:strCache>
                <c:ptCount val="32"/>
                <c:pt idx="0">
                  <c:v>Mini Babybe</c:v>
                </c:pt>
                <c:pt idx="1">
                  <c:v>La Vache Qu</c:v>
                </c:pt>
                <c:pt idx="2">
                  <c:v>La Vache Qu</c:v>
                </c:pt>
                <c:pt idx="3">
                  <c:v>La Vache Qu</c:v>
                </c:pt>
                <c:pt idx="4">
                  <c:v>Mini Babybe</c:v>
                </c:pt>
                <c:pt idx="5">
                  <c:v>Kiri</c:v>
                </c:pt>
                <c:pt idx="6">
                  <c:v>Private Lab</c:v>
                </c:pt>
                <c:pt idx="7">
                  <c:v>Kiri</c:v>
                </c:pt>
                <c:pt idx="8">
                  <c:v>Ficello</c:v>
                </c:pt>
                <c:pt idx="9">
                  <c:v>Private Lab</c:v>
                </c:pt>
                <c:pt idx="10">
                  <c:v>Kiri</c:v>
                </c:pt>
                <c:pt idx="11">
                  <c:v>Kiri</c:v>
                </c:pt>
                <c:pt idx="12">
                  <c:v>Kiri</c:v>
                </c:pt>
                <c:pt idx="13">
                  <c:v>Ficello</c:v>
                </c:pt>
                <c:pt idx="14">
                  <c:v>P'Tit Louis</c:v>
                </c:pt>
                <c:pt idx="15">
                  <c:v>Private Lab</c:v>
                </c:pt>
                <c:pt idx="16">
                  <c:v>La Vache Qu</c:v>
                </c:pt>
                <c:pt idx="17">
                  <c:v>La Vache Qu</c:v>
                </c:pt>
                <c:pt idx="18">
                  <c:v>Ficello</c:v>
                </c:pt>
                <c:pt idx="19">
                  <c:v>Kiri</c:v>
                </c:pt>
                <c:pt idx="20">
                  <c:v>Mini Babybe</c:v>
                </c:pt>
                <c:pt idx="21">
                  <c:v>La Vache Qu</c:v>
                </c:pt>
                <c:pt idx="22">
                  <c:v>Private Lab</c:v>
                </c:pt>
                <c:pt idx="23">
                  <c:v>Mini Babybe</c:v>
                </c:pt>
                <c:pt idx="24">
                  <c:v>Kiri</c:v>
                </c:pt>
                <c:pt idx="25">
                  <c:v>La Vache Qu</c:v>
                </c:pt>
                <c:pt idx="26">
                  <c:v>Mini Babybe</c:v>
                </c:pt>
                <c:pt idx="27">
                  <c:v>Kiri</c:v>
                </c:pt>
                <c:pt idx="28">
                  <c:v>P'Tit Louis</c:v>
                </c:pt>
                <c:pt idx="29">
                  <c:v>Mini Babybe</c:v>
                </c:pt>
                <c:pt idx="30">
                  <c:v>Mini Babybe</c:v>
                </c:pt>
                <c:pt idx="31">
                  <c:v>Mini Babybe</c:v>
                </c:pt>
              </c:strCache>
            </c:strRef>
          </c:cat>
          <c:val>
            <c:numRef>
              <c:f>Sheet1!$C$2:$C$33</c:f>
              <c:numCache>
                <c:formatCode>General</c:formatCode>
                <c:ptCount val="32"/>
                <c:pt idx="0">
                  <c:v>0.14682821695264917</c:v>
                </c:pt>
                <c:pt idx="1">
                  <c:v>0.23502268927107864</c:v>
                </c:pt>
                <c:pt idx="2">
                  <c:v>0.3134782050485484</c:v>
                </c:pt>
                <c:pt idx="3">
                  <c:v>0.38835018785385833</c:v>
                </c:pt>
                <c:pt idx="4">
                  <c:v>0.45689251559217264</c:v>
                </c:pt>
                <c:pt idx="5">
                  <c:v>0.5154637843163884</c:v>
                </c:pt>
                <c:pt idx="6">
                  <c:v>0.56648330319277329</c:v>
                </c:pt>
                <c:pt idx="7">
                  <c:v>0.61502557319757345</c:v>
                </c:pt>
                <c:pt idx="8">
                  <c:v>0.65836433531405114</c:v>
                </c:pt>
                <c:pt idx="9">
                  <c:v>0.70127683165072219</c:v>
                </c:pt>
                <c:pt idx="10">
                  <c:v>0.74305431459046878</c:v>
                </c:pt>
                <c:pt idx="11">
                  <c:v>0.7757620686412996</c:v>
                </c:pt>
                <c:pt idx="12">
                  <c:v>0.80761529795166997</c:v>
                </c:pt>
                <c:pt idx="13">
                  <c:v>0.83095180296266413</c:v>
                </c:pt>
                <c:pt idx="14">
                  <c:v>0.8501980259536891</c:v>
                </c:pt>
                <c:pt idx="15">
                  <c:v>0.86899509595035151</c:v>
                </c:pt>
                <c:pt idx="16">
                  <c:v>0.88739064310186244</c:v>
                </c:pt>
                <c:pt idx="17">
                  <c:v>0.90537628230258871</c:v>
                </c:pt>
                <c:pt idx="18">
                  <c:v>0.92171686000062703</c:v>
                </c:pt>
                <c:pt idx="19">
                  <c:v>0.93389870022615062</c:v>
                </c:pt>
                <c:pt idx="20">
                  <c:v>0.94554286273554611</c:v>
                </c:pt>
                <c:pt idx="21">
                  <c:v>0.95689224067067669</c:v>
                </c:pt>
                <c:pt idx="22">
                  <c:v>0.96779975103109328</c:v>
                </c:pt>
                <c:pt idx="23">
                  <c:v>0.9759689058289408</c:v>
                </c:pt>
                <c:pt idx="24">
                  <c:v>0.98223656609855081</c:v>
                </c:pt>
                <c:pt idx="25">
                  <c:v>0.9884586581301712</c:v>
                </c:pt>
                <c:pt idx="26">
                  <c:v>0.99235388334861008</c:v>
                </c:pt>
                <c:pt idx="27">
                  <c:v>0.9960088271793992</c:v>
                </c:pt>
                <c:pt idx="28">
                  <c:v>0.99956046925800368</c:v>
                </c:pt>
                <c:pt idx="29">
                  <c:v>0.99986604450099303</c:v>
                </c:pt>
                <c:pt idx="30">
                  <c:v>0.99991649259553961</c:v>
                </c:pt>
                <c:pt idx="31">
                  <c:v>0.9999721641985133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6</c:f>
              <c:strCache>
                <c:ptCount val="35"/>
                <c:pt idx="0">
                  <c:v>Mini Babybe</c:v>
                </c:pt>
                <c:pt idx="1">
                  <c:v>La Vache Qu</c:v>
                </c:pt>
                <c:pt idx="2">
                  <c:v>La Vache Qu</c:v>
                </c:pt>
                <c:pt idx="3">
                  <c:v>La Vache Qu</c:v>
                </c:pt>
                <c:pt idx="4">
                  <c:v>Mini Babybe</c:v>
                </c:pt>
                <c:pt idx="5">
                  <c:v>Ficello</c:v>
                </c:pt>
                <c:pt idx="6">
                  <c:v>Kiri</c:v>
                </c:pt>
                <c:pt idx="7">
                  <c:v>Kiri</c:v>
                </c:pt>
                <c:pt idx="8">
                  <c:v>Kiri</c:v>
                </c:pt>
                <c:pt idx="9">
                  <c:v>Private Lab</c:v>
                </c:pt>
                <c:pt idx="10">
                  <c:v>Private Lab</c:v>
                </c:pt>
                <c:pt idx="11">
                  <c:v>Kiri</c:v>
                </c:pt>
                <c:pt idx="12">
                  <c:v>Kiri</c:v>
                </c:pt>
                <c:pt idx="13">
                  <c:v>La Vache Qu</c:v>
                </c:pt>
                <c:pt idx="14">
                  <c:v>Ficello</c:v>
                </c:pt>
                <c:pt idx="15">
                  <c:v>La Vache Qu</c:v>
                </c:pt>
                <c:pt idx="16">
                  <c:v>Ficello</c:v>
                </c:pt>
                <c:pt idx="17">
                  <c:v>Private Lab</c:v>
                </c:pt>
                <c:pt idx="18">
                  <c:v>P'Tit Louis</c:v>
                </c:pt>
                <c:pt idx="19">
                  <c:v>Mini Babybe</c:v>
                </c:pt>
                <c:pt idx="20">
                  <c:v>Kiri</c:v>
                </c:pt>
                <c:pt idx="21">
                  <c:v>La Vache Qu</c:v>
                </c:pt>
                <c:pt idx="22">
                  <c:v>Mini Babybe</c:v>
                </c:pt>
                <c:pt idx="23">
                  <c:v>Private Lab</c:v>
                </c:pt>
                <c:pt idx="24">
                  <c:v>La Vache Qu</c:v>
                </c:pt>
                <c:pt idx="25">
                  <c:v>P'Tit Louis</c:v>
                </c:pt>
                <c:pt idx="26">
                  <c:v>Mini Babybe</c:v>
                </c:pt>
                <c:pt idx="27">
                  <c:v>Kiri</c:v>
                </c:pt>
                <c:pt idx="28">
                  <c:v>Kiri</c:v>
                </c:pt>
                <c:pt idx="29">
                  <c:v>Mini Babybe</c:v>
                </c:pt>
                <c:pt idx="30">
                  <c:v>La Vache Qu</c:v>
                </c:pt>
                <c:pt idx="31">
                  <c:v>Mini Babybe</c:v>
                </c:pt>
                <c:pt idx="32">
                  <c:v>Mini Babybe</c:v>
                </c:pt>
                <c:pt idx="33">
                  <c:v>Private Lab</c:v>
                </c:pt>
                <c:pt idx="34">
                  <c:v>Mini Babybe</c:v>
                </c:pt>
              </c:strCache>
            </c:strRef>
          </c:cat>
          <c:val>
            <c:numRef>
              <c:f>Sheet1!$B$2:$B$36</c:f>
              <c:numCache>
                <c:formatCode>General</c:formatCode>
                <c:ptCount val="35"/>
                <c:pt idx="0">
                  <c:v>0.99</c:v>
                </c:pt>
                <c:pt idx="1">
                  <c:v>0.99</c:v>
                </c:pt>
                <c:pt idx="2">
                  <c:v>0.99</c:v>
                </c:pt>
                <c:pt idx="3">
                  <c:v>0.99</c:v>
                </c:pt>
                <c:pt idx="4">
                  <c:v>0.99</c:v>
                </c:pt>
                <c:pt idx="5">
                  <c:v>0.99</c:v>
                </c:pt>
                <c:pt idx="6">
                  <c:v>0.99</c:v>
                </c:pt>
                <c:pt idx="7">
                  <c:v>0.99</c:v>
                </c:pt>
                <c:pt idx="8">
                  <c:v>0.99</c:v>
                </c:pt>
                <c:pt idx="9">
                  <c:v>0.99</c:v>
                </c:pt>
                <c:pt idx="10">
                  <c:v>0.99</c:v>
                </c:pt>
                <c:pt idx="11">
                  <c:v>0.99</c:v>
                </c:pt>
                <c:pt idx="12">
                  <c:v>0.99</c:v>
                </c:pt>
                <c:pt idx="13">
                  <c:v>0.98</c:v>
                </c:pt>
                <c:pt idx="14">
                  <c:v>0.98</c:v>
                </c:pt>
                <c:pt idx="15">
                  <c:v>0.99</c:v>
                </c:pt>
                <c:pt idx="16">
                  <c:v>0.99</c:v>
                </c:pt>
                <c:pt idx="17">
                  <c:v>0.98</c:v>
                </c:pt>
                <c:pt idx="18">
                  <c:v>0.96</c:v>
                </c:pt>
                <c:pt idx="19">
                  <c:v>0.95</c:v>
                </c:pt>
                <c:pt idx="20">
                  <c:v>0.94</c:v>
                </c:pt>
                <c:pt idx="21">
                  <c:v>0.96</c:v>
                </c:pt>
                <c:pt idx="22">
                  <c:v>0.97</c:v>
                </c:pt>
                <c:pt idx="23">
                  <c:v>0.99</c:v>
                </c:pt>
                <c:pt idx="24">
                  <c:v>0.88</c:v>
                </c:pt>
                <c:pt idx="25">
                  <c:v>0.78</c:v>
                </c:pt>
                <c:pt idx="26">
                  <c:v>0.9</c:v>
                </c:pt>
                <c:pt idx="27">
                  <c:v>0.87</c:v>
                </c:pt>
                <c:pt idx="28">
                  <c:v>0.73</c:v>
                </c:pt>
                <c:pt idx="29">
                  <c:v>0.21</c:v>
                </c:pt>
                <c:pt idx="30">
                  <c:v>0.01</c:v>
                </c:pt>
                <c:pt idx="31">
                  <c:v>0.16</c:v>
                </c:pt>
                <c:pt idx="32">
                  <c:v>0.01</c:v>
                </c:pt>
                <c:pt idx="33">
                  <c:v>0.01</c:v>
                </c:pt>
                <c:pt idx="3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6</c:f>
              <c:strCache>
                <c:ptCount val="35"/>
                <c:pt idx="0">
                  <c:v>Mini Babybe</c:v>
                </c:pt>
                <c:pt idx="1">
                  <c:v>La Vache Qu</c:v>
                </c:pt>
                <c:pt idx="2">
                  <c:v>La Vache Qu</c:v>
                </c:pt>
                <c:pt idx="3">
                  <c:v>La Vache Qu</c:v>
                </c:pt>
                <c:pt idx="4">
                  <c:v>Mini Babybe</c:v>
                </c:pt>
                <c:pt idx="5">
                  <c:v>Ficello</c:v>
                </c:pt>
                <c:pt idx="6">
                  <c:v>Kiri</c:v>
                </c:pt>
                <c:pt idx="7">
                  <c:v>Kiri</c:v>
                </c:pt>
                <c:pt idx="8">
                  <c:v>Kiri</c:v>
                </c:pt>
                <c:pt idx="9">
                  <c:v>Private Lab</c:v>
                </c:pt>
                <c:pt idx="10">
                  <c:v>Private Lab</c:v>
                </c:pt>
                <c:pt idx="11">
                  <c:v>Kiri</c:v>
                </c:pt>
                <c:pt idx="12">
                  <c:v>Kiri</c:v>
                </c:pt>
                <c:pt idx="13">
                  <c:v>La Vache Qu</c:v>
                </c:pt>
                <c:pt idx="14">
                  <c:v>Ficello</c:v>
                </c:pt>
                <c:pt idx="15">
                  <c:v>La Vache Qu</c:v>
                </c:pt>
                <c:pt idx="16">
                  <c:v>Ficello</c:v>
                </c:pt>
                <c:pt idx="17">
                  <c:v>Private Lab</c:v>
                </c:pt>
                <c:pt idx="18">
                  <c:v>P'Tit Louis</c:v>
                </c:pt>
                <c:pt idx="19">
                  <c:v>Mini Babybe</c:v>
                </c:pt>
                <c:pt idx="20">
                  <c:v>Kiri</c:v>
                </c:pt>
                <c:pt idx="21">
                  <c:v>La Vache Qu</c:v>
                </c:pt>
                <c:pt idx="22">
                  <c:v>Mini Babybe</c:v>
                </c:pt>
                <c:pt idx="23">
                  <c:v>Private Lab</c:v>
                </c:pt>
                <c:pt idx="24">
                  <c:v>La Vache Qu</c:v>
                </c:pt>
                <c:pt idx="25">
                  <c:v>P'Tit Louis</c:v>
                </c:pt>
                <c:pt idx="26">
                  <c:v>Mini Babybe</c:v>
                </c:pt>
                <c:pt idx="27">
                  <c:v>Kiri</c:v>
                </c:pt>
                <c:pt idx="28">
                  <c:v>Kiri</c:v>
                </c:pt>
                <c:pt idx="29">
                  <c:v>Mini Babybe</c:v>
                </c:pt>
                <c:pt idx="30">
                  <c:v>La Vache Qu</c:v>
                </c:pt>
                <c:pt idx="31">
                  <c:v>Mini Babybe</c:v>
                </c:pt>
                <c:pt idx="32">
                  <c:v>Mini Babybe</c:v>
                </c:pt>
                <c:pt idx="33">
                  <c:v>Private Lab</c:v>
                </c:pt>
                <c:pt idx="34">
                  <c:v>Mini Babybe</c:v>
                </c:pt>
              </c:strCache>
            </c:strRef>
          </c:cat>
          <c:val>
            <c:numRef>
              <c:f>Sheet1!$C$2:$C$36</c:f>
              <c:numCache>
                <c:formatCode>General</c:formatCode>
                <c:ptCount val="35"/>
                <c:pt idx="0">
                  <c:v>0.15247499697637854</c:v>
                </c:pt>
                <c:pt idx="1">
                  <c:v>0.24498106747792756</c:v>
                </c:pt>
                <c:pt idx="2">
                  <c:v>0.32039446630755347</c:v>
                </c:pt>
                <c:pt idx="3">
                  <c:v>0.38897057318559453</c:v>
                </c:pt>
                <c:pt idx="4">
                  <c:v>0.45095872058946662</c:v>
                </c:pt>
                <c:pt idx="5">
                  <c:v>0.50827765218119403</c:v>
                </c:pt>
                <c:pt idx="6">
                  <c:v>0.56391042637714328</c:v>
                </c:pt>
                <c:pt idx="7">
                  <c:v>0.61728953268767384</c:v>
                </c:pt>
                <c:pt idx="8">
                  <c:v>0.65993208481025611</c:v>
                </c:pt>
                <c:pt idx="9">
                  <c:v>0.70206704066538284</c:v>
                </c:pt>
                <c:pt idx="10">
                  <c:v>0.73934336245313392</c:v>
                </c:pt>
                <c:pt idx="11">
                  <c:v>0.77108115400001864</c:v>
                </c:pt>
                <c:pt idx="12">
                  <c:v>0.80108664303590205</c:v>
                </c:pt>
                <c:pt idx="13">
                  <c:v>0.82368695749253407</c:v>
                </c:pt>
                <c:pt idx="14">
                  <c:v>0.84531301459711417</c:v>
                </c:pt>
                <c:pt idx="15">
                  <c:v>0.86528975597048952</c:v>
                </c:pt>
                <c:pt idx="16">
                  <c:v>0.88271884041791104</c:v>
                </c:pt>
                <c:pt idx="17">
                  <c:v>0.89831588936336493</c:v>
                </c:pt>
                <c:pt idx="18">
                  <c:v>0.91257584638142297</c:v>
                </c:pt>
                <c:pt idx="19">
                  <c:v>0.92659354154455897</c:v>
                </c:pt>
                <c:pt idx="20">
                  <c:v>0.93948105352275169</c:v>
                </c:pt>
                <c:pt idx="21">
                  <c:v>0.95003935359624891</c:v>
                </c:pt>
                <c:pt idx="22">
                  <c:v>0.95974061979588232</c:v>
                </c:pt>
                <c:pt idx="23">
                  <c:v>0.96893466186608612</c:v>
                </c:pt>
                <c:pt idx="24">
                  <c:v>0.97590406281689879</c:v>
                </c:pt>
                <c:pt idx="25">
                  <c:v>0.98269818675746834</c:v>
                </c:pt>
                <c:pt idx="26">
                  <c:v>0.98945956255175049</c:v>
                </c:pt>
                <c:pt idx="27">
                  <c:v>0.99606464037511522</c:v>
                </c:pt>
                <c:pt idx="28">
                  <c:v>0.99929405416468975</c:v>
                </c:pt>
                <c:pt idx="29">
                  <c:v>0.99981504740108118</c:v>
                </c:pt>
                <c:pt idx="30">
                  <c:v>0.99989952273298177</c:v>
                </c:pt>
                <c:pt idx="31">
                  <c:v>0.99993971363978906</c:v>
                </c:pt>
                <c:pt idx="32">
                  <c:v>0.99998325378883035</c:v>
                </c:pt>
                <c:pt idx="33">
                  <c:v>0.99999218510145416</c:v>
                </c:pt>
                <c:pt idx="3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3</c:f>
              <c:strCache>
                <c:ptCount val="32"/>
                <c:pt idx="0">
                  <c:v>Mini Babybe</c:v>
                </c:pt>
                <c:pt idx="1">
                  <c:v>Mini Babybe</c:v>
                </c:pt>
                <c:pt idx="2">
                  <c:v>La Vache Qu</c:v>
                </c:pt>
                <c:pt idx="3">
                  <c:v>Private Lab</c:v>
                </c:pt>
                <c:pt idx="4">
                  <c:v>Kiri</c:v>
                </c:pt>
                <c:pt idx="5">
                  <c:v>La Vache Qu</c:v>
                </c:pt>
                <c:pt idx="6">
                  <c:v>Private Lab</c:v>
                </c:pt>
                <c:pt idx="7">
                  <c:v>La Vache Qu</c:v>
                </c:pt>
                <c:pt idx="8">
                  <c:v>Kiri</c:v>
                </c:pt>
                <c:pt idx="9">
                  <c:v>Kiri</c:v>
                </c:pt>
                <c:pt idx="10">
                  <c:v>Ficello</c:v>
                </c:pt>
                <c:pt idx="11">
                  <c:v>Kiri</c:v>
                </c:pt>
                <c:pt idx="12">
                  <c:v>Ficello</c:v>
                </c:pt>
                <c:pt idx="13">
                  <c:v>Private Lab</c:v>
                </c:pt>
                <c:pt idx="14">
                  <c:v>Ficello</c:v>
                </c:pt>
                <c:pt idx="15">
                  <c:v>Kiri</c:v>
                </c:pt>
                <c:pt idx="16">
                  <c:v>P'Tit Louis</c:v>
                </c:pt>
                <c:pt idx="17">
                  <c:v>La Vache Qu</c:v>
                </c:pt>
                <c:pt idx="18">
                  <c:v>Kiri</c:v>
                </c:pt>
                <c:pt idx="19">
                  <c:v>Private Lab</c:v>
                </c:pt>
                <c:pt idx="20">
                  <c:v>La Vache Qu</c:v>
                </c:pt>
                <c:pt idx="21">
                  <c:v>Mini Babybe</c:v>
                </c:pt>
                <c:pt idx="22">
                  <c:v>La Vache Qu</c:v>
                </c:pt>
                <c:pt idx="23">
                  <c:v>Mini Babybe</c:v>
                </c:pt>
                <c:pt idx="24">
                  <c:v>Kiri</c:v>
                </c:pt>
                <c:pt idx="25">
                  <c:v>La Vache Qu</c:v>
                </c:pt>
                <c:pt idx="26">
                  <c:v>Mini Babybe</c:v>
                </c:pt>
                <c:pt idx="27">
                  <c:v>Kiri</c:v>
                </c:pt>
                <c:pt idx="28">
                  <c:v>P'Tit Louis</c:v>
                </c:pt>
                <c:pt idx="29">
                  <c:v>Mini Babybe</c:v>
                </c:pt>
                <c:pt idx="30">
                  <c:v>Mini Babybe</c:v>
                </c:pt>
                <c:pt idx="31">
                  <c:v>Mini Babybe</c:v>
                </c:pt>
              </c:strCache>
            </c:strRef>
          </c:cat>
          <c:val>
            <c:numRef>
              <c:f>Sheet1!$B$2:$B$33</c:f>
              <c:numCache>
                <c:formatCode>General</c:formatCode>
                <c:ptCount val="32"/>
                <c:pt idx="0">
                  <c:v>0.88</c:v>
                </c:pt>
                <c:pt idx="1">
                  <c:v>0.98</c:v>
                </c:pt>
                <c:pt idx="2">
                  <c:v>0.98</c:v>
                </c:pt>
                <c:pt idx="3">
                  <c:v>0.95</c:v>
                </c:pt>
                <c:pt idx="4">
                  <c:v>0.85</c:v>
                </c:pt>
                <c:pt idx="5">
                  <c:v>0.65</c:v>
                </c:pt>
                <c:pt idx="6">
                  <c:v>0.94</c:v>
                </c:pt>
                <c:pt idx="7">
                  <c:v>0.68</c:v>
                </c:pt>
                <c:pt idx="8">
                  <c:v>0.92</c:v>
                </c:pt>
                <c:pt idx="9">
                  <c:v>0.89</c:v>
                </c:pt>
                <c:pt idx="10">
                  <c:v>0.73</c:v>
                </c:pt>
                <c:pt idx="11">
                  <c:v>0.67</c:v>
                </c:pt>
                <c:pt idx="12">
                  <c:v>0.37</c:v>
                </c:pt>
                <c:pt idx="13">
                  <c:v>0.9</c:v>
                </c:pt>
                <c:pt idx="14">
                  <c:v>0.7</c:v>
                </c:pt>
                <c:pt idx="15">
                  <c:v>0.47</c:v>
                </c:pt>
                <c:pt idx="16">
                  <c:v>0.67</c:v>
                </c:pt>
                <c:pt idx="17">
                  <c:v>0.77</c:v>
                </c:pt>
                <c:pt idx="18">
                  <c:v>0.59</c:v>
                </c:pt>
                <c:pt idx="19">
                  <c:v>0.71</c:v>
                </c:pt>
                <c:pt idx="20">
                  <c:v>0.42</c:v>
                </c:pt>
                <c:pt idx="21">
                  <c:v>0.3</c:v>
                </c:pt>
                <c:pt idx="22">
                  <c:v>0.32</c:v>
                </c:pt>
                <c:pt idx="23">
                  <c:v>0.37</c:v>
                </c:pt>
                <c:pt idx="24">
                  <c:v>0.3</c:v>
                </c:pt>
                <c:pt idx="25">
                  <c:v>0.25</c:v>
                </c:pt>
                <c:pt idx="26">
                  <c:v>0.19</c:v>
                </c:pt>
                <c:pt idx="27">
                  <c:v>0.1</c:v>
                </c:pt>
                <c:pt idx="28">
                  <c:v>7.0000000000000007E-2</c:v>
                </c:pt>
                <c:pt idx="29">
                  <c:v>0.13</c:v>
                </c:pt>
                <c:pt idx="30">
                  <c:v>0.08</c:v>
                </c:pt>
                <c:pt idx="3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3</c:f>
              <c:strCache>
                <c:ptCount val="32"/>
                <c:pt idx="0">
                  <c:v>Mini Babybe</c:v>
                </c:pt>
                <c:pt idx="1">
                  <c:v>Mini Babybe</c:v>
                </c:pt>
                <c:pt idx="2">
                  <c:v>La Vache Qu</c:v>
                </c:pt>
                <c:pt idx="3">
                  <c:v>Private Lab</c:v>
                </c:pt>
                <c:pt idx="4">
                  <c:v>Kiri</c:v>
                </c:pt>
                <c:pt idx="5">
                  <c:v>La Vache Qu</c:v>
                </c:pt>
                <c:pt idx="6">
                  <c:v>Private Lab</c:v>
                </c:pt>
                <c:pt idx="7">
                  <c:v>La Vache Qu</c:v>
                </c:pt>
                <c:pt idx="8">
                  <c:v>Kiri</c:v>
                </c:pt>
                <c:pt idx="9">
                  <c:v>Kiri</c:v>
                </c:pt>
                <c:pt idx="10">
                  <c:v>Ficello</c:v>
                </c:pt>
                <c:pt idx="11">
                  <c:v>Kiri</c:v>
                </c:pt>
                <c:pt idx="12">
                  <c:v>Ficello</c:v>
                </c:pt>
                <c:pt idx="13">
                  <c:v>Private Lab</c:v>
                </c:pt>
                <c:pt idx="14">
                  <c:v>Ficello</c:v>
                </c:pt>
                <c:pt idx="15">
                  <c:v>Kiri</c:v>
                </c:pt>
                <c:pt idx="16">
                  <c:v>P'Tit Louis</c:v>
                </c:pt>
                <c:pt idx="17">
                  <c:v>La Vache Qu</c:v>
                </c:pt>
                <c:pt idx="18">
                  <c:v>Kiri</c:v>
                </c:pt>
                <c:pt idx="19">
                  <c:v>Private Lab</c:v>
                </c:pt>
                <c:pt idx="20">
                  <c:v>La Vache Qu</c:v>
                </c:pt>
                <c:pt idx="21">
                  <c:v>Mini Babybe</c:v>
                </c:pt>
                <c:pt idx="22">
                  <c:v>La Vache Qu</c:v>
                </c:pt>
                <c:pt idx="23">
                  <c:v>Mini Babybe</c:v>
                </c:pt>
                <c:pt idx="24">
                  <c:v>Kiri</c:v>
                </c:pt>
                <c:pt idx="25">
                  <c:v>La Vache Qu</c:v>
                </c:pt>
                <c:pt idx="26">
                  <c:v>Mini Babybe</c:v>
                </c:pt>
                <c:pt idx="27">
                  <c:v>Kiri</c:v>
                </c:pt>
                <c:pt idx="28">
                  <c:v>P'Tit Louis</c:v>
                </c:pt>
                <c:pt idx="29">
                  <c:v>Mini Babybe</c:v>
                </c:pt>
                <c:pt idx="30">
                  <c:v>Mini Babybe</c:v>
                </c:pt>
                <c:pt idx="31">
                  <c:v>Mini Babybe</c:v>
                </c:pt>
              </c:strCache>
            </c:strRef>
          </c:cat>
          <c:val>
            <c:numRef>
              <c:f>Sheet1!$C$2:$C$33</c:f>
              <c:numCache>
                <c:formatCode>General</c:formatCode>
                <c:ptCount val="32"/>
                <c:pt idx="0">
                  <c:v>0.12820837612041738</c:v>
                </c:pt>
                <c:pt idx="1">
                  <c:v>0.2301937113796973</c:v>
                </c:pt>
                <c:pt idx="2">
                  <c:v>0.32197129687342352</c:v>
                </c:pt>
                <c:pt idx="3">
                  <c:v>0.38935511219570579</c:v>
                </c:pt>
                <c:pt idx="4">
                  <c:v>0.44944979923011641</c:v>
                </c:pt>
                <c:pt idx="5">
                  <c:v>0.50936933403277751</c:v>
                </c:pt>
                <c:pt idx="6">
                  <c:v>0.56535165632424045</c:v>
                </c:pt>
                <c:pt idx="7">
                  <c:v>0.61875823619518688</c:v>
                </c:pt>
                <c:pt idx="8">
                  <c:v>0.66234973925904062</c:v>
                </c:pt>
                <c:pt idx="9">
                  <c:v>0.70413992610410336</c:v>
                </c:pt>
                <c:pt idx="10">
                  <c:v>0.74479620972317651</c:v>
                </c:pt>
                <c:pt idx="11">
                  <c:v>0.7752028118703419</c:v>
                </c:pt>
                <c:pt idx="12">
                  <c:v>0.80367356690749736</c:v>
                </c:pt>
                <c:pt idx="13">
                  <c:v>0.83206526320663121</c:v>
                </c:pt>
                <c:pt idx="14">
                  <c:v>0.85899459124666899</c:v>
                </c:pt>
                <c:pt idx="15">
                  <c:v>0.88544869328136133</c:v>
                </c:pt>
                <c:pt idx="16">
                  <c:v>0.90574320236809314</c:v>
                </c:pt>
                <c:pt idx="17">
                  <c:v>0.92545809297220238</c:v>
                </c:pt>
                <c:pt idx="18">
                  <c:v>0.93888235404599474</c:v>
                </c:pt>
                <c:pt idx="19">
                  <c:v>0.95211006024625267</c:v>
                </c:pt>
                <c:pt idx="20">
                  <c:v>0.96210334680534992</c:v>
                </c:pt>
                <c:pt idx="21">
                  <c:v>0.96981310252258524</c:v>
                </c:pt>
                <c:pt idx="22">
                  <c:v>0.97699783833317977</c:v>
                </c:pt>
                <c:pt idx="23">
                  <c:v>0.98370472740678172</c:v>
                </c:pt>
                <c:pt idx="24">
                  <c:v>0.98982151507117255</c:v>
                </c:pt>
                <c:pt idx="25">
                  <c:v>0.99312713125541352</c:v>
                </c:pt>
                <c:pt idx="26">
                  <c:v>0.99610515598376381</c:v>
                </c:pt>
                <c:pt idx="27">
                  <c:v>0.99749851164281889</c:v>
                </c:pt>
                <c:pt idx="28">
                  <c:v>0.99879227949928318</c:v>
                </c:pt>
                <c:pt idx="29">
                  <c:v>0.99979208862266156</c:v>
                </c:pt>
                <c:pt idx="30">
                  <c:v>0.99991963089615499</c:v>
                </c:pt>
                <c:pt idx="31">
                  <c:v>0.9999812180898625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9</c:f>
              <c:strCache>
                <c:ptCount val="98"/>
                <c:pt idx="0">
                  <c:v>St Moret</c:v>
                </c:pt>
                <c:pt idx="1">
                  <c:v>St Moret</c:v>
                </c:pt>
                <c:pt idx="2">
                  <c:v>Paysan Bret</c:v>
                </c:pt>
                <c:pt idx="3">
                  <c:v>Tartare</c:v>
                </c:pt>
                <c:pt idx="4">
                  <c:v>St Moret</c:v>
                </c:pt>
                <c:pt idx="5">
                  <c:v>Carre Frais</c:v>
                </c:pt>
                <c:pt idx="6">
                  <c:v>Carre Frais</c:v>
                </c:pt>
                <c:pt idx="7">
                  <c:v>Paysan Bret</c:v>
                </c:pt>
                <c:pt idx="8">
                  <c:v>Philadelphi</c:v>
                </c:pt>
                <c:pt idx="9">
                  <c:v>Boursin</c:v>
                </c:pt>
                <c:pt idx="10">
                  <c:v>St Moret</c:v>
                </c:pt>
                <c:pt idx="11">
                  <c:v>St Moret</c:v>
                </c:pt>
                <c:pt idx="12">
                  <c:v>Boursin</c:v>
                </c:pt>
                <c:pt idx="13">
                  <c:v>St Moret</c:v>
                </c:pt>
                <c:pt idx="14">
                  <c:v>Philadelphi</c:v>
                </c:pt>
                <c:pt idx="15">
                  <c:v>St Moret</c:v>
                </c:pt>
                <c:pt idx="16">
                  <c:v>Tartare</c:v>
                </c:pt>
                <c:pt idx="17">
                  <c:v>Paysan Bret</c:v>
                </c:pt>
                <c:pt idx="18">
                  <c:v>Tartare</c:v>
                </c:pt>
                <c:pt idx="19">
                  <c:v>Paysan Bret</c:v>
                </c:pt>
                <c:pt idx="20">
                  <c:v>St Moret</c:v>
                </c:pt>
                <c:pt idx="21">
                  <c:v>St Moret</c:v>
                </c:pt>
                <c:pt idx="22">
                  <c:v>Boursin</c:v>
                </c:pt>
                <c:pt idx="23">
                  <c:v>Philadelphi</c:v>
                </c:pt>
                <c:pt idx="24">
                  <c:v>Paysan Bret</c:v>
                </c:pt>
                <c:pt idx="25">
                  <c:v>Tartare</c:v>
                </c:pt>
                <c:pt idx="26">
                  <c:v>Paysan Bret</c:v>
                </c:pt>
                <c:pt idx="27">
                  <c:v>Rondele</c:v>
                </c:pt>
                <c:pt idx="28">
                  <c:v>Carre Frais</c:v>
                </c:pt>
                <c:pt idx="29">
                  <c:v>Boursin</c:v>
                </c:pt>
                <c:pt idx="30">
                  <c:v>Savencia: A</c:v>
                </c:pt>
                <c:pt idx="31">
                  <c:v>Paysan Bret</c:v>
                </c:pt>
                <c:pt idx="32">
                  <c:v>All Others</c:v>
                </c:pt>
                <c:pt idx="33">
                  <c:v>Boursin</c:v>
                </c:pt>
                <c:pt idx="34">
                  <c:v>Paysan Bret</c:v>
                </c:pt>
                <c:pt idx="35">
                  <c:v>Boursin</c:v>
                </c:pt>
                <c:pt idx="36">
                  <c:v>Kiri</c:v>
                </c:pt>
                <c:pt idx="37">
                  <c:v>Rondele</c:v>
                </c:pt>
                <c:pt idx="38">
                  <c:v>St Moret</c:v>
                </c:pt>
                <c:pt idx="39">
                  <c:v>Boursin</c:v>
                </c:pt>
                <c:pt idx="40">
                  <c:v>Kiri</c:v>
                </c:pt>
                <c:pt idx="41">
                  <c:v>Paysan Bret</c:v>
                </c:pt>
                <c:pt idx="42">
                  <c:v>Philadelphi</c:v>
                </c:pt>
                <c:pt idx="43">
                  <c:v>Tartare</c:v>
                </c:pt>
                <c:pt idx="44">
                  <c:v>Paysan Bret</c:v>
                </c:pt>
                <c:pt idx="45">
                  <c:v>Tartare</c:v>
                </c:pt>
                <c:pt idx="46">
                  <c:v>Triballat R</c:v>
                </c:pt>
                <c:pt idx="47">
                  <c:v>Lactalis: A</c:v>
                </c:pt>
                <c:pt idx="48">
                  <c:v>Saint Agur</c:v>
                </c:pt>
                <c:pt idx="49">
                  <c:v>Boursin</c:v>
                </c:pt>
                <c:pt idx="50">
                  <c:v>President</c:v>
                </c:pt>
                <c:pt idx="51">
                  <c:v>Tartare</c:v>
                </c:pt>
                <c:pt idx="52">
                  <c:v>All Others</c:v>
                </c:pt>
                <c:pt idx="53">
                  <c:v>All Others</c:v>
                </c:pt>
                <c:pt idx="54">
                  <c:v>Lactalis: A</c:v>
                </c:pt>
                <c:pt idx="55">
                  <c:v>St Moret</c:v>
                </c:pt>
                <c:pt idx="56">
                  <c:v>Boursin</c:v>
                </c:pt>
                <c:pt idx="57">
                  <c:v>Philadelphi</c:v>
                </c:pt>
                <c:pt idx="58">
                  <c:v>Paysan Bret</c:v>
                </c:pt>
                <c:pt idx="59">
                  <c:v>Boursin</c:v>
                </c:pt>
                <c:pt idx="60">
                  <c:v>Boursin</c:v>
                </c:pt>
                <c:pt idx="61">
                  <c:v>St Moret</c:v>
                </c:pt>
                <c:pt idx="62">
                  <c:v>Tartare</c:v>
                </c:pt>
                <c:pt idx="63">
                  <c:v>Saint Agur</c:v>
                </c:pt>
                <c:pt idx="64">
                  <c:v>Tartare</c:v>
                </c:pt>
                <c:pt idx="65">
                  <c:v>All Others</c:v>
                </c:pt>
                <c:pt idx="66">
                  <c:v>Boursin</c:v>
                </c:pt>
                <c:pt idx="67">
                  <c:v>All Others</c:v>
                </c:pt>
                <c:pt idx="68">
                  <c:v>All Others</c:v>
                </c:pt>
                <c:pt idx="69">
                  <c:v>Boursin</c:v>
                </c:pt>
                <c:pt idx="70">
                  <c:v>Tartare</c:v>
                </c:pt>
                <c:pt idx="71">
                  <c:v>All Others</c:v>
                </c:pt>
                <c:pt idx="72">
                  <c:v>Lactalis: A</c:v>
                </c:pt>
                <c:pt idx="73">
                  <c:v>All Others</c:v>
                </c:pt>
                <c:pt idx="74">
                  <c:v>Boursin</c:v>
                </c:pt>
                <c:pt idx="75">
                  <c:v>All Others</c:v>
                </c:pt>
                <c:pt idx="76">
                  <c:v>Kiri</c:v>
                </c:pt>
                <c:pt idx="77">
                  <c:v>All Others</c:v>
                </c:pt>
                <c:pt idx="78">
                  <c:v>Tartare</c:v>
                </c:pt>
                <c:pt idx="79">
                  <c:v>All Others</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President</c:v>
                </c:pt>
                <c:pt idx="94">
                  <c:v>All Others</c:v>
                </c:pt>
                <c:pt idx="95">
                  <c:v>All Others</c:v>
                </c:pt>
                <c:pt idx="96">
                  <c:v>All Others</c:v>
                </c:pt>
                <c:pt idx="97">
                  <c:v>All Others</c:v>
                </c:pt>
              </c:strCache>
            </c:strRef>
          </c:cat>
          <c:val>
            <c:numRef>
              <c:f>Sheet1!$B$2:$B$99</c:f>
              <c:numCache>
                <c:formatCode>General</c:formatCode>
                <c:ptCount val="98"/>
                <c:pt idx="0">
                  <c:v>0.98599999999999999</c:v>
                </c:pt>
                <c:pt idx="1">
                  <c:v>0.84499999999999997</c:v>
                </c:pt>
                <c:pt idx="2">
                  <c:v>0.97299999999999998</c:v>
                </c:pt>
                <c:pt idx="3">
                  <c:v>0.89700000000000002</c:v>
                </c:pt>
                <c:pt idx="4">
                  <c:v>0.95399999999999996</c:v>
                </c:pt>
                <c:pt idx="5">
                  <c:v>0.91500000000000004</c:v>
                </c:pt>
                <c:pt idx="6">
                  <c:v>0.871</c:v>
                </c:pt>
                <c:pt idx="7">
                  <c:v>0.81699999999999995</c:v>
                </c:pt>
                <c:pt idx="8">
                  <c:v>0.97699999999999998</c:v>
                </c:pt>
                <c:pt idx="9">
                  <c:v>0.96799999999999997</c:v>
                </c:pt>
                <c:pt idx="10">
                  <c:v>0.78200000000000003</c:v>
                </c:pt>
                <c:pt idx="11">
                  <c:v>0.89600000000000002</c:v>
                </c:pt>
                <c:pt idx="12">
                  <c:v>0.90300000000000002</c:v>
                </c:pt>
                <c:pt idx="13">
                  <c:v>0.81</c:v>
                </c:pt>
                <c:pt idx="14">
                  <c:v>0.82499999999999996</c:v>
                </c:pt>
                <c:pt idx="15">
                  <c:v>0.76300000000000001</c:v>
                </c:pt>
                <c:pt idx="16">
                  <c:v>0.86399999999999999</c:v>
                </c:pt>
                <c:pt idx="17">
                  <c:v>0.88600000000000001</c:v>
                </c:pt>
                <c:pt idx="18">
                  <c:v>0.82399999999999995</c:v>
                </c:pt>
                <c:pt idx="19">
                  <c:v>0.61</c:v>
                </c:pt>
                <c:pt idx="20">
                  <c:v>0.83799999999999997</c:v>
                </c:pt>
                <c:pt idx="21">
                  <c:v>0.46300000000000002</c:v>
                </c:pt>
                <c:pt idx="22">
                  <c:v>0.80100000000000005</c:v>
                </c:pt>
                <c:pt idx="23">
                  <c:v>0.68400000000000005</c:v>
                </c:pt>
                <c:pt idx="24">
                  <c:v>0.74299999999999999</c:v>
                </c:pt>
                <c:pt idx="25">
                  <c:v>0.76100000000000001</c:v>
                </c:pt>
                <c:pt idx="26">
                  <c:v>0.70599999999999996</c:v>
                </c:pt>
                <c:pt idx="27">
                  <c:v>0.80500000000000005</c:v>
                </c:pt>
                <c:pt idx="28">
                  <c:v>0.45300000000000001</c:v>
                </c:pt>
                <c:pt idx="29">
                  <c:v>0.80500000000000005</c:v>
                </c:pt>
                <c:pt idx="30">
                  <c:v>0.69499999999999995</c:v>
                </c:pt>
                <c:pt idx="31">
                  <c:v>0.755</c:v>
                </c:pt>
                <c:pt idx="32">
                  <c:v>0.442</c:v>
                </c:pt>
                <c:pt idx="33">
                  <c:v>0.76300000000000001</c:v>
                </c:pt>
                <c:pt idx="34">
                  <c:v>0.42899999999999999</c:v>
                </c:pt>
                <c:pt idx="35">
                  <c:v>0.78600000000000003</c:v>
                </c:pt>
                <c:pt idx="36">
                  <c:v>0.75</c:v>
                </c:pt>
                <c:pt idx="37">
                  <c:v>0.74</c:v>
                </c:pt>
                <c:pt idx="38">
                  <c:v>0.59099999999999997</c:v>
                </c:pt>
                <c:pt idx="39">
                  <c:v>0.67200000000000004</c:v>
                </c:pt>
                <c:pt idx="40">
                  <c:v>0.61199999999999999</c:v>
                </c:pt>
                <c:pt idx="41">
                  <c:v>0.42199999999999999</c:v>
                </c:pt>
                <c:pt idx="42">
                  <c:v>0.59899999999999998</c:v>
                </c:pt>
                <c:pt idx="43">
                  <c:v>0.58699999999999997</c:v>
                </c:pt>
                <c:pt idx="44">
                  <c:v>0.71199999999999997</c:v>
                </c:pt>
                <c:pt idx="45">
                  <c:v>0.57999999999999996</c:v>
                </c:pt>
                <c:pt idx="46">
                  <c:v>0.48899999999999999</c:v>
                </c:pt>
                <c:pt idx="47">
                  <c:v>0.379</c:v>
                </c:pt>
                <c:pt idx="48">
                  <c:v>0.40100000000000002</c:v>
                </c:pt>
                <c:pt idx="49">
                  <c:v>0.39700000000000002</c:v>
                </c:pt>
                <c:pt idx="50">
                  <c:v>0.57699999999999996</c:v>
                </c:pt>
                <c:pt idx="51">
                  <c:v>0.40699999999999997</c:v>
                </c:pt>
                <c:pt idx="52">
                  <c:v>0.49099999999999999</c:v>
                </c:pt>
                <c:pt idx="53">
                  <c:v>3.7999999999999999E-2</c:v>
                </c:pt>
                <c:pt idx="54">
                  <c:v>0.58099999999999996</c:v>
                </c:pt>
                <c:pt idx="55">
                  <c:v>0.39600000000000002</c:v>
                </c:pt>
                <c:pt idx="56">
                  <c:v>0.23899999999999999</c:v>
                </c:pt>
                <c:pt idx="57">
                  <c:v>0.33600000000000002</c:v>
                </c:pt>
                <c:pt idx="58">
                  <c:v>0.02</c:v>
                </c:pt>
                <c:pt idx="59">
                  <c:v>0.38400000000000001</c:v>
                </c:pt>
                <c:pt idx="60">
                  <c:v>0.36599999999999999</c:v>
                </c:pt>
                <c:pt idx="61">
                  <c:v>0.39100000000000001</c:v>
                </c:pt>
                <c:pt idx="62">
                  <c:v>0.39400000000000002</c:v>
                </c:pt>
                <c:pt idx="63">
                  <c:v>0.28499999999999998</c:v>
                </c:pt>
                <c:pt idx="64">
                  <c:v>0.436</c:v>
                </c:pt>
                <c:pt idx="65">
                  <c:v>0.32700000000000001</c:v>
                </c:pt>
                <c:pt idx="66">
                  <c:v>0.34</c:v>
                </c:pt>
                <c:pt idx="67">
                  <c:v>0.30199999999999999</c:v>
                </c:pt>
                <c:pt idx="68">
                  <c:v>0.26</c:v>
                </c:pt>
                <c:pt idx="69">
                  <c:v>0.27400000000000002</c:v>
                </c:pt>
                <c:pt idx="70">
                  <c:v>0.35</c:v>
                </c:pt>
                <c:pt idx="71">
                  <c:v>0.03</c:v>
                </c:pt>
                <c:pt idx="72">
                  <c:v>0.31900000000000001</c:v>
                </c:pt>
                <c:pt idx="73">
                  <c:v>0.27700000000000002</c:v>
                </c:pt>
                <c:pt idx="74">
                  <c:v>0.24</c:v>
                </c:pt>
                <c:pt idx="75">
                  <c:v>7.3999999999999996E-2</c:v>
                </c:pt>
                <c:pt idx="76">
                  <c:v>0.39500000000000002</c:v>
                </c:pt>
                <c:pt idx="77">
                  <c:v>6.3E-2</c:v>
                </c:pt>
                <c:pt idx="78">
                  <c:v>0.185</c:v>
                </c:pt>
                <c:pt idx="79">
                  <c:v>4.0000000000000001E-3</c:v>
                </c:pt>
                <c:pt idx="80">
                  <c:v>6.3E-2</c:v>
                </c:pt>
                <c:pt idx="81">
                  <c:v>2E-3</c:v>
                </c:pt>
                <c:pt idx="82">
                  <c:v>2.7E-2</c:v>
                </c:pt>
                <c:pt idx="83">
                  <c:v>0.05</c:v>
                </c:pt>
                <c:pt idx="84">
                  <c:v>4.1000000000000002E-2</c:v>
                </c:pt>
                <c:pt idx="85">
                  <c:v>2.3E-2</c:v>
                </c:pt>
                <c:pt idx="86">
                  <c:v>8.9999999999999993E-3</c:v>
                </c:pt>
                <c:pt idx="87">
                  <c:v>2.7E-2</c:v>
                </c:pt>
                <c:pt idx="88">
                  <c:v>2.3E-2</c:v>
                </c:pt>
                <c:pt idx="89">
                  <c:v>2.7E-2</c:v>
                </c:pt>
                <c:pt idx="90">
                  <c:v>1.7999999999999999E-2</c:v>
                </c:pt>
                <c:pt idx="91">
                  <c:v>5.0000000000000001E-3</c:v>
                </c:pt>
                <c:pt idx="92">
                  <c:v>8.9999999999999993E-3</c:v>
                </c:pt>
                <c:pt idx="93">
                  <c:v>6.8000000000000005E-2</c:v>
                </c:pt>
                <c:pt idx="94">
                  <c:v>1.7999999999999999E-2</c:v>
                </c:pt>
                <c:pt idx="95">
                  <c:v>5.0000000000000001E-3</c:v>
                </c:pt>
                <c:pt idx="96">
                  <c:v>4.0000000000000001E-3</c:v>
                </c:pt>
                <c:pt idx="97">
                  <c:v>3.5999999999999997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9</c:f>
              <c:strCache>
                <c:ptCount val="98"/>
                <c:pt idx="0">
                  <c:v>St Moret</c:v>
                </c:pt>
                <c:pt idx="1">
                  <c:v>St Moret</c:v>
                </c:pt>
                <c:pt idx="2">
                  <c:v>Paysan Bret</c:v>
                </c:pt>
                <c:pt idx="3">
                  <c:v>Tartare</c:v>
                </c:pt>
                <c:pt idx="4">
                  <c:v>St Moret</c:v>
                </c:pt>
                <c:pt idx="5">
                  <c:v>Carre Frais</c:v>
                </c:pt>
                <c:pt idx="6">
                  <c:v>Carre Frais</c:v>
                </c:pt>
                <c:pt idx="7">
                  <c:v>Paysan Bret</c:v>
                </c:pt>
                <c:pt idx="8">
                  <c:v>Philadelphi</c:v>
                </c:pt>
                <c:pt idx="9">
                  <c:v>Boursin</c:v>
                </c:pt>
                <c:pt idx="10">
                  <c:v>St Moret</c:v>
                </c:pt>
                <c:pt idx="11">
                  <c:v>St Moret</c:v>
                </c:pt>
                <c:pt idx="12">
                  <c:v>Boursin</c:v>
                </c:pt>
                <c:pt idx="13">
                  <c:v>St Moret</c:v>
                </c:pt>
                <c:pt idx="14">
                  <c:v>Philadelphi</c:v>
                </c:pt>
                <c:pt idx="15">
                  <c:v>St Moret</c:v>
                </c:pt>
                <c:pt idx="16">
                  <c:v>Tartare</c:v>
                </c:pt>
                <c:pt idx="17">
                  <c:v>Paysan Bret</c:v>
                </c:pt>
                <c:pt idx="18">
                  <c:v>Tartare</c:v>
                </c:pt>
                <c:pt idx="19">
                  <c:v>Paysan Bret</c:v>
                </c:pt>
                <c:pt idx="20">
                  <c:v>St Moret</c:v>
                </c:pt>
                <c:pt idx="21">
                  <c:v>St Moret</c:v>
                </c:pt>
                <c:pt idx="22">
                  <c:v>Boursin</c:v>
                </c:pt>
                <c:pt idx="23">
                  <c:v>Philadelphi</c:v>
                </c:pt>
                <c:pt idx="24">
                  <c:v>Paysan Bret</c:v>
                </c:pt>
                <c:pt idx="25">
                  <c:v>Tartare</c:v>
                </c:pt>
                <c:pt idx="26">
                  <c:v>Paysan Bret</c:v>
                </c:pt>
                <c:pt idx="27">
                  <c:v>Rondele</c:v>
                </c:pt>
                <c:pt idx="28">
                  <c:v>Carre Frais</c:v>
                </c:pt>
                <c:pt idx="29">
                  <c:v>Boursin</c:v>
                </c:pt>
                <c:pt idx="30">
                  <c:v>Savencia: A</c:v>
                </c:pt>
                <c:pt idx="31">
                  <c:v>Paysan Bret</c:v>
                </c:pt>
                <c:pt idx="32">
                  <c:v>All Others</c:v>
                </c:pt>
                <c:pt idx="33">
                  <c:v>Boursin</c:v>
                </c:pt>
                <c:pt idx="34">
                  <c:v>Paysan Bret</c:v>
                </c:pt>
                <c:pt idx="35">
                  <c:v>Boursin</c:v>
                </c:pt>
                <c:pt idx="36">
                  <c:v>Kiri</c:v>
                </c:pt>
                <c:pt idx="37">
                  <c:v>Rondele</c:v>
                </c:pt>
                <c:pt idx="38">
                  <c:v>St Moret</c:v>
                </c:pt>
                <c:pt idx="39">
                  <c:v>Boursin</c:v>
                </c:pt>
                <c:pt idx="40">
                  <c:v>Kiri</c:v>
                </c:pt>
                <c:pt idx="41">
                  <c:v>Paysan Bret</c:v>
                </c:pt>
                <c:pt idx="42">
                  <c:v>Philadelphi</c:v>
                </c:pt>
                <c:pt idx="43">
                  <c:v>Tartare</c:v>
                </c:pt>
                <c:pt idx="44">
                  <c:v>Paysan Bret</c:v>
                </c:pt>
                <c:pt idx="45">
                  <c:v>Tartare</c:v>
                </c:pt>
                <c:pt idx="46">
                  <c:v>Triballat R</c:v>
                </c:pt>
                <c:pt idx="47">
                  <c:v>Lactalis: A</c:v>
                </c:pt>
                <c:pt idx="48">
                  <c:v>Saint Agur</c:v>
                </c:pt>
                <c:pt idx="49">
                  <c:v>Boursin</c:v>
                </c:pt>
                <c:pt idx="50">
                  <c:v>President</c:v>
                </c:pt>
                <c:pt idx="51">
                  <c:v>Tartare</c:v>
                </c:pt>
                <c:pt idx="52">
                  <c:v>All Others</c:v>
                </c:pt>
                <c:pt idx="53">
                  <c:v>All Others</c:v>
                </c:pt>
                <c:pt idx="54">
                  <c:v>Lactalis: A</c:v>
                </c:pt>
                <c:pt idx="55">
                  <c:v>St Moret</c:v>
                </c:pt>
                <c:pt idx="56">
                  <c:v>Boursin</c:v>
                </c:pt>
                <c:pt idx="57">
                  <c:v>Philadelphi</c:v>
                </c:pt>
                <c:pt idx="58">
                  <c:v>Paysan Bret</c:v>
                </c:pt>
                <c:pt idx="59">
                  <c:v>Boursin</c:v>
                </c:pt>
                <c:pt idx="60">
                  <c:v>Boursin</c:v>
                </c:pt>
                <c:pt idx="61">
                  <c:v>St Moret</c:v>
                </c:pt>
                <c:pt idx="62">
                  <c:v>Tartare</c:v>
                </c:pt>
                <c:pt idx="63">
                  <c:v>Saint Agur</c:v>
                </c:pt>
                <c:pt idx="64">
                  <c:v>Tartare</c:v>
                </c:pt>
                <c:pt idx="65">
                  <c:v>All Others</c:v>
                </c:pt>
                <c:pt idx="66">
                  <c:v>Boursin</c:v>
                </c:pt>
                <c:pt idx="67">
                  <c:v>All Others</c:v>
                </c:pt>
                <c:pt idx="68">
                  <c:v>All Others</c:v>
                </c:pt>
                <c:pt idx="69">
                  <c:v>Boursin</c:v>
                </c:pt>
                <c:pt idx="70">
                  <c:v>Tartare</c:v>
                </c:pt>
                <c:pt idx="71">
                  <c:v>All Others</c:v>
                </c:pt>
                <c:pt idx="72">
                  <c:v>Lactalis: A</c:v>
                </c:pt>
                <c:pt idx="73">
                  <c:v>All Others</c:v>
                </c:pt>
                <c:pt idx="74">
                  <c:v>Boursin</c:v>
                </c:pt>
                <c:pt idx="75">
                  <c:v>All Others</c:v>
                </c:pt>
                <c:pt idx="76">
                  <c:v>Kiri</c:v>
                </c:pt>
                <c:pt idx="77">
                  <c:v>All Others</c:v>
                </c:pt>
                <c:pt idx="78">
                  <c:v>Tartare</c:v>
                </c:pt>
                <c:pt idx="79">
                  <c:v>All Others</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President</c:v>
                </c:pt>
                <c:pt idx="94">
                  <c:v>All Others</c:v>
                </c:pt>
                <c:pt idx="95">
                  <c:v>All Others</c:v>
                </c:pt>
                <c:pt idx="96">
                  <c:v>All Others</c:v>
                </c:pt>
                <c:pt idx="97">
                  <c:v>All Others</c:v>
                </c:pt>
              </c:strCache>
            </c:strRef>
          </c:cat>
          <c:val>
            <c:numRef>
              <c:f>Sheet1!$C$2:$C$99</c:f>
              <c:numCache>
                <c:formatCode>General</c:formatCode>
                <c:ptCount val="98"/>
                <c:pt idx="0">
                  <c:v>0.13181094803594245</c:v>
                </c:pt>
                <c:pt idx="1">
                  <c:v>0.18036699026887254</c:v>
                </c:pt>
                <c:pt idx="2">
                  <c:v>0.22862482020445127</c:v>
                </c:pt>
                <c:pt idx="3">
                  <c:v>0.27497618178886785</c:v>
                </c:pt>
                <c:pt idx="4">
                  <c:v>0.31622927626825525</c:v>
                </c:pt>
                <c:pt idx="5">
                  <c:v>0.38686358141067601</c:v>
                </c:pt>
                <c:pt idx="6">
                  <c:v>0.41955166132739097</c:v>
                </c:pt>
                <c:pt idx="7">
                  <c:v>0.45205528454780192</c:v>
                </c:pt>
                <c:pt idx="8">
                  <c:v>0.4833925251309184</c:v>
                </c:pt>
                <c:pt idx="9">
                  <c:v>0.51198439194934009</c:v>
                </c:pt>
                <c:pt idx="10">
                  <c:v>0.54028539641736606</c:v>
                </c:pt>
                <c:pt idx="11">
                  <c:v>0.56701961471578055</c:v>
                </c:pt>
                <c:pt idx="12">
                  <c:v>0.59363707674673005</c:v>
                </c:pt>
                <c:pt idx="13">
                  <c:v>0.61891067852215353</c:v>
                </c:pt>
                <c:pt idx="14">
                  <c:v>0.64187501462403429</c:v>
                </c:pt>
                <c:pt idx="15">
                  <c:v>0.6630008188110631</c:v>
                </c:pt>
                <c:pt idx="16">
                  <c:v>0.6839997858400777</c:v>
                </c:pt>
                <c:pt idx="17">
                  <c:v>0.70392717780445491</c:v>
                </c:pt>
                <c:pt idx="18">
                  <c:v>0.722716811466241</c:v>
                </c:pt>
                <c:pt idx="19">
                  <c:v>0.74074859142312444</c:v>
                </c:pt>
                <c:pt idx="20">
                  <c:v>0.75866041215400726</c:v>
                </c:pt>
                <c:pt idx="21">
                  <c:v>0.77639789079448829</c:v>
                </c:pt>
                <c:pt idx="22">
                  <c:v>0.8100210660268663</c:v>
                </c:pt>
                <c:pt idx="23">
                  <c:v>0.8214561337296552</c:v>
                </c:pt>
                <c:pt idx="24">
                  <c:v>0.83186847991431456</c:v>
                </c:pt>
                <c:pt idx="25">
                  <c:v>0.8418767475931791</c:v>
                </c:pt>
                <c:pt idx="26">
                  <c:v>0.85185746982863642</c:v>
                </c:pt>
                <c:pt idx="27">
                  <c:v>0.86109213873274382</c:v>
                </c:pt>
                <c:pt idx="28">
                  <c:v>0.86988109067009201</c:v>
                </c:pt>
                <c:pt idx="29">
                  <c:v>0.87824920757120062</c:v>
                </c:pt>
                <c:pt idx="30">
                  <c:v>0.88588870197846414</c:v>
                </c:pt>
                <c:pt idx="31">
                  <c:v>0.89308382803308883</c:v>
                </c:pt>
                <c:pt idx="32">
                  <c:v>0.90021647953859063</c:v>
                </c:pt>
                <c:pt idx="33">
                  <c:v>0.9061861536574517</c:v>
                </c:pt>
                <c:pt idx="34">
                  <c:v>0.9176927990546756</c:v>
                </c:pt>
                <c:pt idx="35">
                  <c:v>0.92327376886871315</c:v>
                </c:pt>
                <c:pt idx="36">
                  <c:v>0.92883501520124134</c:v>
                </c:pt>
                <c:pt idx="37">
                  <c:v>0.93425017290918799</c:v>
                </c:pt>
                <c:pt idx="38">
                  <c:v>0.93918856181025556</c:v>
                </c:pt>
                <c:pt idx="39">
                  <c:v>0.94371019523279742</c:v>
                </c:pt>
                <c:pt idx="40">
                  <c:v>0.94820654214058375</c:v>
                </c:pt>
                <c:pt idx="41">
                  <c:v>0.95246947765949908</c:v>
                </c:pt>
                <c:pt idx="42">
                  <c:v>0.95651751151834463</c:v>
                </c:pt>
                <c:pt idx="43">
                  <c:v>0.95992846006676047</c:v>
                </c:pt>
                <c:pt idx="44">
                  <c:v>0.96317538342279485</c:v>
                </c:pt>
                <c:pt idx="45">
                  <c:v>0.96593508621251778</c:v>
                </c:pt>
                <c:pt idx="46">
                  <c:v>0.96823416984945221</c:v>
                </c:pt>
                <c:pt idx="47">
                  <c:v>0.97041440686703528</c:v>
                </c:pt>
                <c:pt idx="48">
                  <c:v>0.97252215587565216</c:v>
                </c:pt>
                <c:pt idx="49">
                  <c:v>0.97442660130563385</c:v>
                </c:pt>
                <c:pt idx="50">
                  <c:v>0.97623040640688818</c:v>
                </c:pt>
                <c:pt idx="51">
                  <c:v>0.97798899921975946</c:v>
                </c:pt>
                <c:pt idx="52">
                  <c:v>0.97969304059146456</c:v>
                </c:pt>
                <c:pt idx="53">
                  <c:v>0.98114519456085059</c:v>
                </c:pt>
                <c:pt idx="54">
                  <c:v>0.98256784759635507</c:v>
                </c:pt>
                <c:pt idx="55">
                  <c:v>0.98381791173981414</c:v>
                </c:pt>
                <c:pt idx="56">
                  <c:v>0.9849478480805075</c:v>
                </c:pt>
                <c:pt idx="57">
                  <c:v>0.9859891467581442</c:v>
                </c:pt>
                <c:pt idx="58">
                  <c:v>0.98701095796174254</c:v>
                </c:pt>
                <c:pt idx="59">
                  <c:v>0.98796924944027475</c:v>
                </c:pt>
                <c:pt idx="60">
                  <c:v>0.98888286807607195</c:v>
                </c:pt>
                <c:pt idx="61">
                  <c:v>0.98977585291582859</c:v>
                </c:pt>
                <c:pt idx="62">
                  <c:v>0.99055821768236763</c:v>
                </c:pt>
                <c:pt idx="63">
                  <c:v>0.99133754806713603</c:v>
                </c:pt>
                <c:pt idx="64">
                  <c:v>0.99204439044293824</c:v>
                </c:pt>
                <c:pt idx="65">
                  <c:v>0.99265106450495522</c:v>
                </c:pt>
                <c:pt idx="66">
                  <c:v>0.99319408398049402</c:v>
                </c:pt>
                <c:pt idx="67">
                  <c:v>0.99372938264019406</c:v>
                </c:pt>
                <c:pt idx="68">
                  <c:v>0.9942255377750524</c:v>
                </c:pt>
                <c:pt idx="69">
                  <c:v>0.99469893504663076</c:v>
                </c:pt>
                <c:pt idx="70">
                  <c:v>0.99552209539030889</c:v>
                </c:pt>
                <c:pt idx="71">
                  <c:v>0.99588760353226324</c:v>
                </c:pt>
                <c:pt idx="72">
                  <c:v>0.9962522013596864</c:v>
                </c:pt>
                <c:pt idx="73">
                  <c:v>0.99661585515722528</c:v>
                </c:pt>
                <c:pt idx="74">
                  <c:v>0.99696180839443527</c:v>
                </c:pt>
                <c:pt idx="75">
                  <c:v>0.99729279201490995</c:v>
                </c:pt>
                <c:pt idx="76">
                  <c:v>0.99758129429059517</c:v>
                </c:pt>
                <c:pt idx="77">
                  <c:v>0.99785057881506611</c:v>
                </c:pt>
                <c:pt idx="78">
                  <c:v>0.99808115811428444</c:v>
                </c:pt>
                <c:pt idx="79">
                  <c:v>0.99827916838249753</c:v>
                </c:pt>
                <c:pt idx="80">
                  <c:v>0.99844858803136027</c:v>
                </c:pt>
                <c:pt idx="81">
                  <c:v>0.99861692878892672</c:v>
                </c:pt>
                <c:pt idx="82">
                  <c:v>0.99875320624578301</c:v>
                </c:pt>
                <c:pt idx="83">
                  <c:v>0.99888361723121599</c:v>
                </c:pt>
                <c:pt idx="84">
                  <c:v>0.99899167493760499</c:v>
                </c:pt>
                <c:pt idx="85">
                  <c:v>0.99908806713185339</c:v>
                </c:pt>
                <c:pt idx="86">
                  <c:v>0.99918186324392022</c:v>
                </c:pt>
                <c:pt idx="87">
                  <c:v>0.99926045373178074</c:v>
                </c:pt>
                <c:pt idx="88">
                  <c:v>0.99943769534254123</c:v>
                </c:pt>
                <c:pt idx="89">
                  <c:v>0.99948358193798448</c:v>
                </c:pt>
                <c:pt idx="90">
                  <c:v>0.99952511925288967</c:v>
                </c:pt>
                <c:pt idx="91">
                  <c:v>0.99959878729921103</c:v>
                </c:pt>
                <c:pt idx="92">
                  <c:v>0.99963118775345128</c:v>
                </c:pt>
                <c:pt idx="93">
                  <c:v>0.99965869948150543</c:v>
                </c:pt>
                <c:pt idx="94">
                  <c:v>0.99968604263279448</c:v>
                </c:pt>
                <c:pt idx="95">
                  <c:v>0.99973145721329559</c:v>
                </c:pt>
                <c:pt idx="96">
                  <c:v>0.99977238765184673</c:v>
                </c:pt>
                <c:pt idx="97">
                  <c:v>0.9999518881912584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Galbani</c:v>
                </c:pt>
                <c:pt idx="4">
                  <c:v>Soignon</c:v>
                </c:pt>
                <c:pt idx="5">
                  <c:v>Caprice Des Dieux</c:v>
                </c:pt>
                <c:pt idx="6">
                  <c:v>La Vache Qui Rit</c:v>
                </c:pt>
                <c:pt idx="7">
                  <c:v>Kiri</c:v>
                </c:pt>
                <c:pt idx="8">
                  <c:v>Boursin</c:v>
                </c:pt>
                <c:pt idx="9">
                  <c:v>Others</c:v>
                </c:pt>
              </c:strCache>
            </c:strRef>
          </c:cat>
          <c:val>
            <c:numRef>
              <c:f>Sheet1!$B$2:$B$11</c:f>
              <c:numCache>
                <c:formatCode>General</c:formatCode>
                <c:ptCount val="10"/>
                <c:pt idx="0">
                  <c:v>0.35106227055976408</c:v>
                </c:pt>
                <c:pt idx="1">
                  <c:v>4.1923945256104801E-2</c:v>
                </c:pt>
                <c:pt idx="2">
                  <c:v>3.971133301253936E-2</c:v>
                </c:pt>
                <c:pt idx="3">
                  <c:v>3.9061352055212523E-2</c:v>
                </c:pt>
                <c:pt idx="4">
                  <c:v>3.8733123501889101E-2</c:v>
                </c:pt>
                <c:pt idx="5">
                  <c:v>3.7533422473750591E-2</c:v>
                </c:pt>
                <c:pt idx="6">
                  <c:v>3.0380378094993221E-2</c:v>
                </c:pt>
                <c:pt idx="7">
                  <c:v>2.6281732703530139E-2</c:v>
                </c:pt>
                <c:pt idx="8">
                  <c:v>1.9492623580296922E-2</c:v>
                </c:pt>
                <c:pt idx="9">
                  <c:v>0.3758198187619192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Galbani</c:v>
                </c:pt>
                <c:pt idx="4">
                  <c:v>Soignon</c:v>
                </c:pt>
                <c:pt idx="5">
                  <c:v>Caprice Des Dieux</c:v>
                </c:pt>
                <c:pt idx="6">
                  <c:v>La Vache Qui Rit</c:v>
                </c:pt>
                <c:pt idx="7">
                  <c:v>Kiri</c:v>
                </c:pt>
                <c:pt idx="8">
                  <c:v>Boursin</c:v>
                </c:pt>
                <c:pt idx="9">
                  <c:v>Others</c:v>
                </c:pt>
              </c:strCache>
            </c:strRef>
          </c:cat>
          <c:val>
            <c:numRef>
              <c:f>Sheet1!$C$2:$C$11</c:f>
              <c:numCache>
                <c:formatCode>General</c:formatCode>
                <c:ptCount val="10"/>
                <c:pt idx="0">
                  <c:v>1.9839144218674977E-5</c:v>
                </c:pt>
                <c:pt idx="1">
                  <c:v>5.0887404920901325E-2</c:v>
                </c:pt>
                <c:pt idx="2">
                  <c:v>3.9360862129851154E-2</c:v>
                </c:pt>
                <c:pt idx="3">
                  <c:v>3.8412551036198492E-2</c:v>
                </c:pt>
                <c:pt idx="4">
                  <c:v>4.3535018073460365E-2</c:v>
                </c:pt>
                <c:pt idx="5">
                  <c:v>3.2774266249251061E-2</c:v>
                </c:pt>
                <c:pt idx="6">
                  <c:v>2.81755526193622E-2</c:v>
                </c:pt>
                <c:pt idx="7">
                  <c:v>3.162756371341164E-2</c:v>
                </c:pt>
                <c:pt idx="8">
                  <c:v>4.7046546600165835E-2</c:v>
                </c:pt>
                <c:pt idx="9">
                  <c:v>0.6881603955131787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Galbani</c:v>
                </c:pt>
                <c:pt idx="4">
                  <c:v>Soignon</c:v>
                </c:pt>
                <c:pt idx="5">
                  <c:v>Caprice Des Dieux</c:v>
                </c:pt>
                <c:pt idx="6">
                  <c:v>La Vache Qui Rit</c:v>
                </c:pt>
                <c:pt idx="7">
                  <c:v>Kiri</c:v>
                </c:pt>
                <c:pt idx="8">
                  <c:v>Boursin</c:v>
                </c:pt>
                <c:pt idx="9">
                  <c:v>Others</c:v>
                </c:pt>
              </c:strCache>
            </c:strRef>
          </c:cat>
          <c:val>
            <c:numRef>
              <c:f>Sheet1!$D$2:$D$11</c:f>
              <c:numCache>
                <c:formatCode>General</c:formatCode>
                <c:ptCount val="10"/>
                <c:pt idx="0">
                  <c:v>5.6511752707124373E-3</c:v>
                </c:pt>
                <c:pt idx="1">
                  <c:v>121.38028663581298</c:v>
                </c:pt>
                <c:pt idx="2">
                  <c:v>99.117453744054529</c:v>
                </c:pt>
                <c:pt idx="3">
                  <c:v>98.339020579479779</c:v>
                </c:pt>
                <c:pt idx="4">
                  <c:v>112.39738533180021</c:v>
                </c:pt>
                <c:pt idx="5">
                  <c:v>87.320217793013953</c:v>
                </c:pt>
                <c:pt idx="6">
                  <c:v>92.74260027726784</c:v>
                </c:pt>
                <c:pt idx="7">
                  <c:v>120.34048161962873</c:v>
                </c:pt>
                <c:pt idx="8">
                  <c:v>241.35564105244575</c:v>
                </c:pt>
                <c:pt idx="9">
                  <c:v>183.109128672409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0</c:f>
              <c:strCache>
                <c:ptCount val="79"/>
                <c:pt idx="0">
                  <c:v>St Moret</c:v>
                </c:pt>
                <c:pt idx="1">
                  <c:v>St Moret</c:v>
                </c:pt>
                <c:pt idx="2">
                  <c:v>Private Lab</c:v>
                </c:pt>
                <c:pt idx="3">
                  <c:v>St Moret</c:v>
                </c:pt>
                <c:pt idx="4">
                  <c:v>Tartare</c:v>
                </c:pt>
                <c:pt idx="5">
                  <c:v>St Moret</c:v>
                </c:pt>
                <c:pt idx="6">
                  <c:v>Paysan Bret</c:v>
                </c:pt>
                <c:pt idx="7">
                  <c:v>Paysan Bret</c:v>
                </c:pt>
                <c:pt idx="8">
                  <c:v>Carre Frais</c:v>
                </c:pt>
                <c:pt idx="9">
                  <c:v>St Moret</c:v>
                </c:pt>
                <c:pt idx="10">
                  <c:v>Carre Frais</c:v>
                </c:pt>
                <c:pt idx="11">
                  <c:v>Boursin</c:v>
                </c:pt>
                <c:pt idx="12">
                  <c:v>Boursin</c:v>
                </c:pt>
                <c:pt idx="13">
                  <c:v>Tartare</c:v>
                </c:pt>
                <c:pt idx="14">
                  <c:v>Private Lab</c:v>
                </c:pt>
                <c:pt idx="15">
                  <c:v>Boursin</c:v>
                </c:pt>
                <c:pt idx="16">
                  <c:v>St Moret</c:v>
                </c:pt>
                <c:pt idx="17">
                  <c:v>Philadelphi</c:v>
                </c:pt>
                <c:pt idx="18">
                  <c:v>Private Lab</c:v>
                </c:pt>
                <c:pt idx="19">
                  <c:v>St Moret</c:v>
                </c:pt>
                <c:pt idx="20">
                  <c:v>Private Lab</c:v>
                </c:pt>
                <c:pt idx="21">
                  <c:v>Philadelphi</c:v>
                </c:pt>
                <c:pt idx="22">
                  <c:v>Paysan Bret</c:v>
                </c:pt>
                <c:pt idx="23">
                  <c:v>Boursin</c:v>
                </c:pt>
                <c:pt idx="24">
                  <c:v>Tartare</c:v>
                </c:pt>
                <c:pt idx="25">
                  <c:v>Carre Frais</c:v>
                </c:pt>
                <c:pt idx="26">
                  <c:v>Paysan Bret</c:v>
                </c:pt>
                <c:pt idx="27">
                  <c:v>Paysan Bret</c:v>
                </c:pt>
                <c:pt idx="28">
                  <c:v>Private Lab</c:v>
                </c:pt>
                <c:pt idx="29">
                  <c:v>Paysan Bret</c:v>
                </c:pt>
                <c:pt idx="30">
                  <c:v>St Moret</c:v>
                </c:pt>
                <c:pt idx="31">
                  <c:v>Boursin</c:v>
                </c:pt>
                <c:pt idx="32">
                  <c:v>Boursin</c:v>
                </c:pt>
                <c:pt idx="33">
                  <c:v>Paysan Bret</c:v>
                </c:pt>
                <c:pt idx="34">
                  <c:v>Boursin</c:v>
                </c:pt>
                <c:pt idx="35">
                  <c:v>Tartare</c:v>
                </c:pt>
                <c:pt idx="36">
                  <c:v>Kiri</c:v>
                </c:pt>
                <c:pt idx="37">
                  <c:v>Tartare</c:v>
                </c:pt>
                <c:pt idx="38">
                  <c:v>Boursin</c:v>
                </c:pt>
                <c:pt idx="39">
                  <c:v>Boursin</c:v>
                </c:pt>
                <c:pt idx="40">
                  <c:v>St Moret</c:v>
                </c:pt>
                <c:pt idx="41">
                  <c:v>Savencia: A</c:v>
                </c:pt>
                <c:pt idx="42">
                  <c:v>Boursin</c:v>
                </c:pt>
                <c:pt idx="43">
                  <c:v>Saint Agur</c:v>
                </c:pt>
                <c:pt idx="44">
                  <c:v>Paysan Bret</c:v>
                </c:pt>
                <c:pt idx="45">
                  <c:v>Tartare</c:v>
                </c:pt>
                <c:pt idx="46">
                  <c:v>Tartare</c:v>
                </c:pt>
                <c:pt idx="47">
                  <c:v>Paysan Bret</c:v>
                </c:pt>
                <c:pt idx="48">
                  <c:v>Paysan Bret</c:v>
                </c:pt>
                <c:pt idx="49">
                  <c:v>Carre Frais</c:v>
                </c:pt>
                <c:pt idx="50">
                  <c:v>Lactalis: A</c:v>
                </c:pt>
                <c:pt idx="51">
                  <c:v>All Others</c:v>
                </c:pt>
                <c:pt idx="52">
                  <c:v>Tartare</c:v>
                </c:pt>
                <c:pt idx="53">
                  <c:v>All Others</c:v>
                </c:pt>
                <c:pt idx="54">
                  <c:v>All Others</c:v>
                </c:pt>
                <c:pt idx="55">
                  <c:v>Paysan Bret</c:v>
                </c:pt>
                <c:pt idx="56">
                  <c:v>All Others</c:v>
                </c:pt>
                <c:pt idx="57">
                  <c:v>All Others</c:v>
                </c:pt>
                <c:pt idx="58">
                  <c:v>All Others</c:v>
                </c:pt>
                <c:pt idx="59">
                  <c:v>All Others</c:v>
                </c:pt>
                <c:pt idx="60">
                  <c:v>All Others</c:v>
                </c:pt>
                <c:pt idx="61">
                  <c:v>All Others</c:v>
                </c:pt>
                <c:pt idx="62">
                  <c:v>All Others</c:v>
                </c:pt>
                <c:pt idx="63">
                  <c:v>All Others</c:v>
                </c:pt>
                <c:pt idx="64">
                  <c:v>All Others</c:v>
                </c:pt>
                <c:pt idx="65">
                  <c:v>All Others</c:v>
                </c:pt>
                <c:pt idx="66">
                  <c:v>Other Suppl</c:v>
                </c:pt>
                <c:pt idx="67">
                  <c:v>All Others</c:v>
                </c:pt>
                <c:pt idx="68">
                  <c:v>All Others</c:v>
                </c:pt>
                <c:pt idx="69">
                  <c:v>Kiri</c:v>
                </c:pt>
                <c:pt idx="70">
                  <c:v>All Others</c:v>
                </c:pt>
                <c:pt idx="71">
                  <c:v>All Others</c:v>
                </c:pt>
                <c:pt idx="72">
                  <c:v>All Others</c:v>
                </c:pt>
                <c:pt idx="73">
                  <c:v>Boursin</c:v>
                </c:pt>
                <c:pt idx="74">
                  <c:v>All Others</c:v>
                </c:pt>
                <c:pt idx="75">
                  <c:v>All Others</c:v>
                </c:pt>
                <c:pt idx="76">
                  <c:v>All Others</c:v>
                </c:pt>
                <c:pt idx="77">
                  <c:v>All Others</c:v>
                </c:pt>
                <c:pt idx="78">
                  <c:v>Saint Agur</c:v>
                </c:pt>
              </c:strCache>
            </c:strRef>
          </c:cat>
          <c:val>
            <c:numRef>
              <c:f>Sheet1!$B$2:$B$80</c:f>
              <c:numCache>
                <c:formatCode>General</c:formatCode>
                <c:ptCount val="79"/>
                <c:pt idx="0">
                  <c:v>0.95399999999999996</c:v>
                </c:pt>
                <c:pt idx="1">
                  <c:v>0.97699999999999998</c:v>
                </c:pt>
                <c:pt idx="2">
                  <c:v>0.998</c:v>
                </c:pt>
                <c:pt idx="3">
                  <c:v>0.998</c:v>
                </c:pt>
                <c:pt idx="4">
                  <c:v>0.98299999999999998</c:v>
                </c:pt>
                <c:pt idx="5">
                  <c:v>0.995</c:v>
                </c:pt>
                <c:pt idx="6">
                  <c:v>0.98299999999999998</c:v>
                </c:pt>
                <c:pt idx="7">
                  <c:v>0.84599999999999997</c:v>
                </c:pt>
                <c:pt idx="8">
                  <c:v>0.98</c:v>
                </c:pt>
                <c:pt idx="9">
                  <c:v>0.85199999999999998</c:v>
                </c:pt>
                <c:pt idx="10">
                  <c:v>0.94499999999999995</c:v>
                </c:pt>
                <c:pt idx="11">
                  <c:v>0.96099999999999997</c:v>
                </c:pt>
                <c:pt idx="12">
                  <c:v>0.97899999999999998</c:v>
                </c:pt>
                <c:pt idx="13">
                  <c:v>0.94899999999999995</c:v>
                </c:pt>
                <c:pt idx="14">
                  <c:v>0.98799999999999999</c:v>
                </c:pt>
                <c:pt idx="15">
                  <c:v>0.99399999999999999</c:v>
                </c:pt>
                <c:pt idx="16">
                  <c:v>0.94599999999999995</c:v>
                </c:pt>
                <c:pt idx="17">
                  <c:v>0.69299999999999995</c:v>
                </c:pt>
                <c:pt idx="18">
                  <c:v>0.92300000000000004</c:v>
                </c:pt>
                <c:pt idx="19">
                  <c:v>0.876</c:v>
                </c:pt>
                <c:pt idx="20">
                  <c:v>0.93</c:v>
                </c:pt>
                <c:pt idx="21">
                  <c:v>0.752</c:v>
                </c:pt>
                <c:pt idx="22">
                  <c:v>0.69199999999999995</c:v>
                </c:pt>
                <c:pt idx="23">
                  <c:v>0.95399999999999996</c:v>
                </c:pt>
                <c:pt idx="24">
                  <c:v>0.80300000000000005</c:v>
                </c:pt>
                <c:pt idx="25">
                  <c:v>0.752</c:v>
                </c:pt>
                <c:pt idx="26">
                  <c:v>0.65</c:v>
                </c:pt>
                <c:pt idx="27">
                  <c:v>0.42</c:v>
                </c:pt>
                <c:pt idx="28">
                  <c:v>0.78200000000000003</c:v>
                </c:pt>
                <c:pt idx="29">
                  <c:v>0.51300000000000001</c:v>
                </c:pt>
                <c:pt idx="30">
                  <c:v>0.25600000000000001</c:v>
                </c:pt>
                <c:pt idx="31">
                  <c:v>0.88200000000000001</c:v>
                </c:pt>
                <c:pt idx="32">
                  <c:v>0.93899999999999995</c:v>
                </c:pt>
                <c:pt idx="33">
                  <c:v>0.55100000000000005</c:v>
                </c:pt>
                <c:pt idx="34">
                  <c:v>0.94499999999999995</c:v>
                </c:pt>
                <c:pt idx="35">
                  <c:v>0.77</c:v>
                </c:pt>
                <c:pt idx="36">
                  <c:v>0.83499999999999996</c:v>
                </c:pt>
                <c:pt idx="37">
                  <c:v>0.75800000000000001</c:v>
                </c:pt>
                <c:pt idx="38">
                  <c:v>0.84199999999999997</c:v>
                </c:pt>
                <c:pt idx="39">
                  <c:v>0.79500000000000004</c:v>
                </c:pt>
                <c:pt idx="40">
                  <c:v>0.65700000000000003</c:v>
                </c:pt>
                <c:pt idx="41">
                  <c:v>0.47599999999999998</c:v>
                </c:pt>
                <c:pt idx="42">
                  <c:v>0.80200000000000005</c:v>
                </c:pt>
                <c:pt idx="43">
                  <c:v>0.67100000000000004</c:v>
                </c:pt>
                <c:pt idx="44">
                  <c:v>0.50700000000000001</c:v>
                </c:pt>
                <c:pt idx="45">
                  <c:v>0.53300000000000003</c:v>
                </c:pt>
                <c:pt idx="46">
                  <c:v>0.56200000000000006</c:v>
                </c:pt>
                <c:pt idx="47">
                  <c:v>0.47299999999999998</c:v>
                </c:pt>
                <c:pt idx="48">
                  <c:v>0.185</c:v>
                </c:pt>
                <c:pt idx="49">
                  <c:v>0.28399999999999997</c:v>
                </c:pt>
                <c:pt idx="50">
                  <c:v>0.32</c:v>
                </c:pt>
                <c:pt idx="51">
                  <c:v>4.9000000000000002E-2</c:v>
                </c:pt>
                <c:pt idx="52">
                  <c:v>0.157</c:v>
                </c:pt>
                <c:pt idx="53">
                  <c:v>0.188</c:v>
                </c:pt>
                <c:pt idx="54">
                  <c:v>0.122</c:v>
                </c:pt>
                <c:pt idx="55">
                  <c:v>0.13200000000000001</c:v>
                </c:pt>
                <c:pt idx="56">
                  <c:v>0.12</c:v>
                </c:pt>
                <c:pt idx="57">
                  <c:v>3.7999999999999999E-2</c:v>
                </c:pt>
                <c:pt idx="58">
                  <c:v>2.1000000000000001E-2</c:v>
                </c:pt>
                <c:pt idx="59">
                  <c:v>2.1000000000000001E-2</c:v>
                </c:pt>
                <c:pt idx="60">
                  <c:v>2.3E-2</c:v>
                </c:pt>
                <c:pt idx="61">
                  <c:v>8.9999999999999993E-3</c:v>
                </c:pt>
                <c:pt idx="62">
                  <c:v>2.4E-2</c:v>
                </c:pt>
                <c:pt idx="63">
                  <c:v>2.1000000000000001E-2</c:v>
                </c:pt>
                <c:pt idx="64">
                  <c:v>0.02</c:v>
                </c:pt>
                <c:pt idx="65">
                  <c:v>8.9999999999999993E-3</c:v>
                </c:pt>
                <c:pt idx="66">
                  <c:v>2.8000000000000001E-2</c:v>
                </c:pt>
                <c:pt idx="67">
                  <c:v>2.1000000000000001E-2</c:v>
                </c:pt>
                <c:pt idx="68">
                  <c:v>1.0999999999999999E-2</c:v>
                </c:pt>
                <c:pt idx="69">
                  <c:v>9.4E-2</c:v>
                </c:pt>
                <c:pt idx="70">
                  <c:v>8.0000000000000002E-3</c:v>
                </c:pt>
                <c:pt idx="71">
                  <c:v>1.0999999999999999E-2</c:v>
                </c:pt>
                <c:pt idx="72">
                  <c:v>8.9999999999999993E-3</c:v>
                </c:pt>
                <c:pt idx="73">
                  <c:v>6.5000000000000002E-2</c:v>
                </c:pt>
                <c:pt idx="74">
                  <c:v>0.01</c:v>
                </c:pt>
                <c:pt idx="75">
                  <c:v>0.01</c:v>
                </c:pt>
                <c:pt idx="76">
                  <c:v>0.01</c:v>
                </c:pt>
                <c:pt idx="77">
                  <c:v>8.0000000000000002E-3</c:v>
                </c:pt>
                <c:pt idx="78">
                  <c:v>8.0000000000000002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0</c:f>
              <c:strCache>
                <c:ptCount val="79"/>
                <c:pt idx="0">
                  <c:v>St Moret</c:v>
                </c:pt>
                <c:pt idx="1">
                  <c:v>St Moret</c:v>
                </c:pt>
                <c:pt idx="2">
                  <c:v>Private Lab</c:v>
                </c:pt>
                <c:pt idx="3">
                  <c:v>St Moret</c:v>
                </c:pt>
                <c:pt idx="4">
                  <c:v>Tartare</c:v>
                </c:pt>
                <c:pt idx="5">
                  <c:v>St Moret</c:v>
                </c:pt>
                <c:pt idx="6">
                  <c:v>Paysan Bret</c:v>
                </c:pt>
                <c:pt idx="7">
                  <c:v>Paysan Bret</c:v>
                </c:pt>
                <c:pt idx="8">
                  <c:v>Carre Frais</c:v>
                </c:pt>
                <c:pt idx="9">
                  <c:v>St Moret</c:v>
                </c:pt>
                <c:pt idx="10">
                  <c:v>Carre Frais</c:v>
                </c:pt>
                <c:pt idx="11">
                  <c:v>Boursin</c:v>
                </c:pt>
                <c:pt idx="12">
                  <c:v>Boursin</c:v>
                </c:pt>
                <c:pt idx="13">
                  <c:v>Tartare</c:v>
                </c:pt>
                <c:pt idx="14">
                  <c:v>Private Lab</c:v>
                </c:pt>
                <c:pt idx="15">
                  <c:v>Boursin</c:v>
                </c:pt>
                <c:pt idx="16">
                  <c:v>St Moret</c:v>
                </c:pt>
                <c:pt idx="17">
                  <c:v>Philadelphi</c:v>
                </c:pt>
                <c:pt idx="18">
                  <c:v>Private Lab</c:v>
                </c:pt>
                <c:pt idx="19">
                  <c:v>St Moret</c:v>
                </c:pt>
                <c:pt idx="20">
                  <c:v>Private Lab</c:v>
                </c:pt>
                <c:pt idx="21">
                  <c:v>Philadelphi</c:v>
                </c:pt>
                <c:pt idx="22">
                  <c:v>Paysan Bret</c:v>
                </c:pt>
                <c:pt idx="23">
                  <c:v>Boursin</c:v>
                </c:pt>
                <c:pt idx="24">
                  <c:v>Tartare</c:v>
                </c:pt>
                <c:pt idx="25">
                  <c:v>Carre Frais</c:v>
                </c:pt>
                <c:pt idx="26">
                  <c:v>Paysan Bret</c:v>
                </c:pt>
                <c:pt idx="27">
                  <c:v>Paysan Bret</c:v>
                </c:pt>
                <c:pt idx="28">
                  <c:v>Private Lab</c:v>
                </c:pt>
                <c:pt idx="29">
                  <c:v>Paysan Bret</c:v>
                </c:pt>
                <c:pt idx="30">
                  <c:v>St Moret</c:v>
                </c:pt>
                <c:pt idx="31">
                  <c:v>Boursin</c:v>
                </c:pt>
                <c:pt idx="32">
                  <c:v>Boursin</c:v>
                </c:pt>
                <c:pt idx="33">
                  <c:v>Paysan Bret</c:v>
                </c:pt>
                <c:pt idx="34">
                  <c:v>Boursin</c:v>
                </c:pt>
                <c:pt idx="35">
                  <c:v>Tartare</c:v>
                </c:pt>
                <c:pt idx="36">
                  <c:v>Kiri</c:v>
                </c:pt>
                <c:pt idx="37">
                  <c:v>Tartare</c:v>
                </c:pt>
                <c:pt idx="38">
                  <c:v>Boursin</c:v>
                </c:pt>
                <c:pt idx="39">
                  <c:v>Boursin</c:v>
                </c:pt>
                <c:pt idx="40">
                  <c:v>St Moret</c:v>
                </c:pt>
                <c:pt idx="41">
                  <c:v>Savencia: A</c:v>
                </c:pt>
                <c:pt idx="42">
                  <c:v>Boursin</c:v>
                </c:pt>
                <c:pt idx="43">
                  <c:v>Saint Agur</c:v>
                </c:pt>
                <c:pt idx="44">
                  <c:v>Paysan Bret</c:v>
                </c:pt>
                <c:pt idx="45">
                  <c:v>Tartare</c:v>
                </c:pt>
                <c:pt idx="46">
                  <c:v>Tartare</c:v>
                </c:pt>
                <c:pt idx="47">
                  <c:v>Paysan Bret</c:v>
                </c:pt>
                <c:pt idx="48">
                  <c:v>Paysan Bret</c:v>
                </c:pt>
                <c:pt idx="49">
                  <c:v>Carre Frais</c:v>
                </c:pt>
                <c:pt idx="50">
                  <c:v>Lactalis: A</c:v>
                </c:pt>
                <c:pt idx="51">
                  <c:v>All Others</c:v>
                </c:pt>
                <c:pt idx="52">
                  <c:v>Tartare</c:v>
                </c:pt>
                <c:pt idx="53">
                  <c:v>All Others</c:v>
                </c:pt>
                <c:pt idx="54">
                  <c:v>All Others</c:v>
                </c:pt>
                <c:pt idx="55">
                  <c:v>Paysan Bret</c:v>
                </c:pt>
                <c:pt idx="56">
                  <c:v>All Others</c:v>
                </c:pt>
                <c:pt idx="57">
                  <c:v>All Others</c:v>
                </c:pt>
                <c:pt idx="58">
                  <c:v>All Others</c:v>
                </c:pt>
                <c:pt idx="59">
                  <c:v>All Others</c:v>
                </c:pt>
                <c:pt idx="60">
                  <c:v>All Others</c:v>
                </c:pt>
                <c:pt idx="61">
                  <c:v>All Others</c:v>
                </c:pt>
                <c:pt idx="62">
                  <c:v>All Others</c:v>
                </c:pt>
                <c:pt idx="63">
                  <c:v>All Others</c:v>
                </c:pt>
                <c:pt idx="64">
                  <c:v>All Others</c:v>
                </c:pt>
                <c:pt idx="65">
                  <c:v>All Others</c:v>
                </c:pt>
                <c:pt idx="66">
                  <c:v>Other Suppl</c:v>
                </c:pt>
                <c:pt idx="67">
                  <c:v>All Others</c:v>
                </c:pt>
                <c:pt idx="68">
                  <c:v>All Others</c:v>
                </c:pt>
                <c:pt idx="69">
                  <c:v>Kiri</c:v>
                </c:pt>
                <c:pt idx="70">
                  <c:v>All Others</c:v>
                </c:pt>
                <c:pt idx="71">
                  <c:v>All Others</c:v>
                </c:pt>
                <c:pt idx="72">
                  <c:v>All Others</c:v>
                </c:pt>
                <c:pt idx="73">
                  <c:v>Boursin</c:v>
                </c:pt>
                <c:pt idx="74">
                  <c:v>All Others</c:v>
                </c:pt>
                <c:pt idx="75">
                  <c:v>All Others</c:v>
                </c:pt>
                <c:pt idx="76">
                  <c:v>All Others</c:v>
                </c:pt>
                <c:pt idx="77">
                  <c:v>All Others</c:v>
                </c:pt>
                <c:pt idx="78">
                  <c:v>Saint Agur</c:v>
                </c:pt>
              </c:strCache>
            </c:strRef>
          </c:cat>
          <c:val>
            <c:numRef>
              <c:f>Sheet1!$C$2:$C$80</c:f>
              <c:numCache>
                <c:formatCode>General</c:formatCode>
                <c:ptCount val="79"/>
                <c:pt idx="0">
                  <c:v>7.2599537803512179E-2</c:v>
                </c:pt>
                <c:pt idx="1">
                  <c:v>0.14278077729485206</c:v>
                </c:pt>
                <c:pt idx="2">
                  <c:v>0.21244451493497368</c:v>
                </c:pt>
                <c:pt idx="3">
                  <c:v>0.27248417129727021</c:v>
                </c:pt>
                <c:pt idx="4">
                  <c:v>0.32601485963495669</c:v>
                </c:pt>
                <c:pt idx="5">
                  <c:v>0.37439489117385621</c:v>
                </c:pt>
                <c:pt idx="6">
                  <c:v>0.41369317125243227</c:v>
                </c:pt>
                <c:pt idx="7">
                  <c:v>0.45223697644948901</c:v>
                </c:pt>
                <c:pt idx="8">
                  <c:v>0.48245937208324829</c:v>
                </c:pt>
                <c:pt idx="9">
                  <c:v>0.51135819233133684</c:v>
                </c:pt>
                <c:pt idx="10">
                  <c:v>0.53941558153430313</c:v>
                </c:pt>
                <c:pt idx="11">
                  <c:v>0.56719275275161096</c:v>
                </c:pt>
                <c:pt idx="12">
                  <c:v>0.59394642117105179</c:v>
                </c:pt>
                <c:pt idx="13">
                  <c:v>0.61928330248163888</c:v>
                </c:pt>
                <c:pt idx="14">
                  <c:v>0.64452949760551959</c:v>
                </c:pt>
                <c:pt idx="15">
                  <c:v>0.66739823039933099</c:v>
                </c:pt>
                <c:pt idx="16">
                  <c:v>0.68805649710577421</c:v>
                </c:pt>
                <c:pt idx="17">
                  <c:v>0.70827928361487125</c:v>
                </c:pt>
                <c:pt idx="18">
                  <c:v>0.72825305222739511</c:v>
                </c:pt>
                <c:pt idx="19">
                  <c:v>0.74690825767279367</c:v>
                </c:pt>
                <c:pt idx="20">
                  <c:v>0.76439821944238817</c:v>
                </c:pt>
                <c:pt idx="21">
                  <c:v>0.77958656268502002</c:v>
                </c:pt>
                <c:pt idx="22">
                  <c:v>0.79250996596120815</c:v>
                </c:pt>
                <c:pt idx="23">
                  <c:v>0.80521360870954206</c:v>
                </c:pt>
                <c:pt idx="24">
                  <c:v>0.81790676076789703</c:v>
                </c:pt>
                <c:pt idx="25">
                  <c:v>0.82977530573950342</c:v>
                </c:pt>
                <c:pt idx="26">
                  <c:v>0.84062143583664795</c:v>
                </c:pt>
                <c:pt idx="27">
                  <c:v>0.8514373760592977</c:v>
                </c:pt>
                <c:pt idx="28">
                  <c:v>0.86196144197409019</c:v>
                </c:pt>
                <c:pt idx="29">
                  <c:v>0.87227134239568382</c:v>
                </c:pt>
                <c:pt idx="30">
                  <c:v>0.88175115725909547</c:v>
                </c:pt>
                <c:pt idx="31">
                  <c:v>0.89117020382944412</c:v>
                </c:pt>
                <c:pt idx="32">
                  <c:v>0.90049145385654505</c:v>
                </c:pt>
                <c:pt idx="33">
                  <c:v>0.90866098154159247</c:v>
                </c:pt>
                <c:pt idx="34">
                  <c:v>0.91682825567101478</c:v>
                </c:pt>
                <c:pt idx="35">
                  <c:v>0.92479527418506213</c:v>
                </c:pt>
                <c:pt idx="36">
                  <c:v>0.9315313462205117</c:v>
                </c:pt>
                <c:pt idx="37">
                  <c:v>0.93799372781073398</c:v>
                </c:pt>
                <c:pt idx="38">
                  <c:v>0.94430710274884866</c:v>
                </c:pt>
                <c:pt idx="39">
                  <c:v>0.9506113857556483</c:v>
                </c:pt>
                <c:pt idx="40">
                  <c:v>0.95667543196193117</c:v>
                </c:pt>
                <c:pt idx="41">
                  <c:v>0.96243579212052865</c:v>
                </c:pt>
                <c:pt idx="42">
                  <c:v>0.96756927527127601</c:v>
                </c:pt>
                <c:pt idx="43">
                  <c:v>0.97258728312344089</c:v>
                </c:pt>
                <c:pt idx="44">
                  <c:v>0.97719141382873465</c:v>
                </c:pt>
                <c:pt idx="45">
                  <c:v>0.98172424669657921</c:v>
                </c:pt>
                <c:pt idx="46">
                  <c:v>0.98572135499616809</c:v>
                </c:pt>
                <c:pt idx="47">
                  <c:v>0.98933590280119321</c:v>
                </c:pt>
                <c:pt idx="48">
                  <c:v>0.99245474607751183</c:v>
                </c:pt>
                <c:pt idx="49">
                  <c:v>0.99432041815424022</c:v>
                </c:pt>
                <c:pt idx="50">
                  <c:v>0.99541937621114063</c:v>
                </c:pt>
                <c:pt idx="51">
                  <c:v>0.99635611711744143</c:v>
                </c:pt>
                <c:pt idx="52">
                  <c:v>0.99685065601392808</c:v>
                </c:pt>
                <c:pt idx="53">
                  <c:v>0.99728077430306283</c:v>
                </c:pt>
                <c:pt idx="54">
                  <c:v>0.99768217918518132</c:v>
                </c:pt>
                <c:pt idx="55">
                  <c:v>0.99807441442717004</c:v>
                </c:pt>
                <c:pt idx="56">
                  <c:v>0.99840199593536294</c:v>
                </c:pt>
                <c:pt idx="57">
                  <c:v>0.9986788335875838</c:v>
                </c:pt>
                <c:pt idx="58">
                  <c:v>0.99887058008775365</c:v>
                </c:pt>
                <c:pt idx="59">
                  <c:v>0.99904153948000229</c:v>
                </c:pt>
                <c:pt idx="60">
                  <c:v>0.99919746221661454</c:v>
                </c:pt>
                <c:pt idx="61">
                  <c:v>0.99931534648845144</c:v>
                </c:pt>
                <c:pt idx="62">
                  <c:v>0.99942375028490005</c:v>
                </c:pt>
                <c:pt idx="63">
                  <c:v>0.99952453861751211</c:v>
                </c:pt>
                <c:pt idx="64">
                  <c:v>0.99962256828720375</c:v>
                </c:pt>
                <c:pt idx="65">
                  <c:v>0.99969017495595669</c:v>
                </c:pt>
                <c:pt idx="66">
                  <c:v>0.99975750964385823</c:v>
                </c:pt>
                <c:pt idx="67">
                  <c:v>0.99981365426244895</c:v>
                </c:pt>
                <c:pt idx="68">
                  <c:v>0.99984427153542443</c:v>
                </c:pt>
                <c:pt idx="69">
                  <c:v>0.9998729849424407</c:v>
                </c:pt>
                <c:pt idx="70">
                  <c:v>0.99990084355249575</c:v>
                </c:pt>
                <c:pt idx="71">
                  <c:v>0.99992574922759381</c:v>
                </c:pt>
                <c:pt idx="72">
                  <c:v>0.99994315600207728</c:v>
                </c:pt>
                <c:pt idx="73">
                  <c:v>0.99996013537808015</c:v>
                </c:pt>
                <c:pt idx="74">
                  <c:v>0.9999743560911627</c:v>
                </c:pt>
                <c:pt idx="75">
                  <c:v>0.99998667293828603</c:v>
                </c:pt>
                <c:pt idx="76">
                  <c:v>0.99999273422582935</c:v>
                </c:pt>
                <c:pt idx="77">
                  <c:v>0.99999514319908378</c:v>
                </c:pt>
                <c:pt idx="78">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5</c:f>
              <c:strCache>
                <c:ptCount val="94"/>
                <c:pt idx="0">
                  <c:v>Tartare</c:v>
                </c:pt>
                <c:pt idx="1">
                  <c:v>St Moret</c:v>
                </c:pt>
                <c:pt idx="2">
                  <c:v>St Moret</c:v>
                </c:pt>
                <c:pt idx="3">
                  <c:v>St Moret</c:v>
                </c:pt>
                <c:pt idx="4">
                  <c:v>Paysan Bret</c:v>
                </c:pt>
                <c:pt idx="5">
                  <c:v>St Moret</c:v>
                </c:pt>
                <c:pt idx="6">
                  <c:v>St Moret</c:v>
                </c:pt>
                <c:pt idx="7">
                  <c:v>Carre Frais</c:v>
                </c:pt>
                <c:pt idx="8">
                  <c:v>Carre Frais</c:v>
                </c:pt>
                <c:pt idx="9">
                  <c:v>Paysan Bret</c:v>
                </c:pt>
                <c:pt idx="10">
                  <c:v>Paysan Bret</c:v>
                </c:pt>
                <c:pt idx="11">
                  <c:v>St Moret</c:v>
                </c:pt>
                <c:pt idx="12">
                  <c:v>Philadelphi</c:v>
                </c:pt>
                <c:pt idx="13">
                  <c:v>St Moret</c:v>
                </c:pt>
                <c:pt idx="14">
                  <c:v>Boursin</c:v>
                </c:pt>
                <c:pt idx="15">
                  <c:v>Tartare</c:v>
                </c:pt>
                <c:pt idx="16">
                  <c:v>Carre Frais</c:v>
                </c:pt>
                <c:pt idx="17">
                  <c:v>St Moret</c:v>
                </c:pt>
                <c:pt idx="18">
                  <c:v>Boursin</c:v>
                </c:pt>
                <c:pt idx="19">
                  <c:v>Philadelphi</c:v>
                </c:pt>
                <c:pt idx="20">
                  <c:v>Boursin</c:v>
                </c:pt>
                <c:pt idx="21">
                  <c:v>Philadelphi</c:v>
                </c:pt>
                <c:pt idx="22">
                  <c:v>All Others</c:v>
                </c:pt>
                <c:pt idx="23">
                  <c:v>St Moret</c:v>
                </c:pt>
                <c:pt idx="24">
                  <c:v>Paysan Bret</c:v>
                </c:pt>
                <c:pt idx="25">
                  <c:v>Paysan Bret</c:v>
                </c:pt>
                <c:pt idx="26">
                  <c:v>Paysan Bret</c:v>
                </c:pt>
                <c:pt idx="27">
                  <c:v>Tartare</c:v>
                </c:pt>
                <c:pt idx="28">
                  <c:v>Paysan Bret</c:v>
                </c:pt>
                <c:pt idx="29">
                  <c:v>Savencia: A</c:v>
                </c:pt>
                <c:pt idx="30">
                  <c:v>Rondele</c:v>
                </c:pt>
                <c:pt idx="31">
                  <c:v>Boursin</c:v>
                </c:pt>
                <c:pt idx="32">
                  <c:v>Kiri</c:v>
                </c:pt>
                <c:pt idx="33">
                  <c:v>Paysan Bret</c:v>
                </c:pt>
                <c:pt idx="34">
                  <c:v>Boursin</c:v>
                </c:pt>
                <c:pt idx="35">
                  <c:v>Boursin</c:v>
                </c:pt>
                <c:pt idx="36">
                  <c:v>Boursin</c:v>
                </c:pt>
                <c:pt idx="37">
                  <c:v>St Moret</c:v>
                </c:pt>
                <c:pt idx="38">
                  <c:v>Tartare</c:v>
                </c:pt>
                <c:pt idx="39">
                  <c:v>Rondele</c:v>
                </c:pt>
                <c:pt idx="40">
                  <c:v>Tartare</c:v>
                </c:pt>
                <c:pt idx="41">
                  <c:v>Lactalis: A</c:v>
                </c:pt>
                <c:pt idx="42">
                  <c:v>Tartare</c:v>
                </c:pt>
                <c:pt idx="43">
                  <c:v>Philadelphi</c:v>
                </c:pt>
                <c:pt idx="44">
                  <c:v>Paysan Bret</c:v>
                </c:pt>
                <c:pt idx="45">
                  <c:v>Boursin</c:v>
                </c:pt>
                <c:pt idx="46">
                  <c:v>Kiri</c:v>
                </c:pt>
                <c:pt idx="47">
                  <c:v>Tartare</c:v>
                </c:pt>
                <c:pt idx="48">
                  <c:v>President</c:v>
                </c:pt>
                <c:pt idx="49">
                  <c:v>Paysan Bret</c:v>
                </c:pt>
                <c:pt idx="50">
                  <c:v>St Moret</c:v>
                </c:pt>
                <c:pt idx="51">
                  <c:v>Boursin</c:v>
                </c:pt>
                <c:pt idx="52">
                  <c:v>Saint Agur</c:v>
                </c:pt>
                <c:pt idx="53">
                  <c:v>All Others</c:v>
                </c:pt>
                <c:pt idx="54">
                  <c:v>Boursin</c:v>
                </c:pt>
                <c:pt idx="55">
                  <c:v>Triballat R</c:v>
                </c:pt>
                <c:pt idx="56">
                  <c:v>All Others</c:v>
                </c:pt>
                <c:pt idx="57">
                  <c:v>St Moret</c:v>
                </c:pt>
                <c:pt idx="58">
                  <c:v>Boursin</c:v>
                </c:pt>
                <c:pt idx="59">
                  <c:v>Saint Agur</c:v>
                </c:pt>
                <c:pt idx="60">
                  <c:v>Lactalis: A</c:v>
                </c:pt>
                <c:pt idx="61">
                  <c:v>Tartare</c:v>
                </c:pt>
                <c:pt idx="62">
                  <c:v>Philadelphi</c:v>
                </c:pt>
                <c:pt idx="63">
                  <c:v>Boursin</c:v>
                </c:pt>
                <c:pt idx="64">
                  <c:v>Tartare</c:v>
                </c:pt>
                <c:pt idx="65">
                  <c:v>Boursin</c:v>
                </c:pt>
                <c:pt idx="66">
                  <c:v>Lactalis: A</c:v>
                </c:pt>
                <c:pt idx="67">
                  <c:v>Boursin</c:v>
                </c:pt>
                <c:pt idx="68">
                  <c:v>Tartare</c:v>
                </c:pt>
                <c:pt idx="69">
                  <c:v>All Others</c:v>
                </c:pt>
                <c:pt idx="70">
                  <c:v>Tartare</c:v>
                </c:pt>
                <c:pt idx="71">
                  <c:v>All Others</c:v>
                </c:pt>
                <c:pt idx="72">
                  <c:v>All Others</c:v>
                </c:pt>
                <c:pt idx="73">
                  <c:v>All Others</c:v>
                </c:pt>
                <c:pt idx="74">
                  <c:v>All Others</c:v>
                </c:pt>
                <c:pt idx="75">
                  <c:v>All Others</c:v>
                </c:pt>
                <c:pt idx="76">
                  <c:v>All Others</c:v>
                </c:pt>
                <c:pt idx="77">
                  <c:v>All Others</c:v>
                </c:pt>
                <c:pt idx="78">
                  <c:v>All Others</c:v>
                </c:pt>
                <c:pt idx="79">
                  <c:v>All Others</c:v>
                </c:pt>
                <c:pt idx="80">
                  <c:v>Kiri</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President</c:v>
                </c:pt>
                <c:pt idx="91">
                  <c:v>All Others</c:v>
                </c:pt>
                <c:pt idx="92">
                  <c:v>All Others</c:v>
                </c:pt>
                <c:pt idx="93">
                  <c:v>All Others</c:v>
                </c:pt>
              </c:strCache>
            </c:strRef>
          </c:cat>
          <c:val>
            <c:numRef>
              <c:f>Sheet1!$B$2:$B$95</c:f>
              <c:numCache>
                <c:formatCode>General</c:formatCode>
                <c:ptCount val="94"/>
                <c:pt idx="0">
                  <c:v>1</c:v>
                </c:pt>
                <c:pt idx="1">
                  <c:v>1</c:v>
                </c:pt>
                <c:pt idx="2">
                  <c:v>1</c:v>
                </c:pt>
                <c:pt idx="3">
                  <c:v>1</c:v>
                </c:pt>
                <c:pt idx="4">
                  <c:v>1</c:v>
                </c:pt>
                <c:pt idx="5">
                  <c:v>0.99</c:v>
                </c:pt>
                <c:pt idx="6">
                  <c:v>1</c:v>
                </c:pt>
                <c:pt idx="7">
                  <c:v>1</c:v>
                </c:pt>
                <c:pt idx="8">
                  <c:v>1</c:v>
                </c:pt>
                <c:pt idx="9">
                  <c:v>1</c:v>
                </c:pt>
                <c:pt idx="10">
                  <c:v>0.99</c:v>
                </c:pt>
                <c:pt idx="11">
                  <c:v>0.99</c:v>
                </c:pt>
                <c:pt idx="12">
                  <c:v>1</c:v>
                </c:pt>
                <c:pt idx="13">
                  <c:v>1</c:v>
                </c:pt>
                <c:pt idx="14">
                  <c:v>1</c:v>
                </c:pt>
                <c:pt idx="15">
                  <c:v>1</c:v>
                </c:pt>
                <c:pt idx="16">
                  <c:v>1</c:v>
                </c:pt>
                <c:pt idx="17">
                  <c:v>1</c:v>
                </c:pt>
                <c:pt idx="18">
                  <c:v>1</c:v>
                </c:pt>
                <c:pt idx="19">
                  <c:v>0.95</c:v>
                </c:pt>
                <c:pt idx="20">
                  <c:v>1</c:v>
                </c:pt>
                <c:pt idx="21">
                  <c:v>1</c:v>
                </c:pt>
                <c:pt idx="22">
                  <c:v>0.98</c:v>
                </c:pt>
                <c:pt idx="23">
                  <c:v>0.96</c:v>
                </c:pt>
                <c:pt idx="24">
                  <c:v>1</c:v>
                </c:pt>
                <c:pt idx="25">
                  <c:v>1</c:v>
                </c:pt>
                <c:pt idx="26">
                  <c:v>0.95</c:v>
                </c:pt>
                <c:pt idx="27">
                  <c:v>0.99</c:v>
                </c:pt>
                <c:pt idx="28">
                  <c:v>1</c:v>
                </c:pt>
                <c:pt idx="29">
                  <c:v>0.99</c:v>
                </c:pt>
                <c:pt idx="30">
                  <c:v>0.99</c:v>
                </c:pt>
                <c:pt idx="31">
                  <c:v>1</c:v>
                </c:pt>
                <c:pt idx="32">
                  <c:v>0.96</c:v>
                </c:pt>
                <c:pt idx="33">
                  <c:v>0.94</c:v>
                </c:pt>
                <c:pt idx="34">
                  <c:v>0.94</c:v>
                </c:pt>
                <c:pt idx="35">
                  <c:v>0.99</c:v>
                </c:pt>
                <c:pt idx="36">
                  <c:v>0.97</c:v>
                </c:pt>
                <c:pt idx="37">
                  <c:v>0.82</c:v>
                </c:pt>
                <c:pt idx="38">
                  <c:v>0.97</c:v>
                </c:pt>
                <c:pt idx="39">
                  <c:v>0.94</c:v>
                </c:pt>
                <c:pt idx="40">
                  <c:v>0.93</c:v>
                </c:pt>
                <c:pt idx="41">
                  <c:v>0.84</c:v>
                </c:pt>
                <c:pt idx="42">
                  <c:v>0.85</c:v>
                </c:pt>
                <c:pt idx="43">
                  <c:v>0.83</c:v>
                </c:pt>
                <c:pt idx="44">
                  <c:v>0.77</c:v>
                </c:pt>
                <c:pt idx="45">
                  <c:v>0.88</c:v>
                </c:pt>
                <c:pt idx="46">
                  <c:v>0.98</c:v>
                </c:pt>
                <c:pt idx="47">
                  <c:v>0.86</c:v>
                </c:pt>
                <c:pt idx="48">
                  <c:v>0.84</c:v>
                </c:pt>
                <c:pt idx="49">
                  <c:v>0.92</c:v>
                </c:pt>
                <c:pt idx="50">
                  <c:v>0.86</c:v>
                </c:pt>
                <c:pt idx="51">
                  <c:v>0.53</c:v>
                </c:pt>
                <c:pt idx="52">
                  <c:v>0.56000000000000005</c:v>
                </c:pt>
                <c:pt idx="53">
                  <c:v>0.76</c:v>
                </c:pt>
                <c:pt idx="54">
                  <c:v>0.85</c:v>
                </c:pt>
                <c:pt idx="55">
                  <c:v>0.73</c:v>
                </c:pt>
                <c:pt idx="56">
                  <c:v>0.06</c:v>
                </c:pt>
                <c:pt idx="57">
                  <c:v>0.84</c:v>
                </c:pt>
                <c:pt idx="58">
                  <c:v>0.77</c:v>
                </c:pt>
                <c:pt idx="59">
                  <c:v>0.57999999999999996</c:v>
                </c:pt>
                <c:pt idx="60">
                  <c:v>0.84</c:v>
                </c:pt>
                <c:pt idx="61">
                  <c:v>0.62</c:v>
                </c:pt>
                <c:pt idx="62">
                  <c:v>0.44</c:v>
                </c:pt>
                <c:pt idx="63">
                  <c:v>0.59</c:v>
                </c:pt>
                <c:pt idx="64">
                  <c:v>0.68</c:v>
                </c:pt>
                <c:pt idx="65">
                  <c:v>0.67</c:v>
                </c:pt>
                <c:pt idx="66">
                  <c:v>0.53</c:v>
                </c:pt>
                <c:pt idx="67">
                  <c:v>0.49</c:v>
                </c:pt>
                <c:pt idx="68">
                  <c:v>0.54</c:v>
                </c:pt>
                <c:pt idx="69">
                  <c:v>0.5</c:v>
                </c:pt>
                <c:pt idx="70">
                  <c:v>0.41</c:v>
                </c:pt>
                <c:pt idx="71">
                  <c:v>0.53</c:v>
                </c:pt>
                <c:pt idx="72">
                  <c:v>0.39</c:v>
                </c:pt>
                <c:pt idx="73">
                  <c:v>0.16</c:v>
                </c:pt>
                <c:pt idx="74">
                  <c:v>0.14000000000000001</c:v>
                </c:pt>
                <c:pt idx="75">
                  <c:v>0.05</c:v>
                </c:pt>
                <c:pt idx="76">
                  <c:v>0.42</c:v>
                </c:pt>
                <c:pt idx="77">
                  <c:v>0.06</c:v>
                </c:pt>
                <c:pt idx="78">
                  <c:v>0.11</c:v>
                </c:pt>
                <c:pt idx="79">
                  <c:v>0.14000000000000001</c:v>
                </c:pt>
                <c:pt idx="80">
                  <c:v>0.56000000000000005</c:v>
                </c:pt>
                <c:pt idx="81">
                  <c:v>0.09</c:v>
                </c:pt>
                <c:pt idx="82">
                  <c:v>0.02</c:v>
                </c:pt>
                <c:pt idx="83">
                  <c:v>0.05</c:v>
                </c:pt>
                <c:pt idx="84">
                  <c:v>0.05</c:v>
                </c:pt>
                <c:pt idx="85">
                  <c:v>0.04</c:v>
                </c:pt>
                <c:pt idx="86">
                  <c:v>0.06</c:v>
                </c:pt>
                <c:pt idx="87">
                  <c:v>0.06</c:v>
                </c:pt>
                <c:pt idx="88">
                  <c:v>0.02</c:v>
                </c:pt>
                <c:pt idx="89">
                  <c:v>0.01</c:v>
                </c:pt>
                <c:pt idx="90">
                  <c:v>0.15</c:v>
                </c:pt>
                <c:pt idx="91">
                  <c:v>0.04</c:v>
                </c:pt>
                <c:pt idx="92">
                  <c:v>0.01</c:v>
                </c:pt>
                <c:pt idx="93">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5</c:f>
              <c:strCache>
                <c:ptCount val="94"/>
                <c:pt idx="0">
                  <c:v>Tartare</c:v>
                </c:pt>
                <c:pt idx="1">
                  <c:v>St Moret</c:v>
                </c:pt>
                <c:pt idx="2">
                  <c:v>St Moret</c:v>
                </c:pt>
                <c:pt idx="3">
                  <c:v>St Moret</c:v>
                </c:pt>
                <c:pt idx="4">
                  <c:v>Paysan Bret</c:v>
                </c:pt>
                <c:pt idx="5">
                  <c:v>St Moret</c:v>
                </c:pt>
                <c:pt idx="6">
                  <c:v>St Moret</c:v>
                </c:pt>
                <c:pt idx="7">
                  <c:v>Carre Frais</c:v>
                </c:pt>
                <c:pt idx="8">
                  <c:v>Carre Frais</c:v>
                </c:pt>
                <c:pt idx="9">
                  <c:v>Paysan Bret</c:v>
                </c:pt>
                <c:pt idx="10">
                  <c:v>Paysan Bret</c:v>
                </c:pt>
                <c:pt idx="11">
                  <c:v>St Moret</c:v>
                </c:pt>
                <c:pt idx="12">
                  <c:v>Philadelphi</c:v>
                </c:pt>
                <c:pt idx="13">
                  <c:v>St Moret</c:v>
                </c:pt>
                <c:pt idx="14">
                  <c:v>Boursin</c:v>
                </c:pt>
                <c:pt idx="15">
                  <c:v>Tartare</c:v>
                </c:pt>
                <c:pt idx="16">
                  <c:v>Carre Frais</c:v>
                </c:pt>
                <c:pt idx="17">
                  <c:v>St Moret</c:v>
                </c:pt>
                <c:pt idx="18">
                  <c:v>Boursin</c:v>
                </c:pt>
                <c:pt idx="19">
                  <c:v>Philadelphi</c:v>
                </c:pt>
                <c:pt idx="20">
                  <c:v>Boursin</c:v>
                </c:pt>
                <c:pt idx="21">
                  <c:v>Philadelphi</c:v>
                </c:pt>
                <c:pt idx="22">
                  <c:v>All Others</c:v>
                </c:pt>
                <c:pt idx="23">
                  <c:v>St Moret</c:v>
                </c:pt>
                <c:pt idx="24">
                  <c:v>Paysan Bret</c:v>
                </c:pt>
                <c:pt idx="25">
                  <c:v>Paysan Bret</c:v>
                </c:pt>
                <c:pt idx="26">
                  <c:v>Paysan Bret</c:v>
                </c:pt>
                <c:pt idx="27">
                  <c:v>Tartare</c:v>
                </c:pt>
                <c:pt idx="28">
                  <c:v>Paysan Bret</c:v>
                </c:pt>
                <c:pt idx="29">
                  <c:v>Savencia: A</c:v>
                </c:pt>
                <c:pt idx="30">
                  <c:v>Rondele</c:v>
                </c:pt>
                <c:pt idx="31">
                  <c:v>Boursin</c:v>
                </c:pt>
                <c:pt idx="32">
                  <c:v>Kiri</c:v>
                </c:pt>
                <c:pt idx="33">
                  <c:v>Paysan Bret</c:v>
                </c:pt>
                <c:pt idx="34">
                  <c:v>Boursin</c:v>
                </c:pt>
                <c:pt idx="35">
                  <c:v>Boursin</c:v>
                </c:pt>
                <c:pt idx="36">
                  <c:v>Boursin</c:v>
                </c:pt>
                <c:pt idx="37">
                  <c:v>St Moret</c:v>
                </c:pt>
                <c:pt idx="38">
                  <c:v>Tartare</c:v>
                </c:pt>
                <c:pt idx="39">
                  <c:v>Rondele</c:v>
                </c:pt>
                <c:pt idx="40">
                  <c:v>Tartare</c:v>
                </c:pt>
                <c:pt idx="41">
                  <c:v>Lactalis: A</c:v>
                </c:pt>
                <c:pt idx="42">
                  <c:v>Tartare</c:v>
                </c:pt>
                <c:pt idx="43">
                  <c:v>Philadelphi</c:v>
                </c:pt>
                <c:pt idx="44">
                  <c:v>Paysan Bret</c:v>
                </c:pt>
                <c:pt idx="45">
                  <c:v>Boursin</c:v>
                </c:pt>
                <c:pt idx="46">
                  <c:v>Kiri</c:v>
                </c:pt>
                <c:pt idx="47">
                  <c:v>Tartare</c:v>
                </c:pt>
                <c:pt idx="48">
                  <c:v>President</c:v>
                </c:pt>
                <c:pt idx="49">
                  <c:v>Paysan Bret</c:v>
                </c:pt>
                <c:pt idx="50">
                  <c:v>St Moret</c:v>
                </c:pt>
                <c:pt idx="51">
                  <c:v>Boursin</c:v>
                </c:pt>
                <c:pt idx="52">
                  <c:v>Saint Agur</c:v>
                </c:pt>
                <c:pt idx="53">
                  <c:v>All Others</c:v>
                </c:pt>
                <c:pt idx="54">
                  <c:v>Boursin</c:v>
                </c:pt>
                <c:pt idx="55">
                  <c:v>Triballat R</c:v>
                </c:pt>
                <c:pt idx="56">
                  <c:v>All Others</c:v>
                </c:pt>
                <c:pt idx="57">
                  <c:v>St Moret</c:v>
                </c:pt>
                <c:pt idx="58">
                  <c:v>Boursin</c:v>
                </c:pt>
                <c:pt idx="59">
                  <c:v>Saint Agur</c:v>
                </c:pt>
                <c:pt idx="60">
                  <c:v>Lactalis: A</c:v>
                </c:pt>
                <c:pt idx="61">
                  <c:v>Tartare</c:v>
                </c:pt>
                <c:pt idx="62">
                  <c:v>Philadelphi</c:v>
                </c:pt>
                <c:pt idx="63">
                  <c:v>Boursin</c:v>
                </c:pt>
                <c:pt idx="64">
                  <c:v>Tartare</c:v>
                </c:pt>
                <c:pt idx="65">
                  <c:v>Boursin</c:v>
                </c:pt>
                <c:pt idx="66">
                  <c:v>Lactalis: A</c:v>
                </c:pt>
                <c:pt idx="67">
                  <c:v>Boursin</c:v>
                </c:pt>
                <c:pt idx="68">
                  <c:v>Tartare</c:v>
                </c:pt>
                <c:pt idx="69">
                  <c:v>All Others</c:v>
                </c:pt>
                <c:pt idx="70">
                  <c:v>Tartare</c:v>
                </c:pt>
                <c:pt idx="71">
                  <c:v>All Others</c:v>
                </c:pt>
                <c:pt idx="72">
                  <c:v>All Others</c:v>
                </c:pt>
                <c:pt idx="73">
                  <c:v>All Others</c:v>
                </c:pt>
                <c:pt idx="74">
                  <c:v>All Others</c:v>
                </c:pt>
                <c:pt idx="75">
                  <c:v>All Others</c:v>
                </c:pt>
                <c:pt idx="76">
                  <c:v>All Others</c:v>
                </c:pt>
                <c:pt idx="77">
                  <c:v>All Others</c:v>
                </c:pt>
                <c:pt idx="78">
                  <c:v>All Others</c:v>
                </c:pt>
                <c:pt idx="79">
                  <c:v>All Others</c:v>
                </c:pt>
                <c:pt idx="80">
                  <c:v>Kiri</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President</c:v>
                </c:pt>
                <c:pt idx="91">
                  <c:v>All Others</c:v>
                </c:pt>
                <c:pt idx="92">
                  <c:v>All Others</c:v>
                </c:pt>
                <c:pt idx="93">
                  <c:v>All Others</c:v>
                </c:pt>
              </c:strCache>
            </c:strRef>
          </c:cat>
          <c:val>
            <c:numRef>
              <c:f>Sheet1!$C$2:$C$95</c:f>
              <c:numCache>
                <c:formatCode>General</c:formatCode>
                <c:ptCount val="94"/>
                <c:pt idx="0">
                  <c:v>4.7247507851763612E-2</c:v>
                </c:pt>
                <c:pt idx="1">
                  <c:v>0.13610767431222234</c:v>
                </c:pt>
                <c:pt idx="2">
                  <c:v>0.1787345382426172</c:v>
                </c:pt>
                <c:pt idx="3">
                  <c:v>0.21901684867203114</c:v>
                </c:pt>
                <c:pt idx="4">
                  <c:v>0.29097707254323463</c:v>
                </c:pt>
                <c:pt idx="5">
                  <c:v>0.32641293368905483</c:v>
                </c:pt>
                <c:pt idx="6">
                  <c:v>0.3612904216159129</c:v>
                </c:pt>
                <c:pt idx="7">
                  <c:v>0.39576718561477081</c:v>
                </c:pt>
                <c:pt idx="8">
                  <c:v>0.42720302219984463</c:v>
                </c:pt>
                <c:pt idx="9">
                  <c:v>0.45709767194825046</c:v>
                </c:pt>
                <c:pt idx="10">
                  <c:v>0.48676858864740896</c:v>
                </c:pt>
                <c:pt idx="11">
                  <c:v>0.51491904163967539</c:v>
                </c:pt>
                <c:pt idx="12">
                  <c:v>0.54187469107186159</c:v>
                </c:pt>
                <c:pt idx="13">
                  <c:v>0.56787208763274311</c:v>
                </c:pt>
                <c:pt idx="14">
                  <c:v>0.59226474642564386</c:v>
                </c:pt>
                <c:pt idx="15">
                  <c:v>0.61318428542043391</c:v>
                </c:pt>
                <c:pt idx="16">
                  <c:v>0.63307964129029881</c:v>
                </c:pt>
                <c:pt idx="17">
                  <c:v>0.65240810443229369</c:v>
                </c:pt>
                <c:pt idx="18">
                  <c:v>0.67148236384903737</c:v>
                </c:pt>
                <c:pt idx="19">
                  <c:v>0.70682305210255336</c:v>
                </c:pt>
                <c:pt idx="20">
                  <c:v>0.72350755089447161</c:v>
                </c:pt>
                <c:pt idx="21">
                  <c:v>0.74004867632927351</c:v>
                </c:pt>
                <c:pt idx="22">
                  <c:v>0.75623129161895219</c:v>
                </c:pt>
                <c:pt idx="23">
                  <c:v>0.77076826014742572</c:v>
                </c:pt>
                <c:pt idx="24">
                  <c:v>0.79715640283308198</c:v>
                </c:pt>
                <c:pt idx="25">
                  <c:v>0.81006852448245892</c:v>
                </c:pt>
                <c:pt idx="26">
                  <c:v>0.82279413796385259</c:v>
                </c:pt>
                <c:pt idx="27">
                  <c:v>0.83530039327895167</c:v>
                </c:pt>
                <c:pt idx="28">
                  <c:v>0.84655988370486568</c:v>
                </c:pt>
                <c:pt idx="29">
                  <c:v>0.85700011973363854</c:v>
                </c:pt>
                <c:pt idx="30">
                  <c:v>0.86623979577739352</c:v>
                </c:pt>
                <c:pt idx="31">
                  <c:v>0.87447662584465924</c:v>
                </c:pt>
                <c:pt idx="32">
                  <c:v>0.88177216530610347</c:v>
                </c:pt>
                <c:pt idx="33">
                  <c:v>0.88799355587416284</c:v>
                </c:pt>
                <c:pt idx="34">
                  <c:v>0.89380148162702644</c:v>
                </c:pt>
                <c:pt idx="35">
                  <c:v>0.89946526649944869</c:v>
                </c:pt>
                <c:pt idx="36">
                  <c:v>0.90502520546599385</c:v>
                </c:pt>
                <c:pt idx="37">
                  <c:v>0.91046188018653862</c:v>
                </c:pt>
                <c:pt idx="38">
                  <c:v>0.91565824335401524</c:v>
                </c:pt>
                <c:pt idx="39">
                  <c:v>0.92064384461643756</c:v>
                </c:pt>
                <c:pt idx="40">
                  <c:v>0.92562461048191225</c:v>
                </c:pt>
                <c:pt idx="41">
                  <c:v>0.93058787681557609</c:v>
                </c:pt>
                <c:pt idx="42">
                  <c:v>0.93553249233244162</c:v>
                </c:pt>
                <c:pt idx="43">
                  <c:v>0.94034870119702907</c:v>
                </c:pt>
                <c:pt idx="44">
                  <c:v>0.94472105132274942</c:v>
                </c:pt>
                <c:pt idx="45">
                  <c:v>0.9490564835765356</c:v>
                </c:pt>
                <c:pt idx="46">
                  <c:v>0.95316987133238951</c:v>
                </c:pt>
                <c:pt idx="47">
                  <c:v>0.95715600372095277</c:v>
                </c:pt>
                <c:pt idx="48">
                  <c:v>0.96063802678963384</c:v>
                </c:pt>
                <c:pt idx="49">
                  <c:v>0.96347433248496395</c:v>
                </c:pt>
                <c:pt idx="50">
                  <c:v>0.96628623093855792</c:v>
                </c:pt>
                <c:pt idx="51">
                  <c:v>0.96885850861007639</c:v>
                </c:pt>
                <c:pt idx="52">
                  <c:v>0.97121833582522543</c:v>
                </c:pt>
                <c:pt idx="53">
                  <c:v>0.97342005323541758</c:v>
                </c:pt>
                <c:pt idx="54">
                  <c:v>0.97559598186188856</c:v>
                </c:pt>
                <c:pt idx="55">
                  <c:v>0.97765977533057202</c:v>
                </c:pt>
                <c:pt idx="56">
                  <c:v>0.97971942417330038</c:v>
                </c:pt>
                <c:pt idx="57">
                  <c:v>0.98171183797275574</c:v>
                </c:pt>
                <c:pt idx="58">
                  <c:v>0.9833717606678064</c:v>
                </c:pt>
                <c:pt idx="59">
                  <c:v>0.98494602775978335</c:v>
                </c:pt>
                <c:pt idx="60">
                  <c:v>0.98648130466684858</c:v>
                </c:pt>
                <c:pt idx="61">
                  <c:v>0.98768838860012931</c:v>
                </c:pt>
                <c:pt idx="62">
                  <c:v>0.98869438142225119</c:v>
                </c:pt>
                <c:pt idx="63">
                  <c:v>0.98969039644114765</c:v>
                </c:pt>
                <c:pt idx="64">
                  <c:v>0.99063821099523197</c:v>
                </c:pt>
                <c:pt idx="65">
                  <c:v>0.99157190312013566</c:v>
                </c:pt>
                <c:pt idx="66">
                  <c:v>0.99233013941293657</c:v>
                </c:pt>
                <c:pt idx="67">
                  <c:v>0.99291913681256749</c:v>
                </c:pt>
                <c:pt idx="68">
                  <c:v>0.99347152334959432</c:v>
                </c:pt>
                <c:pt idx="69">
                  <c:v>0.99400756163979798</c:v>
                </c:pt>
                <c:pt idx="70">
                  <c:v>0.99453247084178864</c:v>
                </c:pt>
                <c:pt idx="71">
                  <c:v>0.99504855352554145</c:v>
                </c:pt>
                <c:pt idx="72">
                  <c:v>0.99552894637468015</c:v>
                </c:pt>
                <c:pt idx="73">
                  <c:v>0.99596313431965178</c:v>
                </c:pt>
                <c:pt idx="74">
                  <c:v>0.99634889154281381</c:v>
                </c:pt>
                <c:pt idx="75">
                  <c:v>0.99670433159463701</c:v>
                </c:pt>
                <c:pt idx="76">
                  <c:v>0.99704994734789976</c:v>
                </c:pt>
                <c:pt idx="77">
                  <c:v>0.99735764744890587</c:v>
                </c:pt>
                <c:pt idx="78">
                  <c:v>0.99765452547102895</c:v>
                </c:pt>
                <c:pt idx="79">
                  <c:v>0.99793282942868622</c:v>
                </c:pt>
                <c:pt idx="80">
                  <c:v>0.99819094752289506</c:v>
                </c:pt>
                <c:pt idx="81">
                  <c:v>0.99867402670367134</c:v>
                </c:pt>
                <c:pt idx="82">
                  <c:v>0.9988767296138128</c:v>
                </c:pt>
                <c:pt idx="83">
                  <c:v>0.99905126441792547</c:v>
                </c:pt>
                <c:pt idx="84">
                  <c:v>0.99917168882762331</c:v>
                </c:pt>
                <c:pt idx="85">
                  <c:v>0.99936487444853428</c:v>
                </c:pt>
                <c:pt idx="86">
                  <c:v>0.99945736100920091</c:v>
                </c:pt>
                <c:pt idx="87">
                  <c:v>0.99954140481329212</c:v>
                </c:pt>
                <c:pt idx="88">
                  <c:v>0.99961516380482784</c:v>
                </c:pt>
                <c:pt idx="89">
                  <c:v>0.99968101730611569</c:v>
                </c:pt>
                <c:pt idx="90">
                  <c:v>0.99974364720943842</c:v>
                </c:pt>
                <c:pt idx="91">
                  <c:v>0.99980589335109871</c:v>
                </c:pt>
                <c:pt idx="92">
                  <c:v>0.99990052897707538</c:v>
                </c:pt>
                <c:pt idx="93">
                  <c:v>0.9999597817777680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1</c:f>
              <c:strCache>
                <c:ptCount val="70"/>
                <c:pt idx="0">
                  <c:v>St Moret</c:v>
                </c:pt>
                <c:pt idx="1">
                  <c:v>Tartare</c:v>
                </c:pt>
                <c:pt idx="2">
                  <c:v>Paysan Bret</c:v>
                </c:pt>
                <c:pt idx="3">
                  <c:v>St Moret</c:v>
                </c:pt>
                <c:pt idx="4">
                  <c:v>St Moret</c:v>
                </c:pt>
                <c:pt idx="5">
                  <c:v>Paysan Bret</c:v>
                </c:pt>
                <c:pt idx="6">
                  <c:v>Carre Frais</c:v>
                </c:pt>
                <c:pt idx="7">
                  <c:v>St Moret</c:v>
                </c:pt>
                <c:pt idx="8">
                  <c:v>St Moret</c:v>
                </c:pt>
                <c:pt idx="9">
                  <c:v>Carre Frais</c:v>
                </c:pt>
                <c:pt idx="10">
                  <c:v>Philadelphi</c:v>
                </c:pt>
                <c:pt idx="11">
                  <c:v>Boursin</c:v>
                </c:pt>
                <c:pt idx="12">
                  <c:v>Tartare</c:v>
                </c:pt>
                <c:pt idx="13">
                  <c:v>Boursin</c:v>
                </c:pt>
                <c:pt idx="14">
                  <c:v>St Moret</c:v>
                </c:pt>
                <c:pt idx="15">
                  <c:v>St Moret</c:v>
                </c:pt>
                <c:pt idx="16">
                  <c:v>St Moret</c:v>
                </c:pt>
                <c:pt idx="17">
                  <c:v>Boursin</c:v>
                </c:pt>
                <c:pt idx="18">
                  <c:v>Philadelphi</c:v>
                </c:pt>
                <c:pt idx="19">
                  <c:v>Paysan Bret</c:v>
                </c:pt>
                <c:pt idx="20">
                  <c:v>Rondele</c:v>
                </c:pt>
                <c:pt idx="21">
                  <c:v>Paysan Bret</c:v>
                </c:pt>
                <c:pt idx="22">
                  <c:v>Tartare</c:v>
                </c:pt>
                <c:pt idx="23">
                  <c:v>Paysan Bret</c:v>
                </c:pt>
                <c:pt idx="24">
                  <c:v>Paysan Bret</c:v>
                </c:pt>
                <c:pt idx="25">
                  <c:v>Boursin</c:v>
                </c:pt>
                <c:pt idx="26">
                  <c:v>Philadelphi</c:v>
                </c:pt>
                <c:pt idx="27">
                  <c:v>Boursin</c:v>
                </c:pt>
                <c:pt idx="28">
                  <c:v>Rondele</c:v>
                </c:pt>
                <c:pt idx="29">
                  <c:v>Paysan Bret</c:v>
                </c:pt>
                <c:pt idx="30">
                  <c:v>Boursin</c:v>
                </c:pt>
                <c:pt idx="31">
                  <c:v>Tartare</c:v>
                </c:pt>
                <c:pt idx="32">
                  <c:v>St Moret</c:v>
                </c:pt>
                <c:pt idx="33">
                  <c:v>Savencia: A</c:v>
                </c:pt>
                <c:pt idx="34">
                  <c:v>Paysan Bret</c:v>
                </c:pt>
                <c:pt idx="35">
                  <c:v>Boursin</c:v>
                </c:pt>
                <c:pt idx="36">
                  <c:v>Philadelphi</c:v>
                </c:pt>
                <c:pt idx="37">
                  <c:v>Triballat R</c:v>
                </c:pt>
                <c:pt idx="38">
                  <c:v>Kiri</c:v>
                </c:pt>
                <c:pt idx="39">
                  <c:v>Kiri</c:v>
                </c:pt>
                <c:pt idx="40">
                  <c:v>Tartare</c:v>
                </c:pt>
                <c:pt idx="41">
                  <c:v>Saint Agur</c:v>
                </c:pt>
                <c:pt idx="42">
                  <c:v>Lactalis: A</c:v>
                </c:pt>
                <c:pt idx="43">
                  <c:v>All Others</c:v>
                </c:pt>
                <c:pt idx="44">
                  <c:v>Philadelphi</c:v>
                </c:pt>
                <c:pt idx="45">
                  <c:v>Paysan Bret</c:v>
                </c:pt>
                <c:pt idx="46">
                  <c:v>Paysan Bret</c:v>
                </c:pt>
                <c:pt idx="47">
                  <c:v>All Others</c:v>
                </c:pt>
                <c:pt idx="48">
                  <c:v>All Others</c:v>
                </c:pt>
                <c:pt idx="49">
                  <c:v>Tartare</c:v>
                </c:pt>
                <c:pt idx="50">
                  <c:v>Tartare</c:v>
                </c:pt>
                <c:pt idx="51">
                  <c:v>All Others</c:v>
                </c:pt>
                <c:pt idx="52">
                  <c:v>President</c:v>
                </c:pt>
                <c:pt idx="53">
                  <c:v>Tartare</c:v>
                </c:pt>
                <c:pt idx="54">
                  <c:v>All Others</c:v>
                </c:pt>
                <c:pt idx="55">
                  <c:v>Boursin</c:v>
                </c:pt>
                <c:pt idx="56">
                  <c:v>Tartare</c:v>
                </c:pt>
                <c:pt idx="57">
                  <c:v>Kiri</c:v>
                </c:pt>
                <c:pt idx="58">
                  <c:v>All Others</c:v>
                </c:pt>
                <c:pt idx="59">
                  <c:v>Saint Agur</c:v>
                </c:pt>
                <c:pt idx="60">
                  <c:v>Boursin</c:v>
                </c:pt>
                <c:pt idx="61">
                  <c:v>St Moret</c:v>
                </c:pt>
                <c:pt idx="62">
                  <c:v>Boursin</c:v>
                </c:pt>
                <c:pt idx="63">
                  <c:v>All Others</c:v>
                </c:pt>
                <c:pt idx="64">
                  <c:v>Lactalis: A</c:v>
                </c:pt>
                <c:pt idx="65">
                  <c:v>All Others</c:v>
                </c:pt>
                <c:pt idx="66">
                  <c:v>All Others</c:v>
                </c:pt>
                <c:pt idx="67">
                  <c:v>St Moret</c:v>
                </c:pt>
                <c:pt idx="68">
                  <c:v>St Moret</c:v>
                </c:pt>
                <c:pt idx="69">
                  <c:v>Tartare</c:v>
                </c:pt>
              </c:strCache>
            </c:strRef>
          </c:cat>
          <c:val>
            <c:numRef>
              <c:f>Sheet1!$B$2:$B$71</c:f>
              <c:numCache>
                <c:formatCode>General</c:formatCode>
                <c:ptCount val="70"/>
                <c:pt idx="0">
                  <c:v>0.95</c:v>
                </c:pt>
                <c:pt idx="1">
                  <c:v>0.99</c:v>
                </c:pt>
                <c:pt idx="2">
                  <c:v>0.94</c:v>
                </c:pt>
                <c:pt idx="3">
                  <c:v>0.99</c:v>
                </c:pt>
                <c:pt idx="4">
                  <c:v>0.98</c:v>
                </c:pt>
                <c:pt idx="5">
                  <c:v>0.99</c:v>
                </c:pt>
                <c:pt idx="6">
                  <c:v>0.98</c:v>
                </c:pt>
                <c:pt idx="7">
                  <c:v>0.93</c:v>
                </c:pt>
                <c:pt idx="8">
                  <c:v>0.88</c:v>
                </c:pt>
                <c:pt idx="9">
                  <c:v>0.98</c:v>
                </c:pt>
                <c:pt idx="10">
                  <c:v>0.97</c:v>
                </c:pt>
                <c:pt idx="11">
                  <c:v>0.97</c:v>
                </c:pt>
                <c:pt idx="12">
                  <c:v>0.98</c:v>
                </c:pt>
                <c:pt idx="13">
                  <c:v>0.99</c:v>
                </c:pt>
                <c:pt idx="14">
                  <c:v>0.98</c:v>
                </c:pt>
                <c:pt idx="15">
                  <c:v>0.83</c:v>
                </c:pt>
                <c:pt idx="16">
                  <c:v>0.93</c:v>
                </c:pt>
                <c:pt idx="17">
                  <c:v>0.92</c:v>
                </c:pt>
                <c:pt idx="18">
                  <c:v>0.98</c:v>
                </c:pt>
                <c:pt idx="19">
                  <c:v>0.93</c:v>
                </c:pt>
                <c:pt idx="20">
                  <c:v>0.94</c:v>
                </c:pt>
                <c:pt idx="21">
                  <c:v>0.43</c:v>
                </c:pt>
                <c:pt idx="22">
                  <c:v>0.77</c:v>
                </c:pt>
                <c:pt idx="23">
                  <c:v>0.74</c:v>
                </c:pt>
                <c:pt idx="24">
                  <c:v>0.67</c:v>
                </c:pt>
                <c:pt idx="25">
                  <c:v>0.89</c:v>
                </c:pt>
                <c:pt idx="26">
                  <c:v>0.67</c:v>
                </c:pt>
                <c:pt idx="27">
                  <c:v>0.83</c:v>
                </c:pt>
                <c:pt idx="28">
                  <c:v>0.83</c:v>
                </c:pt>
                <c:pt idx="29">
                  <c:v>0.74</c:v>
                </c:pt>
                <c:pt idx="30">
                  <c:v>0.88</c:v>
                </c:pt>
                <c:pt idx="31">
                  <c:v>0.73</c:v>
                </c:pt>
                <c:pt idx="32">
                  <c:v>0.57999999999999996</c:v>
                </c:pt>
                <c:pt idx="33">
                  <c:v>0.6</c:v>
                </c:pt>
                <c:pt idx="34">
                  <c:v>0.78</c:v>
                </c:pt>
                <c:pt idx="35">
                  <c:v>0.65</c:v>
                </c:pt>
                <c:pt idx="36">
                  <c:v>0.59</c:v>
                </c:pt>
                <c:pt idx="37">
                  <c:v>0.42</c:v>
                </c:pt>
                <c:pt idx="38">
                  <c:v>0.56999999999999995</c:v>
                </c:pt>
                <c:pt idx="39">
                  <c:v>0.47</c:v>
                </c:pt>
                <c:pt idx="40">
                  <c:v>0.44</c:v>
                </c:pt>
                <c:pt idx="41">
                  <c:v>0.39</c:v>
                </c:pt>
                <c:pt idx="42">
                  <c:v>0.53</c:v>
                </c:pt>
                <c:pt idx="43">
                  <c:v>0.39</c:v>
                </c:pt>
                <c:pt idx="44">
                  <c:v>0.36</c:v>
                </c:pt>
                <c:pt idx="45">
                  <c:v>0.04</c:v>
                </c:pt>
                <c:pt idx="46">
                  <c:v>0.09</c:v>
                </c:pt>
                <c:pt idx="47">
                  <c:v>0.23</c:v>
                </c:pt>
                <c:pt idx="48">
                  <c:v>0.2</c:v>
                </c:pt>
                <c:pt idx="49">
                  <c:v>0.36</c:v>
                </c:pt>
                <c:pt idx="50">
                  <c:v>0.34</c:v>
                </c:pt>
                <c:pt idx="51">
                  <c:v>0.22</c:v>
                </c:pt>
                <c:pt idx="52">
                  <c:v>0.52</c:v>
                </c:pt>
                <c:pt idx="53">
                  <c:v>0.3</c:v>
                </c:pt>
                <c:pt idx="54">
                  <c:v>0.23</c:v>
                </c:pt>
                <c:pt idx="55">
                  <c:v>0.1</c:v>
                </c:pt>
                <c:pt idx="56">
                  <c:v>0.28000000000000003</c:v>
                </c:pt>
                <c:pt idx="57">
                  <c:v>0.33</c:v>
                </c:pt>
                <c:pt idx="58">
                  <c:v>0.01</c:v>
                </c:pt>
                <c:pt idx="59">
                  <c:v>0.06</c:v>
                </c:pt>
                <c:pt idx="60">
                  <c:v>0.05</c:v>
                </c:pt>
                <c:pt idx="61">
                  <c:v>0.03</c:v>
                </c:pt>
                <c:pt idx="62">
                  <c:v>0.02</c:v>
                </c:pt>
                <c:pt idx="63">
                  <c:v>0.01</c:v>
                </c:pt>
                <c:pt idx="64">
                  <c:v>0.21</c:v>
                </c:pt>
                <c:pt idx="65">
                  <c:v>0.01</c:v>
                </c:pt>
                <c:pt idx="66">
                  <c:v>0.01</c:v>
                </c:pt>
                <c:pt idx="67">
                  <c:v>0.03</c:v>
                </c:pt>
                <c:pt idx="68">
                  <c:v>0.02</c:v>
                </c:pt>
                <c:pt idx="69">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1</c:f>
              <c:strCache>
                <c:ptCount val="70"/>
                <c:pt idx="0">
                  <c:v>St Moret</c:v>
                </c:pt>
                <c:pt idx="1">
                  <c:v>Tartare</c:v>
                </c:pt>
                <c:pt idx="2">
                  <c:v>Paysan Bret</c:v>
                </c:pt>
                <c:pt idx="3">
                  <c:v>St Moret</c:v>
                </c:pt>
                <c:pt idx="4">
                  <c:v>St Moret</c:v>
                </c:pt>
                <c:pt idx="5">
                  <c:v>Paysan Bret</c:v>
                </c:pt>
                <c:pt idx="6">
                  <c:v>Carre Frais</c:v>
                </c:pt>
                <c:pt idx="7">
                  <c:v>St Moret</c:v>
                </c:pt>
                <c:pt idx="8">
                  <c:v>St Moret</c:v>
                </c:pt>
                <c:pt idx="9">
                  <c:v>Carre Frais</c:v>
                </c:pt>
                <c:pt idx="10">
                  <c:v>Philadelphi</c:v>
                </c:pt>
                <c:pt idx="11">
                  <c:v>Boursin</c:v>
                </c:pt>
                <c:pt idx="12">
                  <c:v>Tartare</c:v>
                </c:pt>
                <c:pt idx="13">
                  <c:v>Boursin</c:v>
                </c:pt>
                <c:pt idx="14">
                  <c:v>St Moret</c:v>
                </c:pt>
                <c:pt idx="15">
                  <c:v>St Moret</c:v>
                </c:pt>
                <c:pt idx="16">
                  <c:v>St Moret</c:v>
                </c:pt>
                <c:pt idx="17">
                  <c:v>Boursin</c:v>
                </c:pt>
                <c:pt idx="18">
                  <c:v>Philadelphi</c:v>
                </c:pt>
                <c:pt idx="19">
                  <c:v>Paysan Bret</c:v>
                </c:pt>
                <c:pt idx="20">
                  <c:v>Rondele</c:v>
                </c:pt>
                <c:pt idx="21">
                  <c:v>Paysan Bret</c:v>
                </c:pt>
                <c:pt idx="22">
                  <c:v>Tartare</c:v>
                </c:pt>
                <c:pt idx="23">
                  <c:v>Paysan Bret</c:v>
                </c:pt>
                <c:pt idx="24">
                  <c:v>Paysan Bret</c:v>
                </c:pt>
                <c:pt idx="25">
                  <c:v>Boursin</c:v>
                </c:pt>
                <c:pt idx="26">
                  <c:v>Philadelphi</c:v>
                </c:pt>
                <c:pt idx="27">
                  <c:v>Boursin</c:v>
                </c:pt>
                <c:pt idx="28">
                  <c:v>Rondele</c:v>
                </c:pt>
                <c:pt idx="29">
                  <c:v>Paysan Bret</c:v>
                </c:pt>
                <c:pt idx="30">
                  <c:v>Boursin</c:v>
                </c:pt>
                <c:pt idx="31">
                  <c:v>Tartare</c:v>
                </c:pt>
                <c:pt idx="32">
                  <c:v>St Moret</c:v>
                </c:pt>
                <c:pt idx="33">
                  <c:v>Savencia: A</c:v>
                </c:pt>
                <c:pt idx="34">
                  <c:v>Paysan Bret</c:v>
                </c:pt>
                <c:pt idx="35">
                  <c:v>Boursin</c:v>
                </c:pt>
                <c:pt idx="36">
                  <c:v>Philadelphi</c:v>
                </c:pt>
                <c:pt idx="37">
                  <c:v>Triballat R</c:v>
                </c:pt>
                <c:pt idx="38">
                  <c:v>Kiri</c:v>
                </c:pt>
                <c:pt idx="39">
                  <c:v>Kiri</c:v>
                </c:pt>
                <c:pt idx="40">
                  <c:v>Tartare</c:v>
                </c:pt>
                <c:pt idx="41">
                  <c:v>Saint Agur</c:v>
                </c:pt>
                <c:pt idx="42">
                  <c:v>Lactalis: A</c:v>
                </c:pt>
                <c:pt idx="43">
                  <c:v>All Others</c:v>
                </c:pt>
                <c:pt idx="44">
                  <c:v>Philadelphi</c:v>
                </c:pt>
                <c:pt idx="45">
                  <c:v>Paysan Bret</c:v>
                </c:pt>
                <c:pt idx="46">
                  <c:v>Paysan Bret</c:v>
                </c:pt>
                <c:pt idx="47">
                  <c:v>All Others</c:v>
                </c:pt>
                <c:pt idx="48">
                  <c:v>All Others</c:v>
                </c:pt>
                <c:pt idx="49">
                  <c:v>Tartare</c:v>
                </c:pt>
                <c:pt idx="50">
                  <c:v>Tartare</c:v>
                </c:pt>
                <c:pt idx="51">
                  <c:v>All Others</c:v>
                </c:pt>
                <c:pt idx="52">
                  <c:v>President</c:v>
                </c:pt>
                <c:pt idx="53">
                  <c:v>Tartare</c:v>
                </c:pt>
                <c:pt idx="54">
                  <c:v>All Others</c:v>
                </c:pt>
                <c:pt idx="55">
                  <c:v>Boursin</c:v>
                </c:pt>
                <c:pt idx="56">
                  <c:v>Tartare</c:v>
                </c:pt>
                <c:pt idx="57">
                  <c:v>Kiri</c:v>
                </c:pt>
                <c:pt idx="58">
                  <c:v>All Others</c:v>
                </c:pt>
                <c:pt idx="59">
                  <c:v>Saint Agur</c:v>
                </c:pt>
                <c:pt idx="60">
                  <c:v>Boursin</c:v>
                </c:pt>
                <c:pt idx="61">
                  <c:v>St Moret</c:v>
                </c:pt>
                <c:pt idx="62">
                  <c:v>Boursin</c:v>
                </c:pt>
                <c:pt idx="63">
                  <c:v>All Others</c:v>
                </c:pt>
                <c:pt idx="64">
                  <c:v>Lactalis: A</c:v>
                </c:pt>
                <c:pt idx="65">
                  <c:v>All Others</c:v>
                </c:pt>
                <c:pt idx="66">
                  <c:v>All Others</c:v>
                </c:pt>
                <c:pt idx="67">
                  <c:v>St Moret</c:v>
                </c:pt>
                <c:pt idx="68">
                  <c:v>St Moret</c:v>
                </c:pt>
                <c:pt idx="69">
                  <c:v>Tartare</c:v>
                </c:pt>
              </c:strCache>
            </c:strRef>
          </c:cat>
          <c:val>
            <c:numRef>
              <c:f>Sheet1!$C$2:$C$71</c:f>
              <c:numCache>
                <c:formatCode>General</c:formatCode>
                <c:ptCount val="70"/>
                <c:pt idx="0">
                  <c:v>6.9900611489235445E-2</c:v>
                </c:pt>
                <c:pt idx="1">
                  <c:v>0.12438029914317381</c:v>
                </c:pt>
                <c:pt idx="2">
                  <c:v>0.22187980606769325</c:v>
                </c:pt>
                <c:pt idx="3">
                  <c:v>0.26433894698743643</c:v>
                </c:pt>
                <c:pt idx="4">
                  <c:v>0.30644277100288808</c:v>
                </c:pt>
                <c:pt idx="5">
                  <c:v>0.3860815995954795</c:v>
                </c:pt>
                <c:pt idx="6">
                  <c:v>0.42515624772490335</c:v>
                </c:pt>
                <c:pt idx="7">
                  <c:v>0.46314253691731283</c:v>
                </c:pt>
                <c:pt idx="8">
                  <c:v>0.49875128516365658</c:v>
                </c:pt>
                <c:pt idx="9">
                  <c:v>0.53224798737272927</c:v>
                </c:pt>
                <c:pt idx="10">
                  <c:v>0.56249388974056946</c:v>
                </c:pt>
                <c:pt idx="11">
                  <c:v>0.59016237358499624</c:v>
                </c:pt>
                <c:pt idx="12">
                  <c:v>0.61702624144870966</c:v>
                </c:pt>
                <c:pt idx="13">
                  <c:v>0.64171112225113969</c:v>
                </c:pt>
                <c:pt idx="14">
                  <c:v>0.66639477391047341</c:v>
                </c:pt>
                <c:pt idx="15">
                  <c:v>0.69096090057990978</c:v>
                </c:pt>
                <c:pt idx="16">
                  <c:v>0.71472260036757063</c:v>
                </c:pt>
                <c:pt idx="17">
                  <c:v>0.73731916704943457</c:v>
                </c:pt>
                <c:pt idx="18">
                  <c:v>0.75929369277511594</c:v>
                </c:pt>
                <c:pt idx="19">
                  <c:v>0.80140716083639985</c:v>
                </c:pt>
                <c:pt idx="20">
                  <c:v>0.81590074348029418</c:v>
                </c:pt>
                <c:pt idx="21">
                  <c:v>0.82989983240161147</c:v>
                </c:pt>
                <c:pt idx="22">
                  <c:v>0.84330023408557531</c:v>
                </c:pt>
                <c:pt idx="23">
                  <c:v>0.85583721001914259</c:v>
                </c:pt>
                <c:pt idx="24">
                  <c:v>0.86791760656717931</c:v>
                </c:pt>
                <c:pt idx="25">
                  <c:v>0.87960949934732513</c:v>
                </c:pt>
                <c:pt idx="26">
                  <c:v>0.89110548562781899</c:v>
                </c:pt>
                <c:pt idx="27">
                  <c:v>0.90086828559310039</c:v>
                </c:pt>
                <c:pt idx="28">
                  <c:v>0.90983601907403178</c:v>
                </c:pt>
                <c:pt idx="29">
                  <c:v>0.91766849708135256</c:v>
                </c:pt>
                <c:pt idx="30">
                  <c:v>0.92524739341296558</c:v>
                </c:pt>
                <c:pt idx="31">
                  <c:v>0.93267028312082101</c:v>
                </c:pt>
                <c:pt idx="32">
                  <c:v>0.93981472464263627</c:v>
                </c:pt>
                <c:pt idx="33">
                  <c:v>0.94651402726466327</c:v>
                </c:pt>
                <c:pt idx="34">
                  <c:v>0.9521165560469399</c:v>
                </c:pt>
                <c:pt idx="35">
                  <c:v>0.95764212156149608</c:v>
                </c:pt>
                <c:pt idx="36">
                  <c:v>0.96304808199783809</c:v>
                </c:pt>
                <c:pt idx="37">
                  <c:v>0.96695080042743953</c:v>
                </c:pt>
                <c:pt idx="38">
                  <c:v>0.97059483151001014</c:v>
                </c:pt>
                <c:pt idx="39">
                  <c:v>0.97421692711578578</c:v>
                </c:pt>
                <c:pt idx="40">
                  <c:v>0.97764670910172935</c:v>
                </c:pt>
                <c:pt idx="41">
                  <c:v>0.98065054573008015</c:v>
                </c:pt>
                <c:pt idx="42">
                  <c:v>0.98274888209435429</c:v>
                </c:pt>
                <c:pt idx="43">
                  <c:v>0.98481204605618122</c:v>
                </c:pt>
                <c:pt idx="44">
                  <c:v>0.98649294651506758</c:v>
                </c:pt>
                <c:pt idx="45">
                  <c:v>0.98794342991813744</c:v>
                </c:pt>
                <c:pt idx="46">
                  <c:v>0.98911470873941565</c:v>
                </c:pt>
                <c:pt idx="47">
                  <c:v>0.99018028125441448</c:v>
                </c:pt>
                <c:pt idx="48">
                  <c:v>0.991931715617133</c:v>
                </c:pt>
                <c:pt idx="49">
                  <c:v>0.99276289999861966</c:v>
                </c:pt>
                <c:pt idx="50">
                  <c:v>0.99356969061711875</c:v>
                </c:pt>
                <c:pt idx="51">
                  <c:v>0.99436929547597819</c:v>
                </c:pt>
                <c:pt idx="52">
                  <c:v>0.99513836085636864</c:v>
                </c:pt>
                <c:pt idx="53">
                  <c:v>0.99584143070743625</c:v>
                </c:pt>
                <c:pt idx="54">
                  <c:v>0.99643548502081136</c:v>
                </c:pt>
                <c:pt idx="55">
                  <c:v>0.99680810447791968</c:v>
                </c:pt>
                <c:pt idx="56">
                  <c:v>0.99715670836991621</c:v>
                </c:pt>
                <c:pt idx="57">
                  <c:v>0.99748498412608977</c:v>
                </c:pt>
                <c:pt idx="58">
                  <c:v>0.99777846567769191</c:v>
                </c:pt>
                <c:pt idx="59">
                  <c:v>0.99802467249482207</c:v>
                </c:pt>
                <c:pt idx="60">
                  <c:v>0.99826927197098014</c:v>
                </c:pt>
                <c:pt idx="61">
                  <c:v>0.99838840430184961</c:v>
                </c:pt>
                <c:pt idx="62">
                  <c:v>0.9986040716405109</c:v>
                </c:pt>
                <c:pt idx="63">
                  <c:v>0.99869899930733064</c:v>
                </c:pt>
                <c:pt idx="64">
                  <c:v>0.99878740306079328</c:v>
                </c:pt>
                <c:pt idx="65">
                  <c:v>0.99891882682262545</c:v>
                </c:pt>
                <c:pt idx="66">
                  <c:v>0.99921259202263435</c:v>
                </c:pt>
                <c:pt idx="67">
                  <c:v>0.99936510031604109</c:v>
                </c:pt>
                <c:pt idx="68">
                  <c:v>0.99958256409461232</c:v>
                </c:pt>
                <c:pt idx="69">
                  <c:v>0.9998166685797177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5</c:f>
              <c:strCache>
                <c:ptCount val="34"/>
                <c:pt idx="0">
                  <c:v>St Moret</c:v>
                </c:pt>
                <c:pt idx="1">
                  <c:v>Paysan Bret</c:v>
                </c:pt>
                <c:pt idx="2">
                  <c:v>Philadelphi</c:v>
                </c:pt>
                <c:pt idx="3">
                  <c:v>Boursin</c:v>
                </c:pt>
                <c:pt idx="4">
                  <c:v>St Moret</c:v>
                </c:pt>
                <c:pt idx="5">
                  <c:v>St Moret</c:v>
                </c:pt>
                <c:pt idx="6">
                  <c:v>Tartare</c:v>
                </c:pt>
                <c:pt idx="7">
                  <c:v>Paysan Bret</c:v>
                </c:pt>
                <c:pt idx="8">
                  <c:v>Carre Frais</c:v>
                </c:pt>
                <c:pt idx="9">
                  <c:v>Tartare</c:v>
                </c:pt>
                <c:pt idx="10">
                  <c:v>Boursin</c:v>
                </c:pt>
                <c:pt idx="11">
                  <c:v>Tartare</c:v>
                </c:pt>
                <c:pt idx="12">
                  <c:v>St Moret</c:v>
                </c:pt>
                <c:pt idx="13">
                  <c:v>Carre Frais</c:v>
                </c:pt>
                <c:pt idx="14">
                  <c:v>Kiri</c:v>
                </c:pt>
                <c:pt idx="15">
                  <c:v>Paysan Bret</c:v>
                </c:pt>
                <c:pt idx="16">
                  <c:v>Paysan Bret</c:v>
                </c:pt>
                <c:pt idx="17">
                  <c:v>Paysan Bret</c:v>
                </c:pt>
                <c:pt idx="18">
                  <c:v>Paysan Bret</c:v>
                </c:pt>
                <c:pt idx="19">
                  <c:v>Savencia: A</c:v>
                </c:pt>
                <c:pt idx="20">
                  <c:v>St Moret</c:v>
                </c:pt>
                <c:pt idx="21">
                  <c:v>Boursin</c:v>
                </c:pt>
                <c:pt idx="22">
                  <c:v>Paysan Bret</c:v>
                </c:pt>
                <c:pt idx="23">
                  <c:v>All Others</c:v>
                </c:pt>
                <c:pt idx="24">
                  <c:v>Boursin</c:v>
                </c:pt>
                <c:pt idx="25">
                  <c:v>Philadelphi</c:v>
                </c:pt>
                <c:pt idx="26">
                  <c:v>St Moret</c:v>
                </c:pt>
                <c:pt idx="27">
                  <c:v>Boursin</c:v>
                </c:pt>
                <c:pt idx="28">
                  <c:v>Tartare</c:v>
                </c:pt>
                <c:pt idx="29">
                  <c:v>All Others</c:v>
                </c:pt>
                <c:pt idx="30">
                  <c:v>All Others</c:v>
                </c:pt>
                <c:pt idx="31">
                  <c:v>All Others</c:v>
                </c:pt>
                <c:pt idx="32">
                  <c:v>Kiri</c:v>
                </c:pt>
                <c:pt idx="33">
                  <c:v>Carre Frais</c:v>
                </c:pt>
              </c:strCache>
            </c:strRef>
          </c:cat>
          <c:val>
            <c:numRef>
              <c:f>Sheet1!$B$2:$B$35</c:f>
              <c:numCache>
                <c:formatCode>General</c:formatCode>
                <c:ptCount val="34"/>
                <c:pt idx="0">
                  <c:v>0.96</c:v>
                </c:pt>
                <c:pt idx="1">
                  <c:v>0.86</c:v>
                </c:pt>
                <c:pt idx="2">
                  <c:v>0.91</c:v>
                </c:pt>
                <c:pt idx="3">
                  <c:v>0.83</c:v>
                </c:pt>
                <c:pt idx="4">
                  <c:v>0.65</c:v>
                </c:pt>
                <c:pt idx="5">
                  <c:v>0.75</c:v>
                </c:pt>
                <c:pt idx="6">
                  <c:v>0.74</c:v>
                </c:pt>
                <c:pt idx="7">
                  <c:v>0.48</c:v>
                </c:pt>
                <c:pt idx="8">
                  <c:v>0.54</c:v>
                </c:pt>
                <c:pt idx="9">
                  <c:v>0.41</c:v>
                </c:pt>
                <c:pt idx="10">
                  <c:v>0.49</c:v>
                </c:pt>
                <c:pt idx="11">
                  <c:v>0.59</c:v>
                </c:pt>
                <c:pt idx="12">
                  <c:v>0.19</c:v>
                </c:pt>
                <c:pt idx="13">
                  <c:v>0.28000000000000003</c:v>
                </c:pt>
                <c:pt idx="14">
                  <c:v>0.54</c:v>
                </c:pt>
                <c:pt idx="15">
                  <c:v>0.24</c:v>
                </c:pt>
                <c:pt idx="16">
                  <c:v>0.28999999999999998</c:v>
                </c:pt>
                <c:pt idx="17">
                  <c:v>0.05</c:v>
                </c:pt>
                <c:pt idx="18">
                  <c:v>0.06</c:v>
                </c:pt>
                <c:pt idx="19">
                  <c:v>0.12</c:v>
                </c:pt>
                <c:pt idx="20">
                  <c:v>0.08</c:v>
                </c:pt>
                <c:pt idx="21">
                  <c:v>0.09</c:v>
                </c:pt>
                <c:pt idx="22">
                  <c:v>0.03</c:v>
                </c:pt>
                <c:pt idx="23">
                  <c:v>0.04</c:v>
                </c:pt>
                <c:pt idx="24">
                  <c:v>0.08</c:v>
                </c:pt>
                <c:pt idx="25">
                  <c:v>0.03</c:v>
                </c:pt>
                <c:pt idx="26">
                  <c:v>0.03</c:v>
                </c:pt>
                <c:pt idx="27">
                  <c:v>0.11</c:v>
                </c:pt>
                <c:pt idx="28">
                  <c:v>0.03</c:v>
                </c:pt>
                <c:pt idx="29">
                  <c:v>0.02</c:v>
                </c:pt>
                <c:pt idx="30">
                  <c:v>0.01</c:v>
                </c:pt>
                <c:pt idx="31">
                  <c:v>0.01</c:v>
                </c:pt>
                <c:pt idx="32">
                  <c:v>0.1</c:v>
                </c:pt>
                <c:pt idx="3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5</c:f>
              <c:strCache>
                <c:ptCount val="34"/>
                <c:pt idx="0">
                  <c:v>St Moret</c:v>
                </c:pt>
                <c:pt idx="1">
                  <c:v>Paysan Bret</c:v>
                </c:pt>
                <c:pt idx="2">
                  <c:v>Philadelphi</c:v>
                </c:pt>
                <c:pt idx="3">
                  <c:v>Boursin</c:v>
                </c:pt>
                <c:pt idx="4">
                  <c:v>St Moret</c:v>
                </c:pt>
                <c:pt idx="5">
                  <c:v>St Moret</c:v>
                </c:pt>
                <c:pt idx="6">
                  <c:v>Tartare</c:v>
                </c:pt>
                <c:pt idx="7">
                  <c:v>Paysan Bret</c:v>
                </c:pt>
                <c:pt idx="8">
                  <c:v>Carre Frais</c:v>
                </c:pt>
                <c:pt idx="9">
                  <c:v>Tartare</c:v>
                </c:pt>
                <c:pt idx="10">
                  <c:v>Boursin</c:v>
                </c:pt>
                <c:pt idx="11">
                  <c:v>Tartare</c:v>
                </c:pt>
                <c:pt idx="12">
                  <c:v>St Moret</c:v>
                </c:pt>
                <c:pt idx="13">
                  <c:v>Carre Frais</c:v>
                </c:pt>
                <c:pt idx="14">
                  <c:v>Kiri</c:v>
                </c:pt>
                <c:pt idx="15">
                  <c:v>Paysan Bret</c:v>
                </c:pt>
                <c:pt idx="16">
                  <c:v>Paysan Bret</c:v>
                </c:pt>
                <c:pt idx="17">
                  <c:v>Paysan Bret</c:v>
                </c:pt>
                <c:pt idx="18">
                  <c:v>Paysan Bret</c:v>
                </c:pt>
                <c:pt idx="19">
                  <c:v>Savencia: A</c:v>
                </c:pt>
                <c:pt idx="20">
                  <c:v>St Moret</c:v>
                </c:pt>
                <c:pt idx="21">
                  <c:v>Boursin</c:v>
                </c:pt>
                <c:pt idx="22">
                  <c:v>Paysan Bret</c:v>
                </c:pt>
                <c:pt idx="23">
                  <c:v>All Others</c:v>
                </c:pt>
                <c:pt idx="24">
                  <c:v>Boursin</c:v>
                </c:pt>
                <c:pt idx="25">
                  <c:v>Philadelphi</c:v>
                </c:pt>
                <c:pt idx="26">
                  <c:v>St Moret</c:v>
                </c:pt>
                <c:pt idx="27">
                  <c:v>Boursin</c:v>
                </c:pt>
                <c:pt idx="28">
                  <c:v>Tartare</c:v>
                </c:pt>
                <c:pt idx="29">
                  <c:v>All Others</c:v>
                </c:pt>
                <c:pt idx="30">
                  <c:v>All Others</c:v>
                </c:pt>
                <c:pt idx="31">
                  <c:v>All Others</c:v>
                </c:pt>
                <c:pt idx="32">
                  <c:v>Kiri</c:v>
                </c:pt>
                <c:pt idx="33">
                  <c:v>Carre Frais</c:v>
                </c:pt>
              </c:strCache>
            </c:strRef>
          </c:cat>
          <c:val>
            <c:numRef>
              <c:f>Sheet1!$C$2:$C$35</c:f>
              <c:numCache>
                <c:formatCode>General</c:formatCode>
                <c:ptCount val="34"/>
                <c:pt idx="0">
                  <c:v>0.29002917410718709</c:v>
                </c:pt>
                <c:pt idx="1">
                  <c:v>0.39368231273506593</c:v>
                </c:pt>
                <c:pt idx="2">
                  <c:v>0.47321396129013504</c:v>
                </c:pt>
                <c:pt idx="3">
                  <c:v>0.53425381076865452</c:v>
                </c:pt>
                <c:pt idx="4">
                  <c:v>0.59242744955806126</c:v>
                </c:pt>
                <c:pt idx="5">
                  <c:v>0.64529329689212522</c:v>
                </c:pt>
                <c:pt idx="6">
                  <c:v>0.69784087823575935</c:v>
                </c:pt>
                <c:pt idx="7">
                  <c:v>0.76869428693553621</c:v>
                </c:pt>
                <c:pt idx="8">
                  <c:v>0.80304009259607934</c:v>
                </c:pt>
                <c:pt idx="9">
                  <c:v>0.83326429587407036</c:v>
                </c:pt>
                <c:pt idx="10">
                  <c:v>0.86283330393460667</c:v>
                </c:pt>
                <c:pt idx="11">
                  <c:v>0.88825411862947756</c:v>
                </c:pt>
                <c:pt idx="12">
                  <c:v>0.90995896730531267</c:v>
                </c:pt>
                <c:pt idx="13">
                  <c:v>0.92764180591423095</c:v>
                </c:pt>
                <c:pt idx="14">
                  <c:v>0.93966770189823279</c:v>
                </c:pt>
                <c:pt idx="15">
                  <c:v>0.94909577444504123</c:v>
                </c:pt>
                <c:pt idx="16">
                  <c:v>0.95727291465582676</c:v>
                </c:pt>
                <c:pt idx="17">
                  <c:v>0.96872503998557147</c:v>
                </c:pt>
                <c:pt idx="18">
                  <c:v>0.97360308151507158</c:v>
                </c:pt>
                <c:pt idx="19">
                  <c:v>0.97685808210634939</c:v>
                </c:pt>
                <c:pt idx="20">
                  <c:v>0.97989226192481715</c:v>
                </c:pt>
                <c:pt idx="21">
                  <c:v>0.98273683647239052</c:v>
                </c:pt>
                <c:pt idx="22">
                  <c:v>0.98520864177222123</c:v>
                </c:pt>
                <c:pt idx="23">
                  <c:v>0.98737754109050113</c:v>
                </c:pt>
                <c:pt idx="24">
                  <c:v>0.98951373845439328</c:v>
                </c:pt>
                <c:pt idx="25">
                  <c:v>0.99116964650838912</c:v>
                </c:pt>
                <c:pt idx="26">
                  <c:v>0.99267889125179765</c:v>
                </c:pt>
                <c:pt idx="27">
                  <c:v>0.99358248919349035</c:v>
                </c:pt>
                <c:pt idx="28">
                  <c:v>0.9944675890599739</c:v>
                </c:pt>
                <c:pt idx="29">
                  <c:v>0.99532741923443058</c:v>
                </c:pt>
                <c:pt idx="30">
                  <c:v>0.99698068470625367</c:v>
                </c:pt>
                <c:pt idx="31">
                  <c:v>0.99758550570104054</c:v>
                </c:pt>
                <c:pt idx="32">
                  <c:v>0.99826795254715184</c:v>
                </c:pt>
                <c:pt idx="33">
                  <c:v>0.9987900276876545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0</c:f>
              <c:strCache>
                <c:ptCount val="79"/>
                <c:pt idx="0">
                  <c:v>St Moret</c:v>
                </c:pt>
                <c:pt idx="1">
                  <c:v>St Moret</c:v>
                </c:pt>
                <c:pt idx="2">
                  <c:v>Private Lab</c:v>
                </c:pt>
                <c:pt idx="3">
                  <c:v>St Moret</c:v>
                </c:pt>
                <c:pt idx="4">
                  <c:v>Tartare</c:v>
                </c:pt>
                <c:pt idx="5">
                  <c:v>St Moret</c:v>
                </c:pt>
                <c:pt idx="6">
                  <c:v>Paysan Bret</c:v>
                </c:pt>
                <c:pt idx="7">
                  <c:v>Paysan Bret</c:v>
                </c:pt>
                <c:pt idx="8">
                  <c:v>Carre Frais</c:v>
                </c:pt>
                <c:pt idx="9">
                  <c:v>St Moret</c:v>
                </c:pt>
                <c:pt idx="10">
                  <c:v>Boursin</c:v>
                </c:pt>
                <c:pt idx="11">
                  <c:v>Carre Frais</c:v>
                </c:pt>
                <c:pt idx="12">
                  <c:v>Boursin</c:v>
                </c:pt>
                <c:pt idx="13">
                  <c:v>Tartare</c:v>
                </c:pt>
                <c:pt idx="14">
                  <c:v>Private Lab</c:v>
                </c:pt>
                <c:pt idx="15">
                  <c:v>Boursin</c:v>
                </c:pt>
                <c:pt idx="16">
                  <c:v>St Moret</c:v>
                </c:pt>
                <c:pt idx="17">
                  <c:v>Private Lab</c:v>
                </c:pt>
                <c:pt idx="18">
                  <c:v>Philadelphi</c:v>
                </c:pt>
                <c:pt idx="19">
                  <c:v>St Moret</c:v>
                </c:pt>
                <c:pt idx="20">
                  <c:v>Private Lab</c:v>
                </c:pt>
                <c:pt idx="21">
                  <c:v>Philadelphi</c:v>
                </c:pt>
                <c:pt idx="22">
                  <c:v>Paysan Bret</c:v>
                </c:pt>
                <c:pt idx="23">
                  <c:v>Tartare</c:v>
                </c:pt>
                <c:pt idx="24">
                  <c:v>Boursin</c:v>
                </c:pt>
                <c:pt idx="25">
                  <c:v>Carre Frais</c:v>
                </c:pt>
                <c:pt idx="26">
                  <c:v>Paysan Bret</c:v>
                </c:pt>
                <c:pt idx="27">
                  <c:v>Paysan Bret</c:v>
                </c:pt>
                <c:pt idx="28">
                  <c:v>Paysan Bret</c:v>
                </c:pt>
                <c:pt idx="29">
                  <c:v>Private Lab</c:v>
                </c:pt>
                <c:pt idx="30">
                  <c:v>Boursin</c:v>
                </c:pt>
                <c:pt idx="31">
                  <c:v>Boursin</c:v>
                </c:pt>
                <c:pt idx="32">
                  <c:v>Tartare</c:v>
                </c:pt>
                <c:pt idx="33">
                  <c:v>Paysan Bret</c:v>
                </c:pt>
                <c:pt idx="34">
                  <c:v>Boursin</c:v>
                </c:pt>
                <c:pt idx="35">
                  <c:v>St Moret</c:v>
                </c:pt>
                <c:pt idx="36">
                  <c:v>Kiri</c:v>
                </c:pt>
                <c:pt idx="37">
                  <c:v>Tartare</c:v>
                </c:pt>
                <c:pt idx="38">
                  <c:v>Boursin</c:v>
                </c:pt>
                <c:pt idx="39">
                  <c:v>Boursin</c:v>
                </c:pt>
                <c:pt idx="40">
                  <c:v>St Moret</c:v>
                </c:pt>
                <c:pt idx="41">
                  <c:v>Savencia: A</c:v>
                </c:pt>
                <c:pt idx="42">
                  <c:v>Boursin</c:v>
                </c:pt>
                <c:pt idx="43">
                  <c:v>Saint Agur</c:v>
                </c:pt>
                <c:pt idx="44">
                  <c:v>Paysan Bret</c:v>
                </c:pt>
                <c:pt idx="45">
                  <c:v>Tartare</c:v>
                </c:pt>
                <c:pt idx="46">
                  <c:v>Tartare</c:v>
                </c:pt>
                <c:pt idx="47">
                  <c:v>Paysan Bret</c:v>
                </c:pt>
                <c:pt idx="48">
                  <c:v>Paysan Bret</c:v>
                </c:pt>
                <c:pt idx="49">
                  <c:v>Carre Frais</c:v>
                </c:pt>
                <c:pt idx="50">
                  <c:v>All Others</c:v>
                </c:pt>
                <c:pt idx="51">
                  <c:v>Lactalis: A</c:v>
                </c:pt>
                <c:pt idx="52">
                  <c:v>Tartare</c:v>
                </c:pt>
                <c:pt idx="53">
                  <c:v>All Others</c:v>
                </c:pt>
                <c:pt idx="54">
                  <c:v>Paysan Bret</c:v>
                </c:pt>
                <c:pt idx="55">
                  <c:v>All Others</c:v>
                </c:pt>
                <c:pt idx="56">
                  <c:v>All Others</c:v>
                </c:pt>
                <c:pt idx="57">
                  <c:v>All Others</c:v>
                </c:pt>
                <c:pt idx="58">
                  <c:v>All Others</c:v>
                </c:pt>
                <c:pt idx="59">
                  <c:v>All Others</c:v>
                </c:pt>
                <c:pt idx="60">
                  <c:v>All Others</c:v>
                </c:pt>
                <c:pt idx="61">
                  <c:v>All Others</c:v>
                </c:pt>
                <c:pt idx="62">
                  <c:v>All Others</c:v>
                </c:pt>
                <c:pt idx="63">
                  <c:v>All Others</c:v>
                </c:pt>
                <c:pt idx="64">
                  <c:v>All Others</c:v>
                </c:pt>
                <c:pt idx="65">
                  <c:v>All Others</c:v>
                </c:pt>
                <c:pt idx="66">
                  <c:v>All Others</c:v>
                </c:pt>
                <c:pt idx="67">
                  <c:v>Other Suppl</c:v>
                </c:pt>
                <c:pt idx="68">
                  <c:v>All Others</c:v>
                </c:pt>
                <c:pt idx="69">
                  <c:v>Kiri</c:v>
                </c:pt>
                <c:pt idx="70">
                  <c:v>All Others</c:v>
                </c:pt>
                <c:pt idx="71">
                  <c:v>All Others</c:v>
                </c:pt>
                <c:pt idx="72">
                  <c:v>All Others</c:v>
                </c:pt>
                <c:pt idx="73">
                  <c:v>Boursin</c:v>
                </c:pt>
                <c:pt idx="74">
                  <c:v>All Others</c:v>
                </c:pt>
                <c:pt idx="75">
                  <c:v>All Others</c:v>
                </c:pt>
                <c:pt idx="76">
                  <c:v>All Others</c:v>
                </c:pt>
                <c:pt idx="77">
                  <c:v>All Others</c:v>
                </c:pt>
                <c:pt idx="78">
                  <c:v>Saint Agur</c:v>
                </c:pt>
              </c:strCache>
            </c:strRef>
          </c:cat>
          <c:val>
            <c:numRef>
              <c:f>Sheet1!$B$2:$B$80</c:f>
              <c:numCache>
                <c:formatCode>General</c:formatCode>
                <c:ptCount val="79"/>
                <c:pt idx="0">
                  <c:v>0.98</c:v>
                </c:pt>
                <c:pt idx="1">
                  <c:v>0.99</c:v>
                </c:pt>
                <c:pt idx="2">
                  <c:v>1</c:v>
                </c:pt>
                <c:pt idx="3">
                  <c:v>1</c:v>
                </c:pt>
                <c:pt idx="4">
                  <c:v>0.99</c:v>
                </c:pt>
                <c:pt idx="5">
                  <c:v>1</c:v>
                </c:pt>
                <c:pt idx="6">
                  <c:v>0.88</c:v>
                </c:pt>
                <c:pt idx="7">
                  <c:v>1</c:v>
                </c:pt>
                <c:pt idx="8">
                  <c:v>0.99</c:v>
                </c:pt>
                <c:pt idx="9">
                  <c:v>0.88</c:v>
                </c:pt>
                <c:pt idx="10">
                  <c:v>0.99</c:v>
                </c:pt>
                <c:pt idx="11">
                  <c:v>0.97</c:v>
                </c:pt>
                <c:pt idx="12">
                  <c:v>0.99</c:v>
                </c:pt>
                <c:pt idx="13">
                  <c:v>0.97</c:v>
                </c:pt>
                <c:pt idx="14">
                  <c:v>0.99</c:v>
                </c:pt>
                <c:pt idx="15">
                  <c:v>1</c:v>
                </c:pt>
                <c:pt idx="16">
                  <c:v>0.97</c:v>
                </c:pt>
                <c:pt idx="17">
                  <c:v>0.94</c:v>
                </c:pt>
                <c:pt idx="18">
                  <c:v>0.69</c:v>
                </c:pt>
                <c:pt idx="19">
                  <c:v>0.9</c:v>
                </c:pt>
                <c:pt idx="20">
                  <c:v>0.94</c:v>
                </c:pt>
                <c:pt idx="21">
                  <c:v>0.74</c:v>
                </c:pt>
                <c:pt idx="22">
                  <c:v>0.71</c:v>
                </c:pt>
                <c:pt idx="23">
                  <c:v>0.82</c:v>
                </c:pt>
                <c:pt idx="24">
                  <c:v>0.97</c:v>
                </c:pt>
                <c:pt idx="25">
                  <c:v>0.78</c:v>
                </c:pt>
                <c:pt idx="26">
                  <c:v>0.42</c:v>
                </c:pt>
                <c:pt idx="27">
                  <c:v>0.53</c:v>
                </c:pt>
                <c:pt idx="28">
                  <c:v>0.67</c:v>
                </c:pt>
                <c:pt idx="29">
                  <c:v>0.79</c:v>
                </c:pt>
                <c:pt idx="30">
                  <c:v>0.9</c:v>
                </c:pt>
                <c:pt idx="31">
                  <c:v>0.95</c:v>
                </c:pt>
                <c:pt idx="32">
                  <c:v>0.79</c:v>
                </c:pt>
                <c:pt idx="33">
                  <c:v>0.56999999999999995</c:v>
                </c:pt>
                <c:pt idx="34">
                  <c:v>0.96</c:v>
                </c:pt>
                <c:pt idx="35">
                  <c:v>0.2</c:v>
                </c:pt>
                <c:pt idx="36">
                  <c:v>0.87</c:v>
                </c:pt>
                <c:pt idx="37">
                  <c:v>0.79</c:v>
                </c:pt>
                <c:pt idx="38">
                  <c:v>0.84</c:v>
                </c:pt>
                <c:pt idx="39">
                  <c:v>0.86</c:v>
                </c:pt>
                <c:pt idx="40">
                  <c:v>0.66</c:v>
                </c:pt>
                <c:pt idx="41">
                  <c:v>0.47</c:v>
                </c:pt>
                <c:pt idx="42">
                  <c:v>0.83</c:v>
                </c:pt>
                <c:pt idx="43">
                  <c:v>0.69</c:v>
                </c:pt>
                <c:pt idx="44">
                  <c:v>0.52</c:v>
                </c:pt>
                <c:pt idx="45">
                  <c:v>0.52</c:v>
                </c:pt>
                <c:pt idx="46">
                  <c:v>0.56000000000000005</c:v>
                </c:pt>
                <c:pt idx="47">
                  <c:v>0.5</c:v>
                </c:pt>
                <c:pt idx="48">
                  <c:v>0.18</c:v>
                </c:pt>
                <c:pt idx="49">
                  <c:v>0.26</c:v>
                </c:pt>
                <c:pt idx="50">
                  <c:v>0.05</c:v>
                </c:pt>
                <c:pt idx="51">
                  <c:v>0.28000000000000003</c:v>
                </c:pt>
                <c:pt idx="52">
                  <c:v>0.13</c:v>
                </c:pt>
                <c:pt idx="53">
                  <c:v>0.17</c:v>
                </c:pt>
                <c:pt idx="54">
                  <c:v>0.13</c:v>
                </c:pt>
                <c:pt idx="55">
                  <c:v>0.12</c:v>
                </c:pt>
                <c:pt idx="56">
                  <c:v>0.04</c:v>
                </c:pt>
                <c:pt idx="57">
                  <c:v>0.1</c:v>
                </c:pt>
                <c:pt idx="58">
                  <c:v>0.02</c:v>
                </c:pt>
                <c:pt idx="59">
                  <c:v>0.02</c:v>
                </c:pt>
                <c:pt idx="60">
                  <c:v>0.02</c:v>
                </c:pt>
                <c:pt idx="61">
                  <c:v>0.01</c:v>
                </c:pt>
                <c:pt idx="62">
                  <c:v>0.02</c:v>
                </c:pt>
                <c:pt idx="63">
                  <c:v>0.02</c:v>
                </c:pt>
                <c:pt idx="64">
                  <c:v>0.02</c:v>
                </c:pt>
                <c:pt idx="65">
                  <c:v>0.01</c:v>
                </c:pt>
                <c:pt idx="66">
                  <c:v>0.02</c:v>
                </c:pt>
                <c:pt idx="67">
                  <c:v>0.02</c:v>
                </c:pt>
                <c:pt idx="68">
                  <c:v>0.01</c:v>
                </c:pt>
                <c:pt idx="69">
                  <c:v>0.09</c:v>
                </c:pt>
                <c:pt idx="70">
                  <c:v>0.01</c:v>
                </c:pt>
                <c:pt idx="71">
                  <c:v>0.01</c:v>
                </c:pt>
                <c:pt idx="72">
                  <c:v>0.01</c:v>
                </c:pt>
                <c:pt idx="73">
                  <c:v>0.06</c:v>
                </c:pt>
                <c:pt idx="74">
                  <c:v>0.01</c:v>
                </c:pt>
                <c:pt idx="75">
                  <c:v>0.01</c:v>
                </c:pt>
                <c:pt idx="76">
                  <c:v>0.01</c:v>
                </c:pt>
                <c:pt idx="77">
                  <c:v>0.01</c:v>
                </c:pt>
                <c:pt idx="7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0</c:f>
              <c:strCache>
                <c:ptCount val="79"/>
                <c:pt idx="0">
                  <c:v>St Moret</c:v>
                </c:pt>
                <c:pt idx="1">
                  <c:v>St Moret</c:v>
                </c:pt>
                <c:pt idx="2">
                  <c:v>Private Lab</c:v>
                </c:pt>
                <c:pt idx="3">
                  <c:v>St Moret</c:v>
                </c:pt>
                <c:pt idx="4">
                  <c:v>Tartare</c:v>
                </c:pt>
                <c:pt idx="5">
                  <c:v>St Moret</c:v>
                </c:pt>
                <c:pt idx="6">
                  <c:v>Paysan Bret</c:v>
                </c:pt>
                <c:pt idx="7">
                  <c:v>Paysan Bret</c:v>
                </c:pt>
                <c:pt idx="8">
                  <c:v>Carre Frais</c:v>
                </c:pt>
                <c:pt idx="9">
                  <c:v>St Moret</c:v>
                </c:pt>
                <c:pt idx="10">
                  <c:v>Boursin</c:v>
                </c:pt>
                <c:pt idx="11">
                  <c:v>Carre Frais</c:v>
                </c:pt>
                <c:pt idx="12">
                  <c:v>Boursin</c:v>
                </c:pt>
                <c:pt idx="13">
                  <c:v>Tartare</c:v>
                </c:pt>
                <c:pt idx="14">
                  <c:v>Private Lab</c:v>
                </c:pt>
                <c:pt idx="15">
                  <c:v>Boursin</c:v>
                </c:pt>
                <c:pt idx="16">
                  <c:v>St Moret</c:v>
                </c:pt>
                <c:pt idx="17">
                  <c:v>Private Lab</c:v>
                </c:pt>
                <c:pt idx="18">
                  <c:v>Philadelphi</c:v>
                </c:pt>
                <c:pt idx="19">
                  <c:v>St Moret</c:v>
                </c:pt>
                <c:pt idx="20">
                  <c:v>Private Lab</c:v>
                </c:pt>
                <c:pt idx="21">
                  <c:v>Philadelphi</c:v>
                </c:pt>
                <c:pt idx="22">
                  <c:v>Paysan Bret</c:v>
                </c:pt>
                <c:pt idx="23">
                  <c:v>Tartare</c:v>
                </c:pt>
                <c:pt idx="24">
                  <c:v>Boursin</c:v>
                </c:pt>
                <c:pt idx="25">
                  <c:v>Carre Frais</c:v>
                </c:pt>
                <c:pt idx="26">
                  <c:v>Paysan Bret</c:v>
                </c:pt>
                <c:pt idx="27">
                  <c:v>Paysan Bret</c:v>
                </c:pt>
                <c:pt idx="28">
                  <c:v>Paysan Bret</c:v>
                </c:pt>
                <c:pt idx="29">
                  <c:v>Private Lab</c:v>
                </c:pt>
                <c:pt idx="30">
                  <c:v>Boursin</c:v>
                </c:pt>
                <c:pt idx="31">
                  <c:v>Boursin</c:v>
                </c:pt>
                <c:pt idx="32">
                  <c:v>Tartare</c:v>
                </c:pt>
                <c:pt idx="33">
                  <c:v>Paysan Bret</c:v>
                </c:pt>
                <c:pt idx="34">
                  <c:v>Boursin</c:v>
                </c:pt>
                <c:pt idx="35">
                  <c:v>St Moret</c:v>
                </c:pt>
                <c:pt idx="36">
                  <c:v>Kiri</c:v>
                </c:pt>
                <c:pt idx="37">
                  <c:v>Tartare</c:v>
                </c:pt>
                <c:pt idx="38">
                  <c:v>Boursin</c:v>
                </c:pt>
                <c:pt idx="39">
                  <c:v>Boursin</c:v>
                </c:pt>
                <c:pt idx="40">
                  <c:v>St Moret</c:v>
                </c:pt>
                <c:pt idx="41">
                  <c:v>Savencia: A</c:v>
                </c:pt>
                <c:pt idx="42">
                  <c:v>Boursin</c:v>
                </c:pt>
                <c:pt idx="43">
                  <c:v>Saint Agur</c:v>
                </c:pt>
                <c:pt idx="44">
                  <c:v>Paysan Bret</c:v>
                </c:pt>
                <c:pt idx="45">
                  <c:v>Tartare</c:v>
                </c:pt>
                <c:pt idx="46">
                  <c:v>Tartare</c:v>
                </c:pt>
                <c:pt idx="47">
                  <c:v>Paysan Bret</c:v>
                </c:pt>
                <c:pt idx="48">
                  <c:v>Paysan Bret</c:v>
                </c:pt>
                <c:pt idx="49">
                  <c:v>Carre Frais</c:v>
                </c:pt>
                <c:pt idx="50">
                  <c:v>All Others</c:v>
                </c:pt>
                <c:pt idx="51">
                  <c:v>Lactalis: A</c:v>
                </c:pt>
                <c:pt idx="52">
                  <c:v>Tartare</c:v>
                </c:pt>
                <c:pt idx="53">
                  <c:v>All Others</c:v>
                </c:pt>
                <c:pt idx="54">
                  <c:v>Paysan Bret</c:v>
                </c:pt>
                <c:pt idx="55">
                  <c:v>All Others</c:v>
                </c:pt>
                <c:pt idx="56">
                  <c:v>All Others</c:v>
                </c:pt>
                <c:pt idx="57">
                  <c:v>All Others</c:v>
                </c:pt>
                <c:pt idx="58">
                  <c:v>All Others</c:v>
                </c:pt>
                <c:pt idx="59">
                  <c:v>All Others</c:v>
                </c:pt>
                <c:pt idx="60">
                  <c:v>All Others</c:v>
                </c:pt>
                <c:pt idx="61">
                  <c:v>All Others</c:v>
                </c:pt>
                <c:pt idx="62">
                  <c:v>All Others</c:v>
                </c:pt>
                <c:pt idx="63">
                  <c:v>All Others</c:v>
                </c:pt>
                <c:pt idx="64">
                  <c:v>All Others</c:v>
                </c:pt>
                <c:pt idx="65">
                  <c:v>All Others</c:v>
                </c:pt>
                <c:pt idx="66">
                  <c:v>All Others</c:v>
                </c:pt>
                <c:pt idx="67">
                  <c:v>Other Suppl</c:v>
                </c:pt>
                <c:pt idx="68">
                  <c:v>All Others</c:v>
                </c:pt>
                <c:pt idx="69">
                  <c:v>Kiri</c:v>
                </c:pt>
                <c:pt idx="70">
                  <c:v>All Others</c:v>
                </c:pt>
                <c:pt idx="71">
                  <c:v>All Others</c:v>
                </c:pt>
                <c:pt idx="72">
                  <c:v>All Others</c:v>
                </c:pt>
                <c:pt idx="73">
                  <c:v>Boursin</c:v>
                </c:pt>
                <c:pt idx="74">
                  <c:v>All Others</c:v>
                </c:pt>
                <c:pt idx="75">
                  <c:v>All Others</c:v>
                </c:pt>
                <c:pt idx="76">
                  <c:v>All Others</c:v>
                </c:pt>
                <c:pt idx="77">
                  <c:v>All Others</c:v>
                </c:pt>
                <c:pt idx="78">
                  <c:v>Saint Agur</c:v>
                </c:pt>
              </c:strCache>
            </c:strRef>
          </c:cat>
          <c:val>
            <c:numRef>
              <c:f>Sheet1!$C$2:$C$80</c:f>
              <c:numCache>
                <c:formatCode>General</c:formatCode>
                <c:ptCount val="79"/>
                <c:pt idx="0">
                  <c:v>7.7116308228460217E-2</c:v>
                </c:pt>
                <c:pt idx="1">
                  <c:v>0.14770277443178492</c:v>
                </c:pt>
                <c:pt idx="2">
                  <c:v>0.21526140744871752</c:v>
                </c:pt>
                <c:pt idx="3">
                  <c:v>0.27413944314719013</c:v>
                </c:pt>
                <c:pt idx="4">
                  <c:v>0.3290083625718892</c:v>
                </c:pt>
                <c:pt idx="5">
                  <c:v>0.37761000134563355</c:v>
                </c:pt>
                <c:pt idx="6">
                  <c:v>0.41720172497412983</c:v>
                </c:pt>
                <c:pt idx="7">
                  <c:v>0.45596484923493735</c:v>
                </c:pt>
                <c:pt idx="8">
                  <c:v>0.48568890820793426</c:v>
                </c:pt>
                <c:pt idx="9">
                  <c:v>0.51499373035582385</c:v>
                </c:pt>
                <c:pt idx="10">
                  <c:v>0.54367064267608167</c:v>
                </c:pt>
                <c:pt idx="11">
                  <c:v>0.5703967014013811</c:v>
                </c:pt>
                <c:pt idx="12">
                  <c:v>0.5969731227281927</c:v>
                </c:pt>
                <c:pt idx="13">
                  <c:v>0.62301291881795584</c:v>
                </c:pt>
                <c:pt idx="14">
                  <c:v>0.6478299846034723</c:v>
                </c:pt>
                <c:pt idx="15">
                  <c:v>0.6702889876854039</c:v>
                </c:pt>
                <c:pt idx="16">
                  <c:v>0.69079692708125962</c:v>
                </c:pt>
                <c:pt idx="17">
                  <c:v>0.71127083171606931</c:v>
                </c:pt>
                <c:pt idx="18">
                  <c:v>0.73052037784047119</c:v>
                </c:pt>
                <c:pt idx="19">
                  <c:v>0.74881931418065661</c:v>
                </c:pt>
                <c:pt idx="20">
                  <c:v>0.76600303434601091</c:v>
                </c:pt>
                <c:pt idx="21">
                  <c:v>0.77951541223186194</c:v>
                </c:pt>
                <c:pt idx="22">
                  <c:v>0.79263765091238891</c:v>
                </c:pt>
                <c:pt idx="23">
                  <c:v>0.80529816183928049</c:v>
                </c:pt>
                <c:pt idx="24">
                  <c:v>0.81768728756505338</c:v>
                </c:pt>
                <c:pt idx="25">
                  <c:v>0.82963637744507979</c:v>
                </c:pt>
                <c:pt idx="26">
                  <c:v>0.84064368136782763</c:v>
                </c:pt>
                <c:pt idx="27">
                  <c:v>0.85152403773278484</c:v>
                </c:pt>
                <c:pt idx="28">
                  <c:v>0.86238595860217548</c:v>
                </c:pt>
                <c:pt idx="29">
                  <c:v>0.87284439948027648</c:v>
                </c:pt>
                <c:pt idx="30">
                  <c:v>0.88221798235003501</c:v>
                </c:pt>
                <c:pt idx="31">
                  <c:v>0.89120872668080497</c:v>
                </c:pt>
                <c:pt idx="32">
                  <c:v>0.89936073474746348</c:v>
                </c:pt>
                <c:pt idx="33">
                  <c:v>0.90746331887871412</c:v>
                </c:pt>
                <c:pt idx="34">
                  <c:v>0.91556128100537826</c:v>
                </c:pt>
                <c:pt idx="35">
                  <c:v>0.9235900181088037</c:v>
                </c:pt>
                <c:pt idx="36">
                  <c:v>0.93048667922521322</c:v>
                </c:pt>
                <c:pt idx="37">
                  <c:v>0.93730938826823873</c:v>
                </c:pt>
                <c:pt idx="38">
                  <c:v>0.94366763837310041</c:v>
                </c:pt>
                <c:pt idx="39">
                  <c:v>0.94999127596634281</c:v>
                </c:pt>
                <c:pt idx="40">
                  <c:v>0.95606695351807536</c:v>
                </c:pt>
                <c:pt idx="41">
                  <c:v>0.96201442296531192</c:v>
                </c:pt>
                <c:pt idx="42">
                  <c:v>0.96731097760754303</c:v>
                </c:pt>
                <c:pt idx="43">
                  <c:v>0.97253699415705064</c:v>
                </c:pt>
                <c:pt idx="44">
                  <c:v>0.97725133378972107</c:v>
                </c:pt>
                <c:pt idx="45">
                  <c:v>0.98159423232653098</c:v>
                </c:pt>
                <c:pt idx="46">
                  <c:v>0.98562225680088567</c:v>
                </c:pt>
                <c:pt idx="47">
                  <c:v>0.98949801773778279</c:v>
                </c:pt>
                <c:pt idx="48">
                  <c:v>0.99269560454716999</c:v>
                </c:pt>
                <c:pt idx="49">
                  <c:v>0.99447954074922051</c:v>
                </c:pt>
                <c:pt idx="50">
                  <c:v>0.99546224195164557</c:v>
                </c:pt>
                <c:pt idx="51">
                  <c:v>0.99635959363755855</c:v>
                </c:pt>
                <c:pt idx="52">
                  <c:v>0.99680094255278984</c:v>
                </c:pt>
                <c:pt idx="53">
                  <c:v>0.99723036879709914</c:v>
                </c:pt>
                <c:pt idx="54">
                  <c:v>0.99765238932951417</c:v>
                </c:pt>
                <c:pt idx="55">
                  <c:v>0.99800791602321881</c:v>
                </c:pt>
                <c:pt idx="56">
                  <c:v>0.99829474292147868</c:v>
                </c:pt>
                <c:pt idx="57">
                  <c:v>0.99857264094724196</c:v>
                </c:pt>
                <c:pt idx="58">
                  <c:v>0.9987858834315736</c:v>
                </c:pt>
                <c:pt idx="59">
                  <c:v>0.99898111060257377</c:v>
                </c:pt>
                <c:pt idx="60">
                  <c:v>0.99914014957857289</c:v>
                </c:pt>
                <c:pt idx="61">
                  <c:v>0.99929903098623385</c:v>
                </c:pt>
                <c:pt idx="62">
                  <c:v>0.99940980152797165</c:v>
                </c:pt>
                <c:pt idx="63">
                  <c:v>0.99950896453546378</c:v>
                </c:pt>
                <c:pt idx="64">
                  <c:v>0.9996053963584276</c:v>
                </c:pt>
                <c:pt idx="65">
                  <c:v>0.99967829797622376</c:v>
                </c:pt>
                <c:pt idx="66">
                  <c:v>0.99974920372840304</c:v>
                </c:pt>
                <c:pt idx="67">
                  <c:v>0.99981275629146737</c:v>
                </c:pt>
                <c:pt idx="68">
                  <c:v>0.99985041512429151</c:v>
                </c:pt>
                <c:pt idx="69">
                  <c:v>0.99987762192401664</c:v>
                </c:pt>
                <c:pt idx="70">
                  <c:v>0.99990241267588964</c:v>
                </c:pt>
                <c:pt idx="71">
                  <c:v>0.99992373692432279</c:v>
                </c:pt>
                <c:pt idx="72">
                  <c:v>0.99994201485155121</c:v>
                </c:pt>
                <c:pt idx="73">
                  <c:v>0.99995861204983905</c:v>
                </c:pt>
                <c:pt idx="74">
                  <c:v>0.99997358104196576</c:v>
                </c:pt>
                <c:pt idx="75">
                  <c:v>0.99998571380400536</c:v>
                </c:pt>
                <c:pt idx="76">
                  <c:v>0.99999185896919418</c:v>
                </c:pt>
                <c:pt idx="77">
                  <c:v>0.99999511538151653</c:v>
                </c:pt>
                <c:pt idx="7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6</c:f>
              <c:strCache>
                <c:ptCount val="75"/>
                <c:pt idx="0">
                  <c:v>St Moret</c:v>
                </c:pt>
                <c:pt idx="1">
                  <c:v>St Moret</c:v>
                </c:pt>
                <c:pt idx="2">
                  <c:v>Private Lab</c:v>
                </c:pt>
                <c:pt idx="3">
                  <c:v>St Moret</c:v>
                </c:pt>
                <c:pt idx="4">
                  <c:v>Tartare</c:v>
                </c:pt>
                <c:pt idx="5">
                  <c:v>St Moret</c:v>
                </c:pt>
                <c:pt idx="6">
                  <c:v>Paysan Bret</c:v>
                </c:pt>
                <c:pt idx="7">
                  <c:v>Paysan Bret</c:v>
                </c:pt>
                <c:pt idx="8">
                  <c:v>St Moret</c:v>
                </c:pt>
                <c:pt idx="9">
                  <c:v>Boursin</c:v>
                </c:pt>
                <c:pt idx="10">
                  <c:v>Boursin</c:v>
                </c:pt>
                <c:pt idx="11">
                  <c:v>Carre Frais</c:v>
                </c:pt>
                <c:pt idx="12">
                  <c:v>St Moret</c:v>
                </c:pt>
                <c:pt idx="13">
                  <c:v>Carre Frais</c:v>
                </c:pt>
                <c:pt idx="14">
                  <c:v>Philadelphi</c:v>
                </c:pt>
                <c:pt idx="15">
                  <c:v>Tartare</c:v>
                </c:pt>
                <c:pt idx="16">
                  <c:v>St Moret</c:v>
                </c:pt>
                <c:pt idx="17">
                  <c:v>Boursin</c:v>
                </c:pt>
                <c:pt idx="18">
                  <c:v>Private Lab</c:v>
                </c:pt>
                <c:pt idx="19">
                  <c:v>St Moret</c:v>
                </c:pt>
                <c:pt idx="20">
                  <c:v>Private Lab</c:v>
                </c:pt>
                <c:pt idx="21">
                  <c:v>Paysan Bret</c:v>
                </c:pt>
                <c:pt idx="22">
                  <c:v>Tartare</c:v>
                </c:pt>
                <c:pt idx="23">
                  <c:v>Carre Frais</c:v>
                </c:pt>
                <c:pt idx="24">
                  <c:v>Philadelphi</c:v>
                </c:pt>
                <c:pt idx="25">
                  <c:v>Paysan Bret</c:v>
                </c:pt>
                <c:pt idx="26">
                  <c:v>Paysan Bret</c:v>
                </c:pt>
                <c:pt idx="27">
                  <c:v>Private Lab</c:v>
                </c:pt>
                <c:pt idx="28">
                  <c:v>Boursin</c:v>
                </c:pt>
                <c:pt idx="29">
                  <c:v>Private Lab</c:v>
                </c:pt>
                <c:pt idx="30">
                  <c:v>Paysan Bret</c:v>
                </c:pt>
                <c:pt idx="31">
                  <c:v>Boursin</c:v>
                </c:pt>
                <c:pt idx="32">
                  <c:v>Boursin</c:v>
                </c:pt>
                <c:pt idx="33">
                  <c:v>Tartare</c:v>
                </c:pt>
                <c:pt idx="34">
                  <c:v>Paysan Bret</c:v>
                </c:pt>
                <c:pt idx="35">
                  <c:v>Kiri</c:v>
                </c:pt>
                <c:pt idx="36">
                  <c:v>Boursin</c:v>
                </c:pt>
                <c:pt idx="37">
                  <c:v>Tartare</c:v>
                </c:pt>
                <c:pt idx="38">
                  <c:v>St Moret</c:v>
                </c:pt>
                <c:pt idx="39">
                  <c:v>Boursin</c:v>
                </c:pt>
                <c:pt idx="40">
                  <c:v>Tartare</c:v>
                </c:pt>
                <c:pt idx="41">
                  <c:v>Savencia: A</c:v>
                </c:pt>
                <c:pt idx="42">
                  <c:v>Saint Agur</c:v>
                </c:pt>
                <c:pt idx="43">
                  <c:v>Boursin</c:v>
                </c:pt>
                <c:pt idx="44">
                  <c:v>Boursin</c:v>
                </c:pt>
                <c:pt idx="45">
                  <c:v>Paysan Bret</c:v>
                </c:pt>
                <c:pt idx="46">
                  <c:v>Tartare</c:v>
                </c:pt>
                <c:pt idx="47">
                  <c:v>Paysan Bret</c:v>
                </c:pt>
                <c:pt idx="48">
                  <c:v>Paysan Bret</c:v>
                </c:pt>
                <c:pt idx="49">
                  <c:v>Carre Frais</c:v>
                </c:pt>
                <c:pt idx="50">
                  <c:v>Lactalis: A</c:v>
                </c:pt>
                <c:pt idx="51">
                  <c:v>Tartare</c:v>
                </c:pt>
                <c:pt idx="52">
                  <c:v>All Others</c:v>
                </c:pt>
                <c:pt idx="53">
                  <c:v>All Others</c:v>
                </c:pt>
                <c:pt idx="54">
                  <c:v>All Others</c:v>
                </c:pt>
                <c:pt idx="55">
                  <c:v>Paysan Bret</c:v>
                </c:pt>
                <c:pt idx="56">
                  <c:v>All Others</c:v>
                </c:pt>
                <c:pt idx="57">
                  <c:v>All Others</c:v>
                </c:pt>
                <c:pt idx="58">
                  <c:v>All Others</c:v>
                </c:pt>
                <c:pt idx="59">
                  <c:v>All Others</c:v>
                </c:pt>
                <c:pt idx="60">
                  <c:v>All Others</c:v>
                </c:pt>
                <c:pt idx="61">
                  <c:v>All Others</c:v>
                </c:pt>
                <c:pt idx="62">
                  <c:v>All Others</c:v>
                </c:pt>
                <c:pt idx="63">
                  <c:v>All Others</c:v>
                </c:pt>
                <c:pt idx="64">
                  <c:v>Kiri</c:v>
                </c:pt>
                <c:pt idx="65">
                  <c:v>Other Suppl</c:v>
                </c:pt>
                <c:pt idx="66">
                  <c:v>Boursin</c:v>
                </c:pt>
                <c:pt idx="67">
                  <c:v>All Others</c:v>
                </c:pt>
                <c:pt idx="68">
                  <c:v>All Others</c:v>
                </c:pt>
                <c:pt idx="69">
                  <c:v>All Others</c:v>
                </c:pt>
                <c:pt idx="70">
                  <c:v>All Others</c:v>
                </c:pt>
                <c:pt idx="71">
                  <c:v>All Others</c:v>
                </c:pt>
                <c:pt idx="72">
                  <c:v>All Others</c:v>
                </c:pt>
                <c:pt idx="73">
                  <c:v>All Others</c:v>
                </c:pt>
                <c:pt idx="74">
                  <c:v>All Others</c:v>
                </c:pt>
              </c:strCache>
            </c:strRef>
          </c:cat>
          <c:val>
            <c:numRef>
              <c:f>Sheet1!$B$2:$B$76</c:f>
              <c:numCache>
                <c:formatCode>General</c:formatCode>
                <c:ptCount val="75"/>
                <c:pt idx="0">
                  <c:v>0.99</c:v>
                </c:pt>
                <c:pt idx="1">
                  <c:v>0.99</c:v>
                </c:pt>
                <c:pt idx="2">
                  <c:v>0.99</c:v>
                </c:pt>
                <c:pt idx="3">
                  <c:v>0.99</c:v>
                </c:pt>
                <c:pt idx="4">
                  <c:v>0.99</c:v>
                </c:pt>
                <c:pt idx="5">
                  <c:v>0.99</c:v>
                </c:pt>
                <c:pt idx="6">
                  <c:v>0.99</c:v>
                </c:pt>
                <c:pt idx="7">
                  <c:v>0.99</c:v>
                </c:pt>
                <c:pt idx="8">
                  <c:v>0.99</c:v>
                </c:pt>
                <c:pt idx="9">
                  <c:v>0.99</c:v>
                </c:pt>
                <c:pt idx="10">
                  <c:v>0.99</c:v>
                </c:pt>
                <c:pt idx="11">
                  <c:v>0.99</c:v>
                </c:pt>
                <c:pt idx="12">
                  <c:v>0.78</c:v>
                </c:pt>
                <c:pt idx="13">
                  <c:v>0.99</c:v>
                </c:pt>
                <c:pt idx="14">
                  <c:v>0.87</c:v>
                </c:pt>
                <c:pt idx="15">
                  <c:v>0.99</c:v>
                </c:pt>
                <c:pt idx="16">
                  <c:v>0.99</c:v>
                </c:pt>
                <c:pt idx="17">
                  <c:v>0.99</c:v>
                </c:pt>
                <c:pt idx="18">
                  <c:v>0.99</c:v>
                </c:pt>
                <c:pt idx="19">
                  <c:v>0.99</c:v>
                </c:pt>
                <c:pt idx="20">
                  <c:v>0.94</c:v>
                </c:pt>
                <c:pt idx="21">
                  <c:v>0.63</c:v>
                </c:pt>
                <c:pt idx="22">
                  <c:v>0.96</c:v>
                </c:pt>
                <c:pt idx="23">
                  <c:v>0.92</c:v>
                </c:pt>
                <c:pt idx="24">
                  <c:v>0.76</c:v>
                </c:pt>
                <c:pt idx="25">
                  <c:v>0.67</c:v>
                </c:pt>
                <c:pt idx="26">
                  <c:v>0.79</c:v>
                </c:pt>
                <c:pt idx="27">
                  <c:v>0.95</c:v>
                </c:pt>
                <c:pt idx="28">
                  <c:v>0.99</c:v>
                </c:pt>
                <c:pt idx="29">
                  <c:v>0.94</c:v>
                </c:pt>
                <c:pt idx="30">
                  <c:v>0.7</c:v>
                </c:pt>
                <c:pt idx="31">
                  <c:v>0.98</c:v>
                </c:pt>
                <c:pt idx="32">
                  <c:v>0.96</c:v>
                </c:pt>
                <c:pt idx="33">
                  <c:v>0.97</c:v>
                </c:pt>
                <c:pt idx="34">
                  <c:v>0.68</c:v>
                </c:pt>
                <c:pt idx="35">
                  <c:v>0.99</c:v>
                </c:pt>
                <c:pt idx="36">
                  <c:v>0.99</c:v>
                </c:pt>
                <c:pt idx="37">
                  <c:v>0.95</c:v>
                </c:pt>
                <c:pt idx="38">
                  <c:v>0.93</c:v>
                </c:pt>
                <c:pt idx="39">
                  <c:v>0.99</c:v>
                </c:pt>
                <c:pt idx="40">
                  <c:v>0.94</c:v>
                </c:pt>
                <c:pt idx="41">
                  <c:v>0.75</c:v>
                </c:pt>
                <c:pt idx="42">
                  <c:v>0.96</c:v>
                </c:pt>
                <c:pt idx="43">
                  <c:v>0.97</c:v>
                </c:pt>
                <c:pt idx="44">
                  <c:v>0.95</c:v>
                </c:pt>
                <c:pt idx="45">
                  <c:v>0.67</c:v>
                </c:pt>
                <c:pt idx="46">
                  <c:v>0.87</c:v>
                </c:pt>
                <c:pt idx="47">
                  <c:v>0.28000000000000003</c:v>
                </c:pt>
                <c:pt idx="48">
                  <c:v>0.61</c:v>
                </c:pt>
                <c:pt idx="49">
                  <c:v>0.59</c:v>
                </c:pt>
                <c:pt idx="50">
                  <c:v>0.63</c:v>
                </c:pt>
                <c:pt idx="51">
                  <c:v>0.43</c:v>
                </c:pt>
                <c:pt idx="52">
                  <c:v>0.05</c:v>
                </c:pt>
                <c:pt idx="53">
                  <c:v>0.28999999999999998</c:v>
                </c:pt>
                <c:pt idx="54">
                  <c:v>0.4</c:v>
                </c:pt>
                <c:pt idx="55">
                  <c:v>0.23</c:v>
                </c:pt>
                <c:pt idx="56">
                  <c:v>0.21</c:v>
                </c:pt>
                <c:pt idx="57">
                  <c:v>0.05</c:v>
                </c:pt>
                <c:pt idx="58">
                  <c:v>0.06</c:v>
                </c:pt>
                <c:pt idx="59">
                  <c:v>0.04</c:v>
                </c:pt>
                <c:pt idx="60">
                  <c:v>0.03</c:v>
                </c:pt>
                <c:pt idx="61">
                  <c:v>0.04</c:v>
                </c:pt>
                <c:pt idx="62">
                  <c:v>0.03</c:v>
                </c:pt>
                <c:pt idx="63">
                  <c:v>0.04</c:v>
                </c:pt>
                <c:pt idx="64">
                  <c:v>0.16</c:v>
                </c:pt>
                <c:pt idx="65">
                  <c:v>7.0000000000000007E-2</c:v>
                </c:pt>
                <c:pt idx="66">
                  <c:v>0.14000000000000001</c:v>
                </c:pt>
                <c:pt idx="67">
                  <c:v>0.02</c:v>
                </c:pt>
                <c:pt idx="68">
                  <c:v>0.02</c:v>
                </c:pt>
                <c:pt idx="69">
                  <c:v>0.02</c:v>
                </c:pt>
                <c:pt idx="70">
                  <c:v>0.02</c:v>
                </c:pt>
                <c:pt idx="71">
                  <c:v>0.01</c:v>
                </c:pt>
                <c:pt idx="72">
                  <c:v>0.02</c:v>
                </c:pt>
                <c:pt idx="73">
                  <c:v>0.01</c:v>
                </c:pt>
                <c:pt idx="74">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6</c:f>
              <c:strCache>
                <c:ptCount val="75"/>
                <c:pt idx="0">
                  <c:v>St Moret</c:v>
                </c:pt>
                <c:pt idx="1">
                  <c:v>St Moret</c:v>
                </c:pt>
                <c:pt idx="2">
                  <c:v>Private Lab</c:v>
                </c:pt>
                <c:pt idx="3">
                  <c:v>St Moret</c:v>
                </c:pt>
                <c:pt idx="4">
                  <c:v>Tartare</c:v>
                </c:pt>
                <c:pt idx="5">
                  <c:v>St Moret</c:v>
                </c:pt>
                <c:pt idx="6">
                  <c:v>Paysan Bret</c:v>
                </c:pt>
                <c:pt idx="7">
                  <c:v>Paysan Bret</c:v>
                </c:pt>
                <c:pt idx="8">
                  <c:v>St Moret</c:v>
                </c:pt>
                <c:pt idx="9">
                  <c:v>Boursin</c:v>
                </c:pt>
                <c:pt idx="10">
                  <c:v>Boursin</c:v>
                </c:pt>
                <c:pt idx="11">
                  <c:v>Carre Frais</c:v>
                </c:pt>
                <c:pt idx="12">
                  <c:v>St Moret</c:v>
                </c:pt>
                <c:pt idx="13">
                  <c:v>Carre Frais</c:v>
                </c:pt>
                <c:pt idx="14">
                  <c:v>Philadelphi</c:v>
                </c:pt>
                <c:pt idx="15">
                  <c:v>Tartare</c:v>
                </c:pt>
                <c:pt idx="16">
                  <c:v>St Moret</c:v>
                </c:pt>
                <c:pt idx="17">
                  <c:v>Boursin</c:v>
                </c:pt>
                <c:pt idx="18">
                  <c:v>Private Lab</c:v>
                </c:pt>
                <c:pt idx="19">
                  <c:v>St Moret</c:v>
                </c:pt>
                <c:pt idx="20">
                  <c:v>Private Lab</c:v>
                </c:pt>
                <c:pt idx="21">
                  <c:v>Paysan Bret</c:v>
                </c:pt>
                <c:pt idx="22">
                  <c:v>Tartare</c:v>
                </c:pt>
                <c:pt idx="23">
                  <c:v>Carre Frais</c:v>
                </c:pt>
                <c:pt idx="24">
                  <c:v>Philadelphi</c:v>
                </c:pt>
                <c:pt idx="25">
                  <c:v>Paysan Bret</c:v>
                </c:pt>
                <c:pt idx="26">
                  <c:v>Paysan Bret</c:v>
                </c:pt>
                <c:pt idx="27">
                  <c:v>Private Lab</c:v>
                </c:pt>
                <c:pt idx="28">
                  <c:v>Boursin</c:v>
                </c:pt>
                <c:pt idx="29">
                  <c:v>Private Lab</c:v>
                </c:pt>
                <c:pt idx="30">
                  <c:v>Paysan Bret</c:v>
                </c:pt>
                <c:pt idx="31">
                  <c:v>Boursin</c:v>
                </c:pt>
                <c:pt idx="32">
                  <c:v>Boursin</c:v>
                </c:pt>
                <c:pt idx="33">
                  <c:v>Tartare</c:v>
                </c:pt>
                <c:pt idx="34">
                  <c:v>Paysan Bret</c:v>
                </c:pt>
                <c:pt idx="35">
                  <c:v>Kiri</c:v>
                </c:pt>
                <c:pt idx="36">
                  <c:v>Boursin</c:v>
                </c:pt>
                <c:pt idx="37">
                  <c:v>Tartare</c:v>
                </c:pt>
                <c:pt idx="38">
                  <c:v>St Moret</c:v>
                </c:pt>
                <c:pt idx="39">
                  <c:v>Boursin</c:v>
                </c:pt>
                <c:pt idx="40">
                  <c:v>Tartare</c:v>
                </c:pt>
                <c:pt idx="41">
                  <c:v>Savencia: A</c:v>
                </c:pt>
                <c:pt idx="42">
                  <c:v>Saint Agur</c:v>
                </c:pt>
                <c:pt idx="43">
                  <c:v>Boursin</c:v>
                </c:pt>
                <c:pt idx="44">
                  <c:v>Boursin</c:v>
                </c:pt>
                <c:pt idx="45">
                  <c:v>Paysan Bret</c:v>
                </c:pt>
                <c:pt idx="46">
                  <c:v>Tartare</c:v>
                </c:pt>
                <c:pt idx="47">
                  <c:v>Paysan Bret</c:v>
                </c:pt>
                <c:pt idx="48">
                  <c:v>Paysan Bret</c:v>
                </c:pt>
                <c:pt idx="49">
                  <c:v>Carre Frais</c:v>
                </c:pt>
                <c:pt idx="50">
                  <c:v>Lactalis: A</c:v>
                </c:pt>
                <c:pt idx="51">
                  <c:v>Tartare</c:v>
                </c:pt>
                <c:pt idx="52">
                  <c:v>All Others</c:v>
                </c:pt>
                <c:pt idx="53">
                  <c:v>All Others</c:v>
                </c:pt>
                <c:pt idx="54">
                  <c:v>All Others</c:v>
                </c:pt>
                <c:pt idx="55">
                  <c:v>Paysan Bret</c:v>
                </c:pt>
                <c:pt idx="56">
                  <c:v>All Others</c:v>
                </c:pt>
                <c:pt idx="57">
                  <c:v>All Others</c:v>
                </c:pt>
                <c:pt idx="58">
                  <c:v>All Others</c:v>
                </c:pt>
                <c:pt idx="59">
                  <c:v>All Others</c:v>
                </c:pt>
                <c:pt idx="60">
                  <c:v>All Others</c:v>
                </c:pt>
                <c:pt idx="61">
                  <c:v>All Others</c:v>
                </c:pt>
                <c:pt idx="62">
                  <c:v>All Others</c:v>
                </c:pt>
                <c:pt idx="63">
                  <c:v>All Others</c:v>
                </c:pt>
                <c:pt idx="64">
                  <c:v>Kiri</c:v>
                </c:pt>
                <c:pt idx="65">
                  <c:v>Other Suppl</c:v>
                </c:pt>
                <c:pt idx="66">
                  <c:v>Boursin</c:v>
                </c:pt>
                <c:pt idx="67">
                  <c:v>All Others</c:v>
                </c:pt>
                <c:pt idx="68">
                  <c:v>All Others</c:v>
                </c:pt>
                <c:pt idx="69">
                  <c:v>All Others</c:v>
                </c:pt>
                <c:pt idx="70">
                  <c:v>All Others</c:v>
                </c:pt>
                <c:pt idx="71">
                  <c:v>All Others</c:v>
                </c:pt>
                <c:pt idx="72">
                  <c:v>All Others</c:v>
                </c:pt>
                <c:pt idx="73">
                  <c:v>All Others</c:v>
                </c:pt>
                <c:pt idx="74">
                  <c:v>All Others</c:v>
                </c:pt>
              </c:strCache>
            </c:strRef>
          </c:cat>
          <c:val>
            <c:numRef>
              <c:f>Sheet1!$C$2:$C$76</c:f>
              <c:numCache>
                <c:formatCode>General</c:formatCode>
                <c:ptCount val="75"/>
                <c:pt idx="0">
                  <c:v>6.7757232651595611E-2</c:v>
                </c:pt>
                <c:pt idx="1">
                  <c:v>0.13426931215560661</c:v>
                </c:pt>
                <c:pt idx="2">
                  <c:v>0.1983631387029744</c:v>
                </c:pt>
                <c:pt idx="3">
                  <c:v>0.25725751297481136</c:v>
                </c:pt>
                <c:pt idx="4">
                  <c:v>0.30796371012763263</c:v>
                </c:pt>
                <c:pt idx="5">
                  <c:v>0.35799373731436956</c:v>
                </c:pt>
                <c:pt idx="6">
                  <c:v>0.39799733402647453</c:v>
                </c:pt>
                <c:pt idx="7">
                  <c:v>0.43337969161766593</c:v>
                </c:pt>
                <c:pt idx="8">
                  <c:v>0.46603355005905694</c:v>
                </c:pt>
                <c:pt idx="9">
                  <c:v>0.49723860046215368</c:v>
                </c:pt>
                <c:pt idx="10">
                  <c:v>0.52376554320029367</c:v>
                </c:pt>
                <c:pt idx="11">
                  <c:v>0.55020941618038099</c:v>
                </c:pt>
                <c:pt idx="12">
                  <c:v>0.57642998335925166</c:v>
                </c:pt>
                <c:pt idx="13">
                  <c:v>0.60257671075318664</c:v>
                </c:pt>
                <c:pt idx="14">
                  <c:v>0.62653355258985599</c:v>
                </c:pt>
                <c:pt idx="15">
                  <c:v>0.65017419341200244</c:v>
                </c:pt>
                <c:pt idx="16">
                  <c:v>0.67178691981803251</c:v>
                </c:pt>
                <c:pt idx="17">
                  <c:v>0.69261420528591622</c:v>
                </c:pt>
                <c:pt idx="18">
                  <c:v>0.7128725075722997</c:v>
                </c:pt>
                <c:pt idx="19">
                  <c:v>0.73191066696083484</c:v>
                </c:pt>
                <c:pt idx="20">
                  <c:v>0.74917756473411867</c:v>
                </c:pt>
                <c:pt idx="21">
                  <c:v>0.76331966999570955</c:v>
                </c:pt>
                <c:pt idx="22">
                  <c:v>0.77727658031282465</c:v>
                </c:pt>
                <c:pt idx="23">
                  <c:v>0.79067611935010274</c:v>
                </c:pt>
                <c:pt idx="24">
                  <c:v>0.80290762017648309</c:v>
                </c:pt>
                <c:pt idx="25">
                  <c:v>0.81466124658825956</c:v>
                </c:pt>
                <c:pt idx="26">
                  <c:v>0.82596319979944166</c:v>
                </c:pt>
                <c:pt idx="27">
                  <c:v>0.83706120037884579</c:v>
                </c:pt>
                <c:pt idx="28">
                  <c:v>0.84808476569117763</c:v>
                </c:pt>
                <c:pt idx="29">
                  <c:v>0.85859353669643779</c:v>
                </c:pt>
                <c:pt idx="30">
                  <c:v>0.86843358126232084</c:v>
                </c:pt>
                <c:pt idx="31">
                  <c:v>0.87781659328838035</c:v>
                </c:pt>
                <c:pt idx="32">
                  <c:v>0.88717280861829384</c:v>
                </c:pt>
                <c:pt idx="33">
                  <c:v>0.89646113898463742</c:v>
                </c:pt>
                <c:pt idx="34">
                  <c:v>0.90477913120942721</c:v>
                </c:pt>
                <c:pt idx="35">
                  <c:v>0.91243167214659104</c:v>
                </c:pt>
                <c:pt idx="36">
                  <c:v>0.92008331986055003</c:v>
                </c:pt>
                <c:pt idx="37">
                  <c:v>0.92767095324482685</c:v>
                </c:pt>
                <c:pt idx="38">
                  <c:v>0.93463035297501385</c:v>
                </c:pt>
                <c:pt idx="39">
                  <c:v>0.94140515324286167</c:v>
                </c:pt>
                <c:pt idx="40">
                  <c:v>0.94801947107490181</c:v>
                </c:pt>
                <c:pt idx="41">
                  <c:v>0.95453047275624558</c:v>
                </c:pt>
                <c:pt idx="42">
                  <c:v>0.96103671058049678</c:v>
                </c:pt>
                <c:pt idx="43">
                  <c:v>0.96707638815073915</c:v>
                </c:pt>
                <c:pt idx="44">
                  <c:v>0.97288352994664773</c:v>
                </c:pt>
                <c:pt idx="45">
                  <c:v>0.97790939917936603</c:v>
                </c:pt>
                <c:pt idx="46">
                  <c:v>0.98290519656418718</c:v>
                </c:pt>
                <c:pt idx="47">
                  <c:v>0.98691636423617657</c:v>
                </c:pt>
                <c:pt idx="48">
                  <c:v>0.99090430810483943</c:v>
                </c:pt>
                <c:pt idx="49">
                  <c:v>0.99391774545699241</c:v>
                </c:pt>
                <c:pt idx="50">
                  <c:v>0.99521440780939097</c:v>
                </c:pt>
                <c:pt idx="51">
                  <c:v>0.99627823664638759</c:v>
                </c:pt>
                <c:pt idx="52">
                  <c:v>0.9969439856750818</c:v>
                </c:pt>
                <c:pt idx="53">
                  <c:v>0.99758234252549338</c:v>
                </c:pt>
                <c:pt idx="54">
                  <c:v>0.99820134620646617</c:v>
                </c:pt>
                <c:pt idx="55">
                  <c:v>0.99862354304129997</c:v>
                </c:pt>
                <c:pt idx="56">
                  <c:v>0.99903025734058271</c:v>
                </c:pt>
                <c:pt idx="57">
                  <c:v>0.99917644820511264</c:v>
                </c:pt>
                <c:pt idx="58">
                  <c:v>0.99932234132857423</c:v>
                </c:pt>
                <c:pt idx="59">
                  <c:v>0.99944560613084588</c:v>
                </c:pt>
                <c:pt idx="60">
                  <c:v>0.99956589352243463</c:v>
                </c:pt>
                <c:pt idx="61">
                  <c:v>0.9996843944676137</c:v>
                </c:pt>
                <c:pt idx="62">
                  <c:v>0.99976061618109568</c:v>
                </c:pt>
                <c:pt idx="63">
                  <c:v>0.99981956891261692</c:v>
                </c:pt>
                <c:pt idx="64">
                  <c:v>0.99985440461760677</c:v>
                </c:pt>
                <c:pt idx="65">
                  <c:v>0.99988864484046003</c:v>
                </c:pt>
                <c:pt idx="66">
                  <c:v>0.99991960991156204</c:v>
                </c:pt>
                <c:pt idx="67">
                  <c:v>0.99993926082206908</c:v>
                </c:pt>
                <c:pt idx="68">
                  <c:v>0.99995504109868838</c:v>
                </c:pt>
                <c:pt idx="69">
                  <c:v>0.99996992815210284</c:v>
                </c:pt>
                <c:pt idx="70">
                  <c:v>0.99998034908949296</c:v>
                </c:pt>
                <c:pt idx="71">
                  <c:v>0.99998928132154163</c:v>
                </c:pt>
                <c:pt idx="72">
                  <c:v>0.99999464066077082</c:v>
                </c:pt>
                <c:pt idx="73">
                  <c:v>0.99999732033038546</c:v>
                </c:pt>
                <c:pt idx="7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1</c:f>
              <c:strCache>
                <c:ptCount val="70"/>
                <c:pt idx="0">
                  <c:v>Private Lab</c:v>
                </c:pt>
                <c:pt idx="1">
                  <c:v>St Moret</c:v>
                </c:pt>
                <c:pt idx="2">
                  <c:v>St Moret</c:v>
                </c:pt>
                <c:pt idx="3">
                  <c:v>St Moret</c:v>
                </c:pt>
                <c:pt idx="4">
                  <c:v>Tartare</c:v>
                </c:pt>
                <c:pt idx="5">
                  <c:v>Paysan Bret</c:v>
                </c:pt>
                <c:pt idx="6">
                  <c:v>St Moret</c:v>
                </c:pt>
                <c:pt idx="7">
                  <c:v>Carre Frais</c:v>
                </c:pt>
                <c:pt idx="8">
                  <c:v>Carre Frais</c:v>
                </c:pt>
                <c:pt idx="9">
                  <c:v>Private Lab</c:v>
                </c:pt>
                <c:pt idx="10">
                  <c:v>Paysan Bret</c:v>
                </c:pt>
                <c:pt idx="11">
                  <c:v>Boursin</c:v>
                </c:pt>
                <c:pt idx="12">
                  <c:v>Philadelphi</c:v>
                </c:pt>
                <c:pt idx="13">
                  <c:v>Boursin</c:v>
                </c:pt>
                <c:pt idx="14">
                  <c:v>Private Lab</c:v>
                </c:pt>
                <c:pt idx="15">
                  <c:v>Tartare</c:v>
                </c:pt>
                <c:pt idx="16">
                  <c:v>St Moret</c:v>
                </c:pt>
                <c:pt idx="17">
                  <c:v>Philadelphi</c:v>
                </c:pt>
                <c:pt idx="18">
                  <c:v>St Moret</c:v>
                </c:pt>
                <c:pt idx="19">
                  <c:v>St Moret</c:v>
                </c:pt>
                <c:pt idx="20">
                  <c:v>Private Lab</c:v>
                </c:pt>
                <c:pt idx="21">
                  <c:v>Boursin</c:v>
                </c:pt>
                <c:pt idx="22">
                  <c:v>Boursin</c:v>
                </c:pt>
                <c:pt idx="23">
                  <c:v>Paysan Bret</c:v>
                </c:pt>
                <c:pt idx="24">
                  <c:v>Boursin</c:v>
                </c:pt>
                <c:pt idx="25">
                  <c:v>Paysan Bret</c:v>
                </c:pt>
                <c:pt idx="26">
                  <c:v>Tartare</c:v>
                </c:pt>
                <c:pt idx="27">
                  <c:v>Private Lab</c:v>
                </c:pt>
                <c:pt idx="28">
                  <c:v>Boursin</c:v>
                </c:pt>
                <c:pt idx="29">
                  <c:v>Carre Frais</c:v>
                </c:pt>
                <c:pt idx="30">
                  <c:v>Boursin</c:v>
                </c:pt>
                <c:pt idx="31">
                  <c:v>Paysan Bret</c:v>
                </c:pt>
                <c:pt idx="32">
                  <c:v>Boursin</c:v>
                </c:pt>
                <c:pt idx="33">
                  <c:v>Paysan Bret</c:v>
                </c:pt>
                <c:pt idx="34">
                  <c:v>Paysan Bret</c:v>
                </c:pt>
                <c:pt idx="35">
                  <c:v>Tartare</c:v>
                </c:pt>
                <c:pt idx="36">
                  <c:v>St Moret</c:v>
                </c:pt>
                <c:pt idx="37">
                  <c:v>Kiri</c:v>
                </c:pt>
                <c:pt idx="38">
                  <c:v>Tartare</c:v>
                </c:pt>
                <c:pt idx="39">
                  <c:v>Savencia: A</c:v>
                </c:pt>
                <c:pt idx="40">
                  <c:v>Paysan Bret</c:v>
                </c:pt>
                <c:pt idx="41">
                  <c:v>Boursin</c:v>
                </c:pt>
                <c:pt idx="42">
                  <c:v>Boursin</c:v>
                </c:pt>
                <c:pt idx="43">
                  <c:v>Tartare</c:v>
                </c:pt>
                <c:pt idx="44">
                  <c:v>Tartare</c:v>
                </c:pt>
                <c:pt idx="45">
                  <c:v>Saint Agur</c:v>
                </c:pt>
                <c:pt idx="46">
                  <c:v>Lactalis: A</c:v>
                </c:pt>
                <c:pt idx="47">
                  <c:v>Paysan Bret</c:v>
                </c:pt>
                <c:pt idx="48">
                  <c:v>Paysan Bret</c:v>
                </c:pt>
                <c:pt idx="49">
                  <c:v>Carre Frais</c:v>
                </c:pt>
                <c:pt idx="50">
                  <c:v>All Others</c:v>
                </c:pt>
                <c:pt idx="51">
                  <c:v>St Moret</c:v>
                </c:pt>
                <c:pt idx="52">
                  <c:v>All Others</c:v>
                </c:pt>
                <c:pt idx="53">
                  <c:v>All Others</c:v>
                </c:pt>
                <c:pt idx="54">
                  <c:v>All Others</c:v>
                </c:pt>
                <c:pt idx="55">
                  <c:v>Tartare</c:v>
                </c:pt>
                <c:pt idx="56">
                  <c:v>Paysan Bret</c:v>
                </c:pt>
                <c:pt idx="57">
                  <c:v>All Others</c:v>
                </c:pt>
                <c:pt idx="58">
                  <c:v>All Others</c:v>
                </c:pt>
                <c:pt idx="59">
                  <c:v>All Others</c:v>
                </c:pt>
                <c:pt idx="60">
                  <c:v>All Others</c:v>
                </c:pt>
                <c:pt idx="61">
                  <c:v>Other Suppl</c:v>
                </c:pt>
                <c:pt idx="62">
                  <c:v>All Others</c:v>
                </c:pt>
                <c:pt idx="63">
                  <c:v>All Others</c:v>
                </c:pt>
                <c:pt idx="64">
                  <c:v>All Others</c:v>
                </c:pt>
                <c:pt idx="65">
                  <c:v>All Others</c:v>
                </c:pt>
                <c:pt idx="66">
                  <c:v>All Others</c:v>
                </c:pt>
                <c:pt idx="67">
                  <c:v>Kiri</c:v>
                </c:pt>
                <c:pt idx="68">
                  <c:v>All Others</c:v>
                </c:pt>
                <c:pt idx="69">
                  <c:v>Boursin</c:v>
                </c:pt>
              </c:strCache>
            </c:strRef>
          </c:cat>
          <c:val>
            <c:numRef>
              <c:f>Sheet1!$B$2:$B$71</c:f>
              <c:numCache>
                <c:formatCode>General</c:formatCode>
                <c:ptCount val="70"/>
                <c:pt idx="0">
                  <c:v>0.99</c:v>
                </c:pt>
                <c:pt idx="1">
                  <c:v>0.88</c:v>
                </c:pt>
                <c:pt idx="2">
                  <c:v>0.99</c:v>
                </c:pt>
                <c:pt idx="3">
                  <c:v>0.75</c:v>
                </c:pt>
                <c:pt idx="4">
                  <c:v>0.93</c:v>
                </c:pt>
                <c:pt idx="5">
                  <c:v>0.87</c:v>
                </c:pt>
                <c:pt idx="6">
                  <c:v>0.97</c:v>
                </c:pt>
                <c:pt idx="7">
                  <c:v>0.74</c:v>
                </c:pt>
                <c:pt idx="8">
                  <c:v>0.91</c:v>
                </c:pt>
                <c:pt idx="9">
                  <c:v>0.97</c:v>
                </c:pt>
                <c:pt idx="10">
                  <c:v>0.47</c:v>
                </c:pt>
                <c:pt idx="11">
                  <c:v>0.9</c:v>
                </c:pt>
                <c:pt idx="12">
                  <c:v>0.82</c:v>
                </c:pt>
                <c:pt idx="13">
                  <c:v>0.96</c:v>
                </c:pt>
                <c:pt idx="14">
                  <c:v>0.86</c:v>
                </c:pt>
                <c:pt idx="15">
                  <c:v>0.77</c:v>
                </c:pt>
                <c:pt idx="16">
                  <c:v>0.52</c:v>
                </c:pt>
                <c:pt idx="17">
                  <c:v>0.52</c:v>
                </c:pt>
                <c:pt idx="18">
                  <c:v>0.75</c:v>
                </c:pt>
                <c:pt idx="19">
                  <c:v>0.6</c:v>
                </c:pt>
                <c:pt idx="20">
                  <c:v>0.8</c:v>
                </c:pt>
                <c:pt idx="21">
                  <c:v>0.75</c:v>
                </c:pt>
                <c:pt idx="22">
                  <c:v>0.81</c:v>
                </c:pt>
                <c:pt idx="23">
                  <c:v>0.47</c:v>
                </c:pt>
                <c:pt idx="24">
                  <c:v>0.81</c:v>
                </c:pt>
                <c:pt idx="25">
                  <c:v>0.47</c:v>
                </c:pt>
                <c:pt idx="26">
                  <c:v>0.52</c:v>
                </c:pt>
                <c:pt idx="27">
                  <c:v>0.55000000000000004</c:v>
                </c:pt>
                <c:pt idx="28">
                  <c:v>0.8</c:v>
                </c:pt>
                <c:pt idx="29">
                  <c:v>0.39</c:v>
                </c:pt>
                <c:pt idx="30">
                  <c:v>0.66</c:v>
                </c:pt>
                <c:pt idx="31">
                  <c:v>0.28999999999999998</c:v>
                </c:pt>
                <c:pt idx="32">
                  <c:v>0.59</c:v>
                </c:pt>
                <c:pt idx="33">
                  <c:v>0.19</c:v>
                </c:pt>
                <c:pt idx="34">
                  <c:v>0.23</c:v>
                </c:pt>
                <c:pt idx="35">
                  <c:v>0.42</c:v>
                </c:pt>
                <c:pt idx="36">
                  <c:v>0.34</c:v>
                </c:pt>
                <c:pt idx="37">
                  <c:v>0.44</c:v>
                </c:pt>
                <c:pt idx="38">
                  <c:v>0.36</c:v>
                </c:pt>
                <c:pt idx="39">
                  <c:v>0.21</c:v>
                </c:pt>
                <c:pt idx="40">
                  <c:v>0.25</c:v>
                </c:pt>
                <c:pt idx="41">
                  <c:v>0.46</c:v>
                </c:pt>
                <c:pt idx="42">
                  <c:v>0.33</c:v>
                </c:pt>
                <c:pt idx="43">
                  <c:v>0.24</c:v>
                </c:pt>
                <c:pt idx="44">
                  <c:v>0.16</c:v>
                </c:pt>
                <c:pt idx="45">
                  <c:v>0.23</c:v>
                </c:pt>
                <c:pt idx="46">
                  <c:v>0.23</c:v>
                </c:pt>
                <c:pt idx="47">
                  <c:v>0.11</c:v>
                </c:pt>
                <c:pt idx="48">
                  <c:v>0.15</c:v>
                </c:pt>
                <c:pt idx="49">
                  <c:v>0.1</c:v>
                </c:pt>
                <c:pt idx="50">
                  <c:v>0.04</c:v>
                </c:pt>
                <c:pt idx="51">
                  <c:v>0.03</c:v>
                </c:pt>
                <c:pt idx="52">
                  <c:v>0.08</c:v>
                </c:pt>
                <c:pt idx="53">
                  <c:v>0.03</c:v>
                </c:pt>
                <c:pt idx="54">
                  <c:v>7.0000000000000007E-2</c:v>
                </c:pt>
                <c:pt idx="55">
                  <c:v>0.03</c:v>
                </c:pt>
                <c:pt idx="56">
                  <c:v>0.04</c:v>
                </c:pt>
                <c:pt idx="57">
                  <c:v>0.02</c:v>
                </c:pt>
                <c:pt idx="58">
                  <c:v>0.01</c:v>
                </c:pt>
                <c:pt idx="59">
                  <c:v>0.01</c:v>
                </c:pt>
                <c:pt idx="60">
                  <c:v>0.01</c:v>
                </c:pt>
                <c:pt idx="61">
                  <c:v>0.03</c:v>
                </c:pt>
                <c:pt idx="62">
                  <c:v>0.01</c:v>
                </c:pt>
                <c:pt idx="63">
                  <c:v>0.02</c:v>
                </c:pt>
                <c:pt idx="64">
                  <c:v>0.01</c:v>
                </c:pt>
                <c:pt idx="65">
                  <c:v>0.01</c:v>
                </c:pt>
                <c:pt idx="66">
                  <c:v>0.01</c:v>
                </c:pt>
                <c:pt idx="67">
                  <c:v>0.05</c:v>
                </c:pt>
                <c:pt idx="68">
                  <c:v>0.01</c:v>
                </c:pt>
                <c:pt idx="6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1</c:f>
              <c:strCache>
                <c:ptCount val="70"/>
                <c:pt idx="0">
                  <c:v>Private Lab</c:v>
                </c:pt>
                <c:pt idx="1">
                  <c:v>St Moret</c:v>
                </c:pt>
                <c:pt idx="2">
                  <c:v>St Moret</c:v>
                </c:pt>
                <c:pt idx="3">
                  <c:v>St Moret</c:v>
                </c:pt>
                <c:pt idx="4">
                  <c:v>Tartare</c:v>
                </c:pt>
                <c:pt idx="5">
                  <c:v>Paysan Bret</c:v>
                </c:pt>
                <c:pt idx="6">
                  <c:v>St Moret</c:v>
                </c:pt>
                <c:pt idx="7">
                  <c:v>Carre Frais</c:v>
                </c:pt>
                <c:pt idx="8">
                  <c:v>Carre Frais</c:v>
                </c:pt>
                <c:pt idx="9">
                  <c:v>Private Lab</c:v>
                </c:pt>
                <c:pt idx="10">
                  <c:v>Paysan Bret</c:v>
                </c:pt>
                <c:pt idx="11">
                  <c:v>Boursin</c:v>
                </c:pt>
                <c:pt idx="12">
                  <c:v>Philadelphi</c:v>
                </c:pt>
                <c:pt idx="13">
                  <c:v>Boursin</c:v>
                </c:pt>
                <c:pt idx="14">
                  <c:v>Private Lab</c:v>
                </c:pt>
                <c:pt idx="15">
                  <c:v>Tartare</c:v>
                </c:pt>
                <c:pt idx="16">
                  <c:v>St Moret</c:v>
                </c:pt>
                <c:pt idx="17">
                  <c:v>Philadelphi</c:v>
                </c:pt>
                <c:pt idx="18">
                  <c:v>St Moret</c:v>
                </c:pt>
                <c:pt idx="19">
                  <c:v>St Moret</c:v>
                </c:pt>
                <c:pt idx="20">
                  <c:v>Private Lab</c:v>
                </c:pt>
                <c:pt idx="21">
                  <c:v>Boursin</c:v>
                </c:pt>
                <c:pt idx="22">
                  <c:v>Boursin</c:v>
                </c:pt>
                <c:pt idx="23">
                  <c:v>Paysan Bret</c:v>
                </c:pt>
                <c:pt idx="24">
                  <c:v>Boursin</c:v>
                </c:pt>
                <c:pt idx="25">
                  <c:v>Paysan Bret</c:v>
                </c:pt>
                <c:pt idx="26">
                  <c:v>Tartare</c:v>
                </c:pt>
                <c:pt idx="27">
                  <c:v>Private Lab</c:v>
                </c:pt>
                <c:pt idx="28">
                  <c:v>Boursin</c:v>
                </c:pt>
                <c:pt idx="29">
                  <c:v>Carre Frais</c:v>
                </c:pt>
                <c:pt idx="30">
                  <c:v>Boursin</c:v>
                </c:pt>
                <c:pt idx="31">
                  <c:v>Paysan Bret</c:v>
                </c:pt>
                <c:pt idx="32">
                  <c:v>Boursin</c:v>
                </c:pt>
                <c:pt idx="33">
                  <c:v>Paysan Bret</c:v>
                </c:pt>
                <c:pt idx="34">
                  <c:v>Paysan Bret</c:v>
                </c:pt>
                <c:pt idx="35">
                  <c:v>Tartare</c:v>
                </c:pt>
                <c:pt idx="36">
                  <c:v>St Moret</c:v>
                </c:pt>
                <c:pt idx="37">
                  <c:v>Kiri</c:v>
                </c:pt>
                <c:pt idx="38">
                  <c:v>Tartare</c:v>
                </c:pt>
                <c:pt idx="39">
                  <c:v>Savencia: A</c:v>
                </c:pt>
                <c:pt idx="40">
                  <c:v>Paysan Bret</c:v>
                </c:pt>
                <c:pt idx="41">
                  <c:v>Boursin</c:v>
                </c:pt>
                <c:pt idx="42">
                  <c:v>Boursin</c:v>
                </c:pt>
                <c:pt idx="43">
                  <c:v>Tartare</c:v>
                </c:pt>
                <c:pt idx="44">
                  <c:v>Tartare</c:v>
                </c:pt>
                <c:pt idx="45">
                  <c:v>Saint Agur</c:v>
                </c:pt>
                <c:pt idx="46">
                  <c:v>Lactalis: A</c:v>
                </c:pt>
                <c:pt idx="47">
                  <c:v>Paysan Bret</c:v>
                </c:pt>
                <c:pt idx="48">
                  <c:v>Paysan Bret</c:v>
                </c:pt>
                <c:pt idx="49">
                  <c:v>Carre Frais</c:v>
                </c:pt>
                <c:pt idx="50">
                  <c:v>All Others</c:v>
                </c:pt>
                <c:pt idx="51">
                  <c:v>St Moret</c:v>
                </c:pt>
                <c:pt idx="52">
                  <c:v>All Others</c:v>
                </c:pt>
                <c:pt idx="53">
                  <c:v>All Others</c:v>
                </c:pt>
                <c:pt idx="54">
                  <c:v>All Others</c:v>
                </c:pt>
                <c:pt idx="55">
                  <c:v>Tartare</c:v>
                </c:pt>
                <c:pt idx="56">
                  <c:v>Paysan Bret</c:v>
                </c:pt>
                <c:pt idx="57">
                  <c:v>All Others</c:v>
                </c:pt>
                <c:pt idx="58">
                  <c:v>All Others</c:v>
                </c:pt>
                <c:pt idx="59">
                  <c:v>All Others</c:v>
                </c:pt>
                <c:pt idx="60">
                  <c:v>All Others</c:v>
                </c:pt>
                <c:pt idx="61">
                  <c:v>Other Suppl</c:v>
                </c:pt>
                <c:pt idx="62">
                  <c:v>All Others</c:v>
                </c:pt>
                <c:pt idx="63">
                  <c:v>All Others</c:v>
                </c:pt>
                <c:pt idx="64">
                  <c:v>All Others</c:v>
                </c:pt>
                <c:pt idx="65">
                  <c:v>All Others</c:v>
                </c:pt>
                <c:pt idx="66">
                  <c:v>All Others</c:v>
                </c:pt>
                <c:pt idx="67">
                  <c:v>Kiri</c:v>
                </c:pt>
                <c:pt idx="68">
                  <c:v>All Others</c:v>
                </c:pt>
                <c:pt idx="69">
                  <c:v>Boursin</c:v>
                </c:pt>
              </c:strCache>
            </c:strRef>
          </c:cat>
          <c:val>
            <c:numRef>
              <c:f>Sheet1!$C$2:$C$71</c:f>
              <c:numCache>
                <c:formatCode>General</c:formatCode>
                <c:ptCount val="70"/>
                <c:pt idx="0">
                  <c:v>8.7269269643993563E-2</c:v>
                </c:pt>
                <c:pt idx="1">
                  <c:v>0.1588305319507356</c:v>
                </c:pt>
                <c:pt idx="2">
                  <c:v>0.22664560326432823</c:v>
                </c:pt>
                <c:pt idx="3">
                  <c:v>0.27836154681241343</c:v>
                </c:pt>
                <c:pt idx="4">
                  <c:v>0.32710275895631341</c:v>
                </c:pt>
                <c:pt idx="5">
                  <c:v>0.37339123273312619</c:v>
                </c:pt>
                <c:pt idx="6">
                  <c:v>0.41884805151050053</c:v>
                </c:pt>
                <c:pt idx="7">
                  <c:v>0.45611949238198635</c:v>
                </c:pt>
                <c:pt idx="8">
                  <c:v>0.49328282109834165</c:v>
                </c:pt>
                <c:pt idx="9">
                  <c:v>0.52599288735821514</c:v>
                </c:pt>
                <c:pt idx="10">
                  <c:v>0.55709325047729574</c:v>
                </c:pt>
                <c:pt idx="11">
                  <c:v>0.58508561374611612</c:v>
                </c:pt>
                <c:pt idx="12">
                  <c:v>0.61280425261108817</c:v>
                </c:pt>
                <c:pt idx="13">
                  <c:v>0.64006259124770704</c:v>
                </c:pt>
                <c:pt idx="14">
                  <c:v>0.66632066783962862</c:v>
                </c:pt>
                <c:pt idx="15">
                  <c:v>0.68935574439411518</c:v>
                </c:pt>
                <c:pt idx="16">
                  <c:v>0.71216261745217679</c:v>
                </c:pt>
                <c:pt idx="17">
                  <c:v>0.73417886422341172</c:v>
                </c:pt>
                <c:pt idx="18">
                  <c:v>0.75473424924194199</c:v>
                </c:pt>
                <c:pt idx="19">
                  <c:v>0.7750356755137946</c:v>
                </c:pt>
                <c:pt idx="20">
                  <c:v>0.79488039531314325</c:v>
                </c:pt>
                <c:pt idx="21">
                  <c:v>0.81407943697825014</c:v>
                </c:pt>
                <c:pt idx="22">
                  <c:v>0.83026631228240921</c:v>
                </c:pt>
                <c:pt idx="23">
                  <c:v>0.84368689402163732</c:v>
                </c:pt>
                <c:pt idx="24">
                  <c:v>0.85657200613933282</c:v>
                </c:pt>
                <c:pt idx="25">
                  <c:v>0.86834005914723156</c:v>
                </c:pt>
                <c:pt idx="26">
                  <c:v>0.87994819001984037</c:v>
                </c:pt>
                <c:pt idx="27">
                  <c:v>0.89026915733912315</c:v>
                </c:pt>
                <c:pt idx="28">
                  <c:v>0.90023224647175515</c:v>
                </c:pt>
                <c:pt idx="29">
                  <c:v>0.91010159847265359</c:v>
                </c:pt>
                <c:pt idx="30">
                  <c:v>0.91981611949238185</c:v>
                </c:pt>
                <c:pt idx="31">
                  <c:v>0.92821802118818542</c:v>
                </c:pt>
                <c:pt idx="32">
                  <c:v>0.93474817504585772</c:v>
                </c:pt>
                <c:pt idx="33">
                  <c:v>0.94112739115786315</c:v>
                </c:pt>
                <c:pt idx="34">
                  <c:v>0.94673245236401748</c:v>
                </c:pt>
                <c:pt idx="35">
                  <c:v>0.95231565155542242</c:v>
                </c:pt>
                <c:pt idx="36">
                  <c:v>0.95741279526822143</c:v>
                </c:pt>
                <c:pt idx="37">
                  <c:v>0.96231138397035143</c:v>
                </c:pt>
                <c:pt idx="38">
                  <c:v>0.96656639089581842</c:v>
                </c:pt>
                <c:pt idx="39">
                  <c:v>0.97050484782690061</c:v>
                </c:pt>
                <c:pt idx="40">
                  <c:v>0.97405637704488435</c:v>
                </c:pt>
                <c:pt idx="41">
                  <c:v>0.97758245049226955</c:v>
                </c:pt>
                <c:pt idx="42">
                  <c:v>0.98050926515179859</c:v>
                </c:pt>
                <c:pt idx="43">
                  <c:v>0.98332557181896441</c:v>
                </c:pt>
                <c:pt idx="44">
                  <c:v>0.98586875304159005</c:v>
                </c:pt>
                <c:pt idx="45">
                  <c:v>0.98820379590461549</c:v>
                </c:pt>
                <c:pt idx="46">
                  <c:v>0.99025343465728277</c:v>
                </c:pt>
                <c:pt idx="47">
                  <c:v>0.99202575525025249</c:v>
                </c:pt>
                <c:pt idx="48">
                  <c:v>0.99377531538951058</c:v>
                </c:pt>
                <c:pt idx="49">
                  <c:v>0.99495256990978165</c:v>
                </c:pt>
                <c:pt idx="50">
                  <c:v>0.9958998240557031</c:v>
                </c:pt>
                <c:pt idx="51">
                  <c:v>0.99681503387863579</c:v>
                </c:pt>
                <c:pt idx="52">
                  <c:v>0.99768232695691228</c:v>
                </c:pt>
                <c:pt idx="53">
                  <c:v>0.99805967132107953</c:v>
                </c:pt>
                <c:pt idx="54">
                  <c:v>0.99830374723917181</c:v>
                </c:pt>
                <c:pt idx="55">
                  <c:v>0.99852895593905577</c:v>
                </c:pt>
                <c:pt idx="56">
                  <c:v>0.99872122187698864</c:v>
                </c:pt>
                <c:pt idx="57">
                  <c:v>0.99891109197768868</c:v>
                </c:pt>
                <c:pt idx="58">
                  <c:v>0.99905903492681458</c:v>
                </c:pt>
                <c:pt idx="59">
                  <c:v>0.99920188672182075</c:v>
                </c:pt>
                <c:pt idx="60">
                  <c:v>0.99932527233931034</c:v>
                </c:pt>
                <c:pt idx="61">
                  <c:v>0.99944746003818352</c:v>
                </c:pt>
                <c:pt idx="62">
                  <c:v>0.99955287687642702</c:v>
                </c:pt>
                <c:pt idx="63">
                  <c:v>0.99964152285404095</c:v>
                </c:pt>
                <c:pt idx="64">
                  <c:v>0.99972747351476798</c:v>
                </c:pt>
                <c:pt idx="65">
                  <c:v>0.99980983041964577</c:v>
                </c:pt>
                <c:pt idx="66">
                  <c:v>0.99989039044659889</c:v>
                </c:pt>
                <c:pt idx="67">
                  <c:v>0.99992153633062542</c:v>
                </c:pt>
                <c:pt idx="68">
                  <c:v>0.99994729158087814</c:v>
                </c:pt>
                <c:pt idx="69">
                  <c:v>0.9999874218545277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7</c:f>
              <c:strCache>
                <c:ptCount val="236"/>
                <c:pt idx="0">
                  <c:v>Galbani</c:v>
                </c:pt>
                <c:pt idx="1">
                  <c:v>Salakis</c:v>
                </c:pt>
                <c:pt idx="2">
                  <c:v>Islos</c:v>
                </c:pt>
                <c:pt idx="3">
                  <c:v>Salakis</c:v>
                </c:pt>
                <c:pt idx="4">
                  <c:v>Galbani</c:v>
                </c:pt>
                <c:pt idx="5">
                  <c:v>Galbani</c:v>
                </c:pt>
                <c:pt idx="6">
                  <c:v>All Others</c:v>
                </c:pt>
                <c:pt idx="7">
                  <c:v>Casa Azzurr</c:v>
                </c:pt>
                <c:pt idx="8">
                  <c:v>Casa Azzurr</c:v>
                </c:pt>
                <c:pt idx="9">
                  <c:v>All Others</c:v>
                </c:pt>
                <c:pt idx="10">
                  <c:v>Galbani</c:v>
                </c:pt>
                <c:pt idx="11">
                  <c:v>Casa Azzurr</c:v>
                </c:pt>
                <c:pt idx="12">
                  <c:v>Casa Azzurr</c:v>
                </c:pt>
                <c:pt idx="13">
                  <c:v>Boursin</c:v>
                </c:pt>
                <c:pt idx="14">
                  <c:v>Casa Azzurr</c:v>
                </c:pt>
                <c:pt idx="15">
                  <c:v>Salakis</c:v>
                </c:pt>
                <c:pt idx="16">
                  <c:v>Casa Azzurr</c:v>
                </c:pt>
                <c:pt idx="17">
                  <c:v>Galbani</c:v>
                </c:pt>
                <c:pt idx="18">
                  <c:v>Salakis</c:v>
                </c:pt>
                <c:pt idx="19">
                  <c:v>All Others</c:v>
                </c:pt>
                <c:pt idx="20">
                  <c:v>All Others</c:v>
                </c:pt>
                <c:pt idx="21">
                  <c:v>Casa Azzurr</c:v>
                </c:pt>
                <c:pt idx="22">
                  <c:v>Galbani</c:v>
                </c:pt>
                <c:pt idx="23">
                  <c:v>Galbani</c:v>
                </c:pt>
                <c:pt idx="24">
                  <c:v>All Others</c:v>
                </c:pt>
                <c:pt idx="25">
                  <c:v>Casa Azzurr</c:v>
                </c:pt>
                <c:pt idx="26">
                  <c:v>Salakis</c:v>
                </c:pt>
                <c:pt idx="27">
                  <c:v>All Others</c:v>
                </c:pt>
                <c:pt idx="28">
                  <c:v>Casa Azzurr</c:v>
                </c:pt>
                <c:pt idx="29">
                  <c:v>All Others</c:v>
                </c:pt>
                <c:pt idx="30">
                  <c:v>Salakis</c:v>
                </c:pt>
                <c:pt idx="31">
                  <c:v>Casa Azzurr</c:v>
                </c:pt>
                <c:pt idx="32">
                  <c:v>All Others</c:v>
                </c:pt>
                <c:pt idx="33">
                  <c:v>Galbani</c:v>
                </c:pt>
                <c:pt idx="34">
                  <c:v>Galbani</c:v>
                </c:pt>
                <c:pt idx="35">
                  <c:v>All Others</c:v>
                </c:pt>
                <c:pt idx="36">
                  <c:v>Galbani</c:v>
                </c:pt>
                <c:pt idx="37">
                  <c:v>All Others</c:v>
                </c:pt>
                <c:pt idx="38">
                  <c:v>All Others</c:v>
                </c:pt>
                <c:pt idx="39">
                  <c:v>All Others</c:v>
                </c:pt>
                <c:pt idx="40">
                  <c:v>All Others</c:v>
                </c:pt>
                <c:pt idx="41">
                  <c:v>Salakis</c:v>
                </c:pt>
                <c:pt idx="42">
                  <c:v>Casa Azzurr</c:v>
                </c:pt>
                <c:pt idx="43">
                  <c:v>All Others</c:v>
                </c:pt>
                <c:pt idx="44">
                  <c:v>All Others</c:v>
                </c:pt>
                <c:pt idx="45">
                  <c:v>All Others</c:v>
                </c:pt>
                <c:pt idx="46">
                  <c:v>All Others</c:v>
                </c:pt>
                <c:pt idx="47">
                  <c:v>All Others</c:v>
                </c:pt>
                <c:pt idx="48">
                  <c:v>All Others</c:v>
                </c:pt>
                <c:pt idx="49">
                  <c:v>Islos</c:v>
                </c:pt>
                <c:pt idx="50">
                  <c:v>Boursin</c:v>
                </c:pt>
                <c:pt idx="51">
                  <c:v>All Others</c:v>
                </c:pt>
                <c:pt idx="52">
                  <c:v>All Others</c:v>
                </c:pt>
                <c:pt idx="53">
                  <c:v>All Others</c:v>
                </c:pt>
                <c:pt idx="54">
                  <c:v>Casa Azzurr</c:v>
                </c:pt>
                <c:pt idx="55">
                  <c:v>All Others</c:v>
                </c:pt>
                <c:pt idx="56">
                  <c:v>All Others</c:v>
                </c:pt>
                <c:pt idx="57">
                  <c:v>All Others</c:v>
                </c:pt>
                <c:pt idx="58">
                  <c:v>Casa Azzurr</c:v>
                </c:pt>
                <c:pt idx="59">
                  <c:v>Boursin</c:v>
                </c:pt>
                <c:pt idx="60">
                  <c:v>Casa Azzurr</c:v>
                </c:pt>
                <c:pt idx="61">
                  <c:v>Galbani</c:v>
                </c:pt>
                <c:pt idx="62">
                  <c:v>Galbani</c:v>
                </c:pt>
                <c:pt idx="63">
                  <c:v>All Others</c:v>
                </c:pt>
                <c:pt idx="64">
                  <c:v>All Others</c:v>
                </c:pt>
                <c:pt idx="65">
                  <c:v>Lactalis: A</c:v>
                </c:pt>
                <c:pt idx="66">
                  <c:v>All Others</c:v>
                </c:pt>
                <c:pt idx="67">
                  <c:v>All Others</c:v>
                </c:pt>
                <c:pt idx="68">
                  <c:v>All Others</c:v>
                </c:pt>
                <c:pt idx="69">
                  <c:v>All Others</c:v>
                </c:pt>
                <c:pt idx="70">
                  <c:v>Islos</c:v>
                </c:pt>
                <c:pt idx="71">
                  <c:v>All Others</c:v>
                </c:pt>
                <c:pt idx="72">
                  <c:v>All Others</c:v>
                </c:pt>
                <c:pt idx="73">
                  <c:v>All Others</c:v>
                </c:pt>
                <c:pt idx="74">
                  <c:v>All Others</c:v>
                </c:pt>
                <c:pt idx="75">
                  <c:v>All Others</c:v>
                </c:pt>
                <c:pt idx="76">
                  <c:v>All Others</c:v>
                </c:pt>
                <c:pt idx="77">
                  <c:v>All Others</c:v>
                </c:pt>
                <c:pt idx="78">
                  <c:v>Boursin</c:v>
                </c:pt>
                <c:pt idx="79">
                  <c:v>All Others</c:v>
                </c:pt>
                <c:pt idx="80">
                  <c:v>Boursin</c:v>
                </c:pt>
                <c:pt idx="81">
                  <c:v>All Others</c:v>
                </c:pt>
                <c:pt idx="82">
                  <c:v>Casa Azzurr</c:v>
                </c:pt>
                <c:pt idx="83">
                  <c:v>All Others</c:v>
                </c:pt>
                <c:pt idx="84">
                  <c:v>All Others</c:v>
                </c:pt>
                <c:pt idx="85">
                  <c:v>All Others</c:v>
                </c:pt>
                <c:pt idx="86">
                  <c:v>Salakis</c:v>
                </c:pt>
                <c:pt idx="87">
                  <c:v>All Others</c:v>
                </c:pt>
                <c:pt idx="88">
                  <c:v>Galbani</c:v>
                </c:pt>
                <c:pt idx="89">
                  <c:v>All Others</c:v>
                </c:pt>
                <c:pt idx="90">
                  <c:v>All Others</c:v>
                </c:pt>
                <c:pt idx="91">
                  <c:v>All Others</c:v>
                </c:pt>
                <c:pt idx="92">
                  <c:v>All Others</c:v>
                </c:pt>
                <c:pt idx="93">
                  <c:v>Salakis</c:v>
                </c:pt>
                <c:pt idx="94">
                  <c:v>All Others</c:v>
                </c:pt>
                <c:pt idx="95">
                  <c:v>All Others</c:v>
                </c:pt>
                <c:pt idx="96">
                  <c:v>All Others</c:v>
                </c:pt>
                <c:pt idx="97">
                  <c:v>All Others</c:v>
                </c:pt>
                <c:pt idx="98">
                  <c:v>Lactalis: A</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Casa Azzurr</c:v>
                </c:pt>
                <c:pt idx="117">
                  <c:v>All Others</c:v>
                </c:pt>
                <c:pt idx="118">
                  <c:v>All Others</c:v>
                </c:pt>
                <c:pt idx="119">
                  <c:v>All Others</c:v>
                </c:pt>
                <c:pt idx="120">
                  <c:v>All Others</c:v>
                </c:pt>
                <c:pt idx="121">
                  <c:v>Salakis</c:v>
                </c:pt>
                <c:pt idx="122">
                  <c:v>All Others</c:v>
                </c:pt>
                <c:pt idx="123">
                  <c:v>All Others</c:v>
                </c:pt>
                <c:pt idx="124">
                  <c:v>All Others</c:v>
                </c:pt>
                <c:pt idx="125">
                  <c:v>Lactalis: A</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Casa Azzurr</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All Others</c:v>
                </c:pt>
                <c:pt idx="155">
                  <c:v>All Others</c:v>
                </c:pt>
                <c:pt idx="156">
                  <c:v>Salakis</c:v>
                </c:pt>
                <c:pt idx="157">
                  <c:v>All Others</c:v>
                </c:pt>
                <c:pt idx="158">
                  <c:v>All Others</c:v>
                </c:pt>
                <c:pt idx="159">
                  <c:v>All Others</c:v>
                </c:pt>
                <c:pt idx="160">
                  <c:v>All Others</c:v>
                </c:pt>
                <c:pt idx="161">
                  <c:v>Salakis</c:v>
                </c:pt>
                <c:pt idx="162">
                  <c:v>All Others</c:v>
                </c:pt>
                <c:pt idx="163">
                  <c:v>All Others</c:v>
                </c:pt>
                <c:pt idx="164">
                  <c:v>All Others</c:v>
                </c:pt>
                <c:pt idx="165">
                  <c:v>All Others</c:v>
                </c:pt>
                <c:pt idx="166">
                  <c:v>Islos</c:v>
                </c:pt>
                <c:pt idx="167">
                  <c:v>All Others</c:v>
                </c:pt>
                <c:pt idx="168">
                  <c:v>All Others</c:v>
                </c:pt>
                <c:pt idx="169">
                  <c:v>All Others</c:v>
                </c:pt>
                <c:pt idx="170">
                  <c:v>All Others</c:v>
                </c:pt>
                <c:pt idx="171">
                  <c:v>Casa Azzurr</c:v>
                </c:pt>
                <c:pt idx="172">
                  <c:v>All Others</c:v>
                </c:pt>
                <c:pt idx="173">
                  <c:v>All Others</c:v>
                </c:pt>
                <c:pt idx="174">
                  <c:v>All Others</c:v>
                </c:pt>
                <c:pt idx="175">
                  <c:v>All Others</c:v>
                </c:pt>
                <c:pt idx="176">
                  <c:v>All Others</c:v>
                </c:pt>
                <c:pt idx="177">
                  <c:v>All Others</c:v>
                </c:pt>
                <c:pt idx="178">
                  <c:v>All Others</c:v>
                </c:pt>
                <c:pt idx="179">
                  <c:v>All Others</c:v>
                </c:pt>
                <c:pt idx="180">
                  <c:v>All Others</c:v>
                </c:pt>
                <c:pt idx="181">
                  <c:v>All Others</c:v>
                </c:pt>
                <c:pt idx="182">
                  <c:v>All Others</c:v>
                </c:pt>
                <c:pt idx="183">
                  <c:v>All Others</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All Others</c:v>
                </c:pt>
                <c:pt idx="194">
                  <c:v>All Others</c:v>
                </c:pt>
                <c:pt idx="195">
                  <c:v>All Others</c:v>
                </c:pt>
                <c:pt idx="196">
                  <c:v>All Others</c:v>
                </c:pt>
                <c:pt idx="197">
                  <c:v>All Others</c:v>
                </c:pt>
                <c:pt idx="198">
                  <c:v>All Others</c:v>
                </c:pt>
                <c:pt idx="199">
                  <c:v>All Others</c:v>
                </c:pt>
                <c:pt idx="200">
                  <c:v>All Others</c:v>
                </c:pt>
                <c:pt idx="201">
                  <c:v>All Others</c:v>
                </c:pt>
                <c:pt idx="202">
                  <c:v>All Others</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All Others</c:v>
                </c:pt>
                <c:pt idx="221">
                  <c:v>All Others</c:v>
                </c:pt>
                <c:pt idx="222">
                  <c:v>Salakis</c:v>
                </c:pt>
                <c:pt idx="223">
                  <c:v>Societe</c:v>
                </c:pt>
                <c:pt idx="224">
                  <c:v>All Others</c:v>
                </c:pt>
                <c:pt idx="225">
                  <c:v>All Others</c:v>
                </c:pt>
                <c:pt idx="226">
                  <c:v>All Others</c:v>
                </c:pt>
                <c:pt idx="227">
                  <c:v>All Others</c:v>
                </c:pt>
                <c:pt idx="228">
                  <c:v>All Others</c:v>
                </c:pt>
                <c:pt idx="229">
                  <c:v>Boursin</c:v>
                </c:pt>
                <c:pt idx="230">
                  <c:v>All Others</c:v>
                </c:pt>
                <c:pt idx="231">
                  <c:v>All Others</c:v>
                </c:pt>
                <c:pt idx="232">
                  <c:v>All Others</c:v>
                </c:pt>
                <c:pt idx="233">
                  <c:v>All Others</c:v>
                </c:pt>
                <c:pt idx="234">
                  <c:v>All Others</c:v>
                </c:pt>
                <c:pt idx="235">
                  <c:v>All Others</c:v>
                </c:pt>
              </c:strCache>
            </c:strRef>
          </c:cat>
          <c:val>
            <c:numRef>
              <c:f>Sheet1!$B$2:$B$237</c:f>
              <c:numCache>
                <c:formatCode>General</c:formatCode>
                <c:ptCount val="236"/>
                <c:pt idx="0">
                  <c:v>0.94799999999999995</c:v>
                </c:pt>
                <c:pt idx="1">
                  <c:v>0.93899999999999995</c:v>
                </c:pt>
                <c:pt idx="2">
                  <c:v>0.83599999999999997</c:v>
                </c:pt>
                <c:pt idx="3">
                  <c:v>0.91500000000000004</c:v>
                </c:pt>
                <c:pt idx="4">
                  <c:v>0.84299999999999997</c:v>
                </c:pt>
                <c:pt idx="5">
                  <c:v>0.69099999999999995</c:v>
                </c:pt>
                <c:pt idx="6">
                  <c:v>0.73899999999999999</c:v>
                </c:pt>
                <c:pt idx="7">
                  <c:v>0.77800000000000002</c:v>
                </c:pt>
                <c:pt idx="8">
                  <c:v>0.80900000000000005</c:v>
                </c:pt>
                <c:pt idx="9">
                  <c:v>0.75700000000000001</c:v>
                </c:pt>
                <c:pt idx="10">
                  <c:v>0.83299999999999996</c:v>
                </c:pt>
                <c:pt idx="11">
                  <c:v>0.77400000000000002</c:v>
                </c:pt>
                <c:pt idx="12">
                  <c:v>0.82</c:v>
                </c:pt>
                <c:pt idx="13">
                  <c:v>0.96099999999999997</c:v>
                </c:pt>
                <c:pt idx="14">
                  <c:v>0.73299999999999998</c:v>
                </c:pt>
                <c:pt idx="15">
                  <c:v>0.77400000000000002</c:v>
                </c:pt>
                <c:pt idx="16">
                  <c:v>0.71799999999999997</c:v>
                </c:pt>
                <c:pt idx="17">
                  <c:v>0.68500000000000005</c:v>
                </c:pt>
                <c:pt idx="18">
                  <c:v>0.747</c:v>
                </c:pt>
                <c:pt idx="19">
                  <c:v>0.77700000000000002</c:v>
                </c:pt>
                <c:pt idx="20">
                  <c:v>0.60699999999999998</c:v>
                </c:pt>
                <c:pt idx="21">
                  <c:v>0.754</c:v>
                </c:pt>
                <c:pt idx="22">
                  <c:v>0.80100000000000005</c:v>
                </c:pt>
                <c:pt idx="23">
                  <c:v>0.73799999999999999</c:v>
                </c:pt>
                <c:pt idx="24">
                  <c:v>0.621</c:v>
                </c:pt>
                <c:pt idx="25">
                  <c:v>0.63900000000000001</c:v>
                </c:pt>
                <c:pt idx="26">
                  <c:v>0.65300000000000002</c:v>
                </c:pt>
                <c:pt idx="27">
                  <c:v>0.54200000000000004</c:v>
                </c:pt>
                <c:pt idx="28">
                  <c:v>0.621</c:v>
                </c:pt>
                <c:pt idx="29">
                  <c:v>0.67200000000000004</c:v>
                </c:pt>
                <c:pt idx="30">
                  <c:v>0.64</c:v>
                </c:pt>
                <c:pt idx="31">
                  <c:v>0.73699999999999999</c:v>
                </c:pt>
                <c:pt idx="32">
                  <c:v>0.36099999999999999</c:v>
                </c:pt>
                <c:pt idx="33">
                  <c:v>0.60199999999999998</c:v>
                </c:pt>
                <c:pt idx="34">
                  <c:v>0.80100000000000005</c:v>
                </c:pt>
                <c:pt idx="35">
                  <c:v>0.623</c:v>
                </c:pt>
                <c:pt idx="36">
                  <c:v>0.51</c:v>
                </c:pt>
                <c:pt idx="37">
                  <c:v>0.60399999999999998</c:v>
                </c:pt>
                <c:pt idx="38">
                  <c:v>0.28999999999999998</c:v>
                </c:pt>
                <c:pt idx="39">
                  <c:v>0.746</c:v>
                </c:pt>
                <c:pt idx="40">
                  <c:v>0.65900000000000003</c:v>
                </c:pt>
                <c:pt idx="41">
                  <c:v>0.53800000000000003</c:v>
                </c:pt>
                <c:pt idx="42">
                  <c:v>0.621</c:v>
                </c:pt>
                <c:pt idx="43">
                  <c:v>0.69099999999999995</c:v>
                </c:pt>
                <c:pt idx="44">
                  <c:v>0.45500000000000002</c:v>
                </c:pt>
                <c:pt idx="45">
                  <c:v>0.54700000000000004</c:v>
                </c:pt>
                <c:pt idx="46">
                  <c:v>0.59199999999999997</c:v>
                </c:pt>
                <c:pt idx="47">
                  <c:v>0.56000000000000005</c:v>
                </c:pt>
                <c:pt idx="48">
                  <c:v>0.67500000000000004</c:v>
                </c:pt>
                <c:pt idx="49">
                  <c:v>0.77400000000000002</c:v>
                </c:pt>
                <c:pt idx="50">
                  <c:v>0.79300000000000004</c:v>
                </c:pt>
                <c:pt idx="51">
                  <c:v>0.42599999999999999</c:v>
                </c:pt>
                <c:pt idx="52">
                  <c:v>0.52500000000000002</c:v>
                </c:pt>
                <c:pt idx="53">
                  <c:v>0.57499999999999996</c:v>
                </c:pt>
                <c:pt idx="54">
                  <c:v>0.47199999999999998</c:v>
                </c:pt>
                <c:pt idx="55">
                  <c:v>0.42399999999999999</c:v>
                </c:pt>
                <c:pt idx="56">
                  <c:v>0.32700000000000001</c:v>
                </c:pt>
                <c:pt idx="57">
                  <c:v>0.52100000000000002</c:v>
                </c:pt>
                <c:pt idx="58">
                  <c:v>0.57999999999999996</c:v>
                </c:pt>
                <c:pt idx="59">
                  <c:v>0.76600000000000001</c:v>
                </c:pt>
                <c:pt idx="60">
                  <c:v>0.40600000000000003</c:v>
                </c:pt>
                <c:pt idx="61">
                  <c:v>0.40400000000000003</c:v>
                </c:pt>
                <c:pt idx="62">
                  <c:v>0.42399999999999999</c:v>
                </c:pt>
                <c:pt idx="63">
                  <c:v>0.32</c:v>
                </c:pt>
                <c:pt idx="64">
                  <c:v>0.49399999999999999</c:v>
                </c:pt>
                <c:pt idx="65">
                  <c:v>0.41499999999999998</c:v>
                </c:pt>
                <c:pt idx="66">
                  <c:v>0.28199999999999997</c:v>
                </c:pt>
                <c:pt idx="67">
                  <c:v>0.71899999999999997</c:v>
                </c:pt>
                <c:pt idx="68">
                  <c:v>0.29099999999999998</c:v>
                </c:pt>
                <c:pt idx="69">
                  <c:v>0.16700000000000001</c:v>
                </c:pt>
                <c:pt idx="70">
                  <c:v>0.54200000000000004</c:v>
                </c:pt>
                <c:pt idx="71">
                  <c:v>0.57799999999999996</c:v>
                </c:pt>
                <c:pt idx="72">
                  <c:v>0.55000000000000004</c:v>
                </c:pt>
                <c:pt idx="73">
                  <c:v>0.34200000000000003</c:v>
                </c:pt>
                <c:pt idx="74">
                  <c:v>0.29299999999999998</c:v>
                </c:pt>
                <c:pt idx="75">
                  <c:v>0.66300000000000003</c:v>
                </c:pt>
                <c:pt idx="76">
                  <c:v>0.39400000000000002</c:v>
                </c:pt>
                <c:pt idx="77">
                  <c:v>0.29199999999999998</c:v>
                </c:pt>
                <c:pt idx="78">
                  <c:v>0.69399999999999995</c:v>
                </c:pt>
                <c:pt idx="79">
                  <c:v>0.30199999999999999</c:v>
                </c:pt>
                <c:pt idx="80">
                  <c:v>0.69399999999999995</c:v>
                </c:pt>
                <c:pt idx="81">
                  <c:v>0.52900000000000003</c:v>
                </c:pt>
                <c:pt idx="82">
                  <c:v>0.379</c:v>
                </c:pt>
                <c:pt idx="83">
                  <c:v>0.29199999999999998</c:v>
                </c:pt>
                <c:pt idx="84">
                  <c:v>0.52900000000000003</c:v>
                </c:pt>
                <c:pt idx="85">
                  <c:v>0.107</c:v>
                </c:pt>
                <c:pt idx="86">
                  <c:v>0.28899999999999998</c:v>
                </c:pt>
                <c:pt idx="87">
                  <c:v>0.42399999999999999</c:v>
                </c:pt>
                <c:pt idx="88">
                  <c:v>0.21199999999999999</c:v>
                </c:pt>
                <c:pt idx="89">
                  <c:v>0.217</c:v>
                </c:pt>
                <c:pt idx="90">
                  <c:v>0.24099999999999999</c:v>
                </c:pt>
                <c:pt idx="91">
                  <c:v>0.27100000000000002</c:v>
                </c:pt>
                <c:pt idx="92">
                  <c:v>0.11</c:v>
                </c:pt>
                <c:pt idx="93">
                  <c:v>0.32900000000000001</c:v>
                </c:pt>
                <c:pt idx="94">
                  <c:v>0.53800000000000003</c:v>
                </c:pt>
                <c:pt idx="95">
                  <c:v>0.1</c:v>
                </c:pt>
                <c:pt idx="96">
                  <c:v>0.32500000000000001</c:v>
                </c:pt>
                <c:pt idx="97">
                  <c:v>0.11</c:v>
                </c:pt>
                <c:pt idx="98">
                  <c:v>0.19800000000000001</c:v>
                </c:pt>
                <c:pt idx="99">
                  <c:v>0.17799999999999999</c:v>
                </c:pt>
                <c:pt idx="100">
                  <c:v>9.9000000000000005E-2</c:v>
                </c:pt>
                <c:pt idx="101">
                  <c:v>0.33300000000000002</c:v>
                </c:pt>
                <c:pt idx="102">
                  <c:v>0.191</c:v>
                </c:pt>
                <c:pt idx="103">
                  <c:v>0.42899999999999999</c:v>
                </c:pt>
                <c:pt idx="104">
                  <c:v>0.23400000000000001</c:v>
                </c:pt>
                <c:pt idx="105">
                  <c:v>0.434</c:v>
                </c:pt>
                <c:pt idx="106">
                  <c:v>0.372</c:v>
                </c:pt>
                <c:pt idx="107">
                  <c:v>0.34799999999999998</c:v>
                </c:pt>
                <c:pt idx="108">
                  <c:v>7.8E-2</c:v>
                </c:pt>
                <c:pt idx="109">
                  <c:v>0.38500000000000001</c:v>
                </c:pt>
                <c:pt idx="110">
                  <c:v>0.21199999999999999</c:v>
                </c:pt>
                <c:pt idx="111">
                  <c:v>0.16700000000000001</c:v>
                </c:pt>
                <c:pt idx="112">
                  <c:v>8.2000000000000003E-2</c:v>
                </c:pt>
                <c:pt idx="113">
                  <c:v>0.26600000000000001</c:v>
                </c:pt>
                <c:pt idx="114">
                  <c:v>4.1000000000000002E-2</c:v>
                </c:pt>
                <c:pt idx="115">
                  <c:v>0.14599999999999999</c:v>
                </c:pt>
                <c:pt idx="116">
                  <c:v>0.19900000000000001</c:v>
                </c:pt>
                <c:pt idx="117">
                  <c:v>0.14499999999999999</c:v>
                </c:pt>
                <c:pt idx="118">
                  <c:v>0.115</c:v>
                </c:pt>
                <c:pt idx="119">
                  <c:v>0.10199999999999999</c:v>
                </c:pt>
                <c:pt idx="120">
                  <c:v>9.8000000000000004E-2</c:v>
                </c:pt>
                <c:pt idx="121">
                  <c:v>0.316</c:v>
                </c:pt>
                <c:pt idx="122">
                  <c:v>9.5000000000000001E-2</c:v>
                </c:pt>
                <c:pt idx="123">
                  <c:v>3.2000000000000001E-2</c:v>
                </c:pt>
                <c:pt idx="124">
                  <c:v>0.20799999999999999</c:v>
                </c:pt>
                <c:pt idx="125">
                  <c:v>0.161</c:v>
                </c:pt>
                <c:pt idx="126">
                  <c:v>6.8000000000000005E-2</c:v>
                </c:pt>
                <c:pt idx="127">
                  <c:v>0.214</c:v>
                </c:pt>
                <c:pt idx="128">
                  <c:v>0.17199999999999999</c:v>
                </c:pt>
                <c:pt idx="129">
                  <c:v>8.4000000000000005E-2</c:v>
                </c:pt>
                <c:pt idx="130">
                  <c:v>8.7999999999999995E-2</c:v>
                </c:pt>
                <c:pt idx="131">
                  <c:v>8.0000000000000002E-3</c:v>
                </c:pt>
                <c:pt idx="132">
                  <c:v>0.161</c:v>
                </c:pt>
                <c:pt idx="133">
                  <c:v>0.17399999999999999</c:v>
                </c:pt>
                <c:pt idx="134">
                  <c:v>0.126</c:v>
                </c:pt>
                <c:pt idx="135">
                  <c:v>8.0000000000000002E-3</c:v>
                </c:pt>
                <c:pt idx="136">
                  <c:v>7.6999999999999999E-2</c:v>
                </c:pt>
                <c:pt idx="137">
                  <c:v>5.3999999999999999E-2</c:v>
                </c:pt>
                <c:pt idx="138">
                  <c:v>6.8000000000000005E-2</c:v>
                </c:pt>
                <c:pt idx="139">
                  <c:v>8.2000000000000003E-2</c:v>
                </c:pt>
                <c:pt idx="140">
                  <c:v>5.8999999999999997E-2</c:v>
                </c:pt>
                <c:pt idx="141">
                  <c:v>0.06</c:v>
                </c:pt>
                <c:pt idx="142">
                  <c:v>5.0000000000000001E-3</c:v>
                </c:pt>
                <c:pt idx="143">
                  <c:v>4.8000000000000001E-2</c:v>
                </c:pt>
                <c:pt idx="144">
                  <c:v>4.3999999999999997E-2</c:v>
                </c:pt>
                <c:pt idx="145">
                  <c:v>8.0000000000000002E-3</c:v>
                </c:pt>
                <c:pt idx="146">
                  <c:v>4.1000000000000002E-2</c:v>
                </c:pt>
                <c:pt idx="147">
                  <c:v>0.13900000000000001</c:v>
                </c:pt>
                <c:pt idx="148">
                  <c:v>4.2000000000000003E-2</c:v>
                </c:pt>
                <c:pt idx="149">
                  <c:v>3.2000000000000001E-2</c:v>
                </c:pt>
                <c:pt idx="150">
                  <c:v>4.4999999999999998E-2</c:v>
                </c:pt>
                <c:pt idx="151">
                  <c:v>0.153</c:v>
                </c:pt>
                <c:pt idx="152">
                  <c:v>8.0000000000000002E-3</c:v>
                </c:pt>
                <c:pt idx="153">
                  <c:v>4.1000000000000002E-2</c:v>
                </c:pt>
                <c:pt idx="154">
                  <c:v>3.0000000000000001E-3</c:v>
                </c:pt>
                <c:pt idx="155">
                  <c:v>3.0000000000000001E-3</c:v>
                </c:pt>
                <c:pt idx="156">
                  <c:v>0.221</c:v>
                </c:pt>
                <c:pt idx="157">
                  <c:v>8.0000000000000002E-3</c:v>
                </c:pt>
                <c:pt idx="158">
                  <c:v>0.05</c:v>
                </c:pt>
                <c:pt idx="159">
                  <c:v>3.0000000000000001E-3</c:v>
                </c:pt>
                <c:pt idx="160">
                  <c:v>9.2999999999999999E-2</c:v>
                </c:pt>
                <c:pt idx="161">
                  <c:v>0.20799999999999999</c:v>
                </c:pt>
                <c:pt idx="162">
                  <c:v>8.2000000000000003E-2</c:v>
                </c:pt>
                <c:pt idx="163">
                  <c:v>3.5999999999999997E-2</c:v>
                </c:pt>
                <c:pt idx="164">
                  <c:v>3.0000000000000001E-3</c:v>
                </c:pt>
                <c:pt idx="165">
                  <c:v>6.3E-2</c:v>
                </c:pt>
                <c:pt idx="166">
                  <c:v>0.193</c:v>
                </c:pt>
                <c:pt idx="167">
                  <c:v>5.0000000000000001E-3</c:v>
                </c:pt>
                <c:pt idx="168">
                  <c:v>7.6999999999999999E-2</c:v>
                </c:pt>
                <c:pt idx="169">
                  <c:v>5.0000000000000001E-3</c:v>
                </c:pt>
                <c:pt idx="170">
                  <c:v>1.7999999999999999E-2</c:v>
                </c:pt>
                <c:pt idx="171">
                  <c:v>0.104</c:v>
                </c:pt>
                <c:pt idx="172">
                  <c:v>2.7E-2</c:v>
                </c:pt>
                <c:pt idx="173">
                  <c:v>2E-3</c:v>
                </c:pt>
                <c:pt idx="174">
                  <c:v>5.0000000000000001E-3</c:v>
                </c:pt>
                <c:pt idx="175">
                  <c:v>1.7999999999999999E-2</c:v>
                </c:pt>
                <c:pt idx="176">
                  <c:v>2.7E-2</c:v>
                </c:pt>
                <c:pt idx="177">
                  <c:v>6.6000000000000003E-2</c:v>
                </c:pt>
                <c:pt idx="178">
                  <c:v>2.3E-2</c:v>
                </c:pt>
                <c:pt idx="179">
                  <c:v>2.5000000000000001E-2</c:v>
                </c:pt>
                <c:pt idx="180">
                  <c:v>2.3E-2</c:v>
                </c:pt>
                <c:pt idx="181">
                  <c:v>4.4999999999999998E-2</c:v>
                </c:pt>
                <c:pt idx="182">
                  <c:v>3.2000000000000001E-2</c:v>
                </c:pt>
                <c:pt idx="183">
                  <c:v>5.3999999999999999E-2</c:v>
                </c:pt>
                <c:pt idx="184">
                  <c:v>3.2000000000000001E-2</c:v>
                </c:pt>
                <c:pt idx="185">
                  <c:v>3.5999999999999997E-2</c:v>
                </c:pt>
                <c:pt idx="186">
                  <c:v>4.0000000000000001E-3</c:v>
                </c:pt>
                <c:pt idx="187">
                  <c:v>3.1E-2</c:v>
                </c:pt>
                <c:pt idx="188">
                  <c:v>8.0000000000000002E-3</c:v>
                </c:pt>
                <c:pt idx="189">
                  <c:v>5.0000000000000001E-3</c:v>
                </c:pt>
                <c:pt idx="190">
                  <c:v>5.8999999999999997E-2</c:v>
                </c:pt>
                <c:pt idx="191">
                  <c:v>2.7E-2</c:v>
                </c:pt>
                <c:pt idx="192">
                  <c:v>4.0000000000000001E-3</c:v>
                </c:pt>
                <c:pt idx="193">
                  <c:v>4.2999999999999997E-2</c:v>
                </c:pt>
                <c:pt idx="194">
                  <c:v>5.8999999999999997E-2</c:v>
                </c:pt>
                <c:pt idx="195">
                  <c:v>5.0000000000000001E-3</c:v>
                </c:pt>
                <c:pt idx="196">
                  <c:v>8.9999999999999993E-3</c:v>
                </c:pt>
                <c:pt idx="197">
                  <c:v>3.5999999999999997E-2</c:v>
                </c:pt>
                <c:pt idx="198">
                  <c:v>4.0000000000000001E-3</c:v>
                </c:pt>
                <c:pt idx="199">
                  <c:v>5.0000000000000001E-3</c:v>
                </c:pt>
                <c:pt idx="200">
                  <c:v>8.9999999999999993E-3</c:v>
                </c:pt>
                <c:pt idx="201">
                  <c:v>1.7999999999999999E-2</c:v>
                </c:pt>
                <c:pt idx="202">
                  <c:v>2.3E-2</c:v>
                </c:pt>
                <c:pt idx="203">
                  <c:v>1.7999999999999999E-2</c:v>
                </c:pt>
                <c:pt idx="204">
                  <c:v>5.0000000000000001E-3</c:v>
                </c:pt>
                <c:pt idx="205">
                  <c:v>5.0000000000000001E-3</c:v>
                </c:pt>
                <c:pt idx="206">
                  <c:v>5.0000000000000001E-3</c:v>
                </c:pt>
                <c:pt idx="207">
                  <c:v>4.0000000000000001E-3</c:v>
                </c:pt>
                <c:pt idx="208">
                  <c:v>5.0000000000000001E-3</c:v>
                </c:pt>
                <c:pt idx="209">
                  <c:v>1.4E-2</c:v>
                </c:pt>
                <c:pt idx="210">
                  <c:v>8.0000000000000002E-3</c:v>
                </c:pt>
                <c:pt idx="211">
                  <c:v>4.3999999999999997E-2</c:v>
                </c:pt>
                <c:pt idx="212">
                  <c:v>5.0000000000000001E-3</c:v>
                </c:pt>
                <c:pt idx="213">
                  <c:v>2.3E-2</c:v>
                </c:pt>
                <c:pt idx="214">
                  <c:v>8.0000000000000002E-3</c:v>
                </c:pt>
                <c:pt idx="215">
                  <c:v>8.0000000000000002E-3</c:v>
                </c:pt>
                <c:pt idx="216">
                  <c:v>5.0000000000000001E-3</c:v>
                </c:pt>
                <c:pt idx="217">
                  <c:v>1.4E-2</c:v>
                </c:pt>
                <c:pt idx="218">
                  <c:v>4.0000000000000001E-3</c:v>
                </c:pt>
                <c:pt idx="219">
                  <c:v>5.0000000000000001E-3</c:v>
                </c:pt>
                <c:pt idx="220">
                  <c:v>4.0000000000000001E-3</c:v>
                </c:pt>
                <c:pt idx="221">
                  <c:v>8.0000000000000002E-3</c:v>
                </c:pt>
                <c:pt idx="222">
                  <c:v>5.0000000000000001E-3</c:v>
                </c:pt>
                <c:pt idx="223">
                  <c:v>5.0000000000000001E-3</c:v>
                </c:pt>
                <c:pt idx="224">
                  <c:v>6.3E-2</c:v>
                </c:pt>
                <c:pt idx="225">
                  <c:v>8.0000000000000002E-3</c:v>
                </c:pt>
                <c:pt idx="226">
                  <c:v>8.9999999999999993E-3</c:v>
                </c:pt>
                <c:pt idx="227">
                  <c:v>5.0000000000000001E-3</c:v>
                </c:pt>
                <c:pt idx="228">
                  <c:v>0.05</c:v>
                </c:pt>
                <c:pt idx="229">
                  <c:v>1.0999999999999999E-2</c:v>
                </c:pt>
                <c:pt idx="230">
                  <c:v>5.0000000000000001E-3</c:v>
                </c:pt>
                <c:pt idx="231">
                  <c:v>5.0000000000000001E-3</c:v>
                </c:pt>
                <c:pt idx="232">
                  <c:v>5.0000000000000001E-3</c:v>
                </c:pt>
                <c:pt idx="233">
                  <c:v>8.9999999999999993E-3</c:v>
                </c:pt>
                <c:pt idx="234">
                  <c:v>5.0000000000000001E-3</c:v>
                </c:pt>
                <c:pt idx="235">
                  <c:v>5.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6553-4FB4-A2C5-0B3535B5C273}"/>
              </c:ext>
            </c:extLst>
          </c:dPt>
          <c:dPt>
            <c:idx val="211"/>
            <c:invertIfNegative val="1"/>
            <c:bubble3D val="0"/>
            <c:spPr>
              <a:solidFill>
                <a:srgbClr val="AEABAB"/>
              </a:solidFill>
            </c:spPr>
            <c:extLst>
              <c:ext xmlns:c16="http://schemas.microsoft.com/office/drawing/2014/chart" uri="{C3380CC4-5D6E-409C-BE32-E72D297353CC}">
                <c16:uniqueId val="{000001A9-6553-4FB4-A2C5-0B3535B5C273}"/>
              </c:ext>
            </c:extLst>
          </c:dPt>
          <c:dPt>
            <c:idx val="212"/>
            <c:invertIfNegative val="1"/>
            <c:bubble3D val="0"/>
            <c:spPr>
              <a:solidFill>
                <a:srgbClr val="AEABAB"/>
              </a:solidFill>
            </c:spPr>
            <c:extLst>
              <c:ext xmlns:c16="http://schemas.microsoft.com/office/drawing/2014/chart" uri="{C3380CC4-5D6E-409C-BE32-E72D297353CC}">
                <c16:uniqueId val="{000001AB-6553-4FB4-A2C5-0B3535B5C273}"/>
              </c:ext>
            </c:extLst>
          </c:dPt>
          <c:dPt>
            <c:idx val="213"/>
            <c:invertIfNegative val="1"/>
            <c:bubble3D val="0"/>
            <c:spPr>
              <a:solidFill>
                <a:srgbClr val="AEABAB"/>
              </a:solidFill>
            </c:spPr>
            <c:extLst>
              <c:ext xmlns:c16="http://schemas.microsoft.com/office/drawing/2014/chart" uri="{C3380CC4-5D6E-409C-BE32-E72D297353CC}">
                <c16:uniqueId val="{000001AD-6553-4FB4-A2C5-0B3535B5C273}"/>
              </c:ext>
            </c:extLst>
          </c:dPt>
          <c:dPt>
            <c:idx val="214"/>
            <c:invertIfNegative val="1"/>
            <c:bubble3D val="0"/>
            <c:spPr>
              <a:solidFill>
                <a:srgbClr val="AEABAB"/>
              </a:solidFill>
            </c:spPr>
            <c:extLst>
              <c:ext xmlns:c16="http://schemas.microsoft.com/office/drawing/2014/chart" uri="{C3380CC4-5D6E-409C-BE32-E72D297353CC}">
                <c16:uniqueId val="{000001AF-6553-4FB4-A2C5-0B3535B5C273}"/>
              </c:ext>
            </c:extLst>
          </c:dPt>
          <c:dPt>
            <c:idx val="215"/>
            <c:invertIfNegative val="1"/>
            <c:bubble3D val="0"/>
            <c:spPr>
              <a:solidFill>
                <a:srgbClr val="AEABAB"/>
              </a:solidFill>
            </c:spPr>
            <c:extLst>
              <c:ext xmlns:c16="http://schemas.microsoft.com/office/drawing/2014/chart" uri="{C3380CC4-5D6E-409C-BE32-E72D297353CC}">
                <c16:uniqueId val="{000001B1-6553-4FB4-A2C5-0B3535B5C273}"/>
              </c:ext>
            </c:extLst>
          </c:dPt>
          <c:dPt>
            <c:idx val="216"/>
            <c:invertIfNegative val="1"/>
            <c:bubble3D val="0"/>
            <c:spPr>
              <a:solidFill>
                <a:srgbClr val="AEABAB"/>
              </a:solidFill>
            </c:spPr>
            <c:extLst>
              <c:ext xmlns:c16="http://schemas.microsoft.com/office/drawing/2014/chart" uri="{C3380CC4-5D6E-409C-BE32-E72D297353CC}">
                <c16:uniqueId val="{000001B3-6553-4FB4-A2C5-0B3535B5C273}"/>
              </c:ext>
            </c:extLst>
          </c:dPt>
          <c:dPt>
            <c:idx val="217"/>
            <c:invertIfNegative val="1"/>
            <c:bubble3D val="0"/>
            <c:spPr>
              <a:solidFill>
                <a:srgbClr val="AEABAB"/>
              </a:solidFill>
            </c:spPr>
            <c:extLst>
              <c:ext xmlns:c16="http://schemas.microsoft.com/office/drawing/2014/chart" uri="{C3380CC4-5D6E-409C-BE32-E72D297353CC}">
                <c16:uniqueId val="{000001B5-6553-4FB4-A2C5-0B3535B5C273}"/>
              </c:ext>
            </c:extLst>
          </c:dPt>
          <c:dPt>
            <c:idx val="218"/>
            <c:invertIfNegative val="1"/>
            <c:bubble3D val="0"/>
            <c:spPr>
              <a:solidFill>
                <a:srgbClr val="AEABAB"/>
              </a:solidFill>
            </c:spPr>
            <c:extLst>
              <c:ext xmlns:c16="http://schemas.microsoft.com/office/drawing/2014/chart" uri="{C3380CC4-5D6E-409C-BE32-E72D297353CC}">
                <c16:uniqueId val="{000001B7-6553-4FB4-A2C5-0B3535B5C273}"/>
              </c:ext>
            </c:extLst>
          </c:dPt>
          <c:dPt>
            <c:idx val="219"/>
            <c:invertIfNegative val="1"/>
            <c:bubble3D val="0"/>
            <c:spPr>
              <a:solidFill>
                <a:srgbClr val="AEABAB"/>
              </a:solidFill>
            </c:spPr>
            <c:extLst>
              <c:ext xmlns:c16="http://schemas.microsoft.com/office/drawing/2014/chart" uri="{C3380CC4-5D6E-409C-BE32-E72D297353CC}">
                <c16:uniqueId val="{000001B9-6553-4FB4-A2C5-0B3535B5C273}"/>
              </c:ext>
            </c:extLst>
          </c:dPt>
          <c:dPt>
            <c:idx val="220"/>
            <c:invertIfNegative val="1"/>
            <c:bubble3D val="0"/>
            <c:spPr>
              <a:solidFill>
                <a:srgbClr val="AEABAB"/>
              </a:solidFill>
            </c:spPr>
            <c:extLst>
              <c:ext xmlns:c16="http://schemas.microsoft.com/office/drawing/2014/chart" uri="{C3380CC4-5D6E-409C-BE32-E72D297353CC}">
                <c16:uniqueId val="{000001BB-6553-4FB4-A2C5-0B3535B5C273}"/>
              </c:ext>
            </c:extLst>
          </c:dPt>
          <c:dPt>
            <c:idx val="221"/>
            <c:invertIfNegative val="1"/>
            <c:bubble3D val="0"/>
            <c:spPr>
              <a:solidFill>
                <a:srgbClr val="AEABAB"/>
              </a:solidFill>
            </c:spPr>
            <c:extLst>
              <c:ext xmlns:c16="http://schemas.microsoft.com/office/drawing/2014/chart" uri="{C3380CC4-5D6E-409C-BE32-E72D297353CC}">
                <c16:uniqueId val="{000001BD-6553-4FB4-A2C5-0B3535B5C273}"/>
              </c:ext>
            </c:extLst>
          </c:dPt>
          <c:dPt>
            <c:idx val="222"/>
            <c:invertIfNegative val="1"/>
            <c:bubble3D val="0"/>
            <c:spPr>
              <a:solidFill>
                <a:srgbClr val="AEABAB"/>
              </a:solidFill>
            </c:spPr>
            <c:extLst>
              <c:ext xmlns:c16="http://schemas.microsoft.com/office/drawing/2014/chart" uri="{C3380CC4-5D6E-409C-BE32-E72D297353CC}">
                <c16:uniqueId val="{000001BF-6553-4FB4-A2C5-0B3535B5C273}"/>
              </c:ext>
            </c:extLst>
          </c:dPt>
          <c:dPt>
            <c:idx val="223"/>
            <c:invertIfNegative val="1"/>
            <c:bubble3D val="0"/>
            <c:spPr>
              <a:solidFill>
                <a:srgbClr val="AEABAB"/>
              </a:solidFill>
            </c:spPr>
            <c:extLst>
              <c:ext xmlns:c16="http://schemas.microsoft.com/office/drawing/2014/chart" uri="{C3380CC4-5D6E-409C-BE32-E72D297353CC}">
                <c16:uniqueId val="{000001C1-6553-4FB4-A2C5-0B3535B5C273}"/>
              </c:ext>
            </c:extLst>
          </c:dPt>
          <c:dPt>
            <c:idx val="224"/>
            <c:invertIfNegative val="1"/>
            <c:bubble3D val="0"/>
            <c:spPr>
              <a:solidFill>
                <a:srgbClr val="AEABAB"/>
              </a:solidFill>
            </c:spPr>
            <c:extLst>
              <c:ext xmlns:c16="http://schemas.microsoft.com/office/drawing/2014/chart" uri="{C3380CC4-5D6E-409C-BE32-E72D297353CC}">
                <c16:uniqueId val="{000001C3-6553-4FB4-A2C5-0B3535B5C273}"/>
              </c:ext>
            </c:extLst>
          </c:dPt>
          <c:dPt>
            <c:idx val="225"/>
            <c:invertIfNegative val="1"/>
            <c:bubble3D val="0"/>
            <c:spPr>
              <a:solidFill>
                <a:srgbClr val="AEABAB"/>
              </a:solidFill>
            </c:spPr>
            <c:extLst>
              <c:ext xmlns:c16="http://schemas.microsoft.com/office/drawing/2014/chart" uri="{C3380CC4-5D6E-409C-BE32-E72D297353CC}">
                <c16:uniqueId val="{000001C5-6553-4FB4-A2C5-0B3535B5C273}"/>
              </c:ext>
            </c:extLst>
          </c:dPt>
          <c:dPt>
            <c:idx val="226"/>
            <c:invertIfNegative val="1"/>
            <c:bubble3D val="0"/>
            <c:spPr>
              <a:solidFill>
                <a:srgbClr val="AEABAB"/>
              </a:solidFill>
            </c:spPr>
            <c:extLst>
              <c:ext xmlns:c16="http://schemas.microsoft.com/office/drawing/2014/chart" uri="{C3380CC4-5D6E-409C-BE32-E72D297353CC}">
                <c16:uniqueId val="{000001C7-6553-4FB4-A2C5-0B3535B5C273}"/>
              </c:ext>
            </c:extLst>
          </c:dPt>
          <c:dPt>
            <c:idx val="227"/>
            <c:invertIfNegative val="1"/>
            <c:bubble3D val="0"/>
            <c:spPr>
              <a:solidFill>
                <a:srgbClr val="AEABAB"/>
              </a:solidFill>
            </c:spPr>
            <c:extLst>
              <c:ext xmlns:c16="http://schemas.microsoft.com/office/drawing/2014/chart" uri="{C3380CC4-5D6E-409C-BE32-E72D297353CC}">
                <c16:uniqueId val="{000001C9-6553-4FB4-A2C5-0B3535B5C273}"/>
              </c:ext>
            </c:extLst>
          </c:dPt>
          <c:dPt>
            <c:idx val="228"/>
            <c:invertIfNegative val="1"/>
            <c:bubble3D val="0"/>
            <c:spPr>
              <a:solidFill>
                <a:srgbClr val="AEABAB"/>
              </a:solidFill>
            </c:spPr>
            <c:extLst>
              <c:ext xmlns:c16="http://schemas.microsoft.com/office/drawing/2014/chart" uri="{C3380CC4-5D6E-409C-BE32-E72D297353CC}">
                <c16:uniqueId val="{000001CB-6553-4FB4-A2C5-0B3535B5C273}"/>
              </c:ext>
            </c:extLst>
          </c:dPt>
          <c:dPt>
            <c:idx val="229"/>
            <c:invertIfNegative val="1"/>
            <c:bubble3D val="0"/>
            <c:spPr>
              <a:solidFill>
                <a:srgbClr val="AEABAB"/>
              </a:solidFill>
            </c:spPr>
            <c:extLst>
              <c:ext xmlns:c16="http://schemas.microsoft.com/office/drawing/2014/chart" uri="{C3380CC4-5D6E-409C-BE32-E72D297353CC}">
                <c16:uniqueId val="{000001CD-6553-4FB4-A2C5-0B3535B5C273}"/>
              </c:ext>
            </c:extLst>
          </c:dPt>
          <c:dPt>
            <c:idx val="230"/>
            <c:invertIfNegative val="1"/>
            <c:bubble3D val="0"/>
            <c:spPr>
              <a:solidFill>
                <a:srgbClr val="AEABAB"/>
              </a:solidFill>
            </c:spPr>
            <c:extLst>
              <c:ext xmlns:c16="http://schemas.microsoft.com/office/drawing/2014/chart" uri="{C3380CC4-5D6E-409C-BE32-E72D297353CC}">
                <c16:uniqueId val="{000001CF-6553-4FB4-A2C5-0B3535B5C273}"/>
              </c:ext>
            </c:extLst>
          </c:dPt>
          <c:dPt>
            <c:idx val="231"/>
            <c:invertIfNegative val="1"/>
            <c:bubble3D val="0"/>
            <c:spPr>
              <a:solidFill>
                <a:srgbClr val="AEABAB"/>
              </a:solidFill>
            </c:spPr>
            <c:extLst>
              <c:ext xmlns:c16="http://schemas.microsoft.com/office/drawing/2014/chart" uri="{C3380CC4-5D6E-409C-BE32-E72D297353CC}">
                <c16:uniqueId val="{000001D1-6553-4FB4-A2C5-0B3535B5C273}"/>
              </c:ext>
            </c:extLst>
          </c:dPt>
          <c:dPt>
            <c:idx val="232"/>
            <c:invertIfNegative val="1"/>
            <c:bubble3D val="0"/>
            <c:spPr>
              <a:solidFill>
                <a:srgbClr val="AEABAB"/>
              </a:solidFill>
            </c:spPr>
            <c:extLst>
              <c:ext xmlns:c16="http://schemas.microsoft.com/office/drawing/2014/chart" uri="{C3380CC4-5D6E-409C-BE32-E72D297353CC}">
                <c16:uniqueId val="{000001D3-6553-4FB4-A2C5-0B3535B5C273}"/>
              </c:ext>
            </c:extLst>
          </c:dPt>
          <c:dPt>
            <c:idx val="233"/>
            <c:invertIfNegative val="1"/>
            <c:bubble3D val="0"/>
            <c:spPr>
              <a:solidFill>
                <a:srgbClr val="AEABAB"/>
              </a:solidFill>
            </c:spPr>
            <c:extLst>
              <c:ext xmlns:c16="http://schemas.microsoft.com/office/drawing/2014/chart" uri="{C3380CC4-5D6E-409C-BE32-E72D297353CC}">
                <c16:uniqueId val="{000001D5-6553-4FB4-A2C5-0B3535B5C273}"/>
              </c:ext>
            </c:extLst>
          </c:dPt>
          <c:dPt>
            <c:idx val="234"/>
            <c:invertIfNegative val="1"/>
            <c:bubble3D val="0"/>
            <c:spPr>
              <a:solidFill>
                <a:srgbClr val="AEABAB"/>
              </a:solidFill>
            </c:spPr>
            <c:extLst>
              <c:ext xmlns:c16="http://schemas.microsoft.com/office/drawing/2014/chart" uri="{C3380CC4-5D6E-409C-BE32-E72D297353CC}">
                <c16:uniqueId val="{000001D7-6553-4FB4-A2C5-0B3535B5C273}"/>
              </c:ext>
            </c:extLst>
          </c:dPt>
          <c:dPt>
            <c:idx val="235"/>
            <c:invertIfNegative val="1"/>
            <c:bubble3D val="0"/>
            <c:spPr>
              <a:solidFill>
                <a:srgbClr val="AEABAB"/>
              </a:solidFill>
            </c:spPr>
            <c:extLst>
              <c:ext xmlns:c16="http://schemas.microsoft.com/office/drawing/2014/chart" uri="{C3380CC4-5D6E-409C-BE32-E72D297353CC}">
                <c16:uniqueId val="{000001D9-6553-4FB4-A2C5-0B3535B5C273}"/>
              </c:ext>
            </c:extLst>
          </c:dPt>
          <c:cat>
            <c:strRef>
              <c:f>Sheet1!$A$2:$A$237</c:f>
              <c:strCache>
                <c:ptCount val="236"/>
                <c:pt idx="0">
                  <c:v>Galbani</c:v>
                </c:pt>
                <c:pt idx="1">
                  <c:v>Salakis</c:v>
                </c:pt>
                <c:pt idx="2">
                  <c:v>Islos</c:v>
                </c:pt>
                <c:pt idx="3">
                  <c:v>Salakis</c:v>
                </c:pt>
                <c:pt idx="4">
                  <c:v>Galbani</c:v>
                </c:pt>
                <c:pt idx="5">
                  <c:v>Galbani</c:v>
                </c:pt>
                <c:pt idx="6">
                  <c:v>All Others</c:v>
                </c:pt>
                <c:pt idx="7">
                  <c:v>Casa Azzurr</c:v>
                </c:pt>
                <c:pt idx="8">
                  <c:v>Casa Azzurr</c:v>
                </c:pt>
                <c:pt idx="9">
                  <c:v>All Others</c:v>
                </c:pt>
                <c:pt idx="10">
                  <c:v>Galbani</c:v>
                </c:pt>
                <c:pt idx="11">
                  <c:v>Casa Azzurr</c:v>
                </c:pt>
                <c:pt idx="12">
                  <c:v>Casa Azzurr</c:v>
                </c:pt>
                <c:pt idx="13">
                  <c:v>Boursin</c:v>
                </c:pt>
                <c:pt idx="14">
                  <c:v>Casa Azzurr</c:v>
                </c:pt>
                <c:pt idx="15">
                  <c:v>Salakis</c:v>
                </c:pt>
                <c:pt idx="16">
                  <c:v>Casa Azzurr</c:v>
                </c:pt>
                <c:pt idx="17">
                  <c:v>Galbani</c:v>
                </c:pt>
                <c:pt idx="18">
                  <c:v>Salakis</c:v>
                </c:pt>
                <c:pt idx="19">
                  <c:v>All Others</c:v>
                </c:pt>
                <c:pt idx="20">
                  <c:v>All Others</c:v>
                </c:pt>
                <c:pt idx="21">
                  <c:v>Casa Azzurr</c:v>
                </c:pt>
                <c:pt idx="22">
                  <c:v>Galbani</c:v>
                </c:pt>
                <c:pt idx="23">
                  <c:v>Galbani</c:v>
                </c:pt>
                <c:pt idx="24">
                  <c:v>All Others</c:v>
                </c:pt>
                <c:pt idx="25">
                  <c:v>Casa Azzurr</c:v>
                </c:pt>
                <c:pt idx="26">
                  <c:v>Salakis</c:v>
                </c:pt>
                <c:pt idx="27">
                  <c:v>All Others</c:v>
                </c:pt>
                <c:pt idx="28">
                  <c:v>Casa Azzurr</c:v>
                </c:pt>
                <c:pt idx="29">
                  <c:v>All Others</c:v>
                </c:pt>
                <c:pt idx="30">
                  <c:v>Salakis</c:v>
                </c:pt>
                <c:pt idx="31">
                  <c:v>Casa Azzurr</c:v>
                </c:pt>
                <c:pt idx="32">
                  <c:v>All Others</c:v>
                </c:pt>
                <c:pt idx="33">
                  <c:v>Galbani</c:v>
                </c:pt>
                <c:pt idx="34">
                  <c:v>Galbani</c:v>
                </c:pt>
                <c:pt idx="35">
                  <c:v>All Others</c:v>
                </c:pt>
                <c:pt idx="36">
                  <c:v>Galbani</c:v>
                </c:pt>
                <c:pt idx="37">
                  <c:v>All Others</c:v>
                </c:pt>
                <c:pt idx="38">
                  <c:v>All Others</c:v>
                </c:pt>
                <c:pt idx="39">
                  <c:v>All Others</c:v>
                </c:pt>
                <c:pt idx="40">
                  <c:v>All Others</c:v>
                </c:pt>
                <c:pt idx="41">
                  <c:v>Salakis</c:v>
                </c:pt>
                <c:pt idx="42">
                  <c:v>Casa Azzurr</c:v>
                </c:pt>
                <c:pt idx="43">
                  <c:v>All Others</c:v>
                </c:pt>
                <c:pt idx="44">
                  <c:v>All Others</c:v>
                </c:pt>
                <c:pt idx="45">
                  <c:v>All Others</c:v>
                </c:pt>
                <c:pt idx="46">
                  <c:v>All Others</c:v>
                </c:pt>
                <c:pt idx="47">
                  <c:v>All Others</c:v>
                </c:pt>
                <c:pt idx="48">
                  <c:v>All Others</c:v>
                </c:pt>
                <c:pt idx="49">
                  <c:v>Islos</c:v>
                </c:pt>
                <c:pt idx="50">
                  <c:v>Boursin</c:v>
                </c:pt>
                <c:pt idx="51">
                  <c:v>All Others</c:v>
                </c:pt>
                <c:pt idx="52">
                  <c:v>All Others</c:v>
                </c:pt>
                <c:pt idx="53">
                  <c:v>All Others</c:v>
                </c:pt>
                <c:pt idx="54">
                  <c:v>Casa Azzurr</c:v>
                </c:pt>
                <c:pt idx="55">
                  <c:v>All Others</c:v>
                </c:pt>
                <c:pt idx="56">
                  <c:v>All Others</c:v>
                </c:pt>
                <c:pt idx="57">
                  <c:v>All Others</c:v>
                </c:pt>
                <c:pt idx="58">
                  <c:v>Casa Azzurr</c:v>
                </c:pt>
                <c:pt idx="59">
                  <c:v>Boursin</c:v>
                </c:pt>
                <c:pt idx="60">
                  <c:v>Casa Azzurr</c:v>
                </c:pt>
                <c:pt idx="61">
                  <c:v>Galbani</c:v>
                </c:pt>
                <c:pt idx="62">
                  <c:v>Galbani</c:v>
                </c:pt>
                <c:pt idx="63">
                  <c:v>All Others</c:v>
                </c:pt>
                <c:pt idx="64">
                  <c:v>All Others</c:v>
                </c:pt>
                <c:pt idx="65">
                  <c:v>Lactalis: A</c:v>
                </c:pt>
                <c:pt idx="66">
                  <c:v>All Others</c:v>
                </c:pt>
                <c:pt idx="67">
                  <c:v>All Others</c:v>
                </c:pt>
                <c:pt idx="68">
                  <c:v>All Others</c:v>
                </c:pt>
                <c:pt idx="69">
                  <c:v>All Others</c:v>
                </c:pt>
                <c:pt idx="70">
                  <c:v>Islos</c:v>
                </c:pt>
                <c:pt idx="71">
                  <c:v>All Others</c:v>
                </c:pt>
                <c:pt idx="72">
                  <c:v>All Others</c:v>
                </c:pt>
                <c:pt idx="73">
                  <c:v>All Others</c:v>
                </c:pt>
                <c:pt idx="74">
                  <c:v>All Others</c:v>
                </c:pt>
                <c:pt idx="75">
                  <c:v>All Others</c:v>
                </c:pt>
                <c:pt idx="76">
                  <c:v>All Others</c:v>
                </c:pt>
                <c:pt idx="77">
                  <c:v>All Others</c:v>
                </c:pt>
                <c:pt idx="78">
                  <c:v>Boursin</c:v>
                </c:pt>
                <c:pt idx="79">
                  <c:v>All Others</c:v>
                </c:pt>
                <c:pt idx="80">
                  <c:v>Boursin</c:v>
                </c:pt>
                <c:pt idx="81">
                  <c:v>All Others</c:v>
                </c:pt>
                <c:pt idx="82">
                  <c:v>Casa Azzurr</c:v>
                </c:pt>
                <c:pt idx="83">
                  <c:v>All Others</c:v>
                </c:pt>
                <c:pt idx="84">
                  <c:v>All Others</c:v>
                </c:pt>
                <c:pt idx="85">
                  <c:v>All Others</c:v>
                </c:pt>
                <c:pt idx="86">
                  <c:v>Salakis</c:v>
                </c:pt>
                <c:pt idx="87">
                  <c:v>All Others</c:v>
                </c:pt>
                <c:pt idx="88">
                  <c:v>Galbani</c:v>
                </c:pt>
                <c:pt idx="89">
                  <c:v>All Others</c:v>
                </c:pt>
                <c:pt idx="90">
                  <c:v>All Others</c:v>
                </c:pt>
                <c:pt idx="91">
                  <c:v>All Others</c:v>
                </c:pt>
                <c:pt idx="92">
                  <c:v>All Others</c:v>
                </c:pt>
                <c:pt idx="93">
                  <c:v>Salakis</c:v>
                </c:pt>
                <c:pt idx="94">
                  <c:v>All Others</c:v>
                </c:pt>
                <c:pt idx="95">
                  <c:v>All Others</c:v>
                </c:pt>
                <c:pt idx="96">
                  <c:v>All Others</c:v>
                </c:pt>
                <c:pt idx="97">
                  <c:v>All Others</c:v>
                </c:pt>
                <c:pt idx="98">
                  <c:v>Lactalis: A</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Casa Azzurr</c:v>
                </c:pt>
                <c:pt idx="117">
                  <c:v>All Others</c:v>
                </c:pt>
                <c:pt idx="118">
                  <c:v>All Others</c:v>
                </c:pt>
                <c:pt idx="119">
                  <c:v>All Others</c:v>
                </c:pt>
                <c:pt idx="120">
                  <c:v>All Others</c:v>
                </c:pt>
                <c:pt idx="121">
                  <c:v>Salakis</c:v>
                </c:pt>
                <c:pt idx="122">
                  <c:v>All Others</c:v>
                </c:pt>
                <c:pt idx="123">
                  <c:v>All Others</c:v>
                </c:pt>
                <c:pt idx="124">
                  <c:v>All Others</c:v>
                </c:pt>
                <c:pt idx="125">
                  <c:v>Lactalis: A</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Casa Azzurr</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All Others</c:v>
                </c:pt>
                <c:pt idx="155">
                  <c:v>All Others</c:v>
                </c:pt>
                <c:pt idx="156">
                  <c:v>Salakis</c:v>
                </c:pt>
                <c:pt idx="157">
                  <c:v>All Others</c:v>
                </c:pt>
                <c:pt idx="158">
                  <c:v>All Others</c:v>
                </c:pt>
                <c:pt idx="159">
                  <c:v>All Others</c:v>
                </c:pt>
                <c:pt idx="160">
                  <c:v>All Others</c:v>
                </c:pt>
                <c:pt idx="161">
                  <c:v>Salakis</c:v>
                </c:pt>
                <c:pt idx="162">
                  <c:v>All Others</c:v>
                </c:pt>
                <c:pt idx="163">
                  <c:v>All Others</c:v>
                </c:pt>
                <c:pt idx="164">
                  <c:v>All Others</c:v>
                </c:pt>
                <c:pt idx="165">
                  <c:v>All Others</c:v>
                </c:pt>
                <c:pt idx="166">
                  <c:v>Islos</c:v>
                </c:pt>
                <c:pt idx="167">
                  <c:v>All Others</c:v>
                </c:pt>
                <c:pt idx="168">
                  <c:v>All Others</c:v>
                </c:pt>
                <c:pt idx="169">
                  <c:v>All Others</c:v>
                </c:pt>
                <c:pt idx="170">
                  <c:v>All Others</c:v>
                </c:pt>
                <c:pt idx="171">
                  <c:v>Casa Azzurr</c:v>
                </c:pt>
                <c:pt idx="172">
                  <c:v>All Others</c:v>
                </c:pt>
                <c:pt idx="173">
                  <c:v>All Others</c:v>
                </c:pt>
                <c:pt idx="174">
                  <c:v>All Others</c:v>
                </c:pt>
                <c:pt idx="175">
                  <c:v>All Others</c:v>
                </c:pt>
                <c:pt idx="176">
                  <c:v>All Others</c:v>
                </c:pt>
                <c:pt idx="177">
                  <c:v>All Others</c:v>
                </c:pt>
                <c:pt idx="178">
                  <c:v>All Others</c:v>
                </c:pt>
                <c:pt idx="179">
                  <c:v>All Others</c:v>
                </c:pt>
                <c:pt idx="180">
                  <c:v>All Others</c:v>
                </c:pt>
                <c:pt idx="181">
                  <c:v>All Others</c:v>
                </c:pt>
                <c:pt idx="182">
                  <c:v>All Others</c:v>
                </c:pt>
                <c:pt idx="183">
                  <c:v>All Others</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All Others</c:v>
                </c:pt>
                <c:pt idx="194">
                  <c:v>All Others</c:v>
                </c:pt>
                <c:pt idx="195">
                  <c:v>All Others</c:v>
                </c:pt>
                <c:pt idx="196">
                  <c:v>All Others</c:v>
                </c:pt>
                <c:pt idx="197">
                  <c:v>All Others</c:v>
                </c:pt>
                <c:pt idx="198">
                  <c:v>All Others</c:v>
                </c:pt>
                <c:pt idx="199">
                  <c:v>All Others</c:v>
                </c:pt>
                <c:pt idx="200">
                  <c:v>All Others</c:v>
                </c:pt>
                <c:pt idx="201">
                  <c:v>All Others</c:v>
                </c:pt>
                <c:pt idx="202">
                  <c:v>All Others</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All Others</c:v>
                </c:pt>
                <c:pt idx="221">
                  <c:v>All Others</c:v>
                </c:pt>
                <c:pt idx="222">
                  <c:v>Salakis</c:v>
                </c:pt>
                <c:pt idx="223">
                  <c:v>Societe</c:v>
                </c:pt>
                <c:pt idx="224">
                  <c:v>All Others</c:v>
                </c:pt>
                <c:pt idx="225">
                  <c:v>All Others</c:v>
                </c:pt>
                <c:pt idx="226">
                  <c:v>All Others</c:v>
                </c:pt>
                <c:pt idx="227">
                  <c:v>All Others</c:v>
                </c:pt>
                <c:pt idx="228">
                  <c:v>All Others</c:v>
                </c:pt>
                <c:pt idx="229">
                  <c:v>Boursin</c:v>
                </c:pt>
                <c:pt idx="230">
                  <c:v>All Others</c:v>
                </c:pt>
                <c:pt idx="231">
                  <c:v>All Others</c:v>
                </c:pt>
                <c:pt idx="232">
                  <c:v>All Others</c:v>
                </c:pt>
                <c:pt idx="233">
                  <c:v>All Others</c:v>
                </c:pt>
                <c:pt idx="234">
                  <c:v>All Others</c:v>
                </c:pt>
                <c:pt idx="235">
                  <c:v>All Others</c:v>
                </c:pt>
              </c:strCache>
            </c:strRef>
          </c:cat>
          <c:val>
            <c:numRef>
              <c:f>Sheet1!$C$2:$C$237</c:f>
              <c:numCache>
                <c:formatCode>General</c:formatCode>
                <c:ptCount val="236"/>
                <c:pt idx="0">
                  <c:v>0.45956512125795568</c:v>
                </c:pt>
                <c:pt idx="1">
                  <c:v>0.48641559890878627</c:v>
                </c:pt>
                <c:pt idx="2">
                  <c:v>0.54750111486211439</c:v>
                </c:pt>
                <c:pt idx="3">
                  <c:v>0.56361918989800075</c:v>
                </c:pt>
                <c:pt idx="4">
                  <c:v>0.57678256416007367</c:v>
                </c:pt>
                <c:pt idx="5">
                  <c:v>0.62741166644507584</c:v>
                </c:pt>
                <c:pt idx="6">
                  <c:v>0.63931709408244197</c:v>
                </c:pt>
                <c:pt idx="7">
                  <c:v>0.65112695674360055</c:v>
                </c:pt>
                <c:pt idx="8">
                  <c:v>0.66278483202514593</c:v>
                </c:pt>
                <c:pt idx="9">
                  <c:v>0.6743955383777902</c:v>
                </c:pt>
                <c:pt idx="10">
                  <c:v>0.68525567400142062</c:v>
                </c:pt>
                <c:pt idx="11">
                  <c:v>0.69563983794323747</c:v>
                </c:pt>
                <c:pt idx="12">
                  <c:v>0.70547090956795999</c:v>
                </c:pt>
                <c:pt idx="13">
                  <c:v>0.71469598504638532</c:v>
                </c:pt>
                <c:pt idx="14">
                  <c:v>0.72385891574271966</c:v>
                </c:pt>
                <c:pt idx="15">
                  <c:v>0.74193592253146423</c:v>
                </c:pt>
                <c:pt idx="16">
                  <c:v>0.75065591356999384</c:v>
                </c:pt>
                <c:pt idx="17">
                  <c:v>0.76784626470291339</c:v>
                </c:pt>
                <c:pt idx="18">
                  <c:v>0.77591309066624459</c:v>
                </c:pt>
                <c:pt idx="19">
                  <c:v>0.78343898280198587</c:v>
                </c:pt>
                <c:pt idx="20">
                  <c:v>0.79047244985199094</c:v>
                </c:pt>
                <c:pt idx="21">
                  <c:v>0.79731655249749045</c:v>
                </c:pt>
                <c:pt idx="22">
                  <c:v>0.8040934391062653</c:v>
                </c:pt>
                <c:pt idx="23">
                  <c:v>0.81006816592654329</c:v>
                </c:pt>
                <c:pt idx="24">
                  <c:v>0.81590596887171263</c:v>
                </c:pt>
                <c:pt idx="25">
                  <c:v>0.82144998965338856</c:v>
                </c:pt>
                <c:pt idx="26">
                  <c:v>0.82686972087088262</c:v>
                </c:pt>
                <c:pt idx="27">
                  <c:v>0.83224045500348409</c:v>
                </c:pt>
                <c:pt idx="28">
                  <c:v>0.83713174896653486</c:v>
                </c:pt>
                <c:pt idx="29">
                  <c:v>0.8419159079798435</c:v>
                </c:pt>
                <c:pt idx="30">
                  <c:v>0.8463599172842059</c:v>
                </c:pt>
                <c:pt idx="31">
                  <c:v>0.85058179311399773</c:v>
                </c:pt>
                <c:pt idx="32">
                  <c:v>0.85456936445809828</c:v>
                </c:pt>
                <c:pt idx="33">
                  <c:v>0.85807486609320849</c:v>
                </c:pt>
                <c:pt idx="34">
                  <c:v>0.86150633993228376</c:v>
                </c:pt>
                <c:pt idx="35">
                  <c:v>0.86491741605827699</c:v>
                </c:pt>
                <c:pt idx="36">
                  <c:v>0.86812516617750157</c:v>
                </c:pt>
                <c:pt idx="37">
                  <c:v>0.87127010786896708</c:v>
                </c:pt>
                <c:pt idx="38">
                  <c:v>0.87424578235021588</c:v>
                </c:pt>
                <c:pt idx="39">
                  <c:v>0.8770621192630369</c:v>
                </c:pt>
                <c:pt idx="40">
                  <c:v>0.8798389755194137</c:v>
                </c:pt>
                <c:pt idx="41">
                  <c:v>0.88255770643255738</c:v>
                </c:pt>
                <c:pt idx="42">
                  <c:v>0.885251419156175</c:v>
                </c:pt>
                <c:pt idx="43">
                  <c:v>0.88791209985578379</c:v>
                </c:pt>
                <c:pt idx="44">
                  <c:v>0.89056253787319417</c:v>
                </c:pt>
                <c:pt idx="45">
                  <c:v>0.89317261872101383</c:v>
                </c:pt>
                <c:pt idx="46">
                  <c:v>0.89574862825066515</c:v>
                </c:pt>
                <c:pt idx="47">
                  <c:v>0.89828732336350581</c:v>
                </c:pt>
                <c:pt idx="48">
                  <c:v>0.90073596301134584</c:v>
                </c:pt>
                <c:pt idx="49">
                  <c:v>0.90315550242272014</c:v>
                </c:pt>
                <c:pt idx="50">
                  <c:v>0.90542459461329605</c:v>
                </c:pt>
                <c:pt idx="51">
                  <c:v>0.90766969538688902</c:v>
                </c:pt>
                <c:pt idx="52">
                  <c:v>0.90991404486349925</c:v>
                </c:pt>
                <c:pt idx="53">
                  <c:v>0.91213070904629456</c:v>
                </c:pt>
                <c:pt idx="54">
                  <c:v>0.91434623376199942</c:v>
                </c:pt>
                <c:pt idx="55">
                  <c:v>0.91651463963526858</c:v>
                </c:pt>
                <c:pt idx="56">
                  <c:v>0.91865973025883929</c:v>
                </c:pt>
                <c:pt idx="57">
                  <c:v>0.920785512549953</c:v>
                </c:pt>
                <c:pt idx="58">
                  <c:v>0.92289280041367439</c:v>
                </c:pt>
                <c:pt idx="59">
                  <c:v>0.92497970308593003</c:v>
                </c:pt>
                <c:pt idx="60">
                  <c:v>0.92705365840684939</c:v>
                </c:pt>
                <c:pt idx="61">
                  <c:v>0.92906152463651837</c:v>
                </c:pt>
                <c:pt idx="62">
                  <c:v>0.93104638865689837</c:v>
                </c:pt>
                <c:pt idx="63">
                  <c:v>0.93293076670583375</c:v>
                </c:pt>
                <c:pt idx="64">
                  <c:v>0.9347893126601784</c:v>
                </c:pt>
                <c:pt idx="65">
                  <c:v>0.93656125911564314</c:v>
                </c:pt>
                <c:pt idx="66">
                  <c:v>0.93830321629987923</c:v>
                </c:pt>
                <c:pt idx="67">
                  <c:v>0.94004076587514973</c:v>
                </c:pt>
                <c:pt idx="68">
                  <c:v>0.94330051826719785</c:v>
                </c:pt>
                <c:pt idx="69">
                  <c:v>0.94489072598253199</c:v>
                </c:pt>
                <c:pt idx="70">
                  <c:v>0.94647958136329724</c:v>
                </c:pt>
                <c:pt idx="71">
                  <c:v>0.94804582270488125</c:v>
                </c:pt>
                <c:pt idx="72">
                  <c:v>0.94954924309708988</c:v>
                </c:pt>
                <c:pt idx="73">
                  <c:v>0.9509993714899877</c:v>
                </c:pt>
                <c:pt idx="74">
                  <c:v>0.95244097266213124</c:v>
                </c:pt>
                <c:pt idx="75">
                  <c:v>0.95384528446069694</c:v>
                </c:pt>
                <c:pt idx="76">
                  <c:v>0.95522775856029696</c:v>
                </c:pt>
                <c:pt idx="77">
                  <c:v>0.95660355863836677</c:v>
                </c:pt>
                <c:pt idx="78">
                  <c:v>0.95791753949637148</c:v>
                </c:pt>
                <c:pt idx="79">
                  <c:v>0.95921022108491483</c:v>
                </c:pt>
                <c:pt idx="80">
                  <c:v>0.96045722381690612</c:v>
                </c:pt>
                <c:pt idx="81">
                  <c:v>0.96166879037454378</c:v>
                </c:pt>
                <c:pt idx="82">
                  <c:v>0.9639766620110467</c:v>
                </c:pt>
                <c:pt idx="83">
                  <c:v>0.96510151637525698</c:v>
                </c:pt>
                <c:pt idx="84">
                  <c:v>0.96612292966655711</c:v>
                </c:pt>
                <c:pt idx="85">
                  <c:v>0.96711281352781386</c:v>
                </c:pt>
                <c:pt idx="86">
                  <c:v>0.96808322627560073</c:v>
                </c:pt>
                <c:pt idx="87">
                  <c:v>0.96899894460304237</c:v>
                </c:pt>
                <c:pt idx="88">
                  <c:v>0.96983884454330671</c:v>
                </c:pt>
                <c:pt idx="89">
                  <c:v>0.97057674339654454</c:v>
                </c:pt>
                <c:pt idx="90">
                  <c:v>0.97128214865527784</c:v>
                </c:pt>
                <c:pt idx="91">
                  <c:v>0.97197796235586453</c:v>
                </c:pt>
                <c:pt idx="92">
                  <c:v>0.97266814132908042</c:v>
                </c:pt>
                <c:pt idx="93">
                  <c:v>0.97333754694072294</c:v>
                </c:pt>
                <c:pt idx="94">
                  <c:v>0.9739964218729904</c:v>
                </c:pt>
                <c:pt idx="95">
                  <c:v>0.9746399953900422</c:v>
                </c:pt>
                <c:pt idx="96">
                  <c:v>0.97527037112343018</c:v>
                </c:pt>
                <c:pt idx="97">
                  <c:v>0.97588885132125769</c:v>
                </c:pt>
                <c:pt idx="98">
                  <c:v>0.97646517123673582</c:v>
                </c:pt>
                <c:pt idx="99">
                  <c:v>0.97704110298210611</c:v>
                </c:pt>
                <c:pt idx="100">
                  <c:v>0.97761396693146352</c:v>
                </c:pt>
                <c:pt idx="101">
                  <c:v>0.97816794828332077</c:v>
                </c:pt>
                <c:pt idx="102">
                  <c:v>0.97869488294379847</c:v>
                </c:pt>
                <c:pt idx="103">
                  <c:v>0.97921767294925466</c:v>
                </c:pt>
                <c:pt idx="104">
                  <c:v>0.97973763306940909</c:v>
                </c:pt>
                <c:pt idx="105">
                  <c:v>0.98025457548001604</c:v>
                </c:pt>
                <c:pt idx="106">
                  <c:v>0.98075993539547213</c:v>
                </c:pt>
                <c:pt idx="107">
                  <c:v>0.98124280648791073</c:v>
                </c:pt>
                <c:pt idx="108">
                  <c:v>0.98171971729095275</c:v>
                </c:pt>
                <c:pt idx="109">
                  <c:v>0.98219426150849909</c:v>
                </c:pt>
                <c:pt idx="110">
                  <c:v>0.98266464854940749</c:v>
                </c:pt>
                <c:pt idx="111">
                  <c:v>0.98309033341984142</c:v>
                </c:pt>
                <c:pt idx="112">
                  <c:v>0.98351381448579256</c:v>
                </c:pt>
                <c:pt idx="113">
                  <c:v>0.98393270011853251</c:v>
                </c:pt>
                <c:pt idx="114">
                  <c:v>0.98434622649946202</c:v>
                </c:pt>
                <c:pt idx="115">
                  <c:v>0.98475369241806399</c:v>
                </c:pt>
                <c:pt idx="116">
                  <c:v>0.98515880427278657</c:v>
                </c:pt>
                <c:pt idx="117">
                  <c:v>0.98556300204951353</c:v>
                </c:pt>
                <c:pt idx="118">
                  <c:v>0.98596430733285678</c:v>
                </c:pt>
                <c:pt idx="119">
                  <c:v>0.9863640098493035</c:v>
                </c:pt>
                <c:pt idx="120">
                  <c:v>0.98675141613846562</c:v>
                </c:pt>
                <c:pt idx="121">
                  <c:v>0.98713304996247686</c:v>
                </c:pt>
                <c:pt idx="122">
                  <c:v>0.98750641951967766</c:v>
                </c:pt>
                <c:pt idx="123">
                  <c:v>0.98787211332603797</c:v>
                </c:pt>
                <c:pt idx="124">
                  <c:v>0.98823569097923014</c:v>
                </c:pt>
                <c:pt idx="125">
                  <c:v>0.98858031090522391</c:v>
                </c:pt>
                <c:pt idx="126">
                  <c:v>0.98892365362634693</c:v>
                </c:pt>
                <c:pt idx="127">
                  <c:v>0.98926637026665099</c:v>
                </c:pt>
                <c:pt idx="128">
                  <c:v>0.98959901952738605</c:v>
                </c:pt>
                <c:pt idx="129">
                  <c:v>0.98990789023861658</c:v>
                </c:pt>
                <c:pt idx="130">
                  <c:v>0.99021629765004116</c:v>
                </c:pt>
                <c:pt idx="131">
                  <c:v>0.99080523935482967</c:v>
                </c:pt>
                <c:pt idx="132">
                  <c:v>0.99108538547808589</c:v>
                </c:pt>
                <c:pt idx="133">
                  <c:v>0.99135366110901446</c:v>
                </c:pt>
                <c:pt idx="134">
                  <c:v>0.99159873418479205</c:v>
                </c:pt>
                <c:pt idx="135">
                  <c:v>0.99184306848520321</c:v>
                </c:pt>
                <c:pt idx="136">
                  <c:v>0.99206510178684271</c:v>
                </c:pt>
                <c:pt idx="137">
                  <c:v>0.99227586563374071</c:v>
                </c:pt>
                <c:pt idx="138">
                  <c:v>0.99247562297984127</c:v>
                </c:pt>
                <c:pt idx="139">
                  <c:v>0.99267492954775216</c:v>
                </c:pt>
                <c:pt idx="140">
                  <c:v>0.99287279612977941</c:v>
                </c:pt>
                <c:pt idx="141">
                  <c:v>0.99305978142717288</c:v>
                </c:pt>
                <c:pt idx="142">
                  <c:v>0.99324242172368271</c:v>
                </c:pt>
                <c:pt idx="143">
                  <c:v>0.99342250761045114</c:v>
                </c:pt>
                <c:pt idx="144">
                  <c:v>0.99359693372661617</c:v>
                </c:pt>
                <c:pt idx="145">
                  <c:v>0.99376794144150959</c:v>
                </c:pt>
                <c:pt idx="146">
                  <c:v>0.99393580623069178</c:v>
                </c:pt>
                <c:pt idx="147">
                  <c:v>0.99409511875588685</c:v>
                </c:pt>
                <c:pt idx="148">
                  <c:v>0.9942535297247026</c:v>
                </c:pt>
                <c:pt idx="149">
                  <c:v>0.99440869759487605</c:v>
                </c:pt>
                <c:pt idx="150">
                  <c:v>0.99455739178938141</c:v>
                </c:pt>
                <c:pt idx="151">
                  <c:v>0.99470080186177467</c:v>
                </c:pt>
                <c:pt idx="152">
                  <c:v>0.99483672400757306</c:v>
                </c:pt>
                <c:pt idx="153">
                  <c:v>0.99497198250770325</c:v>
                </c:pt>
                <c:pt idx="154">
                  <c:v>0.99510638953791963</c:v>
                </c:pt>
                <c:pt idx="155">
                  <c:v>0.99524019553054988</c:v>
                </c:pt>
                <c:pt idx="156">
                  <c:v>0.99536830418772748</c:v>
                </c:pt>
                <c:pt idx="157">
                  <c:v>0.99548042274078863</c:v>
                </c:pt>
                <c:pt idx="158">
                  <c:v>0.99559173991040151</c:v>
                </c:pt>
                <c:pt idx="159">
                  <c:v>0.99570084075391518</c:v>
                </c:pt>
                <c:pt idx="160">
                  <c:v>0.99580929047337718</c:v>
                </c:pt>
                <c:pt idx="161">
                  <c:v>0.99591175486020977</c:v>
                </c:pt>
                <c:pt idx="162">
                  <c:v>0.99601413159572771</c:v>
                </c:pt>
                <c:pt idx="163">
                  <c:v>0.99611228854652578</c:v>
                </c:pt>
                <c:pt idx="164">
                  <c:v>0.99620749039585832</c:v>
                </c:pt>
                <c:pt idx="165">
                  <c:v>0.99629757090409166</c:v>
                </c:pt>
                <c:pt idx="166">
                  <c:v>0.99638757628262675</c:v>
                </c:pt>
                <c:pt idx="167">
                  <c:v>0.99656003650502023</c:v>
                </c:pt>
                <c:pt idx="168">
                  <c:v>0.99664366838081819</c:v>
                </c:pt>
                <c:pt idx="169">
                  <c:v>0.99672512149536618</c:v>
                </c:pt>
                <c:pt idx="170">
                  <c:v>0.99687841112308273</c:v>
                </c:pt>
                <c:pt idx="171">
                  <c:v>0.99694843200187633</c:v>
                </c:pt>
                <c:pt idx="172">
                  <c:v>0.99701834018612245</c:v>
                </c:pt>
                <c:pt idx="173">
                  <c:v>0.99708593187133843</c:v>
                </c:pt>
                <c:pt idx="174">
                  <c:v>0.99714574763278285</c:v>
                </c:pt>
                <c:pt idx="175">
                  <c:v>0.99726244909743877</c:v>
                </c:pt>
                <c:pt idx="176">
                  <c:v>0.99731525275371069</c:v>
                </c:pt>
                <c:pt idx="177">
                  <c:v>0.99741833069974584</c:v>
                </c:pt>
                <c:pt idx="178">
                  <c:v>0.9974674530008022</c:v>
                </c:pt>
                <c:pt idx="179">
                  <c:v>0.99751633739114731</c:v>
                </c:pt>
                <c:pt idx="180">
                  <c:v>0.9976128289669669</c:v>
                </c:pt>
                <c:pt idx="181">
                  <c:v>0.99766026084981208</c:v>
                </c:pt>
                <c:pt idx="182">
                  <c:v>0.99770691639244169</c:v>
                </c:pt>
                <c:pt idx="183">
                  <c:v>0.99779923827000694</c:v>
                </c:pt>
                <c:pt idx="184">
                  <c:v>0.99784461660776591</c:v>
                </c:pt>
                <c:pt idx="185">
                  <c:v>0.9979293253425725</c:v>
                </c:pt>
                <c:pt idx="186">
                  <c:v>0.99811463274337131</c:v>
                </c:pt>
                <c:pt idx="187">
                  <c:v>0.99814824076173359</c:v>
                </c:pt>
                <c:pt idx="188">
                  <c:v>0.99818097226694935</c:v>
                </c:pt>
                <c:pt idx="189">
                  <c:v>0.998213666207316</c:v>
                </c:pt>
                <c:pt idx="190">
                  <c:v>0.99827414561442851</c:v>
                </c:pt>
                <c:pt idx="191">
                  <c:v>0.99833309738434273</c:v>
                </c:pt>
                <c:pt idx="192">
                  <c:v>0.99836112076179984</c:v>
                </c:pt>
                <c:pt idx="193">
                  <c:v>0.99838909405279141</c:v>
                </c:pt>
                <c:pt idx="194">
                  <c:v>0.99844423925132619</c:v>
                </c:pt>
                <c:pt idx="195">
                  <c:v>0.99855210045481835</c:v>
                </c:pt>
                <c:pt idx="196">
                  <c:v>0.99860346412520662</c:v>
                </c:pt>
                <c:pt idx="197">
                  <c:v>0.9986285324011982</c:v>
                </c:pt>
                <c:pt idx="198">
                  <c:v>0.99865352554749143</c:v>
                </c:pt>
                <c:pt idx="199">
                  <c:v>0.99867821817499158</c:v>
                </c:pt>
                <c:pt idx="200">
                  <c:v>0.99872576275238423</c:v>
                </c:pt>
                <c:pt idx="201">
                  <c:v>0.99877170456288022</c:v>
                </c:pt>
                <c:pt idx="202">
                  <c:v>0.99879345461053126</c:v>
                </c:pt>
                <c:pt idx="203">
                  <c:v>0.99885754024316098</c:v>
                </c:pt>
                <c:pt idx="204">
                  <c:v>0.9988779129130102</c:v>
                </c:pt>
                <c:pt idx="205">
                  <c:v>0.99899411351301093</c:v>
                </c:pt>
                <c:pt idx="206">
                  <c:v>0.99903058898152408</c:v>
                </c:pt>
                <c:pt idx="207">
                  <c:v>0.99909948291484352</c:v>
                </c:pt>
                <c:pt idx="208">
                  <c:v>0.99913238972268859</c:v>
                </c:pt>
                <c:pt idx="209">
                  <c:v>0.99916475810102934</c:v>
                </c:pt>
                <c:pt idx="210">
                  <c:v>0.99921185190023221</c:v>
                </c:pt>
                <c:pt idx="211">
                  <c:v>0.99925759336486619</c:v>
                </c:pt>
                <c:pt idx="212">
                  <c:v>0.99930116858986651</c:v>
                </c:pt>
                <c:pt idx="213">
                  <c:v>0.99934048646529783</c:v>
                </c:pt>
                <c:pt idx="214">
                  <c:v>0.99942604667001822</c:v>
                </c:pt>
                <c:pt idx="215">
                  <c:v>0.9994492492251692</c:v>
                </c:pt>
                <c:pt idx="216">
                  <c:v>0.99951558874874713</c:v>
                </c:pt>
                <c:pt idx="217">
                  <c:v>0.99952626968751879</c:v>
                </c:pt>
                <c:pt idx="218">
                  <c:v>0.99953677532366114</c:v>
                </c:pt>
                <c:pt idx="219">
                  <c:v>0.9995573608609889</c:v>
                </c:pt>
                <c:pt idx="220">
                  <c:v>0.99961329492135576</c:v>
                </c:pt>
                <c:pt idx="221">
                  <c:v>0.99963674790883439</c:v>
                </c:pt>
                <c:pt idx="222">
                  <c:v>0.99970212326795138</c:v>
                </c:pt>
                <c:pt idx="223">
                  <c:v>0.99970889746241265</c:v>
                </c:pt>
                <c:pt idx="224">
                  <c:v>0.99980110664543054</c:v>
                </c:pt>
                <c:pt idx="225">
                  <c:v>0.99980580225157278</c:v>
                </c:pt>
                <c:pt idx="226">
                  <c:v>0.99984895174161614</c:v>
                </c:pt>
                <c:pt idx="227">
                  <c:v>0.99986371472732738</c:v>
                </c:pt>
                <c:pt idx="228">
                  <c:v>0.99991030766187505</c:v>
                </c:pt>
                <c:pt idx="229">
                  <c:v>0.99991547908943978</c:v>
                </c:pt>
                <c:pt idx="230">
                  <c:v>0.99992250371622859</c:v>
                </c:pt>
                <c:pt idx="231">
                  <c:v>0.99994836085405192</c:v>
                </c:pt>
                <c:pt idx="232">
                  <c:v>0.99997428059995752</c:v>
                </c:pt>
                <c:pt idx="233">
                  <c:v>0.99997625901534548</c:v>
                </c:pt>
                <c:pt idx="234">
                  <c:v>0.99999107208752214</c:v>
                </c:pt>
                <c:pt idx="235">
                  <c:v>0.9999983721898714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5</c:f>
              <c:strCache>
                <c:ptCount val="154"/>
                <c:pt idx="0">
                  <c:v>Private Lab</c:v>
                </c:pt>
                <c:pt idx="1">
                  <c:v>Private Lab</c:v>
                </c:pt>
                <c:pt idx="2">
                  <c:v>Private Lab</c:v>
                </c:pt>
                <c:pt idx="3">
                  <c:v>Private Lab</c:v>
                </c:pt>
                <c:pt idx="4">
                  <c:v>Galbani</c:v>
                </c:pt>
                <c:pt idx="5">
                  <c:v>Salakis</c:v>
                </c:pt>
                <c:pt idx="6">
                  <c:v>Galbani</c:v>
                </c:pt>
                <c:pt idx="7">
                  <c:v>Galbani</c:v>
                </c:pt>
                <c:pt idx="8">
                  <c:v>Private Lab</c:v>
                </c:pt>
                <c:pt idx="9">
                  <c:v>Private Lab</c:v>
                </c:pt>
                <c:pt idx="10">
                  <c:v>Private Lab</c:v>
                </c:pt>
                <c:pt idx="11">
                  <c:v>Private Lab</c:v>
                </c:pt>
                <c:pt idx="12">
                  <c:v>Salakis</c:v>
                </c:pt>
                <c:pt idx="13">
                  <c:v>Galbani</c:v>
                </c:pt>
                <c:pt idx="14">
                  <c:v>Galbani</c:v>
                </c:pt>
                <c:pt idx="15">
                  <c:v>Islos</c:v>
                </c:pt>
                <c:pt idx="16">
                  <c:v>Private Lab</c:v>
                </c:pt>
                <c:pt idx="17">
                  <c:v>All Others</c:v>
                </c:pt>
                <c:pt idx="18">
                  <c:v>Private Lab</c:v>
                </c:pt>
                <c:pt idx="19">
                  <c:v>Private Lab</c:v>
                </c:pt>
                <c:pt idx="20">
                  <c:v>Galbani</c:v>
                </c:pt>
                <c:pt idx="21">
                  <c:v>Private Lab</c:v>
                </c:pt>
                <c:pt idx="22">
                  <c:v>Casa Azzurr</c:v>
                </c:pt>
                <c:pt idx="23">
                  <c:v>Les Mousque</c:v>
                </c:pt>
                <c:pt idx="24">
                  <c:v>Salakis</c:v>
                </c:pt>
                <c:pt idx="25">
                  <c:v>Salakis</c:v>
                </c:pt>
                <c:pt idx="26">
                  <c:v>Casa Azzurr</c:v>
                </c:pt>
                <c:pt idx="27">
                  <c:v>Private Lab</c:v>
                </c:pt>
                <c:pt idx="28">
                  <c:v>Casa Azzurr</c:v>
                </c:pt>
                <c:pt idx="29">
                  <c:v>Private Lab</c:v>
                </c:pt>
                <c:pt idx="30">
                  <c:v>Galbani</c:v>
                </c:pt>
                <c:pt idx="31">
                  <c:v>Private Lab</c:v>
                </c:pt>
                <c:pt idx="32">
                  <c:v>Casa Azzurr</c:v>
                </c:pt>
                <c:pt idx="33">
                  <c:v>Casa Azzurr</c:v>
                </c:pt>
                <c:pt idx="34">
                  <c:v>Boursin</c:v>
                </c:pt>
                <c:pt idx="35">
                  <c:v>Galbani</c:v>
                </c:pt>
                <c:pt idx="36">
                  <c:v>Private Lab</c:v>
                </c:pt>
                <c:pt idx="37">
                  <c:v>Salakis</c:v>
                </c:pt>
                <c:pt idx="38">
                  <c:v>Private Lab</c:v>
                </c:pt>
                <c:pt idx="39">
                  <c:v>Galbani</c:v>
                </c:pt>
                <c:pt idx="40">
                  <c:v>Casa Azzurr</c:v>
                </c:pt>
                <c:pt idx="41">
                  <c:v>Private Lab</c:v>
                </c:pt>
                <c:pt idx="42">
                  <c:v>Casa Azzurr</c:v>
                </c:pt>
                <c:pt idx="43">
                  <c:v>Salakis</c:v>
                </c:pt>
                <c:pt idx="44">
                  <c:v>Private Lab</c:v>
                </c:pt>
                <c:pt idx="45">
                  <c:v>Galbani</c:v>
                </c:pt>
                <c:pt idx="46">
                  <c:v>All Others</c:v>
                </c:pt>
                <c:pt idx="47">
                  <c:v>Galbani</c:v>
                </c:pt>
                <c:pt idx="48">
                  <c:v>Casa Azzurr</c:v>
                </c:pt>
                <c:pt idx="49">
                  <c:v>All Others</c:v>
                </c:pt>
                <c:pt idx="50">
                  <c:v>Galbani</c:v>
                </c:pt>
                <c:pt idx="51">
                  <c:v>Islos</c:v>
                </c:pt>
                <c:pt idx="52">
                  <c:v>Boursin</c:v>
                </c:pt>
                <c:pt idx="53">
                  <c:v>All Others</c:v>
                </c:pt>
                <c:pt idx="54">
                  <c:v>Galbani</c:v>
                </c:pt>
                <c:pt idx="55">
                  <c:v>All Others</c:v>
                </c:pt>
                <c:pt idx="56">
                  <c:v>Casa Azzurr</c:v>
                </c:pt>
                <c:pt idx="57">
                  <c:v>Islos</c:v>
                </c:pt>
                <c:pt idx="58">
                  <c:v>Lactalis: A</c:v>
                </c:pt>
                <c:pt idx="59">
                  <c:v>Salakis</c:v>
                </c:pt>
                <c:pt idx="60">
                  <c:v>All Others</c:v>
                </c:pt>
                <c:pt idx="61">
                  <c:v>All Others</c:v>
                </c:pt>
                <c:pt idx="62">
                  <c:v>Galbani</c:v>
                </c:pt>
                <c:pt idx="63">
                  <c:v>Les Mousque</c:v>
                </c:pt>
                <c:pt idx="64">
                  <c:v>Boursin</c:v>
                </c:pt>
                <c:pt idx="65">
                  <c:v>All Others</c:v>
                </c:pt>
                <c:pt idx="66">
                  <c:v>All Others</c:v>
                </c:pt>
                <c:pt idx="67">
                  <c:v>Boursin</c:v>
                </c:pt>
                <c:pt idx="68">
                  <c:v>All Others</c:v>
                </c:pt>
                <c:pt idx="69">
                  <c:v>All Others</c:v>
                </c:pt>
                <c:pt idx="70">
                  <c:v>All Others</c:v>
                </c:pt>
                <c:pt idx="71">
                  <c:v>All Others</c:v>
                </c:pt>
                <c:pt idx="72">
                  <c:v>Boursin</c:v>
                </c:pt>
                <c:pt idx="73">
                  <c:v>Salakis</c:v>
                </c:pt>
                <c:pt idx="74">
                  <c:v>All Others</c:v>
                </c:pt>
                <c:pt idx="75">
                  <c:v>All Others</c:v>
                </c:pt>
                <c:pt idx="76">
                  <c:v>All Others</c:v>
                </c:pt>
                <c:pt idx="77">
                  <c:v>All Others</c:v>
                </c:pt>
                <c:pt idx="78">
                  <c:v>All Others</c:v>
                </c:pt>
                <c:pt idx="79">
                  <c:v>Salakis</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Casa Azzurr</c:v>
                </c:pt>
                <c:pt idx="91">
                  <c:v>All Others</c:v>
                </c:pt>
                <c:pt idx="92">
                  <c:v>All Others</c:v>
                </c:pt>
                <c:pt idx="93">
                  <c:v>All Others</c:v>
                </c:pt>
                <c:pt idx="94">
                  <c:v>All Others</c:v>
                </c:pt>
                <c:pt idx="95">
                  <c:v>Private Lab</c:v>
                </c:pt>
                <c:pt idx="96">
                  <c:v>All Others</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Other Suppl</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Netto</c:v>
                </c:pt>
                <c:pt idx="151">
                  <c:v>All Others</c:v>
                </c:pt>
                <c:pt idx="152">
                  <c:v>All Others</c:v>
                </c:pt>
                <c:pt idx="153">
                  <c:v>All Others</c:v>
                </c:pt>
              </c:strCache>
            </c:strRef>
          </c:cat>
          <c:val>
            <c:numRef>
              <c:f>Sheet1!$B$2:$B$155</c:f>
              <c:numCache>
                <c:formatCode>General</c:formatCode>
                <c:ptCount val="154"/>
                <c:pt idx="0">
                  <c:v>0.998</c:v>
                </c:pt>
                <c:pt idx="1">
                  <c:v>0.98899999999999999</c:v>
                </c:pt>
                <c:pt idx="2">
                  <c:v>0.97499999999999998</c:v>
                </c:pt>
                <c:pt idx="3">
                  <c:v>0.96799999999999997</c:v>
                </c:pt>
                <c:pt idx="4">
                  <c:v>0.98499999999999999</c:v>
                </c:pt>
                <c:pt idx="5">
                  <c:v>0.97499999999999998</c:v>
                </c:pt>
                <c:pt idx="6">
                  <c:v>0.93100000000000005</c:v>
                </c:pt>
                <c:pt idx="7">
                  <c:v>0.94399999999999995</c:v>
                </c:pt>
                <c:pt idx="8">
                  <c:v>0.98</c:v>
                </c:pt>
                <c:pt idx="9">
                  <c:v>0.98799999999999999</c:v>
                </c:pt>
                <c:pt idx="10">
                  <c:v>0.98299999999999998</c:v>
                </c:pt>
                <c:pt idx="11">
                  <c:v>0.98599999999999999</c:v>
                </c:pt>
                <c:pt idx="12">
                  <c:v>0.99399999999999999</c:v>
                </c:pt>
                <c:pt idx="13">
                  <c:v>0.96599999999999997</c:v>
                </c:pt>
                <c:pt idx="14">
                  <c:v>0.90900000000000003</c:v>
                </c:pt>
                <c:pt idx="15">
                  <c:v>0.871</c:v>
                </c:pt>
                <c:pt idx="16">
                  <c:v>0.97299999999999998</c:v>
                </c:pt>
                <c:pt idx="17">
                  <c:v>0.434</c:v>
                </c:pt>
                <c:pt idx="18">
                  <c:v>0.98899999999999999</c:v>
                </c:pt>
                <c:pt idx="19">
                  <c:v>0.98499999999999999</c:v>
                </c:pt>
                <c:pt idx="20">
                  <c:v>0.92600000000000005</c:v>
                </c:pt>
                <c:pt idx="21">
                  <c:v>0.72299999999999998</c:v>
                </c:pt>
                <c:pt idx="22">
                  <c:v>0.90600000000000003</c:v>
                </c:pt>
                <c:pt idx="23">
                  <c:v>0.91200000000000003</c:v>
                </c:pt>
                <c:pt idx="24">
                  <c:v>0.85</c:v>
                </c:pt>
                <c:pt idx="25">
                  <c:v>0.94599999999999995</c:v>
                </c:pt>
                <c:pt idx="26">
                  <c:v>0.65700000000000003</c:v>
                </c:pt>
                <c:pt idx="27">
                  <c:v>0.86699999999999999</c:v>
                </c:pt>
                <c:pt idx="28">
                  <c:v>0.48599999999999999</c:v>
                </c:pt>
                <c:pt idx="29">
                  <c:v>0.56999999999999995</c:v>
                </c:pt>
                <c:pt idx="30">
                  <c:v>0.85899999999999999</c:v>
                </c:pt>
                <c:pt idx="31">
                  <c:v>0.93799999999999994</c:v>
                </c:pt>
                <c:pt idx="32">
                  <c:v>0.58299999999999996</c:v>
                </c:pt>
                <c:pt idx="33">
                  <c:v>0.64200000000000002</c:v>
                </c:pt>
                <c:pt idx="34">
                  <c:v>0.96499999999999997</c:v>
                </c:pt>
                <c:pt idx="35">
                  <c:v>0.83699999999999997</c:v>
                </c:pt>
                <c:pt idx="36">
                  <c:v>0.95699999999999996</c:v>
                </c:pt>
                <c:pt idx="37">
                  <c:v>0.92300000000000004</c:v>
                </c:pt>
                <c:pt idx="38">
                  <c:v>0.747</c:v>
                </c:pt>
                <c:pt idx="39">
                  <c:v>0.44800000000000001</c:v>
                </c:pt>
                <c:pt idx="40">
                  <c:v>0.41599999999999998</c:v>
                </c:pt>
                <c:pt idx="41">
                  <c:v>0.86299999999999999</c:v>
                </c:pt>
                <c:pt idx="42">
                  <c:v>0.33</c:v>
                </c:pt>
                <c:pt idx="43">
                  <c:v>0.51200000000000001</c:v>
                </c:pt>
                <c:pt idx="44">
                  <c:v>0.45</c:v>
                </c:pt>
                <c:pt idx="45">
                  <c:v>0.35599999999999998</c:v>
                </c:pt>
                <c:pt idx="46">
                  <c:v>0.24399999999999999</c:v>
                </c:pt>
                <c:pt idx="47">
                  <c:v>0.52</c:v>
                </c:pt>
                <c:pt idx="48">
                  <c:v>0.33800000000000002</c:v>
                </c:pt>
                <c:pt idx="49">
                  <c:v>0.13600000000000001</c:v>
                </c:pt>
                <c:pt idx="50">
                  <c:v>0.3</c:v>
                </c:pt>
                <c:pt idx="51">
                  <c:v>0.47599999999999998</c:v>
                </c:pt>
                <c:pt idx="52">
                  <c:v>0.82099999999999995</c:v>
                </c:pt>
                <c:pt idx="53">
                  <c:v>0.35899999999999999</c:v>
                </c:pt>
                <c:pt idx="54">
                  <c:v>0.39600000000000002</c:v>
                </c:pt>
                <c:pt idx="55">
                  <c:v>0.20699999999999999</c:v>
                </c:pt>
                <c:pt idx="56">
                  <c:v>0.49299999999999999</c:v>
                </c:pt>
                <c:pt idx="57">
                  <c:v>0.54200000000000004</c:v>
                </c:pt>
                <c:pt idx="58">
                  <c:v>0.27700000000000002</c:v>
                </c:pt>
                <c:pt idx="59">
                  <c:v>0.32200000000000001</c:v>
                </c:pt>
                <c:pt idx="60">
                  <c:v>0.253</c:v>
                </c:pt>
                <c:pt idx="61">
                  <c:v>0.30599999999999999</c:v>
                </c:pt>
                <c:pt idx="62">
                  <c:v>0.56499999999999995</c:v>
                </c:pt>
                <c:pt idx="63">
                  <c:v>0.56399999999999995</c:v>
                </c:pt>
                <c:pt idx="64">
                  <c:v>0.51300000000000001</c:v>
                </c:pt>
                <c:pt idx="65">
                  <c:v>0.14699999999999999</c:v>
                </c:pt>
                <c:pt idx="66">
                  <c:v>0.21199999999999999</c:v>
                </c:pt>
                <c:pt idx="67">
                  <c:v>0.65</c:v>
                </c:pt>
                <c:pt idx="68">
                  <c:v>7.1999999999999995E-2</c:v>
                </c:pt>
                <c:pt idx="69">
                  <c:v>0.25700000000000001</c:v>
                </c:pt>
                <c:pt idx="70">
                  <c:v>0.21099999999999999</c:v>
                </c:pt>
                <c:pt idx="71">
                  <c:v>0.14099999999999999</c:v>
                </c:pt>
                <c:pt idx="72">
                  <c:v>0.41199999999999998</c:v>
                </c:pt>
                <c:pt idx="73">
                  <c:v>0.248</c:v>
                </c:pt>
                <c:pt idx="74">
                  <c:v>0.12</c:v>
                </c:pt>
                <c:pt idx="75">
                  <c:v>0.42599999999999999</c:v>
                </c:pt>
                <c:pt idx="76">
                  <c:v>0.09</c:v>
                </c:pt>
                <c:pt idx="77">
                  <c:v>5.8000000000000003E-2</c:v>
                </c:pt>
                <c:pt idx="78">
                  <c:v>0.155</c:v>
                </c:pt>
                <c:pt idx="79">
                  <c:v>0.23400000000000001</c:v>
                </c:pt>
                <c:pt idx="80">
                  <c:v>0.06</c:v>
                </c:pt>
                <c:pt idx="81">
                  <c:v>9.7000000000000003E-2</c:v>
                </c:pt>
                <c:pt idx="82">
                  <c:v>8.6999999999999994E-2</c:v>
                </c:pt>
                <c:pt idx="83">
                  <c:v>4.5999999999999999E-2</c:v>
                </c:pt>
                <c:pt idx="84">
                  <c:v>0.11799999999999999</c:v>
                </c:pt>
                <c:pt idx="85">
                  <c:v>0.35599999999999998</c:v>
                </c:pt>
                <c:pt idx="86">
                  <c:v>4.9000000000000002E-2</c:v>
                </c:pt>
                <c:pt idx="87">
                  <c:v>0.13900000000000001</c:v>
                </c:pt>
                <c:pt idx="88">
                  <c:v>8.7999999999999995E-2</c:v>
                </c:pt>
                <c:pt idx="89">
                  <c:v>4.5999999999999999E-2</c:v>
                </c:pt>
                <c:pt idx="90">
                  <c:v>8.2000000000000003E-2</c:v>
                </c:pt>
                <c:pt idx="91">
                  <c:v>3.5000000000000003E-2</c:v>
                </c:pt>
                <c:pt idx="92">
                  <c:v>3.6999999999999998E-2</c:v>
                </c:pt>
                <c:pt idx="93">
                  <c:v>1.4E-2</c:v>
                </c:pt>
                <c:pt idx="94">
                  <c:v>7.6999999999999999E-2</c:v>
                </c:pt>
                <c:pt idx="95">
                  <c:v>0.19800000000000001</c:v>
                </c:pt>
                <c:pt idx="96">
                  <c:v>2.1000000000000001E-2</c:v>
                </c:pt>
                <c:pt idx="97">
                  <c:v>0.10299999999999999</c:v>
                </c:pt>
                <c:pt idx="98">
                  <c:v>5.2999999999999999E-2</c:v>
                </c:pt>
                <c:pt idx="99">
                  <c:v>6.9000000000000006E-2</c:v>
                </c:pt>
                <c:pt idx="100">
                  <c:v>0.13500000000000001</c:v>
                </c:pt>
                <c:pt idx="101">
                  <c:v>8.7999999999999995E-2</c:v>
                </c:pt>
                <c:pt idx="102">
                  <c:v>8.2000000000000003E-2</c:v>
                </c:pt>
                <c:pt idx="103">
                  <c:v>0.123</c:v>
                </c:pt>
                <c:pt idx="104">
                  <c:v>0.111</c:v>
                </c:pt>
                <c:pt idx="105">
                  <c:v>7.2999999999999995E-2</c:v>
                </c:pt>
                <c:pt idx="106">
                  <c:v>1.2E-2</c:v>
                </c:pt>
                <c:pt idx="107">
                  <c:v>2.3E-2</c:v>
                </c:pt>
                <c:pt idx="108">
                  <c:v>2.1000000000000001E-2</c:v>
                </c:pt>
                <c:pt idx="109">
                  <c:v>0.12</c:v>
                </c:pt>
                <c:pt idx="110">
                  <c:v>6.7000000000000004E-2</c:v>
                </c:pt>
                <c:pt idx="111">
                  <c:v>1.4999999999999999E-2</c:v>
                </c:pt>
                <c:pt idx="112">
                  <c:v>7.1999999999999995E-2</c:v>
                </c:pt>
                <c:pt idx="113">
                  <c:v>0.10199999999999999</c:v>
                </c:pt>
                <c:pt idx="114">
                  <c:v>3.5000000000000003E-2</c:v>
                </c:pt>
                <c:pt idx="115">
                  <c:v>1.9E-2</c:v>
                </c:pt>
                <c:pt idx="116">
                  <c:v>3.7999999999999999E-2</c:v>
                </c:pt>
                <c:pt idx="117">
                  <c:v>8.9999999999999993E-3</c:v>
                </c:pt>
                <c:pt idx="118">
                  <c:v>1.2999999999999999E-2</c:v>
                </c:pt>
                <c:pt idx="119">
                  <c:v>1.0999999999999999E-2</c:v>
                </c:pt>
                <c:pt idx="120">
                  <c:v>1.9E-2</c:v>
                </c:pt>
                <c:pt idx="121">
                  <c:v>7.0000000000000007E-2</c:v>
                </c:pt>
                <c:pt idx="122">
                  <c:v>6.0999999999999999E-2</c:v>
                </c:pt>
                <c:pt idx="123">
                  <c:v>0.01</c:v>
                </c:pt>
                <c:pt idx="124">
                  <c:v>1.4E-2</c:v>
                </c:pt>
                <c:pt idx="125">
                  <c:v>0.01</c:v>
                </c:pt>
                <c:pt idx="126">
                  <c:v>1.2999999999999999E-2</c:v>
                </c:pt>
                <c:pt idx="127">
                  <c:v>8.0000000000000002E-3</c:v>
                </c:pt>
                <c:pt idx="128">
                  <c:v>8.9999999999999993E-3</c:v>
                </c:pt>
                <c:pt idx="129">
                  <c:v>1.4E-2</c:v>
                </c:pt>
                <c:pt idx="130">
                  <c:v>1.4999999999999999E-2</c:v>
                </c:pt>
                <c:pt idx="131">
                  <c:v>1.7000000000000001E-2</c:v>
                </c:pt>
                <c:pt idx="132">
                  <c:v>8.9999999999999993E-3</c:v>
                </c:pt>
                <c:pt idx="133">
                  <c:v>0.01</c:v>
                </c:pt>
                <c:pt idx="134">
                  <c:v>4.5999999999999999E-2</c:v>
                </c:pt>
                <c:pt idx="135">
                  <c:v>8.9999999999999993E-3</c:v>
                </c:pt>
                <c:pt idx="136">
                  <c:v>4.0000000000000001E-3</c:v>
                </c:pt>
                <c:pt idx="137">
                  <c:v>8.0000000000000002E-3</c:v>
                </c:pt>
                <c:pt idx="138">
                  <c:v>1.4999999999999999E-2</c:v>
                </c:pt>
                <c:pt idx="139">
                  <c:v>8.9999999999999993E-3</c:v>
                </c:pt>
                <c:pt idx="140">
                  <c:v>1.2999999999999999E-2</c:v>
                </c:pt>
                <c:pt idx="141">
                  <c:v>2.5000000000000001E-2</c:v>
                </c:pt>
                <c:pt idx="142">
                  <c:v>1.4E-2</c:v>
                </c:pt>
                <c:pt idx="143">
                  <c:v>1.0999999999999999E-2</c:v>
                </c:pt>
                <c:pt idx="144">
                  <c:v>3.5000000000000003E-2</c:v>
                </c:pt>
                <c:pt idx="145">
                  <c:v>1E-3</c:v>
                </c:pt>
                <c:pt idx="146">
                  <c:v>1.2999999999999999E-2</c:v>
                </c:pt>
                <c:pt idx="147">
                  <c:v>1E-3</c:v>
                </c:pt>
                <c:pt idx="148">
                  <c:v>5.0000000000000001E-3</c:v>
                </c:pt>
                <c:pt idx="149">
                  <c:v>1E-3</c:v>
                </c:pt>
                <c:pt idx="150">
                  <c:v>1E-3</c:v>
                </c:pt>
                <c:pt idx="151">
                  <c:v>1E-3</c:v>
                </c:pt>
                <c:pt idx="152">
                  <c:v>8.0000000000000002E-3</c:v>
                </c:pt>
                <c:pt idx="153">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5</c:f>
              <c:strCache>
                <c:ptCount val="154"/>
                <c:pt idx="0">
                  <c:v>Private Lab</c:v>
                </c:pt>
                <c:pt idx="1">
                  <c:v>Private Lab</c:v>
                </c:pt>
                <c:pt idx="2">
                  <c:v>Private Lab</c:v>
                </c:pt>
                <c:pt idx="3">
                  <c:v>Private Lab</c:v>
                </c:pt>
                <c:pt idx="4">
                  <c:v>Galbani</c:v>
                </c:pt>
                <c:pt idx="5">
                  <c:v>Salakis</c:v>
                </c:pt>
                <c:pt idx="6">
                  <c:v>Galbani</c:v>
                </c:pt>
                <c:pt idx="7">
                  <c:v>Galbani</c:v>
                </c:pt>
                <c:pt idx="8">
                  <c:v>Private Lab</c:v>
                </c:pt>
                <c:pt idx="9">
                  <c:v>Private Lab</c:v>
                </c:pt>
                <c:pt idx="10">
                  <c:v>Private Lab</c:v>
                </c:pt>
                <c:pt idx="11">
                  <c:v>Private Lab</c:v>
                </c:pt>
                <c:pt idx="12">
                  <c:v>Salakis</c:v>
                </c:pt>
                <c:pt idx="13">
                  <c:v>Galbani</c:v>
                </c:pt>
                <c:pt idx="14">
                  <c:v>Galbani</c:v>
                </c:pt>
                <c:pt idx="15">
                  <c:v>Islos</c:v>
                </c:pt>
                <c:pt idx="16">
                  <c:v>Private Lab</c:v>
                </c:pt>
                <c:pt idx="17">
                  <c:v>All Others</c:v>
                </c:pt>
                <c:pt idx="18">
                  <c:v>Private Lab</c:v>
                </c:pt>
                <c:pt idx="19">
                  <c:v>Private Lab</c:v>
                </c:pt>
                <c:pt idx="20">
                  <c:v>Galbani</c:v>
                </c:pt>
                <c:pt idx="21">
                  <c:v>Private Lab</c:v>
                </c:pt>
                <c:pt idx="22">
                  <c:v>Casa Azzurr</c:v>
                </c:pt>
                <c:pt idx="23">
                  <c:v>Les Mousque</c:v>
                </c:pt>
                <c:pt idx="24">
                  <c:v>Salakis</c:v>
                </c:pt>
                <c:pt idx="25">
                  <c:v>Salakis</c:v>
                </c:pt>
                <c:pt idx="26">
                  <c:v>Casa Azzurr</c:v>
                </c:pt>
                <c:pt idx="27">
                  <c:v>Private Lab</c:v>
                </c:pt>
                <c:pt idx="28">
                  <c:v>Casa Azzurr</c:v>
                </c:pt>
                <c:pt idx="29">
                  <c:v>Private Lab</c:v>
                </c:pt>
                <c:pt idx="30">
                  <c:v>Galbani</c:v>
                </c:pt>
                <c:pt idx="31">
                  <c:v>Private Lab</c:v>
                </c:pt>
                <c:pt idx="32">
                  <c:v>Casa Azzurr</c:v>
                </c:pt>
                <c:pt idx="33">
                  <c:v>Casa Azzurr</c:v>
                </c:pt>
                <c:pt idx="34">
                  <c:v>Boursin</c:v>
                </c:pt>
                <c:pt idx="35">
                  <c:v>Galbani</c:v>
                </c:pt>
                <c:pt idx="36">
                  <c:v>Private Lab</c:v>
                </c:pt>
                <c:pt idx="37">
                  <c:v>Salakis</c:v>
                </c:pt>
                <c:pt idx="38">
                  <c:v>Private Lab</c:v>
                </c:pt>
                <c:pt idx="39">
                  <c:v>Galbani</c:v>
                </c:pt>
                <c:pt idx="40">
                  <c:v>Casa Azzurr</c:v>
                </c:pt>
                <c:pt idx="41">
                  <c:v>Private Lab</c:v>
                </c:pt>
                <c:pt idx="42">
                  <c:v>Casa Azzurr</c:v>
                </c:pt>
                <c:pt idx="43">
                  <c:v>Salakis</c:v>
                </c:pt>
                <c:pt idx="44">
                  <c:v>Private Lab</c:v>
                </c:pt>
                <c:pt idx="45">
                  <c:v>Galbani</c:v>
                </c:pt>
                <c:pt idx="46">
                  <c:v>All Others</c:v>
                </c:pt>
                <c:pt idx="47">
                  <c:v>Galbani</c:v>
                </c:pt>
                <c:pt idx="48">
                  <c:v>Casa Azzurr</c:v>
                </c:pt>
                <c:pt idx="49">
                  <c:v>All Others</c:v>
                </c:pt>
                <c:pt idx="50">
                  <c:v>Galbani</c:v>
                </c:pt>
                <c:pt idx="51">
                  <c:v>Islos</c:v>
                </c:pt>
                <c:pt idx="52">
                  <c:v>Boursin</c:v>
                </c:pt>
                <c:pt idx="53">
                  <c:v>All Others</c:v>
                </c:pt>
                <c:pt idx="54">
                  <c:v>Galbani</c:v>
                </c:pt>
                <c:pt idx="55">
                  <c:v>All Others</c:v>
                </c:pt>
                <c:pt idx="56">
                  <c:v>Casa Azzurr</c:v>
                </c:pt>
                <c:pt idx="57">
                  <c:v>Islos</c:v>
                </c:pt>
                <c:pt idx="58">
                  <c:v>Lactalis: A</c:v>
                </c:pt>
                <c:pt idx="59">
                  <c:v>Salakis</c:v>
                </c:pt>
                <c:pt idx="60">
                  <c:v>All Others</c:v>
                </c:pt>
                <c:pt idx="61">
                  <c:v>All Others</c:v>
                </c:pt>
                <c:pt idx="62">
                  <c:v>Galbani</c:v>
                </c:pt>
                <c:pt idx="63">
                  <c:v>Les Mousque</c:v>
                </c:pt>
                <c:pt idx="64">
                  <c:v>Boursin</c:v>
                </c:pt>
                <c:pt idx="65">
                  <c:v>All Others</c:v>
                </c:pt>
                <c:pt idx="66">
                  <c:v>All Others</c:v>
                </c:pt>
                <c:pt idx="67">
                  <c:v>Boursin</c:v>
                </c:pt>
                <c:pt idx="68">
                  <c:v>All Others</c:v>
                </c:pt>
                <c:pt idx="69">
                  <c:v>All Others</c:v>
                </c:pt>
                <c:pt idx="70">
                  <c:v>All Others</c:v>
                </c:pt>
                <c:pt idx="71">
                  <c:v>All Others</c:v>
                </c:pt>
                <c:pt idx="72">
                  <c:v>Boursin</c:v>
                </c:pt>
                <c:pt idx="73">
                  <c:v>Salakis</c:v>
                </c:pt>
                <c:pt idx="74">
                  <c:v>All Others</c:v>
                </c:pt>
                <c:pt idx="75">
                  <c:v>All Others</c:v>
                </c:pt>
                <c:pt idx="76">
                  <c:v>All Others</c:v>
                </c:pt>
                <c:pt idx="77">
                  <c:v>All Others</c:v>
                </c:pt>
                <c:pt idx="78">
                  <c:v>All Others</c:v>
                </c:pt>
                <c:pt idx="79">
                  <c:v>Salakis</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Casa Azzurr</c:v>
                </c:pt>
                <c:pt idx="91">
                  <c:v>All Others</c:v>
                </c:pt>
                <c:pt idx="92">
                  <c:v>All Others</c:v>
                </c:pt>
                <c:pt idx="93">
                  <c:v>All Others</c:v>
                </c:pt>
                <c:pt idx="94">
                  <c:v>All Others</c:v>
                </c:pt>
                <c:pt idx="95">
                  <c:v>Private Lab</c:v>
                </c:pt>
                <c:pt idx="96">
                  <c:v>All Others</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Other Suppl</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Netto</c:v>
                </c:pt>
                <c:pt idx="151">
                  <c:v>All Others</c:v>
                </c:pt>
                <c:pt idx="152">
                  <c:v>All Others</c:v>
                </c:pt>
                <c:pt idx="153">
                  <c:v>All Others</c:v>
                </c:pt>
              </c:strCache>
            </c:strRef>
          </c:cat>
          <c:val>
            <c:numRef>
              <c:f>Sheet1!$C$2:$C$155</c:f>
              <c:numCache>
                <c:formatCode>General</c:formatCode>
                <c:ptCount val="154"/>
                <c:pt idx="0">
                  <c:v>8.3011419053259025E-2</c:v>
                </c:pt>
                <c:pt idx="1">
                  <c:v>0.15788207381152675</c:v>
                </c:pt>
                <c:pt idx="2">
                  <c:v>0.22953023473686612</c:v>
                </c:pt>
                <c:pt idx="3">
                  <c:v>0.27172877090983977</c:v>
                </c:pt>
                <c:pt idx="4">
                  <c:v>0.31149597146865304</c:v>
                </c:pt>
                <c:pt idx="5">
                  <c:v>0.34522175074079925</c:v>
                </c:pt>
                <c:pt idx="6">
                  <c:v>0.37873938015901276</c:v>
                </c:pt>
                <c:pt idx="7">
                  <c:v>0.41218621939332978</c:v>
                </c:pt>
                <c:pt idx="8">
                  <c:v>0.44446987350533212</c:v>
                </c:pt>
                <c:pt idx="9">
                  <c:v>0.47620978776960404</c:v>
                </c:pt>
                <c:pt idx="10">
                  <c:v>0.50298277779007583</c:v>
                </c:pt>
                <c:pt idx="11">
                  <c:v>0.52666659103841151</c:v>
                </c:pt>
                <c:pt idx="12">
                  <c:v>0.54900259480306024</c:v>
                </c:pt>
                <c:pt idx="13">
                  <c:v>0.571316729298319</c:v>
                </c:pt>
                <c:pt idx="14">
                  <c:v>0.59352306681669087</c:v>
                </c:pt>
                <c:pt idx="15">
                  <c:v>0.61548141608078377</c:v>
                </c:pt>
                <c:pt idx="16">
                  <c:v>0.63595103442089451</c:v>
                </c:pt>
                <c:pt idx="17">
                  <c:v>0.65599836927910482</c:v>
                </c:pt>
                <c:pt idx="18">
                  <c:v>0.67602887477284157</c:v>
                </c:pt>
                <c:pt idx="19">
                  <c:v>0.69485487860925998</c:v>
                </c:pt>
                <c:pt idx="20">
                  <c:v>0.71232306438756365</c:v>
                </c:pt>
                <c:pt idx="21">
                  <c:v>0.72819737578384114</c:v>
                </c:pt>
                <c:pt idx="22">
                  <c:v>0.74246913988751195</c:v>
                </c:pt>
                <c:pt idx="23">
                  <c:v>0.75601494397700475</c:v>
                </c:pt>
                <c:pt idx="24">
                  <c:v>0.76733400053601086</c:v>
                </c:pt>
                <c:pt idx="25">
                  <c:v>0.7779951625104875</c:v>
                </c:pt>
                <c:pt idx="26">
                  <c:v>0.78845451458209237</c:v>
                </c:pt>
                <c:pt idx="27">
                  <c:v>0.79856388710805337</c:v>
                </c:pt>
                <c:pt idx="28">
                  <c:v>0.80789894858857125</c:v>
                </c:pt>
                <c:pt idx="29">
                  <c:v>0.81700091001449249</c:v>
                </c:pt>
                <c:pt idx="30">
                  <c:v>0.82570703410268598</c:v>
                </c:pt>
                <c:pt idx="31">
                  <c:v>0.83431301902004928</c:v>
                </c:pt>
                <c:pt idx="32">
                  <c:v>0.8428336817308596</c:v>
                </c:pt>
                <c:pt idx="33">
                  <c:v>0.85060603431911697</c:v>
                </c:pt>
                <c:pt idx="34">
                  <c:v>0.85836950029057835</c:v>
                </c:pt>
                <c:pt idx="35">
                  <c:v>0.86555400050644837</c:v>
                </c:pt>
                <c:pt idx="36">
                  <c:v>0.87228373389565639</c:v>
                </c:pt>
                <c:pt idx="37">
                  <c:v>0.87890477986541271</c:v>
                </c:pt>
                <c:pt idx="38">
                  <c:v>0.88538485096831998</c:v>
                </c:pt>
                <c:pt idx="39">
                  <c:v>0.89164469781611677</c:v>
                </c:pt>
                <c:pt idx="40">
                  <c:v>0.89783931084162105</c:v>
                </c:pt>
                <c:pt idx="41">
                  <c:v>0.90370223401176109</c:v>
                </c:pt>
                <c:pt idx="42">
                  <c:v>0.90954198786636675</c:v>
                </c:pt>
                <c:pt idx="43">
                  <c:v>0.9152808723872391</c:v>
                </c:pt>
                <c:pt idx="44">
                  <c:v>0.92074087029683616</c:v>
                </c:pt>
                <c:pt idx="45">
                  <c:v>0.92546007341912673</c:v>
                </c:pt>
                <c:pt idx="46">
                  <c:v>0.92950387585606498</c:v>
                </c:pt>
                <c:pt idx="47">
                  <c:v>0.93317071833764786</c:v>
                </c:pt>
                <c:pt idx="48">
                  <c:v>0.9365739898200689</c:v>
                </c:pt>
                <c:pt idx="49">
                  <c:v>0.93997086792487516</c:v>
                </c:pt>
                <c:pt idx="50">
                  <c:v>0.94332010735246807</c:v>
                </c:pt>
                <c:pt idx="51">
                  <c:v>0.94612127938146595</c:v>
                </c:pt>
                <c:pt idx="52">
                  <c:v>0.94889965608080662</c:v>
                </c:pt>
                <c:pt idx="53">
                  <c:v>0.95162793648145516</c:v>
                </c:pt>
                <c:pt idx="54">
                  <c:v>0.95430108067849528</c:v>
                </c:pt>
                <c:pt idx="55">
                  <c:v>0.95687839544671849</c:v>
                </c:pt>
                <c:pt idx="56">
                  <c:v>0.95941617456506745</c:v>
                </c:pt>
                <c:pt idx="57">
                  <c:v>0.96173510070985557</c:v>
                </c:pt>
                <c:pt idx="58">
                  <c:v>0.96399267536193345</c:v>
                </c:pt>
                <c:pt idx="59">
                  <c:v>0.96601741709218414</c:v>
                </c:pt>
                <c:pt idx="60">
                  <c:v>0.96787204867486765</c:v>
                </c:pt>
                <c:pt idx="61">
                  <c:v>0.96952342783772449</c:v>
                </c:pt>
                <c:pt idx="62">
                  <c:v>0.97086824543439398</c:v>
                </c:pt>
                <c:pt idx="63">
                  <c:v>0.97220718611013623</c:v>
                </c:pt>
                <c:pt idx="64">
                  <c:v>0.97353216464646342</c:v>
                </c:pt>
                <c:pt idx="65">
                  <c:v>0.9747900216222608</c:v>
                </c:pt>
                <c:pt idx="66">
                  <c:v>0.97594328721440426</c:v>
                </c:pt>
                <c:pt idx="67">
                  <c:v>0.9770079715802078</c:v>
                </c:pt>
                <c:pt idx="68">
                  <c:v>0.97803851637807937</c:v>
                </c:pt>
                <c:pt idx="69">
                  <c:v>0.97901889364185368</c:v>
                </c:pt>
                <c:pt idx="70">
                  <c:v>0.97996641357498926</c:v>
                </c:pt>
                <c:pt idx="71">
                  <c:v>0.98087418415203509</c:v>
                </c:pt>
                <c:pt idx="72">
                  <c:v>0.98169353378240254</c:v>
                </c:pt>
                <c:pt idx="73">
                  <c:v>0.98247074767060671</c:v>
                </c:pt>
                <c:pt idx="74">
                  <c:v>0.98319654740512308</c:v>
                </c:pt>
                <c:pt idx="75">
                  <c:v>0.98391248103602214</c:v>
                </c:pt>
                <c:pt idx="76">
                  <c:v>0.98458791733907702</c:v>
                </c:pt>
                <c:pt idx="77">
                  <c:v>0.98523991719382809</c:v>
                </c:pt>
                <c:pt idx="78">
                  <c:v>0.98589156087155316</c:v>
                </c:pt>
                <c:pt idx="79">
                  <c:v>0.98650755122898626</c:v>
                </c:pt>
                <c:pt idx="80">
                  <c:v>0.98712010447811949</c:v>
                </c:pt>
                <c:pt idx="81">
                  <c:v>0.98765116442372802</c:v>
                </c:pt>
                <c:pt idx="82">
                  <c:v>0.98816966912917381</c:v>
                </c:pt>
                <c:pt idx="83">
                  <c:v>0.98867782689201733</c:v>
                </c:pt>
                <c:pt idx="84">
                  <c:v>0.98914643119613532</c:v>
                </c:pt>
                <c:pt idx="85">
                  <c:v>0.9895533100216658</c:v>
                </c:pt>
                <c:pt idx="86">
                  <c:v>0.98995869290368754</c:v>
                </c:pt>
                <c:pt idx="87">
                  <c:v>0.99035894683653636</c:v>
                </c:pt>
                <c:pt idx="88">
                  <c:v>0.99075875554810278</c:v>
                </c:pt>
                <c:pt idx="89">
                  <c:v>0.99115769162595579</c:v>
                </c:pt>
                <c:pt idx="90">
                  <c:v>0.99155529203996173</c:v>
                </c:pt>
                <c:pt idx="91">
                  <c:v>0.99194728266580978</c:v>
                </c:pt>
                <c:pt idx="92">
                  <c:v>0.9923362457869378</c:v>
                </c:pt>
                <c:pt idx="93">
                  <c:v>0.99271806755869663</c:v>
                </c:pt>
                <c:pt idx="94">
                  <c:v>0.99309817968073111</c:v>
                </c:pt>
                <c:pt idx="95">
                  <c:v>0.99347505059182994</c:v>
                </c:pt>
                <c:pt idx="96">
                  <c:v>0.99385149409049778</c:v>
                </c:pt>
                <c:pt idx="97">
                  <c:v>0.99421858794223583</c:v>
                </c:pt>
                <c:pt idx="98">
                  <c:v>0.99456632357261654</c:v>
                </c:pt>
                <c:pt idx="99">
                  <c:v>0.99489719422082112</c:v>
                </c:pt>
                <c:pt idx="100">
                  <c:v>0.99522309619951455</c:v>
                </c:pt>
                <c:pt idx="101">
                  <c:v>0.99553127837116973</c:v>
                </c:pt>
                <c:pt idx="102">
                  <c:v>0.99582594362469212</c:v>
                </c:pt>
                <c:pt idx="103">
                  <c:v>0.99608358427637289</c:v>
                </c:pt>
                <c:pt idx="104">
                  <c:v>0.99633894539508794</c:v>
                </c:pt>
                <c:pt idx="105">
                  <c:v>0.9965896762124663</c:v>
                </c:pt>
                <c:pt idx="106">
                  <c:v>0.99678055148064315</c:v>
                </c:pt>
                <c:pt idx="107">
                  <c:v>0.99696325248607565</c:v>
                </c:pt>
                <c:pt idx="108">
                  <c:v>0.99714463563651234</c:v>
                </c:pt>
                <c:pt idx="109">
                  <c:v>0.99731918018805188</c:v>
                </c:pt>
                <c:pt idx="110">
                  <c:v>0.99748783000981289</c:v>
                </c:pt>
                <c:pt idx="111">
                  <c:v>0.99765535787394233</c:v>
                </c:pt>
                <c:pt idx="112">
                  <c:v>0.99781763212693986</c:v>
                </c:pt>
                <c:pt idx="113">
                  <c:v>0.99797734190535092</c:v>
                </c:pt>
                <c:pt idx="114">
                  <c:v>0.99812349914792664</c:v>
                </c:pt>
                <c:pt idx="115">
                  <c:v>0.9982667713565927</c:v>
                </c:pt>
                <c:pt idx="116">
                  <c:v>0.99839216347855886</c:v>
                </c:pt>
                <c:pt idx="117">
                  <c:v>0.99851091289899208</c:v>
                </c:pt>
                <c:pt idx="118">
                  <c:v>0.99862711565369011</c:v>
                </c:pt>
                <c:pt idx="119">
                  <c:v>0.99871965044501743</c:v>
                </c:pt>
                <c:pt idx="120">
                  <c:v>0.99880662887474081</c:v>
                </c:pt>
                <c:pt idx="121">
                  <c:v>0.99889259219994042</c:v>
                </c:pt>
                <c:pt idx="122">
                  <c:v>0.99897608009481009</c:v>
                </c:pt>
                <c:pt idx="123">
                  <c:v>0.99905652267610834</c:v>
                </c:pt>
                <c:pt idx="124">
                  <c:v>0.99913409803234809</c:v>
                </c:pt>
                <c:pt idx="125">
                  <c:v>0.99920371283205911</c:v>
                </c:pt>
                <c:pt idx="126">
                  <c:v>0.99927211662988213</c:v>
                </c:pt>
                <c:pt idx="127">
                  <c:v>0.99933583669981463</c:v>
                </c:pt>
                <c:pt idx="128">
                  <c:v>0.99938983313694019</c:v>
                </c:pt>
                <c:pt idx="129">
                  <c:v>0.99943807731509759</c:v>
                </c:pt>
                <c:pt idx="130">
                  <c:v>0.99948612559589078</c:v>
                </c:pt>
                <c:pt idx="131">
                  <c:v>0.99953123541622035</c:v>
                </c:pt>
                <c:pt idx="132">
                  <c:v>0.99957212453879307</c:v>
                </c:pt>
                <c:pt idx="133">
                  <c:v>0.99961206979224715</c:v>
                </c:pt>
                <c:pt idx="134">
                  <c:v>0.99964756283287748</c:v>
                </c:pt>
                <c:pt idx="135">
                  <c:v>0.99967993932453125</c:v>
                </c:pt>
                <c:pt idx="136">
                  <c:v>0.99971098015233795</c:v>
                </c:pt>
                <c:pt idx="137">
                  <c:v>0.99974050722778462</c:v>
                </c:pt>
                <c:pt idx="138">
                  <c:v>0.99976998087667734</c:v>
                </c:pt>
                <c:pt idx="139">
                  <c:v>0.99979489545963862</c:v>
                </c:pt>
                <c:pt idx="140">
                  <c:v>0.99981936482131761</c:v>
                </c:pt>
                <c:pt idx="141">
                  <c:v>0.99984310402009346</c:v>
                </c:pt>
                <c:pt idx="142">
                  <c:v>0.99986404722921607</c:v>
                </c:pt>
                <c:pt idx="143">
                  <c:v>0.99988431370198949</c:v>
                </c:pt>
                <c:pt idx="144">
                  <c:v>0.99990408152692667</c:v>
                </c:pt>
                <c:pt idx="145">
                  <c:v>0.99992352879254054</c:v>
                </c:pt>
                <c:pt idx="146">
                  <c:v>0.9999403581570141</c:v>
                </c:pt>
                <c:pt idx="147">
                  <c:v>0.99995314491224374</c:v>
                </c:pt>
                <c:pt idx="148">
                  <c:v>0.99996267264768646</c:v>
                </c:pt>
                <c:pt idx="149">
                  <c:v>0.9999704194979997</c:v>
                </c:pt>
                <c:pt idx="150">
                  <c:v>0.9999779882598</c:v>
                </c:pt>
                <c:pt idx="151">
                  <c:v>0.99999545874292017</c:v>
                </c:pt>
                <c:pt idx="152">
                  <c:v>0.99999634918548486</c:v>
                </c:pt>
                <c:pt idx="153">
                  <c:v>0.9999997862937847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4</c:f>
              <c:strCache>
                <c:ptCount val="213"/>
                <c:pt idx="0">
                  <c:v>Galbani</c:v>
                </c:pt>
                <c:pt idx="1">
                  <c:v>Salakis</c:v>
                </c:pt>
                <c:pt idx="2">
                  <c:v>Islos</c:v>
                </c:pt>
                <c:pt idx="3">
                  <c:v>Salakis</c:v>
                </c:pt>
                <c:pt idx="4">
                  <c:v>All Others</c:v>
                </c:pt>
                <c:pt idx="5">
                  <c:v>Galbani</c:v>
                </c:pt>
                <c:pt idx="6">
                  <c:v>Galbani</c:v>
                </c:pt>
                <c:pt idx="7">
                  <c:v>All Others</c:v>
                </c:pt>
                <c:pt idx="8">
                  <c:v>Salakis</c:v>
                </c:pt>
                <c:pt idx="9">
                  <c:v>Casa Azzurr</c:v>
                </c:pt>
                <c:pt idx="10">
                  <c:v>All Others</c:v>
                </c:pt>
                <c:pt idx="11">
                  <c:v>Casa Azzurr</c:v>
                </c:pt>
                <c:pt idx="12">
                  <c:v>Salakis</c:v>
                </c:pt>
                <c:pt idx="13">
                  <c:v>Galbani</c:v>
                </c:pt>
                <c:pt idx="14">
                  <c:v>All Others</c:v>
                </c:pt>
                <c:pt idx="15">
                  <c:v>Casa Azzurr</c:v>
                </c:pt>
                <c:pt idx="16">
                  <c:v>Casa Azzurr</c:v>
                </c:pt>
                <c:pt idx="17">
                  <c:v>Galbani</c:v>
                </c:pt>
                <c:pt idx="18">
                  <c:v>All Others</c:v>
                </c:pt>
                <c:pt idx="19">
                  <c:v>Casa Azzurr</c:v>
                </c:pt>
                <c:pt idx="20">
                  <c:v>Casa Azzurr</c:v>
                </c:pt>
                <c:pt idx="21">
                  <c:v>Salakis</c:v>
                </c:pt>
                <c:pt idx="22">
                  <c:v>Galbani</c:v>
                </c:pt>
                <c:pt idx="23">
                  <c:v>Boursin</c:v>
                </c:pt>
                <c:pt idx="24">
                  <c:v>All Others</c:v>
                </c:pt>
                <c:pt idx="25">
                  <c:v>Casa Azzurr</c:v>
                </c:pt>
                <c:pt idx="26">
                  <c:v>Salakis</c:v>
                </c:pt>
                <c:pt idx="27">
                  <c:v>Galbani</c:v>
                </c:pt>
                <c:pt idx="28">
                  <c:v>Casa Azzurr</c:v>
                </c:pt>
                <c:pt idx="29">
                  <c:v>Salakis</c:v>
                </c:pt>
                <c:pt idx="30">
                  <c:v>Casa Azzurr</c:v>
                </c:pt>
                <c:pt idx="31">
                  <c:v>Casa Azzurr</c:v>
                </c:pt>
                <c:pt idx="32">
                  <c:v>All Others</c:v>
                </c:pt>
                <c:pt idx="33">
                  <c:v>Casa Azzurr</c:v>
                </c:pt>
                <c:pt idx="34">
                  <c:v>Casa Azzurr</c:v>
                </c:pt>
                <c:pt idx="35">
                  <c:v>Galbani</c:v>
                </c:pt>
                <c:pt idx="36">
                  <c:v>All Others</c:v>
                </c:pt>
                <c:pt idx="37">
                  <c:v>Galbani</c:v>
                </c:pt>
                <c:pt idx="38">
                  <c:v>Lactalis: A</c:v>
                </c:pt>
                <c:pt idx="39">
                  <c:v>All Others</c:v>
                </c:pt>
                <c:pt idx="40">
                  <c:v>All Others</c:v>
                </c:pt>
                <c:pt idx="41">
                  <c:v>All Others</c:v>
                </c:pt>
                <c:pt idx="42">
                  <c:v>All Others</c:v>
                </c:pt>
                <c:pt idx="43">
                  <c:v>Galbani</c:v>
                </c:pt>
                <c:pt idx="44">
                  <c:v>Galbani</c:v>
                </c:pt>
                <c:pt idx="45">
                  <c:v>All Others</c:v>
                </c:pt>
                <c:pt idx="46">
                  <c:v>All Others</c:v>
                </c:pt>
                <c:pt idx="47">
                  <c:v>All Others</c:v>
                </c:pt>
                <c:pt idx="48">
                  <c:v>All Others</c:v>
                </c:pt>
                <c:pt idx="49">
                  <c:v>Islos</c:v>
                </c:pt>
                <c:pt idx="50">
                  <c:v>All Others</c:v>
                </c:pt>
                <c:pt idx="51">
                  <c:v>Boursin</c:v>
                </c:pt>
                <c:pt idx="52">
                  <c:v>All Others</c:v>
                </c:pt>
                <c:pt idx="53">
                  <c:v>All Others</c:v>
                </c:pt>
                <c:pt idx="54">
                  <c:v>Casa Azzurr</c:v>
                </c:pt>
                <c:pt idx="55">
                  <c:v>Casa Azzurr</c:v>
                </c:pt>
                <c:pt idx="56">
                  <c:v>Casa Azzurr</c:v>
                </c:pt>
                <c:pt idx="57">
                  <c:v>All Others</c:v>
                </c:pt>
                <c:pt idx="58">
                  <c:v>All Others</c:v>
                </c:pt>
                <c:pt idx="59">
                  <c:v>All Others</c:v>
                </c:pt>
                <c:pt idx="60">
                  <c:v>All Others</c:v>
                </c:pt>
                <c:pt idx="61">
                  <c:v>All Others</c:v>
                </c:pt>
                <c:pt idx="62">
                  <c:v>All Others</c:v>
                </c:pt>
                <c:pt idx="63">
                  <c:v>Boursin</c:v>
                </c:pt>
                <c:pt idx="64">
                  <c:v>Galbani</c:v>
                </c:pt>
                <c:pt idx="65">
                  <c:v>All Others</c:v>
                </c:pt>
                <c:pt idx="66">
                  <c:v>Galbani</c:v>
                </c:pt>
                <c:pt idx="67">
                  <c:v>All Others</c:v>
                </c:pt>
                <c:pt idx="68">
                  <c:v>Islos</c:v>
                </c:pt>
                <c:pt idx="69">
                  <c:v>All Others</c:v>
                </c:pt>
                <c:pt idx="70">
                  <c:v>All Others</c:v>
                </c:pt>
                <c:pt idx="71">
                  <c:v>All Others</c:v>
                </c:pt>
                <c:pt idx="72">
                  <c:v>All Others</c:v>
                </c:pt>
                <c:pt idx="73">
                  <c:v>Salakis</c:v>
                </c:pt>
                <c:pt idx="74">
                  <c:v>All Others</c:v>
                </c:pt>
                <c:pt idx="75">
                  <c:v>All Others</c:v>
                </c:pt>
                <c:pt idx="76">
                  <c:v>All Others</c:v>
                </c:pt>
                <c:pt idx="77">
                  <c:v>All Others</c:v>
                </c:pt>
                <c:pt idx="78">
                  <c:v>Boursin</c:v>
                </c:pt>
                <c:pt idx="79">
                  <c:v>All Others</c:v>
                </c:pt>
                <c:pt idx="80">
                  <c:v>Boursin</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Casa Azzurr</c:v>
                </c:pt>
                <c:pt idx="92">
                  <c:v>Salakis</c:v>
                </c:pt>
                <c:pt idx="93">
                  <c:v>All Others</c:v>
                </c:pt>
                <c:pt idx="94">
                  <c:v>All Others</c:v>
                </c:pt>
                <c:pt idx="95">
                  <c:v>All Others</c:v>
                </c:pt>
                <c:pt idx="96">
                  <c:v>All Others</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Casa Azzurr</c:v>
                </c:pt>
                <c:pt idx="114">
                  <c:v>All Others</c:v>
                </c:pt>
                <c:pt idx="115">
                  <c:v>Lactalis: A</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Salakis</c:v>
                </c:pt>
                <c:pt idx="126">
                  <c:v>All Others</c:v>
                </c:pt>
                <c:pt idx="127">
                  <c:v>All Others</c:v>
                </c:pt>
                <c:pt idx="128">
                  <c:v>All Others</c:v>
                </c:pt>
                <c:pt idx="129">
                  <c:v>All Others</c:v>
                </c:pt>
                <c:pt idx="130">
                  <c:v>All Others</c:v>
                </c:pt>
                <c:pt idx="131">
                  <c:v>All Others</c:v>
                </c:pt>
                <c:pt idx="132">
                  <c:v>All Others</c:v>
                </c:pt>
                <c:pt idx="133">
                  <c:v>Lactalis: A</c:v>
                </c:pt>
                <c:pt idx="134">
                  <c:v>Salakis</c:v>
                </c:pt>
                <c:pt idx="135">
                  <c:v>All Others</c:v>
                </c:pt>
                <c:pt idx="136">
                  <c:v>All Others</c:v>
                </c:pt>
                <c:pt idx="137">
                  <c:v>All Others</c:v>
                </c:pt>
                <c:pt idx="138">
                  <c:v>Islos</c:v>
                </c:pt>
                <c:pt idx="139">
                  <c:v>All Others</c:v>
                </c:pt>
                <c:pt idx="140">
                  <c:v>All Others</c:v>
                </c:pt>
                <c:pt idx="141">
                  <c:v>All Others</c:v>
                </c:pt>
                <c:pt idx="142">
                  <c:v>All Others</c:v>
                </c:pt>
                <c:pt idx="143">
                  <c:v>All Others</c:v>
                </c:pt>
                <c:pt idx="144">
                  <c:v>All Others</c:v>
                </c:pt>
                <c:pt idx="145">
                  <c:v>All Others</c:v>
                </c:pt>
                <c:pt idx="146">
                  <c:v>Casa Azzurr</c:v>
                </c:pt>
                <c:pt idx="147">
                  <c:v>All Others</c:v>
                </c:pt>
                <c:pt idx="148">
                  <c:v>All Others</c:v>
                </c:pt>
                <c:pt idx="149">
                  <c:v>All Others</c:v>
                </c:pt>
                <c:pt idx="150">
                  <c:v>All Others</c:v>
                </c:pt>
                <c:pt idx="151">
                  <c:v>All Others</c:v>
                </c:pt>
                <c:pt idx="152">
                  <c:v>All Others</c:v>
                </c:pt>
                <c:pt idx="153">
                  <c:v>All Others</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All Others</c:v>
                </c:pt>
                <c:pt idx="169">
                  <c:v>All Others</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All Others</c:v>
                </c:pt>
                <c:pt idx="181">
                  <c:v>All Others</c:v>
                </c:pt>
                <c:pt idx="182">
                  <c:v>All Others</c:v>
                </c:pt>
                <c:pt idx="183">
                  <c:v>All Others</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All Others</c:v>
                </c:pt>
                <c:pt idx="194">
                  <c:v>All Others</c:v>
                </c:pt>
                <c:pt idx="195">
                  <c:v>All Others</c:v>
                </c:pt>
                <c:pt idx="196">
                  <c:v>All Others</c:v>
                </c:pt>
                <c:pt idx="197">
                  <c:v>Salakis</c:v>
                </c:pt>
                <c:pt idx="198">
                  <c:v>Societe</c:v>
                </c:pt>
                <c:pt idx="199">
                  <c:v>All Others</c:v>
                </c:pt>
                <c:pt idx="200">
                  <c:v>All Others</c:v>
                </c:pt>
                <c:pt idx="201">
                  <c:v>All Others</c:v>
                </c:pt>
                <c:pt idx="202">
                  <c:v>All Others</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strCache>
            </c:strRef>
          </c:cat>
          <c:val>
            <c:numRef>
              <c:f>Sheet1!$B$2:$B$214</c:f>
              <c:numCache>
                <c:formatCode>General</c:formatCode>
                <c:ptCount val="213"/>
                <c:pt idx="0">
                  <c:v>0.99</c:v>
                </c:pt>
                <c:pt idx="1">
                  <c:v>1</c:v>
                </c:pt>
                <c:pt idx="2">
                  <c:v>1</c:v>
                </c:pt>
                <c:pt idx="3">
                  <c:v>0.99</c:v>
                </c:pt>
                <c:pt idx="4">
                  <c:v>0.97</c:v>
                </c:pt>
                <c:pt idx="5">
                  <c:v>0.97</c:v>
                </c:pt>
                <c:pt idx="6">
                  <c:v>1</c:v>
                </c:pt>
                <c:pt idx="7">
                  <c:v>0.96</c:v>
                </c:pt>
                <c:pt idx="8">
                  <c:v>0.98</c:v>
                </c:pt>
                <c:pt idx="9">
                  <c:v>0.99</c:v>
                </c:pt>
                <c:pt idx="10">
                  <c:v>0.93</c:v>
                </c:pt>
                <c:pt idx="11">
                  <c:v>0.94</c:v>
                </c:pt>
                <c:pt idx="12">
                  <c:v>0.99</c:v>
                </c:pt>
                <c:pt idx="13">
                  <c:v>0.96</c:v>
                </c:pt>
                <c:pt idx="14">
                  <c:v>0.97</c:v>
                </c:pt>
                <c:pt idx="15">
                  <c:v>0.96</c:v>
                </c:pt>
                <c:pt idx="16">
                  <c:v>0.94</c:v>
                </c:pt>
                <c:pt idx="17">
                  <c:v>0.81</c:v>
                </c:pt>
                <c:pt idx="18">
                  <c:v>0.91</c:v>
                </c:pt>
                <c:pt idx="19">
                  <c:v>0.97</c:v>
                </c:pt>
                <c:pt idx="20">
                  <c:v>0.92</c:v>
                </c:pt>
                <c:pt idx="21">
                  <c:v>0.95</c:v>
                </c:pt>
                <c:pt idx="22">
                  <c:v>0.97</c:v>
                </c:pt>
                <c:pt idx="23">
                  <c:v>1</c:v>
                </c:pt>
                <c:pt idx="24">
                  <c:v>0.84</c:v>
                </c:pt>
                <c:pt idx="25">
                  <c:v>0.96</c:v>
                </c:pt>
                <c:pt idx="26">
                  <c:v>0.98</c:v>
                </c:pt>
                <c:pt idx="27">
                  <c:v>0.99</c:v>
                </c:pt>
                <c:pt idx="28">
                  <c:v>0.98</c:v>
                </c:pt>
                <c:pt idx="29">
                  <c:v>0.88</c:v>
                </c:pt>
                <c:pt idx="30">
                  <c:v>0.93</c:v>
                </c:pt>
                <c:pt idx="31">
                  <c:v>0.92</c:v>
                </c:pt>
                <c:pt idx="32">
                  <c:v>0.94</c:v>
                </c:pt>
                <c:pt idx="33">
                  <c:v>0.9</c:v>
                </c:pt>
                <c:pt idx="34">
                  <c:v>0.76</c:v>
                </c:pt>
                <c:pt idx="35">
                  <c:v>0.94</c:v>
                </c:pt>
                <c:pt idx="36">
                  <c:v>0.71</c:v>
                </c:pt>
                <c:pt idx="37">
                  <c:v>0.88</c:v>
                </c:pt>
                <c:pt idx="38">
                  <c:v>0.92</c:v>
                </c:pt>
                <c:pt idx="39">
                  <c:v>0.96</c:v>
                </c:pt>
                <c:pt idx="40">
                  <c:v>0.91</c:v>
                </c:pt>
                <c:pt idx="41">
                  <c:v>0.94</c:v>
                </c:pt>
                <c:pt idx="42">
                  <c:v>0.79</c:v>
                </c:pt>
                <c:pt idx="43">
                  <c:v>0.99</c:v>
                </c:pt>
                <c:pt idx="44">
                  <c:v>0.75</c:v>
                </c:pt>
                <c:pt idx="45">
                  <c:v>0.87</c:v>
                </c:pt>
                <c:pt idx="46">
                  <c:v>0.95</c:v>
                </c:pt>
                <c:pt idx="47">
                  <c:v>0.65</c:v>
                </c:pt>
                <c:pt idx="48">
                  <c:v>0.89</c:v>
                </c:pt>
                <c:pt idx="49">
                  <c:v>0.93</c:v>
                </c:pt>
                <c:pt idx="50">
                  <c:v>0.87</c:v>
                </c:pt>
                <c:pt idx="51">
                  <c:v>0.99</c:v>
                </c:pt>
                <c:pt idx="52">
                  <c:v>0.67</c:v>
                </c:pt>
                <c:pt idx="53">
                  <c:v>0.84</c:v>
                </c:pt>
                <c:pt idx="54">
                  <c:v>0.92</c:v>
                </c:pt>
                <c:pt idx="55">
                  <c:v>0.88</c:v>
                </c:pt>
                <c:pt idx="56">
                  <c:v>0.84</c:v>
                </c:pt>
                <c:pt idx="57">
                  <c:v>0.31</c:v>
                </c:pt>
                <c:pt idx="58">
                  <c:v>0.96</c:v>
                </c:pt>
                <c:pt idx="59">
                  <c:v>0.91</c:v>
                </c:pt>
                <c:pt idx="60">
                  <c:v>0.83</c:v>
                </c:pt>
                <c:pt idx="61">
                  <c:v>0.83</c:v>
                </c:pt>
                <c:pt idx="62">
                  <c:v>0.87</c:v>
                </c:pt>
                <c:pt idx="63">
                  <c:v>0.99</c:v>
                </c:pt>
                <c:pt idx="64">
                  <c:v>0.77</c:v>
                </c:pt>
                <c:pt idx="65">
                  <c:v>0.94</c:v>
                </c:pt>
                <c:pt idx="66">
                  <c:v>0.47</c:v>
                </c:pt>
                <c:pt idx="67">
                  <c:v>0.67</c:v>
                </c:pt>
                <c:pt idx="68">
                  <c:v>0.99</c:v>
                </c:pt>
                <c:pt idx="69">
                  <c:v>0.87</c:v>
                </c:pt>
                <c:pt idx="70">
                  <c:v>0.87</c:v>
                </c:pt>
                <c:pt idx="71">
                  <c:v>0.2</c:v>
                </c:pt>
                <c:pt idx="72">
                  <c:v>0.6</c:v>
                </c:pt>
                <c:pt idx="73">
                  <c:v>0.73</c:v>
                </c:pt>
                <c:pt idx="74">
                  <c:v>0.95</c:v>
                </c:pt>
                <c:pt idx="75">
                  <c:v>0.68</c:v>
                </c:pt>
                <c:pt idx="76">
                  <c:v>0.72</c:v>
                </c:pt>
                <c:pt idx="77">
                  <c:v>0.46</c:v>
                </c:pt>
                <c:pt idx="78">
                  <c:v>0.94</c:v>
                </c:pt>
                <c:pt idx="79">
                  <c:v>0.22</c:v>
                </c:pt>
                <c:pt idx="80">
                  <c:v>0.93</c:v>
                </c:pt>
                <c:pt idx="81">
                  <c:v>0.42</c:v>
                </c:pt>
                <c:pt idx="82">
                  <c:v>0.9</c:v>
                </c:pt>
                <c:pt idx="83">
                  <c:v>0.93</c:v>
                </c:pt>
                <c:pt idx="84">
                  <c:v>0.91</c:v>
                </c:pt>
                <c:pt idx="85">
                  <c:v>0.77</c:v>
                </c:pt>
                <c:pt idx="86">
                  <c:v>0.75</c:v>
                </c:pt>
                <c:pt idx="87">
                  <c:v>0.68</c:v>
                </c:pt>
                <c:pt idx="88">
                  <c:v>0.89</c:v>
                </c:pt>
                <c:pt idx="89">
                  <c:v>0.57999999999999996</c:v>
                </c:pt>
                <c:pt idx="90">
                  <c:v>0.09</c:v>
                </c:pt>
                <c:pt idx="91">
                  <c:v>0.44</c:v>
                </c:pt>
                <c:pt idx="92">
                  <c:v>0.7</c:v>
                </c:pt>
                <c:pt idx="93">
                  <c:v>0.38</c:v>
                </c:pt>
                <c:pt idx="94">
                  <c:v>0.46</c:v>
                </c:pt>
                <c:pt idx="95">
                  <c:v>0.38</c:v>
                </c:pt>
                <c:pt idx="96">
                  <c:v>7.0000000000000007E-2</c:v>
                </c:pt>
                <c:pt idx="97">
                  <c:v>0.28000000000000003</c:v>
                </c:pt>
                <c:pt idx="98">
                  <c:v>0.2</c:v>
                </c:pt>
                <c:pt idx="99">
                  <c:v>0.67</c:v>
                </c:pt>
                <c:pt idx="100">
                  <c:v>0.41</c:v>
                </c:pt>
                <c:pt idx="101">
                  <c:v>0.81</c:v>
                </c:pt>
                <c:pt idx="102">
                  <c:v>0.32</c:v>
                </c:pt>
                <c:pt idx="103">
                  <c:v>0.15</c:v>
                </c:pt>
                <c:pt idx="104">
                  <c:v>0.28000000000000003</c:v>
                </c:pt>
                <c:pt idx="105">
                  <c:v>0.36</c:v>
                </c:pt>
                <c:pt idx="106">
                  <c:v>0.32</c:v>
                </c:pt>
                <c:pt idx="107">
                  <c:v>0.72</c:v>
                </c:pt>
                <c:pt idx="108">
                  <c:v>0.31</c:v>
                </c:pt>
                <c:pt idx="109">
                  <c:v>0.17</c:v>
                </c:pt>
                <c:pt idx="110">
                  <c:v>0.12</c:v>
                </c:pt>
                <c:pt idx="111">
                  <c:v>0.6</c:v>
                </c:pt>
                <c:pt idx="112">
                  <c:v>0.11</c:v>
                </c:pt>
                <c:pt idx="113">
                  <c:v>0.13</c:v>
                </c:pt>
                <c:pt idx="114">
                  <c:v>0.01</c:v>
                </c:pt>
                <c:pt idx="115">
                  <c:v>0.3</c:v>
                </c:pt>
                <c:pt idx="116">
                  <c:v>0.04</c:v>
                </c:pt>
                <c:pt idx="117">
                  <c:v>0.09</c:v>
                </c:pt>
                <c:pt idx="118">
                  <c:v>0.16</c:v>
                </c:pt>
                <c:pt idx="119">
                  <c:v>0.08</c:v>
                </c:pt>
                <c:pt idx="120">
                  <c:v>0.1</c:v>
                </c:pt>
                <c:pt idx="121">
                  <c:v>7.0000000000000007E-2</c:v>
                </c:pt>
                <c:pt idx="122">
                  <c:v>0.34</c:v>
                </c:pt>
                <c:pt idx="123">
                  <c:v>0.15</c:v>
                </c:pt>
                <c:pt idx="124">
                  <c:v>0.3</c:v>
                </c:pt>
                <c:pt idx="125">
                  <c:v>0.49</c:v>
                </c:pt>
                <c:pt idx="126">
                  <c:v>0.09</c:v>
                </c:pt>
                <c:pt idx="127">
                  <c:v>0.1</c:v>
                </c:pt>
                <c:pt idx="128">
                  <c:v>0.09</c:v>
                </c:pt>
                <c:pt idx="129">
                  <c:v>0.04</c:v>
                </c:pt>
                <c:pt idx="130">
                  <c:v>0.11</c:v>
                </c:pt>
                <c:pt idx="131">
                  <c:v>0.09</c:v>
                </c:pt>
                <c:pt idx="132">
                  <c:v>7.0000000000000007E-2</c:v>
                </c:pt>
                <c:pt idx="133">
                  <c:v>0.24</c:v>
                </c:pt>
                <c:pt idx="134">
                  <c:v>0.46</c:v>
                </c:pt>
                <c:pt idx="135">
                  <c:v>0.18</c:v>
                </c:pt>
                <c:pt idx="136">
                  <c:v>0.08</c:v>
                </c:pt>
                <c:pt idx="137">
                  <c:v>0.01</c:v>
                </c:pt>
                <c:pt idx="138">
                  <c:v>0.41</c:v>
                </c:pt>
                <c:pt idx="139">
                  <c:v>0.17</c:v>
                </c:pt>
                <c:pt idx="140">
                  <c:v>0.08</c:v>
                </c:pt>
                <c:pt idx="141">
                  <c:v>0.18</c:v>
                </c:pt>
                <c:pt idx="142">
                  <c:v>0.01</c:v>
                </c:pt>
                <c:pt idx="143">
                  <c:v>0.08</c:v>
                </c:pt>
                <c:pt idx="144">
                  <c:v>7.0000000000000007E-2</c:v>
                </c:pt>
                <c:pt idx="145">
                  <c:v>0.13</c:v>
                </c:pt>
                <c:pt idx="146">
                  <c:v>0.23</c:v>
                </c:pt>
                <c:pt idx="147">
                  <c:v>0.14000000000000001</c:v>
                </c:pt>
                <c:pt idx="148">
                  <c:v>0.1</c:v>
                </c:pt>
                <c:pt idx="149">
                  <c:v>0.04</c:v>
                </c:pt>
                <c:pt idx="150">
                  <c:v>0.04</c:v>
                </c:pt>
                <c:pt idx="151">
                  <c:v>0.14000000000000001</c:v>
                </c:pt>
                <c:pt idx="152">
                  <c:v>0.56999999999999995</c:v>
                </c:pt>
                <c:pt idx="153">
                  <c:v>0.06</c:v>
                </c:pt>
                <c:pt idx="154">
                  <c:v>0.05</c:v>
                </c:pt>
                <c:pt idx="155">
                  <c:v>0.05</c:v>
                </c:pt>
                <c:pt idx="156">
                  <c:v>0.1</c:v>
                </c:pt>
                <c:pt idx="157">
                  <c:v>0.06</c:v>
                </c:pt>
                <c:pt idx="158">
                  <c:v>0.12</c:v>
                </c:pt>
                <c:pt idx="159">
                  <c:v>7.0000000000000007E-2</c:v>
                </c:pt>
                <c:pt idx="160">
                  <c:v>7.0000000000000007E-2</c:v>
                </c:pt>
                <c:pt idx="161">
                  <c:v>0.08</c:v>
                </c:pt>
                <c:pt idx="162">
                  <c:v>0.06</c:v>
                </c:pt>
                <c:pt idx="163">
                  <c:v>7.0000000000000007E-2</c:v>
                </c:pt>
                <c:pt idx="164">
                  <c:v>0.09</c:v>
                </c:pt>
                <c:pt idx="165">
                  <c:v>0.06</c:v>
                </c:pt>
                <c:pt idx="166">
                  <c:v>0.13</c:v>
                </c:pt>
                <c:pt idx="167">
                  <c:v>0.12</c:v>
                </c:pt>
                <c:pt idx="168">
                  <c:v>0.13</c:v>
                </c:pt>
                <c:pt idx="169">
                  <c:v>0.02</c:v>
                </c:pt>
                <c:pt idx="170">
                  <c:v>0.02</c:v>
                </c:pt>
                <c:pt idx="171">
                  <c:v>0.08</c:v>
                </c:pt>
                <c:pt idx="172">
                  <c:v>0.01</c:v>
                </c:pt>
                <c:pt idx="173">
                  <c:v>0.04</c:v>
                </c:pt>
                <c:pt idx="174">
                  <c:v>0.01</c:v>
                </c:pt>
                <c:pt idx="175">
                  <c:v>0.01</c:v>
                </c:pt>
                <c:pt idx="176">
                  <c:v>0.05</c:v>
                </c:pt>
                <c:pt idx="177">
                  <c:v>0.04</c:v>
                </c:pt>
                <c:pt idx="178">
                  <c:v>0.01</c:v>
                </c:pt>
                <c:pt idx="179">
                  <c:v>0.06</c:v>
                </c:pt>
                <c:pt idx="180">
                  <c:v>0.01</c:v>
                </c:pt>
                <c:pt idx="181">
                  <c:v>0.01</c:v>
                </c:pt>
                <c:pt idx="182">
                  <c:v>0.01</c:v>
                </c:pt>
                <c:pt idx="183">
                  <c:v>0.09</c:v>
                </c:pt>
                <c:pt idx="184">
                  <c:v>0.01</c:v>
                </c:pt>
                <c:pt idx="185">
                  <c:v>0.03</c:v>
                </c:pt>
                <c:pt idx="186">
                  <c:v>0.03</c:v>
                </c:pt>
                <c:pt idx="187">
                  <c:v>7.0000000000000007E-2</c:v>
                </c:pt>
                <c:pt idx="188">
                  <c:v>0.05</c:v>
                </c:pt>
                <c:pt idx="189">
                  <c:v>0.02</c:v>
                </c:pt>
                <c:pt idx="190">
                  <c:v>0.01</c:v>
                </c:pt>
                <c:pt idx="191">
                  <c:v>0.03</c:v>
                </c:pt>
                <c:pt idx="192">
                  <c:v>0.01</c:v>
                </c:pt>
                <c:pt idx="193">
                  <c:v>0.01</c:v>
                </c:pt>
                <c:pt idx="194">
                  <c:v>0.01</c:v>
                </c:pt>
                <c:pt idx="195">
                  <c:v>0.01</c:v>
                </c:pt>
                <c:pt idx="196">
                  <c:v>0.01</c:v>
                </c:pt>
                <c:pt idx="197">
                  <c:v>0.01</c:v>
                </c:pt>
                <c:pt idx="198">
                  <c:v>0.01</c:v>
                </c:pt>
                <c:pt idx="199">
                  <c:v>0.01</c:v>
                </c:pt>
                <c:pt idx="200">
                  <c:v>0.01</c:v>
                </c:pt>
                <c:pt idx="201">
                  <c:v>0.14000000000000001</c:v>
                </c:pt>
                <c:pt idx="202">
                  <c:v>0.02</c:v>
                </c:pt>
                <c:pt idx="203">
                  <c:v>0.09</c:v>
                </c:pt>
                <c:pt idx="204">
                  <c:v>0.01</c:v>
                </c:pt>
                <c:pt idx="205">
                  <c:v>0.01</c:v>
                </c:pt>
                <c:pt idx="206">
                  <c:v>0.11</c:v>
                </c:pt>
                <c:pt idx="207">
                  <c:v>0.01</c:v>
                </c:pt>
                <c:pt idx="208">
                  <c:v>0.01</c:v>
                </c:pt>
                <c:pt idx="209">
                  <c:v>0.01</c:v>
                </c:pt>
                <c:pt idx="210">
                  <c:v>0.02</c:v>
                </c:pt>
                <c:pt idx="211">
                  <c:v>0.01</c:v>
                </c:pt>
                <c:pt idx="21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289C-4CC8-9E35-5CD90268D11F}"/>
              </c:ext>
            </c:extLst>
          </c:dPt>
          <c:dPt>
            <c:idx val="211"/>
            <c:invertIfNegative val="1"/>
            <c:bubble3D val="0"/>
            <c:spPr>
              <a:solidFill>
                <a:srgbClr val="AEABAB"/>
              </a:solidFill>
            </c:spPr>
            <c:extLst>
              <c:ext xmlns:c16="http://schemas.microsoft.com/office/drawing/2014/chart" uri="{C3380CC4-5D6E-409C-BE32-E72D297353CC}">
                <c16:uniqueId val="{000001A9-289C-4CC8-9E35-5CD90268D11F}"/>
              </c:ext>
            </c:extLst>
          </c:dPt>
          <c:dPt>
            <c:idx val="212"/>
            <c:invertIfNegative val="1"/>
            <c:bubble3D val="0"/>
            <c:spPr>
              <a:solidFill>
                <a:srgbClr val="AEABAB"/>
              </a:solidFill>
            </c:spPr>
            <c:extLst>
              <c:ext xmlns:c16="http://schemas.microsoft.com/office/drawing/2014/chart" uri="{C3380CC4-5D6E-409C-BE32-E72D297353CC}">
                <c16:uniqueId val="{000001AB-289C-4CC8-9E35-5CD90268D11F}"/>
              </c:ext>
            </c:extLst>
          </c:dPt>
          <c:cat>
            <c:strRef>
              <c:f>Sheet1!$A$2:$A$214</c:f>
              <c:strCache>
                <c:ptCount val="213"/>
                <c:pt idx="0">
                  <c:v>Galbani</c:v>
                </c:pt>
                <c:pt idx="1">
                  <c:v>Salakis</c:v>
                </c:pt>
                <c:pt idx="2">
                  <c:v>Islos</c:v>
                </c:pt>
                <c:pt idx="3">
                  <c:v>Salakis</c:v>
                </c:pt>
                <c:pt idx="4">
                  <c:v>All Others</c:v>
                </c:pt>
                <c:pt idx="5">
                  <c:v>Galbani</c:v>
                </c:pt>
                <c:pt idx="6">
                  <c:v>Galbani</c:v>
                </c:pt>
                <c:pt idx="7">
                  <c:v>All Others</c:v>
                </c:pt>
                <c:pt idx="8">
                  <c:v>Salakis</c:v>
                </c:pt>
                <c:pt idx="9">
                  <c:v>Casa Azzurr</c:v>
                </c:pt>
                <c:pt idx="10">
                  <c:v>All Others</c:v>
                </c:pt>
                <c:pt idx="11">
                  <c:v>Casa Azzurr</c:v>
                </c:pt>
                <c:pt idx="12">
                  <c:v>Salakis</c:v>
                </c:pt>
                <c:pt idx="13">
                  <c:v>Galbani</c:v>
                </c:pt>
                <c:pt idx="14">
                  <c:v>All Others</c:v>
                </c:pt>
                <c:pt idx="15">
                  <c:v>Casa Azzurr</c:v>
                </c:pt>
                <c:pt idx="16">
                  <c:v>Casa Azzurr</c:v>
                </c:pt>
                <c:pt idx="17">
                  <c:v>Galbani</c:v>
                </c:pt>
                <c:pt idx="18">
                  <c:v>All Others</c:v>
                </c:pt>
                <c:pt idx="19">
                  <c:v>Casa Azzurr</c:v>
                </c:pt>
                <c:pt idx="20">
                  <c:v>Casa Azzurr</c:v>
                </c:pt>
                <c:pt idx="21">
                  <c:v>Salakis</c:v>
                </c:pt>
                <c:pt idx="22">
                  <c:v>Galbani</c:v>
                </c:pt>
                <c:pt idx="23">
                  <c:v>Boursin</c:v>
                </c:pt>
                <c:pt idx="24">
                  <c:v>All Others</c:v>
                </c:pt>
                <c:pt idx="25">
                  <c:v>Casa Azzurr</c:v>
                </c:pt>
                <c:pt idx="26">
                  <c:v>Salakis</c:v>
                </c:pt>
                <c:pt idx="27">
                  <c:v>Galbani</c:v>
                </c:pt>
                <c:pt idx="28">
                  <c:v>Casa Azzurr</c:v>
                </c:pt>
                <c:pt idx="29">
                  <c:v>Salakis</c:v>
                </c:pt>
                <c:pt idx="30">
                  <c:v>Casa Azzurr</c:v>
                </c:pt>
                <c:pt idx="31">
                  <c:v>Casa Azzurr</c:v>
                </c:pt>
                <c:pt idx="32">
                  <c:v>All Others</c:v>
                </c:pt>
                <c:pt idx="33">
                  <c:v>Casa Azzurr</c:v>
                </c:pt>
                <c:pt idx="34">
                  <c:v>Casa Azzurr</c:v>
                </c:pt>
                <c:pt idx="35">
                  <c:v>Galbani</c:v>
                </c:pt>
                <c:pt idx="36">
                  <c:v>All Others</c:v>
                </c:pt>
                <c:pt idx="37">
                  <c:v>Galbani</c:v>
                </c:pt>
                <c:pt idx="38">
                  <c:v>Lactalis: A</c:v>
                </c:pt>
                <c:pt idx="39">
                  <c:v>All Others</c:v>
                </c:pt>
                <c:pt idx="40">
                  <c:v>All Others</c:v>
                </c:pt>
                <c:pt idx="41">
                  <c:v>All Others</c:v>
                </c:pt>
                <c:pt idx="42">
                  <c:v>All Others</c:v>
                </c:pt>
                <c:pt idx="43">
                  <c:v>Galbani</c:v>
                </c:pt>
                <c:pt idx="44">
                  <c:v>Galbani</c:v>
                </c:pt>
                <c:pt idx="45">
                  <c:v>All Others</c:v>
                </c:pt>
                <c:pt idx="46">
                  <c:v>All Others</c:v>
                </c:pt>
                <c:pt idx="47">
                  <c:v>All Others</c:v>
                </c:pt>
                <c:pt idx="48">
                  <c:v>All Others</c:v>
                </c:pt>
                <c:pt idx="49">
                  <c:v>Islos</c:v>
                </c:pt>
                <c:pt idx="50">
                  <c:v>All Others</c:v>
                </c:pt>
                <c:pt idx="51">
                  <c:v>Boursin</c:v>
                </c:pt>
                <c:pt idx="52">
                  <c:v>All Others</c:v>
                </c:pt>
                <c:pt idx="53">
                  <c:v>All Others</c:v>
                </c:pt>
                <c:pt idx="54">
                  <c:v>Casa Azzurr</c:v>
                </c:pt>
                <c:pt idx="55">
                  <c:v>Casa Azzurr</c:v>
                </c:pt>
                <c:pt idx="56">
                  <c:v>Casa Azzurr</c:v>
                </c:pt>
                <c:pt idx="57">
                  <c:v>All Others</c:v>
                </c:pt>
                <c:pt idx="58">
                  <c:v>All Others</c:v>
                </c:pt>
                <c:pt idx="59">
                  <c:v>All Others</c:v>
                </c:pt>
                <c:pt idx="60">
                  <c:v>All Others</c:v>
                </c:pt>
                <c:pt idx="61">
                  <c:v>All Others</c:v>
                </c:pt>
                <c:pt idx="62">
                  <c:v>All Others</c:v>
                </c:pt>
                <c:pt idx="63">
                  <c:v>Boursin</c:v>
                </c:pt>
                <c:pt idx="64">
                  <c:v>Galbani</c:v>
                </c:pt>
                <c:pt idx="65">
                  <c:v>All Others</c:v>
                </c:pt>
                <c:pt idx="66">
                  <c:v>Galbani</c:v>
                </c:pt>
                <c:pt idx="67">
                  <c:v>All Others</c:v>
                </c:pt>
                <c:pt idx="68">
                  <c:v>Islos</c:v>
                </c:pt>
                <c:pt idx="69">
                  <c:v>All Others</c:v>
                </c:pt>
                <c:pt idx="70">
                  <c:v>All Others</c:v>
                </c:pt>
                <c:pt idx="71">
                  <c:v>All Others</c:v>
                </c:pt>
                <c:pt idx="72">
                  <c:v>All Others</c:v>
                </c:pt>
                <c:pt idx="73">
                  <c:v>Salakis</c:v>
                </c:pt>
                <c:pt idx="74">
                  <c:v>All Others</c:v>
                </c:pt>
                <c:pt idx="75">
                  <c:v>All Others</c:v>
                </c:pt>
                <c:pt idx="76">
                  <c:v>All Others</c:v>
                </c:pt>
                <c:pt idx="77">
                  <c:v>All Others</c:v>
                </c:pt>
                <c:pt idx="78">
                  <c:v>Boursin</c:v>
                </c:pt>
                <c:pt idx="79">
                  <c:v>All Others</c:v>
                </c:pt>
                <c:pt idx="80">
                  <c:v>Boursin</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Casa Azzurr</c:v>
                </c:pt>
                <c:pt idx="92">
                  <c:v>Salakis</c:v>
                </c:pt>
                <c:pt idx="93">
                  <c:v>All Others</c:v>
                </c:pt>
                <c:pt idx="94">
                  <c:v>All Others</c:v>
                </c:pt>
                <c:pt idx="95">
                  <c:v>All Others</c:v>
                </c:pt>
                <c:pt idx="96">
                  <c:v>All Others</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All Others</c:v>
                </c:pt>
                <c:pt idx="111">
                  <c:v>All Others</c:v>
                </c:pt>
                <c:pt idx="112">
                  <c:v>All Others</c:v>
                </c:pt>
                <c:pt idx="113">
                  <c:v>Casa Azzurr</c:v>
                </c:pt>
                <c:pt idx="114">
                  <c:v>All Others</c:v>
                </c:pt>
                <c:pt idx="115">
                  <c:v>Lactalis: A</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Salakis</c:v>
                </c:pt>
                <c:pt idx="126">
                  <c:v>All Others</c:v>
                </c:pt>
                <c:pt idx="127">
                  <c:v>All Others</c:v>
                </c:pt>
                <c:pt idx="128">
                  <c:v>All Others</c:v>
                </c:pt>
                <c:pt idx="129">
                  <c:v>All Others</c:v>
                </c:pt>
                <c:pt idx="130">
                  <c:v>All Others</c:v>
                </c:pt>
                <c:pt idx="131">
                  <c:v>All Others</c:v>
                </c:pt>
                <c:pt idx="132">
                  <c:v>All Others</c:v>
                </c:pt>
                <c:pt idx="133">
                  <c:v>Lactalis: A</c:v>
                </c:pt>
                <c:pt idx="134">
                  <c:v>Salakis</c:v>
                </c:pt>
                <c:pt idx="135">
                  <c:v>All Others</c:v>
                </c:pt>
                <c:pt idx="136">
                  <c:v>All Others</c:v>
                </c:pt>
                <c:pt idx="137">
                  <c:v>All Others</c:v>
                </c:pt>
                <c:pt idx="138">
                  <c:v>Islos</c:v>
                </c:pt>
                <c:pt idx="139">
                  <c:v>All Others</c:v>
                </c:pt>
                <c:pt idx="140">
                  <c:v>All Others</c:v>
                </c:pt>
                <c:pt idx="141">
                  <c:v>All Others</c:v>
                </c:pt>
                <c:pt idx="142">
                  <c:v>All Others</c:v>
                </c:pt>
                <c:pt idx="143">
                  <c:v>All Others</c:v>
                </c:pt>
                <c:pt idx="144">
                  <c:v>All Others</c:v>
                </c:pt>
                <c:pt idx="145">
                  <c:v>All Others</c:v>
                </c:pt>
                <c:pt idx="146">
                  <c:v>Casa Azzurr</c:v>
                </c:pt>
                <c:pt idx="147">
                  <c:v>All Others</c:v>
                </c:pt>
                <c:pt idx="148">
                  <c:v>All Others</c:v>
                </c:pt>
                <c:pt idx="149">
                  <c:v>All Others</c:v>
                </c:pt>
                <c:pt idx="150">
                  <c:v>All Others</c:v>
                </c:pt>
                <c:pt idx="151">
                  <c:v>All Others</c:v>
                </c:pt>
                <c:pt idx="152">
                  <c:v>All Others</c:v>
                </c:pt>
                <c:pt idx="153">
                  <c:v>All Others</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All Others</c:v>
                </c:pt>
                <c:pt idx="169">
                  <c:v>All Others</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All Others</c:v>
                </c:pt>
                <c:pt idx="181">
                  <c:v>All Others</c:v>
                </c:pt>
                <c:pt idx="182">
                  <c:v>All Others</c:v>
                </c:pt>
                <c:pt idx="183">
                  <c:v>All Others</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All Others</c:v>
                </c:pt>
                <c:pt idx="194">
                  <c:v>All Others</c:v>
                </c:pt>
                <c:pt idx="195">
                  <c:v>All Others</c:v>
                </c:pt>
                <c:pt idx="196">
                  <c:v>All Others</c:v>
                </c:pt>
                <c:pt idx="197">
                  <c:v>Salakis</c:v>
                </c:pt>
                <c:pt idx="198">
                  <c:v>Societe</c:v>
                </c:pt>
                <c:pt idx="199">
                  <c:v>All Others</c:v>
                </c:pt>
                <c:pt idx="200">
                  <c:v>All Others</c:v>
                </c:pt>
                <c:pt idx="201">
                  <c:v>All Others</c:v>
                </c:pt>
                <c:pt idx="202">
                  <c:v>All Others</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strCache>
            </c:strRef>
          </c:cat>
          <c:val>
            <c:numRef>
              <c:f>Sheet1!$C$2:$C$214</c:f>
              <c:numCache>
                <c:formatCode>General</c:formatCode>
                <c:ptCount val="213"/>
                <c:pt idx="0">
                  <c:v>0.39041684971040563</c:v>
                </c:pt>
                <c:pt idx="1">
                  <c:v>0.41364600570831433</c:v>
                </c:pt>
                <c:pt idx="2">
                  <c:v>0.47583654792396746</c:v>
                </c:pt>
                <c:pt idx="3">
                  <c:v>0.49489204164203593</c:v>
                </c:pt>
                <c:pt idx="4">
                  <c:v>0.54591284705254872</c:v>
                </c:pt>
                <c:pt idx="5">
                  <c:v>0.56191455574217075</c:v>
                </c:pt>
                <c:pt idx="6">
                  <c:v>0.57694683691290227</c:v>
                </c:pt>
                <c:pt idx="7">
                  <c:v>0.59197316959156776</c:v>
                </c:pt>
                <c:pt idx="8">
                  <c:v>0.63451537134521863</c:v>
                </c:pt>
                <c:pt idx="9">
                  <c:v>0.64684453403959807</c:v>
                </c:pt>
                <c:pt idx="10">
                  <c:v>0.6568405332369639</c:v>
                </c:pt>
                <c:pt idx="11">
                  <c:v>0.6664546804708591</c:v>
                </c:pt>
                <c:pt idx="12">
                  <c:v>0.67606720806582543</c:v>
                </c:pt>
                <c:pt idx="13">
                  <c:v>0.68533236728251623</c:v>
                </c:pt>
                <c:pt idx="14">
                  <c:v>0.69445164120368508</c:v>
                </c:pt>
                <c:pt idx="15">
                  <c:v>0.70310596096034106</c:v>
                </c:pt>
                <c:pt idx="16">
                  <c:v>0.71168159571303369</c:v>
                </c:pt>
                <c:pt idx="17">
                  <c:v>0.72024674698465929</c:v>
                </c:pt>
                <c:pt idx="18">
                  <c:v>0.72863108765586004</c:v>
                </c:pt>
                <c:pt idx="19">
                  <c:v>0.73651295743535883</c:v>
                </c:pt>
                <c:pt idx="20">
                  <c:v>0.74381084431306188</c:v>
                </c:pt>
                <c:pt idx="21">
                  <c:v>0.75107130280751744</c:v>
                </c:pt>
                <c:pt idx="22">
                  <c:v>0.75800695007677965</c:v>
                </c:pt>
                <c:pt idx="23">
                  <c:v>0.76449239661977231</c:v>
                </c:pt>
                <c:pt idx="24">
                  <c:v>0.77096244186895024</c:v>
                </c:pt>
                <c:pt idx="25">
                  <c:v>0.77730226814824566</c:v>
                </c:pt>
                <c:pt idx="26">
                  <c:v>0.78356623642970802</c:v>
                </c:pt>
                <c:pt idx="27">
                  <c:v>0.78963564190384028</c:v>
                </c:pt>
                <c:pt idx="28">
                  <c:v>0.79536115386139894</c:v>
                </c:pt>
                <c:pt idx="29">
                  <c:v>0.80103725210763621</c:v>
                </c:pt>
                <c:pt idx="30">
                  <c:v>0.80664573779058757</c:v>
                </c:pt>
                <c:pt idx="31">
                  <c:v>0.81722633829734026</c:v>
                </c:pt>
                <c:pt idx="32">
                  <c:v>0.82231712848265814</c:v>
                </c:pt>
                <c:pt idx="33">
                  <c:v>0.82719459749705126</c:v>
                </c:pt>
                <c:pt idx="34">
                  <c:v>0.83203322462513163</c:v>
                </c:pt>
                <c:pt idx="35">
                  <c:v>0.83666966191892578</c:v>
                </c:pt>
                <c:pt idx="36">
                  <c:v>0.84110128850816701</c:v>
                </c:pt>
                <c:pt idx="37">
                  <c:v>0.84537162850807157</c:v>
                </c:pt>
                <c:pt idx="38">
                  <c:v>0.84953884168017679</c:v>
                </c:pt>
                <c:pt idx="39">
                  <c:v>0.85720285529974993</c:v>
                </c:pt>
                <c:pt idx="40">
                  <c:v>0.86102052094302073</c:v>
                </c:pt>
                <c:pt idx="41">
                  <c:v>0.8647303480816082</c:v>
                </c:pt>
                <c:pt idx="42">
                  <c:v>0.8683883762224518</c:v>
                </c:pt>
                <c:pt idx="43">
                  <c:v>0.87187578276413225</c:v>
                </c:pt>
                <c:pt idx="44">
                  <c:v>0.8752885975711423</c:v>
                </c:pt>
                <c:pt idx="45">
                  <c:v>0.87868674728385077</c:v>
                </c:pt>
                <c:pt idx="46">
                  <c:v>0.88207777058527215</c:v>
                </c:pt>
                <c:pt idx="47">
                  <c:v>0.88546690921593985</c:v>
                </c:pt>
                <c:pt idx="48">
                  <c:v>0.88872485709336768</c:v>
                </c:pt>
                <c:pt idx="49">
                  <c:v>0.89193421580292886</c:v>
                </c:pt>
                <c:pt idx="50">
                  <c:v>0.89503458753656617</c:v>
                </c:pt>
                <c:pt idx="51">
                  <c:v>0.89808092222593972</c:v>
                </c:pt>
                <c:pt idx="52">
                  <c:v>0.90112101394344191</c:v>
                </c:pt>
                <c:pt idx="53">
                  <c:v>0.90402926705213271</c:v>
                </c:pt>
                <c:pt idx="54">
                  <c:v>0.90693286737990053</c:v>
                </c:pt>
                <c:pt idx="55">
                  <c:v>0.90958250832361875</c:v>
                </c:pt>
                <c:pt idx="56">
                  <c:v>0.91223076521225233</c:v>
                </c:pt>
                <c:pt idx="57">
                  <c:v>0.91483290656338334</c:v>
                </c:pt>
                <c:pt idx="58">
                  <c:v>0.91734844140378968</c:v>
                </c:pt>
                <c:pt idx="59">
                  <c:v>0.91971429215918632</c:v>
                </c:pt>
                <c:pt idx="60">
                  <c:v>0.92207599074932889</c:v>
                </c:pt>
                <c:pt idx="61">
                  <c:v>0.92441795919251957</c:v>
                </c:pt>
                <c:pt idx="62">
                  <c:v>0.926746175428805</c:v>
                </c:pt>
                <c:pt idx="63">
                  <c:v>0.92905118665643649</c:v>
                </c:pt>
                <c:pt idx="64">
                  <c:v>0.93134995491219663</c:v>
                </c:pt>
                <c:pt idx="65">
                  <c:v>0.93349559366922563</c:v>
                </c:pt>
                <c:pt idx="66">
                  <c:v>0.9354607752015961</c:v>
                </c:pt>
                <c:pt idx="67">
                  <c:v>0.93741029040832713</c:v>
                </c:pt>
                <c:pt idx="68">
                  <c:v>0.93931224712650985</c:v>
                </c:pt>
                <c:pt idx="69">
                  <c:v>0.94121164187038697</c:v>
                </c:pt>
                <c:pt idx="70">
                  <c:v>0.94310140712463231</c:v>
                </c:pt>
                <c:pt idx="71">
                  <c:v>0.94475759099735157</c:v>
                </c:pt>
                <c:pt idx="72">
                  <c:v>0.94639333797158631</c:v>
                </c:pt>
                <c:pt idx="73">
                  <c:v>0.94796762701046489</c:v>
                </c:pt>
                <c:pt idx="74">
                  <c:v>0.9495206546074042</c:v>
                </c:pt>
                <c:pt idx="75">
                  <c:v>0.95102294333389858</c:v>
                </c:pt>
                <c:pt idx="76">
                  <c:v>0.95250544301748008</c:v>
                </c:pt>
                <c:pt idx="77">
                  <c:v>0.95397996229833915</c:v>
                </c:pt>
                <c:pt idx="78">
                  <c:v>0.95685570483653004</c:v>
                </c:pt>
                <c:pt idx="79">
                  <c:v>0.95817099888668922</c:v>
                </c:pt>
                <c:pt idx="80">
                  <c:v>0.95947795915835976</c:v>
                </c:pt>
                <c:pt idx="81">
                  <c:v>0.96070970928776889</c:v>
                </c:pt>
                <c:pt idx="82">
                  <c:v>0.96193380294224151</c:v>
                </c:pt>
                <c:pt idx="83">
                  <c:v>0.96314779593939392</c:v>
                </c:pt>
                <c:pt idx="84">
                  <c:v>0.96435763677129227</c:v>
                </c:pt>
                <c:pt idx="85">
                  <c:v>0.96549323924428654</c:v>
                </c:pt>
                <c:pt idx="86">
                  <c:v>0.96660448823738643</c:v>
                </c:pt>
                <c:pt idx="87">
                  <c:v>0.96769906967350905</c:v>
                </c:pt>
                <c:pt idx="88">
                  <c:v>0.96877171236414039</c:v>
                </c:pt>
                <c:pt idx="89">
                  <c:v>0.96975933873499542</c:v>
                </c:pt>
                <c:pt idx="90">
                  <c:v>0.97073185829184105</c:v>
                </c:pt>
                <c:pt idx="91">
                  <c:v>0.97168458880577369</c:v>
                </c:pt>
                <c:pt idx="92">
                  <c:v>0.97258010189354582</c:v>
                </c:pt>
                <c:pt idx="93">
                  <c:v>0.97346551432399775</c:v>
                </c:pt>
                <c:pt idx="94">
                  <c:v>0.97432056588652816</c:v>
                </c:pt>
                <c:pt idx="95">
                  <c:v>0.97510288093716135</c:v>
                </c:pt>
                <c:pt idx="96">
                  <c:v>0.97587730392901373</c:v>
                </c:pt>
                <c:pt idx="97">
                  <c:v>0.97658473276517122</c:v>
                </c:pt>
                <c:pt idx="98">
                  <c:v>0.97794552394524192</c:v>
                </c:pt>
                <c:pt idx="99">
                  <c:v>0.97860571822063691</c:v>
                </c:pt>
                <c:pt idx="100">
                  <c:v>0.97924853818752211</c:v>
                </c:pt>
                <c:pt idx="101">
                  <c:v>0.97988331885572388</c:v>
                </c:pt>
                <c:pt idx="102">
                  <c:v>0.98050260988616944</c:v>
                </c:pt>
                <c:pt idx="103">
                  <c:v>0.98111182970727528</c:v>
                </c:pt>
                <c:pt idx="104">
                  <c:v>0.98168818558211501</c:v>
                </c:pt>
                <c:pt idx="105">
                  <c:v>0.98224569474941859</c:v>
                </c:pt>
                <c:pt idx="106">
                  <c:v>0.98278002835604883</c:v>
                </c:pt>
                <c:pt idx="107">
                  <c:v>0.9833125361878865</c:v>
                </c:pt>
                <c:pt idx="108">
                  <c:v>0.98384239370147686</c:v>
                </c:pt>
                <c:pt idx="109">
                  <c:v>0.9843618560779418</c:v>
                </c:pt>
                <c:pt idx="110">
                  <c:v>0.98485752448614239</c:v>
                </c:pt>
                <c:pt idx="111">
                  <c:v>0.98534709716237423</c:v>
                </c:pt>
                <c:pt idx="112">
                  <c:v>0.98582656918128597</c:v>
                </c:pt>
                <c:pt idx="113">
                  <c:v>0.98629099328214931</c:v>
                </c:pt>
                <c:pt idx="114">
                  <c:v>0.98671077424453646</c:v>
                </c:pt>
                <c:pt idx="115">
                  <c:v>0.98712369382746112</c:v>
                </c:pt>
                <c:pt idx="116">
                  <c:v>0.98749235309565642</c:v>
                </c:pt>
                <c:pt idx="117">
                  <c:v>0.98785356202477881</c:v>
                </c:pt>
                <c:pt idx="118">
                  <c:v>0.98821256235536181</c:v>
                </c:pt>
                <c:pt idx="119">
                  <c:v>0.9885684117520287</c:v>
                </c:pt>
                <c:pt idx="120">
                  <c:v>0.98891810652076573</c:v>
                </c:pt>
                <c:pt idx="121">
                  <c:v>0.989266240546535</c:v>
                </c:pt>
                <c:pt idx="122">
                  <c:v>0.98960350826749044</c:v>
                </c:pt>
                <c:pt idx="123">
                  <c:v>0.99027127067388043</c:v>
                </c:pt>
                <c:pt idx="124">
                  <c:v>0.99060046964817194</c:v>
                </c:pt>
                <c:pt idx="125">
                  <c:v>0.99090175193692553</c:v>
                </c:pt>
                <c:pt idx="126">
                  <c:v>0.99119152006529376</c:v>
                </c:pt>
                <c:pt idx="127">
                  <c:v>0.99148034585828515</c:v>
                </c:pt>
                <c:pt idx="128">
                  <c:v>0.99175627343580652</c:v>
                </c:pt>
                <c:pt idx="129">
                  <c:v>0.99202631141722286</c:v>
                </c:pt>
                <c:pt idx="130">
                  <c:v>0.99228810396409217</c:v>
                </c:pt>
                <c:pt idx="131">
                  <c:v>0.9925480118402078</c:v>
                </c:pt>
                <c:pt idx="132">
                  <c:v>0.99279475646902871</c:v>
                </c:pt>
                <c:pt idx="133">
                  <c:v>0.99303596487751078</c:v>
                </c:pt>
                <c:pt idx="134">
                  <c:v>0.99327693770214875</c:v>
                </c:pt>
                <c:pt idx="135">
                  <c:v>0.99351293381807793</c:v>
                </c:pt>
                <c:pt idx="136">
                  <c:v>0.99371800955445555</c:v>
                </c:pt>
                <c:pt idx="137">
                  <c:v>0.99391560550377978</c:v>
                </c:pt>
                <c:pt idx="138">
                  <c:v>0.99411246525359087</c:v>
                </c:pt>
                <c:pt idx="139">
                  <c:v>0.99430914831551886</c:v>
                </c:pt>
                <c:pt idx="140">
                  <c:v>0.99450347553900487</c:v>
                </c:pt>
                <c:pt idx="141">
                  <c:v>0.99469491686039935</c:v>
                </c:pt>
                <c:pt idx="142">
                  <c:v>0.9948783188831104</c:v>
                </c:pt>
                <c:pt idx="143">
                  <c:v>0.99506124973813315</c:v>
                </c:pt>
                <c:pt idx="144">
                  <c:v>0.9954164512792284</c:v>
                </c:pt>
                <c:pt idx="145">
                  <c:v>0.9955860127510926</c:v>
                </c:pt>
                <c:pt idx="146">
                  <c:v>0.99575068585818971</c:v>
                </c:pt>
                <c:pt idx="147">
                  <c:v>0.99591055894446112</c:v>
                </c:pt>
                <c:pt idx="148">
                  <c:v>0.9960644835386665</c:v>
                </c:pt>
                <c:pt idx="149">
                  <c:v>0.99621449155146202</c:v>
                </c:pt>
                <c:pt idx="150">
                  <c:v>0.99635054122148858</c:v>
                </c:pt>
                <c:pt idx="151">
                  <c:v>0.99648429394903415</c:v>
                </c:pt>
                <c:pt idx="152">
                  <c:v>0.9966177227487939</c:v>
                </c:pt>
                <c:pt idx="153">
                  <c:v>0.99674190488266878</c:v>
                </c:pt>
                <c:pt idx="154">
                  <c:v>0.99685742931026922</c:v>
                </c:pt>
                <c:pt idx="155">
                  <c:v>0.99696989114789503</c:v>
                </c:pt>
                <c:pt idx="156">
                  <c:v>0.99708144009812461</c:v>
                </c:pt>
                <c:pt idx="157">
                  <c:v>0.99719222340086056</c:v>
                </c:pt>
                <c:pt idx="158">
                  <c:v>0.99730017969746598</c:v>
                </c:pt>
                <c:pt idx="159">
                  <c:v>0.99751408982800116</c:v>
                </c:pt>
                <c:pt idx="160">
                  <c:v>0.99761356510621535</c:v>
                </c:pt>
                <c:pt idx="161">
                  <c:v>0.99770938883484439</c:v>
                </c:pt>
                <c:pt idx="162">
                  <c:v>0.99779254993184763</c:v>
                </c:pt>
                <c:pt idx="163">
                  <c:v>0.99786478582807603</c:v>
                </c:pt>
                <c:pt idx="164">
                  <c:v>0.99793604994094709</c:v>
                </c:pt>
                <c:pt idx="165">
                  <c:v>0.99800510545527876</c:v>
                </c:pt>
                <c:pt idx="166">
                  <c:v>0.99807410207364933</c:v>
                </c:pt>
                <c:pt idx="167">
                  <c:v>0.99813779805552538</c:v>
                </c:pt>
                <c:pt idx="168">
                  <c:v>0.9982602722065298</c:v>
                </c:pt>
                <c:pt idx="169">
                  <c:v>0.99832046387872331</c:v>
                </c:pt>
                <c:pt idx="170">
                  <c:v>0.99837950707967638</c:v>
                </c:pt>
                <c:pt idx="171">
                  <c:v>0.99843846193668784</c:v>
                </c:pt>
                <c:pt idx="172">
                  <c:v>0.99849423641180257</c:v>
                </c:pt>
                <c:pt idx="173">
                  <c:v>0.99854809676818324</c:v>
                </c:pt>
                <c:pt idx="174">
                  <c:v>0.99860069086140124</c:v>
                </c:pt>
                <c:pt idx="175">
                  <c:v>0.99865307881875565</c:v>
                </c:pt>
                <c:pt idx="176">
                  <c:v>0.998704229960928</c:v>
                </c:pt>
                <c:pt idx="177">
                  <c:v>0.9987539676000351</c:v>
                </c:pt>
                <c:pt idx="178">
                  <c:v>0.99880187946434962</c:v>
                </c:pt>
                <c:pt idx="179">
                  <c:v>0.99884510909976065</c:v>
                </c:pt>
                <c:pt idx="180">
                  <c:v>0.99888754363969745</c:v>
                </c:pt>
                <c:pt idx="181">
                  <c:v>0.99892956590790694</c:v>
                </c:pt>
                <c:pt idx="182">
                  <c:v>0.99897135259227221</c:v>
                </c:pt>
                <c:pt idx="183">
                  <c:v>0.99904453082387734</c:v>
                </c:pt>
                <c:pt idx="184">
                  <c:v>0.99911550045694308</c:v>
                </c:pt>
                <c:pt idx="185">
                  <c:v>0.99914930673858604</c:v>
                </c:pt>
                <c:pt idx="186">
                  <c:v>0.99918128724543642</c:v>
                </c:pt>
                <c:pt idx="187">
                  <c:v>0.99924362862020832</c:v>
                </c:pt>
                <c:pt idx="188">
                  <c:v>0.99927369500832453</c:v>
                </c:pt>
                <c:pt idx="189">
                  <c:v>0.99930373194846023</c:v>
                </c:pt>
                <c:pt idx="190">
                  <c:v>0.99933370999263493</c:v>
                </c:pt>
                <c:pt idx="191">
                  <c:v>0.99941657660983285</c:v>
                </c:pt>
                <c:pt idx="192">
                  <c:v>0.99944116567357144</c:v>
                </c:pt>
                <c:pt idx="193">
                  <c:v>0.99946519522568</c:v>
                </c:pt>
                <c:pt idx="194">
                  <c:v>0.99951251813038411</c:v>
                </c:pt>
                <c:pt idx="195">
                  <c:v>0.99957647914408487</c:v>
                </c:pt>
                <c:pt idx="196">
                  <c:v>0.99959467799604951</c:v>
                </c:pt>
                <c:pt idx="197">
                  <c:v>0.9996441211553514</c:v>
                </c:pt>
                <c:pt idx="198">
                  <c:v>0.99966005251281553</c:v>
                </c:pt>
                <c:pt idx="199">
                  <c:v>0.99970331159620718</c:v>
                </c:pt>
                <c:pt idx="200">
                  <c:v>0.99975313757925588</c:v>
                </c:pt>
                <c:pt idx="201">
                  <c:v>0.99977548859647458</c:v>
                </c:pt>
                <c:pt idx="202">
                  <c:v>0.99981297587568319</c:v>
                </c:pt>
                <c:pt idx="203">
                  <c:v>0.99983023239227087</c:v>
                </c:pt>
                <c:pt idx="204">
                  <c:v>0.99983883120258421</c:v>
                </c:pt>
                <c:pt idx="205">
                  <c:v>0.99984719442905334</c:v>
                </c:pt>
                <c:pt idx="206">
                  <c:v>0.99988209028597574</c:v>
                </c:pt>
                <c:pt idx="207">
                  <c:v>0.99991619104742402</c:v>
                </c:pt>
                <c:pt idx="208">
                  <c:v>0.99993403652362234</c:v>
                </c:pt>
                <c:pt idx="209">
                  <c:v>0.9999631900243422</c:v>
                </c:pt>
                <c:pt idx="210">
                  <c:v>0.99996548696682319</c:v>
                </c:pt>
                <c:pt idx="211">
                  <c:v>0.99998368581878783</c:v>
                </c:pt>
                <c:pt idx="212">
                  <c:v>0.9999984687050115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50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51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51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51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51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51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51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51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5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51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51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52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52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52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523.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524.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525.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52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5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528.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529.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530.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531.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532.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533.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534.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535.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536.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5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538.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539.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540.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541.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542.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543.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544.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545.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546.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5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548.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549.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550.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551.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55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55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55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55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55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55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558.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559.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560.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561.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562.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56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564.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565.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566.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56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568.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569.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570.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571.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57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0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9/10/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36.xml"/><Relationship Id="rId6" Type="http://schemas.openxmlformats.org/officeDocument/2006/relationships/chart" Target="../charts/chart2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37.xml"/><Relationship Id="rId6" Type="http://schemas.openxmlformats.org/officeDocument/2006/relationships/chart" Target="../charts/chart2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38.xml"/><Relationship Id="rId6" Type="http://schemas.openxmlformats.org/officeDocument/2006/relationships/chart" Target="../charts/chart2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39.xml"/><Relationship Id="rId6" Type="http://schemas.openxmlformats.org/officeDocument/2006/relationships/chart" Target="../charts/chart2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40.xml"/><Relationship Id="rId6" Type="http://schemas.openxmlformats.org/officeDocument/2006/relationships/chart" Target="../charts/chart2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41.xml"/><Relationship Id="rId6" Type="http://schemas.openxmlformats.org/officeDocument/2006/relationships/chart" Target="../charts/chart2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2.xml"/><Relationship Id="rId6" Type="http://schemas.openxmlformats.org/officeDocument/2006/relationships/chart" Target="../charts/chart2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43.xml"/><Relationship Id="rId6" Type="http://schemas.openxmlformats.org/officeDocument/2006/relationships/chart" Target="../charts/chart2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44.xml"/><Relationship Id="rId6" Type="http://schemas.openxmlformats.org/officeDocument/2006/relationships/chart" Target="../charts/chart2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45.xml"/><Relationship Id="rId6" Type="http://schemas.openxmlformats.org/officeDocument/2006/relationships/chart" Target="../charts/chart2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46.xml"/><Relationship Id="rId6" Type="http://schemas.openxmlformats.org/officeDocument/2006/relationships/chart" Target="../charts/chart2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47.xml"/><Relationship Id="rId6" Type="http://schemas.openxmlformats.org/officeDocument/2006/relationships/chart" Target="../charts/chart2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348.xml"/><Relationship Id="rId6" Type="http://schemas.openxmlformats.org/officeDocument/2006/relationships/chart" Target="../charts/chart2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349.xml"/><Relationship Id="rId6" Type="http://schemas.openxmlformats.org/officeDocument/2006/relationships/chart" Target="../charts/chart2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350.xml"/><Relationship Id="rId6" Type="http://schemas.openxmlformats.org/officeDocument/2006/relationships/chart" Target="../charts/chart2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351.xml"/><Relationship Id="rId6" Type="http://schemas.openxmlformats.org/officeDocument/2006/relationships/chart" Target="../charts/chart2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352.xml"/><Relationship Id="rId6" Type="http://schemas.openxmlformats.org/officeDocument/2006/relationships/chart" Target="../charts/chart2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353.xml"/><Relationship Id="rId6" Type="http://schemas.openxmlformats.org/officeDocument/2006/relationships/chart" Target="../charts/chart2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354.xml"/><Relationship Id="rId6" Type="http://schemas.openxmlformats.org/officeDocument/2006/relationships/chart" Target="../charts/chart2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355.xml"/><Relationship Id="rId6" Type="http://schemas.openxmlformats.org/officeDocument/2006/relationships/chart" Target="../charts/chart2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356.xml"/><Relationship Id="rId6" Type="http://schemas.openxmlformats.org/officeDocument/2006/relationships/chart" Target="../charts/chart2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357.xml"/><Relationship Id="rId6" Type="http://schemas.openxmlformats.org/officeDocument/2006/relationships/chart" Target="../charts/chart2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358.xml"/><Relationship Id="rId6" Type="http://schemas.openxmlformats.org/officeDocument/2006/relationships/chart" Target="../charts/chart2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359.xml"/><Relationship Id="rId6" Type="http://schemas.openxmlformats.org/officeDocument/2006/relationships/chart" Target="../charts/chart2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360.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361.xml"/><Relationship Id="rId6" Type="http://schemas.openxmlformats.org/officeDocument/2006/relationships/chart" Target="../charts/chart2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362.xml"/><Relationship Id="rId6" Type="http://schemas.openxmlformats.org/officeDocument/2006/relationships/chart" Target="../charts/chart2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363.xml"/><Relationship Id="rId6" Type="http://schemas.openxmlformats.org/officeDocument/2006/relationships/chart" Target="../charts/chart2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364.xml"/><Relationship Id="rId6" Type="http://schemas.openxmlformats.org/officeDocument/2006/relationships/chart" Target="../charts/chart2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365.xml"/><Relationship Id="rId6" Type="http://schemas.openxmlformats.org/officeDocument/2006/relationships/chart" Target="../charts/chart2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366.xml"/><Relationship Id="rId6" Type="http://schemas.openxmlformats.org/officeDocument/2006/relationships/chart" Target="../charts/chart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367.xml"/><Relationship Id="rId6" Type="http://schemas.openxmlformats.org/officeDocument/2006/relationships/chart" Target="../charts/chart2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368.xml"/><Relationship Id="rId6" Type="http://schemas.openxmlformats.org/officeDocument/2006/relationships/chart" Target="../charts/chart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69.xml"/><Relationship Id="rId6" Type="http://schemas.openxmlformats.org/officeDocument/2006/relationships/chart" Target="../charts/chart2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370.xml"/><Relationship Id="rId6" Type="http://schemas.openxmlformats.org/officeDocument/2006/relationships/chart" Target="../charts/chart2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371.xml"/><Relationship Id="rId6" Type="http://schemas.openxmlformats.org/officeDocument/2006/relationships/chart" Target="../charts/chart2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372.xml"/><Relationship Id="rId6" Type="http://schemas.openxmlformats.org/officeDocument/2006/relationships/chart" Target="../charts/chart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373.xml"/><Relationship Id="rId6" Type="http://schemas.openxmlformats.org/officeDocument/2006/relationships/chart" Target="../charts/chart2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374.xml"/><Relationship Id="rId6" Type="http://schemas.openxmlformats.org/officeDocument/2006/relationships/chart" Target="../charts/chart2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375.xml"/><Relationship Id="rId6" Type="http://schemas.openxmlformats.org/officeDocument/2006/relationships/chart" Target="../charts/chart2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376.xml"/><Relationship Id="rId6" Type="http://schemas.openxmlformats.org/officeDocument/2006/relationships/chart" Target="../charts/chart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377.xml"/><Relationship Id="rId6" Type="http://schemas.openxmlformats.org/officeDocument/2006/relationships/chart" Target="../charts/chart2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1.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378.xml"/><Relationship Id="rId6" Type="http://schemas.openxmlformats.org/officeDocument/2006/relationships/chart" Target="../charts/chart2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379.xml"/><Relationship Id="rId6" Type="http://schemas.openxmlformats.org/officeDocument/2006/relationships/chart" Target="../charts/chart3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3.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380.xml"/><Relationship Id="rId6" Type="http://schemas.openxmlformats.org/officeDocument/2006/relationships/chart" Target="../charts/chart3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4.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381.xml"/><Relationship Id="rId6" Type="http://schemas.openxmlformats.org/officeDocument/2006/relationships/chart" Target="../charts/chart3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5.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382.xml"/><Relationship Id="rId6" Type="http://schemas.openxmlformats.org/officeDocument/2006/relationships/chart" Target="../charts/chart3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6.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383.xml"/><Relationship Id="rId6" Type="http://schemas.openxmlformats.org/officeDocument/2006/relationships/chart" Target="../charts/chart3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7.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384.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8.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385.xml"/><Relationship Id="rId6" Type="http://schemas.openxmlformats.org/officeDocument/2006/relationships/chart" Target="../charts/chart3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9.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386.xml"/><Relationship Id="rId6" Type="http://schemas.openxmlformats.org/officeDocument/2006/relationships/chart" Target="../charts/chart3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387.xml"/><Relationship Id="rId6" Type="http://schemas.openxmlformats.org/officeDocument/2006/relationships/chart" Target="../charts/chart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388.xml"/><Relationship Id="rId6" Type="http://schemas.openxmlformats.org/officeDocument/2006/relationships/chart" Target="../charts/chart3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2.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389.xml"/><Relationship Id="rId6" Type="http://schemas.openxmlformats.org/officeDocument/2006/relationships/chart" Target="../charts/chart3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3.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390.xml"/><Relationship Id="rId6" Type="http://schemas.openxmlformats.org/officeDocument/2006/relationships/chart" Target="../charts/chart3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391.xml"/><Relationship Id="rId6" Type="http://schemas.openxmlformats.org/officeDocument/2006/relationships/chart" Target="../charts/chart3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5.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392.xml"/><Relationship Id="rId6" Type="http://schemas.openxmlformats.org/officeDocument/2006/relationships/chart" Target="../charts/chart3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393.xml"/><Relationship Id="rId6" Type="http://schemas.openxmlformats.org/officeDocument/2006/relationships/chart" Target="../charts/chart3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7.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394.xml"/><Relationship Id="rId6" Type="http://schemas.openxmlformats.org/officeDocument/2006/relationships/chart" Target="../charts/chart3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395.xml"/><Relationship Id="rId6" Type="http://schemas.openxmlformats.org/officeDocument/2006/relationships/chart" Target="../charts/chart3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396.xml"/><Relationship Id="rId6" Type="http://schemas.openxmlformats.org/officeDocument/2006/relationships/chart" Target="../charts/chart3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397.xml"/><Relationship Id="rId6" Type="http://schemas.openxmlformats.org/officeDocument/2006/relationships/chart" Target="../charts/chart3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398.xml"/><Relationship Id="rId6" Type="http://schemas.openxmlformats.org/officeDocument/2006/relationships/chart" Target="../charts/chart3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399.xml"/><Relationship Id="rId6" Type="http://schemas.openxmlformats.org/officeDocument/2006/relationships/chart" Target="../charts/chart3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3.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400.xml"/><Relationship Id="rId6" Type="http://schemas.openxmlformats.org/officeDocument/2006/relationships/chart" Target="../charts/chart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401.xml"/><Relationship Id="rId6" Type="http://schemas.openxmlformats.org/officeDocument/2006/relationships/chart" Target="../charts/chart3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402.xml"/><Relationship Id="rId6" Type="http://schemas.openxmlformats.org/officeDocument/2006/relationships/chart" Target="../charts/chart3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403.xml"/><Relationship Id="rId6" Type="http://schemas.openxmlformats.org/officeDocument/2006/relationships/chart" Target="../charts/chart3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404.xml"/><Relationship Id="rId6" Type="http://schemas.openxmlformats.org/officeDocument/2006/relationships/chart" Target="../charts/chart3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405.xml"/><Relationship Id="rId6" Type="http://schemas.openxmlformats.org/officeDocument/2006/relationships/chart" Target="../charts/chart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9.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406.xml"/><Relationship Id="rId6" Type="http://schemas.openxmlformats.org/officeDocument/2006/relationships/chart" Target="../charts/chart3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407.xml"/><Relationship Id="rId6" Type="http://schemas.openxmlformats.org/officeDocument/2006/relationships/chart" Target="../charts/chart3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1.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408.xml"/><Relationship Id="rId6" Type="http://schemas.openxmlformats.org/officeDocument/2006/relationships/chart" Target="../charts/chart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2.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409.xml"/><Relationship Id="rId6" Type="http://schemas.openxmlformats.org/officeDocument/2006/relationships/chart" Target="../charts/chart3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410.xml"/><Relationship Id="rId6" Type="http://schemas.openxmlformats.org/officeDocument/2006/relationships/chart" Target="../charts/chart3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4.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411.xml"/><Relationship Id="rId6" Type="http://schemas.openxmlformats.org/officeDocument/2006/relationships/chart" Target="../charts/chart3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5.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412.xml"/><Relationship Id="rId6" Type="http://schemas.openxmlformats.org/officeDocument/2006/relationships/chart" Target="../charts/chart3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6.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413.xml"/><Relationship Id="rId6" Type="http://schemas.openxmlformats.org/officeDocument/2006/relationships/chart" Target="../charts/chart3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7.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414.xml"/><Relationship Id="rId6" Type="http://schemas.openxmlformats.org/officeDocument/2006/relationships/chart" Target="../charts/chart3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8.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415.xml"/><Relationship Id="rId6" Type="http://schemas.openxmlformats.org/officeDocument/2006/relationships/chart" Target="../charts/chart3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9.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416.xml"/><Relationship Id="rId6" Type="http://schemas.openxmlformats.org/officeDocument/2006/relationships/chart" Target="../charts/chart3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417.xml"/><Relationship Id="rId6" Type="http://schemas.openxmlformats.org/officeDocument/2006/relationships/chart" Target="../charts/chart3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1.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418.xml"/><Relationship Id="rId6" Type="http://schemas.openxmlformats.org/officeDocument/2006/relationships/chart" Target="../charts/chart3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2.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419.xml"/><Relationship Id="rId6" Type="http://schemas.openxmlformats.org/officeDocument/2006/relationships/chart" Target="../charts/chart3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3.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420.xml"/><Relationship Id="rId6" Type="http://schemas.openxmlformats.org/officeDocument/2006/relationships/chart" Target="../charts/chart3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4.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421.xml"/><Relationship Id="rId6" Type="http://schemas.openxmlformats.org/officeDocument/2006/relationships/chart" Target="../charts/chart3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5.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422.xml"/><Relationship Id="rId6" Type="http://schemas.openxmlformats.org/officeDocument/2006/relationships/chart" Target="../charts/chart3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6.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423.xml"/><Relationship Id="rId6" Type="http://schemas.openxmlformats.org/officeDocument/2006/relationships/chart" Target="../charts/chart3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7.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424.xml"/><Relationship Id="rId6" Type="http://schemas.openxmlformats.org/officeDocument/2006/relationships/chart" Target="../charts/chart3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8.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425.xml"/><Relationship Id="rId6" Type="http://schemas.openxmlformats.org/officeDocument/2006/relationships/chart" Target="../charts/chart3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9.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426.xml"/><Relationship Id="rId6" Type="http://schemas.openxmlformats.org/officeDocument/2006/relationships/chart" Target="../charts/chart3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427.xml"/><Relationship Id="rId6" Type="http://schemas.openxmlformats.org/officeDocument/2006/relationships/chart" Target="../charts/chart3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1.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428.xml"/><Relationship Id="rId6" Type="http://schemas.openxmlformats.org/officeDocument/2006/relationships/chart" Target="../charts/chart3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2.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429.xml"/><Relationship Id="rId6" Type="http://schemas.openxmlformats.org/officeDocument/2006/relationships/chart" Target="../charts/chart3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3.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430.xml"/><Relationship Id="rId6" Type="http://schemas.openxmlformats.org/officeDocument/2006/relationships/chart" Target="../charts/chart3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4.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431.xml"/><Relationship Id="rId6" Type="http://schemas.openxmlformats.org/officeDocument/2006/relationships/chart" Target="../charts/chart3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5.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432.xml"/><Relationship Id="rId6" Type="http://schemas.openxmlformats.org/officeDocument/2006/relationships/chart" Target="../charts/chart3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6.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433.xml"/><Relationship Id="rId6" Type="http://schemas.openxmlformats.org/officeDocument/2006/relationships/chart" Target="../charts/chart3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7.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434.xml"/><Relationship Id="rId6" Type="http://schemas.openxmlformats.org/officeDocument/2006/relationships/chart" Target="../charts/chart3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8.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435.xml"/><Relationship Id="rId6" Type="http://schemas.openxmlformats.org/officeDocument/2006/relationships/chart" Target="../charts/chart3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357.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358.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359.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360.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361.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362.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363.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364.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365.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366.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367.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368.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369.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370.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371.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372.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373.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374.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375.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376.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377.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378.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379.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380.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381.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382.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383.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384.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385.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386.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38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388.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389.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390.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391.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392.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393.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394.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395.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396.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397.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398.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399.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00.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01.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02.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03.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04.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05.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06.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07.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08.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09.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10.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11.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12.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13.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14.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15.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16.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17.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18.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19.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20.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21.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22.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23.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24.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25.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26.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2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28.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29.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30.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31.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32.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33.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34.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35.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36.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37.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38.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39.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40.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41.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42.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43.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44.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45.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46.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47.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448.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449.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450.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451.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452.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453.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454.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455.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456.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1.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2.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3.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4.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5.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6.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7.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8.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9.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1.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2.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3.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4.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5.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6.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7.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8.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9.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1.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2.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3.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4.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5.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6.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7.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8.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9.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1.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2.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3.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4.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5.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6.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7.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8.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9.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1.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2.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3.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4.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5.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6.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7.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8.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9.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1.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2.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3.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4.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5.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6.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7.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8.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9.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1.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2.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17731686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99161250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Supermarket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84406806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Proximit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199181416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Su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27815406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Hy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28444324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Proxi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32609832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218418283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225228605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6606536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235275207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547653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Hyper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223563517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418476118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02615806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194715761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365715350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115332566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417256321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106116500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53807160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208101809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41126109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Supermarket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126968582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313543496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348363766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144156297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92929946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50079646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05874622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72069536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263460105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422928894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29534428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Proximit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367250369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294431340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12610400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394002784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227194631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8592440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63872372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31877973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19433968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74082236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30818807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Su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71751416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22383209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92854331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257381016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366040872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145798484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36480413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126163430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163902587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386225380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35418120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Hy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270513577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234688736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24805458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251247371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112875018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121428077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39836714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271112145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328493672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148008821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1083243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Proxi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56321197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413837968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259835212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412960096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96842770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192425150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210628458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226329792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335155131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385129279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3546176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128702209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85489517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417979517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141778633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336751561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403863067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250332702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222756521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221075381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77280483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954438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107237820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129246624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48407240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211421892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28016010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250961993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282854269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336752470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380126316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137102984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5390542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Hyper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150745488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249902422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276970545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254539951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129766714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391494570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12633246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208848550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229224949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325202981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2488902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754300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Supermarket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43856044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242688214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414222326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1858848939"/>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311061825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228321130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278105568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331809480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300949447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227247325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3479929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Proximit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41679778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58673277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115216540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184571028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235999247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182453851"/>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43537305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18082550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119703584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220000254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15812464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Su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63369540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1774638958"/>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25278316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364300935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11643103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134494332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17073177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3439224561"/>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205144989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1384989500"/>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38177495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Hy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915164176"/>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96475027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171143156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38880443"/>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13691480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41009281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306763818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374789743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386907292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250073685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21041167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Proxi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410327128"/>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175857136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387420420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331162369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4272824644"/>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136131831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79730379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8878518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84107791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31404150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6806169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1112187220"/>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1116491582"/>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Hyper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219245593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Supermarket + Driv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3327127084"/>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Proximite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423177473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Su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312299507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Hyper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3789357576"/>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Proxi | P3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3012235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220993466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Grana Padano Rape Sachet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Entremo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ntremont Comte Bloc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haussee Aux Moin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ussee Aux Moines St Paulin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313620711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Hyper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484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Fromage De Chevre Affine Buch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10234074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Su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72418065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Supermarket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300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Fromage De Chevre Affine Buch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352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2679102761"/>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Proximit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Fromage De Chevre Affine Buche Alleg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682157097"/>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Su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haussee Aux Moin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ussee Aux Moines St Paulin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Entremo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ntremont Comte Bloc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Top Budge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171454685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Hy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haussee Aux Moin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ussee Aux Moines St Paulin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Entremo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ntremont Comte Bloc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150405524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Proxi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Grana Padano Rape Sachet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Top Budge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Parmigiano Reggiano Rape Sachet 1X6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180671735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353685494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1570143496"/>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Hyper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484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Fromage De Chevre Affine Buch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3455304824"/>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Supermarket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300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Fromage De Chevre Affine Buch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352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ns Mayennai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2511749141"/>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Proximit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Fromage De Chevre Affine Buche Alleg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15480913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Hy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424564083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Su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229355937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Hy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2160846593"/>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Proxi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26800865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Vertical Soiree Apero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Hot Chalenge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1164035473"/>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Ciboulette &amp; Citron Saumon Fum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De Chevre Boite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257504471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Hyper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Hot Chalenge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Fromages Du Monde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Edition Limitee Saison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4243733764"/>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Supermarket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eerdamm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erdammer Billes Croustillantes Aperitif 45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Edition Limitee Saison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froma Tete De Moin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293156622"/>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Proximit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3"/>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93141">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93141">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93141">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93141">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93141">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Vertical Soiree Apero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93141">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93141">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93141">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Vertical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93141">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93141">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93141">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93141">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peritif Tete De Moin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93141">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93141">
                <a:tc>
                  <a:txBody>
                    <a:bodyPr/>
                    <a:lstStyle/>
                    <a:p>
                      <a:pPr algn="ctr">
                        <a:defRPr sz="800">
                          <a:latin typeface="Nexa Book"/>
                        </a:defRPr>
                      </a:pPr>
                      <a:r>
                        <a:t>O'Tapas Aper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O'Tapas Apero Les Roules Du Fromager Fromage Frais Roule Assortis Boite 1X112Gr 1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93141">
                <a:tc>
                  <a:txBody>
                    <a:bodyPr/>
                    <a:lstStyle/>
                    <a:p>
                      <a:pPr algn="ctr">
                        <a:defRPr sz="800">
                          <a:latin typeface="Nexa Book"/>
                        </a:defRPr>
                      </a:pPr>
                      <a:r>
                        <a:t>Leerdamm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erdammer Billes Croustillantes Aperitif 45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93141">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93141">
                <a:tc>
                  <a:txBody>
                    <a:bodyPr/>
                    <a:lstStyle/>
                    <a:p>
                      <a:pPr algn="ctr">
                        <a:defRPr sz="800">
                          <a:latin typeface="Nexa Book"/>
                        </a:defRPr>
                      </a:pPr>
                      <a:r>
                        <a:t>O'Tapas Aper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O'Tapas Apero Tapas Du Fromager Fromage Frais Bouchee Assortis Boite 1X110Gr 1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2002112647"/>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Su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Ciboulette &amp; Citron Saumon Fum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De Chevre Boite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307342944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Hy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Ciboulette &amp; Citron Saumon Fum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Edition Limitee Saison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6545793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Proxi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1257926301"/>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Proxi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De Chevre Boite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Ciboulette &amp; Citron Saumon Fum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Edition Limitee Saison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3492778887"/>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es Mousquetaires: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op Budget Processed Cheese Processed Cheese - Servings 40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eme De Camember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ichesmont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ichesmonts La Raclette Speciale Tranche A Chaud Boite 1X14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3736290545"/>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Su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es Mousquetaires: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op Budget Processed Cheese Processed Cheese - Servings 40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eme De Camember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ichesmont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ichesmonts La Raclette Speciale Tranche A Chaud Boite 1X14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3280576046"/>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Hy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Les Mousquetaires: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op Budget Processed Cheese Processed Cheese - Servings 40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eme De Camember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ichesmont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ichesmonts La Raclette Speciale Tranche A Chaud Boite 1X14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ire Creme De Maroilles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1981617125"/>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Proxi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Les Mousquetaires: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op Budget Processed Cheese Processed Cheese - Servings 40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eme De Camember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adoz Cancoillotte 1X2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3355730191"/>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352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484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2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18+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1X16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Aros Soft Cheese Enfant 18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217658857"/>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18+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126316436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Hyper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484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352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2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18+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396Gr 12+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Aros Soft Cheese Enfant 18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33150244"/>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Supermarket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352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2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18+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1X16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Aros Soft Cheese Enfant 18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2066633170"/>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Proximit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1X16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Aros Soft Cheese Enfant 18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abybel Mini Rolls St Paulin Ferme Sachet 1X8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Sachet 1X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3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Escargolo St Paulin Ferme Sachet 1X10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Bio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20226310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3215934134"/>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Su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18+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1484099715"/>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Hy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Aros Soft Cheese Enfant 18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2574489546"/>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Proxi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18+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1682317509"/>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2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46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1457035976"/>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63105597"/>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Hyper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46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2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fh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3478492299"/>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Supermarket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2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885654392"/>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Proximit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96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Delicieusement Fouette Fromage Frais A Tartiner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Figue &amp; Noix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Ciboulette &amp; Echalo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avencia: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Anges Fromage Frais A Tartiner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2147253074"/>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Su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2375367363"/>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Hy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24665654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Hyper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851963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4033156659"/>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Proxi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237973365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300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ullari Mozzarella Piec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Burrata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Salade &amp; Aperitif Fromage Frais Des Afh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Burrata Bufflonne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Basilic &amp; Huil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reo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1378762427"/>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chelangelo Burrat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Hollande D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685274340"/>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Hyper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ullari Mozzarella Piec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Basilic &amp; Huil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Piece Sachet 1X400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Burrata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reo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300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attorie Garofalo Burrata Bufflonne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1627129750"/>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Supermarket + Driv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300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Burrata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Burrata Bufflonne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obrand Mozzarella Bufflonne Piec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Salade &amp; Aperitif Fromage Frais Des Afh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757197377"/>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Proximite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Salade &amp; Aperitif Fromage Frais Des Afh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ullari Mozzarella Piec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attorie Garofalo Burrata Bufflonne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obrand Mozzarella Bill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oiella Burrata Piece Basilic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Burrata Piece Boite 1X250Gr 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tit Marche Emmental Des Boite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2969850323"/>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Su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chelangelo Burrat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Hollande D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190950023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Hyper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chelangelo Burrat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Hollande D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92903052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Proxi | P3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es Mousquetaires: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turages Fresh Cheese Feta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chelangelo Burrat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567479807"/>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3737175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26744521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Hyper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1453452976"/>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7797939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2744077242"/>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6094592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38940265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6228670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2186578738"/>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1298430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2079915929"/>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8551179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2319719944"/>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1090172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729941411"/>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4330051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1422078501"/>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035638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3504096585"/>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5216569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2933896203"/>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52185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3906942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Supermarket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192036262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7632791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3770008560"/>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3886316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3452212990"/>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4026312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2319738922"/>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9778871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680961209"/>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3242236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301842760"/>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0614130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2418586381"/>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5740734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2493483919"/>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425087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2311205276"/>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0262100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671397745"/>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2572159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14000254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Proximit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748451335"/>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2919026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0</a:t>
            </a:fld>
            <a:endParaRPr lang="en-US"/>
          </a:p>
        </p:txBody>
      </p:sp>
    </p:spTree>
    <p:extLst>
      <p:ext uri="{BB962C8B-B14F-4D97-AF65-F5344CB8AC3E}">
        <p14:creationId xmlns:p14="http://schemas.microsoft.com/office/powerpoint/2010/main" val="3476616794"/>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617871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1</a:t>
            </a:fld>
            <a:endParaRPr lang="en-US"/>
          </a:p>
        </p:txBody>
      </p:sp>
    </p:spTree>
    <p:extLst>
      <p:ext uri="{BB962C8B-B14F-4D97-AF65-F5344CB8AC3E}">
        <p14:creationId xmlns:p14="http://schemas.microsoft.com/office/powerpoint/2010/main" val="807342891"/>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2571019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2</a:t>
            </a:fld>
            <a:endParaRPr lang="en-US"/>
          </a:p>
        </p:txBody>
      </p:sp>
    </p:spTree>
    <p:extLst>
      <p:ext uri="{BB962C8B-B14F-4D97-AF65-F5344CB8AC3E}">
        <p14:creationId xmlns:p14="http://schemas.microsoft.com/office/powerpoint/2010/main" val="3399020151"/>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072942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3</a:t>
            </a:fld>
            <a:endParaRPr lang="en-US"/>
          </a:p>
        </p:txBody>
      </p:sp>
    </p:spTree>
    <p:extLst>
      <p:ext uri="{BB962C8B-B14F-4D97-AF65-F5344CB8AC3E}">
        <p14:creationId xmlns:p14="http://schemas.microsoft.com/office/powerpoint/2010/main" val="1060756837"/>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3158118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4</a:t>
            </a:fld>
            <a:endParaRPr lang="en-US"/>
          </a:p>
        </p:txBody>
      </p:sp>
    </p:spTree>
    <p:extLst>
      <p:ext uri="{BB962C8B-B14F-4D97-AF65-F5344CB8AC3E}">
        <p14:creationId xmlns:p14="http://schemas.microsoft.com/office/powerpoint/2010/main" val="3441403339"/>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508046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5</a:t>
            </a:fld>
            <a:endParaRPr lang="en-US"/>
          </a:p>
        </p:txBody>
      </p:sp>
    </p:spTree>
    <p:extLst>
      <p:ext uri="{BB962C8B-B14F-4D97-AF65-F5344CB8AC3E}">
        <p14:creationId xmlns:p14="http://schemas.microsoft.com/office/powerpoint/2010/main" val="186929794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0640806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6</a:t>
            </a:fld>
            <a:endParaRPr lang="en-US"/>
          </a:p>
        </p:txBody>
      </p:sp>
    </p:spTree>
    <p:extLst>
      <p:ext uri="{BB962C8B-B14F-4D97-AF65-F5344CB8AC3E}">
        <p14:creationId xmlns:p14="http://schemas.microsoft.com/office/powerpoint/2010/main" val="3779722746"/>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7492841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7</a:t>
            </a:fld>
            <a:endParaRPr lang="en-US"/>
          </a:p>
        </p:txBody>
      </p:sp>
    </p:spTree>
    <p:extLst>
      <p:ext uri="{BB962C8B-B14F-4D97-AF65-F5344CB8AC3E}">
        <p14:creationId xmlns:p14="http://schemas.microsoft.com/office/powerpoint/2010/main" val="855286305"/>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5461627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8</a:t>
            </a:fld>
            <a:endParaRPr lang="en-US"/>
          </a:p>
        </p:txBody>
      </p:sp>
    </p:spTree>
    <p:extLst>
      <p:ext uri="{BB962C8B-B14F-4D97-AF65-F5344CB8AC3E}">
        <p14:creationId xmlns:p14="http://schemas.microsoft.com/office/powerpoint/2010/main" val="3095256670"/>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3608635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9</a:t>
            </a:fld>
            <a:endParaRPr lang="en-US"/>
          </a:p>
        </p:txBody>
      </p:sp>
    </p:spTree>
    <p:extLst>
      <p:ext uri="{BB962C8B-B14F-4D97-AF65-F5344CB8AC3E}">
        <p14:creationId xmlns:p14="http://schemas.microsoft.com/office/powerpoint/2010/main" val="34357623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Su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105908742"/>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7705810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0</a:t>
            </a:fld>
            <a:endParaRPr lang="en-US"/>
          </a:p>
        </p:txBody>
      </p:sp>
    </p:spTree>
    <p:extLst>
      <p:ext uri="{BB962C8B-B14F-4D97-AF65-F5344CB8AC3E}">
        <p14:creationId xmlns:p14="http://schemas.microsoft.com/office/powerpoint/2010/main" val="2306006133"/>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3594706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1</a:t>
            </a:fld>
            <a:endParaRPr lang="en-US"/>
          </a:p>
        </p:txBody>
      </p:sp>
    </p:spTree>
    <p:extLst>
      <p:ext uri="{BB962C8B-B14F-4D97-AF65-F5344CB8AC3E}">
        <p14:creationId xmlns:p14="http://schemas.microsoft.com/office/powerpoint/2010/main" val="1145064604"/>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9515234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2</a:t>
            </a:fld>
            <a:endParaRPr lang="en-US"/>
          </a:p>
        </p:txBody>
      </p:sp>
    </p:spTree>
    <p:extLst>
      <p:ext uri="{BB962C8B-B14F-4D97-AF65-F5344CB8AC3E}">
        <p14:creationId xmlns:p14="http://schemas.microsoft.com/office/powerpoint/2010/main" val="1416211397"/>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4323628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3</a:t>
            </a:fld>
            <a:endParaRPr lang="en-US"/>
          </a:p>
        </p:txBody>
      </p:sp>
    </p:spTree>
    <p:extLst>
      <p:ext uri="{BB962C8B-B14F-4D97-AF65-F5344CB8AC3E}">
        <p14:creationId xmlns:p14="http://schemas.microsoft.com/office/powerpoint/2010/main" val="2285719785"/>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5810336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4</a:t>
            </a:fld>
            <a:endParaRPr lang="en-US"/>
          </a:p>
        </p:txBody>
      </p:sp>
    </p:spTree>
    <p:extLst>
      <p:ext uri="{BB962C8B-B14F-4D97-AF65-F5344CB8AC3E}">
        <p14:creationId xmlns:p14="http://schemas.microsoft.com/office/powerpoint/2010/main" val="3979381750"/>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8127438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5</a:t>
            </a:fld>
            <a:endParaRPr lang="en-US"/>
          </a:p>
        </p:txBody>
      </p:sp>
    </p:spTree>
    <p:extLst>
      <p:ext uri="{BB962C8B-B14F-4D97-AF65-F5344CB8AC3E}">
        <p14:creationId xmlns:p14="http://schemas.microsoft.com/office/powerpoint/2010/main" val="108473198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8254647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6</a:t>
            </a:fld>
            <a:endParaRPr lang="en-US"/>
          </a:p>
        </p:txBody>
      </p:sp>
    </p:spTree>
    <p:extLst>
      <p:ext uri="{BB962C8B-B14F-4D97-AF65-F5344CB8AC3E}">
        <p14:creationId xmlns:p14="http://schemas.microsoft.com/office/powerpoint/2010/main" val="401735909"/>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5262231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7</a:t>
            </a:fld>
            <a:endParaRPr lang="en-US"/>
          </a:p>
        </p:txBody>
      </p:sp>
    </p:spTree>
    <p:extLst>
      <p:ext uri="{BB962C8B-B14F-4D97-AF65-F5344CB8AC3E}">
        <p14:creationId xmlns:p14="http://schemas.microsoft.com/office/powerpoint/2010/main" val="7742519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4248191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8</a:t>
            </a:fld>
            <a:endParaRPr lang="en-US"/>
          </a:p>
        </p:txBody>
      </p:sp>
    </p:spTree>
    <p:extLst>
      <p:ext uri="{BB962C8B-B14F-4D97-AF65-F5344CB8AC3E}">
        <p14:creationId xmlns:p14="http://schemas.microsoft.com/office/powerpoint/2010/main" val="1751367972"/>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3545514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9</a:t>
            </a:fld>
            <a:endParaRPr lang="en-US"/>
          </a:p>
        </p:txBody>
      </p:sp>
    </p:spTree>
    <p:extLst>
      <p:ext uri="{BB962C8B-B14F-4D97-AF65-F5344CB8AC3E}">
        <p14:creationId xmlns:p14="http://schemas.microsoft.com/office/powerpoint/2010/main" val="32824655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Hy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4218663270"/>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6578311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0</a:t>
            </a:fld>
            <a:endParaRPr lang="en-US"/>
          </a:p>
        </p:txBody>
      </p:sp>
    </p:spTree>
    <p:extLst>
      <p:ext uri="{BB962C8B-B14F-4D97-AF65-F5344CB8AC3E}">
        <p14:creationId xmlns:p14="http://schemas.microsoft.com/office/powerpoint/2010/main" val="3472026101"/>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3142619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1</a:t>
            </a:fld>
            <a:endParaRPr lang="en-US"/>
          </a:p>
        </p:txBody>
      </p:sp>
    </p:spTree>
    <p:extLst>
      <p:ext uri="{BB962C8B-B14F-4D97-AF65-F5344CB8AC3E}">
        <p14:creationId xmlns:p14="http://schemas.microsoft.com/office/powerpoint/2010/main" val="1393049793"/>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0701319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2</a:t>
            </a:fld>
            <a:endParaRPr lang="en-US"/>
          </a:p>
        </p:txBody>
      </p:sp>
    </p:spTree>
    <p:extLst>
      <p:ext uri="{BB962C8B-B14F-4D97-AF65-F5344CB8AC3E}">
        <p14:creationId xmlns:p14="http://schemas.microsoft.com/office/powerpoint/2010/main" val="2184580528"/>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9769976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3</a:t>
            </a:fld>
            <a:endParaRPr lang="en-US"/>
          </a:p>
        </p:txBody>
      </p:sp>
    </p:spTree>
    <p:extLst>
      <p:ext uri="{BB962C8B-B14F-4D97-AF65-F5344CB8AC3E}">
        <p14:creationId xmlns:p14="http://schemas.microsoft.com/office/powerpoint/2010/main" val="3255352770"/>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0804219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4</a:t>
            </a:fld>
            <a:endParaRPr lang="en-US"/>
          </a:p>
        </p:txBody>
      </p:sp>
    </p:spTree>
    <p:extLst>
      <p:ext uri="{BB962C8B-B14F-4D97-AF65-F5344CB8AC3E}">
        <p14:creationId xmlns:p14="http://schemas.microsoft.com/office/powerpoint/2010/main" val="4008448085"/>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4720801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5</a:t>
            </a:fld>
            <a:endParaRPr lang="en-US"/>
          </a:p>
        </p:txBody>
      </p:sp>
    </p:spTree>
    <p:extLst>
      <p:ext uri="{BB962C8B-B14F-4D97-AF65-F5344CB8AC3E}">
        <p14:creationId xmlns:p14="http://schemas.microsoft.com/office/powerpoint/2010/main" val="2045301925"/>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4391654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6</a:t>
            </a:fld>
            <a:endParaRPr lang="en-US"/>
          </a:p>
        </p:txBody>
      </p:sp>
    </p:spTree>
    <p:extLst>
      <p:ext uri="{BB962C8B-B14F-4D97-AF65-F5344CB8AC3E}">
        <p14:creationId xmlns:p14="http://schemas.microsoft.com/office/powerpoint/2010/main" val="2068621440"/>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0945548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7</a:t>
            </a:fld>
            <a:endParaRPr lang="en-US"/>
          </a:p>
        </p:txBody>
      </p:sp>
    </p:spTree>
    <p:extLst>
      <p:ext uri="{BB962C8B-B14F-4D97-AF65-F5344CB8AC3E}">
        <p14:creationId xmlns:p14="http://schemas.microsoft.com/office/powerpoint/2010/main" val="2027382183"/>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7731749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8</a:t>
            </a:fld>
            <a:endParaRPr lang="en-US"/>
          </a:p>
        </p:txBody>
      </p:sp>
    </p:spTree>
    <p:extLst>
      <p:ext uri="{BB962C8B-B14F-4D97-AF65-F5344CB8AC3E}">
        <p14:creationId xmlns:p14="http://schemas.microsoft.com/office/powerpoint/2010/main" val="1764344256"/>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3243690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9</a:t>
            </a:fld>
            <a:endParaRPr lang="en-US"/>
          </a:p>
        </p:txBody>
      </p:sp>
    </p:spTree>
    <p:extLst>
      <p:ext uri="{BB962C8B-B14F-4D97-AF65-F5344CB8AC3E}">
        <p14:creationId xmlns:p14="http://schemas.microsoft.com/office/powerpoint/2010/main" val="24772941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Proxi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3406581672"/>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6960930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0</a:t>
            </a:fld>
            <a:endParaRPr lang="en-US"/>
          </a:p>
        </p:txBody>
      </p:sp>
    </p:spTree>
    <p:extLst>
      <p:ext uri="{BB962C8B-B14F-4D97-AF65-F5344CB8AC3E}">
        <p14:creationId xmlns:p14="http://schemas.microsoft.com/office/powerpoint/2010/main" val="1225385352"/>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8855080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1</a:t>
            </a:fld>
            <a:endParaRPr lang="en-US"/>
          </a:p>
        </p:txBody>
      </p:sp>
    </p:spTree>
    <p:extLst>
      <p:ext uri="{BB962C8B-B14F-4D97-AF65-F5344CB8AC3E}">
        <p14:creationId xmlns:p14="http://schemas.microsoft.com/office/powerpoint/2010/main" val="1320324542"/>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8262064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2</a:t>
            </a:fld>
            <a:endParaRPr lang="en-US"/>
          </a:p>
        </p:txBody>
      </p:sp>
    </p:spTree>
    <p:extLst>
      <p:ext uri="{BB962C8B-B14F-4D97-AF65-F5344CB8AC3E}">
        <p14:creationId xmlns:p14="http://schemas.microsoft.com/office/powerpoint/2010/main" val="2733009902"/>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7640141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3</a:t>
            </a:fld>
            <a:endParaRPr lang="en-US"/>
          </a:p>
        </p:txBody>
      </p:sp>
    </p:spTree>
    <p:extLst>
      <p:ext uri="{BB962C8B-B14F-4D97-AF65-F5344CB8AC3E}">
        <p14:creationId xmlns:p14="http://schemas.microsoft.com/office/powerpoint/2010/main" val="177320530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4564668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4</a:t>
            </a:fld>
            <a:endParaRPr lang="en-US"/>
          </a:p>
        </p:txBody>
      </p:sp>
    </p:spTree>
    <p:extLst>
      <p:ext uri="{BB962C8B-B14F-4D97-AF65-F5344CB8AC3E}">
        <p14:creationId xmlns:p14="http://schemas.microsoft.com/office/powerpoint/2010/main" val="1670282336"/>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654389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5</a:t>
            </a:fld>
            <a:endParaRPr lang="en-US"/>
          </a:p>
        </p:txBody>
      </p:sp>
    </p:spTree>
    <p:extLst>
      <p:ext uri="{BB962C8B-B14F-4D97-AF65-F5344CB8AC3E}">
        <p14:creationId xmlns:p14="http://schemas.microsoft.com/office/powerpoint/2010/main" val="689773026"/>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714328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6</a:t>
            </a:fld>
            <a:endParaRPr lang="en-US"/>
          </a:p>
        </p:txBody>
      </p:sp>
    </p:spTree>
    <p:extLst>
      <p:ext uri="{BB962C8B-B14F-4D97-AF65-F5344CB8AC3E}">
        <p14:creationId xmlns:p14="http://schemas.microsoft.com/office/powerpoint/2010/main" val="1845853144"/>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4183682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7</a:t>
            </a:fld>
            <a:endParaRPr lang="en-US"/>
          </a:p>
        </p:txBody>
      </p:sp>
    </p:spTree>
    <p:extLst>
      <p:ext uri="{BB962C8B-B14F-4D97-AF65-F5344CB8AC3E}">
        <p14:creationId xmlns:p14="http://schemas.microsoft.com/office/powerpoint/2010/main" val="3381925718"/>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6173295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8</a:t>
            </a:fld>
            <a:endParaRPr lang="en-US"/>
          </a:p>
        </p:txBody>
      </p:sp>
    </p:spTree>
    <p:extLst>
      <p:ext uri="{BB962C8B-B14F-4D97-AF65-F5344CB8AC3E}">
        <p14:creationId xmlns:p14="http://schemas.microsoft.com/office/powerpoint/2010/main" val="1483763942"/>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9854557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9</a:t>
            </a:fld>
            <a:endParaRPr lang="en-US"/>
          </a:p>
        </p:txBody>
      </p:sp>
    </p:spTree>
    <p:extLst>
      <p:ext uri="{BB962C8B-B14F-4D97-AF65-F5344CB8AC3E}">
        <p14:creationId xmlns:p14="http://schemas.microsoft.com/office/powerpoint/2010/main" val="20616993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565670193"/>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8277397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0</a:t>
            </a:fld>
            <a:endParaRPr lang="en-US"/>
          </a:p>
        </p:txBody>
      </p:sp>
    </p:spTree>
    <p:extLst>
      <p:ext uri="{BB962C8B-B14F-4D97-AF65-F5344CB8AC3E}">
        <p14:creationId xmlns:p14="http://schemas.microsoft.com/office/powerpoint/2010/main" val="124424037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4978678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1</a:t>
            </a:fld>
            <a:endParaRPr lang="en-US"/>
          </a:p>
        </p:txBody>
      </p:sp>
    </p:spTree>
    <p:extLst>
      <p:ext uri="{BB962C8B-B14F-4D97-AF65-F5344CB8AC3E}">
        <p14:creationId xmlns:p14="http://schemas.microsoft.com/office/powerpoint/2010/main" val="3728508227"/>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3141312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2</a:t>
            </a:fld>
            <a:endParaRPr lang="en-US"/>
          </a:p>
        </p:txBody>
      </p:sp>
    </p:spTree>
    <p:extLst>
      <p:ext uri="{BB962C8B-B14F-4D97-AF65-F5344CB8AC3E}">
        <p14:creationId xmlns:p14="http://schemas.microsoft.com/office/powerpoint/2010/main" val="2446632383"/>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164822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3</a:t>
            </a:fld>
            <a:endParaRPr lang="en-US"/>
          </a:p>
        </p:txBody>
      </p:sp>
    </p:spTree>
    <p:extLst>
      <p:ext uri="{BB962C8B-B14F-4D97-AF65-F5344CB8AC3E}">
        <p14:creationId xmlns:p14="http://schemas.microsoft.com/office/powerpoint/2010/main" val="3975072339"/>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3025928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4</a:t>
            </a:fld>
            <a:endParaRPr lang="en-US"/>
          </a:p>
        </p:txBody>
      </p:sp>
    </p:spTree>
    <p:extLst>
      <p:ext uri="{BB962C8B-B14F-4D97-AF65-F5344CB8AC3E}">
        <p14:creationId xmlns:p14="http://schemas.microsoft.com/office/powerpoint/2010/main" val="3560547338"/>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9166269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5</a:t>
            </a:fld>
            <a:endParaRPr lang="en-US"/>
          </a:p>
        </p:txBody>
      </p:sp>
    </p:spTree>
    <p:extLst>
      <p:ext uri="{BB962C8B-B14F-4D97-AF65-F5344CB8AC3E}">
        <p14:creationId xmlns:p14="http://schemas.microsoft.com/office/powerpoint/2010/main" val="985112739"/>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9441867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6</a:t>
            </a:fld>
            <a:endParaRPr lang="en-US"/>
          </a:p>
        </p:txBody>
      </p:sp>
    </p:spTree>
    <p:extLst>
      <p:ext uri="{BB962C8B-B14F-4D97-AF65-F5344CB8AC3E}">
        <p14:creationId xmlns:p14="http://schemas.microsoft.com/office/powerpoint/2010/main" val="2464712209"/>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1633448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7</a:t>
            </a:fld>
            <a:endParaRPr lang="en-US"/>
          </a:p>
        </p:txBody>
      </p:sp>
    </p:spTree>
    <p:extLst>
      <p:ext uri="{BB962C8B-B14F-4D97-AF65-F5344CB8AC3E}">
        <p14:creationId xmlns:p14="http://schemas.microsoft.com/office/powerpoint/2010/main" val="2980469536"/>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3577106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8</a:t>
            </a:fld>
            <a:endParaRPr lang="en-US"/>
          </a:p>
        </p:txBody>
      </p:sp>
    </p:spTree>
    <p:extLst>
      <p:ext uri="{BB962C8B-B14F-4D97-AF65-F5344CB8AC3E}">
        <p14:creationId xmlns:p14="http://schemas.microsoft.com/office/powerpoint/2010/main" val="1930852289"/>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0536175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9</a:t>
            </a:fld>
            <a:endParaRPr lang="en-US"/>
          </a:p>
        </p:txBody>
      </p:sp>
    </p:spTree>
    <p:extLst>
      <p:ext uri="{BB962C8B-B14F-4D97-AF65-F5344CB8AC3E}">
        <p14:creationId xmlns:p14="http://schemas.microsoft.com/office/powerpoint/2010/main" val="28491467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2028221398"/>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3728837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0</a:t>
            </a:fld>
            <a:endParaRPr lang="en-US"/>
          </a:p>
        </p:txBody>
      </p:sp>
    </p:spTree>
    <p:extLst>
      <p:ext uri="{BB962C8B-B14F-4D97-AF65-F5344CB8AC3E}">
        <p14:creationId xmlns:p14="http://schemas.microsoft.com/office/powerpoint/2010/main" val="3053260980"/>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8378760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1</a:t>
            </a:fld>
            <a:endParaRPr lang="en-US"/>
          </a:p>
        </p:txBody>
      </p:sp>
    </p:spTree>
    <p:extLst>
      <p:ext uri="{BB962C8B-B14F-4D97-AF65-F5344CB8AC3E}">
        <p14:creationId xmlns:p14="http://schemas.microsoft.com/office/powerpoint/2010/main" val="37964442"/>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9564736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2</a:t>
            </a:fld>
            <a:endParaRPr lang="en-US"/>
          </a:p>
        </p:txBody>
      </p:sp>
    </p:spTree>
    <p:extLst>
      <p:ext uri="{BB962C8B-B14F-4D97-AF65-F5344CB8AC3E}">
        <p14:creationId xmlns:p14="http://schemas.microsoft.com/office/powerpoint/2010/main" val="2553710231"/>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1642264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3</a:t>
            </a:fld>
            <a:endParaRPr lang="en-US"/>
          </a:p>
        </p:txBody>
      </p:sp>
    </p:spTree>
    <p:extLst>
      <p:ext uri="{BB962C8B-B14F-4D97-AF65-F5344CB8AC3E}">
        <p14:creationId xmlns:p14="http://schemas.microsoft.com/office/powerpoint/2010/main" val="681495729"/>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1155931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4</a:t>
            </a:fld>
            <a:endParaRPr lang="en-US"/>
          </a:p>
        </p:txBody>
      </p:sp>
    </p:spTree>
    <p:extLst>
      <p:ext uri="{BB962C8B-B14F-4D97-AF65-F5344CB8AC3E}">
        <p14:creationId xmlns:p14="http://schemas.microsoft.com/office/powerpoint/2010/main" val="1788669405"/>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6664909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5</a:t>
            </a:fld>
            <a:endParaRPr lang="en-US"/>
          </a:p>
        </p:txBody>
      </p:sp>
    </p:spTree>
    <p:extLst>
      <p:ext uri="{BB962C8B-B14F-4D97-AF65-F5344CB8AC3E}">
        <p14:creationId xmlns:p14="http://schemas.microsoft.com/office/powerpoint/2010/main" val="2832741992"/>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8707805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6</a:t>
            </a:fld>
            <a:endParaRPr lang="en-US"/>
          </a:p>
        </p:txBody>
      </p:sp>
    </p:spTree>
    <p:extLst>
      <p:ext uri="{BB962C8B-B14F-4D97-AF65-F5344CB8AC3E}">
        <p14:creationId xmlns:p14="http://schemas.microsoft.com/office/powerpoint/2010/main" val="1472515190"/>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5973240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7</a:t>
            </a:fld>
            <a:endParaRPr lang="en-US"/>
          </a:p>
        </p:txBody>
      </p:sp>
    </p:spTree>
    <p:extLst>
      <p:ext uri="{BB962C8B-B14F-4D97-AF65-F5344CB8AC3E}">
        <p14:creationId xmlns:p14="http://schemas.microsoft.com/office/powerpoint/2010/main" val="3735011707"/>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8080302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8</a:t>
            </a:fld>
            <a:endParaRPr lang="en-US"/>
          </a:p>
        </p:txBody>
      </p:sp>
    </p:spTree>
    <p:extLst>
      <p:ext uri="{BB962C8B-B14F-4D97-AF65-F5344CB8AC3E}">
        <p14:creationId xmlns:p14="http://schemas.microsoft.com/office/powerpoint/2010/main" val="4184150620"/>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027823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9</a:t>
            </a:fld>
            <a:endParaRPr lang="en-US"/>
          </a:p>
        </p:txBody>
      </p:sp>
    </p:spTree>
    <p:extLst>
      <p:ext uri="{BB962C8B-B14F-4D97-AF65-F5344CB8AC3E}">
        <p14:creationId xmlns:p14="http://schemas.microsoft.com/office/powerpoint/2010/main" val="11425268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Hyper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4155981084"/>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6725717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0</a:t>
            </a:fld>
            <a:endParaRPr lang="en-US"/>
          </a:p>
        </p:txBody>
      </p:sp>
    </p:spTree>
    <p:extLst>
      <p:ext uri="{BB962C8B-B14F-4D97-AF65-F5344CB8AC3E}">
        <p14:creationId xmlns:p14="http://schemas.microsoft.com/office/powerpoint/2010/main" val="1417981075"/>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212561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1</a:t>
            </a:fld>
            <a:endParaRPr lang="en-US"/>
          </a:p>
        </p:txBody>
      </p:sp>
    </p:spTree>
    <p:extLst>
      <p:ext uri="{BB962C8B-B14F-4D97-AF65-F5344CB8AC3E}">
        <p14:creationId xmlns:p14="http://schemas.microsoft.com/office/powerpoint/2010/main" val="1684539261"/>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545077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2</a:t>
            </a:fld>
            <a:endParaRPr lang="en-US"/>
          </a:p>
        </p:txBody>
      </p:sp>
    </p:spTree>
    <p:extLst>
      <p:ext uri="{BB962C8B-B14F-4D97-AF65-F5344CB8AC3E}">
        <p14:creationId xmlns:p14="http://schemas.microsoft.com/office/powerpoint/2010/main" val="2808583979"/>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4627702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3</a:t>
            </a:fld>
            <a:endParaRPr lang="en-US"/>
          </a:p>
        </p:txBody>
      </p:sp>
    </p:spTree>
    <p:extLst>
      <p:ext uri="{BB962C8B-B14F-4D97-AF65-F5344CB8AC3E}">
        <p14:creationId xmlns:p14="http://schemas.microsoft.com/office/powerpoint/2010/main" val="3702216236"/>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7340975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4</a:t>
            </a:fld>
            <a:endParaRPr lang="en-US"/>
          </a:p>
        </p:txBody>
      </p:sp>
    </p:spTree>
    <p:extLst>
      <p:ext uri="{BB962C8B-B14F-4D97-AF65-F5344CB8AC3E}">
        <p14:creationId xmlns:p14="http://schemas.microsoft.com/office/powerpoint/2010/main" val="603336854"/>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5371566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5</a:t>
            </a:fld>
            <a:endParaRPr lang="en-US"/>
          </a:p>
        </p:txBody>
      </p:sp>
    </p:spTree>
    <p:extLst>
      <p:ext uri="{BB962C8B-B14F-4D97-AF65-F5344CB8AC3E}">
        <p14:creationId xmlns:p14="http://schemas.microsoft.com/office/powerpoint/2010/main" val="3211408822"/>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8212952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6</a:t>
            </a:fld>
            <a:endParaRPr lang="en-US"/>
          </a:p>
        </p:txBody>
      </p:sp>
    </p:spTree>
    <p:extLst>
      <p:ext uri="{BB962C8B-B14F-4D97-AF65-F5344CB8AC3E}">
        <p14:creationId xmlns:p14="http://schemas.microsoft.com/office/powerpoint/2010/main" val="371084101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414043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7</a:t>
            </a:fld>
            <a:endParaRPr lang="en-US"/>
          </a:p>
        </p:txBody>
      </p:sp>
    </p:spTree>
    <p:extLst>
      <p:ext uri="{BB962C8B-B14F-4D97-AF65-F5344CB8AC3E}">
        <p14:creationId xmlns:p14="http://schemas.microsoft.com/office/powerpoint/2010/main" val="2114790848"/>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0743133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8</a:t>
            </a:fld>
            <a:endParaRPr lang="en-US"/>
          </a:p>
        </p:txBody>
      </p:sp>
    </p:spTree>
    <p:extLst>
      <p:ext uri="{BB962C8B-B14F-4D97-AF65-F5344CB8AC3E}">
        <p14:creationId xmlns:p14="http://schemas.microsoft.com/office/powerpoint/2010/main" val="2651966872"/>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6684337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9</a:t>
            </a:fld>
            <a:endParaRPr lang="en-US"/>
          </a:p>
        </p:txBody>
      </p:sp>
    </p:spTree>
    <p:extLst>
      <p:ext uri="{BB962C8B-B14F-4D97-AF65-F5344CB8AC3E}">
        <p14:creationId xmlns:p14="http://schemas.microsoft.com/office/powerpoint/2010/main" val="16266203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Supermarket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21716655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Supermarket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4085700547"/>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0473802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0</a:t>
            </a:fld>
            <a:endParaRPr lang="en-US"/>
          </a:p>
        </p:txBody>
      </p:sp>
    </p:spTree>
    <p:extLst>
      <p:ext uri="{BB962C8B-B14F-4D97-AF65-F5344CB8AC3E}">
        <p14:creationId xmlns:p14="http://schemas.microsoft.com/office/powerpoint/2010/main" val="926690508"/>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2920020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1</a:t>
            </a:fld>
            <a:endParaRPr lang="en-US"/>
          </a:p>
        </p:txBody>
      </p:sp>
    </p:spTree>
    <p:extLst>
      <p:ext uri="{BB962C8B-B14F-4D97-AF65-F5344CB8AC3E}">
        <p14:creationId xmlns:p14="http://schemas.microsoft.com/office/powerpoint/2010/main" val="3612255353"/>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5307305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2</a:t>
            </a:fld>
            <a:endParaRPr lang="en-US"/>
          </a:p>
        </p:txBody>
      </p:sp>
    </p:spTree>
    <p:extLst>
      <p:ext uri="{BB962C8B-B14F-4D97-AF65-F5344CB8AC3E}">
        <p14:creationId xmlns:p14="http://schemas.microsoft.com/office/powerpoint/2010/main" val="936205133"/>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Hyper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1962751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3</a:t>
            </a:fld>
            <a:endParaRPr lang="en-US"/>
          </a:p>
        </p:txBody>
      </p:sp>
    </p:spTree>
    <p:extLst>
      <p:ext uri="{BB962C8B-B14F-4D97-AF65-F5344CB8AC3E}">
        <p14:creationId xmlns:p14="http://schemas.microsoft.com/office/powerpoint/2010/main" val="802232917"/>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Supermarket + Driv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2447142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4</a:t>
            </a:fld>
            <a:endParaRPr lang="en-US"/>
          </a:p>
        </p:txBody>
      </p:sp>
    </p:spTree>
    <p:extLst>
      <p:ext uri="{BB962C8B-B14F-4D97-AF65-F5344CB8AC3E}">
        <p14:creationId xmlns:p14="http://schemas.microsoft.com/office/powerpoint/2010/main" val="2713290436"/>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Proximite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4815523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5</a:t>
            </a:fld>
            <a:endParaRPr lang="en-US"/>
          </a:p>
        </p:txBody>
      </p:sp>
    </p:spTree>
    <p:extLst>
      <p:ext uri="{BB962C8B-B14F-4D97-AF65-F5344CB8AC3E}">
        <p14:creationId xmlns:p14="http://schemas.microsoft.com/office/powerpoint/2010/main" val="3175336967"/>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Su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633763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6</a:t>
            </a:fld>
            <a:endParaRPr lang="en-US"/>
          </a:p>
        </p:txBody>
      </p:sp>
    </p:spTree>
    <p:extLst>
      <p:ext uri="{BB962C8B-B14F-4D97-AF65-F5344CB8AC3E}">
        <p14:creationId xmlns:p14="http://schemas.microsoft.com/office/powerpoint/2010/main" val="3502700765"/>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Hyper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0788301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7</a:t>
            </a:fld>
            <a:endParaRPr lang="en-US"/>
          </a:p>
        </p:txBody>
      </p:sp>
    </p:spTree>
    <p:extLst>
      <p:ext uri="{BB962C8B-B14F-4D97-AF65-F5344CB8AC3E}">
        <p14:creationId xmlns:p14="http://schemas.microsoft.com/office/powerpoint/2010/main" val="4084627239"/>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Proxi | P3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6326348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8</a:t>
            </a:fld>
            <a:endParaRPr lang="en-US"/>
          </a:p>
        </p:txBody>
      </p:sp>
    </p:spTree>
    <p:extLst>
      <p:ext uri="{BB962C8B-B14F-4D97-AF65-F5344CB8AC3E}">
        <p14:creationId xmlns:p14="http://schemas.microsoft.com/office/powerpoint/2010/main" val="420382408"/>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2159929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09</a:t>
            </a:fld>
            <a:endParaRPr lang="en-US"/>
          </a:p>
        </p:txBody>
      </p:sp>
    </p:spTree>
    <p:extLst>
      <p:ext uri="{BB962C8B-B14F-4D97-AF65-F5344CB8AC3E}">
        <p14:creationId xmlns:p14="http://schemas.microsoft.com/office/powerpoint/2010/main" val="19567058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Proximit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852403575"/>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0371820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10</a:t>
            </a:fld>
            <a:endParaRPr lang="en-US"/>
          </a:p>
        </p:txBody>
      </p:sp>
    </p:spTree>
    <p:extLst>
      <p:ext uri="{BB962C8B-B14F-4D97-AF65-F5344CB8AC3E}">
        <p14:creationId xmlns:p14="http://schemas.microsoft.com/office/powerpoint/2010/main" val="709982630"/>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5361451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11</a:t>
            </a:fld>
            <a:endParaRPr lang="en-US"/>
          </a:p>
        </p:txBody>
      </p:sp>
    </p:spTree>
    <p:extLst>
      <p:ext uri="{BB962C8B-B14F-4D97-AF65-F5344CB8AC3E}">
        <p14:creationId xmlns:p14="http://schemas.microsoft.com/office/powerpoint/2010/main" val="957315956"/>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4018388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12</a:t>
            </a:fld>
            <a:endParaRPr lang="en-US"/>
          </a:p>
        </p:txBody>
      </p:sp>
    </p:spTree>
    <p:extLst>
      <p:ext uri="{BB962C8B-B14F-4D97-AF65-F5344CB8AC3E}">
        <p14:creationId xmlns:p14="http://schemas.microsoft.com/office/powerpoint/2010/main" val="4249838455"/>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284899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13</a:t>
            </a:fld>
            <a:endParaRPr lang="en-US"/>
          </a:p>
        </p:txBody>
      </p:sp>
    </p:spTree>
    <p:extLst>
      <p:ext uri="{BB962C8B-B14F-4D97-AF65-F5344CB8AC3E}">
        <p14:creationId xmlns:p14="http://schemas.microsoft.com/office/powerpoint/2010/main" val="3674921007"/>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1701669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14</a:t>
            </a:fld>
            <a:endParaRPr lang="en-US"/>
          </a:p>
        </p:txBody>
      </p:sp>
    </p:spTree>
    <p:extLst>
      <p:ext uri="{BB962C8B-B14F-4D97-AF65-F5344CB8AC3E}">
        <p14:creationId xmlns:p14="http://schemas.microsoft.com/office/powerpoint/2010/main" val="970974051"/>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016569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15</a:t>
            </a:fld>
            <a:endParaRPr lang="en-US"/>
          </a:p>
        </p:txBody>
      </p:sp>
    </p:spTree>
    <p:extLst>
      <p:ext uri="{BB962C8B-B14F-4D97-AF65-F5344CB8AC3E}">
        <p14:creationId xmlns:p14="http://schemas.microsoft.com/office/powerpoint/2010/main" val="3958573577"/>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2430457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16</a:t>
            </a:fld>
            <a:endParaRPr lang="en-US"/>
          </a:p>
        </p:txBody>
      </p:sp>
    </p:spTree>
    <p:extLst>
      <p:ext uri="{BB962C8B-B14F-4D97-AF65-F5344CB8AC3E}">
        <p14:creationId xmlns:p14="http://schemas.microsoft.com/office/powerpoint/2010/main" val="3396185775"/>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859569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17</a:t>
            </a:fld>
            <a:endParaRPr lang="en-US"/>
          </a:p>
        </p:txBody>
      </p:sp>
    </p:spTree>
    <p:extLst>
      <p:ext uri="{BB962C8B-B14F-4D97-AF65-F5344CB8AC3E}">
        <p14:creationId xmlns:p14="http://schemas.microsoft.com/office/powerpoint/2010/main" val="3001954170"/>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2064816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18</a:t>
            </a:fld>
            <a:endParaRPr lang="en-US"/>
          </a:p>
        </p:txBody>
      </p:sp>
    </p:spTree>
    <p:extLst>
      <p:ext uri="{BB962C8B-B14F-4D97-AF65-F5344CB8AC3E}">
        <p14:creationId xmlns:p14="http://schemas.microsoft.com/office/powerpoint/2010/main" val="1763372990"/>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622229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19</a:t>
            </a:fld>
            <a:endParaRPr lang="en-US"/>
          </a:p>
        </p:txBody>
      </p:sp>
    </p:spTree>
    <p:extLst>
      <p:ext uri="{BB962C8B-B14F-4D97-AF65-F5344CB8AC3E}">
        <p14:creationId xmlns:p14="http://schemas.microsoft.com/office/powerpoint/2010/main" val="41658571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Su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506100140"/>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551577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20</a:t>
            </a:fld>
            <a:endParaRPr lang="en-US"/>
          </a:p>
        </p:txBody>
      </p:sp>
    </p:spTree>
    <p:extLst>
      <p:ext uri="{BB962C8B-B14F-4D97-AF65-F5344CB8AC3E}">
        <p14:creationId xmlns:p14="http://schemas.microsoft.com/office/powerpoint/2010/main" val="1702749504"/>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7836773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21</a:t>
            </a:fld>
            <a:endParaRPr lang="en-US"/>
          </a:p>
        </p:txBody>
      </p:sp>
    </p:spTree>
    <p:extLst>
      <p:ext uri="{BB962C8B-B14F-4D97-AF65-F5344CB8AC3E}">
        <p14:creationId xmlns:p14="http://schemas.microsoft.com/office/powerpoint/2010/main" val="1118695764"/>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2451711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22</a:t>
            </a:fld>
            <a:endParaRPr lang="en-US"/>
          </a:p>
        </p:txBody>
      </p:sp>
    </p:spTree>
    <p:extLst>
      <p:ext uri="{BB962C8B-B14F-4D97-AF65-F5344CB8AC3E}">
        <p14:creationId xmlns:p14="http://schemas.microsoft.com/office/powerpoint/2010/main" val="4082942737"/>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3349315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23</a:t>
            </a:fld>
            <a:endParaRPr lang="en-US"/>
          </a:p>
        </p:txBody>
      </p:sp>
    </p:spTree>
    <p:extLst>
      <p:ext uri="{BB962C8B-B14F-4D97-AF65-F5344CB8AC3E}">
        <p14:creationId xmlns:p14="http://schemas.microsoft.com/office/powerpoint/2010/main" val="1772098036"/>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8840700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24</a:t>
            </a:fld>
            <a:endParaRPr lang="en-US"/>
          </a:p>
        </p:txBody>
      </p:sp>
    </p:spTree>
    <p:extLst>
      <p:ext uri="{BB962C8B-B14F-4D97-AF65-F5344CB8AC3E}">
        <p14:creationId xmlns:p14="http://schemas.microsoft.com/office/powerpoint/2010/main" val="124231434"/>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6058720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25</a:t>
            </a:fld>
            <a:endParaRPr lang="en-US"/>
          </a:p>
        </p:txBody>
      </p:sp>
    </p:spTree>
    <p:extLst>
      <p:ext uri="{BB962C8B-B14F-4D97-AF65-F5344CB8AC3E}">
        <p14:creationId xmlns:p14="http://schemas.microsoft.com/office/powerpoint/2010/main" val="242349144"/>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53133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26</a:t>
            </a:fld>
            <a:endParaRPr lang="en-US"/>
          </a:p>
        </p:txBody>
      </p:sp>
    </p:spTree>
    <p:extLst>
      <p:ext uri="{BB962C8B-B14F-4D97-AF65-F5344CB8AC3E}">
        <p14:creationId xmlns:p14="http://schemas.microsoft.com/office/powerpoint/2010/main" val="1523563557"/>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9127458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27</a:t>
            </a:fld>
            <a:endParaRPr lang="en-US"/>
          </a:p>
        </p:txBody>
      </p:sp>
    </p:spTree>
    <p:extLst>
      <p:ext uri="{BB962C8B-B14F-4D97-AF65-F5344CB8AC3E}">
        <p14:creationId xmlns:p14="http://schemas.microsoft.com/office/powerpoint/2010/main" val="605655160"/>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7081167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28</a:t>
            </a:fld>
            <a:endParaRPr lang="en-US"/>
          </a:p>
        </p:txBody>
      </p:sp>
    </p:spTree>
    <p:extLst>
      <p:ext uri="{BB962C8B-B14F-4D97-AF65-F5344CB8AC3E}">
        <p14:creationId xmlns:p14="http://schemas.microsoft.com/office/powerpoint/2010/main" val="4035036591"/>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885276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29</a:t>
            </a:fld>
            <a:endParaRPr lang="en-US"/>
          </a:p>
        </p:txBody>
      </p:sp>
    </p:spTree>
    <p:extLst>
      <p:ext uri="{BB962C8B-B14F-4D97-AF65-F5344CB8AC3E}">
        <p14:creationId xmlns:p14="http://schemas.microsoft.com/office/powerpoint/2010/main" val="33093740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Hy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3668266177"/>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5108951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30</a:t>
            </a:fld>
            <a:endParaRPr lang="en-US"/>
          </a:p>
        </p:txBody>
      </p:sp>
    </p:spTree>
    <p:extLst>
      <p:ext uri="{BB962C8B-B14F-4D97-AF65-F5344CB8AC3E}">
        <p14:creationId xmlns:p14="http://schemas.microsoft.com/office/powerpoint/2010/main" val="226766795"/>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67928550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31</a:t>
            </a:fld>
            <a:endParaRPr lang="en-US"/>
          </a:p>
        </p:txBody>
      </p:sp>
    </p:spTree>
    <p:extLst>
      <p:ext uri="{BB962C8B-B14F-4D97-AF65-F5344CB8AC3E}">
        <p14:creationId xmlns:p14="http://schemas.microsoft.com/office/powerpoint/2010/main" val="134572906"/>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4593963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32</a:t>
            </a:fld>
            <a:endParaRPr lang="en-US"/>
          </a:p>
        </p:txBody>
      </p:sp>
    </p:spTree>
    <p:extLst>
      <p:ext uri="{BB962C8B-B14F-4D97-AF65-F5344CB8AC3E}">
        <p14:creationId xmlns:p14="http://schemas.microsoft.com/office/powerpoint/2010/main" val="4292015533"/>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4601483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33</a:t>
            </a:fld>
            <a:endParaRPr lang="en-US"/>
          </a:p>
        </p:txBody>
      </p:sp>
    </p:spTree>
    <p:extLst>
      <p:ext uri="{BB962C8B-B14F-4D97-AF65-F5344CB8AC3E}">
        <p14:creationId xmlns:p14="http://schemas.microsoft.com/office/powerpoint/2010/main" val="410465994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9172453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34</a:t>
            </a:fld>
            <a:endParaRPr lang="en-US"/>
          </a:p>
        </p:txBody>
      </p:sp>
    </p:spTree>
    <p:extLst>
      <p:ext uri="{BB962C8B-B14F-4D97-AF65-F5344CB8AC3E}">
        <p14:creationId xmlns:p14="http://schemas.microsoft.com/office/powerpoint/2010/main" val="3108453106"/>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9155634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35</a:t>
            </a:fld>
            <a:endParaRPr lang="en-US"/>
          </a:p>
        </p:txBody>
      </p:sp>
    </p:spTree>
    <p:extLst>
      <p:ext uri="{BB962C8B-B14F-4D97-AF65-F5344CB8AC3E}">
        <p14:creationId xmlns:p14="http://schemas.microsoft.com/office/powerpoint/2010/main" val="1148644914"/>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4871087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36</a:t>
            </a:fld>
            <a:endParaRPr lang="en-US"/>
          </a:p>
        </p:txBody>
      </p:sp>
    </p:spTree>
    <p:extLst>
      <p:ext uri="{BB962C8B-B14F-4D97-AF65-F5344CB8AC3E}">
        <p14:creationId xmlns:p14="http://schemas.microsoft.com/office/powerpoint/2010/main" val="2109728547"/>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0821380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37</a:t>
            </a:fld>
            <a:endParaRPr lang="en-US"/>
          </a:p>
        </p:txBody>
      </p:sp>
    </p:spTree>
    <p:extLst>
      <p:ext uri="{BB962C8B-B14F-4D97-AF65-F5344CB8AC3E}">
        <p14:creationId xmlns:p14="http://schemas.microsoft.com/office/powerpoint/2010/main" val="222033143"/>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7594422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38</a:t>
            </a:fld>
            <a:endParaRPr lang="en-US"/>
          </a:p>
        </p:txBody>
      </p:sp>
    </p:spTree>
    <p:extLst>
      <p:ext uri="{BB962C8B-B14F-4D97-AF65-F5344CB8AC3E}">
        <p14:creationId xmlns:p14="http://schemas.microsoft.com/office/powerpoint/2010/main" val="301933380"/>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769769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39</a:t>
            </a:fld>
            <a:endParaRPr lang="en-US"/>
          </a:p>
        </p:txBody>
      </p:sp>
    </p:spTree>
    <p:extLst>
      <p:ext uri="{BB962C8B-B14F-4D97-AF65-F5344CB8AC3E}">
        <p14:creationId xmlns:p14="http://schemas.microsoft.com/office/powerpoint/2010/main" val="15641557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Proxi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1067202598"/>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6314643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0</a:t>
            </a:fld>
            <a:endParaRPr lang="en-US"/>
          </a:p>
        </p:txBody>
      </p:sp>
    </p:spTree>
    <p:extLst>
      <p:ext uri="{BB962C8B-B14F-4D97-AF65-F5344CB8AC3E}">
        <p14:creationId xmlns:p14="http://schemas.microsoft.com/office/powerpoint/2010/main" val="858101593"/>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0720855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1</a:t>
            </a:fld>
            <a:endParaRPr lang="en-US"/>
          </a:p>
        </p:txBody>
      </p:sp>
    </p:spTree>
    <p:extLst>
      <p:ext uri="{BB962C8B-B14F-4D97-AF65-F5344CB8AC3E}">
        <p14:creationId xmlns:p14="http://schemas.microsoft.com/office/powerpoint/2010/main" val="1793871788"/>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924189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2</a:t>
            </a:fld>
            <a:endParaRPr lang="en-US"/>
          </a:p>
        </p:txBody>
      </p:sp>
    </p:spTree>
    <p:extLst>
      <p:ext uri="{BB962C8B-B14F-4D97-AF65-F5344CB8AC3E}">
        <p14:creationId xmlns:p14="http://schemas.microsoft.com/office/powerpoint/2010/main" val="688831843"/>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737491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3</a:t>
            </a:fld>
            <a:endParaRPr lang="en-US"/>
          </a:p>
        </p:txBody>
      </p:sp>
    </p:spTree>
    <p:extLst>
      <p:ext uri="{BB962C8B-B14F-4D97-AF65-F5344CB8AC3E}">
        <p14:creationId xmlns:p14="http://schemas.microsoft.com/office/powerpoint/2010/main" val="2613535989"/>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2756629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4</a:t>
            </a:fld>
            <a:endParaRPr lang="en-US"/>
          </a:p>
        </p:txBody>
      </p:sp>
    </p:spTree>
    <p:extLst>
      <p:ext uri="{BB962C8B-B14F-4D97-AF65-F5344CB8AC3E}">
        <p14:creationId xmlns:p14="http://schemas.microsoft.com/office/powerpoint/2010/main" val="3360677337"/>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4307542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5</a:t>
            </a:fld>
            <a:endParaRPr lang="en-US"/>
          </a:p>
        </p:txBody>
      </p:sp>
    </p:spTree>
    <p:extLst>
      <p:ext uri="{BB962C8B-B14F-4D97-AF65-F5344CB8AC3E}">
        <p14:creationId xmlns:p14="http://schemas.microsoft.com/office/powerpoint/2010/main" val="2772358497"/>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3112483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6</a:t>
            </a:fld>
            <a:endParaRPr lang="en-US"/>
          </a:p>
        </p:txBody>
      </p:sp>
    </p:spTree>
    <p:extLst>
      <p:ext uri="{BB962C8B-B14F-4D97-AF65-F5344CB8AC3E}">
        <p14:creationId xmlns:p14="http://schemas.microsoft.com/office/powerpoint/2010/main" val="1418806771"/>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9413457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7</a:t>
            </a:fld>
            <a:endParaRPr lang="en-US"/>
          </a:p>
        </p:txBody>
      </p:sp>
    </p:spTree>
    <p:extLst>
      <p:ext uri="{BB962C8B-B14F-4D97-AF65-F5344CB8AC3E}">
        <p14:creationId xmlns:p14="http://schemas.microsoft.com/office/powerpoint/2010/main" val="3864386307"/>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18500157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8</a:t>
            </a:fld>
            <a:endParaRPr lang="en-US"/>
          </a:p>
        </p:txBody>
      </p:sp>
    </p:spTree>
    <p:extLst>
      <p:ext uri="{BB962C8B-B14F-4D97-AF65-F5344CB8AC3E}">
        <p14:creationId xmlns:p14="http://schemas.microsoft.com/office/powerpoint/2010/main" val="525664508"/>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5530453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9</a:t>
            </a:fld>
            <a:endParaRPr lang="en-US"/>
          </a:p>
        </p:txBody>
      </p:sp>
    </p:spTree>
    <p:extLst>
      <p:ext uri="{BB962C8B-B14F-4D97-AF65-F5344CB8AC3E}">
        <p14:creationId xmlns:p14="http://schemas.microsoft.com/office/powerpoint/2010/main" val="939314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078751386"/>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1110219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0</a:t>
            </a:fld>
            <a:endParaRPr lang="en-US"/>
          </a:p>
        </p:txBody>
      </p:sp>
    </p:spTree>
    <p:extLst>
      <p:ext uri="{BB962C8B-B14F-4D97-AF65-F5344CB8AC3E}">
        <p14:creationId xmlns:p14="http://schemas.microsoft.com/office/powerpoint/2010/main" val="2826722751"/>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9315002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1</a:t>
            </a:fld>
            <a:endParaRPr lang="en-US"/>
          </a:p>
        </p:txBody>
      </p:sp>
    </p:spTree>
    <p:extLst>
      <p:ext uri="{BB962C8B-B14F-4D97-AF65-F5344CB8AC3E}">
        <p14:creationId xmlns:p14="http://schemas.microsoft.com/office/powerpoint/2010/main" val="93783325"/>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112153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2</a:t>
            </a:fld>
            <a:endParaRPr lang="en-US"/>
          </a:p>
        </p:txBody>
      </p:sp>
    </p:spTree>
    <p:extLst>
      <p:ext uri="{BB962C8B-B14F-4D97-AF65-F5344CB8AC3E}">
        <p14:creationId xmlns:p14="http://schemas.microsoft.com/office/powerpoint/2010/main" val="4214974081"/>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9704749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3</a:t>
            </a:fld>
            <a:endParaRPr lang="en-US"/>
          </a:p>
        </p:txBody>
      </p:sp>
    </p:spTree>
    <p:extLst>
      <p:ext uri="{BB962C8B-B14F-4D97-AF65-F5344CB8AC3E}">
        <p14:creationId xmlns:p14="http://schemas.microsoft.com/office/powerpoint/2010/main" val="43273253"/>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0403628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4</a:t>
            </a:fld>
            <a:endParaRPr lang="en-US"/>
          </a:p>
        </p:txBody>
      </p:sp>
    </p:spTree>
    <p:extLst>
      <p:ext uri="{BB962C8B-B14F-4D97-AF65-F5344CB8AC3E}">
        <p14:creationId xmlns:p14="http://schemas.microsoft.com/office/powerpoint/2010/main" val="1266823081"/>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4494604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5</a:t>
            </a:fld>
            <a:endParaRPr lang="en-US"/>
          </a:p>
        </p:txBody>
      </p:sp>
    </p:spTree>
    <p:extLst>
      <p:ext uri="{BB962C8B-B14F-4D97-AF65-F5344CB8AC3E}">
        <p14:creationId xmlns:p14="http://schemas.microsoft.com/office/powerpoint/2010/main" val="1666260455"/>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6616778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6</a:t>
            </a:fld>
            <a:endParaRPr lang="en-US"/>
          </a:p>
        </p:txBody>
      </p:sp>
    </p:spTree>
    <p:extLst>
      <p:ext uri="{BB962C8B-B14F-4D97-AF65-F5344CB8AC3E}">
        <p14:creationId xmlns:p14="http://schemas.microsoft.com/office/powerpoint/2010/main" val="2336308327"/>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3953340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7</a:t>
            </a:fld>
            <a:endParaRPr lang="en-US"/>
          </a:p>
        </p:txBody>
      </p:sp>
    </p:spTree>
    <p:extLst>
      <p:ext uri="{BB962C8B-B14F-4D97-AF65-F5344CB8AC3E}">
        <p14:creationId xmlns:p14="http://schemas.microsoft.com/office/powerpoint/2010/main" val="2279123859"/>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7508887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8</a:t>
            </a:fld>
            <a:endParaRPr lang="en-US"/>
          </a:p>
        </p:txBody>
      </p:sp>
    </p:spTree>
    <p:extLst>
      <p:ext uri="{BB962C8B-B14F-4D97-AF65-F5344CB8AC3E}">
        <p14:creationId xmlns:p14="http://schemas.microsoft.com/office/powerpoint/2010/main" val="368488748"/>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8441272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9</a:t>
            </a:fld>
            <a:endParaRPr lang="en-US"/>
          </a:p>
        </p:txBody>
      </p:sp>
    </p:spTree>
    <p:extLst>
      <p:ext uri="{BB962C8B-B14F-4D97-AF65-F5344CB8AC3E}">
        <p14:creationId xmlns:p14="http://schemas.microsoft.com/office/powerpoint/2010/main" val="7992110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322961262"/>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12913557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0</a:t>
            </a:fld>
            <a:endParaRPr lang="en-US"/>
          </a:p>
        </p:txBody>
      </p:sp>
    </p:spTree>
    <p:extLst>
      <p:ext uri="{BB962C8B-B14F-4D97-AF65-F5344CB8AC3E}">
        <p14:creationId xmlns:p14="http://schemas.microsoft.com/office/powerpoint/2010/main" val="4283408339"/>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136380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1</a:t>
            </a:fld>
            <a:endParaRPr lang="en-US"/>
          </a:p>
        </p:txBody>
      </p:sp>
    </p:spTree>
    <p:extLst>
      <p:ext uri="{BB962C8B-B14F-4D97-AF65-F5344CB8AC3E}">
        <p14:creationId xmlns:p14="http://schemas.microsoft.com/office/powerpoint/2010/main" val="3807686396"/>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806835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2</a:t>
            </a:fld>
            <a:endParaRPr lang="en-US"/>
          </a:p>
        </p:txBody>
      </p:sp>
    </p:spTree>
    <p:extLst>
      <p:ext uri="{BB962C8B-B14F-4D97-AF65-F5344CB8AC3E}">
        <p14:creationId xmlns:p14="http://schemas.microsoft.com/office/powerpoint/2010/main" val="4289634058"/>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0779647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3</a:t>
            </a:fld>
            <a:endParaRPr lang="en-US"/>
          </a:p>
        </p:txBody>
      </p:sp>
    </p:spTree>
    <p:extLst>
      <p:ext uri="{BB962C8B-B14F-4D97-AF65-F5344CB8AC3E}">
        <p14:creationId xmlns:p14="http://schemas.microsoft.com/office/powerpoint/2010/main" val="193810073"/>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688038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4</a:t>
            </a:fld>
            <a:endParaRPr lang="en-US"/>
          </a:p>
        </p:txBody>
      </p:sp>
    </p:spTree>
    <p:extLst>
      <p:ext uri="{BB962C8B-B14F-4D97-AF65-F5344CB8AC3E}">
        <p14:creationId xmlns:p14="http://schemas.microsoft.com/office/powerpoint/2010/main" val="908111412"/>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5474000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5</a:t>
            </a:fld>
            <a:endParaRPr lang="en-US"/>
          </a:p>
        </p:txBody>
      </p:sp>
    </p:spTree>
    <p:extLst>
      <p:ext uri="{BB962C8B-B14F-4D97-AF65-F5344CB8AC3E}">
        <p14:creationId xmlns:p14="http://schemas.microsoft.com/office/powerpoint/2010/main" val="2243760915"/>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8198348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6</a:t>
            </a:fld>
            <a:endParaRPr lang="en-US"/>
          </a:p>
        </p:txBody>
      </p:sp>
    </p:spTree>
    <p:extLst>
      <p:ext uri="{BB962C8B-B14F-4D97-AF65-F5344CB8AC3E}">
        <p14:creationId xmlns:p14="http://schemas.microsoft.com/office/powerpoint/2010/main" val="654009104"/>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4965996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7</a:t>
            </a:fld>
            <a:endParaRPr lang="en-US"/>
          </a:p>
        </p:txBody>
      </p:sp>
    </p:spTree>
    <p:extLst>
      <p:ext uri="{BB962C8B-B14F-4D97-AF65-F5344CB8AC3E}">
        <p14:creationId xmlns:p14="http://schemas.microsoft.com/office/powerpoint/2010/main" val="2233957324"/>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2525132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8</a:t>
            </a:fld>
            <a:endParaRPr lang="en-US"/>
          </a:p>
        </p:txBody>
      </p:sp>
    </p:spTree>
    <p:extLst>
      <p:ext uri="{BB962C8B-B14F-4D97-AF65-F5344CB8AC3E}">
        <p14:creationId xmlns:p14="http://schemas.microsoft.com/office/powerpoint/2010/main" val="625335878"/>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5683934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9</a:t>
            </a:fld>
            <a:endParaRPr lang="en-US"/>
          </a:p>
        </p:txBody>
      </p:sp>
    </p:spTree>
    <p:extLst>
      <p:ext uri="{BB962C8B-B14F-4D97-AF65-F5344CB8AC3E}">
        <p14:creationId xmlns:p14="http://schemas.microsoft.com/office/powerpoint/2010/main" val="11418453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Hyper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3708894973"/>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5885451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0</a:t>
            </a:fld>
            <a:endParaRPr lang="en-US"/>
          </a:p>
        </p:txBody>
      </p:sp>
    </p:spTree>
    <p:extLst>
      <p:ext uri="{BB962C8B-B14F-4D97-AF65-F5344CB8AC3E}">
        <p14:creationId xmlns:p14="http://schemas.microsoft.com/office/powerpoint/2010/main" val="156914436"/>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5576797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1</a:t>
            </a:fld>
            <a:endParaRPr lang="en-US"/>
          </a:p>
        </p:txBody>
      </p:sp>
    </p:spTree>
    <p:extLst>
      <p:ext uri="{BB962C8B-B14F-4D97-AF65-F5344CB8AC3E}">
        <p14:creationId xmlns:p14="http://schemas.microsoft.com/office/powerpoint/2010/main" val="3308690385"/>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8813976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2</a:t>
            </a:fld>
            <a:endParaRPr lang="en-US"/>
          </a:p>
        </p:txBody>
      </p:sp>
    </p:spTree>
    <p:extLst>
      <p:ext uri="{BB962C8B-B14F-4D97-AF65-F5344CB8AC3E}">
        <p14:creationId xmlns:p14="http://schemas.microsoft.com/office/powerpoint/2010/main" val="3498124283"/>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9834971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3</a:t>
            </a:fld>
            <a:endParaRPr lang="en-US"/>
          </a:p>
        </p:txBody>
      </p:sp>
    </p:spTree>
    <p:extLst>
      <p:ext uri="{BB962C8B-B14F-4D97-AF65-F5344CB8AC3E}">
        <p14:creationId xmlns:p14="http://schemas.microsoft.com/office/powerpoint/2010/main" val="1736357563"/>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36775986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4</a:t>
            </a:fld>
            <a:endParaRPr lang="en-US"/>
          </a:p>
        </p:txBody>
      </p:sp>
    </p:spTree>
    <p:extLst>
      <p:ext uri="{BB962C8B-B14F-4D97-AF65-F5344CB8AC3E}">
        <p14:creationId xmlns:p14="http://schemas.microsoft.com/office/powerpoint/2010/main" val="848536341"/>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4116032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5</a:t>
            </a:fld>
            <a:endParaRPr lang="en-US"/>
          </a:p>
        </p:txBody>
      </p:sp>
    </p:spTree>
    <p:extLst>
      <p:ext uri="{BB962C8B-B14F-4D97-AF65-F5344CB8AC3E}">
        <p14:creationId xmlns:p14="http://schemas.microsoft.com/office/powerpoint/2010/main" val="3782066755"/>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64367714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6</a:t>
            </a:fld>
            <a:endParaRPr lang="en-US"/>
          </a:p>
        </p:txBody>
      </p:sp>
    </p:spTree>
    <p:extLst>
      <p:ext uri="{BB962C8B-B14F-4D97-AF65-F5344CB8AC3E}">
        <p14:creationId xmlns:p14="http://schemas.microsoft.com/office/powerpoint/2010/main" val="2922797868"/>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1045965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7</a:t>
            </a:fld>
            <a:endParaRPr lang="en-US"/>
          </a:p>
        </p:txBody>
      </p:sp>
    </p:spTree>
    <p:extLst>
      <p:ext uri="{BB962C8B-B14F-4D97-AF65-F5344CB8AC3E}">
        <p14:creationId xmlns:p14="http://schemas.microsoft.com/office/powerpoint/2010/main" val="1283799659"/>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64715527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8</a:t>
            </a:fld>
            <a:endParaRPr lang="en-US"/>
          </a:p>
        </p:txBody>
      </p:sp>
    </p:spTree>
    <p:extLst>
      <p:ext uri="{BB962C8B-B14F-4D97-AF65-F5344CB8AC3E}">
        <p14:creationId xmlns:p14="http://schemas.microsoft.com/office/powerpoint/2010/main" val="4188122100"/>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4754977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9</a:t>
            </a:fld>
            <a:endParaRPr lang="en-US"/>
          </a:p>
        </p:txBody>
      </p:sp>
    </p:spTree>
    <p:extLst>
      <p:ext uri="{BB962C8B-B14F-4D97-AF65-F5344CB8AC3E}">
        <p14:creationId xmlns:p14="http://schemas.microsoft.com/office/powerpoint/2010/main" val="13893160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Supermarket + Driv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674202517"/>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3450034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0</a:t>
            </a:fld>
            <a:endParaRPr lang="en-US"/>
          </a:p>
        </p:txBody>
      </p:sp>
    </p:spTree>
    <p:extLst>
      <p:ext uri="{BB962C8B-B14F-4D97-AF65-F5344CB8AC3E}">
        <p14:creationId xmlns:p14="http://schemas.microsoft.com/office/powerpoint/2010/main" val="1634471161"/>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3032836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1</a:t>
            </a:fld>
            <a:endParaRPr lang="en-US"/>
          </a:p>
        </p:txBody>
      </p:sp>
    </p:spTree>
    <p:extLst>
      <p:ext uri="{BB962C8B-B14F-4D97-AF65-F5344CB8AC3E}">
        <p14:creationId xmlns:p14="http://schemas.microsoft.com/office/powerpoint/2010/main" val="2399708849"/>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4842287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2</a:t>
            </a:fld>
            <a:endParaRPr lang="en-US"/>
          </a:p>
        </p:txBody>
      </p:sp>
    </p:spTree>
    <p:extLst>
      <p:ext uri="{BB962C8B-B14F-4D97-AF65-F5344CB8AC3E}">
        <p14:creationId xmlns:p14="http://schemas.microsoft.com/office/powerpoint/2010/main" val="4265346294"/>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1869676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3</a:t>
            </a:fld>
            <a:endParaRPr lang="en-US"/>
          </a:p>
        </p:txBody>
      </p:sp>
    </p:spTree>
    <p:extLst>
      <p:ext uri="{BB962C8B-B14F-4D97-AF65-F5344CB8AC3E}">
        <p14:creationId xmlns:p14="http://schemas.microsoft.com/office/powerpoint/2010/main" val="931966302"/>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0642171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4</a:t>
            </a:fld>
            <a:endParaRPr lang="en-US"/>
          </a:p>
        </p:txBody>
      </p:sp>
    </p:spTree>
    <p:extLst>
      <p:ext uri="{BB962C8B-B14F-4D97-AF65-F5344CB8AC3E}">
        <p14:creationId xmlns:p14="http://schemas.microsoft.com/office/powerpoint/2010/main" val="1402875241"/>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847856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5</a:t>
            </a:fld>
            <a:endParaRPr lang="en-US"/>
          </a:p>
        </p:txBody>
      </p:sp>
    </p:spTree>
    <p:extLst>
      <p:ext uri="{BB962C8B-B14F-4D97-AF65-F5344CB8AC3E}">
        <p14:creationId xmlns:p14="http://schemas.microsoft.com/office/powerpoint/2010/main" val="3189208552"/>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5320713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6</a:t>
            </a:fld>
            <a:endParaRPr lang="en-US"/>
          </a:p>
        </p:txBody>
      </p:sp>
    </p:spTree>
    <p:extLst>
      <p:ext uri="{BB962C8B-B14F-4D97-AF65-F5344CB8AC3E}">
        <p14:creationId xmlns:p14="http://schemas.microsoft.com/office/powerpoint/2010/main" val="557661622"/>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6617648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7</a:t>
            </a:fld>
            <a:endParaRPr lang="en-US"/>
          </a:p>
        </p:txBody>
      </p:sp>
    </p:spTree>
    <p:extLst>
      <p:ext uri="{BB962C8B-B14F-4D97-AF65-F5344CB8AC3E}">
        <p14:creationId xmlns:p14="http://schemas.microsoft.com/office/powerpoint/2010/main" val="3865636640"/>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16329514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8</a:t>
            </a:fld>
            <a:endParaRPr lang="en-US"/>
          </a:p>
        </p:txBody>
      </p:sp>
    </p:spTree>
    <p:extLst>
      <p:ext uri="{BB962C8B-B14F-4D97-AF65-F5344CB8AC3E}">
        <p14:creationId xmlns:p14="http://schemas.microsoft.com/office/powerpoint/2010/main" val="3959673833"/>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8164256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9</a:t>
            </a:fld>
            <a:endParaRPr lang="en-US"/>
          </a:p>
        </p:txBody>
      </p:sp>
    </p:spTree>
    <p:extLst>
      <p:ext uri="{BB962C8B-B14F-4D97-AF65-F5344CB8AC3E}">
        <p14:creationId xmlns:p14="http://schemas.microsoft.com/office/powerpoint/2010/main" val="13197022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Proximit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396939489"/>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8469855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0</a:t>
            </a:fld>
            <a:endParaRPr lang="en-US"/>
          </a:p>
        </p:txBody>
      </p:sp>
    </p:spTree>
    <p:extLst>
      <p:ext uri="{BB962C8B-B14F-4D97-AF65-F5344CB8AC3E}">
        <p14:creationId xmlns:p14="http://schemas.microsoft.com/office/powerpoint/2010/main" val="37033114"/>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6386787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1</a:t>
            </a:fld>
            <a:endParaRPr lang="en-US"/>
          </a:p>
        </p:txBody>
      </p:sp>
    </p:spTree>
    <p:extLst>
      <p:ext uri="{BB962C8B-B14F-4D97-AF65-F5344CB8AC3E}">
        <p14:creationId xmlns:p14="http://schemas.microsoft.com/office/powerpoint/2010/main" val="3945108593"/>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5967064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2</a:t>
            </a:fld>
            <a:endParaRPr lang="en-US"/>
          </a:p>
        </p:txBody>
      </p:sp>
    </p:spTree>
    <p:extLst>
      <p:ext uri="{BB962C8B-B14F-4D97-AF65-F5344CB8AC3E}">
        <p14:creationId xmlns:p14="http://schemas.microsoft.com/office/powerpoint/2010/main" val="2291503999"/>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0641689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3</a:t>
            </a:fld>
            <a:endParaRPr lang="en-US"/>
          </a:p>
        </p:txBody>
      </p:sp>
    </p:spTree>
    <p:extLst>
      <p:ext uri="{BB962C8B-B14F-4D97-AF65-F5344CB8AC3E}">
        <p14:creationId xmlns:p14="http://schemas.microsoft.com/office/powerpoint/2010/main" val="2045322940"/>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2034470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4</a:t>
            </a:fld>
            <a:endParaRPr lang="en-US"/>
          </a:p>
        </p:txBody>
      </p:sp>
    </p:spTree>
    <p:extLst>
      <p:ext uri="{BB962C8B-B14F-4D97-AF65-F5344CB8AC3E}">
        <p14:creationId xmlns:p14="http://schemas.microsoft.com/office/powerpoint/2010/main" val="686391420"/>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5053279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5</a:t>
            </a:fld>
            <a:endParaRPr lang="en-US"/>
          </a:p>
        </p:txBody>
      </p:sp>
    </p:spTree>
    <p:extLst>
      <p:ext uri="{BB962C8B-B14F-4D97-AF65-F5344CB8AC3E}">
        <p14:creationId xmlns:p14="http://schemas.microsoft.com/office/powerpoint/2010/main" val="1048191491"/>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4021046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6</a:t>
            </a:fld>
            <a:endParaRPr lang="en-US"/>
          </a:p>
        </p:txBody>
      </p:sp>
    </p:spTree>
    <p:extLst>
      <p:ext uri="{BB962C8B-B14F-4D97-AF65-F5344CB8AC3E}">
        <p14:creationId xmlns:p14="http://schemas.microsoft.com/office/powerpoint/2010/main" val="2293801809"/>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5006752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7</a:t>
            </a:fld>
            <a:endParaRPr lang="en-US"/>
          </a:p>
        </p:txBody>
      </p:sp>
    </p:spTree>
    <p:extLst>
      <p:ext uri="{BB962C8B-B14F-4D97-AF65-F5344CB8AC3E}">
        <p14:creationId xmlns:p14="http://schemas.microsoft.com/office/powerpoint/2010/main" val="611401891"/>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867476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8</a:t>
            </a:fld>
            <a:endParaRPr lang="en-US"/>
          </a:p>
        </p:txBody>
      </p:sp>
    </p:spTree>
    <p:extLst>
      <p:ext uri="{BB962C8B-B14F-4D97-AF65-F5344CB8AC3E}">
        <p14:creationId xmlns:p14="http://schemas.microsoft.com/office/powerpoint/2010/main" val="3990702913"/>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6314580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9</a:t>
            </a:fld>
            <a:endParaRPr lang="en-US"/>
          </a:p>
        </p:txBody>
      </p:sp>
    </p:spTree>
    <p:extLst>
      <p:ext uri="{BB962C8B-B14F-4D97-AF65-F5344CB8AC3E}">
        <p14:creationId xmlns:p14="http://schemas.microsoft.com/office/powerpoint/2010/main" val="2894425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Proximite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26112660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Su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557422284"/>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8972179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0</a:t>
            </a:fld>
            <a:endParaRPr lang="en-US"/>
          </a:p>
        </p:txBody>
      </p:sp>
    </p:spTree>
    <p:extLst>
      <p:ext uri="{BB962C8B-B14F-4D97-AF65-F5344CB8AC3E}">
        <p14:creationId xmlns:p14="http://schemas.microsoft.com/office/powerpoint/2010/main" val="330920321"/>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067784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1</a:t>
            </a:fld>
            <a:endParaRPr lang="en-US"/>
          </a:p>
        </p:txBody>
      </p:sp>
    </p:spTree>
    <p:extLst>
      <p:ext uri="{BB962C8B-B14F-4D97-AF65-F5344CB8AC3E}">
        <p14:creationId xmlns:p14="http://schemas.microsoft.com/office/powerpoint/2010/main" val="3366719215"/>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34903417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2</a:t>
            </a:fld>
            <a:endParaRPr lang="en-US"/>
          </a:p>
        </p:txBody>
      </p:sp>
    </p:spTree>
    <p:extLst>
      <p:ext uri="{BB962C8B-B14F-4D97-AF65-F5344CB8AC3E}">
        <p14:creationId xmlns:p14="http://schemas.microsoft.com/office/powerpoint/2010/main" val="253202571"/>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Hyper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6116201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3</a:t>
            </a:fld>
            <a:endParaRPr lang="en-US"/>
          </a:p>
        </p:txBody>
      </p:sp>
    </p:spTree>
    <p:extLst>
      <p:ext uri="{BB962C8B-B14F-4D97-AF65-F5344CB8AC3E}">
        <p14:creationId xmlns:p14="http://schemas.microsoft.com/office/powerpoint/2010/main" val="148763889"/>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Supermarket + Driv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0606431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4</a:t>
            </a:fld>
            <a:endParaRPr lang="en-US"/>
          </a:p>
        </p:txBody>
      </p:sp>
    </p:spTree>
    <p:extLst>
      <p:ext uri="{BB962C8B-B14F-4D97-AF65-F5344CB8AC3E}">
        <p14:creationId xmlns:p14="http://schemas.microsoft.com/office/powerpoint/2010/main" val="293411147"/>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Proximite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9951156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5</a:t>
            </a:fld>
            <a:endParaRPr lang="en-US"/>
          </a:p>
        </p:txBody>
      </p:sp>
    </p:spTree>
    <p:extLst>
      <p:ext uri="{BB962C8B-B14F-4D97-AF65-F5344CB8AC3E}">
        <p14:creationId xmlns:p14="http://schemas.microsoft.com/office/powerpoint/2010/main" val="4209976864"/>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Su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29172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6</a:t>
            </a:fld>
            <a:endParaRPr lang="en-US"/>
          </a:p>
        </p:txBody>
      </p:sp>
    </p:spTree>
    <p:extLst>
      <p:ext uri="{BB962C8B-B14F-4D97-AF65-F5344CB8AC3E}">
        <p14:creationId xmlns:p14="http://schemas.microsoft.com/office/powerpoint/2010/main" val="2322343704"/>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Hyper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7141717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7</a:t>
            </a:fld>
            <a:endParaRPr lang="en-US"/>
          </a:p>
        </p:txBody>
      </p:sp>
    </p:spTree>
    <p:extLst>
      <p:ext uri="{BB962C8B-B14F-4D97-AF65-F5344CB8AC3E}">
        <p14:creationId xmlns:p14="http://schemas.microsoft.com/office/powerpoint/2010/main" val="3215186733"/>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Proxi | P3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5214124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8</a:t>
            </a:fld>
            <a:endParaRPr lang="en-US"/>
          </a:p>
        </p:txBody>
      </p:sp>
    </p:spTree>
    <p:extLst>
      <p:ext uri="{BB962C8B-B14F-4D97-AF65-F5344CB8AC3E}">
        <p14:creationId xmlns:p14="http://schemas.microsoft.com/office/powerpoint/2010/main" val="1680951710"/>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1%</a:t>
                      </a:r>
                    </a:p>
                  </a:txBody>
                  <a:tcPr marL="3810" marR="3810" marT="3810" marB="0" anchor="ctr">
                    <a:noFill/>
                  </a:tcPr>
                </a:tc>
                <a:tc>
                  <a:txBody>
                    <a:bodyPr/>
                    <a:lstStyle/>
                    <a:p>
                      <a:pPr algn="ctr">
                        <a:defRPr sz="800">
                          <a:latin typeface="Nexa Book"/>
                        </a:defRPr>
                      </a:pPr>
                      <a:r>
                        <a:t>5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09</a:t>
            </a:fld>
            <a:endParaRPr lang="en-US"/>
          </a:p>
        </p:txBody>
      </p:sp>
    </p:spTree>
    <p:extLst>
      <p:ext uri="{BB962C8B-B14F-4D97-AF65-F5344CB8AC3E}">
        <p14:creationId xmlns:p14="http://schemas.microsoft.com/office/powerpoint/2010/main" val="32109534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Hy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3374191570"/>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4</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09</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10</a:t>
            </a:fld>
            <a:endParaRPr lang="en-US"/>
          </a:p>
        </p:txBody>
      </p:sp>
    </p:spTree>
    <p:extLst>
      <p:ext uri="{BB962C8B-B14F-4D97-AF65-F5344CB8AC3E}">
        <p14:creationId xmlns:p14="http://schemas.microsoft.com/office/powerpoint/2010/main" val="2164347922"/>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53%</a:t>
                      </a:r>
                    </a:p>
                  </a:txBody>
                  <a:tcPr marL="3810" marR="3810" marT="3810" marB="0" anchor="ctr">
                    <a:noFill/>
                  </a:tcPr>
                </a:tc>
                <a:tc>
                  <a:txBody>
                    <a:bodyPr/>
                    <a:lstStyle/>
                    <a:p>
                      <a:pPr algn="ctr">
                        <a:defRPr sz="800">
                          <a:latin typeface="Nexa Book"/>
                        </a:defRPr>
                      </a:pPr>
                      <a:r>
                        <a:t>6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11</a:t>
            </a:fld>
            <a:endParaRPr lang="en-US"/>
          </a:p>
        </p:txBody>
      </p:sp>
    </p:spTree>
    <p:extLst>
      <p:ext uri="{BB962C8B-B14F-4D97-AF65-F5344CB8AC3E}">
        <p14:creationId xmlns:p14="http://schemas.microsoft.com/office/powerpoint/2010/main" val="3942477773"/>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56%</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4</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77</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12</a:t>
            </a:fld>
            <a:endParaRPr lang="en-US"/>
          </a:p>
        </p:txBody>
      </p:sp>
    </p:spTree>
    <p:extLst>
      <p:ext uri="{BB962C8B-B14F-4D97-AF65-F5344CB8AC3E}">
        <p14:creationId xmlns:p14="http://schemas.microsoft.com/office/powerpoint/2010/main" val="2044540035"/>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56%</a:t>
                      </a:r>
                    </a:p>
                  </a:txBody>
                  <a:tcPr marL="3810" marR="3810" marT="3810" marB="0" anchor="ctr">
                    <a:noFill/>
                  </a:tcPr>
                </a:tc>
                <a:tc>
                  <a:txBody>
                    <a:bodyPr/>
                    <a:lstStyle/>
                    <a:p>
                      <a:pPr algn="ctr">
                        <a:defRPr sz="800">
                          <a:latin typeface="Nexa Book"/>
                        </a:defRPr>
                      </a:pPr>
                      <a:r>
                        <a:t>70%</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4</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32</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13</a:t>
            </a:fld>
            <a:endParaRPr lang="en-US"/>
          </a:p>
        </p:txBody>
      </p:sp>
    </p:spTree>
    <p:extLst>
      <p:ext uri="{BB962C8B-B14F-4D97-AF65-F5344CB8AC3E}">
        <p14:creationId xmlns:p14="http://schemas.microsoft.com/office/powerpoint/2010/main" val="2874868057"/>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5</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52%</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6</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64</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14</a:t>
            </a:fld>
            <a:endParaRPr lang="en-US"/>
          </a:p>
        </p:txBody>
      </p:sp>
    </p:spTree>
    <p:extLst>
      <p:ext uri="{BB962C8B-B14F-4D97-AF65-F5344CB8AC3E}">
        <p14:creationId xmlns:p14="http://schemas.microsoft.com/office/powerpoint/2010/main" val="1769494250"/>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56%</a:t>
                      </a:r>
                    </a:p>
                  </a:txBody>
                  <a:tcPr marL="3810" marR="3810" marT="3810" marB="0" anchor="ctr">
                    <a:noFill/>
                  </a:tcPr>
                </a:tc>
                <a:tc>
                  <a:txBody>
                    <a:bodyPr/>
                    <a:lstStyle/>
                    <a:p>
                      <a:pPr algn="ctr">
                        <a:defRPr sz="800">
                          <a:latin typeface="Nexa Book"/>
                        </a:defRPr>
                      </a:pPr>
                      <a:r>
                        <a:t>69%</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29</a:t>
                      </a:r>
                    </a:p>
                  </a:txBody>
                  <a:tcPr marL="3810" marR="3810" marT="3810" marB="0" anchor="ctr">
                    <a:noFill/>
                  </a:tcPr>
                </a:tc>
                <a:tc>
                  <a:txBody>
                    <a:bodyPr/>
                    <a:lstStyle/>
                    <a:p>
                      <a:pPr algn="ctr">
                        <a:defRPr sz="800">
                          <a:latin typeface="Nexa Book"/>
                        </a:defRPr>
                      </a:pPr>
                      <a:r>
                        <a:t>3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15</a:t>
            </a:fld>
            <a:endParaRPr lang="en-US"/>
          </a:p>
        </p:txBody>
      </p:sp>
    </p:spTree>
    <p:extLst>
      <p:ext uri="{BB962C8B-B14F-4D97-AF65-F5344CB8AC3E}">
        <p14:creationId xmlns:p14="http://schemas.microsoft.com/office/powerpoint/2010/main" val="1339668621"/>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53%</a:t>
                      </a:r>
                    </a:p>
                  </a:txBody>
                  <a:tcPr marL="3810" marR="3810" marT="3810" marB="0" anchor="ctr">
                    <a:noFill/>
                  </a:tcPr>
                </a:tc>
                <a:tc>
                  <a:txBody>
                    <a:bodyPr/>
                    <a:lstStyle/>
                    <a:p>
                      <a:pPr algn="ctr">
                        <a:defRPr sz="800">
                          <a:latin typeface="Nexa Book"/>
                        </a:defRPr>
                      </a:pPr>
                      <a:r>
                        <a:t>69%</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4</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52</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16</a:t>
            </a:fld>
            <a:endParaRPr lang="en-US"/>
          </a:p>
        </p:txBody>
      </p:sp>
    </p:spTree>
    <p:extLst>
      <p:ext uri="{BB962C8B-B14F-4D97-AF65-F5344CB8AC3E}">
        <p14:creationId xmlns:p14="http://schemas.microsoft.com/office/powerpoint/2010/main" val="336882096"/>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6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17</a:t>
            </a:fld>
            <a:endParaRPr lang="en-US"/>
          </a:p>
        </p:txBody>
      </p:sp>
    </p:spTree>
    <p:extLst>
      <p:ext uri="{BB962C8B-B14F-4D97-AF65-F5344CB8AC3E}">
        <p14:creationId xmlns:p14="http://schemas.microsoft.com/office/powerpoint/2010/main" val="1495887772"/>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64</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18</a:t>
            </a:fld>
            <a:endParaRPr lang="en-US"/>
          </a:p>
        </p:txBody>
      </p:sp>
    </p:spTree>
    <p:extLst>
      <p:ext uri="{BB962C8B-B14F-4D97-AF65-F5344CB8AC3E}">
        <p14:creationId xmlns:p14="http://schemas.microsoft.com/office/powerpoint/2010/main" val="2072492520"/>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5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19</a:t>
            </a:fld>
            <a:endParaRPr lang="en-US"/>
          </a:p>
        </p:txBody>
      </p:sp>
    </p:spTree>
    <p:extLst>
      <p:ext uri="{BB962C8B-B14F-4D97-AF65-F5344CB8AC3E}">
        <p14:creationId xmlns:p14="http://schemas.microsoft.com/office/powerpoint/2010/main" val="10472734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Proxi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4223900745"/>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2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20</a:t>
            </a:fld>
            <a:endParaRPr lang="en-US"/>
          </a:p>
        </p:txBody>
      </p:sp>
    </p:spTree>
    <p:extLst>
      <p:ext uri="{BB962C8B-B14F-4D97-AF65-F5344CB8AC3E}">
        <p14:creationId xmlns:p14="http://schemas.microsoft.com/office/powerpoint/2010/main" val="2238928373"/>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5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21</a:t>
            </a:fld>
            <a:endParaRPr lang="en-US"/>
          </a:p>
        </p:txBody>
      </p:sp>
    </p:spTree>
    <p:extLst>
      <p:ext uri="{BB962C8B-B14F-4D97-AF65-F5344CB8AC3E}">
        <p14:creationId xmlns:p14="http://schemas.microsoft.com/office/powerpoint/2010/main" val="2612263340"/>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5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22</a:t>
            </a:fld>
            <a:endParaRPr lang="en-US"/>
          </a:p>
        </p:txBody>
      </p:sp>
    </p:spTree>
    <p:extLst>
      <p:ext uri="{BB962C8B-B14F-4D97-AF65-F5344CB8AC3E}">
        <p14:creationId xmlns:p14="http://schemas.microsoft.com/office/powerpoint/2010/main" val="1684498506"/>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29</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23</a:t>
            </a:fld>
            <a:endParaRPr lang="en-US"/>
          </a:p>
        </p:txBody>
      </p:sp>
    </p:spTree>
    <p:extLst>
      <p:ext uri="{BB962C8B-B14F-4D97-AF65-F5344CB8AC3E}">
        <p14:creationId xmlns:p14="http://schemas.microsoft.com/office/powerpoint/2010/main" val="1604315319"/>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2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24</a:t>
            </a:fld>
            <a:endParaRPr lang="en-US"/>
          </a:p>
        </p:txBody>
      </p:sp>
    </p:spTree>
    <p:extLst>
      <p:ext uri="{BB962C8B-B14F-4D97-AF65-F5344CB8AC3E}">
        <p14:creationId xmlns:p14="http://schemas.microsoft.com/office/powerpoint/2010/main" val="1892329429"/>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0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25</a:t>
            </a:fld>
            <a:endParaRPr lang="en-US"/>
          </a:p>
        </p:txBody>
      </p:sp>
    </p:spTree>
    <p:extLst>
      <p:ext uri="{BB962C8B-B14F-4D97-AF65-F5344CB8AC3E}">
        <p14:creationId xmlns:p14="http://schemas.microsoft.com/office/powerpoint/2010/main" val="852475156"/>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64</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26</a:t>
            </a:fld>
            <a:endParaRPr lang="en-US"/>
          </a:p>
        </p:txBody>
      </p:sp>
    </p:spTree>
    <p:extLst>
      <p:ext uri="{BB962C8B-B14F-4D97-AF65-F5344CB8AC3E}">
        <p14:creationId xmlns:p14="http://schemas.microsoft.com/office/powerpoint/2010/main" val="2534989051"/>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0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27</a:t>
            </a:fld>
            <a:endParaRPr lang="en-US"/>
          </a:p>
        </p:txBody>
      </p:sp>
    </p:spTree>
    <p:extLst>
      <p:ext uri="{BB962C8B-B14F-4D97-AF65-F5344CB8AC3E}">
        <p14:creationId xmlns:p14="http://schemas.microsoft.com/office/powerpoint/2010/main" val="302992253"/>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0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28</a:t>
            </a:fld>
            <a:endParaRPr lang="en-US"/>
          </a:p>
        </p:txBody>
      </p:sp>
    </p:spTree>
    <p:extLst>
      <p:ext uri="{BB962C8B-B14F-4D97-AF65-F5344CB8AC3E}">
        <p14:creationId xmlns:p14="http://schemas.microsoft.com/office/powerpoint/2010/main" val="3422951007"/>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29</a:t>
            </a:fld>
            <a:endParaRPr lang="en-US"/>
          </a:p>
        </p:txBody>
      </p:sp>
    </p:spTree>
    <p:extLst>
      <p:ext uri="{BB962C8B-B14F-4D97-AF65-F5344CB8AC3E}">
        <p14:creationId xmlns:p14="http://schemas.microsoft.com/office/powerpoint/2010/main" val="7776678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3266465964"/>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30</a:t>
            </a:fld>
            <a:endParaRPr lang="en-US"/>
          </a:p>
        </p:txBody>
      </p:sp>
    </p:spTree>
    <p:extLst>
      <p:ext uri="{BB962C8B-B14F-4D97-AF65-F5344CB8AC3E}">
        <p14:creationId xmlns:p14="http://schemas.microsoft.com/office/powerpoint/2010/main" val="2569798458"/>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31</a:t>
            </a:fld>
            <a:endParaRPr lang="en-US"/>
          </a:p>
        </p:txBody>
      </p:sp>
    </p:spTree>
    <p:extLst>
      <p:ext uri="{BB962C8B-B14F-4D97-AF65-F5344CB8AC3E}">
        <p14:creationId xmlns:p14="http://schemas.microsoft.com/office/powerpoint/2010/main" val="3532471004"/>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3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32</a:t>
            </a:fld>
            <a:endParaRPr lang="en-US"/>
          </a:p>
        </p:txBody>
      </p:sp>
    </p:spTree>
    <p:extLst>
      <p:ext uri="{BB962C8B-B14F-4D97-AF65-F5344CB8AC3E}">
        <p14:creationId xmlns:p14="http://schemas.microsoft.com/office/powerpoint/2010/main" val="1991703393"/>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3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33</a:t>
            </a:fld>
            <a:endParaRPr lang="en-US"/>
          </a:p>
        </p:txBody>
      </p:sp>
    </p:spTree>
    <p:extLst>
      <p:ext uri="{BB962C8B-B14F-4D97-AF65-F5344CB8AC3E}">
        <p14:creationId xmlns:p14="http://schemas.microsoft.com/office/powerpoint/2010/main" val="3309597191"/>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3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34</a:t>
            </a:fld>
            <a:endParaRPr lang="en-US"/>
          </a:p>
        </p:txBody>
      </p:sp>
    </p:spTree>
    <p:extLst>
      <p:ext uri="{BB962C8B-B14F-4D97-AF65-F5344CB8AC3E}">
        <p14:creationId xmlns:p14="http://schemas.microsoft.com/office/powerpoint/2010/main" val="4065736661"/>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77</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35</a:t>
            </a:fld>
            <a:endParaRPr lang="en-US"/>
          </a:p>
        </p:txBody>
      </p:sp>
    </p:spTree>
    <p:extLst>
      <p:ext uri="{BB962C8B-B14F-4D97-AF65-F5344CB8AC3E}">
        <p14:creationId xmlns:p14="http://schemas.microsoft.com/office/powerpoint/2010/main" val="2670726448"/>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7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36</a:t>
            </a:fld>
            <a:endParaRPr lang="en-US"/>
          </a:p>
        </p:txBody>
      </p:sp>
    </p:spTree>
    <p:extLst>
      <p:ext uri="{BB962C8B-B14F-4D97-AF65-F5344CB8AC3E}">
        <p14:creationId xmlns:p14="http://schemas.microsoft.com/office/powerpoint/2010/main" val="2578208686"/>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7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37</a:t>
            </a:fld>
            <a:endParaRPr lang="en-US"/>
          </a:p>
        </p:txBody>
      </p:sp>
    </p:spTree>
    <p:extLst>
      <p:ext uri="{BB962C8B-B14F-4D97-AF65-F5344CB8AC3E}">
        <p14:creationId xmlns:p14="http://schemas.microsoft.com/office/powerpoint/2010/main" val="2716148730"/>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38</a:t>
            </a:fld>
            <a:endParaRPr lang="en-US"/>
          </a:p>
        </p:txBody>
      </p:sp>
    </p:spTree>
    <p:extLst>
      <p:ext uri="{BB962C8B-B14F-4D97-AF65-F5344CB8AC3E}">
        <p14:creationId xmlns:p14="http://schemas.microsoft.com/office/powerpoint/2010/main" val="3391003097"/>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39</a:t>
            </a:fld>
            <a:endParaRPr lang="en-US"/>
          </a:p>
        </p:txBody>
      </p:sp>
    </p:spTree>
    <p:extLst>
      <p:ext uri="{BB962C8B-B14F-4D97-AF65-F5344CB8AC3E}">
        <p14:creationId xmlns:p14="http://schemas.microsoft.com/office/powerpoint/2010/main" val="27918032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9</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4249450572"/>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40</a:t>
            </a:fld>
            <a:endParaRPr lang="en-US"/>
          </a:p>
        </p:txBody>
      </p:sp>
    </p:spTree>
    <p:extLst>
      <p:ext uri="{BB962C8B-B14F-4D97-AF65-F5344CB8AC3E}">
        <p14:creationId xmlns:p14="http://schemas.microsoft.com/office/powerpoint/2010/main" val="585330334"/>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6%</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3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41</a:t>
            </a:fld>
            <a:endParaRPr lang="en-US"/>
          </a:p>
        </p:txBody>
      </p:sp>
    </p:spTree>
    <p:extLst>
      <p:ext uri="{BB962C8B-B14F-4D97-AF65-F5344CB8AC3E}">
        <p14:creationId xmlns:p14="http://schemas.microsoft.com/office/powerpoint/2010/main" val="2233260726"/>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8</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80%</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42</a:t>
            </a:fld>
            <a:endParaRPr lang="en-US"/>
          </a:p>
        </p:txBody>
      </p:sp>
    </p:spTree>
    <p:extLst>
      <p:ext uri="{BB962C8B-B14F-4D97-AF65-F5344CB8AC3E}">
        <p14:creationId xmlns:p14="http://schemas.microsoft.com/office/powerpoint/2010/main" val="4262657362"/>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77%</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43</a:t>
            </a:fld>
            <a:endParaRPr lang="en-US"/>
          </a:p>
        </p:txBody>
      </p:sp>
    </p:spTree>
    <p:extLst>
      <p:ext uri="{BB962C8B-B14F-4D97-AF65-F5344CB8AC3E}">
        <p14:creationId xmlns:p14="http://schemas.microsoft.com/office/powerpoint/2010/main" val="378908016"/>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0</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70%</a:t>
                      </a:r>
                    </a:p>
                  </a:txBody>
                  <a:tcPr marL="3810" marR="3810" marT="3810" marB="0" anchor="ctr">
                    <a:noFill/>
                  </a:tcPr>
                </a:tc>
                <a:tc>
                  <a:txBody>
                    <a:bodyPr/>
                    <a:lstStyle/>
                    <a:p>
                      <a:pPr algn="ctr">
                        <a:defRPr sz="800">
                          <a:latin typeface="Nexa Book"/>
                        </a:defRPr>
                      </a:pPr>
                      <a:r>
                        <a:t>78%</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44</a:t>
            </a:fld>
            <a:endParaRPr lang="en-US"/>
          </a:p>
        </p:txBody>
      </p:sp>
    </p:spTree>
    <p:extLst>
      <p:ext uri="{BB962C8B-B14F-4D97-AF65-F5344CB8AC3E}">
        <p14:creationId xmlns:p14="http://schemas.microsoft.com/office/powerpoint/2010/main" val="3759715512"/>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80%</a:t>
                      </a:r>
                    </a:p>
                  </a:txBody>
                  <a:tcPr marL="3810" marR="3810" marT="3810" marB="0" anchor="ctr">
                    <a:noFill/>
                  </a:tcPr>
                </a:tc>
                <a:tc>
                  <a:txBody>
                    <a:bodyPr/>
                    <a:lstStyle/>
                    <a:p>
                      <a:pPr algn="ctr">
                        <a:defRPr sz="800">
                          <a:latin typeface="Nexa Book"/>
                        </a:defRPr>
                      </a:pPr>
                      <a:r>
                        <a:t>8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45</a:t>
            </a:fld>
            <a:endParaRPr lang="en-US"/>
          </a:p>
        </p:txBody>
      </p:sp>
    </p:spTree>
    <p:extLst>
      <p:ext uri="{BB962C8B-B14F-4D97-AF65-F5344CB8AC3E}">
        <p14:creationId xmlns:p14="http://schemas.microsoft.com/office/powerpoint/2010/main" val="352970722"/>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83%</a:t>
                      </a:r>
                    </a:p>
                  </a:txBody>
                  <a:tcPr marL="3810" marR="3810" marT="3810" marB="0" anchor="ctr">
                    <a:noFill/>
                  </a:tcPr>
                </a:tc>
                <a:tc>
                  <a:txBody>
                    <a:bodyPr/>
                    <a:lstStyle/>
                    <a:p>
                      <a:pPr algn="ctr">
                        <a:defRPr sz="800">
                          <a:latin typeface="Nexa Book"/>
                        </a:defRPr>
                      </a:pPr>
                      <a:r>
                        <a:t>76%</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46</a:t>
            </a:fld>
            <a:endParaRPr lang="en-US"/>
          </a:p>
        </p:txBody>
      </p:sp>
    </p:spTree>
    <p:extLst>
      <p:ext uri="{BB962C8B-B14F-4D97-AF65-F5344CB8AC3E}">
        <p14:creationId xmlns:p14="http://schemas.microsoft.com/office/powerpoint/2010/main" val="2140174991"/>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81%</a:t>
                      </a:r>
                    </a:p>
                  </a:txBody>
                  <a:tcPr marL="3810" marR="3810" marT="3810" marB="0" anchor="ctr">
                    <a:noFill/>
                  </a:tcPr>
                </a:tc>
                <a:tc>
                  <a:txBody>
                    <a:bodyPr/>
                    <a:lstStyle/>
                    <a:p>
                      <a:pPr algn="ctr">
                        <a:defRPr sz="800">
                          <a:latin typeface="Nexa Book"/>
                        </a:defRPr>
                      </a:pPr>
                      <a:r>
                        <a:t>78%</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47</a:t>
            </a:fld>
            <a:endParaRPr lang="en-US"/>
          </a:p>
        </p:txBody>
      </p:sp>
    </p:spTree>
    <p:extLst>
      <p:ext uri="{BB962C8B-B14F-4D97-AF65-F5344CB8AC3E}">
        <p14:creationId xmlns:p14="http://schemas.microsoft.com/office/powerpoint/2010/main" val="3471455464"/>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70%</a:t>
                      </a:r>
                    </a:p>
                  </a:txBody>
                  <a:tcPr marL="3810" marR="3810" marT="3810" marB="0" anchor="ctr">
                    <a:noFill/>
                  </a:tcPr>
                </a:tc>
                <a:tc>
                  <a:txBody>
                    <a:bodyPr/>
                    <a:lstStyle/>
                    <a:p>
                      <a:pPr algn="ctr">
                        <a:defRPr sz="800">
                          <a:latin typeface="Nexa Book"/>
                        </a:defRPr>
                      </a:pPr>
                      <a:r>
                        <a:t>77%</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48</a:t>
            </a:fld>
            <a:endParaRPr lang="en-US"/>
          </a:p>
        </p:txBody>
      </p:sp>
    </p:spTree>
    <p:extLst>
      <p:ext uri="{BB962C8B-B14F-4D97-AF65-F5344CB8AC3E}">
        <p14:creationId xmlns:p14="http://schemas.microsoft.com/office/powerpoint/2010/main" val="3489933554"/>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49</a:t>
            </a:fld>
            <a:endParaRPr lang="en-US"/>
          </a:p>
        </p:txBody>
      </p:sp>
    </p:spTree>
    <p:extLst>
      <p:ext uri="{BB962C8B-B14F-4D97-AF65-F5344CB8AC3E}">
        <p14:creationId xmlns:p14="http://schemas.microsoft.com/office/powerpoint/2010/main" val="14926210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Hyper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1037444241"/>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0</a:t>
            </a:fld>
            <a:endParaRPr lang="en-US"/>
          </a:p>
        </p:txBody>
      </p:sp>
    </p:spTree>
    <p:extLst>
      <p:ext uri="{BB962C8B-B14F-4D97-AF65-F5344CB8AC3E}">
        <p14:creationId xmlns:p14="http://schemas.microsoft.com/office/powerpoint/2010/main" val="4030613258"/>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1</a:t>
            </a:fld>
            <a:endParaRPr lang="en-US"/>
          </a:p>
        </p:txBody>
      </p:sp>
    </p:spTree>
    <p:extLst>
      <p:ext uri="{BB962C8B-B14F-4D97-AF65-F5344CB8AC3E}">
        <p14:creationId xmlns:p14="http://schemas.microsoft.com/office/powerpoint/2010/main" val="118099541"/>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2</a:t>
            </a:fld>
            <a:endParaRPr lang="en-US"/>
          </a:p>
        </p:txBody>
      </p:sp>
    </p:spTree>
    <p:extLst>
      <p:ext uri="{BB962C8B-B14F-4D97-AF65-F5344CB8AC3E}">
        <p14:creationId xmlns:p14="http://schemas.microsoft.com/office/powerpoint/2010/main" val="311554183"/>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3</a:t>
            </a:fld>
            <a:endParaRPr lang="en-US"/>
          </a:p>
        </p:txBody>
      </p:sp>
    </p:spTree>
    <p:extLst>
      <p:ext uri="{BB962C8B-B14F-4D97-AF65-F5344CB8AC3E}">
        <p14:creationId xmlns:p14="http://schemas.microsoft.com/office/powerpoint/2010/main" val="1636146200"/>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4</a:t>
            </a:fld>
            <a:endParaRPr lang="en-US"/>
          </a:p>
        </p:txBody>
      </p:sp>
    </p:spTree>
    <p:extLst>
      <p:ext uri="{BB962C8B-B14F-4D97-AF65-F5344CB8AC3E}">
        <p14:creationId xmlns:p14="http://schemas.microsoft.com/office/powerpoint/2010/main" val="2101237534"/>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5</a:t>
            </a:fld>
            <a:endParaRPr lang="en-US"/>
          </a:p>
        </p:txBody>
      </p:sp>
    </p:spTree>
    <p:extLst>
      <p:ext uri="{BB962C8B-B14F-4D97-AF65-F5344CB8AC3E}">
        <p14:creationId xmlns:p14="http://schemas.microsoft.com/office/powerpoint/2010/main" val="1815395423"/>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6</a:t>
            </a:fld>
            <a:endParaRPr lang="en-US"/>
          </a:p>
        </p:txBody>
      </p:sp>
    </p:spTree>
    <p:extLst>
      <p:ext uri="{BB962C8B-B14F-4D97-AF65-F5344CB8AC3E}">
        <p14:creationId xmlns:p14="http://schemas.microsoft.com/office/powerpoint/2010/main" val="1986735198"/>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7</a:t>
            </a:fld>
            <a:endParaRPr lang="en-US"/>
          </a:p>
        </p:txBody>
      </p:sp>
    </p:spTree>
    <p:extLst>
      <p:ext uri="{BB962C8B-B14F-4D97-AF65-F5344CB8AC3E}">
        <p14:creationId xmlns:p14="http://schemas.microsoft.com/office/powerpoint/2010/main" val="4020349095"/>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8</a:t>
            </a:fld>
            <a:endParaRPr lang="en-US"/>
          </a:p>
        </p:txBody>
      </p:sp>
    </p:spTree>
    <p:extLst>
      <p:ext uri="{BB962C8B-B14F-4D97-AF65-F5344CB8AC3E}">
        <p14:creationId xmlns:p14="http://schemas.microsoft.com/office/powerpoint/2010/main" val="1755090297"/>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9</a:t>
            </a:fld>
            <a:endParaRPr lang="en-US"/>
          </a:p>
        </p:txBody>
      </p:sp>
    </p:spTree>
    <p:extLst>
      <p:ext uri="{BB962C8B-B14F-4D97-AF65-F5344CB8AC3E}">
        <p14:creationId xmlns:p14="http://schemas.microsoft.com/office/powerpoint/2010/main" val="102628518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Supermarket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626624939"/>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0</a:t>
            </a:fld>
            <a:endParaRPr lang="en-US"/>
          </a:p>
        </p:txBody>
      </p:sp>
    </p:spTree>
    <p:extLst>
      <p:ext uri="{BB962C8B-B14F-4D97-AF65-F5344CB8AC3E}">
        <p14:creationId xmlns:p14="http://schemas.microsoft.com/office/powerpoint/2010/main" val="847456762"/>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1</a:t>
            </a:fld>
            <a:endParaRPr lang="en-US"/>
          </a:p>
        </p:txBody>
      </p:sp>
    </p:spTree>
    <p:extLst>
      <p:ext uri="{BB962C8B-B14F-4D97-AF65-F5344CB8AC3E}">
        <p14:creationId xmlns:p14="http://schemas.microsoft.com/office/powerpoint/2010/main" val="2873173499"/>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2</a:t>
            </a:fld>
            <a:endParaRPr lang="en-US"/>
          </a:p>
        </p:txBody>
      </p:sp>
    </p:spTree>
    <p:extLst>
      <p:ext uri="{BB962C8B-B14F-4D97-AF65-F5344CB8AC3E}">
        <p14:creationId xmlns:p14="http://schemas.microsoft.com/office/powerpoint/2010/main" val="2310190749"/>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3</a:t>
            </a:fld>
            <a:endParaRPr lang="en-US"/>
          </a:p>
        </p:txBody>
      </p:sp>
    </p:spTree>
    <p:extLst>
      <p:ext uri="{BB962C8B-B14F-4D97-AF65-F5344CB8AC3E}">
        <p14:creationId xmlns:p14="http://schemas.microsoft.com/office/powerpoint/2010/main" val="596076961"/>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4</a:t>
            </a:fld>
            <a:endParaRPr lang="en-US"/>
          </a:p>
        </p:txBody>
      </p:sp>
    </p:spTree>
    <p:extLst>
      <p:ext uri="{BB962C8B-B14F-4D97-AF65-F5344CB8AC3E}">
        <p14:creationId xmlns:p14="http://schemas.microsoft.com/office/powerpoint/2010/main" val="777104673"/>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5</a:t>
            </a:fld>
            <a:endParaRPr lang="en-US"/>
          </a:p>
        </p:txBody>
      </p:sp>
    </p:spTree>
    <p:extLst>
      <p:ext uri="{BB962C8B-B14F-4D97-AF65-F5344CB8AC3E}">
        <p14:creationId xmlns:p14="http://schemas.microsoft.com/office/powerpoint/2010/main" val="1810316552"/>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6</a:t>
            </a:fld>
            <a:endParaRPr lang="en-US"/>
          </a:p>
        </p:txBody>
      </p:sp>
    </p:spTree>
    <p:extLst>
      <p:ext uri="{BB962C8B-B14F-4D97-AF65-F5344CB8AC3E}">
        <p14:creationId xmlns:p14="http://schemas.microsoft.com/office/powerpoint/2010/main" val="1786294284"/>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7</a:t>
            </a:fld>
            <a:endParaRPr lang="en-US"/>
          </a:p>
        </p:txBody>
      </p:sp>
    </p:spTree>
    <p:extLst>
      <p:ext uri="{BB962C8B-B14F-4D97-AF65-F5344CB8AC3E}">
        <p14:creationId xmlns:p14="http://schemas.microsoft.com/office/powerpoint/2010/main" val="1894910717"/>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8</a:t>
            </a:fld>
            <a:endParaRPr lang="en-US"/>
          </a:p>
        </p:txBody>
      </p:sp>
    </p:spTree>
    <p:extLst>
      <p:ext uri="{BB962C8B-B14F-4D97-AF65-F5344CB8AC3E}">
        <p14:creationId xmlns:p14="http://schemas.microsoft.com/office/powerpoint/2010/main" val="1634550723"/>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9</a:t>
            </a:fld>
            <a:endParaRPr lang="en-US"/>
          </a:p>
        </p:txBody>
      </p:sp>
    </p:spTree>
    <p:extLst>
      <p:ext uri="{BB962C8B-B14F-4D97-AF65-F5344CB8AC3E}">
        <p14:creationId xmlns:p14="http://schemas.microsoft.com/office/powerpoint/2010/main" val="32423704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Proximit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1118848003"/>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3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0</a:t>
            </a:fld>
            <a:endParaRPr lang="en-US"/>
          </a:p>
        </p:txBody>
      </p:sp>
    </p:spTree>
    <p:extLst>
      <p:ext uri="{BB962C8B-B14F-4D97-AF65-F5344CB8AC3E}">
        <p14:creationId xmlns:p14="http://schemas.microsoft.com/office/powerpoint/2010/main" val="4251280697"/>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3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1</a:t>
            </a:fld>
            <a:endParaRPr lang="en-US"/>
          </a:p>
        </p:txBody>
      </p:sp>
    </p:spTree>
    <p:extLst>
      <p:ext uri="{BB962C8B-B14F-4D97-AF65-F5344CB8AC3E}">
        <p14:creationId xmlns:p14="http://schemas.microsoft.com/office/powerpoint/2010/main" val="2709759208"/>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3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2</a:t>
            </a:fld>
            <a:endParaRPr lang="en-US"/>
          </a:p>
        </p:txBody>
      </p:sp>
    </p:spTree>
    <p:extLst>
      <p:ext uri="{BB962C8B-B14F-4D97-AF65-F5344CB8AC3E}">
        <p14:creationId xmlns:p14="http://schemas.microsoft.com/office/powerpoint/2010/main" val="9282363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Su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9</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6056833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Hy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28125243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Su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40119771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Proxi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7</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3245290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19087744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7357239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Hyper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16818682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Supermarket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1006139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Proximit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25495916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Su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134417630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Hy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42235437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Proxi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9</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11462965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3981323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Hype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43688759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240695464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Hyper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20536856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Supermarket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2493101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Proximit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181091434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Su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37872397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Hy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336425840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Proxi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122548955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187197642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Su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414771246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Hy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22167326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Proxi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566521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Proxi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272937258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41298949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30657017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Hyper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408808149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Supermarket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380897283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Proximit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296217714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Su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169633994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Hy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17297028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Proxi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377749397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11928068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 P3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208291203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257039202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Hyper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323084145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Supermarket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305295476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Proximit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552997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Su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132932766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Hype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86349914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Proxi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45500706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3969361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426733205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Hyper + Drive | P3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38972624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customXml/itemProps2.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69004E-13CB-4752-B39D-2BEF8CE131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TotalTime>
  <Words>50560</Words>
  <Application>Microsoft Office PowerPoint</Application>
  <PresentationFormat>On-screen Show (16:9)</PresentationFormat>
  <Paragraphs>14565</Paragraphs>
  <Slides>572</Slides>
  <Notes>16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72</vt:i4>
      </vt:variant>
    </vt:vector>
  </HeadingPairs>
  <TitlesOfParts>
    <vt:vector size="58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Aleaa SALAH</cp:lastModifiedBy>
  <cp:revision>24</cp:revision>
  <dcterms:created xsi:type="dcterms:W3CDTF">2024-07-05T14:32:36Z</dcterms:created>
  <dcterms:modified xsi:type="dcterms:W3CDTF">2025-09-10T18:1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